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8" r:id="rId4"/>
  </p:sldMasterIdLst>
  <p:notesMasterIdLst>
    <p:notesMasterId r:id="rId61"/>
  </p:notesMasterIdLst>
  <p:sldIdLst>
    <p:sldId id="4204" r:id="rId5"/>
    <p:sldId id="2147482369" r:id="rId6"/>
    <p:sldId id="10553" r:id="rId7"/>
    <p:sldId id="2146846971" r:id="rId8"/>
    <p:sldId id="2147482370" r:id="rId9"/>
    <p:sldId id="10520" r:id="rId10"/>
    <p:sldId id="2146847328" r:id="rId11"/>
    <p:sldId id="2146847342" r:id="rId12"/>
    <p:sldId id="2147481883" r:id="rId13"/>
    <p:sldId id="2147482373" r:id="rId14"/>
    <p:sldId id="2147479276" r:id="rId15"/>
    <p:sldId id="10521" r:id="rId16"/>
    <p:sldId id="934" r:id="rId17"/>
    <p:sldId id="4153" r:id="rId18"/>
    <p:sldId id="10528" r:id="rId19"/>
    <p:sldId id="10529" r:id="rId20"/>
    <p:sldId id="10530" r:id="rId21"/>
    <p:sldId id="10531" r:id="rId22"/>
    <p:sldId id="4158" r:id="rId23"/>
    <p:sldId id="10532" r:id="rId24"/>
    <p:sldId id="256" r:id="rId25"/>
    <p:sldId id="2147481884" r:id="rId26"/>
    <p:sldId id="10539" r:id="rId27"/>
    <p:sldId id="10533" r:id="rId28"/>
    <p:sldId id="10534" r:id="rId29"/>
    <p:sldId id="2146847329" r:id="rId30"/>
    <p:sldId id="2146847330" r:id="rId31"/>
    <p:sldId id="2146847331" r:id="rId32"/>
    <p:sldId id="2147479274" r:id="rId33"/>
    <p:sldId id="2147479273" r:id="rId34"/>
    <p:sldId id="257" r:id="rId35"/>
    <p:sldId id="258" r:id="rId36"/>
    <p:sldId id="259" r:id="rId37"/>
    <p:sldId id="264" r:id="rId38"/>
    <p:sldId id="260" r:id="rId39"/>
    <p:sldId id="261" r:id="rId40"/>
    <p:sldId id="263" r:id="rId41"/>
    <p:sldId id="2147479275" r:id="rId42"/>
    <p:sldId id="2146847338" r:id="rId43"/>
    <p:sldId id="2147478876" r:id="rId44"/>
    <p:sldId id="2147479272" r:id="rId45"/>
    <p:sldId id="10540" r:id="rId46"/>
    <p:sldId id="10542" r:id="rId47"/>
    <p:sldId id="10543" r:id="rId48"/>
    <p:sldId id="10544" r:id="rId49"/>
    <p:sldId id="862" r:id="rId50"/>
    <p:sldId id="10545" r:id="rId51"/>
    <p:sldId id="10546" r:id="rId52"/>
    <p:sldId id="10547" r:id="rId53"/>
    <p:sldId id="10548" r:id="rId54"/>
    <p:sldId id="10554" r:id="rId55"/>
    <p:sldId id="10555" r:id="rId56"/>
    <p:sldId id="10549" r:id="rId57"/>
    <p:sldId id="10550" r:id="rId58"/>
    <p:sldId id="2146847337" r:id="rId59"/>
    <p:sldId id="2146847336"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7DA08C1-7E60-5094-273F-FBAF6BDEAE31}" name="Rajesh Rao" initials="RR" userId="S::rajeshr@infinite.com::c0873dcb-5d46-4f21-83e5-aa5e9f0c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D6E"/>
    <a:srgbClr val="FFFFFF"/>
    <a:srgbClr val="0242FB"/>
    <a:srgbClr val="012C6E"/>
    <a:srgbClr val="013482"/>
    <a:srgbClr val="2FA297"/>
    <a:srgbClr val="032D6C"/>
    <a:srgbClr val="F26548"/>
    <a:srgbClr val="F46036"/>
    <a:srgbClr val="00A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2" autoAdjust="0"/>
    <p:restoredTop sz="96357" autoAdjust="0"/>
  </p:normalViewPr>
  <p:slideViewPr>
    <p:cSldViewPr snapToGrid="0">
      <p:cViewPr varScale="1">
        <p:scale>
          <a:sx n="63" d="100"/>
          <a:sy n="63" d="100"/>
        </p:scale>
        <p:origin x="784" y="76"/>
      </p:cViewPr>
      <p:guideLst/>
    </p:cSldViewPr>
  </p:slideViewPr>
  <p:outlineViewPr>
    <p:cViewPr>
      <p:scale>
        <a:sx n="33" d="100"/>
        <a:sy n="33" d="100"/>
      </p:scale>
      <p:origin x="0" y="-1952"/>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ish Venkatesh" userId="fea86c27-b173-459c-83c5-7a613fa3ca40" providerId="ADAL" clId="{795BFACB-2DAA-40B0-B2DC-ECACB7D37AC1}"/>
    <pc:docChg chg="modSld">
      <pc:chgData name="Harish Venkatesh" userId="fea86c27-b173-459c-83c5-7a613fa3ca40" providerId="ADAL" clId="{795BFACB-2DAA-40B0-B2DC-ECACB7D37AC1}" dt="2025-06-25T13:48:09.540" v="18" actId="20577"/>
      <pc:docMkLst>
        <pc:docMk/>
      </pc:docMkLst>
      <pc:sldChg chg="modSp mod">
        <pc:chgData name="Harish Venkatesh" userId="fea86c27-b173-459c-83c5-7a613fa3ca40" providerId="ADAL" clId="{795BFACB-2DAA-40B0-B2DC-ECACB7D37AC1}" dt="2025-06-25T13:48:09.540" v="18" actId="20577"/>
        <pc:sldMkLst>
          <pc:docMk/>
          <pc:sldMk cId="3487938760" sldId="2146847337"/>
        </pc:sldMkLst>
        <pc:spChg chg="mod">
          <ac:chgData name="Harish Venkatesh" userId="fea86c27-b173-459c-83c5-7a613fa3ca40" providerId="ADAL" clId="{795BFACB-2DAA-40B0-B2DC-ECACB7D37AC1}" dt="2025-06-25T13:48:09.540" v="18" actId="20577"/>
          <ac:spMkLst>
            <pc:docMk/>
            <pc:sldMk cId="3487938760" sldId="2146847337"/>
            <ac:spMk id="8" creationId="{2C3593DB-5A45-16AB-36B6-A9987478C686}"/>
          </ac:spMkLst>
        </pc:spChg>
        <pc:spChg chg="mod">
          <ac:chgData name="Harish Venkatesh" userId="fea86c27-b173-459c-83c5-7a613fa3ca40" providerId="ADAL" clId="{795BFACB-2DAA-40B0-B2DC-ECACB7D37AC1}" dt="2025-06-25T13:48:04.859" v="8" actId="20577"/>
          <ac:spMkLst>
            <pc:docMk/>
            <pc:sldMk cId="3487938760" sldId="2146847337"/>
            <ac:spMk id="56" creationId="{AA8FE124-66C6-4C8D-911B-CA669C23BBEC}"/>
          </ac:spMkLst>
        </pc:spChg>
      </pc:sldChg>
    </pc:docChg>
  </pc:docChgLst>
  <pc:docChgLst>
    <pc:chgData name="Harish Venkatesh" userId="fea86c27-b173-459c-83c5-7a613fa3ca40" providerId="ADAL" clId="{56A43E24-5352-4894-8A62-3FAB98B09070}"/>
    <pc:docChg chg="undo custSel modSld">
      <pc:chgData name="Harish Venkatesh" userId="fea86c27-b173-459c-83c5-7a613fa3ca40" providerId="ADAL" clId="{56A43E24-5352-4894-8A62-3FAB98B09070}" dt="2025-07-09T15:30:30.763" v="284" actId="20577"/>
      <pc:docMkLst>
        <pc:docMk/>
      </pc:docMkLst>
      <pc:sldChg chg="addSp delSp modSp mod">
        <pc:chgData name="Harish Venkatesh" userId="fea86c27-b173-459c-83c5-7a613fa3ca40" providerId="ADAL" clId="{56A43E24-5352-4894-8A62-3FAB98B09070}" dt="2025-07-09T15:30:30.763" v="284" actId="20577"/>
        <pc:sldMkLst>
          <pc:docMk/>
          <pc:sldMk cId="3487938760" sldId="2146847337"/>
        </pc:sldMkLst>
        <pc:spChg chg="mod">
          <ac:chgData name="Harish Venkatesh" userId="fea86c27-b173-459c-83c5-7a613fa3ca40" providerId="ADAL" clId="{56A43E24-5352-4894-8A62-3FAB98B09070}" dt="2025-07-09T15:21:14.857" v="229" actId="1076"/>
          <ac:spMkLst>
            <pc:docMk/>
            <pc:sldMk cId="3487938760" sldId="2146847337"/>
            <ac:spMk id="5" creationId="{4EFF0C47-F379-7F50-50EC-9A84444E20C4}"/>
          </ac:spMkLst>
        </pc:spChg>
        <pc:spChg chg="mod">
          <ac:chgData name="Harish Venkatesh" userId="fea86c27-b173-459c-83c5-7a613fa3ca40" providerId="ADAL" clId="{56A43E24-5352-4894-8A62-3FAB98B09070}" dt="2025-07-09T15:21:44.312" v="233" actId="14100"/>
          <ac:spMkLst>
            <pc:docMk/>
            <pc:sldMk cId="3487938760" sldId="2146847337"/>
            <ac:spMk id="6" creationId="{CDA3844E-579E-4A7C-B0F8-769BB324409A}"/>
          </ac:spMkLst>
        </pc:spChg>
        <pc:spChg chg="mod">
          <ac:chgData name="Harish Venkatesh" userId="fea86c27-b173-459c-83c5-7a613fa3ca40" providerId="ADAL" clId="{56A43E24-5352-4894-8A62-3FAB98B09070}" dt="2025-07-09T15:22:18.196" v="237" actId="14100"/>
          <ac:spMkLst>
            <pc:docMk/>
            <pc:sldMk cId="3487938760" sldId="2146847337"/>
            <ac:spMk id="8" creationId="{2C3593DB-5A45-16AB-36B6-A9987478C686}"/>
          </ac:spMkLst>
        </pc:spChg>
        <pc:spChg chg="mod">
          <ac:chgData name="Harish Venkatesh" userId="fea86c27-b173-459c-83c5-7a613fa3ca40" providerId="ADAL" clId="{56A43E24-5352-4894-8A62-3FAB98B09070}" dt="2025-07-09T15:21:08.908" v="227" actId="1076"/>
          <ac:spMkLst>
            <pc:docMk/>
            <pc:sldMk cId="3487938760" sldId="2146847337"/>
            <ac:spMk id="10" creationId="{F1293C7E-0106-0049-DCE1-45751A9648C4}"/>
          </ac:spMkLst>
        </pc:spChg>
        <pc:spChg chg="mod">
          <ac:chgData name="Harish Venkatesh" userId="fea86c27-b173-459c-83c5-7a613fa3ca40" providerId="ADAL" clId="{56A43E24-5352-4894-8A62-3FAB98B09070}" dt="2025-07-09T15:21:17.562" v="230" actId="1076"/>
          <ac:spMkLst>
            <pc:docMk/>
            <pc:sldMk cId="3487938760" sldId="2146847337"/>
            <ac:spMk id="11" creationId="{EAF2B717-D30F-E2EE-8C24-B1DB7FEA6C20}"/>
          </ac:spMkLst>
        </pc:spChg>
        <pc:spChg chg="mod">
          <ac:chgData name="Harish Venkatesh" userId="fea86c27-b173-459c-83c5-7a613fa3ca40" providerId="ADAL" clId="{56A43E24-5352-4894-8A62-3FAB98B09070}" dt="2025-07-09T15:21:11.977" v="228" actId="1076"/>
          <ac:spMkLst>
            <pc:docMk/>
            <pc:sldMk cId="3487938760" sldId="2146847337"/>
            <ac:spMk id="13" creationId="{D31A292F-D487-E466-62F0-C6D3C7A78C64}"/>
          </ac:spMkLst>
        </pc:spChg>
        <pc:spChg chg="add mod">
          <ac:chgData name="Harish Venkatesh" userId="fea86c27-b173-459c-83c5-7a613fa3ca40" providerId="ADAL" clId="{56A43E24-5352-4894-8A62-3FAB98B09070}" dt="2025-07-09T15:29:38.270" v="282" actId="20577"/>
          <ac:spMkLst>
            <pc:docMk/>
            <pc:sldMk cId="3487938760" sldId="2146847337"/>
            <ac:spMk id="14" creationId="{4310DCEA-89F3-2982-EDAB-FBB83AC08483}"/>
          </ac:spMkLst>
        </pc:spChg>
        <pc:spChg chg="add mod">
          <ac:chgData name="Harish Venkatesh" userId="fea86c27-b173-459c-83c5-7a613fa3ca40" providerId="ADAL" clId="{56A43E24-5352-4894-8A62-3FAB98B09070}" dt="2025-07-09T15:30:30.763" v="284" actId="20577"/>
          <ac:spMkLst>
            <pc:docMk/>
            <pc:sldMk cId="3487938760" sldId="2146847337"/>
            <ac:spMk id="15" creationId="{AF24C57B-2D12-B9C4-54F4-7C9DCE955056}"/>
          </ac:spMkLst>
        </pc:spChg>
        <pc:spChg chg="add mod">
          <ac:chgData name="Harish Venkatesh" userId="fea86c27-b173-459c-83c5-7a613fa3ca40" providerId="ADAL" clId="{56A43E24-5352-4894-8A62-3FAB98B09070}" dt="2025-07-09T15:26:59.661" v="267" actId="20577"/>
          <ac:spMkLst>
            <pc:docMk/>
            <pc:sldMk cId="3487938760" sldId="2146847337"/>
            <ac:spMk id="17" creationId="{0CBBD341-DBB4-4319-BBC0-4FDDDB509750}"/>
          </ac:spMkLst>
        </pc:spChg>
        <pc:spChg chg="mod">
          <ac:chgData name="Harish Venkatesh" userId="fea86c27-b173-459c-83c5-7a613fa3ca40" providerId="ADAL" clId="{56A43E24-5352-4894-8A62-3FAB98B09070}" dt="2025-07-09T15:21:51.641" v="235" actId="14100"/>
          <ac:spMkLst>
            <pc:docMk/>
            <pc:sldMk cId="3487938760" sldId="2146847337"/>
            <ac:spMk id="18" creationId="{BAFC2AE7-A97D-229C-8CE7-6654E5616EBA}"/>
          </ac:spMkLst>
        </pc:spChg>
        <pc:spChg chg="mod">
          <ac:chgData name="Harish Venkatesh" userId="fea86c27-b173-459c-83c5-7a613fa3ca40" providerId="ADAL" clId="{56A43E24-5352-4894-8A62-3FAB98B09070}" dt="2025-07-09T15:00:05.062" v="68" actId="1076"/>
          <ac:spMkLst>
            <pc:docMk/>
            <pc:sldMk cId="3487938760" sldId="2146847337"/>
            <ac:spMk id="19" creationId="{6808465E-06F3-4B4D-8FBA-9B80334D9CA9}"/>
          </ac:spMkLst>
        </pc:spChg>
        <pc:spChg chg="add mod">
          <ac:chgData name="Harish Venkatesh" userId="fea86c27-b173-459c-83c5-7a613fa3ca40" providerId="ADAL" clId="{56A43E24-5352-4894-8A62-3FAB98B09070}" dt="2025-07-09T15:28:31.767" v="277" actId="20577"/>
          <ac:spMkLst>
            <pc:docMk/>
            <pc:sldMk cId="3487938760" sldId="2146847337"/>
            <ac:spMk id="21" creationId="{45C574ED-E590-C5AB-C760-6EC20479FAB4}"/>
          </ac:spMkLst>
        </pc:spChg>
        <pc:spChg chg="add mod">
          <ac:chgData name="Harish Venkatesh" userId="fea86c27-b173-459c-83c5-7a613fa3ca40" providerId="ADAL" clId="{56A43E24-5352-4894-8A62-3FAB98B09070}" dt="2025-07-09T15:28:23.742" v="272" actId="20577"/>
          <ac:spMkLst>
            <pc:docMk/>
            <pc:sldMk cId="3487938760" sldId="2146847337"/>
            <ac:spMk id="26" creationId="{86617FC3-32E3-7B76-28AA-B7AAC6B263D2}"/>
          </ac:spMkLst>
        </pc:spChg>
        <pc:spChg chg="add mod">
          <ac:chgData name="Harish Venkatesh" userId="fea86c27-b173-459c-83c5-7a613fa3ca40" providerId="ADAL" clId="{56A43E24-5352-4894-8A62-3FAB98B09070}" dt="2025-07-09T15:28:35.137" v="278" actId="20577"/>
          <ac:spMkLst>
            <pc:docMk/>
            <pc:sldMk cId="3487938760" sldId="2146847337"/>
            <ac:spMk id="27" creationId="{E26C14AB-F1E8-8C5D-F516-2F3653C4ABA9}"/>
          </ac:spMkLst>
        </pc:spChg>
        <pc:spChg chg="mod">
          <ac:chgData name="Harish Venkatesh" userId="fea86c27-b173-459c-83c5-7a613fa3ca40" providerId="ADAL" clId="{56A43E24-5352-4894-8A62-3FAB98B09070}" dt="2025-07-09T15:22:02.226" v="236" actId="14100"/>
          <ac:spMkLst>
            <pc:docMk/>
            <pc:sldMk cId="3487938760" sldId="2146847337"/>
            <ac:spMk id="36" creationId="{3E5EC57F-12B2-9A14-7B0F-CC01E344AACD}"/>
          </ac:spMkLst>
        </pc:spChg>
        <pc:spChg chg="mod">
          <ac:chgData name="Harish Venkatesh" userId="fea86c27-b173-459c-83c5-7a613fa3ca40" providerId="ADAL" clId="{56A43E24-5352-4894-8A62-3FAB98B09070}" dt="2025-07-09T15:00:00.834" v="67" actId="1076"/>
          <ac:spMkLst>
            <pc:docMk/>
            <pc:sldMk cId="3487938760" sldId="2146847337"/>
            <ac:spMk id="52" creationId="{02994107-C88C-4054-A6E1-6AD6CFE95ACF}"/>
          </ac:spMkLst>
        </pc:spChg>
        <pc:spChg chg="mod">
          <ac:chgData name="Harish Venkatesh" userId="fea86c27-b173-459c-83c5-7a613fa3ca40" providerId="ADAL" clId="{56A43E24-5352-4894-8A62-3FAB98B09070}" dt="2025-07-09T15:20:13.106" v="217" actId="1076"/>
          <ac:spMkLst>
            <pc:docMk/>
            <pc:sldMk cId="3487938760" sldId="2146847337"/>
            <ac:spMk id="56" creationId="{AA8FE124-66C6-4C8D-911B-CA669C23BBEC}"/>
          </ac:spMkLst>
        </pc:spChg>
        <pc:spChg chg="mod">
          <ac:chgData name="Harish Venkatesh" userId="fea86c27-b173-459c-83c5-7a613fa3ca40" providerId="ADAL" clId="{56A43E24-5352-4894-8A62-3FAB98B09070}" dt="2025-07-09T15:21:48.806" v="234" actId="14100"/>
          <ac:spMkLst>
            <pc:docMk/>
            <pc:sldMk cId="3487938760" sldId="2146847337"/>
            <ac:spMk id="87" creationId="{A4408135-E778-B51C-8D17-823D93DBBEF9}"/>
          </ac:spMkLst>
        </pc:spChg>
        <pc:cxnChg chg="del mod">
          <ac:chgData name="Harish Venkatesh" userId="fea86c27-b173-459c-83c5-7a613fa3ca40" providerId="ADAL" clId="{56A43E24-5352-4894-8A62-3FAB98B09070}" dt="2025-07-09T15:07:39.369" v="95" actId="478"/>
          <ac:cxnSpMkLst>
            <pc:docMk/>
            <pc:sldMk cId="3487938760" sldId="2146847337"/>
            <ac:cxnSpMk id="16" creationId="{760F5110-1A90-8D1E-62A5-33431767356A}"/>
          </ac:cxnSpMkLst>
        </pc:cxnChg>
        <pc:cxnChg chg="del mod">
          <ac:chgData name="Harish Venkatesh" userId="fea86c27-b173-459c-83c5-7a613fa3ca40" providerId="ADAL" clId="{56A43E24-5352-4894-8A62-3FAB98B09070}" dt="2025-07-09T15:07:42.411" v="96" actId="478"/>
          <ac:cxnSpMkLst>
            <pc:docMk/>
            <pc:sldMk cId="3487938760" sldId="2146847337"/>
            <ac:cxnSpMk id="20" creationId="{D856A4B7-5D04-3657-A50E-A68F0E3AFD60}"/>
          </ac:cxnSpMkLst>
        </pc:cxnChg>
        <pc:cxnChg chg="del mod">
          <ac:chgData name="Harish Venkatesh" userId="fea86c27-b173-459c-83c5-7a613fa3ca40" providerId="ADAL" clId="{56A43E24-5352-4894-8A62-3FAB98B09070}" dt="2025-07-09T15:07:44.858" v="97" actId="478"/>
          <ac:cxnSpMkLst>
            <pc:docMk/>
            <pc:sldMk cId="3487938760" sldId="2146847337"/>
            <ac:cxnSpMk id="22" creationId="{56903628-8C49-C129-FF87-6D134EC24012}"/>
          </ac:cxnSpMkLst>
        </pc:cxnChg>
        <pc:cxnChg chg="mod">
          <ac:chgData name="Harish Venkatesh" userId="fea86c27-b173-459c-83c5-7a613fa3ca40" providerId="ADAL" clId="{56A43E24-5352-4894-8A62-3FAB98B09070}" dt="2025-07-09T15:14:04.097" v="158" actId="14100"/>
          <ac:cxnSpMkLst>
            <pc:docMk/>
            <pc:sldMk cId="3487938760" sldId="2146847337"/>
            <ac:cxnSpMk id="24" creationId="{E4BFFE14-33E0-CA6E-5474-127B8B61DB2F}"/>
          </ac:cxnSpMkLst>
        </pc:cxnChg>
        <pc:cxnChg chg="add mod">
          <ac:chgData name="Harish Venkatesh" userId="fea86c27-b173-459c-83c5-7a613fa3ca40" providerId="ADAL" clId="{56A43E24-5352-4894-8A62-3FAB98B09070}" dt="2025-07-09T15:12:00.762" v="148"/>
          <ac:cxnSpMkLst>
            <pc:docMk/>
            <pc:sldMk cId="3487938760" sldId="2146847337"/>
            <ac:cxnSpMk id="38" creationId="{66AE6084-CED4-433C-977C-31C053661D8E}"/>
          </ac:cxnSpMkLst>
        </pc:cxnChg>
        <pc:cxnChg chg="add mod">
          <ac:chgData name="Harish Venkatesh" userId="fea86c27-b173-459c-83c5-7a613fa3ca40" providerId="ADAL" clId="{56A43E24-5352-4894-8A62-3FAB98B09070}" dt="2025-07-09T15:12:32.455" v="152" actId="14100"/>
          <ac:cxnSpMkLst>
            <pc:docMk/>
            <pc:sldMk cId="3487938760" sldId="2146847337"/>
            <ac:cxnSpMk id="39" creationId="{0C525232-DA0D-364A-48A3-61CC88A5811D}"/>
          </ac:cxnSpMkLst>
        </pc:cxnChg>
        <pc:cxnChg chg="add del mod">
          <ac:chgData name="Harish Venkatesh" userId="fea86c27-b173-459c-83c5-7a613fa3ca40" providerId="ADAL" clId="{56A43E24-5352-4894-8A62-3FAB98B09070}" dt="2025-07-09T15:13:55.028" v="157" actId="478"/>
          <ac:cxnSpMkLst>
            <pc:docMk/>
            <pc:sldMk cId="3487938760" sldId="2146847337"/>
            <ac:cxnSpMk id="44" creationId="{02B80C92-C04C-F9B1-B00D-C00C2629FD94}"/>
          </ac:cxnSpMkLst>
        </pc:cxnChg>
        <pc:cxnChg chg="add mod">
          <ac:chgData name="Harish Venkatesh" userId="fea86c27-b173-459c-83c5-7a613fa3ca40" providerId="ADAL" clId="{56A43E24-5352-4894-8A62-3FAB98B09070}" dt="2025-07-09T15:14:17.942" v="160" actId="1076"/>
          <ac:cxnSpMkLst>
            <pc:docMk/>
            <pc:sldMk cId="3487938760" sldId="2146847337"/>
            <ac:cxnSpMk id="46" creationId="{F7EB51E5-0869-A58E-E83E-65212478B1D9}"/>
          </ac:cxnSpMkLst>
        </pc:cxnChg>
        <pc:cxnChg chg="add mod">
          <ac:chgData name="Harish Venkatesh" userId="fea86c27-b173-459c-83c5-7a613fa3ca40" providerId="ADAL" clId="{56A43E24-5352-4894-8A62-3FAB98B09070}" dt="2025-07-09T15:14:24.083" v="162" actId="1076"/>
          <ac:cxnSpMkLst>
            <pc:docMk/>
            <pc:sldMk cId="3487938760" sldId="2146847337"/>
            <ac:cxnSpMk id="47" creationId="{A2602A78-1876-006B-62C6-E2710BB09EAD}"/>
          </ac:cxnSpMkLst>
        </pc:cxnChg>
        <pc:cxnChg chg="add mod">
          <ac:chgData name="Harish Venkatesh" userId="fea86c27-b173-459c-83c5-7a613fa3ca40" providerId="ADAL" clId="{56A43E24-5352-4894-8A62-3FAB98B09070}" dt="2025-07-09T15:14:32.674" v="164" actId="1076"/>
          <ac:cxnSpMkLst>
            <pc:docMk/>
            <pc:sldMk cId="3487938760" sldId="2146847337"/>
            <ac:cxnSpMk id="48" creationId="{941B39B4-32F5-FA6D-D25D-1160BDCDAAE2}"/>
          </ac:cxnSpMkLst>
        </pc:cxnChg>
        <pc:cxnChg chg="add mod">
          <ac:chgData name="Harish Venkatesh" userId="fea86c27-b173-459c-83c5-7a613fa3ca40" providerId="ADAL" clId="{56A43E24-5352-4894-8A62-3FAB98B09070}" dt="2025-07-09T15:14:40.673" v="166" actId="1076"/>
          <ac:cxnSpMkLst>
            <pc:docMk/>
            <pc:sldMk cId="3487938760" sldId="2146847337"/>
            <ac:cxnSpMk id="49" creationId="{DFAA813A-2D71-8003-89B2-A6D0827391DD}"/>
          </ac:cxnSpMkLst>
        </pc:cxnChg>
        <pc:cxnChg chg="add mod">
          <ac:chgData name="Harish Venkatesh" userId="fea86c27-b173-459c-83c5-7a613fa3ca40" providerId="ADAL" clId="{56A43E24-5352-4894-8A62-3FAB98B09070}" dt="2025-07-09T15:14:47.133" v="168" actId="1076"/>
          <ac:cxnSpMkLst>
            <pc:docMk/>
            <pc:sldMk cId="3487938760" sldId="2146847337"/>
            <ac:cxnSpMk id="50" creationId="{175B1035-369B-6D24-2852-CDBB48CA534D}"/>
          </ac:cxnSpMkLst>
        </pc:cxnChg>
        <pc:cxnChg chg="del mod">
          <ac:chgData name="Harish Venkatesh" userId="fea86c27-b173-459c-83c5-7a613fa3ca40" providerId="ADAL" clId="{56A43E24-5352-4894-8A62-3FAB98B09070}" dt="2025-07-09T15:11:55.911" v="147" actId="21"/>
          <ac:cxnSpMkLst>
            <pc:docMk/>
            <pc:sldMk cId="3487938760" sldId="2146847337"/>
            <ac:cxnSpMk id="58" creationId="{66AE6084-CED4-433C-977C-31C053661D8E}"/>
          </ac:cxnSpMkLst>
        </pc:cxnChg>
        <pc:cxnChg chg="mod">
          <ac:chgData name="Harish Venkatesh" userId="fea86c27-b173-459c-83c5-7a613fa3ca40" providerId="ADAL" clId="{56A43E24-5352-4894-8A62-3FAB98B09070}" dt="2025-07-09T15:04:14.589" v="74" actId="1076"/>
          <ac:cxnSpMkLst>
            <pc:docMk/>
            <pc:sldMk cId="3487938760" sldId="2146847337"/>
            <ac:cxnSpMk id="59" creationId="{6370D499-9135-43FC-ACD6-3B6D9148E5BB}"/>
          </ac:cxnSpMkLst>
        </pc:cxnChg>
        <pc:cxnChg chg="mod">
          <ac:chgData name="Harish Venkatesh" userId="fea86c27-b173-459c-83c5-7a613fa3ca40" providerId="ADAL" clId="{56A43E24-5352-4894-8A62-3FAB98B09070}" dt="2025-07-09T15:04:28.519" v="77" actId="1076"/>
          <ac:cxnSpMkLst>
            <pc:docMk/>
            <pc:sldMk cId="3487938760" sldId="2146847337"/>
            <ac:cxnSpMk id="60" creationId="{E6FD25C8-E5E0-419C-A467-AD5520DCCFC2}"/>
          </ac:cxnSpMkLst>
        </pc:cxnChg>
        <pc:cxnChg chg="del mod">
          <ac:chgData name="Harish Venkatesh" userId="fea86c27-b173-459c-83c5-7a613fa3ca40" providerId="ADAL" clId="{56A43E24-5352-4894-8A62-3FAB98B09070}" dt="2025-07-09T15:07:47.306" v="98" actId="478"/>
          <ac:cxnSpMkLst>
            <pc:docMk/>
            <pc:sldMk cId="3487938760" sldId="2146847337"/>
            <ac:cxnSpMk id="66" creationId="{26DC8A89-DAB6-4378-8A5B-DF229E85C160}"/>
          </ac:cxnSpMkLst>
        </pc:cxnChg>
        <pc:cxnChg chg="del mod">
          <ac:chgData name="Harish Venkatesh" userId="fea86c27-b173-459c-83c5-7a613fa3ca40" providerId="ADAL" clId="{56A43E24-5352-4894-8A62-3FAB98B09070}" dt="2025-07-09T15:07:36.970" v="94" actId="478"/>
          <ac:cxnSpMkLst>
            <pc:docMk/>
            <pc:sldMk cId="3487938760" sldId="2146847337"/>
            <ac:cxnSpMk id="68" creationId="{0A09B6CD-969C-41F0-BA36-8F8DB691424F}"/>
          </ac:cxnSpMkLst>
        </pc:cxnChg>
        <pc:cxnChg chg="del mod">
          <ac:chgData name="Harish Venkatesh" userId="fea86c27-b173-459c-83c5-7a613fa3ca40" providerId="ADAL" clId="{56A43E24-5352-4894-8A62-3FAB98B09070}" dt="2025-07-09T15:06:51.210" v="87" actId="478"/>
          <ac:cxnSpMkLst>
            <pc:docMk/>
            <pc:sldMk cId="3487938760" sldId="2146847337"/>
            <ac:cxnSpMk id="115" creationId="{C660B256-2EA9-464D-F621-0201B18D6686}"/>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F96080-F52B-4D9C-817D-EBF0328F3C60}" type="datetimeFigureOut">
              <a:rPr lang="en-US" smtClean="0"/>
              <a:t>7/9/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EFAE35-1B48-4DC3-A3CB-5D29747429EF}" type="slidenum">
              <a:rPr lang="en-US" smtClean="0"/>
              <a:t>‹#›</a:t>
            </a:fld>
            <a:endParaRPr lang="en-US" dirty="0"/>
          </a:p>
        </p:txBody>
      </p:sp>
    </p:spTree>
    <p:extLst>
      <p:ext uri="{BB962C8B-B14F-4D97-AF65-F5344CB8AC3E}">
        <p14:creationId xmlns:p14="http://schemas.microsoft.com/office/powerpoint/2010/main" val="1880922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F8F48A-6110-47DA-8521-A1D1FFD22F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7909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E1D4C92-3DE5-4516-A0E4-65F76C4BBA83}" type="slidenum">
              <a:rPr lang="en-IN" smtClean="0"/>
              <a:t>5</a:t>
            </a:fld>
            <a:endParaRPr lang="en-IN"/>
          </a:p>
        </p:txBody>
      </p:sp>
    </p:spTree>
    <p:extLst>
      <p:ext uri="{BB962C8B-B14F-4D97-AF65-F5344CB8AC3E}">
        <p14:creationId xmlns:p14="http://schemas.microsoft.com/office/powerpoint/2010/main" val="2789230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02D353B2-988F-4F8D-BFA9-E93E11E388C3}" type="slidenum">
              <a:rPr lang="en-US" smtClean="0"/>
              <a:pPr/>
              <a:t>8</a:t>
            </a:fld>
            <a:endParaRPr lang="en-US" dirty="0"/>
          </a:p>
        </p:txBody>
      </p:sp>
    </p:spTree>
    <p:extLst>
      <p:ext uri="{BB962C8B-B14F-4D97-AF65-F5344CB8AC3E}">
        <p14:creationId xmlns:p14="http://schemas.microsoft.com/office/powerpoint/2010/main" val="216564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D52EF4-C656-4FD7-9724-B06820144B5F}" type="slidenum">
              <a:rPr lang="en-US" smtClean="0"/>
              <a:t>21</a:t>
            </a:fld>
            <a:endParaRPr lang="en-US"/>
          </a:p>
        </p:txBody>
      </p:sp>
    </p:spTree>
    <p:extLst>
      <p:ext uri="{BB962C8B-B14F-4D97-AF65-F5344CB8AC3E}">
        <p14:creationId xmlns:p14="http://schemas.microsoft.com/office/powerpoint/2010/main" val="1797796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F8F48A-6110-47DA-8521-A1D1FFD22FEF}" type="slidenum">
              <a:rPr lang="en-US" smtClean="0"/>
              <a:t>55</a:t>
            </a:fld>
            <a:endParaRPr lang="en-US" dirty="0"/>
          </a:p>
        </p:txBody>
      </p:sp>
    </p:spTree>
    <p:extLst>
      <p:ext uri="{BB962C8B-B14F-4D97-AF65-F5344CB8AC3E}">
        <p14:creationId xmlns:p14="http://schemas.microsoft.com/office/powerpoint/2010/main" val="1289102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pSp>
        <p:nvGrpSpPr>
          <p:cNvPr id="21" name="Group 20"/>
          <p:cNvGrpSpPr/>
          <p:nvPr/>
        </p:nvGrpSpPr>
        <p:grpSpPr>
          <a:xfrm>
            <a:off x="0" y="0"/>
            <a:ext cx="12192000" cy="6858000"/>
            <a:chOff x="0" y="0"/>
            <a:chExt cx="12192000" cy="6858000"/>
          </a:xfrm>
        </p:grpSpPr>
        <p:sp>
          <p:nvSpPr>
            <p:cNvPr id="22" name="Rectangle 21"/>
            <p:cNvSpPr/>
            <p:nvPr/>
          </p:nvSpPr>
          <p:spPr>
            <a:xfrm>
              <a:off x="0" y="0"/>
              <a:ext cx="12192000" cy="6858000"/>
            </a:xfrm>
            <a:prstGeom prst="rect">
              <a:avLst/>
            </a:prstGeom>
            <a:blipFill dpi="0" rotWithShape="1">
              <a:blip r:embed="rId2" cstate="screen">
                <a:alphaModFix amt="60000"/>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3" name="Rectangle 22"/>
            <p:cNvSpPr/>
            <p:nvPr/>
          </p:nvSpPr>
          <p:spPr>
            <a:xfrm>
              <a:off x="0" y="0"/>
              <a:ext cx="12192000" cy="6858000"/>
            </a:xfrm>
            <a:prstGeom prst="rect">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latin typeface="Segoe UI" panose="020B0502040204020203" pitchFamily="34" charset="0"/>
              </a:endParaRPr>
            </a:p>
          </p:txBody>
        </p:sp>
      </p:grpSp>
      <p:grpSp>
        <p:nvGrpSpPr>
          <p:cNvPr id="2" name="Group 1">
            <a:extLst>
              <a:ext uri="{FF2B5EF4-FFF2-40B4-BE49-F238E27FC236}">
                <a16:creationId xmlns:a16="http://schemas.microsoft.com/office/drawing/2014/main" id="{2C5CCC38-725D-A8A4-4E4F-C117A24385CA}"/>
              </a:ext>
            </a:extLst>
          </p:cNvPr>
          <p:cNvGrpSpPr/>
          <p:nvPr userDrawn="1"/>
        </p:nvGrpSpPr>
        <p:grpSpPr>
          <a:xfrm>
            <a:off x="271506" y="6473483"/>
            <a:ext cx="297180" cy="304884"/>
            <a:chOff x="480261" y="6473483"/>
            <a:chExt cx="297180" cy="304884"/>
          </a:xfrm>
        </p:grpSpPr>
        <p:sp>
          <p:nvSpPr>
            <p:cNvPr id="3" name="object 3">
              <a:extLst>
                <a:ext uri="{FF2B5EF4-FFF2-40B4-BE49-F238E27FC236}">
                  <a16:creationId xmlns:a16="http://schemas.microsoft.com/office/drawing/2014/main" id="{F4E06D49-6708-6C09-ABF4-E3D99763162C}"/>
                </a:ext>
              </a:extLst>
            </p:cNvPr>
            <p:cNvSpPr/>
            <p:nvPr/>
          </p:nvSpPr>
          <p:spPr>
            <a:xfrm>
              <a:off x="488654" y="6473483"/>
              <a:ext cx="269875" cy="218440"/>
            </a:xfrm>
            <a:custGeom>
              <a:avLst/>
              <a:gdLst/>
              <a:ahLst/>
              <a:cxnLst/>
              <a:rect l="l" t="t" r="r" b="b"/>
              <a:pathLst>
                <a:path w="269875" h="218440">
                  <a:moveTo>
                    <a:pt x="133286" y="0"/>
                  </a:moveTo>
                  <a:lnTo>
                    <a:pt x="0" y="218033"/>
                  </a:lnTo>
                  <a:lnTo>
                    <a:pt x="269544" y="216192"/>
                  </a:lnTo>
                  <a:lnTo>
                    <a:pt x="133286" y="0"/>
                  </a:lnTo>
                  <a:close/>
                </a:path>
              </a:pathLst>
            </a:custGeom>
            <a:solidFill>
              <a:srgbClr val="1C8BC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Segoe UI" panose="020B0502040204020203" pitchFamily="34" charset="0"/>
              </a:endParaRPr>
            </a:p>
          </p:txBody>
        </p:sp>
        <p:pic>
          <p:nvPicPr>
            <p:cNvPr id="4" name="object 4">
              <a:extLst>
                <a:ext uri="{FF2B5EF4-FFF2-40B4-BE49-F238E27FC236}">
                  <a16:creationId xmlns:a16="http://schemas.microsoft.com/office/drawing/2014/main" id="{DB851F6C-3AE3-D8F8-7510-5588F7B57A91}"/>
                </a:ext>
              </a:extLst>
            </p:cNvPr>
            <p:cNvPicPr/>
            <p:nvPr/>
          </p:nvPicPr>
          <p:blipFill>
            <a:blip r:embed="rId3" cstate="screen">
              <a:extLst>
                <a:ext uri="{28A0092B-C50C-407E-A947-70E740481C1C}">
                  <a14:useLocalDpi xmlns:a14="http://schemas.microsoft.com/office/drawing/2010/main"/>
                </a:ext>
              </a:extLst>
            </a:blip>
            <a:stretch>
              <a:fillRect/>
            </a:stretch>
          </p:blipFill>
          <p:spPr>
            <a:xfrm>
              <a:off x="575304" y="6474180"/>
              <a:ext cx="192015" cy="172148"/>
            </a:xfrm>
            <a:prstGeom prst="rect">
              <a:avLst/>
            </a:prstGeom>
          </p:spPr>
        </p:pic>
        <p:sp>
          <p:nvSpPr>
            <p:cNvPr id="5" name="object 5">
              <a:extLst>
                <a:ext uri="{FF2B5EF4-FFF2-40B4-BE49-F238E27FC236}">
                  <a16:creationId xmlns:a16="http://schemas.microsoft.com/office/drawing/2014/main" id="{2981A102-6533-2F74-9CEC-8081CC2FD359}"/>
                </a:ext>
              </a:extLst>
            </p:cNvPr>
            <p:cNvSpPr/>
            <p:nvPr/>
          </p:nvSpPr>
          <p:spPr>
            <a:xfrm>
              <a:off x="480261" y="6523419"/>
              <a:ext cx="297180" cy="204470"/>
            </a:xfrm>
            <a:custGeom>
              <a:avLst/>
              <a:gdLst/>
              <a:ahLst/>
              <a:cxnLst/>
              <a:rect l="l" t="t" r="r" b="b"/>
              <a:pathLst>
                <a:path w="297180" h="204470">
                  <a:moveTo>
                    <a:pt x="50416" y="0"/>
                  </a:moveTo>
                  <a:lnTo>
                    <a:pt x="29033" y="1654"/>
                  </a:lnTo>
                  <a:lnTo>
                    <a:pt x="12525" y="7804"/>
                  </a:lnTo>
                  <a:lnTo>
                    <a:pt x="1787" y="18577"/>
                  </a:lnTo>
                  <a:lnTo>
                    <a:pt x="0" y="48188"/>
                  </a:lnTo>
                  <a:lnTo>
                    <a:pt x="20415" y="85028"/>
                  </a:lnTo>
                  <a:lnTo>
                    <a:pt x="59437" y="124485"/>
                  </a:lnTo>
                  <a:lnTo>
                    <a:pt x="113471" y="161947"/>
                  </a:lnTo>
                  <a:lnTo>
                    <a:pt x="172839" y="190133"/>
                  </a:lnTo>
                  <a:lnTo>
                    <a:pt x="226425" y="204291"/>
                  </a:lnTo>
                  <a:lnTo>
                    <a:pt x="268447" y="203601"/>
                  </a:lnTo>
                  <a:lnTo>
                    <a:pt x="293125" y="187246"/>
                  </a:lnTo>
                  <a:lnTo>
                    <a:pt x="297074" y="171813"/>
                  </a:lnTo>
                  <a:lnTo>
                    <a:pt x="293549" y="153470"/>
                  </a:lnTo>
                  <a:lnTo>
                    <a:pt x="283183" y="133032"/>
                  </a:lnTo>
                  <a:lnTo>
                    <a:pt x="266607" y="111312"/>
                  </a:lnTo>
                  <a:lnTo>
                    <a:pt x="278829" y="130753"/>
                  </a:lnTo>
                  <a:lnTo>
                    <a:pt x="286310" y="149415"/>
                  </a:lnTo>
                  <a:lnTo>
                    <a:pt x="288512" y="166130"/>
                  </a:lnTo>
                  <a:lnTo>
                    <a:pt x="284895" y="179727"/>
                  </a:lnTo>
                  <a:lnTo>
                    <a:pt x="261667" y="194707"/>
                  </a:lnTo>
                  <a:lnTo>
                    <a:pt x="221780" y="195423"/>
                  </a:lnTo>
                  <a:lnTo>
                    <a:pt x="171324" y="182572"/>
                  </a:lnTo>
                  <a:lnTo>
                    <a:pt x="116392" y="156854"/>
                  </a:lnTo>
                  <a:lnTo>
                    <a:pt x="66353" y="121857"/>
                  </a:lnTo>
                  <a:lnTo>
                    <a:pt x="29224" y="84110"/>
                  </a:lnTo>
                  <a:lnTo>
                    <a:pt x="9094" y="48757"/>
                  </a:lnTo>
                  <a:lnTo>
                    <a:pt x="10055" y="20939"/>
                  </a:lnTo>
                  <a:lnTo>
                    <a:pt x="19643" y="11426"/>
                  </a:lnTo>
                  <a:lnTo>
                    <a:pt x="34720" y="5150"/>
                  </a:lnTo>
                  <a:lnTo>
                    <a:pt x="53894" y="2212"/>
                  </a:lnTo>
                  <a:lnTo>
                    <a:pt x="75777" y="2715"/>
                  </a:lnTo>
                  <a:lnTo>
                    <a:pt x="50416" y="0"/>
                  </a:lnTo>
                  <a:close/>
                </a:path>
              </a:pathLst>
            </a:custGeom>
            <a:solidFill>
              <a:srgbClr val="00B8A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object 6">
              <a:extLst>
                <a:ext uri="{FF2B5EF4-FFF2-40B4-BE49-F238E27FC236}">
                  <a16:creationId xmlns:a16="http://schemas.microsoft.com/office/drawing/2014/main" id="{0A5E59DD-6164-E329-5617-221A7DC7993A}"/>
                </a:ext>
              </a:extLst>
            </p:cNvPr>
            <p:cNvSpPr/>
            <p:nvPr/>
          </p:nvSpPr>
          <p:spPr>
            <a:xfrm>
              <a:off x="494708" y="6698357"/>
              <a:ext cx="259079" cy="80010"/>
            </a:xfrm>
            <a:custGeom>
              <a:avLst/>
              <a:gdLst/>
              <a:ahLst/>
              <a:cxnLst/>
              <a:rect l="l" t="t" r="r" b="b"/>
              <a:pathLst>
                <a:path w="259079" h="80009">
                  <a:moveTo>
                    <a:pt x="237553" y="33375"/>
                  </a:moveTo>
                  <a:lnTo>
                    <a:pt x="228374" y="35268"/>
                  </a:lnTo>
                  <a:lnTo>
                    <a:pt x="221653" y="40412"/>
                  </a:lnTo>
                  <a:lnTo>
                    <a:pt x="217522" y="48007"/>
                  </a:lnTo>
                  <a:lnTo>
                    <a:pt x="216115" y="57251"/>
                  </a:lnTo>
                  <a:lnTo>
                    <a:pt x="217645" y="66158"/>
                  </a:lnTo>
                  <a:lnTo>
                    <a:pt x="221995" y="73382"/>
                  </a:lnTo>
                  <a:lnTo>
                    <a:pt x="228813" y="78227"/>
                  </a:lnTo>
                  <a:lnTo>
                    <a:pt x="237743" y="79997"/>
                  </a:lnTo>
                  <a:lnTo>
                    <a:pt x="246773" y="79997"/>
                  </a:lnTo>
                  <a:lnTo>
                    <a:pt x="253911" y="75488"/>
                  </a:lnTo>
                  <a:lnTo>
                    <a:pt x="255216" y="73050"/>
                  </a:lnTo>
                  <a:lnTo>
                    <a:pt x="229755" y="73050"/>
                  </a:lnTo>
                  <a:lnTo>
                    <a:pt x="223926" y="66459"/>
                  </a:lnTo>
                  <a:lnTo>
                    <a:pt x="223824" y="58280"/>
                  </a:lnTo>
                  <a:lnTo>
                    <a:pt x="258521" y="58280"/>
                  </a:lnTo>
                  <a:lnTo>
                    <a:pt x="257869" y="51892"/>
                  </a:lnTo>
                  <a:lnTo>
                    <a:pt x="224205" y="51892"/>
                  </a:lnTo>
                  <a:lnTo>
                    <a:pt x="225145" y="45504"/>
                  </a:lnTo>
                  <a:lnTo>
                    <a:pt x="231165" y="40335"/>
                  </a:lnTo>
                  <a:lnTo>
                    <a:pt x="252957" y="40335"/>
                  </a:lnTo>
                  <a:lnTo>
                    <a:pt x="246925" y="35416"/>
                  </a:lnTo>
                  <a:lnTo>
                    <a:pt x="237553" y="33375"/>
                  </a:lnTo>
                  <a:close/>
                </a:path>
                <a:path w="259079" h="80009">
                  <a:moveTo>
                    <a:pt x="251752" y="63919"/>
                  </a:moveTo>
                  <a:lnTo>
                    <a:pt x="248831" y="69189"/>
                  </a:lnTo>
                  <a:lnTo>
                    <a:pt x="244703" y="73050"/>
                  </a:lnTo>
                  <a:lnTo>
                    <a:pt x="255216" y="73050"/>
                  </a:lnTo>
                  <a:lnTo>
                    <a:pt x="258140" y="67589"/>
                  </a:lnTo>
                  <a:lnTo>
                    <a:pt x="251752" y="63919"/>
                  </a:lnTo>
                  <a:close/>
                </a:path>
                <a:path w="259079" h="80009">
                  <a:moveTo>
                    <a:pt x="252957" y="40335"/>
                  </a:moveTo>
                  <a:lnTo>
                    <a:pt x="244233" y="40335"/>
                  </a:lnTo>
                  <a:lnTo>
                    <a:pt x="249593" y="45504"/>
                  </a:lnTo>
                  <a:lnTo>
                    <a:pt x="250621" y="51892"/>
                  </a:lnTo>
                  <a:lnTo>
                    <a:pt x="257869" y="51892"/>
                  </a:lnTo>
                  <a:lnTo>
                    <a:pt x="257557" y="48838"/>
                  </a:lnTo>
                  <a:lnTo>
                    <a:pt x="253642" y="40893"/>
                  </a:lnTo>
                  <a:lnTo>
                    <a:pt x="252957" y="40335"/>
                  </a:lnTo>
                  <a:close/>
                </a:path>
                <a:path w="259079" h="80009">
                  <a:moveTo>
                    <a:pt x="205384" y="41554"/>
                  </a:moveTo>
                  <a:lnTo>
                    <a:pt x="197865" y="41554"/>
                  </a:lnTo>
                  <a:lnTo>
                    <a:pt x="197865" y="78778"/>
                  </a:lnTo>
                  <a:lnTo>
                    <a:pt x="205384" y="78778"/>
                  </a:lnTo>
                  <a:lnTo>
                    <a:pt x="205384" y="41554"/>
                  </a:lnTo>
                  <a:close/>
                </a:path>
                <a:path w="259079" h="80009">
                  <a:moveTo>
                    <a:pt x="213283" y="34594"/>
                  </a:moveTo>
                  <a:lnTo>
                    <a:pt x="193255" y="34594"/>
                  </a:lnTo>
                  <a:lnTo>
                    <a:pt x="193255" y="41554"/>
                  </a:lnTo>
                  <a:lnTo>
                    <a:pt x="213283" y="41554"/>
                  </a:lnTo>
                  <a:lnTo>
                    <a:pt x="213283" y="34594"/>
                  </a:lnTo>
                  <a:close/>
                </a:path>
                <a:path w="259079" h="80009">
                  <a:moveTo>
                    <a:pt x="205384" y="18707"/>
                  </a:moveTo>
                  <a:lnTo>
                    <a:pt x="197865" y="18707"/>
                  </a:lnTo>
                  <a:lnTo>
                    <a:pt x="197865" y="34594"/>
                  </a:lnTo>
                  <a:lnTo>
                    <a:pt x="205384" y="34594"/>
                  </a:lnTo>
                  <a:lnTo>
                    <a:pt x="205384" y="18707"/>
                  </a:lnTo>
                  <a:close/>
                </a:path>
                <a:path w="259079" h="80009">
                  <a:moveTo>
                    <a:pt x="180962" y="12598"/>
                  </a:moveTo>
                  <a:lnTo>
                    <a:pt x="175132" y="12598"/>
                  </a:lnTo>
                  <a:lnTo>
                    <a:pt x="172694" y="15036"/>
                  </a:lnTo>
                  <a:lnTo>
                    <a:pt x="172694" y="20967"/>
                  </a:lnTo>
                  <a:lnTo>
                    <a:pt x="175132" y="23317"/>
                  </a:lnTo>
                  <a:lnTo>
                    <a:pt x="180962" y="23317"/>
                  </a:lnTo>
                  <a:lnTo>
                    <a:pt x="183413" y="20967"/>
                  </a:lnTo>
                  <a:lnTo>
                    <a:pt x="183413" y="15036"/>
                  </a:lnTo>
                  <a:lnTo>
                    <a:pt x="180962" y="12598"/>
                  </a:lnTo>
                  <a:close/>
                </a:path>
                <a:path w="259079" h="80009">
                  <a:moveTo>
                    <a:pt x="181813" y="34594"/>
                  </a:moveTo>
                  <a:lnTo>
                    <a:pt x="174294" y="34594"/>
                  </a:lnTo>
                  <a:lnTo>
                    <a:pt x="174294" y="78778"/>
                  </a:lnTo>
                  <a:lnTo>
                    <a:pt x="181813" y="78778"/>
                  </a:lnTo>
                  <a:lnTo>
                    <a:pt x="181813" y="34594"/>
                  </a:lnTo>
                  <a:close/>
                </a:path>
                <a:path w="259079" h="80009">
                  <a:moveTo>
                    <a:pt x="130733" y="34594"/>
                  </a:moveTo>
                  <a:lnTo>
                    <a:pt x="123215" y="34594"/>
                  </a:lnTo>
                  <a:lnTo>
                    <a:pt x="123215" y="78778"/>
                  </a:lnTo>
                  <a:lnTo>
                    <a:pt x="130733" y="78778"/>
                  </a:lnTo>
                  <a:lnTo>
                    <a:pt x="130733" y="49923"/>
                  </a:lnTo>
                  <a:lnTo>
                    <a:pt x="131394" y="40335"/>
                  </a:lnTo>
                  <a:lnTo>
                    <a:pt x="157959" y="40335"/>
                  </a:lnTo>
                  <a:lnTo>
                    <a:pt x="157838" y="39954"/>
                  </a:lnTo>
                  <a:lnTo>
                    <a:pt x="130733" y="39954"/>
                  </a:lnTo>
                  <a:lnTo>
                    <a:pt x="130733" y="34594"/>
                  </a:lnTo>
                  <a:close/>
                </a:path>
                <a:path w="259079" h="80009">
                  <a:moveTo>
                    <a:pt x="157959" y="40335"/>
                  </a:moveTo>
                  <a:lnTo>
                    <a:pt x="150482" y="40335"/>
                  </a:lnTo>
                  <a:lnTo>
                    <a:pt x="151041" y="46723"/>
                  </a:lnTo>
                  <a:lnTo>
                    <a:pt x="151041" y="78778"/>
                  </a:lnTo>
                  <a:lnTo>
                    <a:pt x="158559" y="78778"/>
                  </a:lnTo>
                  <a:lnTo>
                    <a:pt x="158559" y="42214"/>
                  </a:lnTo>
                  <a:lnTo>
                    <a:pt x="157959" y="40335"/>
                  </a:lnTo>
                  <a:close/>
                </a:path>
                <a:path w="259079" h="80009">
                  <a:moveTo>
                    <a:pt x="155740" y="33375"/>
                  </a:moveTo>
                  <a:lnTo>
                    <a:pt x="138061" y="33375"/>
                  </a:lnTo>
                  <a:lnTo>
                    <a:pt x="134023" y="35725"/>
                  </a:lnTo>
                  <a:lnTo>
                    <a:pt x="130924" y="39954"/>
                  </a:lnTo>
                  <a:lnTo>
                    <a:pt x="157838" y="39954"/>
                  </a:lnTo>
                  <a:lnTo>
                    <a:pt x="155740" y="33375"/>
                  </a:lnTo>
                  <a:close/>
                </a:path>
                <a:path w="259079" h="80009">
                  <a:moveTo>
                    <a:pt x="106705" y="12598"/>
                  </a:moveTo>
                  <a:lnTo>
                    <a:pt x="100876" y="12598"/>
                  </a:lnTo>
                  <a:lnTo>
                    <a:pt x="98437" y="15036"/>
                  </a:lnTo>
                  <a:lnTo>
                    <a:pt x="98437" y="20967"/>
                  </a:lnTo>
                  <a:lnTo>
                    <a:pt x="100876" y="23317"/>
                  </a:lnTo>
                  <a:lnTo>
                    <a:pt x="106705" y="23317"/>
                  </a:lnTo>
                  <a:lnTo>
                    <a:pt x="109156" y="20967"/>
                  </a:lnTo>
                  <a:lnTo>
                    <a:pt x="109156" y="15036"/>
                  </a:lnTo>
                  <a:lnTo>
                    <a:pt x="106705" y="12598"/>
                  </a:lnTo>
                  <a:close/>
                </a:path>
                <a:path w="259079" h="80009">
                  <a:moveTo>
                    <a:pt x="107556" y="34594"/>
                  </a:moveTo>
                  <a:lnTo>
                    <a:pt x="100037" y="34594"/>
                  </a:lnTo>
                  <a:lnTo>
                    <a:pt x="100037" y="78778"/>
                  </a:lnTo>
                  <a:lnTo>
                    <a:pt x="107556" y="78778"/>
                  </a:lnTo>
                  <a:lnTo>
                    <a:pt x="107556" y="34594"/>
                  </a:lnTo>
                  <a:close/>
                </a:path>
                <a:path w="259079" h="80009">
                  <a:moveTo>
                    <a:pt x="81508" y="41554"/>
                  </a:moveTo>
                  <a:lnTo>
                    <a:pt x="73990" y="41554"/>
                  </a:lnTo>
                  <a:lnTo>
                    <a:pt x="73990" y="78778"/>
                  </a:lnTo>
                  <a:lnTo>
                    <a:pt x="81508" y="78778"/>
                  </a:lnTo>
                  <a:lnTo>
                    <a:pt x="81508" y="41554"/>
                  </a:lnTo>
                  <a:close/>
                </a:path>
                <a:path w="259079" h="80009">
                  <a:moveTo>
                    <a:pt x="92697" y="34594"/>
                  </a:moveTo>
                  <a:lnTo>
                    <a:pt x="69862" y="34594"/>
                  </a:lnTo>
                  <a:lnTo>
                    <a:pt x="69862" y="41554"/>
                  </a:lnTo>
                  <a:lnTo>
                    <a:pt x="92697" y="41554"/>
                  </a:lnTo>
                  <a:lnTo>
                    <a:pt x="92697" y="34594"/>
                  </a:lnTo>
                  <a:close/>
                </a:path>
                <a:path w="259079" h="80009">
                  <a:moveTo>
                    <a:pt x="89128" y="0"/>
                  </a:moveTo>
                  <a:lnTo>
                    <a:pt x="82829" y="0"/>
                  </a:lnTo>
                  <a:lnTo>
                    <a:pt x="78409" y="1600"/>
                  </a:lnTo>
                  <a:lnTo>
                    <a:pt x="74100" y="8559"/>
                  </a:lnTo>
                  <a:lnTo>
                    <a:pt x="73990" y="34594"/>
                  </a:lnTo>
                  <a:lnTo>
                    <a:pt x="81508" y="34594"/>
                  </a:lnTo>
                  <a:lnTo>
                    <a:pt x="81508" y="7518"/>
                  </a:lnTo>
                  <a:lnTo>
                    <a:pt x="92697" y="7518"/>
                  </a:lnTo>
                  <a:lnTo>
                    <a:pt x="92697" y="939"/>
                  </a:lnTo>
                  <a:lnTo>
                    <a:pt x="90919" y="380"/>
                  </a:lnTo>
                  <a:lnTo>
                    <a:pt x="89128" y="0"/>
                  </a:lnTo>
                  <a:close/>
                </a:path>
                <a:path w="259079" h="80009">
                  <a:moveTo>
                    <a:pt x="92697" y="7518"/>
                  </a:moveTo>
                  <a:lnTo>
                    <a:pt x="89509" y="7518"/>
                  </a:lnTo>
                  <a:lnTo>
                    <a:pt x="91008" y="7988"/>
                  </a:lnTo>
                  <a:lnTo>
                    <a:pt x="92697" y="8559"/>
                  </a:lnTo>
                  <a:lnTo>
                    <a:pt x="92697" y="7518"/>
                  </a:lnTo>
                  <a:close/>
                </a:path>
                <a:path w="259079" h="80009">
                  <a:moveTo>
                    <a:pt x="32321" y="34594"/>
                  </a:moveTo>
                  <a:lnTo>
                    <a:pt x="24803" y="34594"/>
                  </a:lnTo>
                  <a:lnTo>
                    <a:pt x="24803" y="78778"/>
                  </a:lnTo>
                  <a:lnTo>
                    <a:pt x="32321" y="78778"/>
                  </a:lnTo>
                  <a:lnTo>
                    <a:pt x="32321" y="49923"/>
                  </a:lnTo>
                  <a:lnTo>
                    <a:pt x="32981" y="40335"/>
                  </a:lnTo>
                  <a:lnTo>
                    <a:pt x="59547" y="40335"/>
                  </a:lnTo>
                  <a:lnTo>
                    <a:pt x="59426" y="39954"/>
                  </a:lnTo>
                  <a:lnTo>
                    <a:pt x="32321" y="39954"/>
                  </a:lnTo>
                  <a:lnTo>
                    <a:pt x="32321" y="34594"/>
                  </a:lnTo>
                  <a:close/>
                </a:path>
                <a:path w="259079" h="80009">
                  <a:moveTo>
                    <a:pt x="59547" y="40335"/>
                  </a:moveTo>
                  <a:lnTo>
                    <a:pt x="52057" y="40335"/>
                  </a:lnTo>
                  <a:lnTo>
                    <a:pt x="52628" y="46723"/>
                  </a:lnTo>
                  <a:lnTo>
                    <a:pt x="52628" y="78778"/>
                  </a:lnTo>
                  <a:lnTo>
                    <a:pt x="60147" y="78778"/>
                  </a:lnTo>
                  <a:lnTo>
                    <a:pt x="60147" y="42214"/>
                  </a:lnTo>
                  <a:lnTo>
                    <a:pt x="59547" y="40335"/>
                  </a:lnTo>
                  <a:close/>
                </a:path>
                <a:path w="259079" h="80009">
                  <a:moveTo>
                    <a:pt x="57327" y="33375"/>
                  </a:moveTo>
                  <a:lnTo>
                    <a:pt x="39649" y="33375"/>
                  </a:lnTo>
                  <a:lnTo>
                    <a:pt x="35610" y="35725"/>
                  </a:lnTo>
                  <a:lnTo>
                    <a:pt x="32511" y="39954"/>
                  </a:lnTo>
                  <a:lnTo>
                    <a:pt x="59426" y="39954"/>
                  </a:lnTo>
                  <a:lnTo>
                    <a:pt x="57327" y="33375"/>
                  </a:lnTo>
                  <a:close/>
                </a:path>
                <a:path w="259079" h="80009">
                  <a:moveTo>
                    <a:pt x="8280" y="12598"/>
                  </a:moveTo>
                  <a:lnTo>
                    <a:pt x="2451" y="12598"/>
                  </a:lnTo>
                  <a:lnTo>
                    <a:pt x="0" y="15036"/>
                  </a:lnTo>
                  <a:lnTo>
                    <a:pt x="0" y="20967"/>
                  </a:lnTo>
                  <a:lnTo>
                    <a:pt x="2451" y="23317"/>
                  </a:lnTo>
                  <a:lnTo>
                    <a:pt x="8280" y="23317"/>
                  </a:lnTo>
                  <a:lnTo>
                    <a:pt x="10718" y="20967"/>
                  </a:lnTo>
                  <a:lnTo>
                    <a:pt x="10718" y="15036"/>
                  </a:lnTo>
                  <a:lnTo>
                    <a:pt x="8280" y="12598"/>
                  </a:lnTo>
                  <a:close/>
                </a:path>
                <a:path w="259079" h="80009">
                  <a:moveTo>
                    <a:pt x="9118" y="34594"/>
                  </a:moveTo>
                  <a:lnTo>
                    <a:pt x="1600" y="34594"/>
                  </a:lnTo>
                  <a:lnTo>
                    <a:pt x="1600" y="78778"/>
                  </a:lnTo>
                  <a:lnTo>
                    <a:pt x="9118" y="78778"/>
                  </a:lnTo>
                  <a:lnTo>
                    <a:pt x="9118" y="34594"/>
                  </a:lnTo>
                  <a:close/>
                </a:path>
              </a:pathLst>
            </a:custGeom>
            <a:solidFill>
              <a:srgbClr val="1B1B1B"/>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Segoe UI" panose="020B0502040204020203" pitchFamily="34" charset="0"/>
              </a:endParaRPr>
            </a:p>
          </p:txBody>
        </p:sp>
      </p:grpSp>
      <p:sp>
        <p:nvSpPr>
          <p:cNvPr id="8" name="Slide Number Placeholder 5">
            <a:extLst>
              <a:ext uri="{FF2B5EF4-FFF2-40B4-BE49-F238E27FC236}">
                <a16:creationId xmlns:a16="http://schemas.microsoft.com/office/drawing/2014/main" id="{71C3FC04-8AF5-E791-FF46-8462CDC1A88D}"/>
              </a:ext>
            </a:extLst>
          </p:cNvPr>
          <p:cNvSpPr>
            <a:spLocks noGrp="1"/>
          </p:cNvSpPr>
          <p:nvPr>
            <p:ph type="sldNum" sz="quarter" idx="12"/>
          </p:nvPr>
        </p:nvSpPr>
        <p:spPr>
          <a:xfrm>
            <a:off x="11688644" y="6494918"/>
            <a:ext cx="231849" cy="176972"/>
          </a:xfrm>
        </p:spPr>
        <p:txBody>
          <a:bodyPr vert="horz" wrap="square" lIns="0" tIns="22860" rIns="0" bIns="0" rtlCol="0">
            <a:spAutoFit/>
          </a:bodyPr>
          <a:lstStyle>
            <a:lvl1pPr>
              <a:defRPr lang="en-US" sz="1000" b="0" i="0" smtClean="0">
                <a:solidFill>
                  <a:prstClr val="black"/>
                </a:solidFill>
                <a:latin typeface="Segoe UI Semilight" panose="020B0502040204020203" pitchFamily="34" charset="0"/>
                <a:cs typeface="Segoe UI Semilight" panose="020B0502040204020203" pitchFamily="34" charset="0"/>
              </a:defRPr>
            </a:lvl1pPr>
          </a:lstStyle>
          <a:p>
            <a:fld id="{656FEE46-54D6-4306-A6BD-73AF3F3AD20B}" type="slidenum">
              <a:rPr lang="en-US" smtClean="0"/>
              <a:t>‹#›</a:t>
            </a:fld>
            <a:endParaRPr lang="en-US" dirty="0"/>
          </a:p>
        </p:txBody>
      </p:sp>
      <p:sp>
        <p:nvSpPr>
          <p:cNvPr id="9" name="TextBox 8">
            <a:extLst>
              <a:ext uri="{FF2B5EF4-FFF2-40B4-BE49-F238E27FC236}">
                <a16:creationId xmlns:a16="http://schemas.microsoft.com/office/drawing/2014/main" id="{3025B842-E79C-AD2A-0C69-853D672A4026}"/>
              </a:ext>
            </a:extLst>
          </p:cNvPr>
          <p:cNvSpPr txBox="1"/>
          <p:nvPr userDrawn="1"/>
        </p:nvSpPr>
        <p:spPr>
          <a:xfrm>
            <a:off x="655336" y="6533786"/>
            <a:ext cx="1752403" cy="246221"/>
          </a:xfrm>
          <a:prstGeom prst="rect">
            <a:avLst/>
          </a:prstGeom>
          <a:noFill/>
        </p:spPr>
        <p:txBody>
          <a:bodyPr wrap="none" rtlCol="0">
            <a:spAutoFit/>
          </a:bodyPr>
          <a:lstStyle/>
          <a:p>
            <a:r>
              <a:rPr lang="en-US" sz="1000" dirty="0">
                <a:latin typeface="Segoe UI Semilight" panose="020B0402040204020203" pitchFamily="34" charset="0"/>
                <a:cs typeface="Segoe UI Semilight" panose="020B0402040204020203" pitchFamily="34" charset="0"/>
              </a:rPr>
              <a:t>© 2023 Infinite Confidential</a:t>
            </a:r>
            <a:endParaRPr lang="en-IN" sz="100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9307555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CBFA306-C6AA-BFA9-1F57-6C72D43660E8}"/>
              </a:ext>
            </a:extLst>
          </p:cNvPr>
          <p:cNvSpPr>
            <a:spLocks noGrp="1"/>
          </p:cNvSpPr>
          <p:nvPr>
            <p:ph type="sldNum" sz="quarter" idx="12"/>
          </p:nvPr>
        </p:nvSpPr>
        <p:spPr>
          <a:xfrm>
            <a:off x="11688644" y="6494918"/>
            <a:ext cx="231849" cy="176972"/>
          </a:xfrm>
        </p:spPr>
        <p:txBody>
          <a:bodyPr vert="horz" wrap="square" lIns="0" tIns="22860" rIns="0" bIns="0" rtlCol="0">
            <a:spAutoFit/>
          </a:bodyPr>
          <a:lstStyle>
            <a:lvl1pPr>
              <a:defRPr lang="en-US" sz="1000" b="0" i="0" smtClean="0">
                <a:solidFill>
                  <a:prstClr val="black"/>
                </a:solidFill>
                <a:latin typeface="Segoe UI Semilight" panose="020B0502040204020203" pitchFamily="34" charset="0"/>
                <a:cs typeface="Segoe UI Semilight" panose="020B0502040204020203" pitchFamily="34" charset="0"/>
              </a:defRPr>
            </a:lvl1pPr>
          </a:lstStyle>
          <a:p>
            <a:fld id="{656FEE46-54D6-4306-A6BD-73AF3F3AD20B}" type="slidenum">
              <a:rPr lang="en-US" smtClean="0"/>
              <a:t>‹#›</a:t>
            </a:fld>
            <a:endParaRPr lang="en-US"/>
          </a:p>
        </p:txBody>
      </p:sp>
      <p:grpSp>
        <p:nvGrpSpPr>
          <p:cNvPr id="3" name="Group 2">
            <a:extLst>
              <a:ext uri="{FF2B5EF4-FFF2-40B4-BE49-F238E27FC236}">
                <a16:creationId xmlns:a16="http://schemas.microsoft.com/office/drawing/2014/main" id="{DA8CB980-F269-E6A2-EE53-42B95031B08F}"/>
              </a:ext>
            </a:extLst>
          </p:cNvPr>
          <p:cNvGrpSpPr/>
          <p:nvPr userDrawn="1"/>
        </p:nvGrpSpPr>
        <p:grpSpPr>
          <a:xfrm>
            <a:off x="271506" y="6473483"/>
            <a:ext cx="297180" cy="304884"/>
            <a:chOff x="480261" y="6473483"/>
            <a:chExt cx="297180" cy="304884"/>
          </a:xfrm>
        </p:grpSpPr>
        <p:sp>
          <p:nvSpPr>
            <p:cNvPr id="4" name="object 3">
              <a:extLst>
                <a:ext uri="{FF2B5EF4-FFF2-40B4-BE49-F238E27FC236}">
                  <a16:creationId xmlns:a16="http://schemas.microsoft.com/office/drawing/2014/main" id="{E19DE14C-77CC-63E6-F0DC-E08FE8B7A247}"/>
                </a:ext>
              </a:extLst>
            </p:cNvPr>
            <p:cNvSpPr/>
            <p:nvPr/>
          </p:nvSpPr>
          <p:spPr>
            <a:xfrm>
              <a:off x="488654" y="6473483"/>
              <a:ext cx="269875" cy="218440"/>
            </a:xfrm>
            <a:custGeom>
              <a:avLst/>
              <a:gdLst/>
              <a:ahLst/>
              <a:cxnLst/>
              <a:rect l="l" t="t" r="r" b="b"/>
              <a:pathLst>
                <a:path w="269875" h="218440">
                  <a:moveTo>
                    <a:pt x="133286" y="0"/>
                  </a:moveTo>
                  <a:lnTo>
                    <a:pt x="0" y="218033"/>
                  </a:lnTo>
                  <a:lnTo>
                    <a:pt x="269544" y="216192"/>
                  </a:lnTo>
                  <a:lnTo>
                    <a:pt x="133286" y="0"/>
                  </a:lnTo>
                  <a:close/>
                </a:path>
              </a:pathLst>
            </a:custGeom>
            <a:solidFill>
              <a:srgbClr val="1C8BC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Segoe UI" panose="020B0502040204020203" pitchFamily="34" charset="0"/>
              </a:endParaRPr>
            </a:p>
          </p:txBody>
        </p:sp>
        <p:pic>
          <p:nvPicPr>
            <p:cNvPr id="5" name="object 4">
              <a:extLst>
                <a:ext uri="{FF2B5EF4-FFF2-40B4-BE49-F238E27FC236}">
                  <a16:creationId xmlns:a16="http://schemas.microsoft.com/office/drawing/2014/main" id="{E4E8FCF6-2D5A-C246-3C72-5071F8806988}"/>
                </a:ext>
              </a:extLst>
            </p:cNvPr>
            <p:cNvPicPr/>
            <p:nvPr/>
          </p:nvPicPr>
          <p:blipFill>
            <a:blip r:embed="rId2" cstate="screen">
              <a:extLst>
                <a:ext uri="{28A0092B-C50C-407E-A947-70E740481C1C}">
                  <a14:useLocalDpi xmlns:a14="http://schemas.microsoft.com/office/drawing/2010/main"/>
                </a:ext>
              </a:extLst>
            </a:blip>
            <a:stretch>
              <a:fillRect/>
            </a:stretch>
          </p:blipFill>
          <p:spPr>
            <a:xfrm>
              <a:off x="575304" y="6474180"/>
              <a:ext cx="192015" cy="172148"/>
            </a:xfrm>
            <a:prstGeom prst="rect">
              <a:avLst/>
            </a:prstGeom>
          </p:spPr>
        </p:pic>
        <p:sp>
          <p:nvSpPr>
            <p:cNvPr id="7" name="object 5">
              <a:extLst>
                <a:ext uri="{FF2B5EF4-FFF2-40B4-BE49-F238E27FC236}">
                  <a16:creationId xmlns:a16="http://schemas.microsoft.com/office/drawing/2014/main" id="{1F8A8A57-CD0A-2860-BD52-CEF336B6A1E0}"/>
                </a:ext>
              </a:extLst>
            </p:cNvPr>
            <p:cNvSpPr/>
            <p:nvPr/>
          </p:nvSpPr>
          <p:spPr>
            <a:xfrm>
              <a:off x="480261" y="6523419"/>
              <a:ext cx="297180" cy="204470"/>
            </a:xfrm>
            <a:custGeom>
              <a:avLst/>
              <a:gdLst/>
              <a:ahLst/>
              <a:cxnLst/>
              <a:rect l="l" t="t" r="r" b="b"/>
              <a:pathLst>
                <a:path w="297180" h="204470">
                  <a:moveTo>
                    <a:pt x="50416" y="0"/>
                  </a:moveTo>
                  <a:lnTo>
                    <a:pt x="29033" y="1654"/>
                  </a:lnTo>
                  <a:lnTo>
                    <a:pt x="12525" y="7804"/>
                  </a:lnTo>
                  <a:lnTo>
                    <a:pt x="1787" y="18577"/>
                  </a:lnTo>
                  <a:lnTo>
                    <a:pt x="0" y="48188"/>
                  </a:lnTo>
                  <a:lnTo>
                    <a:pt x="20415" y="85028"/>
                  </a:lnTo>
                  <a:lnTo>
                    <a:pt x="59437" y="124485"/>
                  </a:lnTo>
                  <a:lnTo>
                    <a:pt x="113471" y="161947"/>
                  </a:lnTo>
                  <a:lnTo>
                    <a:pt x="172839" y="190133"/>
                  </a:lnTo>
                  <a:lnTo>
                    <a:pt x="226425" y="204291"/>
                  </a:lnTo>
                  <a:lnTo>
                    <a:pt x="268447" y="203601"/>
                  </a:lnTo>
                  <a:lnTo>
                    <a:pt x="293125" y="187246"/>
                  </a:lnTo>
                  <a:lnTo>
                    <a:pt x="297074" y="171813"/>
                  </a:lnTo>
                  <a:lnTo>
                    <a:pt x="293549" y="153470"/>
                  </a:lnTo>
                  <a:lnTo>
                    <a:pt x="283183" y="133032"/>
                  </a:lnTo>
                  <a:lnTo>
                    <a:pt x="266607" y="111312"/>
                  </a:lnTo>
                  <a:lnTo>
                    <a:pt x="278829" y="130753"/>
                  </a:lnTo>
                  <a:lnTo>
                    <a:pt x="286310" y="149415"/>
                  </a:lnTo>
                  <a:lnTo>
                    <a:pt x="288512" y="166130"/>
                  </a:lnTo>
                  <a:lnTo>
                    <a:pt x="284895" y="179727"/>
                  </a:lnTo>
                  <a:lnTo>
                    <a:pt x="261667" y="194707"/>
                  </a:lnTo>
                  <a:lnTo>
                    <a:pt x="221780" y="195423"/>
                  </a:lnTo>
                  <a:lnTo>
                    <a:pt x="171324" y="182572"/>
                  </a:lnTo>
                  <a:lnTo>
                    <a:pt x="116392" y="156854"/>
                  </a:lnTo>
                  <a:lnTo>
                    <a:pt x="66353" y="121857"/>
                  </a:lnTo>
                  <a:lnTo>
                    <a:pt x="29224" y="84110"/>
                  </a:lnTo>
                  <a:lnTo>
                    <a:pt x="9094" y="48757"/>
                  </a:lnTo>
                  <a:lnTo>
                    <a:pt x="10055" y="20939"/>
                  </a:lnTo>
                  <a:lnTo>
                    <a:pt x="19643" y="11426"/>
                  </a:lnTo>
                  <a:lnTo>
                    <a:pt x="34720" y="5150"/>
                  </a:lnTo>
                  <a:lnTo>
                    <a:pt x="53894" y="2212"/>
                  </a:lnTo>
                  <a:lnTo>
                    <a:pt x="75777" y="2715"/>
                  </a:lnTo>
                  <a:lnTo>
                    <a:pt x="50416" y="0"/>
                  </a:lnTo>
                  <a:close/>
                </a:path>
              </a:pathLst>
            </a:custGeom>
            <a:solidFill>
              <a:srgbClr val="00B8A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Segoe UI" panose="020B0502040204020203" pitchFamily="34" charset="0"/>
              </a:endParaRPr>
            </a:p>
          </p:txBody>
        </p:sp>
        <p:sp>
          <p:nvSpPr>
            <p:cNvPr id="8" name="object 6">
              <a:extLst>
                <a:ext uri="{FF2B5EF4-FFF2-40B4-BE49-F238E27FC236}">
                  <a16:creationId xmlns:a16="http://schemas.microsoft.com/office/drawing/2014/main" id="{79BC4322-4EC2-E13E-238F-41CCF745002B}"/>
                </a:ext>
              </a:extLst>
            </p:cNvPr>
            <p:cNvSpPr/>
            <p:nvPr/>
          </p:nvSpPr>
          <p:spPr>
            <a:xfrm>
              <a:off x="494708" y="6698357"/>
              <a:ext cx="259079" cy="80010"/>
            </a:xfrm>
            <a:custGeom>
              <a:avLst/>
              <a:gdLst/>
              <a:ahLst/>
              <a:cxnLst/>
              <a:rect l="l" t="t" r="r" b="b"/>
              <a:pathLst>
                <a:path w="259079" h="80009">
                  <a:moveTo>
                    <a:pt x="237553" y="33375"/>
                  </a:moveTo>
                  <a:lnTo>
                    <a:pt x="228374" y="35268"/>
                  </a:lnTo>
                  <a:lnTo>
                    <a:pt x="221653" y="40412"/>
                  </a:lnTo>
                  <a:lnTo>
                    <a:pt x="217522" y="48007"/>
                  </a:lnTo>
                  <a:lnTo>
                    <a:pt x="216115" y="57251"/>
                  </a:lnTo>
                  <a:lnTo>
                    <a:pt x="217645" y="66158"/>
                  </a:lnTo>
                  <a:lnTo>
                    <a:pt x="221995" y="73382"/>
                  </a:lnTo>
                  <a:lnTo>
                    <a:pt x="228813" y="78227"/>
                  </a:lnTo>
                  <a:lnTo>
                    <a:pt x="237743" y="79997"/>
                  </a:lnTo>
                  <a:lnTo>
                    <a:pt x="246773" y="79997"/>
                  </a:lnTo>
                  <a:lnTo>
                    <a:pt x="253911" y="75488"/>
                  </a:lnTo>
                  <a:lnTo>
                    <a:pt x="255216" y="73050"/>
                  </a:lnTo>
                  <a:lnTo>
                    <a:pt x="229755" y="73050"/>
                  </a:lnTo>
                  <a:lnTo>
                    <a:pt x="223926" y="66459"/>
                  </a:lnTo>
                  <a:lnTo>
                    <a:pt x="223824" y="58280"/>
                  </a:lnTo>
                  <a:lnTo>
                    <a:pt x="258521" y="58280"/>
                  </a:lnTo>
                  <a:lnTo>
                    <a:pt x="257869" y="51892"/>
                  </a:lnTo>
                  <a:lnTo>
                    <a:pt x="224205" y="51892"/>
                  </a:lnTo>
                  <a:lnTo>
                    <a:pt x="225145" y="45504"/>
                  </a:lnTo>
                  <a:lnTo>
                    <a:pt x="231165" y="40335"/>
                  </a:lnTo>
                  <a:lnTo>
                    <a:pt x="252957" y="40335"/>
                  </a:lnTo>
                  <a:lnTo>
                    <a:pt x="246925" y="35416"/>
                  </a:lnTo>
                  <a:lnTo>
                    <a:pt x="237553" y="33375"/>
                  </a:lnTo>
                  <a:close/>
                </a:path>
                <a:path w="259079" h="80009">
                  <a:moveTo>
                    <a:pt x="251752" y="63919"/>
                  </a:moveTo>
                  <a:lnTo>
                    <a:pt x="248831" y="69189"/>
                  </a:lnTo>
                  <a:lnTo>
                    <a:pt x="244703" y="73050"/>
                  </a:lnTo>
                  <a:lnTo>
                    <a:pt x="255216" y="73050"/>
                  </a:lnTo>
                  <a:lnTo>
                    <a:pt x="258140" y="67589"/>
                  </a:lnTo>
                  <a:lnTo>
                    <a:pt x="251752" y="63919"/>
                  </a:lnTo>
                  <a:close/>
                </a:path>
                <a:path w="259079" h="80009">
                  <a:moveTo>
                    <a:pt x="252957" y="40335"/>
                  </a:moveTo>
                  <a:lnTo>
                    <a:pt x="244233" y="40335"/>
                  </a:lnTo>
                  <a:lnTo>
                    <a:pt x="249593" y="45504"/>
                  </a:lnTo>
                  <a:lnTo>
                    <a:pt x="250621" y="51892"/>
                  </a:lnTo>
                  <a:lnTo>
                    <a:pt x="257869" y="51892"/>
                  </a:lnTo>
                  <a:lnTo>
                    <a:pt x="257557" y="48838"/>
                  </a:lnTo>
                  <a:lnTo>
                    <a:pt x="253642" y="40893"/>
                  </a:lnTo>
                  <a:lnTo>
                    <a:pt x="252957" y="40335"/>
                  </a:lnTo>
                  <a:close/>
                </a:path>
                <a:path w="259079" h="80009">
                  <a:moveTo>
                    <a:pt x="205384" y="41554"/>
                  </a:moveTo>
                  <a:lnTo>
                    <a:pt x="197865" y="41554"/>
                  </a:lnTo>
                  <a:lnTo>
                    <a:pt x="197865" y="78778"/>
                  </a:lnTo>
                  <a:lnTo>
                    <a:pt x="205384" y="78778"/>
                  </a:lnTo>
                  <a:lnTo>
                    <a:pt x="205384" y="41554"/>
                  </a:lnTo>
                  <a:close/>
                </a:path>
                <a:path w="259079" h="80009">
                  <a:moveTo>
                    <a:pt x="213283" y="34594"/>
                  </a:moveTo>
                  <a:lnTo>
                    <a:pt x="193255" y="34594"/>
                  </a:lnTo>
                  <a:lnTo>
                    <a:pt x="193255" y="41554"/>
                  </a:lnTo>
                  <a:lnTo>
                    <a:pt x="213283" y="41554"/>
                  </a:lnTo>
                  <a:lnTo>
                    <a:pt x="213283" y="34594"/>
                  </a:lnTo>
                  <a:close/>
                </a:path>
                <a:path w="259079" h="80009">
                  <a:moveTo>
                    <a:pt x="205384" y="18707"/>
                  </a:moveTo>
                  <a:lnTo>
                    <a:pt x="197865" y="18707"/>
                  </a:lnTo>
                  <a:lnTo>
                    <a:pt x="197865" y="34594"/>
                  </a:lnTo>
                  <a:lnTo>
                    <a:pt x="205384" y="34594"/>
                  </a:lnTo>
                  <a:lnTo>
                    <a:pt x="205384" y="18707"/>
                  </a:lnTo>
                  <a:close/>
                </a:path>
                <a:path w="259079" h="80009">
                  <a:moveTo>
                    <a:pt x="180962" y="12598"/>
                  </a:moveTo>
                  <a:lnTo>
                    <a:pt x="175132" y="12598"/>
                  </a:lnTo>
                  <a:lnTo>
                    <a:pt x="172694" y="15036"/>
                  </a:lnTo>
                  <a:lnTo>
                    <a:pt x="172694" y="20967"/>
                  </a:lnTo>
                  <a:lnTo>
                    <a:pt x="175132" y="23317"/>
                  </a:lnTo>
                  <a:lnTo>
                    <a:pt x="180962" y="23317"/>
                  </a:lnTo>
                  <a:lnTo>
                    <a:pt x="183413" y="20967"/>
                  </a:lnTo>
                  <a:lnTo>
                    <a:pt x="183413" y="15036"/>
                  </a:lnTo>
                  <a:lnTo>
                    <a:pt x="180962" y="12598"/>
                  </a:lnTo>
                  <a:close/>
                </a:path>
                <a:path w="259079" h="80009">
                  <a:moveTo>
                    <a:pt x="181813" y="34594"/>
                  </a:moveTo>
                  <a:lnTo>
                    <a:pt x="174294" y="34594"/>
                  </a:lnTo>
                  <a:lnTo>
                    <a:pt x="174294" y="78778"/>
                  </a:lnTo>
                  <a:lnTo>
                    <a:pt x="181813" y="78778"/>
                  </a:lnTo>
                  <a:lnTo>
                    <a:pt x="181813" y="34594"/>
                  </a:lnTo>
                  <a:close/>
                </a:path>
                <a:path w="259079" h="80009">
                  <a:moveTo>
                    <a:pt x="130733" y="34594"/>
                  </a:moveTo>
                  <a:lnTo>
                    <a:pt x="123215" y="34594"/>
                  </a:lnTo>
                  <a:lnTo>
                    <a:pt x="123215" y="78778"/>
                  </a:lnTo>
                  <a:lnTo>
                    <a:pt x="130733" y="78778"/>
                  </a:lnTo>
                  <a:lnTo>
                    <a:pt x="130733" y="49923"/>
                  </a:lnTo>
                  <a:lnTo>
                    <a:pt x="131394" y="40335"/>
                  </a:lnTo>
                  <a:lnTo>
                    <a:pt x="157959" y="40335"/>
                  </a:lnTo>
                  <a:lnTo>
                    <a:pt x="157838" y="39954"/>
                  </a:lnTo>
                  <a:lnTo>
                    <a:pt x="130733" y="39954"/>
                  </a:lnTo>
                  <a:lnTo>
                    <a:pt x="130733" y="34594"/>
                  </a:lnTo>
                  <a:close/>
                </a:path>
                <a:path w="259079" h="80009">
                  <a:moveTo>
                    <a:pt x="157959" y="40335"/>
                  </a:moveTo>
                  <a:lnTo>
                    <a:pt x="150482" y="40335"/>
                  </a:lnTo>
                  <a:lnTo>
                    <a:pt x="151041" y="46723"/>
                  </a:lnTo>
                  <a:lnTo>
                    <a:pt x="151041" y="78778"/>
                  </a:lnTo>
                  <a:lnTo>
                    <a:pt x="158559" y="78778"/>
                  </a:lnTo>
                  <a:lnTo>
                    <a:pt x="158559" y="42214"/>
                  </a:lnTo>
                  <a:lnTo>
                    <a:pt x="157959" y="40335"/>
                  </a:lnTo>
                  <a:close/>
                </a:path>
                <a:path w="259079" h="80009">
                  <a:moveTo>
                    <a:pt x="155740" y="33375"/>
                  </a:moveTo>
                  <a:lnTo>
                    <a:pt x="138061" y="33375"/>
                  </a:lnTo>
                  <a:lnTo>
                    <a:pt x="134023" y="35725"/>
                  </a:lnTo>
                  <a:lnTo>
                    <a:pt x="130924" y="39954"/>
                  </a:lnTo>
                  <a:lnTo>
                    <a:pt x="157838" y="39954"/>
                  </a:lnTo>
                  <a:lnTo>
                    <a:pt x="155740" y="33375"/>
                  </a:lnTo>
                  <a:close/>
                </a:path>
                <a:path w="259079" h="80009">
                  <a:moveTo>
                    <a:pt x="106705" y="12598"/>
                  </a:moveTo>
                  <a:lnTo>
                    <a:pt x="100876" y="12598"/>
                  </a:lnTo>
                  <a:lnTo>
                    <a:pt x="98437" y="15036"/>
                  </a:lnTo>
                  <a:lnTo>
                    <a:pt x="98437" y="20967"/>
                  </a:lnTo>
                  <a:lnTo>
                    <a:pt x="100876" y="23317"/>
                  </a:lnTo>
                  <a:lnTo>
                    <a:pt x="106705" y="23317"/>
                  </a:lnTo>
                  <a:lnTo>
                    <a:pt x="109156" y="20967"/>
                  </a:lnTo>
                  <a:lnTo>
                    <a:pt x="109156" y="15036"/>
                  </a:lnTo>
                  <a:lnTo>
                    <a:pt x="106705" y="12598"/>
                  </a:lnTo>
                  <a:close/>
                </a:path>
                <a:path w="259079" h="80009">
                  <a:moveTo>
                    <a:pt x="107556" y="34594"/>
                  </a:moveTo>
                  <a:lnTo>
                    <a:pt x="100037" y="34594"/>
                  </a:lnTo>
                  <a:lnTo>
                    <a:pt x="100037" y="78778"/>
                  </a:lnTo>
                  <a:lnTo>
                    <a:pt x="107556" y="78778"/>
                  </a:lnTo>
                  <a:lnTo>
                    <a:pt x="107556" y="34594"/>
                  </a:lnTo>
                  <a:close/>
                </a:path>
                <a:path w="259079" h="80009">
                  <a:moveTo>
                    <a:pt x="81508" y="41554"/>
                  </a:moveTo>
                  <a:lnTo>
                    <a:pt x="73990" y="41554"/>
                  </a:lnTo>
                  <a:lnTo>
                    <a:pt x="73990" y="78778"/>
                  </a:lnTo>
                  <a:lnTo>
                    <a:pt x="81508" y="78778"/>
                  </a:lnTo>
                  <a:lnTo>
                    <a:pt x="81508" y="41554"/>
                  </a:lnTo>
                  <a:close/>
                </a:path>
                <a:path w="259079" h="80009">
                  <a:moveTo>
                    <a:pt x="92697" y="34594"/>
                  </a:moveTo>
                  <a:lnTo>
                    <a:pt x="69862" y="34594"/>
                  </a:lnTo>
                  <a:lnTo>
                    <a:pt x="69862" y="41554"/>
                  </a:lnTo>
                  <a:lnTo>
                    <a:pt x="92697" y="41554"/>
                  </a:lnTo>
                  <a:lnTo>
                    <a:pt x="92697" y="34594"/>
                  </a:lnTo>
                  <a:close/>
                </a:path>
                <a:path w="259079" h="80009">
                  <a:moveTo>
                    <a:pt x="89128" y="0"/>
                  </a:moveTo>
                  <a:lnTo>
                    <a:pt x="82829" y="0"/>
                  </a:lnTo>
                  <a:lnTo>
                    <a:pt x="78409" y="1600"/>
                  </a:lnTo>
                  <a:lnTo>
                    <a:pt x="74100" y="8559"/>
                  </a:lnTo>
                  <a:lnTo>
                    <a:pt x="73990" y="34594"/>
                  </a:lnTo>
                  <a:lnTo>
                    <a:pt x="81508" y="34594"/>
                  </a:lnTo>
                  <a:lnTo>
                    <a:pt x="81508" y="7518"/>
                  </a:lnTo>
                  <a:lnTo>
                    <a:pt x="92697" y="7518"/>
                  </a:lnTo>
                  <a:lnTo>
                    <a:pt x="92697" y="939"/>
                  </a:lnTo>
                  <a:lnTo>
                    <a:pt x="90919" y="380"/>
                  </a:lnTo>
                  <a:lnTo>
                    <a:pt x="89128" y="0"/>
                  </a:lnTo>
                  <a:close/>
                </a:path>
                <a:path w="259079" h="80009">
                  <a:moveTo>
                    <a:pt x="92697" y="7518"/>
                  </a:moveTo>
                  <a:lnTo>
                    <a:pt x="89509" y="7518"/>
                  </a:lnTo>
                  <a:lnTo>
                    <a:pt x="91008" y="7988"/>
                  </a:lnTo>
                  <a:lnTo>
                    <a:pt x="92697" y="8559"/>
                  </a:lnTo>
                  <a:lnTo>
                    <a:pt x="92697" y="7518"/>
                  </a:lnTo>
                  <a:close/>
                </a:path>
                <a:path w="259079" h="80009">
                  <a:moveTo>
                    <a:pt x="32321" y="34594"/>
                  </a:moveTo>
                  <a:lnTo>
                    <a:pt x="24803" y="34594"/>
                  </a:lnTo>
                  <a:lnTo>
                    <a:pt x="24803" y="78778"/>
                  </a:lnTo>
                  <a:lnTo>
                    <a:pt x="32321" y="78778"/>
                  </a:lnTo>
                  <a:lnTo>
                    <a:pt x="32321" y="49923"/>
                  </a:lnTo>
                  <a:lnTo>
                    <a:pt x="32981" y="40335"/>
                  </a:lnTo>
                  <a:lnTo>
                    <a:pt x="59547" y="40335"/>
                  </a:lnTo>
                  <a:lnTo>
                    <a:pt x="59426" y="39954"/>
                  </a:lnTo>
                  <a:lnTo>
                    <a:pt x="32321" y="39954"/>
                  </a:lnTo>
                  <a:lnTo>
                    <a:pt x="32321" y="34594"/>
                  </a:lnTo>
                  <a:close/>
                </a:path>
                <a:path w="259079" h="80009">
                  <a:moveTo>
                    <a:pt x="59547" y="40335"/>
                  </a:moveTo>
                  <a:lnTo>
                    <a:pt x="52057" y="40335"/>
                  </a:lnTo>
                  <a:lnTo>
                    <a:pt x="52628" y="46723"/>
                  </a:lnTo>
                  <a:lnTo>
                    <a:pt x="52628" y="78778"/>
                  </a:lnTo>
                  <a:lnTo>
                    <a:pt x="60147" y="78778"/>
                  </a:lnTo>
                  <a:lnTo>
                    <a:pt x="60147" y="42214"/>
                  </a:lnTo>
                  <a:lnTo>
                    <a:pt x="59547" y="40335"/>
                  </a:lnTo>
                  <a:close/>
                </a:path>
                <a:path w="259079" h="80009">
                  <a:moveTo>
                    <a:pt x="57327" y="33375"/>
                  </a:moveTo>
                  <a:lnTo>
                    <a:pt x="39649" y="33375"/>
                  </a:lnTo>
                  <a:lnTo>
                    <a:pt x="35610" y="35725"/>
                  </a:lnTo>
                  <a:lnTo>
                    <a:pt x="32511" y="39954"/>
                  </a:lnTo>
                  <a:lnTo>
                    <a:pt x="59426" y="39954"/>
                  </a:lnTo>
                  <a:lnTo>
                    <a:pt x="57327" y="33375"/>
                  </a:lnTo>
                  <a:close/>
                </a:path>
                <a:path w="259079" h="80009">
                  <a:moveTo>
                    <a:pt x="8280" y="12598"/>
                  </a:moveTo>
                  <a:lnTo>
                    <a:pt x="2451" y="12598"/>
                  </a:lnTo>
                  <a:lnTo>
                    <a:pt x="0" y="15036"/>
                  </a:lnTo>
                  <a:lnTo>
                    <a:pt x="0" y="20967"/>
                  </a:lnTo>
                  <a:lnTo>
                    <a:pt x="2451" y="23317"/>
                  </a:lnTo>
                  <a:lnTo>
                    <a:pt x="8280" y="23317"/>
                  </a:lnTo>
                  <a:lnTo>
                    <a:pt x="10718" y="20967"/>
                  </a:lnTo>
                  <a:lnTo>
                    <a:pt x="10718" y="15036"/>
                  </a:lnTo>
                  <a:lnTo>
                    <a:pt x="8280" y="12598"/>
                  </a:lnTo>
                  <a:close/>
                </a:path>
                <a:path w="259079" h="80009">
                  <a:moveTo>
                    <a:pt x="9118" y="34594"/>
                  </a:moveTo>
                  <a:lnTo>
                    <a:pt x="1600" y="34594"/>
                  </a:lnTo>
                  <a:lnTo>
                    <a:pt x="1600" y="78778"/>
                  </a:lnTo>
                  <a:lnTo>
                    <a:pt x="9118" y="78778"/>
                  </a:lnTo>
                  <a:lnTo>
                    <a:pt x="9118" y="34594"/>
                  </a:lnTo>
                  <a:close/>
                </a:path>
              </a:pathLst>
            </a:custGeom>
            <a:solidFill>
              <a:srgbClr val="1B1B1B"/>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Segoe UI" panose="020B0502040204020203" pitchFamily="34" charset="0"/>
              </a:endParaRPr>
            </a:p>
          </p:txBody>
        </p:sp>
      </p:grpSp>
      <p:sp>
        <p:nvSpPr>
          <p:cNvPr id="9" name="TextBox 8">
            <a:extLst>
              <a:ext uri="{FF2B5EF4-FFF2-40B4-BE49-F238E27FC236}">
                <a16:creationId xmlns:a16="http://schemas.microsoft.com/office/drawing/2014/main" id="{E4E34CB2-DFB3-8E53-44F5-483C70EA3F9D}"/>
              </a:ext>
            </a:extLst>
          </p:cNvPr>
          <p:cNvSpPr txBox="1"/>
          <p:nvPr userDrawn="1"/>
        </p:nvSpPr>
        <p:spPr>
          <a:xfrm>
            <a:off x="655336" y="6500850"/>
            <a:ext cx="171553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2025 Infinite Confidential</a:t>
            </a:r>
            <a:endParaRPr kumimoji="0" lang="en-IN" sz="10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 name="Title Placeholder 1">
            <a:extLst>
              <a:ext uri="{FF2B5EF4-FFF2-40B4-BE49-F238E27FC236}">
                <a16:creationId xmlns:a16="http://schemas.microsoft.com/office/drawing/2014/main" id="{D270D9B9-89EA-D3D8-93A6-0397FF9D3C37}"/>
              </a:ext>
            </a:extLst>
          </p:cNvPr>
          <p:cNvSpPr>
            <a:spLocks noGrp="1"/>
          </p:cNvSpPr>
          <p:nvPr>
            <p:ph type="title"/>
          </p:nvPr>
        </p:nvSpPr>
        <p:spPr>
          <a:xfrm>
            <a:off x="279899" y="365125"/>
            <a:ext cx="10515600" cy="396875"/>
          </a:xfrm>
          <a:prstGeom prst="rect">
            <a:avLst/>
          </a:prstGeom>
        </p:spPr>
        <p:txBody>
          <a:bodyPr vert="horz" lIns="91440" tIns="45720" rIns="91440" bIns="45720" rtlCol="0" anchor="ctr">
            <a:noAutofit/>
          </a:bodyPr>
          <a:lstStyle>
            <a:lvl1pPr>
              <a:defRPr sz="2400" b="1"/>
            </a:lvl1pPr>
          </a:lstStyle>
          <a:p>
            <a:r>
              <a:rPr lang="en-US"/>
              <a:t>Click to edit Master title style</a:t>
            </a:r>
          </a:p>
        </p:txBody>
      </p:sp>
    </p:spTree>
    <p:extLst>
      <p:ext uri="{BB962C8B-B14F-4D97-AF65-F5344CB8AC3E}">
        <p14:creationId xmlns:p14="http://schemas.microsoft.com/office/powerpoint/2010/main" val="949220113"/>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43217CD-E343-5363-FEAE-2CF2EAF9EE14}"/>
              </a:ext>
            </a:extLst>
          </p:cNvPr>
          <p:cNvGrpSpPr/>
          <p:nvPr/>
        </p:nvGrpSpPr>
        <p:grpSpPr>
          <a:xfrm>
            <a:off x="271506" y="6473483"/>
            <a:ext cx="297180" cy="304884"/>
            <a:chOff x="480261" y="6473483"/>
            <a:chExt cx="297180" cy="304884"/>
          </a:xfrm>
        </p:grpSpPr>
        <p:sp>
          <p:nvSpPr>
            <p:cNvPr id="9" name="object 3">
              <a:extLst>
                <a:ext uri="{FF2B5EF4-FFF2-40B4-BE49-F238E27FC236}">
                  <a16:creationId xmlns:a16="http://schemas.microsoft.com/office/drawing/2014/main" id="{6B0338A6-D243-6FEC-109F-A97C52108BA2}"/>
                </a:ext>
              </a:extLst>
            </p:cNvPr>
            <p:cNvSpPr/>
            <p:nvPr/>
          </p:nvSpPr>
          <p:spPr>
            <a:xfrm>
              <a:off x="488654" y="6473483"/>
              <a:ext cx="269875" cy="218440"/>
            </a:xfrm>
            <a:custGeom>
              <a:avLst/>
              <a:gdLst/>
              <a:ahLst/>
              <a:cxnLst/>
              <a:rect l="l" t="t" r="r" b="b"/>
              <a:pathLst>
                <a:path w="269875" h="218440">
                  <a:moveTo>
                    <a:pt x="133286" y="0"/>
                  </a:moveTo>
                  <a:lnTo>
                    <a:pt x="0" y="218033"/>
                  </a:lnTo>
                  <a:lnTo>
                    <a:pt x="269544" y="216192"/>
                  </a:lnTo>
                  <a:lnTo>
                    <a:pt x="133286" y="0"/>
                  </a:lnTo>
                  <a:close/>
                </a:path>
              </a:pathLst>
            </a:custGeom>
            <a:solidFill>
              <a:srgbClr val="1C8BC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Segoe UI" panose="020B0502040204020203" pitchFamily="34" charset="0"/>
              </a:endParaRPr>
            </a:p>
          </p:txBody>
        </p:sp>
        <p:pic>
          <p:nvPicPr>
            <p:cNvPr id="10" name="object 4">
              <a:extLst>
                <a:ext uri="{FF2B5EF4-FFF2-40B4-BE49-F238E27FC236}">
                  <a16:creationId xmlns:a16="http://schemas.microsoft.com/office/drawing/2014/main" id="{DE03E7A5-03C1-6898-807A-353D56CBCD58}"/>
                </a:ext>
              </a:extLst>
            </p:cNvPr>
            <p:cNvPicPr/>
            <p:nvPr/>
          </p:nvPicPr>
          <p:blipFill>
            <a:blip r:embed="rId2" cstate="screen">
              <a:extLst>
                <a:ext uri="{28A0092B-C50C-407E-A947-70E740481C1C}">
                  <a14:useLocalDpi xmlns:a14="http://schemas.microsoft.com/office/drawing/2010/main"/>
                </a:ext>
              </a:extLst>
            </a:blip>
            <a:stretch>
              <a:fillRect/>
            </a:stretch>
          </p:blipFill>
          <p:spPr>
            <a:xfrm>
              <a:off x="575304" y="6474180"/>
              <a:ext cx="192015" cy="172148"/>
            </a:xfrm>
            <a:prstGeom prst="rect">
              <a:avLst/>
            </a:prstGeom>
          </p:spPr>
        </p:pic>
        <p:sp>
          <p:nvSpPr>
            <p:cNvPr id="11" name="object 5">
              <a:extLst>
                <a:ext uri="{FF2B5EF4-FFF2-40B4-BE49-F238E27FC236}">
                  <a16:creationId xmlns:a16="http://schemas.microsoft.com/office/drawing/2014/main" id="{2483A9EF-BD31-B1F8-413B-4A53BDB36451}"/>
                </a:ext>
              </a:extLst>
            </p:cNvPr>
            <p:cNvSpPr/>
            <p:nvPr/>
          </p:nvSpPr>
          <p:spPr>
            <a:xfrm>
              <a:off x="480261" y="6523419"/>
              <a:ext cx="297180" cy="204470"/>
            </a:xfrm>
            <a:custGeom>
              <a:avLst/>
              <a:gdLst/>
              <a:ahLst/>
              <a:cxnLst/>
              <a:rect l="l" t="t" r="r" b="b"/>
              <a:pathLst>
                <a:path w="297180" h="204470">
                  <a:moveTo>
                    <a:pt x="50416" y="0"/>
                  </a:moveTo>
                  <a:lnTo>
                    <a:pt x="29033" y="1654"/>
                  </a:lnTo>
                  <a:lnTo>
                    <a:pt x="12525" y="7804"/>
                  </a:lnTo>
                  <a:lnTo>
                    <a:pt x="1787" y="18577"/>
                  </a:lnTo>
                  <a:lnTo>
                    <a:pt x="0" y="48188"/>
                  </a:lnTo>
                  <a:lnTo>
                    <a:pt x="20415" y="85028"/>
                  </a:lnTo>
                  <a:lnTo>
                    <a:pt x="59437" y="124485"/>
                  </a:lnTo>
                  <a:lnTo>
                    <a:pt x="113471" y="161947"/>
                  </a:lnTo>
                  <a:lnTo>
                    <a:pt x="172839" y="190133"/>
                  </a:lnTo>
                  <a:lnTo>
                    <a:pt x="226425" y="204291"/>
                  </a:lnTo>
                  <a:lnTo>
                    <a:pt x="268447" y="203601"/>
                  </a:lnTo>
                  <a:lnTo>
                    <a:pt x="293125" y="187246"/>
                  </a:lnTo>
                  <a:lnTo>
                    <a:pt x="297074" y="171813"/>
                  </a:lnTo>
                  <a:lnTo>
                    <a:pt x="293549" y="153470"/>
                  </a:lnTo>
                  <a:lnTo>
                    <a:pt x="283183" y="133032"/>
                  </a:lnTo>
                  <a:lnTo>
                    <a:pt x="266607" y="111312"/>
                  </a:lnTo>
                  <a:lnTo>
                    <a:pt x="278829" y="130753"/>
                  </a:lnTo>
                  <a:lnTo>
                    <a:pt x="286310" y="149415"/>
                  </a:lnTo>
                  <a:lnTo>
                    <a:pt x="288512" y="166130"/>
                  </a:lnTo>
                  <a:lnTo>
                    <a:pt x="284895" y="179727"/>
                  </a:lnTo>
                  <a:lnTo>
                    <a:pt x="261667" y="194707"/>
                  </a:lnTo>
                  <a:lnTo>
                    <a:pt x="221780" y="195423"/>
                  </a:lnTo>
                  <a:lnTo>
                    <a:pt x="171324" y="182572"/>
                  </a:lnTo>
                  <a:lnTo>
                    <a:pt x="116392" y="156854"/>
                  </a:lnTo>
                  <a:lnTo>
                    <a:pt x="66353" y="121857"/>
                  </a:lnTo>
                  <a:lnTo>
                    <a:pt x="29224" y="84110"/>
                  </a:lnTo>
                  <a:lnTo>
                    <a:pt x="9094" y="48757"/>
                  </a:lnTo>
                  <a:lnTo>
                    <a:pt x="10055" y="20939"/>
                  </a:lnTo>
                  <a:lnTo>
                    <a:pt x="19643" y="11426"/>
                  </a:lnTo>
                  <a:lnTo>
                    <a:pt x="34720" y="5150"/>
                  </a:lnTo>
                  <a:lnTo>
                    <a:pt x="53894" y="2212"/>
                  </a:lnTo>
                  <a:lnTo>
                    <a:pt x="75777" y="2715"/>
                  </a:lnTo>
                  <a:lnTo>
                    <a:pt x="50416" y="0"/>
                  </a:lnTo>
                  <a:close/>
                </a:path>
              </a:pathLst>
            </a:custGeom>
            <a:solidFill>
              <a:srgbClr val="00B8A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2" name="object 6">
              <a:extLst>
                <a:ext uri="{FF2B5EF4-FFF2-40B4-BE49-F238E27FC236}">
                  <a16:creationId xmlns:a16="http://schemas.microsoft.com/office/drawing/2014/main" id="{F4F75B33-BD2E-52A1-2157-81E4B68D4937}"/>
                </a:ext>
              </a:extLst>
            </p:cNvPr>
            <p:cNvSpPr/>
            <p:nvPr/>
          </p:nvSpPr>
          <p:spPr>
            <a:xfrm>
              <a:off x="494708" y="6698357"/>
              <a:ext cx="259079" cy="80010"/>
            </a:xfrm>
            <a:custGeom>
              <a:avLst/>
              <a:gdLst/>
              <a:ahLst/>
              <a:cxnLst/>
              <a:rect l="l" t="t" r="r" b="b"/>
              <a:pathLst>
                <a:path w="259079" h="80009">
                  <a:moveTo>
                    <a:pt x="237553" y="33375"/>
                  </a:moveTo>
                  <a:lnTo>
                    <a:pt x="228374" y="35268"/>
                  </a:lnTo>
                  <a:lnTo>
                    <a:pt x="221653" y="40412"/>
                  </a:lnTo>
                  <a:lnTo>
                    <a:pt x="217522" y="48007"/>
                  </a:lnTo>
                  <a:lnTo>
                    <a:pt x="216115" y="57251"/>
                  </a:lnTo>
                  <a:lnTo>
                    <a:pt x="217645" y="66158"/>
                  </a:lnTo>
                  <a:lnTo>
                    <a:pt x="221995" y="73382"/>
                  </a:lnTo>
                  <a:lnTo>
                    <a:pt x="228813" y="78227"/>
                  </a:lnTo>
                  <a:lnTo>
                    <a:pt x="237743" y="79997"/>
                  </a:lnTo>
                  <a:lnTo>
                    <a:pt x="246773" y="79997"/>
                  </a:lnTo>
                  <a:lnTo>
                    <a:pt x="253911" y="75488"/>
                  </a:lnTo>
                  <a:lnTo>
                    <a:pt x="255216" y="73050"/>
                  </a:lnTo>
                  <a:lnTo>
                    <a:pt x="229755" y="73050"/>
                  </a:lnTo>
                  <a:lnTo>
                    <a:pt x="223926" y="66459"/>
                  </a:lnTo>
                  <a:lnTo>
                    <a:pt x="223824" y="58280"/>
                  </a:lnTo>
                  <a:lnTo>
                    <a:pt x="258521" y="58280"/>
                  </a:lnTo>
                  <a:lnTo>
                    <a:pt x="257869" y="51892"/>
                  </a:lnTo>
                  <a:lnTo>
                    <a:pt x="224205" y="51892"/>
                  </a:lnTo>
                  <a:lnTo>
                    <a:pt x="225145" y="45504"/>
                  </a:lnTo>
                  <a:lnTo>
                    <a:pt x="231165" y="40335"/>
                  </a:lnTo>
                  <a:lnTo>
                    <a:pt x="252957" y="40335"/>
                  </a:lnTo>
                  <a:lnTo>
                    <a:pt x="246925" y="35416"/>
                  </a:lnTo>
                  <a:lnTo>
                    <a:pt x="237553" y="33375"/>
                  </a:lnTo>
                  <a:close/>
                </a:path>
                <a:path w="259079" h="80009">
                  <a:moveTo>
                    <a:pt x="251752" y="63919"/>
                  </a:moveTo>
                  <a:lnTo>
                    <a:pt x="248831" y="69189"/>
                  </a:lnTo>
                  <a:lnTo>
                    <a:pt x="244703" y="73050"/>
                  </a:lnTo>
                  <a:lnTo>
                    <a:pt x="255216" y="73050"/>
                  </a:lnTo>
                  <a:lnTo>
                    <a:pt x="258140" y="67589"/>
                  </a:lnTo>
                  <a:lnTo>
                    <a:pt x="251752" y="63919"/>
                  </a:lnTo>
                  <a:close/>
                </a:path>
                <a:path w="259079" h="80009">
                  <a:moveTo>
                    <a:pt x="252957" y="40335"/>
                  </a:moveTo>
                  <a:lnTo>
                    <a:pt x="244233" y="40335"/>
                  </a:lnTo>
                  <a:lnTo>
                    <a:pt x="249593" y="45504"/>
                  </a:lnTo>
                  <a:lnTo>
                    <a:pt x="250621" y="51892"/>
                  </a:lnTo>
                  <a:lnTo>
                    <a:pt x="257869" y="51892"/>
                  </a:lnTo>
                  <a:lnTo>
                    <a:pt x="257557" y="48838"/>
                  </a:lnTo>
                  <a:lnTo>
                    <a:pt x="253642" y="40893"/>
                  </a:lnTo>
                  <a:lnTo>
                    <a:pt x="252957" y="40335"/>
                  </a:lnTo>
                  <a:close/>
                </a:path>
                <a:path w="259079" h="80009">
                  <a:moveTo>
                    <a:pt x="205384" y="41554"/>
                  </a:moveTo>
                  <a:lnTo>
                    <a:pt x="197865" y="41554"/>
                  </a:lnTo>
                  <a:lnTo>
                    <a:pt x="197865" y="78778"/>
                  </a:lnTo>
                  <a:lnTo>
                    <a:pt x="205384" y="78778"/>
                  </a:lnTo>
                  <a:lnTo>
                    <a:pt x="205384" y="41554"/>
                  </a:lnTo>
                  <a:close/>
                </a:path>
                <a:path w="259079" h="80009">
                  <a:moveTo>
                    <a:pt x="213283" y="34594"/>
                  </a:moveTo>
                  <a:lnTo>
                    <a:pt x="193255" y="34594"/>
                  </a:lnTo>
                  <a:lnTo>
                    <a:pt x="193255" y="41554"/>
                  </a:lnTo>
                  <a:lnTo>
                    <a:pt x="213283" y="41554"/>
                  </a:lnTo>
                  <a:lnTo>
                    <a:pt x="213283" y="34594"/>
                  </a:lnTo>
                  <a:close/>
                </a:path>
                <a:path w="259079" h="80009">
                  <a:moveTo>
                    <a:pt x="205384" y="18707"/>
                  </a:moveTo>
                  <a:lnTo>
                    <a:pt x="197865" y="18707"/>
                  </a:lnTo>
                  <a:lnTo>
                    <a:pt x="197865" y="34594"/>
                  </a:lnTo>
                  <a:lnTo>
                    <a:pt x="205384" y="34594"/>
                  </a:lnTo>
                  <a:lnTo>
                    <a:pt x="205384" y="18707"/>
                  </a:lnTo>
                  <a:close/>
                </a:path>
                <a:path w="259079" h="80009">
                  <a:moveTo>
                    <a:pt x="180962" y="12598"/>
                  </a:moveTo>
                  <a:lnTo>
                    <a:pt x="175132" y="12598"/>
                  </a:lnTo>
                  <a:lnTo>
                    <a:pt x="172694" y="15036"/>
                  </a:lnTo>
                  <a:lnTo>
                    <a:pt x="172694" y="20967"/>
                  </a:lnTo>
                  <a:lnTo>
                    <a:pt x="175132" y="23317"/>
                  </a:lnTo>
                  <a:lnTo>
                    <a:pt x="180962" y="23317"/>
                  </a:lnTo>
                  <a:lnTo>
                    <a:pt x="183413" y="20967"/>
                  </a:lnTo>
                  <a:lnTo>
                    <a:pt x="183413" y="15036"/>
                  </a:lnTo>
                  <a:lnTo>
                    <a:pt x="180962" y="12598"/>
                  </a:lnTo>
                  <a:close/>
                </a:path>
                <a:path w="259079" h="80009">
                  <a:moveTo>
                    <a:pt x="181813" y="34594"/>
                  </a:moveTo>
                  <a:lnTo>
                    <a:pt x="174294" y="34594"/>
                  </a:lnTo>
                  <a:lnTo>
                    <a:pt x="174294" y="78778"/>
                  </a:lnTo>
                  <a:lnTo>
                    <a:pt x="181813" y="78778"/>
                  </a:lnTo>
                  <a:lnTo>
                    <a:pt x="181813" y="34594"/>
                  </a:lnTo>
                  <a:close/>
                </a:path>
                <a:path w="259079" h="80009">
                  <a:moveTo>
                    <a:pt x="130733" y="34594"/>
                  </a:moveTo>
                  <a:lnTo>
                    <a:pt x="123215" y="34594"/>
                  </a:lnTo>
                  <a:lnTo>
                    <a:pt x="123215" y="78778"/>
                  </a:lnTo>
                  <a:lnTo>
                    <a:pt x="130733" y="78778"/>
                  </a:lnTo>
                  <a:lnTo>
                    <a:pt x="130733" y="49923"/>
                  </a:lnTo>
                  <a:lnTo>
                    <a:pt x="131394" y="40335"/>
                  </a:lnTo>
                  <a:lnTo>
                    <a:pt x="157959" y="40335"/>
                  </a:lnTo>
                  <a:lnTo>
                    <a:pt x="157838" y="39954"/>
                  </a:lnTo>
                  <a:lnTo>
                    <a:pt x="130733" y="39954"/>
                  </a:lnTo>
                  <a:lnTo>
                    <a:pt x="130733" y="34594"/>
                  </a:lnTo>
                  <a:close/>
                </a:path>
                <a:path w="259079" h="80009">
                  <a:moveTo>
                    <a:pt x="157959" y="40335"/>
                  </a:moveTo>
                  <a:lnTo>
                    <a:pt x="150482" y="40335"/>
                  </a:lnTo>
                  <a:lnTo>
                    <a:pt x="151041" y="46723"/>
                  </a:lnTo>
                  <a:lnTo>
                    <a:pt x="151041" y="78778"/>
                  </a:lnTo>
                  <a:lnTo>
                    <a:pt x="158559" y="78778"/>
                  </a:lnTo>
                  <a:lnTo>
                    <a:pt x="158559" y="42214"/>
                  </a:lnTo>
                  <a:lnTo>
                    <a:pt x="157959" y="40335"/>
                  </a:lnTo>
                  <a:close/>
                </a:path>
                <a:path w="259079" h="80009">
                  <a:moveTo>
                    <a:pt x="155740" y="33375"/>
                  </a:moveTo>
                  <a:lnTo>
                    <a:pt x="138061" y="33375"/>
                  </a:lnTo>
                  <a:lnTo>
                    <a:pt x="134023" y="35725"/>
                  </a:lnTo>
                  <a:lnTo>
                    <a:pt x="130924" y="39954"/>
                  </a:lnTo>
                  <a:lnTo>
                    <a:pt x="157838" y="39954"/>
                  </a:lnTo>
                  <a:lnTo>
                    <a:pt x="155740" y="33375"/>
                  </a:lnTo>
                  <a:close/>
                </a:path>
                <a:path w="259079" h="80009">
                  <a:moveTo>
                    <a:pt x="106705" y="12598"/>
                  </a:moveTo>
                  <a:lnTo>
                    <a:pt x="100876" y="12598"/>
                  </a:lnTo>
                  <a:lnTo>
                    <a:pt x="98437" y="15036"/>
                  </a:lnTo>
                  <a:lnTo>
                    <a:pt x="98437" y="20967"/>
                  </a:lnTo>
                  <a:lnTo>
                    <a:pt x="100876" y="23317"/>
                  </a:lnTo>
                  <a:lnTo>
                    <a:pt x="106705" y="23317"/>
                  </a:lnTo>
                  <a:lnTo>
                    <a:pt x="109156" y="20967"/>
                  </a:lnTo>
                  <a:lnTo>
                    <a:pt x="109156" y="15036"/>
                  </a:lnTo>
                  <a:lnTo>
                    <a:pt x="106705" y="12598"/>
                  </a:lnTo>
                  <a:close/>
                </a:path>
                <a:path w="259079" h="80009">
                  <a:moveTo>
                    <a:pt x="107556" y="34594"/>
                  </a:moveTo>
                  <a:lnTo>
                    <a:pt x="100037" y="34594"/>
                  </a:lnTo>
                  <a:lnTo>
                    <a:pt x="100037" y="78778"/>
                  </a:lnTo>
                  <a:lnTo>
                    <a:pt x="107556" y="78778"/>
                  </a:lnTo>
                  <a:lnTo>
                    <a:pt x="107556" y="34594"/>
                  </a:lnTo>
                  <a:close/>
                </a:path>
                <a:path w="259079" h="80009">
                  <a:moveTo>
                    <a:pt x="81508" y="41554"/>
                  </a:moveTo>
                  <a:lnTo>
                    <a:pt x="73990" y="41554"/>
                  </a:lnTo>
                  <a:lnTo>
                    <a:pt x="73990" y="78778"/>
                  </a:lnTo>
                  <a:lnTo>
                    <a:pt x="81508" y="78778"/>
                  </a:lnTo>
                  <a:lnTo>
                    <a:pt x="81508" y="41554"/>
                  </a:lnTo>
                  <a:close/>
                </a:path>
                <a:path w="259079" h="80009">
                  <a:moveTo>
                    <a:pt x="92697" y="34594"/>
                  </a:moveTo>
                  <a:lnTo>
                    <a:pt x="69862" y="34594"/>
                  </a:lnTo>
                  <a:lnTo>
                    <a:pt x="69862" y="41554"/>
                  </a:lnTo>
                  <a:lnTo>
                    <a:pt x="92697" y="41554"/>
                  </a:lnTo>
                  <a:lnTo>
                    <a:pt x="92697" y="34594"/>
                  </a:lnTo>
                  <a:close/>
                </a:path>
                <a:path w="259079" h="80009">
                  <a:moveTo>
                    <a:pt x="89128" y="0"/>
                  </a:moveTo>
                  <a:lnTo>
                    <a:pt x="82829" y="0"/>
                  </a:lnTo>
                  <a:lnTo>
                    <a:pt x="78409" y="1600"/>
                  </a:lnTo>
                  <a:lnTo>
                    <a:pt x="74100" y="8559"/>
                  </a:lnTo>
                  <a:lnTo>
                    <a:pt x="73990" y="34594"/>
                  </a:lnTo>
                  <a:lnTo>
                    <a:pt x="81508" y="34594"/>
                  </a:lnTo>
                  <a:lnTo>
                    <a:pt x="81508" y="7518"/>
                  </a:lnTo>
                  <a:lnTo>
                    <a:pt x="92697" y="7518"/>
                  </a:lnTo>
                  <a:lnTo>
                    <a:pt x="92697" y="939"/>
                  </a:lnTo>
                  <a:lnTo>
                    <a:pt x="90919" y="380"/>
                  </a:lnTo>
                  <a:lnTo>
                    <a:pt x="89128" y="0"/>
                  </a:lnTo>
                  <a:close/>
                </a:path>
                <a:path w="259079" h="80009">
                  <a:moveTo>
                    <a:pt x="92697" y="7518"/>
                  </a:moveTo>
                  <a:lnTo>
                    <a:pt x="89509" y="7518"/>
                  </a:lnTo>
                  <a:lnTo>
                    <a:pt x="91008" y="7988"/>
                  </a:lnTo>
                  <a:lnTo>
                    <a:pt x="92697" y="8559"/>
                  </a:lnTo>
                  <a:lnTo>
                    <a:pt x="92697" y="7518"/>
                  </a:lnTo>
                  <a:close/>
                </a:path>
                <a:path w="259079" h="80009">
                  <a:moveTo>
                    <a:pt x="32321" y="34594"/>
                  </a:moveTo>
                  <a:lnTo>
                    <a:pt x="24803" y="34594"/>
                  </a:lnTo>
                  <a:lnTo>
                    <a:pt x="24803" y="78778"/>
                  </a:lnTo>
                  <a:lnTo>
                    <a:pt x="32321" y="78778"/>
                  </a:lnTo>
                  <a:lnTo>
                    <a:pt x="32321" y="49923"/>
                  </a:lnTo>
                  <a:lnTo>
                    <a:pt x="32981" y="40335"/>
                  </a:lnTo>
                  <a:lnTo>
                    <a:pt x="59547" y="40335"/>
                  </a:lnTo>
                  <a:lnTo>
                    <a:pt x="59426" y="39954"/>
                  </a:lnTo>
                  <a:lnTo>
                    <a:pt x="32321" y="39954"/>
                  </a:lnTo>
                  <a:lnTo>
                    <a:pt x="32321" y="34594"/>
                  </a:lnTo>
                  <a:close/>
                </a:path>
                <a:path w="259079" h="80009">
                  <a:moveTo>
                    <a:pt x="59547" y="40335"/>
                  </a:moveTo>
                  <a:lnTo>
                    <a:pt x="52057" y="40335"/>
                  </a:lnTo>
                  <a:lnTo>
                    <a:pt x="52628" y="46723"/>
                  </a:lnTo>
                  <a:lnTo>
                    <a:pt x="52628" y="78778"/>
                  </a:lnTo>
                  <a:lnTo>
                    <a:pt x="60147" y="78778"/>
                  </a:lnTo>
                  <a:lnTo>
                    <a:pt x="60147" y="42214"/>
                  </a:lnTo>
                  <a:lnTo>
                    <a:pt x="59547" y="40335"/>
                  </a:lnTo>
                  <a:close/>
                </a:path>
                <a:path w="259079" h="80009">
                  <a:moveTo>
                    <a:pt x="57327" y="33375"/>
                  </a:moveTo>
                  <a:lnTo>
                    <a:pt x="39649" y="33375"/>
                  </a:lnTo>
                  <a:lnTo>
                    <a:pt x="35610" y="35725"/>
                  </a:lnTo>
                  <a:lnTo>
                    <a:pt x="32511" y="39954"/>
                  </a:lnTo>
                  <a:lnTo>
                    <a:pt x="59426" y="39954"/>
                  </a:lnTo>
                  <a:lnTo>
                    <a:pt x="57327" y="33375"/>
                  </a:lnTo>
                  <a:close/>
                </a:path>
                <a:path w="259079" h="80009">
                  <a:moveTo>
                    <a:pt x="8280" y="12598"/>
                  </a:moveTo>
                  <a:lnTo>
                    <a:pt x="2451" y="12598"/>
                  </a:lnTo>
                  <a:lnTo>
                    <a:pt x="0" y="15036"/>
                  </a:lnTo>
                  <a:lnTo>
                    <a:pt x="0" y="20967"/>
                  </a:lnTo>
                  <a:lnTo>
                    <a:pt x="2451" y="23317"/>
                  </a:lnTo>
                  <a:lnTo>
                    <a:pt x="8280" y="23317"/>
                  </a:lnTo>
                  <a:lnTo>
                    <a:pt x="10718" y="20967"/>
                  </a:lnTo>
                  <a:lnTo>
                    <a:pt x="10718" y="15036"/>
                  </a:lnTo>
                  <a:lnTo>
                    <a:pt x="8280" y="12598"/>
                  </a:lnTo>
                  <a:close/>
                </a:path>
                <a:path w="259079" h="80009">
                  <a:moveTo>
                    <a:pt x="9118" y="34594"/>
                  </a:moveTo>
                  <a:lnTo>
                    <a:pt x="1600" y="34594"/>
                  </a:lnTo>
                  <a:lnTo>
                    <a:pt x="1600" y="78778"/>
                  </a:lnTo>
                  <a:lnTo>
                    <a:pt x="9118" y="78778"/>
                  </a:lnTo>
                  <a:lnTo>
                    <a:pt x="9118" y="34594"/>
                  </a:lnTo>
                  <a:close/>
                </a:path>
              </a:pathLst>
            </a:custGeom>
            <a:solidFill>
              <a:srgbClr val="1B1B1B"/>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Segoe UI" panose="020B0502040204020203" pitchFamily="34" charset="0"/>
              </a:endParaRPr>
            </a:p>
          </p:txBody>
        </p:sp>
      </p:grpSp>
      <p:sp>
        <p:nvSpPr>
          <p:cNvPr id="6" name="Slide Number Placeholder 5">
            <a:extLst>
              <a:ext uri="{FF2B5EF4-FFF2-40B4-BE49-F238E27FC236}">
                <a16:creationId xmlns:a16="http://schemas.microsoft.com/office/drawing/2014/main" id="{4CBFA306-C6AA-BFA9-1F57-6C72D43660E8}"/>
              </a:ext>
            </a:extLst>
          </p:cNvPr>
          <p:cNvSpPr>
            <a:spLocks noGrp="1"/>
          </p:cNvSpPr>
          <p:nvPr>
            <p:ph type="sldNum" sz="quarter" idx="12"/>
          </p:nvPr>
        </p:nvSpPr>
        <p:spPr>
          <a:xfrm>
            <a:off x="11688644" y="6494918"/>
            <a:ext cx="231849" cy="176972"/>
          </a:xfrm>
        </p:spPr>
        <p:txBody>
          <a:bodyPr vert="horz" wrap="square" lIns="0" tIns="22860" rIns="0" bIns="0" rtlCol="0">
            <a:spAutoFit/>
          </a:bodyPr>
          <a:lstStyle>
            <a:lvl1pPr>
              <a:defRPr lang="en-US" sz="1000" b="0" i="0" smtClean="0">
                <a:solidFill>
                  <a:prstClr val="black"/>
                </a:solidFill>
                <a:latin typeface="Segoe UI Semilight" panose="020B0502040204020203" pitchFamily="34" charset="0"/>
                <a:cs typeface="Segoe UI Semilight" panose="020B0502040204020203" pitchFamily="34" charset="0"/>
              </a:defRPr>
            </a:lvl1pPr>
          </a:lstStyle>
          <a:p>
            <a:fld id="{656FEE46-54D6-4306-A6BD-73AF3F3AD20B}" type="slidenum">
              <a:rPr lang="en-US" smtClean="0"/>
              <a:t>‹#›</a:t>
            </a:fld>
            <a:endParaRPr lang="en-US" dirty="0"/>
          </a:p>
        </p:txBody>
      </p:sp>
    </p:spTree>
    <p:extLst>
      <p:ext uri="{BB962C8B-B14F-4D97-AF65-F5344CB8AC3E}">
        <p14:creationId xmlns:p14="http://schemas.microsoft.com/office/powerpoint/2010/main" val="35594021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9D16F2D-1484-2E4C-4886-5E05C32747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23FC385D-5517-1490-CC87-03327996C6E7}"/>
              </a:ext>
            </a:extLst>
          </p:cNvPr>
          <p:cNvSpPr/>
          <p:nvPr userDrawn="1"/>
        </p:nvSpPr>
        <p:spPr>
          <a:xfrm>
            <a:off x="0" y="0"/>
            <a:ext cx="12192000" cy="6858000"/>
          </a:xfrm>
          <a:prstGeom prst="rect">
            <a:avLst/>
          </a:prstGeom>
          <a:gradFill flip="none" rotWithShape="1">
            <a:gsLst>
              <a:gs pos="100000">
                <a:srgbClr val="002060">
                  <a:alpha val="39000"/>
                </a:srgbClr>
              </a:gs>
              <a:gs pos="20000">
                <a:srgbClr val="002060">
                  <a:alpha val="89000"/>
                </a:srgb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34608126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9D16F2D-1484-2E4C-4886-5E05C32747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23FC385D-5517-1490-CC87-03327996C6E7}"/>
              </a:ext>
            </a:extLst>
          </p:cNvPr>
          <p:cNvSpPr/>
          <p:nvPr userDrawn="1"/>
        </p:nvSpPr>
        <p:spPr>
          <a:xfrm>
            <a:off x="0" y="0"/>
            <a:ext cx="12192000" cy="6858000"/>
          </a:xfrm>
          <a:prstGeom prst="rect">
            <a:avLst/>
          </a:prstGeom>
          <a:gradFill flip="none" rotWithShape="1">
            <a:gsLst>
              <a:gs pos="100000">
                <a:srgbClr val="002060">
                  <a:alpha val="39000"/>
                </a:srgbClr>
              </a:gs>
              <a:gs pos="93000">
                <a:srgbClr val="002060">
                  <a:alpha val="89000"/>
                </a:srgb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9314587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CE089-93D7-4AC6-B11C-98E088AF08A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D3253CB-F569-4118-8171-21F8BB03FE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7731C0-810D-4AE9-BC58-2B31531EF9D4}"/>
              </a:ext>
            </a:extLst>
          </p:cNvPr>
          <p:cNvSpPr>
            <a:spLocks noGrp="1"/>
          </p:cNvSpPr>
          <p:nvPr>
            <p:ph type="dt" sz="half" idx="10"/>
          </p:nvPr>
        </p:nvSpPr>
        <p:spPr/>
        <p:txBody>
          <a:bodyPr/>
          <a:lstStyle/>
          <a:p>
            <a:fld id="{D621B58D-EB0B-46C7-A704-464FCE436B60}" type="datetime1">
              <a:rPr lang="en-US" smtClean="0"/>
              <a:t>7/9/2025</a:t>
            </a:fld>
            <a:endParaRPr lang="en-US" dirty="0"/>
          </a:p>
        </p:txBody>
      </p:sp>
      <p:sp>
        <p:nvSpPr>
          <p:cNvPr id="5" name="Footer Placeholder 4">
            <a:extLst>
              <a:ext uri="{FF2B5EF4-FFF2-40B4-BE49-F238E27FC236}">
                <a16:creationId xmlns:a16="http://schemas.microsoft.com/office/drawing/2014/main" id="{41189E94-4042-4262-AD08-F9802C72939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DA0FDD3-8A8A-4DBE-B628-6543FD07A169}"/>
              </a:ext>
            </a:extLst>
          </p:cNvPr>
          <p:cNvSpPr>
            <a:spLocks noGrp="1"/>
          </p:cNvSpPr>
          <p:nvPr>
            <p:ph type="sldNum" sz="quarter" idx="12"/>
          </p:nvPr>
        </p:nvSpPr>
        <p:spPr/>
        <p:txBody>
          <a:bodyPr/>
          <a:lstStyle/>
          <a:p>
            <a:fld id="{5BD51D9C-D8F6-4E26-B8D0-54E1044CA881}" type="slidenum">
              <a:rPr lang="en-US" smtClean="0"/>
              <a:t>‹#›</a:t>
            </a:fld>
            <a:endParaRPr lang="en-US" dirty="0"/>
          </a:p>
        </p:txBody>
      </p:sp>
    </p:spTree>
    <p:extLst>
      <p:ext uri="{BB962C8B-B14F-4D97-AF65-F5344CB8AC3E}">
        <p14:creationId xmlns:p14="http://schemas.microsoft.com/office/powerpoint/2010/main" val="21737415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6F359C2-7172-4584-A4A5-F18D5037EDEF}"/>
              </a:ext>
            </a:extLst>
          </p:cNvPr>
          <p:cNvSpPr>
            <a:spLocks noGrp="1"/>
          </p:cNvSpPr>
          <p:nvPr>
            <p:ph type="pic" sz="quarter" idx="10"/>
          </p:nvPr>
        </p:nvSpPr>
        <p:spPr>
          <a:xfrm>
            <a:off x="6096000" y="0"/>
            <a:ext cx="3676650" cy="6858000"/>
          </a:xfrm>
          <a:custGeom>
            <a:avLst/>
            <a:gdLst>
              <a:gd name="connsiteX0" fmla="*/ 0 w 3676650"/>
              <a:gd name="connsiteY0" fmla="*/ 0 h 6858000"/>
              <a:gd name="connsiteX1" fmla="*/ 3676650 w 3676650"/>
              <a:gd name="connsiteY1" fmla="*/ 0 h 6858000"/>
              <a:gd name="connsiteX2" fmla="*/ 3676650 w 3676650"/>
              <a:gd name="connsiteY2" fmla="*/ 6858000 h 6858000"/>
              <a:gd name="connsiteX3" fmla="*/ 0 w 36766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76650" h="6858000">
                <a:moveTo>
                  <a:pt x="0" y="0"/>
                </a:moveTo>
                <a:lnTo>
                  <a:pt x="3676650" y="0"/>
                </a:lnTo>
                <a:lnTo>
                  <a:pt x="3676650" y="6858000"/>
                </a:lnTo>
                <a:lnTo>
                  <a:pt x="0" y="6858000"/>
                </a:lnTo>
                <a:close/>
              </a:path>
            </a:pathLst>
          </a:custGeom>
          <a:solidFill>
            <a:schemeClr val="bg1">
              <a:lumMod val="95000"/>
            </a:schemeClr>
          </a:solidFill>
        </p:spPr>
        <p:txBody>
          <a:bodyPr wrap="square">
            <a:noAutofit/>
          </a:bodyPr>
          <a:lstStyle>
            <a:lvl1pPr>
              <a:defRPr sz="1200"/>
            </a:lvl1pPr>
          </a:lstStyle>
          <a:p>
            <a:endParaRPr lang="en-US"/>
          </a:p>
        </p:txBody>
      </p:sp>
    </p:spTree>
    <p:extLst>
      <p:ext uri="{BB962C8B-B14F-4D97-AF65-F5344CB8AC3E}">
        <p14:creationId xmlns:p14="http://schemas.microsoft.com/office/powerpoint/2010/main" val="2656363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02F8A-97AC-456C-B9E3-45A7D520C5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340F483-F2B9-47A3-9B5C-8C264B7016BD}"/>
              </a:ext>
            </a:extLst>
          </p:cNvPr>
          <p:cNvSpPr>
            <a:spLocks noGrp="1"/>
          </p:cNvSpPr>
          <p:nvPr>
            <p:ph type="dt" sz="half" idx="10"/>
          </p:nvPr>
        </p:nvSpPr>
        <p:spPr/>
        <p:txBody>
          <a:bodyPr/>
          <a:lstStyle/>
          <a:p>
            <a:fld id="{588D3886-EE0E-4EDA-B9EF-7F4ACD3010F3}" type="datetime1">
              <a:rPr lang="en-US" smtClean="0"/>
              <a:t>7/9/2025</a:t>
            </a:fld>
            <a:endParaRPr lang="en-US" dirty="0"/>
          </a:p>
        </p:txBody>
      </p:sp>
      <p:sp>
        <p:nvSpPr>
          <p:cNvPr id="4" name="Footer Placeholder 3">
            <a:extLst>
              <a:ext uri="{FF2B5EF4-FFF2-40B4-BE49-F238E27FC236}">
                <a16:creationId xmlns:a16="http://schemas.microsoft.com/office/drawing/2014/main" id="{25849874-9D9B-4597-B20D-33D6F58BCA3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B35894C-9062-435A-9758-82ED9C6D787E}"/>
              </a:ext>
            </a:extLst>
          </p:cNvPr>
          <p:cNvSpPr>
            <a:spLocks noGrp="1"/>
          </p:cNvSpPr>
          <p:nvPr>
            <p:ph type="sldNum" sz="quarter" idx="12"/>
          </p:nvPr>
        </p:nvSpPr>
        <p:spPr/>
        <p:txBody>
          <a:bodyPr/>
          <a:lstStyle/>
          <a:p>
            <a:fld id="{ED6580AB-5C3C-4B4F-8E2A-8B7A0A8CE695}" type="slidenum">
              <a:rPr lang="en-US" smtClean="0"/>
              <a:t>‹#›</a:t>
            </a:fld>
            <a:endParaRPr lang="en-US" dirty="0"/>
          </a:p>
        </p:txBody>
      </p:sp>
    </p:spTree>
    <p:extLst>
      <p:ext uri="{BB962C8B-B14F-4D97-AF65-F5344CB8AC3E}">
        <p14:creationId xmlns:p14="http://schemas.microsoft.com/office/powerpoint/2010/main" val="1453534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A7661-E2B1-4776-8278-964BE622735A}"/>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936E908-2E1E-4251-BA38-6C4033C293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0EC2064-4293-4741-94AE-A76C9937A13D}"/>
              </a:ext>
            </a:extLst>
          </p:cNvPr>
          <p:cNvSpPr>
            <a:spLocks noGrp="1"/>
          </p:cNvSpPr>
          <p:nvPr>
            <p:ph type="dt" sz="half" idx="10"/>
          </p:nvPr>
        </p:nvSpPr>
        <p:spPr/>
        <p:txBody>
          <a:bodyPr/>
          <a:lstStyle/>
          <a:p>
            <a:fld id="{67EBA4A0-F544-4C1B-8187-131CFD88976E}" type="datetimeFigureOut">
              <a:rPr lang="en-IN" smtClean="0"/>
              <a:t>09-07-2025</a:t>
            </a:fld>
            <a:endParaRPr lang="en-IN"/>
          </a:p>
        </p:txBody>
      </p:sp>
      <p:sp>
        <p:nvSpPr>
          <p:cNvPr id="5" name="Footer Placeholder 4">
            <a:extLst>
              <a:ext uri="{FF2B5EF4-FFF2-40B4-BE49-F238E27FC236}">
                <a16:creationId xmlns:a16="http://schemas.microsoft.com/office/drawing/2014/main" id="{EF727F65-FFB1-4C03-BC72-5D857ABE84D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1CDE275-0F40-4081-865F-39CD68E6B137}"/>
              </a:ext>
            </a:extLst>
          </p:cNvPr>
          <p:cNvSpPr>
            <a:spLocks noGrp="1"/>
          </p:cNvSpPr>
          <p:nvPr>
            <p:ph type="sldNum" sz="quarter" idx="12"/>
          </p:nvPr>
        </p:nvSpPr>
        <p:spPr/>
        <p:txBody>
          <a:bodyPr/>
          <a:lstStyle/>
          <a:p>
            <a:fld id="{4DBA780B-F6C6-4960-A78C-3DF7785C08C1}" type="slidenum">
              <a:rPr lang="en-IN" smtClean="0"/>
              <a:t>‹#›</a:t>
            </a:fld>
            <a:endParaRPr lang="en-IN"/>
          </a:p>
        </p:txBody>
      </p:sp>
    </p:spTree>
    <p:extLst>
      <p:ext uri="{BB962C8B-B14F-4D97-AF65-F5344CB8AC3E}">
        <p14:creationId xmlns:p14="http://schemas.microsoft.com/office/powerpoint/2010/main" val="2298621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2071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extLst>
              <p:ext uri="{D42A27DB-BD31-4B8C-83A1-F6EECF244321}">
                <p14:modId xmlns:p14="http://schemas.microsoft.com/office/powerpoint/2010/main" val="247676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8" name="Object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179C1EE-1017-9883-6F41-331BED3163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B60334E-A1FA-C185-8105-CB5B9199456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EE96C2-CBAE-FEF7-22CB-1479288583A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defRPr>
            </a:lvl1pPr>
          </a:lstStyle>
          <a:p>
            <a:fld id="{7378CD7E-8EDE-4055-B81E-08AC51DEF7C2}" type="datetimeFigureOut">
              <a:rPr lang="en-US" smtClean="0"/>
              <a:t>7/9/2025</a:t>
            </a:fld>
            <a:endParaRPr lang="en-US" dirty="0"/>
          </a:p>
        </p:txBody>
      </p:sp>
      <p:sp>
        <p:nvSpPr>
          <p:cNvPr id="5" name="Footer Placeholder 4">
            <a:extLst>
              <a:ext uri="{FF2B5EF4-FFF2-40B4-BE49-F238E27FC236}">
                <a16:creationId xmlns:a16="http://schemas.microsoft.com/office/drawing/2014/main" id="{5BBF39D2-2B1F-F013-B48A-9B55D4A9A8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73B3DCE1-3D9D-D411-3E82-9717111212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defRPr>
            </a:lvl1pPr>
          </a:lstStyle>
          <a:p>
            <a:fld id="{656FEE46-54D6-4306-A6BD-73AF3F3AD20B}" type="slidenum">
              <a:rPr lang="en-US" smtClean="0"/>
              <a:t>‹#›</a:t>
            </a:fld>
            <a:endParaRPr lang="en-US" dirty="0"/>
          </a:p>
        </p:txBody>
      </p:sp>
    </p:spTree>
    <p:extLst>
      <p:ext uri="{BB962C8B-B14F-4D97-AF65-F5344CB8AC3E}">
        <p14:creationId xmlns:p14="http://schemas.microsoft.com/office/powerpoint/2010/main" val="258307504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822" r:id="rId3"/>
    <p:sldLayoutId id="2147483821" r:id="rId4"/>
    <p:sldLayoutId id="2147483823" r:id="rId5"/>
    <p:sldLayoutId id="2147483824" r:id="rId6"/>
    <p:sldLayoutId id="2147483825" r:id="rId7"/>
    <p:sldLayoutId id="2147483826" r:id="rId8"/>
    <p:sldLayoutId id="2147483827" r:id="rId9"/>
    <p:sldLayoutId id="2147483829" r:id="rId10"/>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hyperlink" Target="mailto:immigration@infinite.com" TargetMode="External"/><Relationship Id="rId1" Type="http://schemas.openxmlformats.org/officeDocument/2006/relationships/slideLayout" Target="../slideLayouts/slideLayout5.xml"/><Relationship Id="rId6" Type="http://schemas.openxmlformats.org/officeDocument/2006/relationships/image" Target="../media/image216.svg"/><Relationship Id="rId5" Type="http://schemas.openxmlformats.org/officeDocument/2006/relationships/image" Target="../media/image215.png"/><Relationship Id="rId4" Type="http://schemas.openxmlformats.org/officeDocument/2006/relationships/image" Target="../media/image214.svg"/></Relationships>
</file>

<file path=ppt/slides/_rels/slide12.xml.rels><?xml version="1.0" encoding="UTF-8" standalone="yes"?>
<Relationships xmlns="http://schemas.openxmlformats.org/package/2006/relationships"><Relationship Id="rId8" Type="http://schemas.openxmlformats.org/officeDocument/2006/relationships/image" Target="../media/image223.png"/><Relationship Id="rId13" Type="http://schemas.openxmlformats.org/officeDocument/2006/relationships/image" Target="../media/image228.svg"/><Relationship Id="rId3" Type="http://schemas.openxmlformats.org/officeDocument/2006/relationships/image" Target="../media/image218.svg"/><Relationship Id="rId7" Type="http://schemas.openxmlformats.org/officeDocument/2006/relationships/image" Target="../media/image222.svg"/><Relationship Id="rId12" Type="http://schemas.openxmlformats.org/officeDocument/2006/relationships/image" Target="../media/image227.png"/><Relationship Id="rId2" Type="http://schemas.openxmlformats.org/officeDocument/2006/relationships/image" Target="../media/image217.png"/><Relationship Id="rId1" Type="http://schemas.openxmlformats.org/officeDocument/2006/relationships/slideLayout" Target="../slideLayouts/slideLayout5.xml"/><Relationship Id="rId6" Type="http://schemas.openxmlformats.org/officeDocument/2006/relationships/image" Target="../media/image221.png"/><Relationship Id="rId11" Type="http://schemas.openxmlformats.org/officeDocument/2006/relationships/image" Target="../media/image226.svg"/><Relationship Id="rId5" Type="http://schemas.openxmlformats.org/officeDocument/2006/relationships/image" Target="../media/image220.svg"/><Relationship Id="rId10" Type="http://schemas.openxmlformats.org/officeDocument/2006/relationships/image" Target="../media/image225.png"/><Relationship Id="rId4" Type="http://schemas.openxmlformats.org/officeDocument/2006/relationships/image" Target="../media/image219.png"/><Relationship Id="rId9" Type="http://schemas.openxmlformats.org/officeDocument/2006/relationships/image" Target="../media/image224.svg"/></Relationships>
</file>

<file path=ppt/slides/_rels/slide13.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31.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32.jpe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34.jpeg"/><Relationship Id="rId2" Type="http://schemas.openxmlformats.org/officeDocument/2006/relationships/image" Target="../media/image233.jpeg"/><Relationship Id="rId1" Type="http://schemas.openxmlformats.org/officeDocument/2006/relationships/slideLayout" Target="../slideLayouts/slideLayout5.xml"/><Relationship Id="rId6" Type="http://schemas.openxmlformats.org/officeDocument/2006/relationships/image" Target="../media/image237.jpg"/><Relationship Id="rId5" Type="http://schemas.openxmlformats.org/officeDocument/2006/relationships/image" Target="../media/image236.jpg"/><Relationship Id="rId4" Type="http://schemas.openxmlformats.org/officeDocument/2006/relationships/image" Target="../media/image235.jpg"/></Relationships>
</file>

<file path=ppt/slides/_rels/slide19.xml.rels><?xml version="1.0" encoding="UTF-8" standalone="yes"?>
<Relationships xmlns="http://schemas.openxmlformats.org/package/2006/relationships"><Relationship Id="rId2" Type="http://schemas.openxmlformats.org/officeDocument/2006/relationships/image" Target="../media/image238.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hyperlink" Target="mailto:USPayroll@infinite.com" TargetMode="Externa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hyperlink" Target="https://bizx.infinite.com/bizx/home"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png"/><Relationship Id="rId1" Type="http://schemas.openxmlformats.org/officeDocument/2006/relationships/slideLayout" Target="../slideLayouts/slideLayout8.xml"/><Relationship Id="rId4" Type="http://schemas.openxmlformats.org/officeDocument/2006/relationships/image" Target="../media/image243.png"/></Relationships>
</file>

<file path=ppt/slides/_rels/slide23.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hyperlink" Target="mailto:USPayroll@infinite.com" TargetMode="Externa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245.jpe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hyperlink" Target="https://workforcenow.adp.com/" TargetMode="Externa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246.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hyperlink" Target="https://workforcenow.adp.com/" TargetMode="External"/><Relationship Id="rId2" Type="http://schemas.openxmlformats.org/officeDocument/2006/relationships/image" Target="../media/image247.jpeg"/><Relationship Id="rId1" Type="http://schemas.openxmlformats.org/officeDocument/2006/relationships/slideLayout" Target="../slideLayouts/slideLayout5.xml"/><Relationship Id="rId5" Type="http://schemas.openxmlformats.org/officeDocument/2006/relationships/image" Target="../media/image249.png"/><Relationship Id="rId4" Type="http://schemas.openxmlformats.org/officeDocument/2006/relationships/image" Target="../media/image248.png"/></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8.png"/><Relationship Id="rId1" Type="http://schemas.openxmlformats.org/officeDocument/2006/relationships/slideLayout" Target="../slideLayouts/slideLayout5.xml"/><Relationship Id="rId5" Type="http://schemas.openxmlformats.org/officeDocument/2006/relationships/image" Target="../media/image252.png"/><Relationship Id="rId4" Type="http://schemas.openxmlformats.org/officeDocument/2006/relationships/image" Target="../media/image251.png"/></Relationships>
</file>

<file path=ppt/slides/_rels/slide31.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53.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image" Target="../media/image248.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55.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56.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57.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image" Target="../media/image248.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59.jpe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60.jpeg"/><Relationship Id="rId1" Type="http://schemas.openxmlformats.org/officeDocument/2006/relationships/slideLayout" Target="../slideLayouts/slideLayout8.xml"/><Relationship Id="rId4" Type="http://schemas.openxmlformats.org/officeDocument/2006/relationships/image" Target="../media/image26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image" Target="../media/image15.jpeg"/><Relationship Id="rId16" Type="http://schemas.openxmlformats.org/officeDocument/2006/relationships/image" Target="../media/image7.png"/><Relationship Id="rId1" Type="http://schemas.openxmlformats.org/officeDocument/2006/relationships/slideLayout" Target="../slideLayouts/slideLayout6.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40.xml.rels><?xml version="1.0" encoding="UTF-8" standalone="yes"?>
<Relationships xmlns="http://schemas.openxmlformats.org/package/2006/relationships"><Relationship Id="rId3" Type="http://schemas.openxmlformats.org/officeDocument/2006/relationships/image" Target="../media/image262.jpeg"/><Relationship Id="rId2" Type="http://schemas.openxmlformats.org/officeDocument/2006/relationships/hyperlink" Target="mailto:Niti.Prothi@infinite.com" TargetMode="Externa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263.jpe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264.jp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hyperlink" Target="mailto:travel@earthlink.net" TargetMode="Externa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image" Target="../media/image265.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image" Target="../media/image267.png"/><Relationship Id="rId1" Type="http://schemas.openxmlformats.org/officeDocument/2006/relationships/slideLayout" Target="../slideLayouts/slideLayout9.xml"/><Relationship Id="rId4" Type="http://schemas.openxmlformats.org/officeDocument/2006/relationships/image" Target="../media/image269.png"/></Relationships>
</file>

<file path=ppt/slides/_rels/slide47.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image" Target="../media/image270.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image" Target="../media/image273.jpe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hyperlink" Target="mailto:USPayroll@infinite.com" TargetMode="External"/><Relationship Id="rId2" Type="http://schemas.openxmlformats.org/officeDocument/2006/relationships/image" Target="../media/image276.png"/><Relationship Id="rId1" Type="http://schemas.openxmlformats.org/officeDocument/2006/relationships/slideLayout" Target="../slideLayouts/slideLayout5.xml"/><Relationship Id="rId5" Type="http://schemas.openxmlformats.org/officeDocument/2006/relationships/image" Target="../media/image277.emf"/><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2" Type="http://schemas.openxmlformats.org/officeDocument/2006/relationships/hyperlink" Target="mailto:USPayroll@infinite.com" TargetMode="Externa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278.jpe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30.jpeg"/><Relationship Id="rId7" Type="http://schemas.openxmlformats.org/officeDocument/2006/relationships/hyperlink" Target="https://www.google.co.in/url?sa=i&amp;url=https%3A%2F%2Fuxwing.com%2Fclaim-icon%2F&amp;psig=AOvVaw3v2DI3BpdQPSFaeyqIyeCp&amp;ust=1598371658591000&amp;source=images&amp;cd=vfe&amp;ved=0CAIQjRxqFwoTCMD9ycqctOsCFQAAAAAdAAAAABAD" TargetMode="External"/><Relationship Id="rId12" Type="http://schemas.openxmlformats.org/officeDocument/2006/relationships/image" Target="../media/image38.png"/><Relationship Id="rId2" Type="http://schemas.openxmlformats.org/officeDocument/2006/relationships/image" Target="../media/image29.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7.jpeg"/><Relationship Id="rId5" Type="http://schemas.openxmlformats.org/officeDocument/2006/relationships/image" Target="../media/image32.png"/><Relationship Id="rId15" Type="http://schemas.openxmlformats.org/officeDocument/2006/relationships/image" Target="../media/image7.png"/><Relationship Id="rId10" Type="http://schemas.openxmlformats.org/officeDocument/2006/relationships/image" Target="../media/image36.jpeg"/><Relationship Id="rId4" Type="http://schemas.openxmlformats.org/officeDocument/2006/relationships/image" Target="../media/image31.png"/><Relationship Id="rId9" Type="http://schemas.openxmlformats.org/officeDocument/2006/relationships/image" Target="../media/image35.png"/><Relationship Id="rId14"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18" Type="http://schemas.openxmlformats.org/officeDocument/2006/relationships/image" Target="../media/image57.svg"/><Relationship Id="rId3" Type="http://schemas.openxmlformats.org/officeDocument/2006/relationships/image" Target="../media/image42.png"/><Relationship Id="rId21" Type="http://schemas.openxmlformats.org/officeDocument/2006/relationships/image" Target="../media/image60.png"/><Relationship Id="rId7" Type="http://schemas.openxmlformats.org/officeDocument/2006/relationships/image" Target="../media/image46.png"/><Relationship Id="rId12" Type="http://schemas.openxmlformats.org/officeDocument/2006/relationships/image" Target="../media/image51.svg"/><Relationship Id="rId17" Type="http://schemas.openxmlformats.org/officeDocument/2006/relationships/image" Target="../media/image56.png"/><Relationship Id="rId2" Type="http://schemas.openxmlformats.org/officeDocument/2006/relationships/image" Target="../media/image41.png"/><Relationship Id="rId16" Type="http://schemas.openxmlformats.org/officeDocument/2006/relationships/image" Target="../media/image55.svg"/><Relationship Id="rId20" Type="http://schemas.openxmlformats.org/officeDocument/2006/relationships/image" Target="../media/image59.svg"/><Relationship Id="rId1" Type="http://schemas.openxmlformats.org/officeDocument/2006/relationships/slideLayout" Target="../slideLayouts/slideLayout7.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54.png"/><Relationship Id="rId10" Type="http://schemas.openxmlformats.org/officeDocument/2006/relationships/image" Target="../media/image49.svg"/><Relationship Id="rId19" Type="http://schemas.openxmlformats.org/officeDocument/2006/relationships/image" Target="../media/image58.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svg"/></Relationships>
</file>

<file path=ppt/slides/_rels/slide8.xml.rels><?xml version="1.0" encoding="UTF-8" standalone="yes"?>
<Relationships xmlns="http://schemas.openxmlformats.org/package/2006/relationships"><Relationship Id="rId26" Type="http://schemas.openxmlformats.org/officeDocument/2006/relationships/image" Target="../media/image84.png"/><Relationship Id="rId21" Type="http://schemas.openxmlformats.org/officeDocument/2006/relationships/image" Target="../media/image79.png"/><Relationship Id="rId42" Type="http://schemas.openxmlformats.org/officeDocument/2006/relationships/image" Target="../media/image99.png"/><Relationship Id="rId47" Type="http://schemas.openxmlformats.org/officeDocument/2006/relationships/image" Target="../media/image104.png"/><Relationship Id="rId63" Type="http://schemas.openxmlformats.org/officeDocument/2006/relationships/image" Target="../media/image119.png"/><Relationship Id="rId68" Type="http://schemas.openxmlformats.org/officeDocument/2006/relationships/image" Target="../media/image124.png"/><Relationship Id="rId84" Type="http://schemas.openxmlformats.org/officeDocument/2006/relationships/image" Target="../media/image140.png"/><Relationship Id="rId89" Type="http://schemas.openxmlformats.org/officeDocument/2006/relationships/image" Target="../media/image145.jpeg"/><Relationship Id="rId16" Type="http://schemas.openxmlformats.org/officeDocument/2006/relationships/image" Target="../media/image74.png"/><Relationship Id="rId11" Type="http://schemas.openxmlformats.org/officeDocument/2006/relationships/image" Target="../media/image69.png"/><Relationship Id="rId32" Type="http://schemas.openxmlformats.org/officeDocument/2006/relationships/image" Target="../media/image89.png"/><Relationship Id="rId37" Type="http://schemas.openxmlformats.org/officeDocument/2006/relationships/image" Target="../media/image94.png"/><Relationship Id="rId53" Type="http://schemas.openxmlformats.org/officeDocument/2006/relationships/image" Target="../media/image109.jpeg"/><Relationship Id="rId58" Type="http://schemas.openxmlformats.org/officeDocument/2006/relationships/image" Target="../media/image114.jpeg"/><Relationship Id="rId74" Type="http://schemas.openxmlformats.org/officeDocument/2006/relationships/image" Target="../media/image130.png"/><Relationship Id="rId79" Type="http://schemas.openxmlformats.org/officeDocument/2006/relationships/image" Target="../media/image135.jpeg"/><Relationship Id="rId5" Type="http://schemas.openxmlformats.org/officeDocument/2006/relationships/image" Target="../media/image63.png"/><Relationship Id="rId90" Type="http://schemas.openxmlformats.org/officeDocument/2006/relationships/image" Target="../media/image146.jpeg"/><Relationship Id="rId95" Type="http://schemas.openxmlformats.org/officeDocument/2006/relationships/image" Target="../media/image151.png"/><Relationship Id="rId22" Type="http://schemas.openxmlformats.org/officeDocument/2006/relationships/image" Target="../media/image80.png"/><Relationship Id="rId27" Type="http://schemas.openxmlformats.org/officeDocument/2006/relationships/image" Target="../media/image85.png"/><Relationship Id="rId43" Type="http://schemas.openxmlformats.org/officeDocument/2006/relationships/image" Target="../media/image100.png"/><Relationship Id="rId48" Type="http://schemas.openxmlformats.org/officeDocument/2006/relationships/image" Target="../media/image105.png"/><Relationship Id="rId64" Type="http://schemas.openxmlformats.org/officeDocument/2006/relationships/image" Target="../media/image120.png"/><Relationship Id="rId69" Type="http://schemas.openxmlformats.org/officeDocument/2006/relationships/image" Target="../media/image125.png"/><Relationship Id="rId80" Type="http://schemas.openxmlformats.org/officeDocument/2006/relationships/image" Target="../media/image136.png"/><Relationship Id="rId85" Type="http://schemas.openxmlformats.org/officeDocument/2006/relationships/image" Target="../media/image141.jpeg"/><Relationship Id="rId12" Type="http://schemas.openxmlformats.org/officeDocument/2006/relationships/image" Target="../media/image70.jpeg"/><Relationship Id="rId17" Type="http://schemas.openxmlformats.org/officeDocument/2006/relationships/image" Target="../media/image75.png"/><Relationship Id="rId25" Type="http://schemas.openxmlformats.org/officeDocument/2006/relationships/image" Target="../media/image83.png"/><Relationship Id="rId33" Type="http://schemas.openxmlformats.org/officeDocument/2006/relationships/image" Target="../media/image90.png"/><Relationship Id="rId38" Type="http://schemas.openxmlformats.org/officeDocument/2006/relationships/image" Target="../media/image95.png"/><Relationship Id="rId46" Type="http://schemas.openxmlformats.org/officeDocument/2006/relationships/image" Target="../media/image103.png"/><Relationship Id="rId59" Type="http://schemas.openxmlformats.org/officeDocument/2006/relationships/image" Target="../media/image115.png"/><Relationship Id="rId67" Type="http://schemas.openxmlformats.org/officeDocument/2006/relationships/image" Target="../media/image123.png"/><Relationship Id="rId20" Type="http://schemas.openxmlformats.org/officeDocument/2006/relationships/image" Target="../media/image78.png"/><Relationship Id="rId41" Type="http://schemas.openxmlformats.org/officeDocument/2006/relationships/image" Target="../media/image98.jpeg"/><Relationship Id="rId54" Type="http://schemas.openxmlformats.org/officeDocument/2006/relationships/image" Target="../media/image110.png"/><Relationship Id="rId62" Type="http://schemas.openxmlformats.org/officeDocument/2006/relationships/image" Target="../media/image118.jpeg"/><Relationship Id="rId70" Type="http://schemas.openxmlformats.org/officeDocument/2006/relationships/image" Target="../media/image126.png"/><Relationship Id="rId75" Type="http://schemas.openxmlformats.org/officeDocument/2006/relationships/image" Target="../media/image131.png"/><Relationship Id="rId83" Type="http://schemas.openxmlformats.org/officeDocument/2006/relationships/image" Target="../media/image139.png"/><Relationship Id="rId88" Type="http://schemas.openxmlformats.org/officeDocument/2006/relationships/image" Target="../media/image144.jpeg"/><Relationship Id="rId91" Type="http://schemas.openxmlformats.org/officeDocument/2006/relationships/image" Target="../media/image147.png"/><Relationship Id="rId96" Type="http://schemas.openxmlformats.org/officeDocument/2006/relationships/image" Target="../media/image152.png"/><Relationship Id="rId1" Type="http://schemas.openxmlformats.org/officeDocument/2006/relationships/slideLayout" Target="../slideLayouts/slideLayout1.xml"/><Relationship Id="rId6" Type="http://schemas.openxmlformats.org/officeDocument/2006/relationships/image" Target="../media/image64.png"/><Relationship Id="rId15" Type="http://schemas.openxmlformats.org/officeDocument/2006/relationships/image" Target="../media/image73.png"/><Relationship Id="rId23" Type="http://schemas.openxmlformats.org/officeDocument/2006/relationships/image" Target="../media/image81.svg"/><Relationship Id="rId28" Type="http://schemas.openxmlformats.org/officeDocument/2006/relationships/image" Target="../media/image86.png"/><Relationship Id="rId36" Type="http://schemas.openxmlformats.org/officeDocument/2006/relationships/image" Target="../media/image93.png"/><Relationship Id="rId49" Type="http://schemas.openxmlformats.org/officeDocument/2006/relationships/image" Target="../media/image106.jpeg"/><Relationship Id="rId57" Type="http://schemas.openxmlformats.org/officeDocument/2006/relationships/image" Target="../media/image113.png"/><Relationship Id="rId10" Type="http://schemas.openxmlformats.org/officeDocument/2006/relationships/image" Target="../media/image68.png"/><Relationship Id="rId31" Type="http://schemas.openxmlformats.org/officeDocument/2006/relationships/image" Target="../media/image88.png"/><Relationship Id="rId44" Type="http://schemas.openxmlformats.org/officeDocument/2006/relationships/image" Target="../media/image101.png"/><Relationship Id="rId52" Type="http://schemas.microsoft.com/office/2007/relationships/hdphoto" Target="../media/hdphoto2.wdp"/><Relationship Id="rId60" Type="http://schemas.openxmlformats.org/officeDocument/2006/relationships/image" Target="../media/image116.jpeg"/><Relationship Id="rId65" Type="http://schemas.openxmlformats.org/officeDocument/2006/relationships/image" Target="../media/image121.png"/><Relationship Id="rId73" Type="http://schemas.openxmlformats.org/officeDocument/2006/relationships/image" Target="../media/image129.png"/><Relationship Id="rId78" Type="http://schemas.openxmlformats.org/officeDocument/2006/relationships/image" Target="../media/image134.jpeg"/><Relationship Id="rId81" Type="http://schemas.openxmlformats.org/officeDocument/2006/relationships/image" Target="../media/image137.jpeg"/><Relationship Id="rId86" Type="http://schemas.openxmlformats.org/officeDocument/2006/relationships/image" Target="../media/image142.png"/><Relationship Id="rId94" Type="http://schemas.openxmlformats.org/officeDocument/2006/relationships/image" Target="../media/image150.jpeg"/><Relationship Id="rId99" Type="http://schemas.openxmlformats.org/officeDocument/2006/relationships/image" Target="../media/image155.png"/><Relationship Id="rId101" Type="http://schemas.openxmlformats.org/officeDocument/2006/relationships/image" Target="../media/image157.png"/><Relationship Id="rId4" Type="http://schemas.openxmlformats.org/officeDocument/2006/relationships/image" Target="../media/image62.jpeg"/><Relationship Id="rId9" Type="http://schemas.openxmlformats.org/officeDocument/2006/relationships/image" Target="../media/image67.png"/><Relationship Id="rId13" Type="http://schemas.openxmlformats.org/officeDocument/2006/relationships/image" Target="../media/image71.jpeg"/><Relationship Id="rId18" Type="http://schemas.openxmlformats.org/officeDocument/2006/relationships/image" Target="../media/image76.png"/><Relationship Id="rId39" Type="http://schemas.openxmlformats.org/officeDocument/2006/relationships/image" Target="../media/image96.png"/><Relationship Id="rId34" Type="http://schemas.openxmlformats.org/officeDocument/2006/relationships/image" Target="../media/image91.png"/><Relationship Id="rId50" Type="http://schemas.openxmlformats.org/officeDocument/2006/relationships/image" Target="../media/image107.png"/><Relationship Id="rId55" Type="http://schemas.openxmlformats.org/officeDocument/2006/relationships/image" Target="../media/image111.png"/><Relationship Id="rId76" Type="http://schemas.openxmlformats.org/officeDocument/2006/relationships/image" Target="../media/image132.png"/><Relationship Id="rId97" Type="http://schemas.openxmlformats.org/officeDocument/2006/relationships/image" Target="../media/image153.png"/><Relationship Id="rId7" Type="http://schemas.openxmlformats.org/officeDocument/2006/relationships/image" Target="../media/image65.png"/><Relationship Id="rId71" Type="http://schemas.openxmlformats.org/officeDocument/2006/relationships/image" Target="../media/image127.png"/><Relationship Id="rId92" Type="http://schemas.openxmlformats.org/officeDocument/2006/relationships/image" Target="../media/image148.png"/><Relationship Id="rId2" Type="http://schemas.openxmlformats.org/officeDocument/2006/relationships/notesSlide" Target="../notesSlides/notesSlide3.xml"/><Relationship Id="rId29" Type="http://schemas.microsoft.com/office/2007/relationships/hdphoto" Target="../media/hdphoto1.wdp"/><Relationship Id="rId24" Type="http://schemas.openxmlformats.org/officeDocument/2006/relationships/image" Target="../media/image82.jpeg"/><Relationship Id="rId40" Type="http://schemas.openxmlformats.org/officeDocument/2006/relationships/image" Target="../media/image97.png"/><Relationship Id="rId45" Type="http://schemas.openxmlformats.org/officeDocument/2006/relationships/image" Target="../media/image102.svg"/><Relationship Id="rId66" Type="http://schemas.openxmlformats.org/officeDocument/2006/relationships/image" Target="../media/image122.png"/><Relationship Id="rId87" Type="http://schemas.openxmlformats.org/officeDocument/2006/relationships/image" Target="../media/image143.jpeg"/><Relationship Id="rId61" Type="http://schemas.openxmlformats.org/officeDocument/2006/relationships/image" Target="../media/image117.png"/><Relationship Id="rId82" Type="http://schemas.openxmlformats.org/officeDocument/2006/relationships/image" Target="../media/image138.png"/><Relationship Id="rId19" Type="http://schemas.openxmlformats.org/officeDocument/2006/relationships/image" Target="../media/image77.jpeg"/><Relationship Id="rId14" Type="http://schemas.openxmlformats.org/officeDocument/2006/relationships/image" Target="../media/image72.png"/><Relationship Id="rId30" Type="http://schemas.openxmlformats.org/officeDocument/2006/relationships/image" Target="../media/image87.png"/><Relationship Id="rId35" Type="http://schemas.openxmlformats.org/officeDocument/2006/relationships/image" Target="../media/image92.png"/><Relationship Id="rId56" Type="http://schemas.openxmlformats.org/officeDocument/2006/relationships/image" Target="../media/image112.png"/><Relationship Id="rId77" Type="http://schemas.openxmlformats.org/officeDocument/2006/relationships/image" Target="../media/image133.png"/><Relationship Id="rId100" Type="http://schemas.openxmlformats.org/officeDocument/2006/relationships/image" Target="../media/image156.png"/><Relationship Id="rId8" Type="http://schemas.openxmlformats.org/officeDocument/2006/relationships/image" Target="../media/image66.png"/><Relationship Id="rId51" Type="http://schemas.openxmlformats.org/officeDocument/2006/relationships/image" Target="../media/image108.png"/><Relationship Id="rId72" Type="http://schemas.openxmlformats.org/officeDocument/2006/relationships/image" Target="../media/image128.jpeg"/><Relationship Id="rId93" Type="http://schemas.openxmlformats.org/officeDocument/2006/relationships/image" Target="../media/image149.gif"/><Relationship Id="rId98" Type="http://schemas.openxmlformats.org/officeDocument/2006/relationships/image" Target="../media/image154.png"/><Relationship Id="rId3" Type="http://schemas.openxmlformats.org/officeDocument/2006/relationships/image" Target="../media/image61.png"/></Relationships>
</file>

<file path=ppt/slides/_rels/slide9.xml.rels><?xml version="1.0" encoding="UTF-8" standalone="yes"?>
<Relationships xmlns="http://schemas.openxmlformats.org/package/2006/relationships"><Relationship Id="rId13" Type="http://schemas.openxmlformats.org/officeDocument/2006/relationships/image" Target="../media/image169.png"/><Relationship Id="rId18" Type="http://schemas.openxmlformats.org/officeDocument/2006/relationships/image" Target="../media/image174.png"/><Relationship Id="rId26" Type="http://schemas.openxmlformats.org/officeDocument/2006/relationships/image" Target="../media/image182.png"/><Relationship Id="rId39" Type="http://schemas.openxmlformats.org/officeDocument/2006/relationships/image" Target="../media/image195.png"/><Relationship Id="rId21" Type="http://schemas.openxmlformats.org/officeDocument/2006/relationships/image" Target="../media/image177.png"/><Relationship Id="rId34" Type="http://schemas.openxmlformats.org/officeDocument/2006/relationships/image" Target="../media/image190.png"/><Relationship Id="rId42" Type="http://schemas.openxmlformats.org/officeDocument/2006/relationships/image" Target="../media/image198.png"/><Relationship Id="rId47" Type="http://schemas.openxmlformats.org/officeDocument/2006/relationships/image" Target="../media/image203.png"/><Relationship Id="rId50" Type="http://schemas.openxmlformats.org/officeDocument/2006/relationships/image" Target="../media/image206.png"/><Relationship Id="rId55" Type="http://schemas.openxmlformats.org/officeDocument/2006/relationships/image" Target="../media/image211.png"/><Relationship Id="rId7" Type="http://schemas.openxmlformats.org/officeDocument/2006/relationships/image" Target="../media/image163.png"/><Relationship Id="rId2" Type="http://schemas.openxmlformats.org/officeDocument/2006/relationships/image" Target="../media/image158.png"/><Relationship Id="rId16" Type="http://schemas.openxmlformats.org/officeDocument/2006/relationships/image" Target="../media/image172.png"/><Relationship Id="rId29" Type="http://schemas.openxmlformats.org/officeDocument/2006/relationships/image" Target="../media/image185.jpeg"/><Relationship Id="rId11" Type="http://schemas.openxmlformats.org/officeDocument/2006/relationships/image" Target="../media/image167.jpeg"/><Relationship Id="rId24" Type="http://schemas.openxmlformats.org/officeDocument/2006/relationships/image" Target="../media/image180.png"/><Relationship Id="rId32" Type="http://schemas.openxmlformats.org/officeDocument/2006/relationships/image" Target="../media/image188.png"/><Relationship Id="rId37" Type="http://schemas.openxmlformats.org/officeDocument/2006/relationships/image" Target="../media/image193.svg"/><Relationship Id="rId40" Type="http://schemas.openxmlformats.org/officeDocument/2006/relationships/image" Target="../media/image196.jpeg"/><Relationship Id="rId45" Type="http://schemas.openxmlformats.org/officeDocument/2006/relationships/image" Target="../media/image201.png"/><Relationship Id="rId53" Type="http://schemas.openxmlformats.org/officeDocument/2006/relationships/image" Target="../media/image209.jpeg"/><Relationship Id="rId5" Type="http://schemas.openxmlformats.org/officeDocument/2006/relationships/image" Target="../media/image161.png"/><Relationship Id="rId10" Type="http://schemas.openxmlformats.org/officeDocument/2006/relationships/image" Target="../media/image166.jpeg"/><Relationship Id="rId19" Type="http://schemas.openxmlformats.org/officeDocument/2006/relationships/image" Target="../media/image175.png"/><Relationship Id="rId31" Type="http://schemas.openxmlformats.org/officeDocument/2006/relationships/image" Target="../media/image187.jpeg"/><Relationship Id="rId44" Type="http://schemas.openxmlformats.org/officeDocument/2006/relationships/image" Target="../media/image200.png"/><Relationship Id="rId52" Type="http://schemas.openxmlformats.org/officeDocument/2006/relationships/image" Target="../media/image208.jpeg"/><Relationship Id="rId4" Type="http://schemas.openxmlformats.org/officeDocument/2006/relationships/image" Target="../media/image160.png"/><Relationship Id="rId9" Type="http://schemas.openxmlformats.org/officeDocument/2006/relationships/image" Target="../media/image165.png"/><Relationship Id="rId14" Type="http://schemas.openxmlformats.org/officeDocument/2006/relationships/image" Target="../media/image170.png"/><Relationship Id="rId22" Type="http://schemas.openxmlformats.org/officeDocument/2006/relationships/image" Target="../media/image178.png"/><Relationship Id="rId27" Type="http://schemas.openxmlformats.org/officeDocument/2006/relationships/image" Target="../media/image183.png"/><Relationship Id="rId30" Type="http://schemas.openxmlformats.org/officeDocument/2006/relationships/image" Target="../media/image186.jpeg"/><Relationship Id="rId35" Type="http://schemas.openxmlformats.org/officeDocument/2006/relationships/image" Target="../media/image191.png"/><Relationship Id="rId43" Type="http://schemas.openxmlformats.org/officeDocument/2006/relationships/image" Target="../media/image199.png"/><Relationship Id="rId48" Type="http://schemas.openxmlformats.org/officeDocument/2006/relationships/image" Target="../media/image204.png"/><Relationship Id="rId56" Type="http://schemas.openxmlformats.org/officeDocument/2006/relationships/image" Target="../media/image212.svg"/><Relationship Id="rId8" Type="http://schemas.openxmlformats.org/officeDocument/2006/relationships/image" Target="../media/image164.png"/><Relationship Id="rId51" Type="http://schemas.openxmlformats.org/officeDocument/2006/relationships/image" Target="../media/image207.png"/><Relationship Id="rId3" Type="http://schemas.openxmlformats.org/officeDocument/2006/relationships/image" Target="../media/image159.png"/><Relationship Id="rId12" Type="http://schemas.openxmlformats.org/officeDocument/2006/relationships/image" Target="../media/image168.png"/><Relationship Id="rId17" Type="http://schemas.openxmlformats.org/officeDocument/2006/relationships/image" Target="../media/image173.png"/><Relationship Id="rId25" Type="http://schemas.openxmlformats.org/officeDocument/2006/relationships/image" Target="../media/image181.png"/><Relationship Id="rId33" Type="http://schemas.openxmlformats.org/officeDocument/2006/relationships/image" Target="../media/image189.png"/><Relationship Id="rId38" Type="http://schemas.openxmlformats.org/officeDocument/2006/relationships/image" Target="../media/image194.png"/><Relationship Id="rId46" Type="http://schemas.openxmlformats.org/officeDocument/2006/relationships/image" Target="../media/image202.jpeg"/><Relationship Id="rId20" Type="http://schemas.openxmlformats.org/officeDocument/2006/relationships/image" Target="../media/image176.png"/><Relationship Id="rId41" Type="http://schemas.openxmlformats.org/officeDocument/2006/relationships/image" Target="../media/image197.png"/><Relationship Id="rId54" Type="http://schemas.openxmlformats.org/officeDocument/2006/relationships/image" Target="../media/image210.png"/><Relationship Id="rId1" Type="http://schemas.openxmlformats.org/officeDocument/2006/relationships/slideLayout" Target="../slideLayouts/slideLayout9.xml"/><Relationship Id="rId6" Type="http://schemas.openxmlformats.org/officeDocument/2006/relationships/image" Target="../media/image162.png"/><Relationship Id="rId15" Type="http://schemas.openxmlformats.org/officeDocument/2006/relationships/image" Target="../media/image171.png"/><Relationship Id="rId23" Type="http://schemas.openxmlformats.org/officeDocument/2006/relationships/image" Target="../media/image179.png"/><Relationship Id="rId28" Type="http://schemas.openxmlformats.org/officeDocument/2006/relationships/image" Target="../media/image184.png"/><Relationship Id="rId36" Type="http://schemas.openxmlformats.org/officeDocument/2006/relationships/image" Target="../media/image192.png"/><Relationship Id="rId49" Type="http://schemas.openxmlformats.org/officeDocument/2006/relationships/image" Target="../media/image20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hidden="1">
            <a:extLst>
              <a:ext uri="{FF2B5EF4-FFF2-40B4-BE49-F238E27FC236}">
                <a16:creationId xmlns:a16="http://schemas.microsoft.com/office/drawing/2014/main" id="{016C325E-5B69-4D07-BBFB-7DB217A69D48}"/>
              </a:ext>
            </a:extLst>
          </p:cNvPr>
          <p:cNvSpPr>
            <a:spLocks noGrp="1"/>
          </p:cNvSpPr>
          <p:nvPr>
            <p:ph type="ctrTitle" idx="4294967295"/>
          </p:nvPr>
        </p:nvSpPr>
        <p:spPr>
          <a:xfrm>
            <a:off x="0" y="1122363"/>
            <a:ext cx="9144000" cy="2387600"/>
          </a:xfrm>
          <a:prstGeom prst="rect">
            <a:avLst/>
          </a:prstGeom>
        </p:spPr>
        <p:txBody>
          <a:bodyPr/>
          <a:lstStyle/>
          <a:p>
            <a:r>
              <a:rPr lang="en-US" dirty="0"/>
              <a:t>Human resources slide 1</a:t>
            </a:r>
          </a:p>
        </p:txBody>
      </p:sp>
      <p:pic>
        <p:nvPicPr>
          <p:cNvPr id="4" name="Picture 3">
            <a:extLst>
              <a:ext uri="{FF2B5EF4-FFF2-40B4-BE49-F238E27FC236}">
                <a16:creationId xmlns:a16="http://schemas.microsoft.com/office/drawing/2014/main" id="{ACF8A61E-3EEB-494B-A824-262A048D932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300" y="0"/>
            <a:ext cx="12183400" cy="6858000"/>
          </a:xfrm>
          <a:prstGeom prst="rect">
            <a:avLst/>
          </a:prstGeom>
        </p:spPr>
      </p:pic>
      <p:pic>
        <p:nvPicPr>
          <p:cNvPr id="6" name="Picture 5">
            <a:extLst>
              <a:ext uri="{FF2B5EF4-FFF2-40B4-BE49-F238E27FC236}">
                <a16:creationId xmlns:a16="http://schemas.microsoft.com/office/drawing/2014/main" id="{327DF721-2BB0-3579-BDE5-E03316314D9D}"/>
              </a:ext>
            </a:extLst>
          </p:cNvPr>
          <p:cNvPicPr>
            <a:picLocks noChangeAspect="1"/>
          </p:cNvPicPr>
          <p:nvPr/>
        </p:nvPicPr>
        <p:blipFill>
          <a:blip r:embed="rId4"/>
          <a:stretch>
            <a:fillRect/>
          </a:stretch>
        </p:blipFill>
        <p:spPr>
          <a:xfrm>
            <a:off x="2272200" y="1179823"/>
            <a:ext cx="1293431" cy="560487"/>
          </a:xfrm>
          <a:prstGeom prst="rect">
            <a:avLst/>
          </a:prstGeom>
        </p:spPr>
      </p:pic>
      <p:pic>
        <p:nvPicPr>
          <p:cNvPr id="7" name="Picture 6" descr="Logo, company name&#10;&#10;Description automatically generated">
            <a:extLst>
              <a:ext uri="{FF2B5EF4-FFF2-40B4-BE49-F238E27FC236}">
                <a16:creationId xmlns:a16="http://schemas.microsoft.com/office/drawing/2014/main" id="{4D6825D4-8B31-D423-FFE0-F5485FEA92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56776" y="893335"/>
            <a:ext cx="1581172" cy="762351"/>
          </a:xfrm>
          <a:prstGeom prst="rect">
            <a:avLst/>
          </a:prstGeom>
        </p:spPr>
      </p:pic>
      <p:pic>
        <p:nvPicPr>
          <p:cNvPr id="5" name="Picture 4" descr="A blue text on a black background&#10;&#10;Description automatically generated">
            <a:extLst>
              <a:ext uri="{FF2B5EF4-FFF2-40B4-BE49-F238E27FC236}">
                <a16:creationId xmlns:a16="http://schemas.microsoft.com/office/drawing/2014/main" id="{33F86D20-C6CB-CA21-28E9-884C08D8F3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56776" y="1834239"/>
            <a:ext cx="1518960" cy="347599"/>
          </a:xfrm>
          <a:prstGeom prst="rect">
            <a:avLst/>
          </a:prstGeom>
        </p:spPr>
      </p:pic>
    </p:spTree>
    <p:extLst>
      <p:ext uri="{BB962C8B-B14F-4D97-AF65-F5344CB8AC3E}">
        <p14:creationId xmlns:p14="http://schemas.microsoft.com/office/powerpoint/2010/main" val="372898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653652-0E84-289F-712F-F623F626CFB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3EDC4EE-5830-D032-E27B-950FA63A4F9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6FEE46-54D6-4306-A6BD-73AF3F3AD20B}" type="slidenum">
              <a:rPr kumimoji="0" lang="en-US" sz="1000" b="0" i="0" u="none" strike="noStrike" kern="1200" cap="none" spc="0" normalizeH="0" baseline="0" noProof="0" smtClean="0">
                <a:ln>
                  <a:noFill/>
                </a:ln>
                <a:solidFill>
                  <a:prstClr val="black"/>
                </a:solidFill>
                <a:effectLst/>
                <a:uLnTx/>
                <a:uFillTx/>
                <a:latin typeface="Segoe UI Semilight" panose="020B0502040204020203" pitchFamily="34" charset="0"/>
                <a:ea typeface="+mn-ea"/>
                <a:cs typeface="Segoe UI Semi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black"/>
              </a:solidFill>
              <a:effectLst/>
              <a:uLnTx/>
              <a:uFillTx/>
              <a:latin typeface="Segoe UI Semilight" panose="020B0502040204020203" pitchFamily="34" charset="0"/>
              <a:ea typeface="+mn-ea"/>
              <a:cs typeface="Segoe UI Semilight" panose="020B0502040204020203" pitchFamily="34" charset="0"/>
            </a:endParaRPr>
          </a:p>
        </p:txBody>
      </p:sp>
      <p:sp>
        <p:nvSpPr>
          <p:cNvPr id="10" name="Graphic 6">
            <a:extLst>
              <a:ext uri="{FF2B5EF4-FFF2-40B4-BE49-F238E27FC236}">
                <a16:creationId xmlns:a16="http://schemas.microsoft.com/office/drawing/2014/main" id="{18A26EC4-5846-F3F4-6204-4CF6449F9D3B}"/>
              </a:ext>
            </a:extLst>
          </p:cNvPr>
          <p:cNvSpPr/>
          <p:nvPr/>
        </p:nvSpPr>
        <p:spPr>
          <a:xfrm>
            <a:off x="-22836" y="-337770"/>
            <a:ext cx="5127430" cy="2895832"/>
          </a:xfrm>
          <a:custGeom>
            <a:avLst/>
            <a:gdLst>
              <a:gd name="connsiteX0" fmla="*/ 4864132 w 5127430"/>
              <a:gd name="connsiteY0" fmla="*/ 2268474 h 2895832"/>
              <a:gd name="connsiteX1" fmla="*/ 4881753 w 5127430"/>
              <a:gd name="connsiteY1" fmla="*/ 2252282 h 2895832"/>
              <a:gd name="connsiteX2" fmla="*/ 4922616 w 5127430"/>
              <a:gd name="connsiteY2" fmla="*/ 2224278 h 2895832"/>
              <a:gd name="connsiteX3" fmla="*/ 4930235 w 5127430"/>
              <a:gd name="connsiteY3" fmla="*/ 2208848 h 2895832"/>
              <a:gd name="connsiteX4" fmla="*/ 4994148 w 5127430"/>
              <a:gd name="connsiteY4" fmla="*/ 2178272 h 2895832"/>
              <a:gd name="connsiteX5" fmla="*/ 5027867 w 5127430"/>
              <a:gd name="connsiteY5" fmla="*/ 2173129 h 2895832"/>
              <a:gd name="connsiteX6" fmla="*/ 5048155 w 5127430"/>
              <a:gd name="connsiteY6" fmla="*/ 2173510 h 2895832"/>
              <a:gd name="connsiteX7" fmla="*/ 5065014 w 5127430"/>
              <a:gd name="connsiteY7" fmla="*/ 2156841 h 2895832"/>
              <a:gd name="connsiteX8" fmla="*/ 5109020 w 5127430"/>
              <a:gd name="connsiteY8" fmla="*/ 2133124 h 2895832"/>
              <a:gd name="connsiteX9" fmla="*/ 5124546 w 5127430"/>
              <a:gd name="connsiteY9" fmla="*/ 2108740 h 2895832"/>
              <a:gd name="connsiteX10" fmla="*/ 5117687 w 5127430"/>
              <a:gd name="connsiteY10" fmla="*/ 2102549 h 2895832"/>
              <a:gd name="connsiteX11" fmla="*/ 5120926 w 5127430"/>
              <a:gd name="connsiteY11" fmla="*/ 2091023 h 2895832"/>
              <a:gd name="connsiteX12" fmla="*/ 5115497 w 5127430"/>
              <a:gd name="connsiteY12" fmla="*/ 2067020 h 2895832"/>
              <a:gd name="connsiteX13" fmla="*/ 5117783 w 5127430"/>
              <a:gd name="connsiteY13" fmla="*/ 2030825 h 2895832"/>
              <a:gd name="connsiteX14" fmla="*/ 5115782 w 5127430"/>
              <a:gd name="connsiteY14" fmla="*/ 2029968 h 2895832"/>
              <a:gd name="connsiteX15" fmla="*/ 5113782 w 5127430"/>
              <a:gd name="connsiteY15" fmla="*/ 2012537 h 2895832"/>
              <a:gd name="connsiteX16" fmla="*/ 5076349 w 5127430"/>
              <a:gd name="connsiteY16" fmla="*/ 2001679 h 2895832"/>
              <a:gd name="connsiteX17" fmla="*/ 5075206 w 5127430"/>
              <a:gd name="connsiteY17" fmla="*/ 1991868 h 2895832"/>
              <a:gd name="connsiteX18" fmla="*/ 5036153 w 5127430"/>
              <a:gd name="connsiteY18" fmla="*/ 2005394 h 2895832"/>
              <a:gd name="connsiteX19" fmla="*/ 5028248 w 5127430"/>
              <a:gd name="connsiteY19" fmla="*/ 2015014 h 2895832"/>
              <a:gd name="connsiteX20" fmla="*/ 5018151 w 5127430"/>
              <a:gd name="connsiteY20" fmla="*/ 1998631 h 2895832"/>
              <a:gd name="connsiteX21" fmla="*/ 5028153 w 5127430"/>
              <a:gd name="connsiteY21" fmla="*/ 1980724 h 2895832"/>
              <a:gd name="connsiteX22" fmla="*/ 5009007 w 5127430"/>
              <a:gd name="connsiteY22" fmla="*/ 1959578 h 2895832"/>
              <a:gd name="connsiteX23" fmla="*/ 4968049 w 5127430"/>
              <a:gd name="connsiteY23" fmla="*/ 1954530 h 2895832"/>
              <a:gd name="connsiteX24" fmla="*/ 4977480 w 5127430"/>
              <a:gd name="connsiteY24" fmla="*/ 1942814 h 2895832"/>
              <a:gd name="connsiteX25" fmla="*/ 5033105 w 5127430"/>
              <a:gd name="connsiteY25" fmla="*/ 1928336 h 2895832"/>
              <a:gd name="connsiteX26" fmla="*/ 5005578 w 5127430"/>
              <a:gd name="connsiteY26" fmla="*/ 1916525 h 2895832"/>
              <a:gd name="connsiteX27" fmla="*/ 4993767 w 5127430"/>
              <a:gd name="connsiteY27" fmla="*/ 1917764 h 2895832"/>
              <a:gd name="connsiteX28" fmla="*/ 4983290 w 5127430"/>
              <a:gd name="connsiteY28" fmla="*/ 1905572 h 2895832"/>
              <a:gd name="connsiteX29" fmla="*/ 4985862 w 5127430"/>
              <a:gd name="connsiteY29" fmla="*/ 1895761 h 2895832"/>
              <a:gd name="connsiteX30" fmla="*/ 4963859 w 5127430"/>
              <a:gd name="connsiteY30" fmla="*/ 1901762 h 2895832"/>
              <a:gd name="connsiteX31" fmla="*/ 4955572 w 5127430"/>
              <a:gd name="connsiteY31" fmla="*/ 1909477 h 2895832"/>
              <a:gd name="connsiteX32" fmla="*/ 4927664 w 5127430"/>
              <a:gd name="connsiteY32" fmla="*/ 1899761 h 2895832"/>
              <a:gd name="connsiteX33" fmla="*/ 4930998 w 5127430"/>
              <a:gd name="connsiteY33" fmla="*/ 1890427 h 2895832"/>
              <a:gd name="connsiteX34" fmla="*/ 4936998 w 5127430"/>
              <a:gd name="connsiteY34" fmla="*/ 1881664 h 2895832"/>
              <a:gd name="connsiteX35" fmla="*/ 4905756 w 5127430"/>
              <a:gd name="connsiteY35" fmla="*/ 1869377 h 2895832"/>
              <a:gd name="connsiteX36" fmla="*/ 4877657 w 5127430"/>
              <a:gd name="connsiteY36" fmla="*/ 1871853 h 2895832"/>
              <a:gd name="connsiteX37" fmla="*/ 4877562 w 5127430"/>
              <a:gd name="connsiteY37" fmla="*/ 1858899 h 2895832"/>
              <a:gd name="connsiteX38" fmla="*/ 4860512 w 5127430"/>
              <a:gd name="connsiteY38" fmla="*/ 1866233 h 2895832"/>
              <a:gd name="connsiteX39" fmla="*/ 4855178 w 5127430"/>
              <a:gd name="connsiteY39" fmla="*/ 1842897 h 2895832"/>
              <a:gd name="connsiteX40" fmla="*/ 4844796 w 5127430"/>
              <a:gd name="connsiteY40" fmla="*/ 1839468 h 2895832"/>
              <a:gd name="connsiteX41" fmla="*/ 4846987 w 5127430"/>
              <a:gd name="connsiteY41" fmla="*/ 1833086 h 2895832"/>
              <a:gd name="connsiteX42" fmla="*/ 4842891 w 5127430"/>
              <a:gd name="connsiteY42" fmla="*/ 1818989 h 2895832"/>
              <a:gd name="connsiteX43" fmla="*/ 4836224 w 5127430"/>
              <a:gd name="connsiteY43" fmla="*/ 1818323 h 2895832"/>
              <a:gd name="connsiteX44" fmla="*/ 4820127 w 5127430"/>
              <a:gd name="connsiteY44" fmla="*/ 1829657 h 2895832"/>
              <a:gd name="connsiteX45" fmla="*/ 4814793 w 5127430"/>
              <a:gd name="connsiteY45" fmla="*/ 1814417 h 2895832"/>
              <a:gd name="connsiteX46" fmla="*/ 4805649 w 5127430"/>
              <a:gd name="connsiteY46" fmla="*/ 1810798 h 2895832"/>
              <a:gd name="connsiteX47" fmla="*/ 4806887 w 5127430"/>
              <a:gd name="connsiteY47" fmla="*/ 1806131 h 2895832"/>
              <a:gd name="connsiteX48" fmla="*/ 4803744 w 5127430"/>
              <a:gd name="connsiteY48" fmla="*/ 1792891 h 2895832"/>
              <a:gd name="connsiteX49" fmla="*/ 4773073 w 5127430"/>
              <a:gd name="connsiteY49" fmla="*/ 1784699 h 2895832"/>
              <a:gd name="connsiteX50" fmla="*/ 4774407 w 5127430"/>
              <a:gd name="connsiteY50" fmla="*/ 1772126 h 2895832"/>
              <a:gd name="connsiteX51" fmla="*/ 4784598 w 5127430"/>
              <a:gd name="connsiteY51" fmla="*/ 1764030 h 2895832"/>
              <a:gd name="connsiteX52" fmla="*/ 4770025 w 5127430"/>
              <a:gd name="connsiteY52" fmla="*/ 1751743 h 2895832"/>
              <a:gd name="connsiteX53" fmla="*/ 4794980 w 5127430"/>
              <a:gd name="connsiteY53" fmla="*/ 1746790 h 2895832"/>
              <a:gd name="connsiteX54" fmla="*/ 4769930 w 5127430"/>
              <a:gd name="connsiteY54" fmla="*/ 1700784 h 2895832"/>
              <a:gd name="connsiteX55" fmla="*/ 4756976 w 5127430"/>
              <a:gd name="connsiteY55" fmla="*/ 1694212 h 2895832"/>
              <a:gd name="connsiteX56" fmla="*/ 4764119 w 5127430"/>
              <a:gd name="connsiteY56" fmla="*/ 1676495 h 2895832"/>
              <a:gd name="connsiteX57" fmla="*/ 4748499 w 5127430"/>
              <a:gd name="connsiteY57" fmla="*/ 1669733 h 2895832"/>
              <a:gd name="connsiteX58" fmla="*/ 4743545 w 5127430"/>
              <a:gd name="connsiteY58" fmla="*/ 1661541 h 2895832"/>
              <a:gd name="connsiteX59" fmla="*/ 4760691 w 5127430"/>
              <a:gd name="connsiteY59" fmla="*/ 1653826 h 2895832"/>
              <a:gd name="connsiteX60" fmla="*/ 4755452 w 5127430"/>
              <a:gd name="connsiteY60" fmla="*/ 1641539 h 2895832"/>
              <a:gd name="connsiteX61" fmla="*/ 4723162 w 5127430"/>
              <a:gd name="connsiteY61" fmla="*/ 1628394 h 2895832"/>
              <a:gd name="connsiteX62" fmla="*/ 4718780 w 5127430"/>
              <a:gd name="connsiteY62" fmla="*/ 1618869 h 2895832"/>
              <a:gd name="connsiteX63" fmla="*/ 4712113 w 5127430"/>
              <a:gd name="connsiteY63" fmla="*/ 1618012 h 2895832"/>
              <a:gd name="connsiteX64" fmla="*/ 4699350 w 5127430"/>
              <a:gd name="connsiteY64" fmla="*/ 1619060 h 2895832"/>
              <a:gd name="connsiteX65" fmla="*/ 4696683 w 5127430"/>
              <a:gd name="connsiteY65" fmla="*/ 1612773 h 2895832"/>
              <a:gd name="connsiteX66" fmla="*/ 4705922 w 5127430"/>
              <a:gd name="connsiteY66" fmla="*/ 1595533 h 2895832"/>
              <a:gd name="connsiteX67" fmla="*/ 4704302 w 5127430"/>
              <a:gd name="connsiteY67" fmla="*/ 1584579 h 2895832"/>
              <a:gd name="connsiteX68" fmla="*/ 4696587 w 5127430"/>
              <a:gd name="connsiteY68" fmla="*/ 1582769 h 2895832"/>
              <a:gd name="connsiteX69" fmla="*/ 4682109 w 5127430"/>
              <a:gd name="connsiteY69" fmla="*/ 1591056 h 2895832"/>
              <a:gd name="connsiteX70" fmla="*/ 4674680 w 5127430"/>
              <a:gd name="connsiteY70" fmla="*/ 1588770 h 2895832"/>
              <a:gd name="connsiteX71" fmla="*/ 4687062 w 5127430"/>
              <a:gd name="connsiteY71" fmla="*/ 1561910 h 2895832"/>
              <a:gd name="connsiteX72" fmla="*/ 4662488 w 5127430"/>
              <a:gd name="connsiteY72" fmla="*/ 1533335 h 2895832"/>
              <a:gd name="connsiteX73" fmla="*/ 4650582 w 5127430"/>
              <a:gd name="connsiteY73" fmla="*/ 1532382 h 2895832"/>
              <a:gd name="connsiteX74" fmla="*/ 4657535 w 5127430"/>
              <a:gd name="connsiteY74" fmla="*/ 1517333 h 2895832"/>
              <a:gd name="connsiteX75" fmla="*/ 4645628 w 5127430"/>
              <a:gd name="connsiteY75" fmla="*/ 1505522 h 2895832"/>
              <a:gd name="connsiteX76" fmla="*/ 4630674 w 5127430"/>
              <a:gd name="connsiteY76" fmla="*/ 1499711 h 2895832"/>
              <a:gd name="connsiteX77" fmla="*/ 4635056 w 5127430"/>
              <a:gd name="connsiteY77" fmla="*/ 1489329 h 2895832"/>
              <a:gd name="connsiteX78" fmla="*/ 4616958 w 5127430"/>
              <a:gd name="connsiteY78" fmla="*/ 1475518 h 2895832"/>
              <a:gd name="connsiteX79" fmla="*/ 4623245 w 5127430"/>
              <a:gd name="connsiteY79" fmla="*/ 1463802 h 2895832"/>
              <a:gd name="connsiteX80" fmla="*/ 4605243 w 5127430"/>
              <a:gd name="connsiteY80" fmla="*/ 1444181 h 2895832"/>
              <a:gd name="connsiteX81" fmla="*/ 4601433 w 5127430"/>
              <a:gd name="connsiteY81" fmla="*/ 1445800 h 2895832"/>
              <a:gd name="connsiteX82" fmla="*/ 4588288 w 5127430"/>
              <a:gd name="connsiteY82" fmla="*/ 1407890 h 2895832"/>
              <a:gd name="connsiteX83" fmla="*/ 4569524 w 5127430"/>
              <a:gd name="connsiteY83" fmla="*/ 1408938 h 2895832"/>
              <a:gd name="connsiteX84" fmla="*/ 4548950 w 5127430"/>
              <a:gd name="connsiteY84" fmla="*/ 1453896 h 2895832"/>
              <a:gd name="connsiteX85" fmla="*/ 4531900 w 5127430"/>
              <a:gd name="connsiteY85" fmla="*/ 1475613 h 2895832"/>
              <a:gd name="connsiteX86" fmla="*/ 4539044 w 5127430"/>
              <a:gd name="connsiteY86" fmla="*/ 1493044 h 2895832"/>
              <a:gd name="connsiteX87" fmla="*/ 4527614 w 5127430"/>
              <a:gd name="connsiteY87" fmla="*/ 1500473 h 2895832"/>
              <a:gd name="connsiteX88" fmla="*/ 4523232 w 5127430"/>
              <a:gd name="connsiteY88" fmla="*/ 1513618 h 2895832"/>
              <a:gd name="connsiteX89" fmla="*/ 4525137 w 5127430"/>
              <a:gd name="connsiteY89" fmla="*/ 1526953 h 2895832"/>
              <a:gd name="connsiteX90" fmla="*/ 4524852 w 5127430"/>
              <a:gd name="connsiteY90" fmla="*/ 1527524 h 2895832"/>
              <a:gd name="connsiteX91" fmla="*/ 4506278 w 5127430"/>
              <a:gd name="connsiteY91" fmla="*/ 1532763 h 2895832"/>
              <a:gd name="connsiteX92" fmla="*/ 4505611 w 5127430"/>
              <a:gd name="connsiteY92" fmla="*/ 1533620 h 2895832"/>
              <a:gd name="connsiteX93" fmla="*/ 4505325 w 5127430"/>
              <a:gd name="connsiteY93" fmla="*/ 1542479 h 2895832"/>
              <a:gd name="connsiteX94" fmla="*/ 4507802 w 5127430"/>
              <a:gd name="connsiteY94" fmla="*/ 1552670 h 2895832"/>
              <a:gd name="connsiteX95" fmla="*/ 4495991 w 5127430"/>
              <a:gd name="connsiteY95" fmla="*/ 1554671 h 2895832"/>
              <a:gd name="connsiteX96" fmla="*/ 4493514 w 5127430"/>
              <a:gd name="connsiteY96" fmla="*/ 1566196 h 2895832"/>
              <a:gd name="connsiteX97" fmla="*/ 4472369 w 5127430"/>
              <a:gd name="connsiteY97" fmla="*/ 1559719 h 2895832"/>
              <a:gd name="connsiteX98" fmla="*/ 4454081 w 5127430"/>
              <a:gd name="connsiteY98" fmla="*/ 1591532 h 2895832"/>
              <a:gd name="connsiteX99" fmla="*/ 4439888 w 5127430"/>
              <a:gd name="connsiteY99" fmla="*/ 1589627 h 2895832"/>
              <a:gd name="connsiteX100" fmla="*/ 4405884 w 5127430"/>
              <a:gd name="connsiteY100" fmla="*/ 1607915 h 2895832"/>
              <a:gd name="connsiteX101" fmla="*/ 4407408 w 5127430"/>
              <a:gd name="connsiteY101" fmla="*/ 1591437 h 2895832"/>
              <a:gd name="connsiteX102" fmla="*/ 4390835 w 5127430"/>
              <a:gd name="connsiteY102" fmla="*/ 1597057 h 2895832"/>
              <a:gd name="connsiteX103" fmla="*/ 4389216 w 5127430"/>
              <a:gd name="connsiteY103" fmla="*/ 1587532 h 2895832"/>
              <a:gd name="connsiteX104" fmla="*/ 4375785 w 5127430"/>
              <a:gd name="connsiteY104" fmla="*/ 1581817 h 2895832"/>
              <a:gd name="connsiteX105" fmla="*/ 4365689 w 5127430"/>
              <a:gd name="connsiteY105" fmla="*/ 1586579 h 2895832"/>
              <a:gd name="connsiteX106" fmla="*/ 4355497 w 5127430"/>
              <a:gd name="connsiteY106" fmla="*/ 1559909 h 2895832"/>
              <a:gd name="connsiteX107" fmla="*/ 4339209 w 5127430"/>
              <a:gd name="connsiteY107" fmla="*/ 1551813 h 2895832"/>
              <a:gd name="connsiteX108" fmla="*/ 4296061 w 5127430"/>
              <a:gd name="connsiteY108" fmla="*/ 1558100 h 2895832"/>
              <a:gd name="connsiteX109" fmla="*/ 4271010 w 5127430"/>
              <a:gd name="connsiteY109" fmla="*/ 1572959 h 2895832"/>
              <a:gd name="connsiteX110" fmla="*/ 4278630 w 5127430"/>
              <a:gd name="connsiteY110" fmla="*/ 1548575 h 2895832"/>
              <a:gd name="connsiteX111" fmla="*/ 4288441 w 5127430"/>
              <a:gd name="connsiteY111" fmla="*/ 1545050 h 2895832"/>
              <a:gd name="connsiteX112" fmla="*/ 4295870 w 5127430"/>
              <a:gd name="connsiteY112" fmla="*/ 1524572 h 2895832"/>
              <a:gd name="connsiteX113" fmla="*/ 4278535 w 5127430"/>
              <a:gd name="connsiteY113" fmla="*/ 1503521 h 2895832"/>
              <a:gd name="connsiteX114" fmla="*/ 4278059 w 5127430"/>
              <a:gd name="connsiteY114" fmla="*/ 1490186 h 2895832"/>
              <a:gd name="connsiteX115" fmla="*/ 4290060 w 5127430"/>
              <a:gd name="connsiteY115" fmla="*/ 1475423 h 2895832"/>
              <a:gd name="connsiteX116" fmla="*/ 4280535 w 5127430"/>
              <a:gd name="connsiteY116" fmla="*/ 1452753 h 2895832"/>
              <a:gd name="connsiteX117" fmla="*/ 4269867 w 5127430"/>
              <a:gd name="connsiteY117" fmla="*/ 1445133 h 2895832"/>
              <a:gd name="connsiteX118" fmla="*/ 4283297 w 5127430"/>
              <a:gd name="connsiteY118" fmla="*/ 1432941 h 2895832"/>
              <a:gd name="connsiteX119" fmla="*/ 4274058 w 5127430"/>
              <a:gd name="connsiteY119" fmla="*/ 1400366 h 2895832"/>
              <a:gd name="connsiteX120" fmla="*/ 4280440 w 5127430"/>
              <a:gd name="connsiteY120" fmla="*/ 1398175 h 2895832"/>
              <a:gd name="connsiteX121" fmla="*/ 4283297 w 5127430"/>
              <a:gd name="connsiteY121" fmla="*/ 1389698 h 2895832"/>
              <a:gd name="connsiteX122" fmla="*/ 4299966 w 5127430"/>
              <a:gd name="connsiteY122" fmla="*/ 1370648 h 2895832"/>
              <a:gd name="connsiteX123" fmla="*/ 4294156 w 5127430"/>
              <a:gd name="connsiteY123" fmla="*/ 1350073 h 2895832"/>
              <a:gd name="connsiteX124" fmla="*/ 4284441 w 5127430"/>
              <a:gd name="connsiteY124" fmla="*/ 1346835 h 2895832"/>
              <a:gd name="connsiteX125" fmla="*/ 4274153 w 5127430"/>
              <a:gd name="connsiteY125" fmla="*/ 1368266 h 2895832"/>
              <a:gd name="connsiteX126" fmla="*/ 4258533 w 5127430"/>
              <a:gd name="connsiteY126" fmla="*/ 1368552 h 2895832"/>
              <a:gd name="connsiteX127" fmla="*/ 4242340 w 5127430"/>
              <a:gd name="connsiteY127" fmla="*/ 1347407 h 2895832"/>
              <a:gd name="connsiteX128" fmla="*/ 4217766 w 5127430"/>
              <a:gd name="connsiteY128" fmla="*/ 1352550 h 2895832"/>
              <a:gd name="connsiteX129" fmla="*/ 4170521 w 5127430"/>
              <a:gd name="connsiteY129" fmla="*/ 1330643 h 2895832"/>
              <a:gd name="connsiteX130" fmla="*/ 4165187 w 5127430"/>
              <a:gd name="connsiteY130" fmla="*/ 1320927 h 2895832"/>
              <a:gd name="connsiteX131" fmla="*/ 4156043 w 5127430"/>
              <a:gd name="connsiteY131" fmla="*/ 1318069 h 2895832"/>
              <a:gd name="connsiteX132" fmla="*/ 4165187 w 5127430"/>
              <a:gd name="connsiteY132" fmla="*/ 1295305 h 2895832"/>
              <a:gd name="connsiteX133" fmla="*/ 4137755 w 5127430"/>
              <a:gd name="connsiteY133" fmla="*/ 1289876 h 2895832"/>
              <a:gd name="connsiteX134" fmla="*/ 4121658 w 5127430"/>
              <a:gd name="connsiteY134" fmla="*/ 1275302 h 2895832"/>
              <a:gd name="connsiteX135" fmla="*/ 4102608 w 5127430"/>
              <a:gd name="connsiteY135" fmla="*/ 1265777 h 2895832"/>
              <a:gd name="connsiteX136" fmla="*/ 4099655 w 5127430"/>
              <a:gd name="connsiteY136" fmla="*/ 1253966 h 2895832"/>
              <a:gd name="connsiteX137" fmla="*/ 4088702 w 5127430"/>
              <a:gd name="connsiteY137" fmla="*/ 1248728 h 2895832"/>
              <a:gd name="connsiteX138" fmla="*/ 4035743 w 5127430"/>
              <a:gd name="connsiteY138" fmla="*/ 1219676 h 2895832"/>
              <a:gd name="connsiteX139" fmla="*/ 4005453 w 5127430"/>
              <a:gd name="connsiteY139" fmla="*/ 1236631 h 2895832"/>
              <a:gd name="connsiteX140" fmla="*/ 3985451 w 5127430"/>
              <a:gd name="connsiteY140" fmla="*/ 1238060 h 2895832"/>
              <a:gd name="connsiteX141" fmla="*/ 3977450 w 5127430"/>
              <a:gd name="connsiteY141" fmla="*/ 1243775 h 2895832"/>
              <a:gd name="connsiteX142" fmla="*/ 3970401 w 5127430"/>
              <a:gd name="connsiteY142" fmla="*/ 1246537 h 2895832"/>
              <a:gd name="connsiteX143" fmla="*/ 3945350 w 5127430"/>
              <a:gd name="connsiteY143" fmla="*/ 1235202 h 2895832"/>
              <a:gd name="connsiteX144" fmla="*/ 3914585 w 5127430"/>
              <a:gd name="connsiteY144" fmla="*/ 1236440 h 2895832"/>
              <a:gd name="connsiteX145" fmla="*/ 3810381 w 5127430"/>
              <a:gd name="connsiteY145" fmla="*/ 1214628 h 2895832"/>
              <a:gd name="connsiteX146" fmla="*/ 3799903 w 5127430"/>
              <a:gd name="connsiteY146" fmla="*/ 1220724 h 2895832"/>
              <a:gd name="connsiteX147" fmla="*/ 3776853 w 5127430"/>
              <a:gd name="connsiteY147" fmla="*/ 1229773 h 2895832"/>
              <a:gd name="connsiteX148" fmla="*/ 3771614 w 5127430"/>
              <a:gd name="connsiteY148" fmla="*/ 1247013 h 2895832"/>
              <a:gd name="connsiteX149" fmla="*/ 3784187 w 5127430"/>
              <a:gd name="connsiteY149" fmla="*/ 1291781 h 2895832"/>
              <a:gd name="connsiteX150" fmla="*/ 3793617 w 5127430"/>
              <a:gd name="connsiteY150" fmla="*/ 1296448 h 2895832"/>
              <a:gd name="connsiteX151" fmla="*/ 3801428 w 5127430"/>
              <a:gd name="connsiteY151" fmla="*/ 1307306 h 2895832"/>
              <a:gd name="connsiteX152" fmla="*/ 3791522 w 5127430"/>
              <a:gd name="connsiteY152" fmla="*/ 1323308 h 2895832"/>
              <a:gd name="connsiteX153" fmla="*/ 3791045 w 5127430"/>
              <a:gd name="connsiteY153" fmla="*/ 1343597 h 2895832"/>
              <a:gd name="connsiteX154" fmla="*/ 3765328 w 5127430"/>
              <a:gd name="connsiteY154" fmla="*/ 1368933 h 2895832"/>
              <a:gd name="connsiteX155" fmla="*/ 3746659 w 5127430"/>
              <a:gd name="connsiteY155" fmla="*/ 1371981 h 2895832"/>
              <a:gd name="connsiteX156" fmla="*/ 3743230 w 5127430"/>
              <a:gd name="connsiteY156" fmla="*/ 1381125 h 2895832"/>
              <a:gd name="connsiteX157" fmla="*/ 3749707 w 5127430"/>
              <a:gd name="connsiteY157" fmla="*/ 1385221 h 2895832"/>
              <a:gd name="connsiteX158" fmla="*/ 3791522 w 5127430"/>
              <a:gd name="connsiteY158" fmla="*/ 1375696 h 2895832"/>
              <a:gd name="connsiteX159" fmla="*/ 3798665 w 5127430"/>
              <a:gd name="connsiteY159" fmla="*/ 1385507 h 2895832"/>
              <a:gd name="connsiteX160" fmla="*/ 3797237 w 5127430"/>
              <a:gd name="connsiteY160" fmla="*/ 1386459 h 2895832"/>
              <a:gd name="connsiteX161" fmla="*/ 3801809 w 5127430"/>
              <a:gd name="connsiteY161" fmla="*/ 1405414 h 2895832"/>
              <a:gd name="connsiteX162" fmla="*/ 3799618 w 5127430"/>
              <a:gd name="connsiteY162" fmla="*/ 1415606 h 2895832"/>
              <a:gd name="connsiteX163" fmla="*/ 3806666 w 5127430"/>
              <a:gd name="connsiteY163" fmla="*/ 1426559 h 2895832"/>
              <a:gd name="connsiteX164" fmla="*/ 3808476 w 5127430"/>
              <a:gd name="connsiteY164" fmla="*/ 1441133 h 2895832"/>
              <a:gd name="connsiteX165" fmla="*/ 3822478 w 5127430"/>
              <a:gd name="connsiteY165" fmla="*/ 1444181 h 2895832"/>
              <a:gd name="connsiteX166" fmla="*/ 3822478 w 5127430"/>
              <a:gd name="connsiteY166" fmla="*/ 1444371 h 2895832"/>
              <a:gd name="connsiteX167" fmla="*/ 3816287 w 5127430"/>
              <a:gd name="connsiteY167" fmla="*/ 1460944 h 2895832"/>
              <a:gd name="connsiteX168" fmla="*/ 3817715 w 5127430"/>
              <a:gd name="connsiteY168" fmla="*/ 1462469 h 2895832"/>
              <a:gd name="connsiteX169" fmla="*/ 3793141 w 5127430"/>
              <a:gd name="connsiteY169" fmla="*/ 1483423 h 2895832"/>
              <a:gd name="connsiteX170" fmla="*/ 3791141 w 5127430"/>
              <a:gd name="connsiteY170" fmla="*/ 1492377 h 2895832"/>
              <a:gd name="connsiteX171" fmla="*/ 3790378 w 5127430"/>
              <a:gd name="connsiteY171" fmla="*/ 1493044 h 2895832"/>
              <a:gd name="connsiteX172" fmla="*/ 3789712 w 5127430"/>
              <a:gd name="connsiteY172" fmla="*/ 1500950 h 2895832"/>
              <a:gd name="connsiteX173" fmla="*/ 3790474 w 5127430"/>
              <a:gd name="connsiteY173" fmla="*/ 1510570 h 2895832"/>
              <a:gd name="connsiteX174" fmla="*/ 3769519 w 5127430"/>
              <a:gd name="connsiteY174" fmla="*/ 1526858 h 2895832"/>
              <a:gd name="connsiteX175" fmla="*/ 3757517 w 5127430"/>
              <a:gd name="connsiteY175" fmla="*/ 1544765 h 2895832"/>
              <a:gd name="connsiteX176" fmla="*/ 3745802 w 5127430"/>
              <a:gd name="connsiteY176" fmla="*/ 1542955 h 2895832"/>
              <a:gd name="connsiteX177" fmla="*/ 3742087 w 5127430"/>
              <a:gd name="connsiteY177" fmla="*/ 1557338 h 2895832"/>
              <a:gd name="connsiteX178" fmla="*/ 3745325 w 5127430"/>
              <a:gd name="connsiteY178" fmla="*/ 1573149 h 2895832"/>
              <a:gd name="connsiteX179" fmla="*/ 3741801 w 5127430"/>
              <a:gd name="connsiteY179" fmla="*/ 1580198 h 2895832"/>
              <a:gd name="connsiteX180" fmla="*/ 3823907 w 5127430"/>
              <a:gd name="connsiteY180" fmla="*/ 1622965 h 2895832"/>
              <a:gd name="connsiteX181" fmla="*/ 3873722 w 5127430"/>
              <a:gd name="connsiteY181" fmla="*/ 1757077 h 2895832"/>
              <a:gd name="connsiteX182" fmla="*/ 3677984 w 5127430"/>
              <a:gd name="connsiteY182" fmla="*/ 1920621 h 2895832"/>
              <a:gd name="connsiteX183" fmla="*/ 3689223 w 5127430"/>
              <a:gd name="connsiteY183" fmla="*/ 1935480 h 2895832"/>
              <a:gd name="connsiteX184" fmla="*/ 3699034 w 5127430"/>
              <a:gd name="connsiteY184" fmla="*/ 1961960 h 2895832"/>
              <a:gd name="connsiteX185" fmla="*/ 3720275 w 5127430"/>
              <a:gd name="connsiteY185" fmla="*/ 1977866 h 2895832"/>
              <a:gd name="connsiteX186" fmla="*/ 3719417 w 5127430"/>
              <a:gd name="connsiteY186" fmla="*/ 1978533 h 2895832"/>
              <a:gd name="connsiteX187" fmla="*/ 3715417 w 5127430"/>
              <a:gd name="connsiteY187" fmla="*/ 2012537 h 2895832"/>
              <a:gd name="connsiteX188" fmla="*/ 3714178 w 5127430"/>
              <a:gd name="connsiteY188" fmla="*/ 2024444 h 2895832"/>
              <a:gd name="connsiteX189" fmla="*/ 3725037 w 5127430"/>
              <a:gd name="connsiteY189" fmla="*/ 2042351 h 2895832"/>
              <a:gd name="connsiteX190" fmla="*/ 3724085 w 5127430"/>
              <a:gd name="connsiteY190" fmla="*/ 2057400 h 2895832"/>
              <a:gd name="connsiteX191" fmla="*/ 3733991 w 5127430"/>
              <a:gd name="connsiteY191" fmla="*/ 2075307 h 2895832"/>
              <a:gd name="connsiteX192" fmla="*/ 3738563 w 5127430"/>
              <a:gd name="connsiteY192" fmla="*/ 2089785 h 2895832"/>
              <a:gd name="connsiteX193" fmla="*/ 3751612 w 5127430"/>
              <a:gd name="connsiteY193" fmla="*/ 2099215 h 2895832"/>
              <a:gd name="connsiteX194" fmla="*/ 3747897 w 5127430"/>
              <a:gd name="connsiteY194" fmla="*/ 2122265 h 2895832"/>
              <a:gd name="connsiteX195" fmla="*/ 3726275 w 5127430"/>
              <a:gd name="connsiteY195" fmla="*/ 2151793 h 2895832"/>
              <a:gd name="connsiteX196" fmla="*/ 3731990 w 5127430"/>
              <a:gd name="connsiteY196" fmla="*/ 2175224 h 2895832"/>
              <a:gd name="connsiteX197" fmla="*/ 3726085 w 5127430"/>
              <a:gd name="connsiteY197" fmla="*/ 2178939 h 2895832"/>
              <a:gd name="connsiteX198" fmla="*/ 3697891 w 5127430"/>
              <a:gd name="connsiteY198" fmla="*/ 2162651 h 2895832"/>
              <a:gd name="connsiteX199" fmla="*/ 3679508 w 5127430"/>
              <a:gd name="connsiteY199" fmla="*/ 2186464 h 2895832"/>
              <a:gd name="connsiteX200" fmla="*/ 3674650 w 5127430"/>
              <a:gd name="connsiteY200" fmla="*/ 2200942 h 2895832"/>
              <a:gd name="connsiteX201" fmla="*/ 3635216 w 5127430"/>
              <a:gd name="connsiteY201" fmla="*/ 2178463 h 2895832"/>
              <a:gd name="connsiteX202" fmla="*/ 3615976 w 5127430"/>
              <a:gd name="connsiteY202" fmla="*/ 2144459 h 2895832"/>
              <a:gd name="connsiteX203" fmla="*/ 3573970 w 5127430"/>
              <a:gd name="connsiteY203" fmla="*/ 2119503 h 2895832"/>
              <a:gd name="connsiteX204" fmla="*/ 3563969 w 5127430"/>
              <a:gd name="connsiteY204" fmla="*/ 2095310 h 2895832"/>
              <a:gd name="connsiteX205" fmla="*/ 3544253 w 5127430"/>
              <a:gd name="connsiteY205" fmla="*/ 2073878 h 2895832"/>
              <a:gd name="connsiteX206" fmla="*/ 3522345 w 5127430"/>
              <a:gd name="connsiteY206" fmla="*/ 2054162 h 2895832"/>
              <a:gd name="connsiteX207" fmla="*/ 3522345 w 5127430"/>
              <a:gd name="connsiteY207" fmla="*/ 2045113 h 2895832"/>
              <a:gd name="connsiteX208" fmla="*/ 3529108 w 5127430"/>
              <a:gd name="connsiteY208" fmla="*/ 2037493 h 2895832"/>
              <a:gd name="connsiteX209" fmla="*/ 3533108 w 5127430"/>
              <a:gd name="connsiteY209" fmla="*/ 2030540 h 2895832"/>
              <a:gd name="connsiteX210" fmla="*/ 3529013 w 5127430"/>
              <a:gd name="connsiteY210" fmla="*/ 2010918 h 2895832"/>
              <a:gd name="connsiteX211" fmla="*/ 3531203 w 5127430"/>
              <a:gd name="connsiteY211" fmla="*/ 1982153 h 2895832"/>
              <a:gd name="connsiteX212" fmla="*/ 3516059 w 5127430"/>
              <a:gd name="connsiteY212" fmla="*/ 1952816 h 2895832"/>
              <a:gd name="connsiteX213" fmla="*/ 3529394 w 5127430"/>
              <a:gd name="connsiteY213" fmla="*/ 1901095 h 2895832"/>
              <a:gd name="connsiteX214" fmla="*/ 3525679 w 5127430"/>
              <a:gd name="connsiteY214" fmla="*/ 1879949 h 2895832"/>
              <a:gd name="connsiteX215" fmla="*/ 3519202 w 5127430"/>
              <a:gd name="connsiteY215" fmla="*/ 1879664 h 2895832"/>
              <a:gd name="connsiteX216" fmla="*/ 3493961 w 5127430"/>
              <a:gd name="connsiteY216" fmla="*/ 1876806 h 2895832"/>
              <a:gd name="connsiteX217" fmla="*/ 3491294 w 5127430"/>
              <a:gd name="connsiteY217" fmla="*/ 1879473 h 2895832"/>
              <a:gd name="connsiteX218" fmla="*/ 3475768 w 5127430"/>
              <a:gd name="connsiteY218" fmla="*/ 1868710 h 2895832"/>
              <a:gd name="connsiteX219" fmla="*/ 3347466 w 5127430"/>
              <a:gd name="connsiteY219" fmla="*/ 1865471 h 2895832"/>
              <a:gd name="connsiteX220" fmla="*/ 3313271 w 5127430"/>
              <a:gd name="connsiteY220" fmla="*/ 1839754 h 2895832"/>
              <a:gd name="connsiteX221" fmla="*/ 3214878 w 5127430"/>
              <a:gd name="connsiteY221" fmla="*/ 1804892 h 2895832"/>
              <a:gd name="connsiteX222" fmla="*/ 3178969 w 5127430"/>
              <a:gd name="connsiteY222" fmla="*/ 1763840 h 2895832"/>
              <a:gd name="connsiteX223" fmla="*/ 3126772 w 5127430"/>
              <a:gd name="connsiteY223" fmla="*/ 1733550 h 2895832"/>
              <a:gd name="connsiteX224" fmla="*/ 3062859 w 5127430"/>
              <a:gd name="connsiteY224" fmla="*/ 1715834 h 2895832"/>
              <a:gd name="connsiteX225" fmla="*/ 3007709 w 5127430"/>
              <a:gd name="connsiteY225" fmla="*/ 1692212 h 2895832"/>
              <a:gd name="connsiteX226" fmla="*/ 2903696 w 5127430"/>
              <a:gd name="connsiteY226" fmla="*/ 1713167 h 2895832"/>
              <a:gd name="connsiteX227" fmla="*/ 2911793 w 5127430"/>
              <a:gd name="connsiteY227" fmla="*/ 1680877 h 2895832"/>
              <a:gd name="connsiteX228" fmla="*/ 2895124 w 5127430"/>
              <a:gd name="connsiteY228" fmla="*/ 1646968 h 2895832"/>
              <a:gd name="connsiteX229" fmla="*/ 2886742 w 5127430"/>
              <a:gd name="connsiteY229" fmla="*/ 1612868 h 2895832"/>
              <a:gd name="connsiteX230" fmla="*/ 2870359 w 5127430"/>
              <a:gd name="connsiteY230" fmla="*/ 1582579 h 2895832"/>
              <a:gd name="connsiteX231" fmla="*/ 2866930 w 5127430"/>
              <a:gd name="connsiteY231" fmla="*/ 1559814 h 2895832"/>
              <a:gd name="connsiteX232" fmla="*/ 2803684 w 5127430"/>
              <a:gd name="connsiteY232" fmla="*/ 1560195 h 2895832"/>
              <a:gd name="connsiteX233" fmla="*/ 2791206 w 5127430"/>
              <a:gd name="connsiteY233" fmla="*/ 1566196 h 2895832"/>
              <a:gd name="connsiteX234" fmla="*/ 2768060 w 5127430"/>
              <a:gd name="connsiteY234" fmla="*/ 1530287 h 2895832"/>
              <a:gd name="connsiteX235" fmla="*/ 2773870 w 5127430"/>
              <a:gd name="connsiteY235" fmla="*/ 1497616 h 2895832"/>
              <a:gd name="connsiteX236" fmla="*/ 2768632 w 5127430"/>
              <a:gd name="connsiteY236" fmla="*/ 1447895 h 2895832"/>
              <a:gd name="connsiteX237" fmla="*/ 2777204 w 5127430"/>
              <a:gd name="connsiteY237" fmla="*/ 1410176 h 2895832"/>
              <a:gd name="connsiteX238" fmla="*/ 2772156 w 5127430"/>
              <a:gd name="connsiteY238" fmla="*/ 1396556 h 2895832"/>
              <a:gd name="connsiteX239" fmla="*/ 2787396 w 5127430"/>
              <a:gd name="connsiteY239" fmla="*/ 1391984 h 2895832"/>
              <a:gd name="connsiteX240" fmla="*/ 2824829 w 5127430"/>
              <a:gd name="connsiteY240" fmla="*/ 1321975 h 2895832"/>
              <a:gd name="connsiteX241" fmla="*/ 2826068 w 5127430"/>
              <a:gd name="connsiteY241" fmla="*/ 1311021 h 2895832"/>
              <a:gd name="connsiteX242" fmla="*/ 2859310 w 5127430"/>
              <a:gd name="connsiteY242" fmla="*/ 1283684 h 2895832"/>
              <a:gd name="connsiteX243" fmla="*/ 2859024 w 5127430"/>
              <a:gd name="connsiteY243" fmla="*/ 1274826 h 2895832"/>
              <a:gd name="connsiteX244" fmla="*/ 2882170 w 5127430"/>
              <a:gd name="connsiteY244" fmla="*/ 1273397 h 2895832"/>
              <a:gd name="connsiteX245" fmla="*/ 2877693 w 5127430"/>
              <a:gd name="connsiteY245" fmla="*/ 1252538 h 2895832"/>
              <a:gd name="connsiteX246" fmla="*/ 2907220 w 5127430"/>
              <a:gd name="connsiteY246" fmla="*/ 1236059 h 2895832"/>
              <a:gd name="connsiteX247" fmla="*/ 2924556 w 5127430"/>
              <a:gd name="connsiteY247" fmla="*/ 1233869 h 2895832"/>
              <a:gd name="connsiteX248" fmla="*/ 2917412 w 5127430"/>
              <a:gd name="connsiteY248" fmla="*/ 1220057 h 2895832"/>
              <a:gd name="connsiteX249" fmla="*/ 2943606 w 5127430"/>
              <a:gd name="connsiteY249" fmla="*/ 1223010 h 2895832"/>
              <a:gd name="connsiteX250" fmla="*/ 2949702 w 5127430"/>
              <a:gd name="connsiteY250" fmla="*/ 1215581 h 2895832"/>
              <a:gd name="connsiteX251" fmla="*/ 2945130 w 5127430"/>
              <a:gd name="connsiteY251" fmla="*/ 1208342 h 2895832"/>
              <a:gd name="connsiteX252" fmla="*/ 2924556 w 5127430"/>
              <a:gd name="connsiteY252" fmla="*/ 1200626 h 2895832"/>
              <a:gd name="connsiteX253" fmla="*/ 2922270 w 5127430"/>
              <a:gd name="connsiteY253" fmla="*/ 1191482 h 2895832"/>
              <a:gd name="connsiteX254" fmla="*/ 2977896 w 5127430"/>
              <a:gd name="connsiteY254" fmla="*/ 1190435 h 2895832"/>
              <a:gd name="connsiteX255" fmla="*/ 3014186 w 5127430"/>
              <a:gd name="connsiteY255" fmla="*/ 1174718 h 2895832"/>
              <a:gd name="connsiteX256" fmla="*/ 3016853 w 5127430"/>
              <a:gd name="connsiteY256" fmla="*/ 1139000 h 2895832"/>
              <a:gd name="connsiteX257" fmla="*/ 3006662 w 5127430"/>
              <a:gd name="connsiteY257" fmla="*/ 1120521 h 2895832"/>
              <a:gd name="connsiteX258" fmla="*/ 3048953 w 5127430"/>
              <a:gd name="connsiteY258" fmla="*/ 1116521 h 2895832"/>
              <a:gd name="connsiteX259" fmla="*/ 3069812 w 5127430"/>
              <a:gd name="connsiteY259" fmla="*/ 1086803 h 2895832"/>
              <a:gd name="connsiteX260" fmla="*/ 3070098 w 5127430"/>
              <a:gd name="connsiteY260" fmla="*/ 1072420 h 2895832"/>
              <a:gd name="connsiteX261" fmla="*/ 3136964 w 5127430"/>
              <a:gd name="connsiteY261" fmla="*/ 1078516 h 2895832"/>
              <a:gd name="connsiteX262" fmla="*/ 3179255 w 5127430"/>
              <a:gd name="connsiteY262" fmla="*/ 1054227 h 2895832"/>
              <a:gd name="connsiteX263" fmla="*/ 3192304 w 5127430"/>
              <a:gd name="connsiteY263" fmla="*/ 1028129 h 2895832"/>
              <a:gd name="connsiteX264" fmla="*/ 3209925 w 5127430"/>
              <a:gd name="connsiteY264" fmla="*/ 1017937 h 2895832"/>
              <a:gd name="connsiteX265" fmla="*/ 3236881 w 5127430"/>
              <a:gd name="connsiteY265" fmla="*/ 979932 h 2895832"/>
              <a:gd name="connsiteX266" fmla="*/ 3240024 w 5127430"/>
              <a:gd name="connsiteY266" fmla="*/ 963359 h 2895832"/>
              <a:gd name="connsiteX267" fmla="*/ 3234785 w 5127430"/>
              <a:gd name="connsiteY267" fmla="*/ 956786 h 2895832"/>
              <a:gd name="connsiteX268" fmla="*/ 3212592 w 5127430"/>
              <a:gd name="connsiteY268" fmla="*/ 947738 h 2895832"/>
              <a:gd name="connsiteX269" fmla="*/ 3270980 w 5127430"/>
              <a:gd name="connsiteY269" fmla="*/ 909923 h 2895832"/>
              <a:gd name="connsiteX270" fmla="*/ 3276695 w 5127430"/>
              <a:gd name="connsiteY270" fmla="*/ 894302 h 2895832"/>
              <a:gd name="connsiteX271" fmla="*/ 3306413 w 5127430"/>
              <a:gd name="connsiteY271" fmla="*/ 867251 h 2895832"/>
              <a:gd name="connsiteX272" fmla="*/ 3258598 w 5127430"/>
              <a:gd name="connsiteY272" fmla="*/ 846106 h 2895832"/>
              <a:gd name="connsiteX273" fmla="*/ 3260217 w 5127430"/>
              <a:gd name="connsiteY273" fmla="*/ 827723 h 2895832"/>
              <a:gd name="connsiteX274" fmla="*/ 3312986 w 5127430"/>
              <a:gd name="connsiteY274" fmla="*/ 834104 h 2895832"/>
              <a:gd name="connsiteX275" fmla="*/ 3335369 w 5127430"/>
              <a:gd name="connsiteY275" fmla="*/ 830199 h 2895832"/>
              <a:gd name="connsiteX276" fmla="*/ 3350705 w 5127430"/>
              <a:gd name="connsiteY276" fmla="*/ 856774 h 2895832"/>
              <a:gd name="connsiteX277" fmla="*/ 3389186 w 5127430"/>
              <a:gd name="connsiteY277" fmla="*/ 866966 h 2895832"/>
              <a:gd name="connsiteX278" fmla="*/ 3394520 w 5127430"/>
              <a:gd name="connsiteY278" fmla="*/ 881634 h 2895832"/>
              <a:gd name="connsiteX279" fmla="*/ 3420713 w 5127430"/>
              <a:gd name="connsiteY279" fmla="*/ 904875 h 2895832"/>
              <a:gd name="connsiteX280" fmla="*/ 3441668 w 5127430"/>
              <a:gd name="connsiteY280" fmla="*/ 891921 h 2895832"/>
              <a:gd name="connsiteX281" fmla="*/ 3407378 w 5127430"/>
              <a:gd name="connsiteY281" fmla="*/ 863918 h 2895832"/>
              <a:gd name="connsiteX282" fmla="*/ 3409569 w 5127430"/>
              <a:gd name="connsiteY282" fmla="*/ 852488 h 2895832"/>
              <a:gd name="connsiteX283" fmla="*/ 3449860 w 5127430"/>
              <a:gd name="connsiteY283" fmla="*/ 876205 h 2895832"/>
              <a:gd name="connsiteX284" fmla="*/ 3431382 w 5127430"/>
              <a:gd name="connsiteY284" fmla="*/ 838676 h 2895832"/>
              <a:gd name="connsiteX285" fmla="*/ 3414522 w 5127430"/>
              <a:gd name="connsiteY285" fmla="*/ 819436 h 2895832"/>
              <a:gd name="connsiteX286" fmla="*/ 3423476 w 5127430"/>
              <a:gd name="connsiteY286" fmla="*/ 810197 h 2895832"/>
              <a:gd name="connsiteX287" fmla="*/ 3448145 w 5127430"/>
              <a:gd name="connsiteY287" fmla="*/ 831056 h 2895832"/>
              <a:gd name="connsiteX288" fmla="*/ 3459861 w 5127430"/>
              <a:gd name="connsiteY288" fmla="*/ 845058 h 2895832"/>
              <a:gd name="connsiteX289" fmla="*/ 3488150 w 5127430"/>
              <a:gd name="connsiteY289" fmla="*/ 827532 h 2895832"/>
              <a:gd name="connsiteX290" fmla="*/ 3507677 w 5127430"/>
              <a:gd name="connsiteY290" fmla="*/ 822865 h 2895832"/>
              <a:gd name="connsiteX291" fmla="*/ 3511010 w 5127430"/>
              <a:gd name="connsiteY291" fmla="*/ 817150 h 2895832"/>
              <a:gd name="connsiteX292" fmla="*/ 3524155 w 5127430"/>
              <a:gd name="connsiteY292" fmla="*/ 812483 h 2895832"/>
              <a:gd name="connsiteX293" fmla="*/ 3551587 w 5127430"/>
              <a:gd name="connsiteY293" fmla="*/ 785527 h 2895832"/>
              <a:gd name="connsiteX294" fmla="*/ 3571208 w 5127430"/>
              <a:gd name="connsiteY294" fmla="*/ 780383 h 2895832"/>
              <a:gd name="connsiteX295" fmla="*/ 3581114 w 5127430"/>
              <a:gd name="connsiteY295" fmla="*/ 731139 h 2895832"/>
              <a:gd name="connsiteX296" fmla="*/ 3534918 w 5127430"/>
              <a:gd name="connsiteY296" fmla="*/ 682943 h 2895832"/>
              <a:gd name="connsiteX297" fmla="*/ 3541205 w 5127430"/>
              <a:gd name="connsiteY297" fmla="*/ 659797 h 2895832"/>
              <a:gd name="connsiteX298" fmla="*/ 3528155 w 5127430"/>
              <a:gd name="connsiteY298" fmla="*/ 665226 h 2895832"/>
              <a:gd name="connsiteX299" fmla="*/ 3519678 w 5127430"/>
              <a:gd name="connsiteY299" fmla="*/ 661607 h 2895832"/>
              <a:gd name="connsiteX300" fmla="*/ 3527870 w 5127430"/>
              <a:gd name="connsiteY300" fmla="*/ 645128 h 2895832"/>
              <a:gd name="connsiteX301" fmla="*/ 3507200 w 5127430"/>
              <a:gd name="connsiteY301" fmla="*/ 632365 h 2895832"/>
              <a:gd name="connsiteX302" fmla="*/ 3553301 w 5127430"/>
              <a:gd name="connsiteY302" fmla="*/ 629031 h 2895832"/>
              <a:gd name="connsiteX303" fmla="*/ 3588068 w 5127430"/>
              <a:gd name="connsiteY303" fmla="*/ 603504 h 2895832"/>
              <a:gd name="connsiteX304" fmla="*/ 3576352 w 5127430"/>
              <a:gd name="connsiteY304" fmla="*/ 584835 h 2895832"/>
              <a:gd name="connsiteX305" fmla="*/ 3564255 w 5127430"/>
              <a:gd name="connsiteY305" fmla="*/ 588550 h 2895832"/>
              <a:gd name="connsiteX306" fmla="*/ 3561778 w 5127430"/>
              <a:gd name="connsiteY306" fmla="*/ 577120 h 2895832"/>
              <a:gd name="connsiteX307" fmla="*/ 3575209 w 5127430"/>
              <a:gd name="connsiteY307" fmla="*/ 554736 h 2895832"/>
              <a:gd name="connsiteX308" fmla="*/ 3540728 w 5127430"/>
              <a:gd name="connsiteY308" fmla="*/ 549212 h 2895832"/>
              <a:gd name="connsiteX309" fmla="*/ 3525774 w 5127430"/>
              <a:gd name="connsiteY309" fmla="*/ 551212 h 2895832"/>
              <a:gd name="connsiteX310" fmla="*/ 3525203 w 5127430"/>
              <a:gd name="connsiteY310" fmla="*/ 537020 h 2895832"/>
              <a:gd name="connsiteX311" fmla="*/ 3531584 w 5127430"/>
              <a:gd name="connsiteY311" fmla="*/ 535019 h 2895832"/>
              <a:gd name="connsiteX312" fmla="*/ 3535394 w 5127430"/>
              <a:gd name="connsiteY312" fmla="*/ 521399 h 2895832"/>
              <a:gd name="connsiteX313" fmla="*/ 3498057 w 5127430"/>
              <a:gd name="connsiteY313" fmla="*/ 500920 h 2895832"/>
              <a:gd name="connsiteX314" fmla="*/ 3445193 w 5127430"/>
              <a:gd name="connsiteY314" fmla="*/ 496348 h 2895832"/>
              <a:gd name="connsiteX315" fmla="*/ 3446526 w 5127430"/>
              <a:gd name="connsiteY315" fmla="*/ 494157 h 2895832"/>
              <a:gd name="connsiteX316" fmla="*/ 3444145 w 5127430"/>
              <a:gd name="connsiteY316" fmla="*/ 488442 h 2895832"/>
              <a:gd name="connsiteX317" fmla="*/ 3426524 w 5127430"/>
              <a:gd name="connsiteY317" fmla="*/ 489871 h 2895832"/>
              <a:gd name="connsiteX318" fmla="*/ 3425571 w 5127430"/>
              <a:gd name="connsiteY318" fmla="*/ 491300 h 2895832"/>
              <a:gd name="connsiteX319" fmla="*/ 3366611 w 5127430"/>
              <a:gd name="connsiteY319" fmla="*/ 487299 h 2895832"/>
              <a:gd name="connsiteX320" fmla="*/ 3330226 w 5127430"/>
              <a:gd name="connsiteY320" fmla="*/ 506254 h 2895832"/>
              <a:gd name="connsiteX321" fmla="*/ 3339370 w 5127430"/>
              <a:gd name="connsiteY321" fmla="*/ 549878 h 2895832"/>
              <a:gd name="connsiteX322" fmla="*/ 3362801 w 5127430"/>
              <a:gd name="connsiteY322" fmla="*/ 575405 h 2895832"/>
              <a:gd name="connsiteX323" fmla="*/ 3355277 w 5127430"/>
              <a:gd name="connsiteY323" fmla="*/ 588740 h 2895832"/>
              <a:gd name="connsiteX324" fmla="*/ 3361563 w 5127430"/>
              <a:gd name="connsiteY324" fmla="*/ 602552 h 2895832"/>
              <a:gd name="connsiteX325" fmla="*/ 3324701 w 5127430"/>
              <a:gd name="connsiteY325" fmla="*/ 604647 h 2895832"/>
              <a:gd name="connsiteX326" fmla="*/ 3316891 w 5127430"/>
              <a:gd name="connsiteY326" fmla="*/ 618458 h 2895832"/>
              <a:gd name="connsiteX327" fmla="*/ 3302984 w 5127430"/>
              <a:gd name="connsiteY327" fmla="*/ 680466 h 2895832"/>
              <a:gd name="connsiteX328" fmla="*/ 3274505 w 5127430"/>
              <a:gd name="connsiteY328" fmla="*/ 715328 h 2895832"/>
              <a:gd name="connsiteX329" fmla="*/ 3266980 w 5127430"/>
              <a:gd name="connsiteY329" fmla="*/ 743903 h 2895832"/>
              <a:gd name="connsiteX330" fmla="*/ 3249359 w 5127430"/>
              <a:gd name="connsiteY330" fmla="*/ 739807 h 2895832"/>
              <a:gd name="connsiteX331" fmla="*/ 3239738 w 5127430"/>
              <a:gd name="connsiteY331" fmla="*/ 749808 h 2895832"/>
              <a:gd name="connsiteX332" fmla="*/ 3239929 w 5127430"/>
              <a:gd name="connsiteY332" fmla="*/ 764572 h 2895832"/>
              <a:gd name="connsiteX333" fmla="*/ 3222498 w 5127430"/>
              <a:gd name="connsiteY333" fmla="*/ 766953 h 2895832"/>
              <a:gd name="connsiteX334" fmla="*/ 3208973 w 5127430"/>
              <a:gd name="connsiteY334" fmla="*/ 745236 h 2895832"/>
              <a:gd name="connsiteX335" fmla="*/ 3174683 w 5127430"/>
              <a:gd name="connsiteY335" fmla="*/ 713899 h 2895832"/>
              <a:gd name="connsiteX336" fmla="*/ 3157824 w 5127430"/>
              <a:gd name="connsiteY336" fmla="*/ 675799 h 2895832"/>
              <a:gd name="connsiteX337" fmla="*/ 3160014 w 5127430"/>
              <a:gd name="connsiteY337" fmla="*/ 662940 h 2895832"/>
              <a:gd name="connsiteX338" fmla="*/ 3158681 w 5127430"/>
              <a:gd name="connsiteY338" fmla="*/ 647795 h 2895832"/>
              <a:gd name="connsiteX339" fmla="*/ 3171635 w 5127430"/>
              <a:gd name="connsiteY339" fmla="*/ 644176 h 2895832"/>
              <a:gd name="connsiteX340" fmla="*/ 3182303 w 5127430"/>
              <a:gd name="connsiteY340" fmla="*/ 655796 h 2895832"/>
              <a:gd name="connsiteX341" fmla="*/ 3193352 w 5127430"/>
              <a:gd name="connsiteY341" fmla="*/ 644176 h 2895832"/>
              <a:gd name="connsiteX342" fmla="*/ 3184112 w 5127430"/>
              <a:gd name="connsiteY342" fmla="*/ 614743 h 2895832"/>
              <a:gd name="connsiteX343" fmla="*/ 3176302 w 5127430"/>
              <a:gd name="connsiteY343" fmla="*/ 591598 h 2895832"/>
              <a:gd name="connsiteX344" fmla="*/ 3128296 w 5127430"/>
              <a:gd name="connsiteY344" fmla="*/ 557308 h 2895832"/>
              <a:gd name="connsiteX345" fmla="*/ 3120581 w 5127430"/>
              <a:gd name="connsiteY345" fmla="*/ 548069 h 2895832"/>
              <a:gd name="connsiteX346" fmla="*/ 3107245 w 5127430"/>
              <a:gd name="connsiteY346" fmla="*/ 547592 h 2895832"/>
              <a:gd name="connsiteX347" fmla="*/ 3077337 w 5127430"/>
              <a:gd name="connsiteY347" fmla="*/ 580358 h 2895832"/>
              <a:gd name="connsiteX348" fmla="*/ 3073432 w 5127430"/>
              <a:gd name="connsiteY348" fmla="*/ 601599 h 2895832"/>
              <a:gd name="connsiteX349" fmla="*/ 3058573 w 5127430"/>
              <a:gd name="connsiteY349" fmla="*/ 592169 h 2895832"/>
              <a:gd name="connsiteX350" fmla="*/ 3061621 w 5127430"/>
              <a:gd name="connsiteY350" fmla="*/ 636746 h 2895832"/>
              <a:gd name="connsiteX351" fmla="*/ 3043714 w 5127430"/>
              <a:gd name="connsiteY351" fmla="*/ 649700 h 2895832"/>
              <a:gd name="connsiteX352" fmla="*/ 3034570 w 5127430"/>
              <a:gd name="connsiteY352" fmla="*/ 639032 h 2895832"/>
              <a:gd name="connsiteX353" fmla="*/ 3024950 w 5127430"/>
              <a:gd name="connsiteY353" fmla="*/ 631127 h 2895832"/>
              <a:gd name="connsiteX354" fmla="*/ 3029141 w 5127430"/>
              <a:gd name="connsiteY354" fmla="*/ 614839 h 2895832"/>
              <a:gd name="connsiteX355" fmla="*/ 3028855 w 5127430"/>
              <a:gd name="connsiteY355" fmla="*/ 596932 h 2895832"/>
              <a:gd name="connsiteX356" fmla="*/ 3030188 w 5127430"/>
              <a:gd name="connsiteY356" fmla="*/ 584740 h 2895832"/>
              <a:gd name="connsiteX357" fmla="*/ 3011234 w 5127430"/>
              <a:gd name="connsiteY357" fmla="*/ 551021 h 2895832"/>
              <a:gd name="connsiteX358" fmla="*/ 3037237 w 5127430"/>
              <a:gd name="connsiteY358" fmla="*/ 550450 h 2895832"/>
              <a:gd name="connsiteX359" fmla="*/ 3052763 w 5127430"/>
              <a:gd name="connsiteY359" fmla="*/ 528828 h 2895832"/>
              <a:gd name="connsiteX360" fmla="*/ 3028569 w 5127430"/>
              <a:gd name="connsiteY360" fmla="*/ 515684 h 2895832"/>
              <a:gd name="connsiteX361" fmla="*/ 3000566 w 5127430"/>
              <a:gd name="connsiteY361" fmla="*/ 516350 h 2895832"/>
              <a:gd name="connsiteX362" fmla="*/ 3001232 w 5127430"/>
              <a:gd name="connsiteY362" fmla="*/ 515207 h 2895832"/>
              <a:gd name="connsiteX363" fmla="*/ 2990755 w 5127430"/>
              <a:gd name="connsiteY363" fmla="*/ 505206 h 2895832"/>
              <a:gd name="connsiteX364" fmla="*/ 2964847 w 5127430"/>
              <a:gd name="connsiteY364" fmla="*/ 511683 h 2895832"/>
              <a:gd name="connsiteX365" fmla="*/ 2947607 w 5127430"/>
              <a:gd name="connsiteY365" fmla="*/ 523685 h 2895832"/>
              <a:gd name="connsiteX366" fmla="*/ 2936748 w 5127430"/>
              <a:gd name="connsiteY366" fmla="*/ 517493 h 2895832"/>
              <a:gd name="connsiteX367" fmla="*/ 2927985 w 5127430"/>
              <a:gd name="connsiteY367" fmla="*/ 503492 h 2895832"/>
              <a:gd name="connsiteX368" fmla="*/ 2905982 w 5127430"/>
              <a:gd name="connsiteY368" fmla="*/ 494252 h 2895832"/>
              <a:gd name="connsiteX369" fmla="*/ 2936272 w 5127430"/>
              <a:gd name="connsiteY369" fmla="*/ 466630 h 2895832"/>
              <a:gd name="connsiteX370" fmla="*/ 2925032 w 5127430"/>
              <a:gd name="connsiteY370" fmla="*/ 464820 h 2895832"/>
              <a:gd name="connsiteX371" fmla="*/ 2915126 w 5127430"/>
              <a:gd name="connsiteY371" fmla="*/ 455009 h 2895832"/>
              <a:gd name="connsiteX372" fmla="*/ 2928747 w 5127430"/>
              <a:gd name="connsiteY372" fmla="*/ 448628 h 2895832"/>
              <a:gd name="connsiteX373" fmla="*/ 2955989 w 5127430"/>
              <a:gd name="connsiteY373" fmla="*/ 458057 h 2895832"/>
              <a:gd name="connsiteX374" fmla="*/ 2976277 w 5127430"/>
              <a:gd name="connsiteY374" fmla="*/ 450723 h 2895832"/>
              <a:gd name="connsiteX375" fmla="*/ 2967704 w 5127430"/>
              <a:gd name="connsiteY375" fmla="*/ 443294 h 2895832"/>
              <a:gd name="connsiteX376" fmla="*/ 2957417 w 5127430"/>
              <a:gd name="connsiteY376" fmla="*/ 429959 h 2895832"/>
              <a:gd name="connsiteX377" fmla="*/ 2948083 w 5127430"/>
              <a:gd name="connsiteY377" fmla="*/ 432245 h 2895832"/>
              <a:gd name="connsiteX378" fmla="*/ 2946178 w 5127430"/>
              <a:gd name="connsiteY378" fmla="*/ 434150 h 2895832"/>
              <a:gd name="connsiteX379" fmla="*/ 2940844 w 5127430"/>
              <a:gd name="connsiteY379" fmla="*/ 433197 h 2895832"/>
              <a:gd name="connsiteX380" fmla="*/ 2933319 w 5127430"/>
              <a:gd name="connsiteY380" fmla="*/ 418719 h 2895832"/>
              <a:gd name="connsiteX381" fmla="*/ 2935129 w 5127430"/>
              <a:gd name="connsiteY381" fmla="*/ 410337 h 2895832"/>
              <a:gd name="connsiteX382" fmla="*/ 2934367 w 5127430"/>
              <a:gd name="connsiteY382" fmla="*/ 405003 h 2895832"/>
              <a:gd name="connsiteX383" fmla="*/ 2909888 w 5127430"/>
              <a:gd name="connsiteY383" fmla="*/ 395288 h 2895832"/>
              <a:gd name="connsiteX384" fmla="*/ 2888837 w 5127430"/>
              <a:gd name="connsiteY384" fmla="*/ 372999 h 2895832"/>
              <a:gd name="connsiteX385" fmla="*/ 2884646 w 5127430"/>
              <a:gd name="connsiteY385" fmla="*/ 334328 h 2895832"/>
              <a:gd name="connsiteX386" fmla="*/ 2877788 w 5127430"/>
              <a:gd name="connsiteY386" fmla="*/ 326612 h 2895832"/>
              <a:gd name="connsiteX387" fmla="*/ 2869025 w 5127430"/>
              <a:gd name="connsiteY387" fmla="*/ 316611 h 2895832"/>
              <a:gd name="connsiteX388" fmla="*/ 2835497 w 5127430"/>
              <a:gd name="connsiteY388" fmla="*/ 291846 h 2895832"/>
              <a:gd name="connsiteX389" fmla="*/ 2834069 w 5127430"/>
              <a:gd name="connsiteY389" fmla="*/ 281273 h 2895832"/>
              <a:gd name="connsiteX390" fmla="*/ 2802636 w 5127430"/>
              <a:gd name="connsiteY390" fmla="*/ 280511 h 2895832"/>
              <a:gd name="connsiteX391" fmla="*/ 2789968 w 5127430"/>
              <a:gd name="connsiteY391" fmla="*/ 283940 h 2895832"/>
              <a:gd name="connsiteX392" fmla="*/ 2791397 w 5127430"/>
              <a:gd name="connsiteY392" fmla="*/ 262509 h 2895832"/>
              <a:gd name="connsiteX393" fmla="*/ 2786539 w 5127430"/>
              <a:gd name="connsiteY393" fmla="*/ 256032 h 2895832"/>
              <a:gd name="connsiteX394" fmla="*/ 2797493 w 5127430"/>
              <a:gd name="connsiteY394" fmla="*/ 252317 h 2895832"/>
              <a:gd name="connsiteX395" fmla="*/ 2809303 w 5127430"/>
              <a:gd name="connsiteY395" fmla="*/ 258413 h 2895832"/>
              <a:gd name="connsiteX396" fmla="*/ 2815781 w 5127430"/>
              <a:gd name="connsiteY396" fmla="*/ 252508 h 2895832"/>
              <a:gd name="connsiteX397" fmla="*/ 2827782 w 5127430"/>
              <a:gd name="connsiteY397" fmla="*/ 223171 h 2895832"/>
              <a:gd name="connsiteX398" fmla="*/ 2843403 w 5127430"/>
              <a:gd name="connsiteY398" fmla="*/ 213646 h 2895832"/>
              <a:gd name="connsiteX399" fmla="*/ 2852261 w 5127430"/>
              <a:gd name="connsiteY399" fmla="*/ 203549 h 2895832"/>
              <a:gd name="connsiteX400" fmla="*/ 2833402 w 5127430"/>
              <a:gd name="connsiteY400" fmla="*/ 177165 h 2895832"/>
              <a:gd name="connsiteX401" fmla="*/ 2827592 w 5127430"/>
              <a:gd name="connsiteY401" fmla="*/ 172117 h 2895832"/>
              <a:gd name="connsiteX402" fmla="*/ 2809018 w 5127430"/>
              <a:gd name="connsiteY402" fmla="*/ 164687 h 2895832"/>
              <a:gd name="connsiteX403" fmla="*/ 2854833 w 5127430"/>
              <a:gd name="connsiteY403" fmla="*/ 159353 h 2895832"/>
              <a:gd name="connsiteX404" fmla="*/ 2917984 w 5127430"/>
              <a:gd name="connsiteY404" fmla="*/ 170212 h 2895832"/>
              <a:gd name="connsiteX405" fmla="*/ 2947892 w 5127430"/>
              <a:gd name="connsiteY405" fmla="*/ 158591 h 2895832"/>
              <a:gd name="connsiteX406" fmla="*/ 3000470 w 5127430"/>
              <a:gd name="connsiteY406" fmla="*/ 86392 h 2895832"/>
              <a:gd name="connsiteX407" fmla="*/ 3000661 w 5127430"/>
              <a:gd name="connsiteY407" fmla="*/ 76105 h 2895832"/>
              <a:gd name="connsiteX408" fmla="*/ 3005519 w 5127430"/>
              <a:gd name="connsiteY408" fmla="*/ 73343 h 2895832"/>
              <a:gd name="connsiteX409" fmla="*/ 3014472 w 5127430"/>
              <a:gd name="connsiteY409" fmla="*/ 70961 h 2895832"/>
              <a:gd name="connsiteX410" fmla="*/ 3032474 w 5127430"/>
              <a:gd name="connsiteY410" fmla="*/ 52483 h 2895832"/>
              <a:gd name="connsiteX411" fmla="*/ 3037808 w 5127430"/>
              <a:gd name="connsiteY411" fmla="*/ 43148 h 2895832"/>
              <a:gd name="connsiteX412" fmla="*/ 3046571 w 5127430"/>
              <a:gd name="connsiteY412" fmla="*/ 33623 h 2895832"/>
              <a:gd name="connsiteX413" fmla="*/ 3046095 w 5127430"/>
              <a:gd name="connsiteY413" fmla="*/ 29242 h 2895832"/>
              <a:gd name="connsiteX414" fmla="*/ 3011710 w 5127430"/>
              <a:gd name="connsiteY414" fmla="*/ 18288 h 2895832"/>
              <a:gd name="connsiteX415" fmla="*/ 2943511 w 5127430"/>
              <a:gd name="connsiteY415" fmla="*/ 17431 h 2895832"/>
              <a:gd name="connsiteX416" fmla="*/ 2924366 w 5127430"/>
              <a:gd name="connsiteY416" fmla="*/ 21717 h 2895832"/>
              <a:gd name="connsiteX417" fmla="*/ 2916650 w 5127430"/>
              <a:gd name="connsiteY417" fmla="*/ 11240 h 2895832"/>
              <a:gd name="connsiteX418" fmla="*/ 2888647 w 5127430"/>
              <a:gd name="connsiteY418" fmla="*/ 0 h 2895832"/>
              <a:gd name="connsiteX419" fmla="*/ 2842260 w 5127430"/>
              <a:gd name="connsiteY419" fmla="*/ 0 h 2895832"/>
              <a:gd name="connsiteX420" fmla="*/ 2829211 w 5127430"/>
              <a:gd name="connsiteY420" fmla="*/ 6191 h 2895832"/>
              <a:gd name="connsiteX421" fmla="*/ 2813780 w 5127430"/>
              <a:gd name="connsiteY421" fmla="*/ 1429 h 2895832"/>
              <a:gd name="connsiteX422" fmla="*/ 2741771 w 5127430"/>
              <a:gd name="connsiteY422" fmla="*/ 25527 h 2895832"/>
              <a:gd name="connsiteX423" fmla="*/ 2748534 w 5127430"/>
              <a:gd name="connsiteY423" fmla="*/ 36957 h 2895832"/>
              <a:gd name="connsiteX424" fmla="*/ 2778538 w 5127430"/>
              <a:gd name="connsiteY424" fmla="*/ 60008 h 2895832"/>
              <a:gd name="connsiteX425" fmla="*/ 2754535 w 5127430"/>
              <a:gd name="connsiteY425" fmla="*/ 56674 h 2895832"/>
              <a:gd name="connsiteX426" fmla="*/ 2733580 w 5127430"/>
              <a:gd name="connsiteY426" fmla="*/ 50102 h 2895832"/>
              <a:gd name="connsiteX427" fmla="*/ 2720340 w 5127430"/>
              <a:gd name="connsiteY427" fmla="*/ 60960 h 2895832"/>
              <a:gd name="connsiteX428" fmla="*/ 2723293 w 5127430"/>
              <a:gd name="connsiteY428" fmla="*/ 78486 h 2895832"/>
              <a:gd name="connsiteX429" fmla="*/ 2719292 w 5127430"/>
              <a:gd name="connsiteY429" fmla="*/ 89916 h 2895832"/>
              <a:gd name="connsiteX430" fmla="*/ 2721959 w 5127430"/>
              <a:gd name="connsiteY430" fmla="*/ 119444 h 2895832"/>
              <a:gd name="connsiteX431" fmla="*/ 2708053 w 5127430"/>
              <a:gd name="connsiteY431" fmla="*/ 117539 h 2895832"/>
              <a:gd name="connsiteX432" fmla="*/ 2717197 w 5127430"/>
              <a:gd name="connsiteY432" fmla="*/ 137922 h 2895832"/>
              <a:gd name="connsiteX433" fmla="*/ 2714816 w 5127430"/>
              <a:gd name="connsiteY433" fmla="*/ 139160 h 2895832"/>
              <a:gd name="connsiteX434" fmla="*/ 2713863 w 5127430"/>
              <a:gd name="connsiteY434" fmla="*/ 162211 h 2895832"/>
              <a:gd name="connsiteX435" fmla="*/ 2752630 w 5127430"/>
              <a:gd name="connsiteY435" fmla="*/ 207455 h 2895832"/>
              <a:gd name="connsiteX436" fmla="*/ 2742914 w 5127430"/>
              <a:gd name="connsiteY436" fmla="*/ 274796 h 2895832"/>
              <a:gd name="connsiteX437" fmla="*/ 2733485 w 5127430"/>
              <a:gd name="connsiteY437" fmla="*/ 278130 h 2895832"/>
              <a:gd name="connsiteX438" fmla="*/ 2728913 w 5127430"/>
              <a:gd name="connsiteY438" fmla="*/ 285845 h 2895832"/>
              <a:gd name="connsiteX439" fmla="*/ 2708243 w 5127430"/>
              <a:gd name="connsiteY439" fmla="*/ 298418 h 2895832"/>
              <a:gd name="connsiteX440" fmla="*/ 2707291 w 5127430"/>
              <a:gd name="connsiteY440" fmla="*/ 300990 h 2895832"/>
              <a:gd name="connsiteX441" fmla="*/ 2730437 w 5127430"/>
              <a:gd name="connsiteY441" fmla="*/ 315373 h 2895832"/>
              <a:gd name="connsiteX442" fmla="*/ 2726722 w 5127430"/>
              <a:gd name="connsiteY442" fmla="*/ 332899 h 2895832"/>
              <a:gd name="connsiteX443" fmla="*/ 2717578 w 5127430"/>
              <a:gd name="connsiteY443" fmla="*/ 331470 h 2895832"/>
              <a:gd name="connsiteX444" fmla="*/ 2700814 w 5127430"/>
              <a:gd name="connsiteY444" fmla="*/ 319469 h 2895832"/>
              <a:gd name="connsiteX445" fmla="*/ 2686336 w 5127430"/>
              <a:gd name="connsiteY445" fmla="*/ 323088 h 2895832"/>
              <a:gd name="connsiteX446" fmla="*/ 2669667 w 5127430"/>
              <a:gd name="connsiteY446" fmla="*/ 332994 h 2895832"/>
              <a:gd name="connsiteX447" fmla="*/ 2658999 w 5127430"/>
              <a:gd name="connsiteY447" fmla="*/ 336995 h 2895832"/>
              <a:gd name="connsiteX448" fmla="*/ 2673668 w 5127430"/>
              <a:gd name="connsiteY448" fmla="*/ 360426 h 2895832"/>
              <a:gd name="connsiteX449" fmla="*/ 2670524 w 5127430"/>
              <a:gd name="connsiteY449" fmla="*/ 388144 h 2895832"/>
              <a:gd name="connsiteX450" fmla="*/ 2677573 w 5127430"/>
              <a:gd name="connsiteY450" fmla="*/ 397669 h 2895832"/>
              <a:gd name="connsiteX451" fmla="*/ 2689479 w 5127430"/>
              <a:gd name="connsiteY451" fmla="*/ 404527 h 2895832"/>
              <a:gd name="connsiteX452" fmla="*/ 2668429 w 5127430"/>
              <a:gd name="connsiteY452" fmla="*/ 449580 h 2895832"/>
              <a:gd name="connsiteX453" fmla="*/ 2677954 w 5127430"/>
              <a:gd name="connsiteY453" fmla="*/ 465677 h 2895832"/>
              <a:gd name="connsiteX454" fmla="*/ 2689289 w 5127430"/>
              <a:gd name="connsiteY454" fmla="*/ 472250 h 2895832"/>
              <a:gd name="connsiteX455" fmla="*/ 2700719 w 5127430"/>
              <a:gd name="connsiteY455" fmla="*/ 484346 h 2895832"/>
              <a:gd name="connsiteX456" fmla="*/ 2775680 w 5127430"/>
              <a:gd name="connsiteY456" fmla="*/ 512159 h 2895832"/>
              <a:gd name="connsiteX457" fmla="*/ 2787777 w 5127430"/>
              <a:gd name="connsiteY457" fmla="*/ 512159 h 2895832"/>
              <a:gd name="connsiteX458" fmla="*/ 2809494 w 5127430"/>
              <a:gd name="connsiteY458" fmla="*/ 527495 h 2895832"/>
              <a:gd name="connsiteX459" fmla="*/ 2823877 w 5127430"/>
              <a:gd name="connsiteY459" fmla="*/ 525209 h 2895832"/>
              <a:gd name="connsiteX460" fmla="*/ 2848642 w 5127430"/>
              <a:gd name="connsiteY460" fmla="*/ 519589 h 2895832"/>
              <a:gd name="connsiteX461" fmla="*/ 2851214 w 5127430"/>
              <a:gd name="connsiteY461" fmla="*/ 533019 h 2895832"/>
              <a:gd name="connsiteX462" fmla="*/ 2807113 w 5127430"/>
              <a:gd name="connsiteY462" fmla="*/ 544735 h 2895832"/>
              <a:gd name="connsiteX463" fmla="*/ 2800731 w 5127430"/>
              <a:gd name="connsiteY463" fmla="*/ 562356 h 2895832"/>
              <a:gd name="connsiteX464" fmla="*/ 2783205 w 5127430"/>
              <a:gd name="connsiteY464" fmla="*/ 578168 h 2895832"/>
              <a:gd name="connsiteX465" fmla="*/ 2790349 w 5127430"/>
              <a:gd name="connsiteY465" fmla="*/ 602075 h 2895832"/>
              <a:gd name="connsiteX466" fmla="*/ 2820067 w 5127430"/>
              <a:gd name="connsiteY466" fmla="*/ 587788 h 2895832"/>
              <a:gd name="connsiteX467" fmla="*/ 2829878 w 5127430"/>
              <a:gd name="connsiteY467" fmla="*/ 572738 h 2895832"/>
              <a:gd name="connsiteX468" fmla="*/ 2844260 w 5127430"/>
              <a:gd name="connsiteY468" fmla="*/ 578072 h 2895832"/>
              <a:gd name="connsiteX469" fmla="*/ 2845213 w 5127430"/>
              <a:gd name="connsiteY469" fmla="*/ 614363 h 2895832"/>
              <a:gd name="connsiteX470" fmla="*/ 2848356 w 5127430"/>
              <a:gd name="connsiteY470" fmla="*/ 624078 h 2895832"/>
              <a:gd name="connsiteX471" fmla="*/ 2812352 w 5127430"/>
              <a:gd name="connsiteY471" fmla="*/ 645509 h 2895832"/>
              <a:gd name="connsiteX472" fmla="*/ 2772728 w 5127430"/>
              <a:gd name="connsiteY472" fmla="*/ 678370 h 2895832"/>
              <a:gd name="connsiteX473" fmla="*/ 2737104 w 5127430"/>
              <a:gd name="connsiteY473" fmla="*/ 678370 h 2895832"/>
              <a:gd name="connsiteX474" fmla="*/ 2722245 w 5127430"/>
              <a:gd name="connsiteY474" fmla="*/ 711899 h 2895832"/>
              <a:gd name="connsiteX475" fmla="*/ 2749487 w 5127430"/>
              <a:gd name="connsiteY475" fmla="*/ 730472 h 2895832"/>
              <a:gd name="connsiteX476" fmla="*/ 2744057 w 5127430"/>
              <a:gd name="connsiteY476" fmla="*/ 757238 h 2895832"/>
              <a:gd name="connsiteX477" fmla="*/ 2723293 w 5127430"/>
              <a:gd name="connsiteY477" fmla="*/ 752380 h 2895832"/>
              <a:gd name="connsiteX478" fmla="*/ 2724436 w 5127430"/>
              <a:gd name="connsiteY478" fmla="*/ 750094 h 2895832"/>
              <a:gd name="connsiteX479" fmla="*/ 2705862 w 5127430"/>
              <a:gd name="connsiteY479" fmla="*/ 746093 h 2895832"/>
              <a:gd name="connsiteX480" fmla="*/ 2689384 w 5127430"/>
              <a:gd name="connsiteY480" fmla="*/ 751999 h 2895832"/>
              <a:gd name="connsiteX481" fmla="*/ 2684431 w 5127430"/>
              <a:gd name="connsiteY481" fmla="*/ 728091 h 2895832"/>
              <a:gd name="connsiteX482" fmla="*/ 2706053 w 5127430"/>
              <a:gd name="connsiteY482" fmla="*/ 648938 h 2895832"/>
              <a:gd name="connsiteX483" fmla="*/ 2675668 w 5127430"/>
              <a:gd name="connsiteY483" fmla="*/ 668274 h 2895832"/>
              <a:gd name="connsiteX484" fmla="*/ 2670239 w 5127430"/>
              <a:gd name="connsiteY484" fmla="*/ 653891 h 2895832"/>
              <a:gd name="connsiteX485" fmla="*/ 2641759 w 5127430"/>
              <a:gd name="connsiteY485" fmla="*/ 651320 h 2895832"/>
              <a:gd name="connsiteX486" fmla="*/ 2628900 w 5127430"/>
              <a:gd name="connsiteY486" fmla="*/ 637318 h 2895832"/>
              <a:gd name="connsiteX487" fmla="*/ 2579084 w 5127430"/>
              <a:gd name="connsiteY487" fmla="*/ 624840 h 2895832"/>
              <a:gd name="connsiteX488" fmla="*/ 2565464 w 5127430"/>
              <a:gd name="connsiteY488" fmla="*/ 639985 h 2895832"/>
              <a:gd name="connsiteX489" fmla="*/ 2536984 w 5127430"/>
              <a:gd name="connsiteY489" fmla="*/ 642461 h 2895832"/>
              <a:gd name="connsiteX490" fmla="*/ 2548319 w 5127430"/>
              <a:gd name="connsiteY490" fmla="*/ 668655 h 2895832"/>
              <a:gd name="connsiteX491" fmla="*/ 2534126 w 5127430"/>
              <a:gd name="connsiteY491" fmla="*/ 682847 h 2895832"/>
              <a:gd name="connsiteX492" fmla="*/ 2547842 w 5127430"/>
              <a:gd name="connsiteY492" fmla="*/ 703802 h 2895832"/>
              <a:gd name="connsiteX493" fmla="*/ 2516791 w 5127430"/>
              <a:gd name="connsiteY493" fmla="*/ 710375 h 2895832"/>
              <a:gd name="connsiteX494" fmla="*/ 2417826 w 5127430"/>
              <a:gd name="connsiteY494" fmla="*/ 693801 h 2895832"/>
              <a:gd name="connsiteX495" fmla="*/ 2363915 w 5127430"/>
              <a:gd name="connsiteY495" fmla="*/ 709517 h 2895832"/>
              <a:gd name="connsiteX496" fmla="*/ 2338578 w 5127430"/>
              <a:gd name="connsiteY496" fmla="*/ 703898 h 2895832"/>
              <a:gd name="connsiteX497" fmla="*/ 2314956 w 5127430"/>
              <a:gd name="connsiteY497" fmla="*/ 709041 h 2895832"/>
              <a:gd name="connsiteX498" fmla="*/ 2262664 w 5127430"/>
              <a:gd name="connsiteY498" fmla="*/ 678180 h 2895832"/>
              <a:gd name="connsiteX499" fmla="*/ 2258854 w 5127430"/>
              <a:gd name="connsiteY499" fmla="*/ 665512 h 2895832"/>
              <a:gd name="connsiteX500" fmla="*/ 2249234 w 5127430"/>
              <a:gd name="connsiteY500" fmla="*/ 663512 h 2895832"/>
              <a:gd name="connsiteX501" fmla="*/ 2227898 w 5127430"/>
              <a:gd name="connsiteY501" fmla="*/ 678847 h 2895832"/>
              <a:gd name="connsiteX502" fmla="*/ 2190464 w 5127430"/>
              <a:gd name="connsiteY502" fmla="*/ 673989 h 2895832"/>
              <a:gd name="connsiteX503" fmla="*/ 2191703 w 5127430"/>
              <a:gd name="connsiteY503" fmla="*/ 659320 h 2895832"/>
              <a:gd name="connsiteX504" fmla="*/ 2133981 w 5127430"/>
              <a:gd name="connsiteY504" fmla="*/ 632174 h 2895832"/>
              <a:gd name="connsiteX505" fmla="*/ 2124551 w 5127430"/>
              <a:gd name="connsiteY505" fmla="*/ 599885 h 2895832"/>
              <a:gd name="connsiteX506" fmla="*/ 2082927 w 5127430"/>
              <a:gd name="connsiteY506" fmla="*/ 581501 h 2895832"/>
              <a:gd name="connsiteX507" fmla="*/ 2019872 w 5127430"/>
              <a:gd name="connsiteY507" fmla="*/ 604552 h 2895832"/>
              <a:gd name="connsiteX508" fmla="*/ 1956816 w 5127430"/>
              <a:gd name="connsiteY508" fmla="*/ 613886 h 2895832"/>
              <a:gd name="connsiteX509" fmla="*/ 1933670 w 5127430"/>
              <a:gd name="connsiteY509" fmla="*/ 650843 h 2895832"/>
              <a:gd name="connsiteX510" fmla="*/ 1944434 w 5127430"/>
              <a:gd name="connsiteY510" fmla="*/ 658844 h 2895832"/>
              <a:gd name="connsiteX511" fmla="*/ 1957388 w 5127430"/>
              <a:gd name="connsiteY511" fmla="*/ 658463 h 2895832"/>
              <a:gd name="connsiteX512" fmla="*/ 1965484 w 5127430"/>
              <a:gd name="connsiteY512" fmla="*/ 664559 h 2895832"/>
              <a:gd name="connsiteX513" fmla="*/ 1990916 w 5127430"/>
              <a:gd name="connsiteY513" fmla="*/ 653415 h 2895832"/>
              <a:gd name="connsiteX514" fmla="*/ 1995678 w 5127430"/>
              <a:gd name="connsiteY514" fmla="*/ 643223 h 2895832"/>
              <a:gd name="connsiteX515" fmla="*/ 2029492 w 5127430"/>
              <a:gd name="connsiteY515" fmla="*/ 645795 h 2895832"/>
              <a:gd name="connsiteX516" fmla="*/ 2049304 w 5127430"/>
              <a:gd name="connsiteY516" fmla="*/ 631031 h 2895832"/>
              <a:gd name="connsiteX517" fmla="*/ 2091881 w 5127430"/>
              <a:gd name="connsiteY517" fmla="*/ 613505 h 2895832"/>
              <a:gd name="connsiteX518" fmla="*/ 2112645 w 5127430"/>
              <a:gd name="connsiteY518" fmla="*/ 618935 h 2895832"/>
              <a:gd name="connsiteX519" fmla="*/ 2107406 w 5127430"/>
              <a:gd name="connsiteY519" fmla="*/ 640366 h 2895832"/>
              <a:gd name="connsiteX520" fmla="*/ 2066639 w 5127430"/>
              <a:gd name="connsiteY520" fmla="*/ 655225 h 2895832"/>
              <a:gd name="connsiteX521" fmla="*/ 2049304 w 5127430"/>
              <a:gd name="connsiteY521" fmla="*/ 672560 h 2895832"/>
              <a:gd name="connsiteX522" fmla="*/ 1994916 w 5127430"/>
              <a:gd name="connsiteY522" fmla="*/ 680657 h 2895832"/>
              <a:gd name="connsiteX523" fmla="*/ 1992249 w 5127430"/>
              <a:gd name="connsiteY523" fmla="*/ 692182 h 2895832"/>
              <a:gd name="connsiteX524" fmla="*/ 1976533 w 5127430"/>
              <a:gd name="connsiteY524" fmla="*/ 699421 h 2895832"/>
              <a:gd name="connsiteX525" fmla="*/ 2004727 w 5127430"/>
              <a:gd name="connsiteY525" fmla="*/ 735520 h 2895832"/>
              <a:gd name="connsiteX526" fmla="*/ 2004727 w 5127430"/>
              <a:gd name="connsiteY526" fmla="*/ 760762 h 2895832"/>
              <a:gd name="connsiteX527" fmla="*/ 2020253 w 5127430"/>
              <a:gd name="connsiteY527" fmla="*/ 788956 h 2895832"/>
              <a:gd name="connsiteX528" fmla="*/ 1979771 w 5127430"/>
              <a:gd name="connsiteY528" fmla="*/ 776954 h 2895832"/>
              <a:gd name="connsiteX529" fmla="*/ 1978533 w 5127430"/>
              <a:gd name="connsiteY529" fmla="*/ 728853 h 2895832"/>
              <a:gd name="connsiteX530" fmla="*/ 1976152 w 5127430"/>
              <a:gd name="connsiteY530" fmla="*/ 726662 h 2895832"/>
              <a:gd name="connsiteX531" fmla="*/ 1950339 w 5127430"/>
              <a:gd name="connsiteY531" fmla="*/ 726948 h 2895832"/>
              <a:gd name="connsiteX532" fmla="*/ 1939004 w 5127430"/>
              <a:gd name="connsiteY532" fmla="*/ 724567 h 2895832"/>
              <a:gd name="connsiteX533" fmla="*/ 1930241 w 5127430"/>
              <a:gd name="connsiteY533" fmla="*/ 748189 h 2895832"/>
              <a:gd name="connsiteX534" fmla="*/ 1919097 w 5127430"/>
              <a:gd name="connsiteY534" fmla="*/ 730663 h 2895832"/>
              <a:gd name="connsiteX535" fmla="*/ 1918621 w 5127430"/>
              <a:gd name="connsiteY535" fmla="*/ 717328 h 2895832"/>
              <a:gd name="connsiteX536" fmla="*/ 1906810 w 5127430"/>
              <a:gd name="connsiteY536" fmla="*/ 704755 h 2895832"/>
              <a:gd name="connsiteX537" fmla="*/ 1877568 w 5127430"/>
              <a:gd name="connsiteY537" fmla="*/ 707898 h 2895832"/>
              <a:gd name="connsiteX538" fmla="*/ 1852898 w 5127430"/>
              <a:gd name="connsiteY538" fmla="*/ 686562 h 2895832"/>
              <a:gd name="connsiteX539" fmla="*/ 1798701 w 5127430"/>
              <a:gd name="connsiteY539" fmla="*/ 707612 h 2895832"/>
              <a:gd name="connsiteX540" fmla="*/ 1798701 w 5127430"/>
              <a:gd name="connsiteY540" fmla="*/ 697992 h 2895832"/>
              <a:gd name="connsiteX541" fmla="*/ 1809845 w 5127430"/>
              <a:gd name="connsiteY541" fmla="*/ 683895 h 2895832"/>
              <a:gd name="connsiteX542" fmla="*/ 1808321 w 5127430"/>
              <a:gd name="connsiteY542" fmla="*/ 682181 h 2895832"/>
              <a:gd name="connsiteX543" fmla="*/ 1799939 w 5127430"/>
              <a:gd name="connsiteY543" fmla="*/ 680466 h 2895832"/>
              <a:gd name="connsiteX544" fmla="*/ 1779746 w 5127430"/>
              <a:gd name="connsiteY544" fmla="*/ 694182 h 2895832"/>
              <a:gd name="connsiteX545" fmla="*/ 1768697 w 5127430"/>
              <a:gd name="connsiteY545" fmla="*/ 706088 h 2895832"/>
              <a:gd name="connsiteX546" fmla="*/ 1758410 w 5127430"/>
              <a:gd name="connsiteY546" fmla="*/ 702659 h 2895832"/>
              <a:gd name="connsiteX547" fmla="*/ 1718405 w 5127430"/>
              <a:gd name="connsiteY547" fmla="*/ 709041 h 2895832"/>
              <a:gd name="connsiteX548" fmla="*/ 1698308 w 5127430"/>
              <a:gd name="connsiteY548" fmla="*/ 715518 h 2895832"/>
              <a:gd name="connsiteX549" fmla="*/ 1620012 w 5127430"/>
              <a:gd name="connsiteY549" fmla="*/ 710375 h 2895832"/>
              <a:gd name="connsiteX550" fmla="*/ 1589342 w 5127430"/>
              <a:gd name="connsiteY550" fmla="*/ 701516 h 2895832"/>
              <a:gd name="connsiteX551" fmla="*/ 1547908 w 5127430"/>
              <a:gd name="connsiteY551" fmla="*/ 699421 h 2895832"/>
              <a:gd name="connsiteX552" fmla="*/ 1534192 w 5127430"/>
              <a:gd name="connsiteY552" fmla="*/ 686467 h 2895832"/>
              <a:gd name="connsiteX553" fmla="*/ 1547717 w 5127430"/>
              <a:gd name="connsiteY553" fmla="*/ 672465 h 2895832"/>
              <a:gd name="connsiteX554" fmla="*/ 1547717 w 5127430"/>
              <a:gd name="connsiteY554" fmla="*/ 660749 h 2895832"/>
              <a:gd name="connsiteX555" fmla="*/ 1560195 w 5127430"/>
              <a:gd name="connsiteY555" fmla="*/ 661892 h 2895832"/>
              <a:gd name="connsiteX556" fmla="*/ 1573244 w 5127430"/>
              <a:gd name="connsiteY556" fmla="*/ 656177 h 2895832"/>
              <a:gd name="connsiteX557" fmla="*/ 1618012 w 5127430"/>
              <a:gd name="connsiteY557" fmla="*/ 647414 h 2895832"/>
              <a:gd name="connsiteX558" fmla="*/ 1620012 w 5127430"/>
              <a:gd name="connsiteY558" fmla="*/ 631698 h 2895832"/>
              <a:gd name="connsiteX559" fmla="*/ 1583341 w 5127430"/>
              <a:gd name="connsiteY559" fmla="*/ 601980 h 2895832"/>
              <a:gd name="connsiteX560" fmla="*/ 1530382 w 5127430"/>
              <a:gd name="connsiteY560" fmla="*/ 578168 h 2895832"/>
              <a:gd name="connsiteX561" fmla="*/ 1497997 w 5127430"/>
              <a:gd name="connsiteY561" fmla="*/ 572453 h 2895832"/>
              <a:gd name="connsiteX562" fmla="*/ 1488758 w 5127430"/>
              <a:gd name="connsiteY562" fmla="*/ 580358 h 2895832"/>
              <a:gd name="connsiteX563" fmla="*/ 1498664 w 5127430"/>
              <a:gd name="connsiteY563" fmla="*/ 591407 h 2895832"/>
              <a:gd name="connsiteX564" fmla="*/ 1487043 w 5127430"/>
              <a:gd name="connsiteY564" fmla="*/ 593027 h 2895832"/>
              <a:gd name="connsiteX565" fmla="*/ 1465802 w 5127430"/>
              <a:gd name="connsiteY565" fmla="*/ 587121 h 2895832"/>
              <a:gd name="connsiteX566" fmla="*/ 1426464 w 5127430"/>
              <a:gd name="connsiteY566" fmla="*/ 582740 h 2895832"/>
              <a:gd name="connsiteX567" fmla="*/ 1412748 w 5127430"/>
              <a:gd name="connsiteY567" fmla="*/ 577120 h 2895832"/>
              <a:gd name="connsiteX568" fmla="*/ 1383125 w 5127430"/>
              <a:gd name="connsiteY568" fmla="*/ 573977 h 2895832"/>
              <a:gd name="connsiteX569" fmla="*/ 1331976 w 5127430"/>
              <a:gd name="connsiteY569" fmla="*/ 547307 h 2895832"/>
              <a:gd name="connsiteX570" fmla="*/ 1233678 w 5127430"/>
              <a:gd name="connsiteY570" fmla="*/ 529114 h 2895832"/>
              <a:gd name="connsiteX571" fmla="*/ 1200531 w 5127430"/>
              <a:gd name="connsiteY571" fmla="*/ 504063 h 2895832"/>
              <a:gd name="connsiteX572" fmla="*/ 1146048 w 5127430"/>
              <a:gd name="connsiteY572" fmla="*/ 487871 h 2895832"/>
              <a:gd name="connsiteX573" fmla="*/ 1075563 w 5127430"/>
              <a:gd name="connsiteY573" fmla="*/ 493014 h 2895832"/>
              <a:gd name="connsiteX574" fmla="*/ 1062133 w 5127430"/>
              <a:gd name="connsiteY574" fmla="*/ 521399 h 2895832"/>
              <a:gd name="connsiteX575" fmla="*/ 1050893 w 5127430"/>
              <a:gd name="connsiteY575" fmla="*/ 526256 h 2895832"/>
              <a:gd name="connsiteX576" fmla="*/ 1038320 w 5127430"/>
              <a:gd name="connsiteY576" fmla="*/ 537020 h 2895832"/>
              <a:gd name="connsiteX577" fmla="*/ 990029 w 5127430"/>
              <a:gd name="connsiteY577" fmla="*/ 530733 h 2895832"/>
              <a:gd name="connsiteX578" fmla="*/ 1010412 w 5127430"/>
              <a:gd name="connsiteY578" fmla="*/ 500253 h 2895832"/>
              <a:gd name="connsiteX579" fmla="*/ 988790 w 5127430"/>
              <a:gd name="connsiteY579" fmla="*/ 496824 h 2895832"/>
              <a:gd name="connsiteX580" fmla="*/ 991743 w 5127430"/>
              <a:gd name="connsiteY580" fmla="*/ 451961 h 2895832"/>
              <a:gd name="connsiteX581" fmla="*/ 977932 w 5127430"/>
              <a:gd name="connsiteY581" fmla="*/ 450342 h 2895832"/>
              <a:gd name="connsiteX582" fmla="*/ 946690 w 5127430"/>
              <a:gd name="connsiteY582" fmla="*/ 465582 h 2895832"/>
              <a:gd name="connsiteX583" fmla="*/ 946118 w 5127430"/>
              <a:gd name="connsiteY583" fmla="*/ 467297 h 2895832"/>
              <a:gd name="connsiteX584" fmla="*/ 964216 w 5127430"/>
              <a:gd name="connsiteY584" fmla="*/ 476155 h 2895832"/>
              <a:gd name="connsiteX585" fmla="*/ 955072 w 5127430"/>
              <a:gd name="connsiteY585" fmla="*/ 493205 h 2895832"/>
              <a:gd name="connsiteX586" fmla="*/ 937260 w 5127430"/>
              <a:gd name="connsiteY586" fmla="*/ 492347 h 2895832"/>
              <a:gd name="connsiteX587" fmla="*/ 932593 w 5127430"/>
              <a:gd name="connsiteY587" fmla="*/ 508921 h 2895832"/>
              <a:gd name="connsiteX588" fmla="*/ 934212 w 5127430"/>
              <a:gd name="connsiteY588" fmla="*/ 520637 h 2895832"/>
              <a:gd name="connsiteX589" fmla="*/ 932402 w 5127430"/>
              <a:gd name="connsiteY589" fmla="*/ 521589 h 2895832"/>
              <a:gd name="connsiteX590" fmla="*/ 935355 w 5127430"/>
              <a:gd name="connsiteY590" fmla="*/ 538353 h 2895832"/>
              <a:gd name="connsiteX591" fmla="*/ 908685 w 5127430"/>
              <a:gd name="connsiteY591" fmla="*/ 535019 h 2895832"/>
              <a:gd name="connsiteX592" fmla="*/ 852297 w 5127430"/>
              <a:gd name="connsiteY592" fmla="*/ 493871 h 2895832"/>
              <a:gd name="connsiteX593" fmla="*/ 811435 w 5127430"/>
              <a:gd name="connsiteY593" fmla="*/ 427006 h 2895832"/>
              <a:gd name="connsiteX594" fmla="*/ 759714 w 5127430"/>
              <a:gd name="connsiteY594" fmla="*/ 402717 h 2895832"/>
              <a:gd name="connsiteX595" fmla="*/ 761238 w 5127430"/>
              <a:gd name="connsiteY595" fmla="*/ 420815 h 2895832"/>
              <a:gd name="connsiteX596" fmla="*/ 769715 w 5127430"/>
              <a:gd name="connsiteY596" fmla="*/ 434530 h 2895832"/>
              <a:gd name="connsiteX597" fmla="*/ 784955 w 5127430"/>
              <a:gd name="connsiteY597" fmla="*/ 451961 h 2895832"/>
              <a:gd name="connsiteX598" fmla="*/ 753809 w 5127430"/>
              <a:gd name="connsiteY598" fmla="*/ 463105 h 2895832"/>
              <a:gd name="connsiteX599" fmla="*/ 757523 w 5127430"/>
              <a:gd name="connsiteY599" fmla="*/ 475298 h 2895832"/>
              <a:gd name="connsiteX600" fmla="*/ 734949 w 5127430"/>
              <a:gd name="connsiteY600" fmla="*/ 493967 h 2895832"/>
              <a:gd name="connsiteX601" fmla="*/ 708279 w 5127430"/>
              <a:gd name="connsiteY601" fmla="*/ 495967 h 2895832"/>
              <a:gd name="connsiteX602" fmla="*/ 710375 w 5127430"/>
              <a:gd name="connsiteY602" fmla="*/ 481489 h 2895832"/>
              <a:gd name="connsiteX603" fmla="*/ 644081 w 5127430"/>
              <a:gd name="connsiteY603" fmla="*/ 503873 h 2895832"/>
              <a:gd name="connsiteX604" fmla="*/ 607790 w 5127430"/>
              <a:gd name="connsiteY604" fmla="*/ 527018 h 2895832"/>
              <a:gd name="connsiteX605" fmla="*/ 623411 w 5127430"/>
              <a:gd name="connsiteY605" fmla="*/ 494252 h 2895832"/>
              <a:gd name="connsiteX606" fmla="*/ 672751 w 5127430"/>
              <a:gd name="connsiteY606" fmla="*/ 475202 h 2895832"/>
              <a:gd name="connsiteX607" fmla="*/ 688753 w 5127430"/>
              <a:gd name="connsiteY607" fmla="*/ 453580 h 2895832"/>
              <a:gd name="connsiteX608" fmla="*/ 676561 w 5127430"/>
              <a:gd name="connsiteY608" fmla="*/ 444532 h 2895832"/>
              <a:gd name="connsiteX609" fmla="*/ 669322 w 5127430"/>
              <a:gd name="connsiteY609" fmla="*/ 445865 h 2895832"/>
              <a:gd name="connsiteX610" fmla="*/ 660844 w 5127430"/>
              <a:gd name="connsiteY610" fmla="*/ 459010 h 2895832"/>
              <a:gd name="connsiteX611" fmla="*/ 653034 w 5127430"/>
              <a:gd name="connsiteY611" fmla="*/ 461296 h 2895832"/>
              <a:gd name="connsiteX612" fmla="*/ 638270 w 5127430"/>
              <a:gd name="connsiteY612" fmla="*/ 454628 h 2895832"/>
              <a:gd name="connsiteX613" fmla="*/ 627983 w 5127430"/>
              <a:gd name="connsiteY613" fmla="*/ 453200 h 2895832"/>
              <a:gd name="connsiteX614" fmla="*/ 607695 w 5127430"/>
              <a:gd name="connsiteY614" fmla="*/ 456343 h 2895832"/>
              <a:gd name="connsiteX615" fmla="*/ 600361 w 5127430"/>
              <a:gd name="connsiteY615" fmla="*/ 462248 h 2895832"/>
              <a:gd name="connsiteX616" fmla="*/ 594741 w 5127430"/>
              <a:gd name="connsiteY616" fmla="*/ 476822 h 2895832"/>
              <a:gd name="connsiteX617" fmla="*/ 587597 w 5127430"/>
              <a:gd name="connsiteY617" fmla="*/ 480536 h 2895832"/>
              <a:gd name="connsiteX618" fmla="*/ 575882 w 5127430"/>
              <a:gd name="connsiteY618" fmla="*/ 477584 h 2895832"/>
              <a:gd name="connsiteX619" fmla="*/ 566071 w 5127430"/>
              <a:gd name="connsiteY619" fmla="*/ 479203 h 2895832"/>
              <a:gd name="connsiteX620" fmla="*/ 537020 w 5127430"/>
              <a:gd name="connsiteY620" fmla="*/ 497967 h 2895832"/>
              <a:gd name="connsiteX621" fmla="*/ 527590 w 5127430"/>
              <a:gd name="connsiteY621" fmla="*/ 498634 h 2895832"/>
              <a:gd name="connsiteX622" fmla="*/ 513588 w 5127430"/>
              <a:gd name="connsiteY622" fmla="*/ 492062 h 2895832"/>
              <a:gd name="connsiteX623" fmla="*/ 505016 w 5127430"/>
              <a:gd name="connsiteY623" fmla="*/ 493681 h 2895832"/>
              <a:gd name="connsiteX624" fmla="*/ 498158 w 5127430"/>
              <a:gd name="connsiteY624" fmla="*/ 500920 h 2895832"/>
              <a:gd name="connsiteX625" fmla="*/ 484727 w 5127430"/>
              <a:gd name="connsiteY625" fmla="*/ 505397 h 2895832"/>
              <a:gd name="connsiteX626" fmla="*/ 478346 w 5127430"/>
              <a:gd name="connsiteY626" fmla="*/ 511016 h 2895832"/>
              <a:gd name="connsiteX627" fmla="*/ 475583 w 5127430"/>
              <a:gd name="connsiteY627" fmla="*/ 525780 h 2895832"/>
              <a:gd name="connsiteX628" fmla="*/ 469297 w 5127430"/>
              <a:gd name="connsiteY628" fmla="*/ 532067 h 2895832"/>
              <a:gd name="connsiteX629" fmla="*/ 423577 w 5127430"/>
              <a:gd name="connsiteY629" fmla="*/ 540449 h 2895832"/>
              <a:gd name="connsiteX630" fmla="*/ 420624 w 5127430"/>
              <a:gd name="connsiteY630" fmla="*/ 536543 h 2895832"/>
              <a:gd name="connsiteX631" fmla="*/ 430149 w 5127430"/>
              <a:gd name="connsiteY631" fmla="*/ 516922 h 2895832"/>
              <a:gd name="connsiteX632" fmla="*/ 427482 w 5127430"/>
              <a:gd name="connsiteY632" fmla="*/ 510064 h 2895832"/>
              <a:gd name="connsiteX633" fmla="*/ 389096 w 5127430"/>
              <a:gd name="connsiteY633" fmla="*/ 494348 h 2895832"/>
              <a:gd name="connsiteX634" fmla="*/ 385286 w 5127430"/>
              <a:gd name="connsiteY634" fmla="*/ 497586 h 2895832"/>
              <a:gd name="connsiteX635" fmla="*/ 387668 w 5127430"/>
              <a:gd name="connsiteY635" fmla="*/ 507683 h 2895832"/>
              <a:gd name="connsiteX636" fmla="*/ 384905 w 5127430"/>
              <a:gd name="connsiteY636" fmla="*/ 516541 h 2895832"/>
              <a:gd name="connsiteX637" fmla="*/ 377095 w 5127430"/>
              <a:gd name="connsiteY637" fmla="*/ 523589 h 2895832"/>
              <a:gd name="connsiteX638" fmla="*/ 367760 w 5127430"/>
              <a:gd name="connsiteY638" fmla="*/ 526352 h 2895832"/>
              <a:gd name="connsiteX639" fmla="*/ 340328 w 5127430"/>
              <a:gd name="connsiteY639" fmla="*/ 521780 h 2895832"/>
              <a:gd name="connsiteX640" fmla="*/ 330518 w 5127430"/>
              <a:gd name="connsiteY640" fmla="*/ 523875 h 2895832"/>
              <a:gd name="connsiteX641" fmla="*/ 287941 w 5127430"/>
              <a:gd name="connsiteY641" fmla="*/ 552069 h 2895832"/>
              <a:gd name="connsiteX642" fmla="*/ 285750 w 5127430"/>
              <a:gd name="connsiteY642" fmla="*/ 559975 h 2895832"/>
              <a:gd name="connsiteX643" fmla="*/ 295370 w 5127430"/>
              <a:gd name="connsiteY643" fmla="*/ 580358 h 2895832"/>
              <a:gd name="connsiteX644" fmla="*/ 292322 w 5127430"/>
              <a:gd name="connsiteY644" fmla="*/ 584645 h 2895832"/>
              <a:gd name="connsiteX645" fmla="*/ 267367 w 5127430"/>
              <a:gd name="connsiteY645" fmla="*/ 581882 h 2895832"/>
              <a:gd name="connsiteX646" fmla="*/ 257175 w 5127430"/>
              <a:gd name="connsiteY646" fmla="*/ 587978 h 2895832"/>
              <a:gd name="connsiteX647" fmla="*/ 248984 w 5127430"/>
              <a:gd name="connsiteY647" fmla="*/ 590550 h 2895832"/>
              <a:gd name="connsiteX648" fmla="*/ 193262 w 5127430"/>
              <a:gd name="connsiteY648" fmla="*/ 570452 h 2895832"/>
              <a:gd name="connsiteX649" fmla="*/ 121539 w 5127430"/>
              <a:gd name="connsiteY649" fmla="*/ 533019 h 2895832"/>
              <a:gd name="connsiteX650" fmla="*/ 120301 w 5127430"/>
              <a:gd name="connsiteY650" fmla="*/ 526352 h 2895832"/>
              <a:gd name="connsiteX651" fmla="*/ 128302 w 5127430"/>
              <a:gd name="connsiteY651" fmla="*/ 517017 h 2895832"/>
              <a:gd name="connsiteX652" fmla="*/ 126302 w 5127430"/>
              <a:gd name="connsiteY652" fmla="*/ 509969 h 2895832"/>
              <a:gd name="connsiteX653" fmla="*/ 116967 w 5127430"/>
              <a:gd name="connsiteY653" fmla="*/ 510254 h 2895832"/>
              <a:gd name="connsiteX654" fmla="*/ 91726 w 5127430"/>
              <a:gd name="connsiteY654" fmla="*/ 521208 h 2895832"/>
              <a:gd name="connsiteX655" fmla="*/ 51911 w 5127430"/>
              <a:gd name="connsiteY655" fmla="*/ 512731 h 2895832"/>
              <a:gd name="connsiteX656" fmla="*/ 0 w 5127430"/>
              <a:gd name="connsiteY656" fmla="*/ 510635 h 2895832"/>
              <a:gd name="connsiteX657" fmla="*/ 0 w 5127430"/>
              <a:gd name="connsiteY657" fmla="*/ 1427131 h 2895832"/>
              <a:gd name="connsiteX658" fmla="*/ 28861 w 5127430"/>
              <a:gd name="connsiteY658" fmla="*/ 1434275 h 2895832"/>
              <a:gd name="connsiteX659" fmla="*/ 39148 w 5127430"/>
              <a:gd name="connsiteY659" fmla="*/ 1429322 h 2895832"/>
              <a:gd name="connsiteX660" fmla="*/ 62484 w 5127430"/>
              <a:gd name="connsiteY660" fmla="*/ 1437799 h 2895832"/>
              <a:gd name="connsiteX661" fmla="*/ 83630 w 5127430"/>
              <a:gd name="connsiteY661" fmla="*/ 1422464 h 2895832"/>
              <a:gd name="connsiteX662" fmla="*/ 116586 w 5127430"/>
              <a:gd name="connsiteY662" fmla="*/ 1423797 h 2895832"/>
              <a:gd name="connsiteX663" fmla="*/ 111633 w 5127430"/>
              <a:gd name="connsiteY663" fmla="*/ 1449800 h 2895832"/>
              <a:gd name="connsiteX664" fmla="*/ 202311 w 5127430"/>
              <a:gd name="connsiteY664" fmla="*/ 1520952 h 2895832"/>
              <a:gd name="connsiteX665" fmla="*/ 212503 w 5127430"/>
              <a:gd name="connsiteY665" fmla="*/ 1552956 h 2895832"/>
              <a:gd name="connsiteX666" fmla="*/ 266986 w 5127430"/>
              <a:gd name="connsiteY666" fmla="*/ 1527619 h 2895832"/>
              <a:gd name="connsiteX667" fmla="*/ 272129 w 5127430"/>
              <a:gd name="connsiteY667" fmla="*/ 1506855 h 2895832"/>
              <a:gd name="connsiteX668" fmla="*/ 289274 w 5127430"/>
              <a:gd name="connsiteY668" fmla="*/ 1498854 h 2895832"/>
              <a:gd name="connsiteX669" fmla="*/ 293275 w 5127430"/>
              <a:gd name="connsiteY669" fmla="*/ 1486186 h 2895832"/>
              <a:gd name="connsiteX670" fmla="*/ 332423 w 5127430"/>
              <a:gd name="connsiteY670" fmla="*/ 1473041 h 2895832"/>
              <a:gd name="connsiteX671" fmla="*/ 358902 w 5127430"/>
              <a:gd name="connsiteY671" fmla="*/ 1491806 h 2895832"/>
              <a:gd name="connsiteX672" fmla="*/ 364046 w 5127430"/>
              <a:gd name="connsiteY672" fmla="*/ 1521238 h 2895832"/>
              <a:gd name="connsiteX673" fmla="*/ 382429 w 5127430"/>
              <a:gd name="connsiteY673" fmla="*/ 1525524 h 2895832"/>
              <a:gd name="connsiteX674" fmla="*/ 406146 w 5127430"/>
              <a:gd name="connsiteY674" fmla="*/ 1556766 h 2895832"/>
              <a:gd name="connsiteX675" fmla="*/ 427482 w 5127430"/>
              <a:gd name="connsiteY675" fmla="*/ 1567244 h 2895832"/>
              <a:gd name="connsiteX676" fmla="*/ 452914 w 5127430"/>
              <a:gd name="connsiteY676" fmla="*/ 1592104 h 2895832"/>
              <a:gd name="connsiteX677" fmla="*/ 452914 w 5127430"/>
              <a:gd name="connsiteY677" fmla="*/ 1607915 h 2895832"/>
              <a:gd name="connsiteX678" fmla="*/ 473012 w 5127430"/>
              <a:gd name="connsiteY678" fmla="*/ 1622012 h 2895832"/>
              <a:gd name="connsiteX679" fmla="*/ 522161 w 5127430"/>
              <a:gd name="connsiteY679" fmla="*/ 1693069 h 2895832"/>
              <a:gd name="connsiteX680" fmla="*/ 521018 w 5127430"/>
              <a:gd name="connsiteY680" fmla="*/ 1710690 h 2895832"/>
              <a:gd name="connsiteX681" fmla="*/ 537401 w 5127430"/>
              <a:gd name="connsiteY681" fmla="*/ 1715262 h 2895832"/>
              <a:gd name="connsiteX682" fmla="*/ 535591 w 5127430"/>
              <a:gd name="connsiteY682" fmla="*/ 1730312 h 2895832"/>
              <a:gd name="connsiteX683" fmla="*/ 549593 w 5127430"/>
              <a:gd name="connsiteY683" fmla="*/ 1735836 h 2895832"/>
              <a:gd name="connsiteX684" fmla="*/ 553212 w 5127430"/>
              <a:gd name="connsiteY684" fmla="*/ 1753172 h 2895832"/>
              <a:gd name="connsiteX685" fmla="*/ 574548 w 5127430"/>
              <a:gd name="connsiteY685" fmla="*/ 1754315 h 2895832"/>
              <a:gd name="connsiteX686" fmla="*/ 598265 w 5127430"/>
              <a:gd name="connsiteY686" fmla="*/ 1772603 h 2895832"/>
              <a:gd name="connsiteX687" fmla="*/ 619506 w 5127430"/>
              <a:gd name="connsiteY687" fmla="*/ 1777365 h 2895832"/>
              <a:gd name="connsiteX688" fmla="*/ 639128 w 5127430"/>
              <a:gd name="connsiteY688" fmla="*/ 1794510 h 2895832"/>
              <a:gd name="connsiteX689" fmla="*/ 655415 w 5127430"/>
              <a:gd name="connsiteY689" fmla="*/ 1795558 h 2895832"/>
              <a:gd name="connsiteX690" fmla="*/ 661321 w 5127430"/>
              <a:gd name="connsiteY690" fmla="*/ 1807940 h 2895832"/>
              <a:gd name="connsiteX691" fmla="*/ 652272 w 5127430"/>
              <a:gd name="connsiteY691" fmla="*/ 1835277 h 2895832"/>
              <a:gd name="connsiteX692" fmla="*/ 664369 w 5127430"/>
              <a:gd name="connsiteY692" fmla="*/ 1862804 h 2895832"/>
              <a:gd name="connsiteX693" fmla="*/ 617125 w 5127430"/>
              <a:gd name="connsiteY693" fmla="*/ 1910048 h 2895832"/>
              <a:gd name="connsiteX694" fmla="*/ 627126 w 5127430"/>
              <a:gd name="connsiteY694" fmla="*/ 1911668 h 2895832"/>
              <a:gd name="connsiteX695" fmla="*/ 635508 w 5127430"/>
              <a:gd name="connsiteY695" fmla="*/ 1915573 h 2895832"/>
              <a:gd name="connsiteX696" fmla="*/ 631222 w 5127430"/>
              <a:gd name="connsiteY696" fmla="*/ 1932718 h 2895832"/>
              <a:gd name="connsiteX697" fmla="*/ 649034 w 5127430"/>
              <a:gd name="connsiteY697" fmla="*/ 1956149 h 2895832"/>
              <a:gd name="connsiteX698" fmla="*/ 659130 w 5127430"/>
              <a:gd name="connsiteY698" fmla="*/ 1962436 h 2895832"/>
              <a:gd name="connsiteX699" fmla="*/ 657225 w 5127430"/>
              <a:gd name="connsiteY699" fmla="*/ 1985105 h 2895832"/>
              <a:gd name="connsiteX700" fmla="*/ 653510 w 5127430"/>
              <a:gd name="connsiteY700" fmla="*/ 1995107 h 2895832"/>
              <a:gd name="connsiteX701" fmla="*/ 665702 w 5127430"/>
              <a:gd name="connsiteY701" fmla="*/ 2002727 h 2895832"/>
              <a:gd name="connsiteX702" fmla="*/ 685705 w 5127430"/>
              <a:gd name="connsiteY702" fmla="*/ 2021205 h 2895832"/>
              <a:gd name="connsiteX703" fmla="*/ 691325 w 5127430"/>
              <a:gd name="connsiteY703" fmla="*/ 2007584 h 2895832"/>
              <a:gd name="connsiteX704" fmla="*/ 690944 w 5127430"/>
              <a:gd name="connsiteY704" fmla="*/ 2005203 h 2895832"/>
              <a:gd name="connsiteX705" fmla="*/ 694754 w 5127430"/>
              <a:gd name="connsiteY705" fmla="*/ 2002631 h 2895832"/>
              <a:gd name="connsiteX706" fmla="*/ 706946 w 5127430"/>
              <a:gd name="connsiteY706" fmla="*/ 2004155 h 2895832"/>
              <a:gd name="connsiteX707" fmla="*/ 713613 w 5127430"/>
              <a:gd name="connsiteY707" fmla="*/ 2005870 h 2895832"/>
              <a:gd name="connsiteX708" fmla="*/ 715994 w 5127430"/>
              <a:gd name="connsiteY708" fmla="*/ 2010728 h 2895832"/>
              <a:gd name="connsiteX709" fmla="*/ 727519 w 5127430"/>
              <a:gd name="connsiteY709" fmla="*/ 2018252 h 2895832"/>
              <a:gd name="connsiteX710" fmla="*/ 755999 w 5127430"/>
              <a:gd name="connsiteY710" fmla="*/ 2038636 h 2895832"/>
              <a:gd name="connsiteX711" fmla="*/ 767239 w 5127430"/>
              <a:gd name="connsiteY711" fmla="*/ 2071783 h 2895832"/>
              <a:gd name="connsiteX712" fmla="*/ 762572 w 5127430"/>
              <a:gd name="connsiteY712" fmla="*/ 2086451 h 2895832"/>
              <a:gd name="connsiteX713" fmla="*/ 772573 w 5127430"/>
              <a:gd name="connsiteY713" fmla="*/ 2094643 h 2895832"/>
              <a:gd name="connsiteX714" fmla="*/ 774954 w 5127430"/>
              <a:gd name="connsiteY714" fmla="*/ 2094929 h 2895832"/>
              <a:gd name="connsiteX715" fmla="*/ 778574 w 5127430"/>
              <a:gd name="connsiteY715" fmla="*/ 2100739 h 2895832"/>
              <a:gd name="connsiteX716" fmla="*/ 769144 w 5127430"/>
              <a:gd name="connsiteY716" fmla="*/ 2113979 h 2895832"/>
              <a:gd name="connsiteX717" fmla="*/ 752951 w 5127430"/>
              <a:gd name="connsiteY717" fmla="*/ 2121408 h 2895832"/>
              <a:gd name="connsiteX718" fmla="*/ 765524 w 5127430"/>
              <a:gd name="connsiteY718" fmla="*/ 2137505 h 2895832"/>
              <a:gd name="connsiteX719" fmla="*/ 772859 w 5127430"/>
              <a:gd name="connsiteY719" fmla="*/ 2143030 h 2895832"/>
              <a:gd name="connsiteX720" fmla="*/ 789337 w 5127430"/>
              <a:gd name="connsiteY720" fmla="*/ 2125123 h 2895832"/>
              <a:gd name="connsiteX721" fmla="*/ 801053 w 5127430"/>
              <a:gd name="connsiteY721" fmla="*/ 2130362 h 2895832"/>
              <a:gd name="connsiteX722" fmla="*/ 788861 w 5127430"/>
              <a:gd name="connsiteY722" fmla="*/ 2151126 h 2895832"/>
              <a:gd name="connsiteX723" fmla="*/ 800291 w 5127430"/>
              <a:gd name="connsiteY723" fmla="*/ 2166366 h 2895832"/>
              <a:gd name="connsiteX724" fmla="*/ 801529 w 5127430"/>
              <a:gd name="connsiteY724" fmla="*/ 2166080 h 2895832"/>
              <a:gd name="connsiteX725" fmla="*/ 807911 w 5127430"/>
              <a:gd name="connsiteY725" fmla="*/ 2178749 h 2895832"/>
              <a:gd name="connsiteX726" fmla="*/ 818102 w 5127430"/>
              <a:gd name="connsiteY726" fmla="*/ 2183321 h 2895832"/>
              <a:gd name="connsiteX727" fmla="*/ 818864 w 5127430"/>
              <a:gd name="connsiteY727" fmla="*/ 2185892 h 2895832"/>
              <a:gd name="connsiteX728" fmla="*/ 796862 w 5127430"/>
              <a:gd name="connsiteY728" fmla="*/ 2197513 h 2895832"/>
              <a:gd name="connsiteX729" fmla="*/ 821341 w 5127430"/>
              <a:gd name="connsiteY729" fmla="*/ 2217992 h 2895832"/>
              <a:gd name="connsiteX730" fmla="*/ 857726 w 5127430"/>
              <a:gd name="connsiteY730" fmla="*/ 2231803 h 2895832"/>
              <a:gd name="connsiteX731" fmla="*/ 858869 w 5127430"/>
              <a:gd name="connsiteY731" fmla="*/ 2252282 h 2895832"/>
              <a:gd name="connsiteX732" fmla="*/ 813816 w 5127430"/>
              <a:gd name="connsiteY732" fmla="*/ 2238756 h 2895832"/>
              <a:gd name="connsiteX733" fmla="*/ 781431 w 5127430"/>
              <a:gd name="connsiteY733" fmla="*/ 2218754 h 2895832"/>
              <a:gd name="connsiteX734" fmla="*/ 755809 w 5127430"/>
              <a:gd name="connsiteY734" fmla="*/ 2231898 h 2895832"/>
              <a:gd name="connsiteX735" fmla="*/ 786575 w 5127430"/>
              <a:gd name="connsiteY735" fmla="*/ 2271808 h 2895832"/>
              <a:gd name="connsiteX736" fmla="*/ 791813 w 5127430"/>
              <a:gd name="connsiteY736" fmla="*/ 2282952 h 2895832"/>
              <a:gd name="connsiteX737" fmla="*/ 810387 w 5127430"/>
              <a:gd name="connsiteY737" fmla="*/ 2282762 h 2895832"/>
              <a:gd name="connsiteX738" fmla="*/ 861441 w 5127430"/>
              <a:gd name="connsiteY738" fmla="*/ 2326100 h 2895832"/>
              <a:gd name="connsiteX739" fmla="*/ 868680 w 5127430"/>
              <a:gd name="connsiteY739" fmla="*/ 2336768 h 2895832"/>
              <a:gd name="connsiteX740" fmla="*/ 871157 w 5127430"/>
              <a:gd name="connsiteY740" fmla="*/ 2335340 h 2895832"/>
              <a:gd name="connsiteX741" fmla="*/ 880110 w 5127430"/>
              <a:gd name="connsiteY741" fmla="*/ 2336006 h 2895832"/>
              <a:gd name="connsiteX742" fmla="*/ 930497 w 5127430"/>
              <a:gd name="connsiteY742" fmla="*/ 2368201 h 2895832"/>
              <a:gd name="connsiteX743" fmla="*/ 931831 w 5127430"/>
              <a:gd name="connsiteY743" fmla="*/ 2366867 h 2895832"/>
              <a:gd name="connsiteX744" fmla="*/ 940880 w 5127430"/>
              <a:gd name="connsiteY744" fmla="*/ 2364391 h 2895832"/>
              <a:gd name="connsiteX745" fmla="*/ 952405 w 5127430"/>
              <a:gd name="connsiteY745" fmla="*/ 2372678 h 2895832"/>
              <a:gd name="connsiteX746" fmla="*/ 952500 w 5127430"/>
              <a:gd name="connsiteY746" fmla="*/ 2384870 h 2895832"/>
              <a:gd name="connsiteX747" fmla="*/ 1045655 w 5127430"/>
              <a:gd name="connsiteY747" fmla="*/ 2413921 h 2895832"/>
              <a:gd name="connsiteX748" fmla="*/ 1051846 w 5127430"/>
              <a:gd name="connsiteY748" fmla="*/ 2405253 h 2895832"/>
              <a:gd name="connsiteX749" fmla="*/ 1043654 w 5127430"/>
              <a:gd name="connsiteY749" fmla="*/ 2389442 h 2895832"/>
              <a:gd name="connsiteX750" fmla="*/ 1051465 w 5127430"/>
              <a:gd name="connsiteY750" fmla="*/ 2375345 h 2895832"/>
              <a:gd name="connsiteX751" fmla="*/ 1024700 w 5127430"/>
              <a:gd name="connsiteY751" fmla="*/ 2355628 h 2895832"/>
              <a:gd name="connsiteX752" fmla="*/ 961263 w 5127430"/>
              <a:gd name="connsiteY752" fmla="*/ 2316671 h 2895832"/>
              <a:gd name="connsiteX753" fmla="*/ 961263 w 5127430"/>
              <a:gd name="connsiteY753" fmla="*/ 2316480 h 2895832"/>
              <a:gd name="connsiteX754" fmla="*/ 945261 w 5127430"/>
              <a:gd name="connsiteY754" fmla="*/ 2282952 h 2895832"/>
              <a:gd name="connsiteX755" fmla="*/ 970407 w 5127430"/>
              <a:gd name="connsiteY755" fmla="*/ 2288286 h 2895832"/>
              <a:gd name="connsiteX756" fmla="*/ 1001744 w 5127430"/>
              <a:gd name="connsiteY756" fmla="*/ 2313813 h 2895832"/>
              <a:gd name="connsiteX757" fmla="*/ 1001935 w 5127430"/>
              <a:gd name="connsiteY757" fmla="*/ 2313337 h 2895832"/>
              <a:gd name="connsiteX758" fmla="*/ 1031367 w 5127430"/>
              <a:gd name="connsiteY758" fmla="*/ 2329625 h 2895832"/>
              <a:gd name="connsiteX759" fmla="*/ 1069277 w 5127430"/>
              <a:gd name="connsiteY759" fmla="*/ 2346865 h 2895832"/>
              <a:gd name="connsiteX760" fmla="*/ 1081088 w 5127430"/>
              <a:gd name="connsiteY760" fmla="*/ 2359343 h 2895832"/>
              <a:gd name="connsiteX761" fmla="*/ 1092708 w 5127430"/>
              <a:gd name="connsiteY761" fmla="*/ 2363629 h 2895832"/>
              <a:gd name="connsiteX762" fmla="*/ 1098042 w 5127430"/>
              <a:gd name="connsiteY762" fmla="*/ 2370392 h 2895832"/>
              <a:gd name="connsiteX763" fmla="*/ 2742057 w 5127430"/>
              <a:gd name="connsiteY763" fmla="*/ 2370392 h 2895832"/>
              <a:gd name="connsiteX764" fmla="*/ 2741771 w 5127430"/>
              <a:gd name="connsiteY764" fmla="*/ 2368582 h 2895832"/>
              <a:gd name="connsiteX765" fmla="*/ 2743676 w 5127430"/>
              <a:gd name="connsiteY765" fmla="*/ 2364296 h 2895832"/>
              <a:gd name="connsiteX766" fmla="*/ 2757107 w 5127430"/>
              <a:gd name="connsiteY766" fmla="*/ 2345341 h 2895832"/>
              <a:gd name="connsiteX767" fmla="*/ 2763488 w 5127430"/>
              <a:gd name="connsiteY767" fmla="*/ 2337245 h 2895832"/>
              <a:gd name="connsiteX768" fmla="*/ 2778919 w 5127430"/>
              <a:gd name="connsiteY768" fmla="*/ 2333435 h 2895832"/>
              <a:gd name="connsiteX769" fmla="*/ 2804732 w 5127430"/>
              <a:gd name="connsiteY769" fmla="*/ 2358962 h 2895832"/>
              <a:gd name="connsiteX770" fmla="*/ 2783205 w 5127430"/>
              <a:gd name="connsiteY770" fmla="*/ 2385727 h 2895832"/>
              <a:gd name="connsiteX771" fmla="*/ 2778919 w 5127430"/>
              <a:gd name="connsiteY771" fmla="*/ 2387251 h 2895832"/>
              <a:gd name="connsiteX772" fmla="*/ 2779205 w 5127430"/>
              <a:gd name="connsiteY772" fmla="*/ 2389346 h 2895832"/>
              <a:gd name="connsiteX773" fmla="*/ 2831878 w 5127430"/>
              <a:gd name="connsiteY773" fmla="*/ 2399348 h 2895832"/>
              <a:gd name="connsiteX774" fmla="*/ 2835402 w 5127430"/>
              <a:gd name="connsiteY774" fmla="*/ 2407634 h 2895832"/>
              <a:gd name="connsiteX775" fmla="*/ 2854452 w 5127430"/>
              <a:gd name="connsiteY775" fmla="*/ 2407920 h 2895832"/>
              <a:gd name="connsiteX776" fmla="*/ 2862929 w 5127430"/>
              <a:gd name="connsiteY776" fmla="*/ 2398586 h 2895832"/>
              <a:gd name="connsiteX777" fmla="*/ 2907220 w 5127430"/>
              <a:gd name="connsiteY777" fmla="*/ 2407920 h 2895832"/>
              <a:gd name="connsiteX778" fmla="*/ 2914078 w 5127430"/>
              <a:gd name="connsiteY778" fmla="*/ 2429447 h 2895832"/>
              <a:gd name="connsiteX779" fmla="*/ 2954750 w 5127430"/>
              <a:gd name="connsiteY779" fmla="*/ 2425637 h 2895832"/>
              <a:gd name="connsiteX780" fmla="*/ 2959989 w 5127430"/>
              <a:gd name="connsiteY780" fmla="*/ 2440305 h 2895832"/>
              <a:gd name="connsiteX781" fmla="*/ 2986659 w 5127430"/>
              <a:gd name="connsiteY781" fmla="*/ 2440305 h 2895832"/>
              <a:gd name="connsiteX782" fmla="*/ 2994374 w 5127430"/>
              <a:gd name="connsiteY782" fmla="*/ 2430590 h 2895832"/>
              <a:gd name="connsiteX783" fmla="*/ 3011710 w 5127430"/>
              <a:gd name="connsiteY783" fmla="*/ 2424970 h 2895832"/>
              <a:gd name="connsiteX784" fmla="*/ 3017711 w 5127430"/>
              <a:gd name="connsiteY784" fmla="*/ 2436209 h 2895832"/>
              <a:gd name="connsiteX785" fmla="*/ 3053810 w 5127430"/>
              <a:gd name="connsiteY785" fmla="*/ 2432590 h 2895832"/>
              <a:gd name="connsiteX786" fmla="*/ 3069145 w 5127430"/>
              <a:gd name="connsiteY786" fmla="*/ 2447354 h 2895832"/>
              <a:gd name="connsiteX787" fmla="*/ 3092006 w 5127430"/>
              <a:gd name="connsiteY787" fmla="*/ 2437829 h 2895832"/>
              <a:gd name="connsiteX788" fmla="*/ 3102007 w 5127430"/>
              <a:gd name="connsiteY788" fmla="*/ 2415540 h 2895832"/>
              <a:gd name="connsiteX789" fmla="*/ 3122771 w 5127430"/>
              <a:gd name="connsiteY789" fmla="*/ 2409920 h 2895832"/>
              <a:gd name="connsiteX790" fmla="*/ 3136487 w 5127430"/>
              <a:gd name="connsiteY790" fmla="*/ 2392871 h 2895832"/>
              <a:gd name="connsiteX791" fmla="*/ 3150584 w 5127430"/>
              <a:gd name="connsiteY791" fmla="*/ 2388394 h 2895832"/>
              <a:gd name="connsiteX792" fmla="*/ 3149537 w 5127430"/>
              <a:gd name="connsiteY792" fmla="*/ 2406872 h 2895832"/>
              <a:gd name="connsiteX793" fmla="*/ 3195542 w 5127430"/>
              <a:gd name="connsiteY793" fmla="*/ 2386584 h 2895832"/>
              <a:gd name="connsiteX794" fmla="*/ 3181826 w 5127430"/>
              <a:gd name="connsiteY794" fmla="*/ 2381822 h 2895832"/>
              <a:gd name="connsiteX795" fmla="*/ 3170587 w 5127430"/>
              <a:gd name="connsiteY795" fmla="*/ 2375535 h 2895832"/>
              <a:gd name="connsiteX796" fmla="*/ 3178302 w 5127430"/>
              <a:gd name="connsiteY796" fmla="*/ 2365629 h 2895832"/>
              <a:gd name="connsiteX797" fmla="*/ 3218402 w 5127430"/>
              <a:gd name="connsiteY797" fmla="*/ 2378202 h 2895832"/>
              <a:gd name="connsiteX798" fmla="*/ 3270885 w 5127430"/>
              <a:gd name="connsiteY798" fmla="*/ 2382965 h 2895832"/>
              <a:gd name="connsiteX799" fmla="*/ 3295555 w 5127430"/>
              <a:gd name="connsiteY799" fmla="*/ 2428304 h 2895832"/>
              <a:gd name="connsiteX800" fmla="*/ 3317843 w 5127430"/>
              <a:gd name="connsiteY800" fmla="*/ 2447639 h 2895832"/>
              <a:gd name="connsiteX801" fmla="*/ 3366040 w 5127430"/>
              <a:gd name="connsiteY801" fmla="*/ 2447258 h 2895832"/>
              <a:gd name="connsiteX802" fmla="*/ 3362897 w 5127430"/>
              <a:gd name="connsiteY802" fmla="*/ 2471071 h 2895832"/>
              <a:gd name="connsiteX803" fmla="*/ 3383947 w 5127430"/>
              <a:gd name="connsiteY803" fmla="*/ 2494979 h 2895832"/>
              <a:gd name="connsiteX804" fmla="*/ 3379280 w 5127430"/>
              <a:gd name="connsiteY804" fmla="*/ 2517362 h 2895832"/>
              <a:gd name="connsiteX805" fmla="*/ 3394996 w 5127430"/>
              <a:gd name="connsiteY805" fmla="*/ 2529745 h 2895832"/>
              <a:gd name="connsiteX806" fmla="*/ 3396710 w 5127430"/>
              <a:gd name="connsiteY806" fmla="*/ 2558987 h 2895832"/>
              <a:gd name="connsiteX807" fmla="*/ 3394805 w 5127430"/>
              <a:gd name="connsiteY807" fmla="*/ 2562796 h 2895832"/>
              <a:gd name="connsiteX808" fmla="*/ 3396044 w 5127430"/>
              <a:gd name="connsiteY808" fmla="*/ 2564321 h 2895832"/>
              <a:gd name="connsiteX809" fmla="*/ 3418427 w 5127430"/>
              <a:gd name="connsiteY809" fmla="*/ 2592705 h 2895832"/>
              <a:gd name="connsiteX810" fmla="*/ 3419856 w 5127430"/>
              <a:gd name="connsiteY810" fmla="*/ 2589086 h 2895832"/>
              <a:gd name="connsiteX811" fmla="*/ 3425190 w 5127430"/>
              <a:gd name="connsiteY811" fmla="*/ 2568702 h 2895832"/>
              <a:gd name="connsiteX812" fmla="*/ 3504152 w 5127430"/>
              <a:gd name="connsiteY812" fmla="*/ 2574989 h 2895832"/>
              <a:gd name="connsiteX813" fmla="*/ 3614642 w 5127430"/>
              <a:gd name="connsiteY813" fmla="*/ 2599563 h 2895832"/>
              <a:gd name="connsiteX814" fmla="*/ 3623024 w 5127430"/>
              <a:gd name="connsiteY814" fmla="*/ 2605183 h 2895832"/>
              <a:gd name="connsiteX815" fmla="*/ 3676269 w 5127430"/>
              <a:gd name="connsiteY815" fmla="*/ 2680526 h 2895832"/>
              <a:gd name="connsiteX816" fmla="*/ 3673983 w 5127430"/>
              <a:gd name="connsiteY816" fmla="*/ 2684526 h 2895832"/>
              <a:gd name="connsiteX817" fmla="*/ 3661505 w 5127430"/>
              <a:gd name="connsiteY817" fmla="*/ 2683574 h 2895832"/>
              <a:gd name="connsiteX818" fmla="*/ 3659315 w 5127430"/>
              <a:gd name="connsiteY818" fmla="*/ 2687479 h 2895832"/>
              <a:gd name="connsiteX819" fmla="*/ 3663029 w 5127430"/>
              <a:gd name="connsiteY819" fmla="*/ 2692527 h 2895832"/>
              <a:gd name="connsiteX820" fmla="*/ 3663696 w 5127430"/>
              <a:gd name="connsiteY820" fmla="*/ 2701671 h 2895832"/>
              <a:gd name="connsiteX821" fmla="*/ 3659886 w 5127430"/>
              <a:gd name="connsiteY821" fmla="*/ 2708815 h 2895832"/>
              <a:gd name="connsiteX822" fmla="*/ 3652647 w 5127430"/>
              <a:gd name="connsiteY822" fmla="*/ 2710910 h 2895832"/>
              <a:gd name="connsiteX823" fmla="*/ 3626834 w 5127430"/>
              <a:gd name="connsiteY823" fmla="*/ 2696051 h 2895832"/>
              <a:gd name="connsiteX824" fmla="*/ 3614738 w 5127430"/>
              <a:gd name="connsiteY824" fmla="*/ 2695861 h 2895832"/>
              <a:gd name="connsiteX825" fmla="*/ 3608546 w 5127430"/>
              <a:gd name="connsiteY825" fmla="*/ 2692241 h 2895832"/>
              <a:gd name="connsiteX826" fmla="*/ 3607118 w 5127430"/>
              <a:gd name="connsiteY826" fmla="*/ 2685574 h 2895832"/>
              <a:gd name="connsiteX827" fmla="*/ 3602545 w 5127430"/>
              <a:gd name="connsiteY827" fmla="*/ 2676144 h 2895832"/>
              <a:gd name="connsiteX828" fmla="*/ 3578257 w 5127430"/>
              <a:gd name="connsiteY828" fmla="*/ 2653951 h 2895832"/>
              <a:gd name="connsiteX829" fmla="*/ 3562922 w 5127430"/>
              <a:gd name="connsiteY829" fmla="*/ 2658809 h 2895832"/>
              <a:gd name="connsiteX830" fmla="*/ 3583400 w 5127430"/>
              <a:gd name="connsiteY830" fmla="*/ 2688431 h 2895832"/>
              <a:gd name="connsiteX831" fmla="*/ 3581781 w 5127430"/>
              <a:gd name="connsiteY831" fmla="*/ 2706719 h 2895832"/>
              <a:gd name="connsiteX832" fmla="*/ 3559493 w 5127430"/>
              <a:gd name="connsiteY832" fmla="*/ 2743962 h 2895832"/>
              <a:gd name="connsiteX833" fmla="*/ 3555207 w 5127430"/>
              <a:gd name="connsiteY833" fmla="*/ 2796350 h 2895832"/>
              <a:gd name="connsiteX834" fmla="*/ 3539490 w 5127430"/>
              <a:gd name="connsiteY834" fmla="*/ 2808827 h 2895832"/>
              <a:gd name="connsiteX835" fmla="*/ 3529489 w 5127430"/>
              <a:gd name="connsiteY835" fmla="*/ 2817971 h 2895832"/>
              <a:gd name="connsiteX836" fmla="*/ 3511868 w 5127430"/>
              <a:gd name="connsiteY836" fmla="*/ 2816352 h 2895832"/>
              <a:gd name="connsiteX837" fmla="*/ 3511010 w 5127430"/>
              <a:gd name="connsiteY837" fmla="*/ 2818448 h 2895832"/>
              <a:gd name="connsiteX838" fmla="*/ 3503295 w 5127430"/>
              <a:gd name="connsiteY838" fmla="*/ 2848737 h 2895832"/>
              <a:gd name="connsiteX839" fmla="*/ 3514249 w 5127430"/>
              <a:gd name="connsiteY839" fmla="*/ 2853976 h 2895832"/>
              <a:gd name="connsiteX840" fmla="*/ 3512915 w 5127430"/>
              <a:gd name="connsiteY840" fmla="*/ 2866739 h 2895832"/>
              <a:gd name="connsiteX841" fmla="*/ 3487484 w 5127430"/>
              <a:gd name="connsiteY841" fmla="*/ 2867501 h 2895832"/>
              <a:gd name="connsiteX842" fmla="*/ 3483864 w 5127430"/>
              <a:gd name="connsiteY842" fmla="*/ 2865120 h 2895832"/>
              <a:gd name="connsiteX843" fmla="*/ 3482150 w 5127430"/>
              <a:gd name="connsiteY843" fmla="*/ 2866549 h 2895832"/>
              <a:gd name="connsiteX844" fmla="*/ 3470243 w 5127430"/>
              <a:gd name="connsiteY844" fmla="*/ 2882646 h 2895832"/>
              <a:gd name="connsiteX845" fmla="*/ 3471482 w 5127430"/>
              <a:gd name="connsiteY845" fmla="*/ 2884170 h 2895832"/>
              <a:gd name="connsiteX846" fmla="*/ 3475292 w 5127430"/>
              <a:gd name="connsiteY846" fmla="*/ 2884551 h 2895832"/>
              <a:gd name="connsiteX847" fmla="*/ 3511963 w 5127430"/>
              <a:gd name="connsiteY847" fmla="*/ 2892457 h 2895832"/>
              <a:gd name="connsiteX848" fmla="*/ 3520059 w 5127430"/>
              <a:gd name="connsiteY848" fmla="*/ 2879789 h 2895832"/>
              <a:gd name="connsiteX849" fmla="*/ 3585115 w 5127430"/>
              <a:gd name="connsiteY849" fmla="*/ 2843498 h 2895832"/>
              <a:gd name="connsiteX850" fmla="*/ 3640265 w 5127430"/>
              <a:gd name="connsiteY850" fmla="*/ 2846356 h 2895832"/>
              <a:gd name="connsiteX851" fmla="*/ 3654171 w 5127430"/>
              <a:gd name="connsiteY851" fmla="*/ 2831021 h 2895832"/>
              <a:gd name="connsiteX852" fmla="*/ 3727514 w 5127430"/>
              <a:gd name="connsiteY852" fmla="*/ 2822543 h 2895832"/>
              <a:gd name="connsiteX853" fmla="*/ 3716845 w 5127430"/>
              <a:gd name="connsiteY853" fmla="*/ 2801779 h 2895832"/>
              <a:gd name="connsiteX854" fmla="*/ 3716845 w 5127430"/>
              <a:gd name="connsiteY854" fmla="*/ 2801779 h 2895832"/>
              <a:gd name="connsiteX855" fmla="*/ 3712083 w 5127430"/>
              <a:gd name="connsiteY855" fmla="*/ 2803208 h 2895832"/>
              <a:gd name="connsiteX856" fmla="*/ 3674078 w 5127430"/>
              <a:gd name="connsiteY856" fmla="*/ 2797969 h 2895832"/>
              <a:gd name="connsiteX857" fmla="*/ 3683984 w 5127430"/>
              <a:gd name="connsiteY857" fmla="*/ 2774347 h 2895832"/>
              <a:gd name="connsiteX858" fmla="*/ 3699891 w 5127430"/>
              <a:gd name="connsiteY858" fmla="*/ 2770442 h 2895832"/>
              <a:gd name="connsiteX859" fmla="*/ 3724275 w 5127430"/>
              <a:gd name="connsiteY859" fmla="*/ 2753678 h 2895832"/>
              <a:gd name="connsiteX860" fmla="*/ 3796760 w 5127430"/>
              <a:gd name="connsiteY860" fmla="*/ 2740533 h 2895832"/>
              <a:gd name="connsiteX861" fmla="*/ 3829717 w 5127430"/>
              <a:gd name="connsiteY861" fmla="*/ 2751868 h 2895832"/>
              <a:gd name="connsiteX862" fmla="*/ 3859149 w 5127430"/>
              <a:gd name="connsiteY862" fmla="*/ 2733008 h 2895832"/>
              <a:gd name="connsiteX863" fmla="*/ 3878199 w 5127430"/>
              <a:gd name="connsiteY863" fmla="*/ 2729484 h 2895832"/>
              <a:gd name="connsiteX864" fmla="*/ 3882771 w 5127430"/>
              <a:gd name="connsiteY864" fmla="*/ 2731199 h 2895832"/>
              <a:gd name="connsiteX865" fmla="*/ 3883533 w 5127430"/>
              <a:gd name="connsiteY865" fmla="*/ 2729484 h 2895832"/>
              <a:gd name="connsiteX866" fmla="*/ 3971925 w 5127430"/>
              <a:gd name="connsiteY866" fmla="*/ 2672144 h 2895832"/>
              <a:gd name="connsiteX867" fmla="*/ 4174712 w 5127430"/>
              <a:gd name="connsiteY867" fmla="*/ 2672144 h 2895832"/>
              <a:gd name="connsiteX868" fmla="*/ 4183570 w 5127430"/>
              <a:gd name="connsiteY868" fmla="*/ 2651951 h 2895832"/>
              <a:gd name="connsiteX869" fmla="*/ 4209193 w 5127430"/>
              <a:gd name="connsiteY869" fmla="*/ 2656142 h 2895832"/>
              <a:gd name="connsiteX870" fmla="*/ 4216813 w 5127430"/>
              <a:gd name="connsiteY870" fmla="*/ 2633853 h 2895832"/>
              <a:gd name="connsiteX871" fmla="*/ 4248531 w 5127430"/>
              <a:gd name="connsiteY871" fmla="*/ 2608421 h 2895832"/>
              <a:gd name="connsiteX872" fmla="*/ 4246150 w 5127430"/>
              <a:gd name="connsiteY872" fmla="*/ 2583466 h 2895832"/>
              <a:gd name="connsiteX873" fmla="*/ 4259771 w 5127430"/>
              <a:gd name="connsiteY873" fmla="*/ 2565273 h 2895832"/>
              <a:gd name="connsiteX874" fmla="*/ 4262438 w 5127430"/>
              <a:gd name="connsiteY874" fmla="*/ 2545271 h 2895832"/>
              <a:gd name="connsiteX875" fmla="*/ 4310063 w 5127430"/>
              <a:gd name="connsiteY875" fmla="*/ 2486501 h 2895832"/>
              <a:gd name="connsiteX876" fmla="*/ 4320064 w 5127430"/>
              <a:gd name="connsiteY876" fmla="*/ 2492883 h 2895832"/>
              <a:gd name="connsiteX877" fmla="*/ 4322160 w 5127430"/>
              <a:gd name="connsiteY877" fmla="*/ 2504408 h 2895832"/>
              <a:gd name="connsiteX878" fmla="*/ 4331589 w 5127430"/>
              <a:gd name="connsiteY878" fmla="*/ 2511552 h 2895832"/>
              <a:gd name="connsiteX879" fmla="*/ 4366355 w 5127430"/>
              <a:gd name="connsiteY879" fmla="*/ 2494788 h 2895832"/>
              <a:gd name="connsiteX880" fmla="*/ 4395121 w 5127430"/>
              <a:gd name="connsiteY880" fmla="*/ 2517839 h 2895832"/>
              <a:gd name="connsiteX881" fmla="*/ 4396359 w 5127430"/>
              <a:gd name="connsiteY881" fmla="*/ 2622137 h 2895832"/>
              <a:gd name="connsiteX882" fmla="*/ 4417505 w 5127430"/>
              <a:gd name="connsiteY882" fmla="*/ 2626233 h 2895832"/>
              <a:gd name="connsiteX883" fmla="*/ 4417505 w 5127430"/>
              <a:gd name="connsiteY883" fmla="*/ 2654999 h 2895832"/>
              <a:gd name="connsiteX884" fmla="*/ 4428554 w 5127430"/>
              <a:gd name="connsiteY884" fmla="*/ 2657666 h 2895832"/>
              <a:gd name="connsiteX885" fmla="*/ 4434554 w 5127430"/>
              <a:gd name="connsiteY885" fmla="*/ 2669953 h 2895832"/>
              <a:gd name="connsiteX886" fmla="*/ 4435983 w 5127430"/>
              <a:gd name="connsiteY886" fmla="*/ 2666524 h 2895832"/>
              <a:gd name="connsiteX887" fmla="*/ 4441127 w 5127430"/>
              <a:gd name="connsiteY887" fmla="*/ 2661666 h 2895832"/>
              <a:gd name="connsiteX888" fmla="*/ 4450747 w 5127430"/>
              <a:gd name="connsiteY888" fmla="*/ 2663285 h 2895832"/>
              <a:gd name="connsiteX889" fmla="*/ 4459986 w 5127430"/>
              <a:gd name="connsiteY889" fmla="*/ 2665857 h 2895832"/>
              <a:gd name="connsiteX890" fmla="*/ 4485418 w 5127430"/>
              <a:gd name="connsiteY890" fmla="*/ 2660428 h 2895832"/>
              <a:gd name="connsiteX891" fmla="*/ 4491800 w 5127430"/>
              <a:gd name="connsiteY891" fmla="*/ 2652617 h 2895832"/>
              <a:gd name="connsiteX892" fmla="*/ 4497515 w 5127430"/>
              <a:gd name="connsiteY892" fmla="*/ 2649760 h 2895832"/>
              <a:gd name="connsiteX893" fmla="*/ 4512183 w 5127430"/>
              <a:gd name="connsiteY893" fmla="*/ 2652332 h 2895832"/>
              <a:gd name="connsiteX894" fmla="*/ 4559427 w 5127430"/>
              <a:gd name="connsiteY894" fmla="*/ 2626804 h 2895832"/>
              <a:gd name="connsiteX895" fmla="*/ 4585430 w 5127430"/>
              <a:gd name="connsiteY895" fmla="*/ 2605088 h 2895832"/>
              <a:gd name="connsiteX896" fmla="*/ 4597146 w 5127430"/>
              <a:gd name="connsiteY896" fmla="*/ 2608898 h 2895832"/>
              <a:gd name="connsiteX897" fmla="*/ 4569905 w 5127430"/>
              <a:gd name="connsiteY897" fmla="*/ 2640806 h 2895832"/>
              <a:gd name="connsiteX898" fmla="*/ 4581620 w 5127430"/>
              <a:gd name="connsiteY898" fmla="*/ 2642902 h 2895832"/>
              <a:gd name="connsiteX899" fmla="*/ 4598766 w 5127430"/>
              <a:gd name="connsiteY899" fmla="*/ 2637854 h 2895832"/>
              <a:gd name="connsiteX900" fmla="*/ 4648105 w 5127430"/>
              <a:gd name="connsiteY900" fmla="*/ 2637854 h 2895832"/>
              <a:gd name="connsiteX901" fmla="*/ 4648105 w 5127430"/>
              <a:gd name="connsiteY901" fmla="*/ 2648141 h 2895832"/>
              <a:gd name="connsiteX902" fmla="*/ 4628388 w 5127430"/>
              <a:gd name="connsiteY902" fmla="*/ 2652713 h 2895832"/>
              <a:gd name="connsiteX903" fmla="*/ 4602290 w 5127430"/>
              <a:gd name="connsiteY903" fmla="*/ 2659666 h 2895832"/>
              <a:gd name="connsiteX904" fmla="*/ 4592384 w 5127430"/>
              <a:gd name="connsiteY904" fmla="*/ 2655856 h 2895832"/>
              <a:gd name="connsiteX905" fmla="*/ 4569143 w 5127430"/>
              <a:gd name="connsiteY905" fmla="*/ 2661095 h 2895832"/>
              <a:gd name="connsiteX906" fmla="*/ 4501325 w 5127430"/>
              <a:gd name="connsiteY906" fmla="*/ 2707767 h 2895832"/>
              <a:gd name="connsiteX907" fmla="*/ 4492752 w 5127430"/>
              <a:gd name="connsiteY907" fmla="*/ 2732627 h 2895832"/>
              <a:gd name="connsiteX908" fmla="*/ 4498086 w 5127430"/>
              <a:gd name="connsiteY908" fmla="*/ 2763679 h 2895832"/>
              <a:gd name="connsiteX909" fmla="*/ 4514088 w 5127430"/>
              <a:gd name="connsiteY909" fmla="*/ 2769965 h 2895832"/>
              <a:gd name="connsiteX910" fmla="*/ 4528947 w 5127430"/>
              <a:gd name="connsiteY910" fmla="*/ 2783967 h 2895832"/>
              <a:gd name="connsiteX911" fmla="*/ 4542854 w 5127430"/>
              <a:gd name="connsiteY911" fmla="*/ 2776442 h 2895832"/>
              <a:gd name="connsiteX912" fmla="*/ 4553427 w 5127430"/>
              <a:gd name="connsiteY912" fmla="*/ 2763584 h 2895832"/>
              <a:gd name="connsiteX913" fmla="*/ 4566380 w 5127430"/>
              <a:gd name="connsiteY913" fmla="*/ 2761774 h 2895832"/>
              <a:gd name="connsiteX914" fmla="*/ 4606100 w 5127430"/>
              <a:gd name="connsiteY914" fmla="*/ 2719007 h 2895832"/>
              <a:gd name="connsiteX915" fmla="*/ 4611338 w 5127430"/>
              <a:gd name="connsiteY915" fmla="*/ 2699576 h 2895832"/>
              <a:gd name="connsiteX916" fmla="*/ 4628007 w 5127430"/>
              <a:gd name="connsiteY916" fmla="*/ 2700242 h 2895832"/>
              <a:gd name="connsiteX917" fmla="*/ 4635151 w 5127430"/>
              <a:gd name="connsiteY917" fmla="*/ 2706434 h 2895832"/>
              <a:gd name="connsiteX918" fmla="*/ 4647724 w 5127430"/>
              <a:gd name="connsiteY918" fmla="*/ 2709863 h 2895832"/>
              <a:gd name="connsiteX919" fmla="*/ 4652963 w 5127430"/>
              <a:gd name="connsiteY919" fmla="*/ 2705862 h 2895832"/>
              <a:gd name="connsiteX920" fmla="*/ 4652963 w 5127430"/>
              <a:gd name="connsiteY920" fmla="*/ 2699957 h 2895832"/>
              <a:gd name="connsiteX921" fmla="*/ 4658297 w 5127430"/>
              <a:gd name="connsiteY921" fmla="*/ 2694051 h 2895832"/>
              <a:gd name="connsiteX922" fmla="*/ 4688015 w 5127430"/>
              <a:gd name="connsiteY922" fmla="*/ 2691098 h 2895832"/>
              <a:gd name="connsiteX923" fmla="*/ 4719543 w 5127430"/>
              <a:gd name="connsiteY923" fmla="*/ 2677192 h 2895832"/>
              <a:gd name="connsiteX924" fmla="*/ 4734020 w 5127430"/>
              <a:gd name="connsiteY924" fmla="*/ 2674715 h 2895832"/>
              <a:gd name="connsiteX925" fmla="*/ 4744117 w 5127430"/>
              <a:gd name="connsiteY925" fmla="*/ 2672048 h 2895832"/>
              <a:gd name="connsiteX926" fmla="*/ 4768977 w 5127430"/>
              <a:gd name="connsiteY926" fmla="*/ 2661190 h 2895832"/>
              <a:gd name="connsiteX927" fmla="*/ 4797267 w 5127430"/>
              <a:gd name="connsiteY927" fmla="*/ 2656808 h 2895832"/>
              <a:gd name="connsiteX928" fmla="*/ 4800695 w 5127430"/>
              <a:gd name="connsiteY928" fmla="*/ 2643950 h 2895832"/>
              <a:gd name="connsiteX929" fmla="*/ 4778217 w 5127430"/>
              <a:gd name="connsiteY929" fmla="*/ 2637663 h 2895832"/>
              <a:gd name="connsiteX930" fmla="*/ 4797933 w 5127430"/>
              <a:gd name="connsiteY930" fmla="*/ 2624804 h 2895832"/>
              <a:gd name="connsiteX931" fmla="*/ 4832128 w 5127430"/>
              <a:gd name="connsiteY931" fmla="*/ 2625090 h 2895832"/>
              <a:gd name="connsiteX932" fmla="*/ 4877562 w 5127430"/>
              <a:gd name="connsiteY932" fmla="*/ 2598706 h 2895832"/>
              <a:gd name="connsiteX933" fmla="*/ 4876514 w 5127430"/>
              <a:gd name="connsiteY933" fmla="*/ 2592515 h 2895832"/>
              <a:gd name="connsiteX934" fmla="*/ 4871943 w 5127430"/>
              <a:gd name="connsiteY934" fmla="*/ 2582418 h 2895832"/>
              <a:gd name="connsiteX935" fmla="*/ 4866609 w 5127430"/>
              <a:gd name="connsiteY935" fmla="*/ 2576036 h 2895832"/>
              <a:gd name="connsiteX936" fmla="*/ 4837557 w 5127430"/>
              <a:gd name="connsiteY936" fmla="*/ 2570798 h 2895832"/>
              <a:gd name="connsiteX937" fmla="*/ 4834795 w 5127430"/>
              <a:gd name="connsiteY937" fmla="*/ 2565083 h 2895832"/>
              <a:gd name="connsiteX938" fmla="*/ 4840796 w 5127430"/>
              <a:gd name="connsiteY938" fmla="*/ 2554034 h 2895832"/>
              <a:gd name="connsiteX939" fmla="*/ 4844225 w 5127430"/>
              <a:gd name="connsiteY939" fmla="*/ 2533269 h 2895832"/>
              <a:gd name="connsiteX940" fmla="*/ 4835081 w 5127430"/>
              <a:gd name="connsiteY940" fmla="*/ 2521934 h 2895832"/>
              <a:gd name="connsiteX941" fmla="*/ 4830413 w 5127430"/>
              <a:gd name="connsiteY941" fmla="*/ 2517267 h 2895832"/>
              <a:gd name="connsiteX942" fmla="*/ 4798505 w 5127430"/>
              <a:gd name="connsiteY942" fmla="*/ 2551081 h 2895832"/>
              <a:gd name="connsiteX943" fmla="*/ 4793266 w 5127430"/>
              <a:gd name="connsiteY943" fmla="*/ 2565845 h 2895832"/>
              <a:gd name="connsiteX944" fmla="*/ 4771644 w 5127430"/>
              <a:gd name="connsiteY944" fmla="*/ 2596325 h 2895832"/>
              <a:gd name="connsiteX945" fmla="*/ 4770120 w 5127430"/>
              <a:gd name="connsiteY945" fmla="*/ 2616803 h 2895832"/>
              <a:gd name="connsiteX946" fmla="*/ 4753166 w 5127430"/>
              <a:gd name="connsiteY946" fmla="*/ 2619661 h 2895832"/>
              <a:gd name="connsiteX947" fmla="*/ 4739450 w 5127430"/>
              <a:gd name="connsiteY947" fmla="*/ 2606516 h 2895832"/>
              <a:gd name="connsiteX948" fmla="*/ 4709065 w 5127430"/>
              <a:gd name="connsiteY948" fmla="*/ 2620613 h 2895832"/>
              <a:gd name="connsiteX949" fmla="*/ 4696397 w 5127430"/>
              <a:gd name="connsiteY949" fmla="*/ 2612231 h 2895832"/>
              <a:gd name="connsiteX950" fmla="*/ 4673346 w 5127430"/>
              <a:gd name="connsiteY950" fmla="*/ 2609469 h 2895832"/>
              <a:gd name="connsiteX951" fmla="*/ 4657344 w 5127430"/>
              <a:gd name="connsiteY951" fmla="*/ 2611565 h 2895832"/>
              <a:gd name="connsiteX952" fmla="*/ 4622197 w 5127430"/>
              <a:gd name="connsiteY952" fmla="*/ 2592038 h 2895832"/>
              <a:gd name="connsiteX953" fmla="*/ 4624959 w 5127430"/>
              <a:gd name="connsiteY953" fmla="*/ 2583180 h 2895832"/>
              <a:gd name="connsiteX954" fmla="*/ 4583907 w 5127430"/>
              <a:gd name="connsiteY954" fmla="*/ 2568416 h 2895832"/>
              <a:gd name="connsiteX955" fmla="*/ 4574667 w 5127430"/>
              <a:gd name="connsiteY955" fmla="*/ 2541746 h 2895832"/>
              <a:gd name="connsiteX956" fmla="*/ 4568571 w 5127430"/>
              <a:gd name="connsiteY956" fmla="*/ 2530793 h 2895832"/>
              <a:gd name="connsiteX957" fmla="*/ 4573905 w 5127430"/>
              <a:gd name="connsiteY957" fmla="*/ 2520125 h 2895832"/>
              <a:gd name="connsiteX958" fmla="*/ 4568095 w 5127430"/>
              <a:gd name="connsiteY958" fmla="*/ 2515267 h 2895832"/>
              <a:gd name="connsiteX959" fmla="*/ 4551141 w 5127430"/>
              <a:gd name="connsiteY959" fmla="*/ 2515553 h 2895832"/>
              <a:gd name="connsiteX960" fmla="*/ 4549902 w 5127430"/>
              <a:gd name="connsiteY960" fmla="*/ 2512124 h 2895832"/>
              <a:gd name="connsiteX961" fmla="*/ 4559522 w 5127430"/>
              <a:gd name="connsiteY961" fmla="*/ 2504027 h 2895832"/>
              <a:gd name="connsiteX962" fmla="*/ 4576953 w 5127430"/>
              <a:gd name="connsiteY962" fmla="*/ 2475357 h 2895832"/>
              <a:gd name="connsiteX963" fmla="*/ 4590860 w 5127430"/>
              <a:gd name="connsiteY963" fmla="*/ 2466023 h 2895832"/>
              <a:gd name="connsiteX964" fmla="*/ 4599623 w 5127430"/>
              <a:gd name="connsiteY964" fmla="*/ 2442305 h 2895832"/>
              <a:gd name="connsiteX965" fmla="*/ 4586669 w 5127430"/>
              <a:gd name="connsiteY965" fmla="*/ 2446020 h 2895832"/>
              <a:gd name="connsiteX966" fmla="*/ 4570952 w 5127430"/>
              <a:gd name="connsiteY966" fmla="*/ 2456879 h 2895832"/>
              <a:gd name="connsiteX967" fmla="*/ 4556475 w 5127430"/>
              <a:gd name="connsiteY967" fmla="*/ 2457926 h 2895832"/>
              <a:gd name="connsiteX968" fmla="*/ 4521137 w 5127430"/>
              <a:gd name="connsiteY968" fmla="*/ 2467642 h 2895832"/>
              <a:gd name="connsiteX969" fmla="*/ 4506087 w 5127430"/>
              <a:gd name="connsiteY969" fmla="*/ 2452402 h 2895832"/>
              <a:gd name="connsiteX970" fmla="*/ 4477512 w 5127430"/>
              <a:gd name="connsiteY970" fmla="*/ 2438971 h 2895832"/>
              <a:gd name="connsiteX971" fmla="*/ 4509611 w 5127430"/>
              <a:gd name="connsiteY971" fmla="*/ 2430113 h 2895832"/>
              <a:gd name="connsiteX972" fmla="*/ 4544663 w 5127430"/>
              <a:gd name="connsiteY972" fmla="*/ 2441543 h 2895832"/>
              <a:gd name="connsiteX973" fmla="*/ 4569524 w 5127430"/>
              <a:gd name="connsiteY973" fmla="*/ 2429066 h 2895832"/>
              <a:gd name="connsiteX974" fmla="*/ 4580096 w 5127430"/>
              <a:gd name="connsiteY974" fmla="*/ 2418588 h 2895832"/>
              <a:gd name="connsiteX975" fmla="*/ 4593908 w 5127430"/>
              <a:gd name="connsiteY975" fmla="*/ 2414588 h 2895832"/>
              <a:gd name="connsiteX976" fmla="*/ 4605338 w 5127430"/>
              <a:gd name="connsiteY976" fmla="*/ 2408301 h 2895832"/>
              <a:gd name="connsiteX977" fmla="*/ 4606671 w 5127430"/>
              <a:gd name="connsiteY977" fmla="*/ 2399443 h 2895832"/>
              <a:gd name="connsiteX978" fmla="*/ 4604385 w 5127430"/>
              <a:gd name="connsiteY978" fmla="*/ 2385346 h 2895832"/>
              <a:gd name="connsiteX979" fmla="*/ 4609052 w 5127430"/>
              <a:gd name="connsiteY979" fmla="*/ 2386584 h 2895832"/>
              <a:gd name="connsiteX980" fmla="*/ 4613625 w 5127430"/>
              <a:gd name="connsiteY980" fmla="*/ 2381441 h 2895832"/>
              <a:gd name="connsiteX981" fmla="*/ 4609148 w 5127430"/>
              <a:gd name="connsiteY981" fmla="*/ 2372392 h 2895832"/>
              <a:gd name="connsiteX982" fmla="*/ 4599146 w 5127430"/>
              <a:gd name="connsiteY982" fmla="*/ 2363057 h 2895832"/>
              <a:gd name="connsiteX983" fmla="*/ 4564952 w 5127430"/>
              <a:gd name="connsiteY983" fmla="*/ 2349151 h 2895832"/>
              <a:gd name="connsiteX984" fmla="*/ 4506659 w 5127430"/>
              <a:gd name="connsiteY984" fmla="*/ 2348484 h 2895832"/>
              <a:gd name="connsiteX985" fmla="*/ 4467606 w 5127430"/>
              <a:gd name="connsiteY985" fmla="*/ 2356676 h 2895832"/>
              <a:gd name="connsiteX986" fmla="*/ 4384739 w 5127430"/>
              <a:gd name="connsiteY986" fmla="*/ 2391537 h 2895832"/>
              <a:gd name="connsiteX987" fmla="*/ 4351116 w 5127430"/>
              <a:gd name="connsiteY987" fmla="*/ 2410016 h 2895832"/>
              <a:gd name="connsiteX988" fmla="*/ 4326160 w 5127430"/>
              <a:gd name="connsiteY988" fmla="*/ 2421446 h 2895832"/>
              <a:gd name="connsiteX989" fmla="*/ 4310444 w 5127430"/>
              <a:gd name="connsiteY989" fmla="*/ 2438876 h 2895832"/>
              <a:gd name="connsiteX990" fmla="*/ 4294632 w 5127430"/>
              <a:gd name="connsiteY990" fmla="*/ 2448592 h 2895832"/>
              <a:gd name="connsiteX991" fmla="*/ 4231101 w 5127430"/>
              <a:gd name="connsiteY991" fmla="*/ 2520791 h 2895832"/>
              <a:gd name="connsiteX992" fmla="*/ 4213194 w 5127430"/>
              <a:gd name="connsiteY992" fmla="*/ 2522982 h 2895832"/>
              <a:gd name="connsiteX993" fmla="*/ 4235577 w 5127430"/>
              <a:gd name="connsiteY993" fmla="*/ 2486025 h 2895832"/>
              <a:gd name="connsiteX994" fmla="*/ 4249008 w 5127430"/>
              <a:gd name="connsiteY994" fmla="*/ 2477548 h 2895832"/>
              <a:gd name="connsiteX995" fmla="*/ 4266248 w 5127430"/>
              <a:gd name="connsiteY995" fmla="*/ 2453926 h 2895832"/>
              <a:gd name="connsiteX996" fmla="*/ 4280154 w 5127430"/>
              <a:gd name="connsiteY996" fmla="*/ 2428589 h 2895832"/>
              <a:gd name="connsiteX997" fmla="*/ 4308634 w 5127430"/>
              <a:gd name="connsiteY997" fmla="*/ 2399538 h 2895832"/>
              <a:gd name="connsiteX998" fmla="*/ 4316730 w 5127430"/>
              <a:gd name="connsiteY998" fmla="*/ 2388680 h 2895832"/>
              <a:gd name="connsiteX999" fmla="*/ 4323779 w 5127430"/>
              <a:gd name="connsiteY999" fmla="*/ 2381345 h 2895832"/>
              <a:gd name="connsiteX1000" fmla="*/ 4336066 w 5127430"/>
              <a:gd name="connsiteY1000" fmla="*/ 2375345 h 2895832"/>
              <a:gd name="connsiteX1001" fmla="*/ 4344258 w 5127430"/>
              <a:gd name="connsiteY1001" fmla="*/ 2366963 h 2895832"/>
              <a:gd name="connsiteX1002" fmla="*/ 4371499 w 5127430"/>
              <a:gd name="connsiteY1002" fmla="*/ 2354866 h 2895832"/>
              <a:gd name="connsiteX1003" fmla="*/ 4385025 w 5127430"/>
              <a:gd name="connsiteY1003" fmla="*/ 2343150 h 2895832"/>
              <a:gd name="connsiteX1004" fmla="*/ 4424649 w 5127430"/>
              <a:gd name="connsiteY1004" fmla="*/ 2334006 h 2895832"/>
              <a:gd name="connsiteX1005" fmla="*/ 4446842 w 5127430"/>
              <a:gd name="connsiteY1005" fmla="*/ 2289810 h 2895832"/>
              <a:gd name="connsiteX1006" fmla="*/ 4465511 w 5127430"/>
              <a:gd name="connsiteY1006" fmla="*/ 2278666 h 2895832"/>
              <a:gd name="connsiteX1007" fmla="*/ 4488561 w 5127430"/>
              <a:gd name="connsiteY1007" fmla="*/ 2274951 h 2895832"/>
              <a:gd name="connsiteX1008" fmla="*/ 4499420 w 5127430"/>
              <a:gd name="connsiteY1008" fmla="*/ 2269903 h 2895832"/>
              <a:gd name="connsiteX1009" fmla="*/ 4509230 w 5127430"/>
              <a:gd name="connsiteY1009" fmla="*/ 2269522 h 2895832"/>
              <a:gd name="connsiteX1010" fmla="*/ 4519136 w 5127430"/>
              <a:gd name="connsiteY1010" fmla="*/ 2270665 h 2895832"/>
              <a:gd name="connsiteX1011" fmla="*/ 4534091 w 5127430"/>
              <a:gd name="connsiteY1011" fmla="*/ 2266474 h 2895832"/>
              <a:gd name="connsiteX1012" fmla="*/ 4561713 w 5127430"/>
              <a:gd name="connsiteY1012" fmla="*/ 2268855 h 2895832"/>
              <a:gd name="connsiteX1013" fmla="*/ 4586383 w 5127430"/>
              <a:gd name="connsiteY1013" fmla="*/ 2264759 h 2895832"/>
              <a:gd name="connsiteX1014" fmla="*/ 4602385 w 5127430"/>
              <a:gd name="connsiteY1014" fmla="*/ 2268855 h 2895832"/>
              <a:gd name="connsiteX1015" fmla="*/ 4612482 w 5127430"/>
              <a:gd name="connsiteY1015" fmla="*/ 2270093 h 2895832"/>
              <a:gd name="connsiteX1016" fmla="*/ 4628484 w 5127430"/>
              <a:gd name="connsiteY1016" fmla="*/ 2266283 h 2895832"/>
              <a:gd name="connsiteX1017" fmla="*/ 4643057 w 5127430"/>
              <a:gd name="connsiteY1017" fmla="*/ 2272189 h 2895832"/>
              <a:gd name="connsiteX1018" fmla="*/ 4689729 w 5127430"/>
              <a:gd name="connsiteY1018" fmla="*/ 2266379 h 2895832"/>
              <a:gd name="connsiteX1019" fmla="*/ 4750499 w 5127430"/>
              <a:gd name="connsiteY1019" fmla="*/ 2275808 h 2895832"/>
              <a:gd name="connsiteX1020" fmla="*/ 4761071 w 5127430"/>
              <a:gd name="connsiteY1020" fmla="*/ 2281333 h 2895832"/>
              <a:gd name="connsiteX1021" fmla="*/ 4786884 w 5127430"/>
              <a:gd name="connsiteY1021" fmla="*/ 2273046 h 2895832"/>
              <a:gd name="connsiteX1022" fmla="*/ 4864608 w 5127430"/>
              <a:gd name="connsiteY1022" fmla="*/ 2269141 h 2895832"/>
              <a:gd name="connsiteX1023" fmla="*/ 4856036 w 5127430"/>
              <a:gd name="connsiteY1023" fmla="*/ 1988344 h 2895832"/>
              <a:gd name="connsiteX1024" fmla="*/ 4888707 w 5127430"/>
              <a:gd name="connsiteY1024" fmla="*/ 1984248 h 2895832"/>
              <a:gd name="connsiteX1025" fmla="*/ 4944714 w 5127430"/>
              <a:gd name="connsiteY1025" fmla="*/ 1961864 h 2895832"/>
              <a:gd name="connsiteX1026" fmla="*/ 4934522 w 5127430"/>
              <a:gd name="connsiteY1026" fmla="*/ 1991201 h 2895832"/>
              <a:gd name="connsiteX1027" fmla="*/ 4916234 w 5127430"/>
              <a:gd name="connsiteY1027" fmla="*/ 1999488 h 2895832"/>
              <a:gd name="connsiteX1028" fmla="*/ 4900708 w 5127430"/>
              <a:gd name="connsiteY1028" fmla="*/ 2011871 h 2895832"/>
              <a:gd name="connsiteX1029" fmla="*/ 4881658 w 5127430"/>
              <a:gd name="connsiteY1029" fmla="*/ 2015871 h 2895832"/>
              <a:gd name="connsiteX1030" fmla="*/ 4844987 w 5127430"/>
              <a:gd name="connsiteY1030" fmla="*/ 2025968 h 2895832"/>
              <a:gd name="connsiteX1031" fmla="*/ 4833461 w 5127430"/>
              <a:gd name="connsiteY1031" fmla="*/ 2021872 h 2895832"/>
              <a:gd name="connsiteX1032" fmla="*/ 4856036 w 5127430"/>
              <a:gd name="connsiteY1032" fmla="*/ 1988153 h 2895832"/>
              <a:gd name="connsiteX1033" fmla="*/ 3070003 w 5127430"/>
              <a:gd name="connsiteY1033" fmla="*/ 888683 h 2895832"/>
              <a:gd name="connsiteX1034" fmla="*/ 3178493 w 5127430"/>
              <a:gd name="connsiteY1034" fmla="*/ 948023 h 2895832"/>
              <a:gd name="connsiteX1035" fmla="*/ 3121057 w 5127430"/>
              <a:gd name="connsiteY1035" fmla="*/ 950786 h 2895832"/>
              <a:gd name="connsiteX1036" fmla="*/ 3049238 w 5127430"/>
              <a:gd name="connsiteY1036" fmla="*/ 898589 h 2895832"/>
              <a:gd name="connsiteX1037" fmla="*/ 3069908 w 5127430"/>
              <a:gd name="connsiteY1037" fmla="*/ 888683 h 2895832"/>
              <a:gd name="connsiteX1038" fmla="*/ 2866453 w 5127430"/>
              <a:gd name="connsiteY1038" fmla="*/ 537020 h 2895832"/>
              <a:gd name="connsiteX1039" fmla="*/ 2883122 w 5127430"/>
              <a:gd name="connsiteY1039" fmla="*/ 531781 h 2895832"/>
              <a:gd name="connsiteX1040" fmla="*/ 2886932 w 5127430"/>
              <a:gd name="connsiteY1040" fmla="*/ 536924 h 2895832"/>
              <a:gd name="connsiteX1041" fmla="*/ 2877788 w 5127430"/>
              <a:gd name="connsiteY1041" fmla="*/ 568071 h 2895832"/>
              <a:gd name="connsiteX1042" fmla="*/ 2866263 w 5127430"/>
              <a:gd name="connsiteY1042" fmla="*/ 559213 h 2895832"/>
              <a:gd name="connsiteX1043" fmla="*/ 2866453 w 5127430"/>
              <a:gd name="connsiteY1043" fmla="*/ 537020 h 2895832"/>
              <a:gd name="connsiteX1044" fmla="*/ 2764632 w 5127430"/>
              <a:gd name="connsiteY1044" fmla="*/ 176022 h 2895832"/>
              <a:gd name="connsiteX1045" fmla="*/ 2754440 w 5127430"/>
              <a:gd name="connsiteY1045" fmla="*/ 151638 h 2895832"/>
              <a:gd name="connsiteX1046" fmla="*/ 2770537 w 5127430"/>
              <a:gd name="connsiteY1046" fmla="*/ 152972 h 2895832"/>
              <a:gd name="connsiteX1047" fmla="*/ 2787491 w 5127430"/>
              <a:gd name="connsiteY1047" fmla="*/ 172879 h 2895832"/>
              <a:gd name="connsiteX1048" fmla="*/ 2764536 w 5127430"/>
              <a:gd name="connsiteY1048" fmla="*/ 176022 h 2895832"/>
              <a:gd name="connsiteX1049" fmla="*/ 1263777 w 5127430"/>
              <a:gd name="connsiteY1049" fmla="*/ 922782 h 2895832"/>
              <a:gd name="connsiteX1050" fmla="*/ 1276922 w 5127430"/>
              <a:gd name="connsiteY1050" fmla="*/ 929450 h 2895832"/>
              <a:gd name="connsiteX1051" fmla="*/ 1278636 w 5127430"/>
              <a:gd name="connsiteY1051" fmla="*/ 929450 h 2895832"/>
              <a:gd name="connsiteX1052" fmla="*/ 1286066 w 5127430"/>
              <a:gd name="connsiteY1052" fmla="*/ 934403 h 2895832"/>
              <a:gd name="connsiteX1053" fmla="*/ 1286923 w 5127430"/>
              <a:gd name="connsiteY1053" fmla="*/ 949643 h 2895832"/>
              <a:gd name="connsiteX1054" fmla="*/ 1260729 w 5127430"/>
              <a:gd name="connsiteY1054" fmla="*/ 954119 h 2895832"/>
              <a:gd name="connsiteX1055" fmla="*/ 1246442 w 5127430"/>
              <a:gd name="connsiteY1055" fmla="*/ 967454 h 2895832"/>
              <a:gd name="connsiteX1056" fmla="*/ 1235678 w 5127430"/>
              <a:gd name="connsiteY1056" fmla="*/ 970788 h 2895832"/>
              <a:gd name="connsiteX1057" fmla="*/ 1188339 w 5127430"/>
              <a:gd name="connsiteY1057" fmla="*/ 1001649 h 2895832"/>
              <a:gd name="connsiteX1058" fmla="*/ 1165384 w 5127430"/>
              <a:gd name="connsiteY1058" fmla="*/ 989171 h 2895832"/>
              <a:gd name="connsiteX1059" fmla="*/ 1176814 w 5127430"/>
              <a:gd name="connsiteY1059" fmla="*/ 978599 h 2895832"/>
              <a:gd name="connsiteX1060" fmla="*/ 1194816 w 5127430"/>
              <a:gd name="connsiteY1060" fmla="*/ 970502 h 2895832"/>
              <a:gd name="connsiteX1061" fmla="*/ 1200531 w 5127430"/>
              <a:gd name="connsiteY1061" fmla="*/ 961358 h 2895832"/>
              <a:gd name="connsiteX1062" fmla="*/ 1230344 w 5127430"/>
              <a:gd name="connsiteY1062" fmla="*/ 934498 h 2895832"/>
              <a:gd name="connsiteX1063" fmla="*/ 1223867 w 5127430"/>
              <a:gd name="connsiteY1063" fmla="*/ 924401 h 2895832"/>
              <a:gd name="connsiteX1064" fmla="*/ 1204627 w 5127430"/>
              <a:gd name="connsiteY1064" fmla="*/ 923354 h 2895832"/>
              <a:gd name="connsiteX1065" fmla="*/ 1162526 w 5127430"/>
              <a:gd name="connsiteY1065" fmla="*/ 948881 h 2895832"/>
              <a:gd name="connsiteX1066" fmla="*/ 1148810 w 5127430"/>
              <a:gd name="connsiteY1066" fmla="*/ 977360 h 2895832"/>
              <a:gd name="connsiteX1067" fmla="*/ 1126236 w 5127430"/>
              <a:gd name="connsiteY1067" fmla="*/ 984599 h 2895832"/>
              <a:gd name="connsiteX1068" fmla="*/ 1110710 w 5127430"/>
              <a:gd name="connsiteY1068" fmla="*/ 978884 h 2895832"/>
              <a:gd name="connsiteX1069" fmla="*/ 1071848 w 5127430"/>
              <a:gd name="connsiteY1069" fmla="*/ 976884 h 2895832"/>
              <a:gd name="connsiteX1070" fmla="*/ 1041749 w 5127430"/>
              <a:gd name="connsiteY1070" fmla="*/ 961930 h 2895832"/>
              <a:gd name="connsiteX1071" fmla="*/ 1088993 w 5127430"/>
              <a:gd name="connsiteY1071" fmla="*/ 950119 h 2895832"/>
              <a:gd name="connsiteX1072" fmla="*/ 1089946 w 5127430"/>
              <a:gd name="connsiteY1072" fmla="*/ 948785 h 2895832"/>
              <a:gd name="connsiteX1073" fmla="*/ 1090517 w 5127430"/>
              <a:gd name="connsiteY1073" fmla="*/ 939641 h 2895832"/>
              <a:gd name="connsiteX1074" fmla="*/ 1088231 w 5127430"/>
              <a:gd name="connsiteY1074" fmla="*/ 924211 h 2895832"/>
              <a:gd name="connsiteX1075" fmla="*/ 1113377 w 5127430"/>
              <a:gd name="connsiteY1075" fmla="*/ 915448 h 2895832"/>
              <a:gd name="connsiteX1076" fmla="*/ 1120331 w 5127430"/>
              <a:gd name="connsiteY1076" fmla="*/ 900398 h 2895832"/>
              <a:gd name="connsiteX1077" fmla="*/ 1102900 w 5127430"/>
              <a:gd name="connsiteY1077" fmla="*/ 886873 h 2895832"/>
              <a:gd name="connsiteX1078" fmla="*/ 1102900 w 5127430"/>
              <a:gd name="connsiteY1078" fmla="*/ 885444 h 2895832"/>
              <a:gd name="connsiteX1079" fmla="*/ 1107948 w 5127430"/>
              <a:gd name="connsiteY1079" fmla="*/ 880396 h 2895832"/>
              <a:gd name="connsiteX1080" fmla="*/ 1145762 w 5127430"/>
              <a:gd name="connsiteY1080" fmla="*/ 885444 h 2895832"/>
              <a:gd name="connsiteX1081" fmla="*/ 1157383 w 5127430"/>
              <a:gd name="connsiteY1081" fmla="*/ 889635 h 2895832"/>
              <a:gd name="connsiteX1082" fmla="*/ 1175195 w 5127430"/>
              <a:gd name="connsiteY1082" fmla="*/ 885158 h 2895832"/>
              <a:gd name="connsiteX1083" fmla="*/ 1177004 w 5127430"/>
              <a:gd name="connsiteY1083" fmla="*/ 874300 h 2895832"/>
              <a:gd name="connsiteX1084" fmla="*/ 1154621 w 5127430"/>
              <a:gd name="connsiteY1084" fmla="*/ 871157 h 2895832"/>
              <a:gd name="connsiteX1085" fmla="*/ 1135952 w 5127430"/>
              <a:gd name="connsiteY1085" fmla="*/ 859250 h 2895832"/>
              <a:gd name="connsiteX1086" fmla="*/ 1077087 w 5127430"/>
              <a:gd name="connsiteY1086" fmla="*/ 864299 h 2895832"/>
              <a:gd name="connsiteX1087" fmla="*/ 1074706 w 5127430"/>
              <a:gd name="connsiteY1087" fmla="*/ 873538 h 2895832"/>
              <a:gd name="connsiteX1088" fmla="*/ 1057847 w 5127430"/>
              <a:gd name="connsiteY1088" fmla="*/ 872585 h 2895832"/>
              <a:gd name="connsiteX1089" fmla="*/ 1048607 w 5127430"/>
              <a:gd name="connsiteY1089" fmla="*/ 869633 h 2895832"/>
              <a:gd name="connsiteX1090" fmla="*/ 1012031 w 5127430"/>
              <a:gd name="connsiteY1090" fmla="*/ 874967 h 2895832"/>
              <a:gd name="connsiteX1091" fmla="*/ 1001363 w 5127430"/>
              <a:gd name="connsiteY1091" fmla="*/ 869633 h 2895832"/>
              <a:gd name="connsiteX1092" fmla="*/ 982980 w 5127430"/>
              <a:gd name="connsiteY1092" fmla="*/ 875919 h 2895832"/>
              <a:gd name="connsiteX1093" fmla="*/ 977741 w 5127430"/>
              <a:gd name="connsiteY1093" fmla="*/ 886778 h 2895832"/>
              <a:gd name="connsiteX1094" fmla="*/ 962787 w 5127430"/>
              <a:gd name="connsiteY1094" fmla="*/ 886111 h 2895832"/>
              <a:gd name="connsiteX1095" fmla="*/ 948881 w 5127430"/>
              <a:gd name="connsiteY1095" fmla="*/ 867823 h 2895832"/>
              <a:gd name="connsiteX1096" fmla="*/ 960311 w 5127430"/>
              <a:gd name="connsiteY1096" fmla="*/ 849344 h 2895832"/>
              <a:gd name="connsiteX1097" fmla="*/ 987933 w 5127430"/>
              <a:gd name="connsiteY1097" fmla="*/ 849059 h 2895832"/>
              <a:gd name="connsiteX1098" fmla="*/ 1002030 w 5127430"/>
              <a:gd name="connsiteY1098" fmla="*/ 843534 h 2895832"/>
              <a:gd name="connsiteX1099" fmla="*/ 1020985 w 5127430"/>
              <a:gd name="connsiteY1099" fmla="*/ 844201 h 2895832"/>
              <a:gd name="connsiteX1100" fmla="*/ 1074706 w 5127430"/>
              <a:gd name="connsiteY1100" fmla="*/ 829818 h 2895832"/>
              <a:gd name="connsiteX1101" fmla="*/ 1140905 w 5127430"/>
              <a:gd name="connsiteY1101" fmla="*/ 818198 h 2895832"/>
              <a:gd name="connsiteX1102" fmla="*/ 1195483 w 5127430"/>
              <a:gd name="connsiteY1102" fmla="*/ 794480 h 2895832"/>
              <a:gd name="connsiteX1103" fmla="*/ 1273969 w 5127430"/>
              <a:gd name="connsiteY1103" fmla="*/ 783431 h 2895832"/>
              <a:gd name="connsiteX1104" fmla="*/ 1302449 w 5127430"/>
              <a:gd name="connsiteY1104" fmla="*/ 801053 h 2895832"/>
              <a:gd name="connsiteX1105" fmla="*/ 1239107 w 5127430"/>
              <a:gd name="connsiteY1105" fmla="*/ 830390 h 2895832"/>
              <a:gd name="connsiteX1106" fmla="*/ 1236059 w 5127430"/>
              <a:gd name="connsiteY1106" fmla="*/ 843439 h 2895832"/>
              <a:gd name="connsiteX1107" fmla="*/ 1259300 w 5127430"/>
              <a:gd name="connsiteY1107" fmla="*/ 845820 h 2895832"/>
              <a:gd name="connsiteX1108" fmla="*/ 1271778 w 5127430"/>
              <a:gd name="connsiteY1108" fmla="*/ 851154 h 2895832"/>
              <a:gd name="connsiteX1109" fmla="*/ 1349883 w 5127430"/>
              <a:gd name="connsiteY1109" fmla="*/ 843343 h 2895832"/>
              <a:gd name="connsiteX1110" fmla="*/ 1373981 w 5127430"/>
              <a:gd name="connsiteY1110" fmla="*/ 822103 h 2895832"/>
              <a:gd name="connsiteX1111" fmla="*/ 1394841 w 5127430"/>
              <a:gd name="connsiteY1111" fmla="*/ 821341 h 2895832"/>
              <a:gd name="connsiteX1112" fmla="*/ 1364075 w 5127430"/>
              <a:gd name="connsiteY1112" fmla="*/ 896017 h 2895832"/>
              <a:gd name="connsiteX1113" fmla="*/ 1333214 w 5127430"/>
              <a:gd name="connsiteY1113" fmla="*/ 915638 h 2895832"/>
              <a:gd name="connsiteX1114" fmla="*/ 1313974 w 5127430"/>
              <a:gd name="connsiteY1114" fmla="*/ 903351 h 2895832"/>
              <a:gd name="connsiteX1115" fmla="*/ 1273016 w 5127430"/>
              <a:gd name="connsiteY1115" fmla="*/ 907923 h 2895832"/>
              <a:gd name="connsiteX1116" fmla="*/ 1263968 w 5127430"/>
              <a:gd name="connsiteY1116" fmla="*/ 922782 h 2895832"/>
              <a:gd name="connsiteX1117" fmla="*/ 1325785 w 5127430"/>
              <a:gd name="connsiteY1117" fmla="*/ 967931 h 2895832"/>
              <a:gd name="connsiteX1118" fmla="*/ 1349788 w 5127430"/>
              <a:gd name="connsiteY1118" fmla="*/ 949738 h 2895832"/>
              <a:gd name="connsiteX1119" fmla="*/ 1369981 w 5127430"/>
              <a:gd name="connsiteY1119" fmla="*/ 1001935 h 2895832"/>
              <a:gd name="connsiteX1120" fmla="*/ 1339787 w 5127430"/>
              <a:gd name="connsiteY1120" fmla="*/ 999649 h 2895832"/>
              <a:gd name="connsiteX1121" fmla="*/ 1325785 w 5127430"/>
              <a:gd name="connsiteY1121" fmla="*/ 967931 h 2895832"/>
              <a:gd name="connsiteX1122" fmla="*/ 1420273 w 5127430"/>
              <a:gd name="connsiteY1122" fmla="*/ 1160717 h 2895832"/>
              <a:gd name="connsiteX1123" fmla="*/ 1385983 w 5127430"/>
              <a:gd name="connsiteY1123" fmla="*/ 1166813 h 2895832"/>
              <a:gd name="connsiteX1124" fmla="*/ 1358551 w 5127430"/>
              <a:gd name="connsiteY1124" fmla="*/ 1147763 h 2895832"/>
              <a:gd name="connsiteX1125" fmla="*/ 1337977 w 5127430"/>
              <a:gd name="connsiteY1125" fmla="*/ 1135475 h 2895832"/>
              <a:gd name="connsiteX1126" fmla="*/ 1376172 w 5127430"/>
              <a:gd name="connsiteY1126" fmla="*/ 1118140 h 2895832"/>
              <a:gd name="connsiteX1127" fmla="*/ 1392365 w 5127430"/>
              <a:gd name="connsiteY1127" fmla="*/ 1131284 h 2895832"/>
              <a:gd name="connsiteX1128" fmla="*/ 1408271 w 5127430"/>
              <a:gd name="connsiteY1128" fmla="*/ 1137666 h 2895832"/>
              <a:gd name="connsiteX1129" fmla="*/ 1420273 w 5127430"/>
              <a:gd name="connsiteY1129" fmla="*/ 1160812 h 2895832"/>
              <a:gd name="connsiteX1130" fmla="*/ 1652016 w 5127430"/>
              <a:gd name="connsiteY1130" fmla="*/ 850487 h 2895832"/>
              <a:gd name="connsiteX1131" fmla="*/ 1652016 w 5127430"/>
              <a:gd name="connsiteY1131" fmla="*/ 850487 h 2895832"/>
              <a:gd name="connsiteX1132" fmla="*/ 1655540 w 5127430"/>
              <a:gd name="connsiteY1132" fmla="*/ 842582 h 2895832"/>
              <a:gd name="connsiteX1133" fmla="*/ 1677162 w 5127430"/>
              <a:gd name="connsiteY1133" fmla="*/ 827818 h 2895832"/>
              <a:gd name="connsiteX1134" fmla="*/ 1692497 w 5127430"/>
              <a:gd name="connsiteY1134" fmla="*/ 840867 h 2895832"/>
              <a:gd name="connsiteX1135" fmla="*/ 1690878 w 5127430"/>
              <a:gd name="connsiteY1135" fmla="*/ 872585 h 2895832"/>
              <a:gd name="connsiteX1136" fmla="*/ 1661541 w 5127430"/>
              <a:gd name="connsiteY1136" fmla="*/ 873919 h 2895832"/>
              <a:gd name="connsiteX1137" fmla="*/ 1650016 w 5127430"/>
              <a:gd name="connsiteY1137" fmla="*/ 859060 h 2895832"/>
              <a:gd name="connsiteX1138" fmla="*/ 1651921 w 5127430"/>
              <a:gd name="connsiteY1138" fmla="*/ 850487 h 2895832"/>
              <a:gd name="connsiteX1139" fmla="*/ 1748504 w 5127430"/>
              <a:gd name="connsiteY1139" fmla="*/ 1607344 h 2895832"/>
              <a:gd name="connsiteX1140" fmla="*/ 1721644 w 5127430"/>
              <a:gd name="connsiteY1140" fmla="*/ 1601915 h 2895832"/>
              <a:gd name="connsiteX1141" fmla="*/ 1716596 w 5127430"/>
              <a:gd name="connsiteY1141" fmla="*/ 1589532 h 2895832"/>
              <a:gd name="connsiteX1142" fmla="*/ 1700975 w 5127430"/>
              <a:gd name="connsiteY1142" fmla="*/ 1577816 h 2895832"/>
              <a:gd name="connsiteX1143" fmla="*/ 1715262 w 5127430"/>
              <a:gd name="connsiteY1143" fmla="*/ 1559052 h 2895832"/>
              <a:gd name="connsiteX1144" fmla="*/ 1753934 w 5127430"/>
              <a:gd name="connsiteY1144" fmla="*/ 1571435 h 2895832"/>
              <a:gd name="connsiteX1145" fmla="*/ 1748504 w 5127430"/>
              <a:gd name="connsiteY1145" fmla="*/ 1607344 h 2895832"/>
              <a:gd name="connsiteX1146" fmla="*/ 1752505 w 5127430"/>
              <a:gd name="connsiteY1146" fmla="*/ 1276636 h 2895832"/>
              <a:gd name="connsiteX1147" fmla="*/ 1729835 w 5127430"/>
              <a:gd name="connsiteY1147" fmla="*/ 1303020 h 2895832"/>
              <a:gd name="connsiteX1148" fmla="*/ 1696688 w 5127430"/>
              <a:gd name="connsiteY1148" fmla="*/ 1317498 h 2895832"/>
              <a:gd name="connsiteX1149" fmla="*/ 1672209 w 5127430"/>
              <a:gd name="connsiteY1149" fmla="*/ 1314831 h 2895832"/>
              <a:gd name="connsiteX1150" fmla="*/ 1647158 w 5127430"/>
              <a:gd name="connsiteY1150" fmla="*/ 1323880 h 2895832"/>
              <a:gd name="connsiteX1151" fmla="*/ 1642396 w 5127430"/>
              <a:gd name="connsiteY1151" fmla="*/ 1343216 h 2895832"/>
              <a:gd name="connsiteX1152" fmla="*/ 1624679 w 5127430"/>
              <a:gd name="connsiteY1152" fmla="*/ 1359980 h 2895832"/>
              <a:gd name="connsiteX1153" fmla="*/ 1605439 w 5127430"/>
              <a:gd name="connsiteY1153" fmla="*/ 1358170 h 2895832"/>
              <a:gd name="connsiteX1154" fmla="*/ 1509617 w 5127430"/>
              <a:gd name="connsiteY1154" fmla="*/ 1372267 h 2895832"/>
              <a:gd name="connsiteX1155" fmla="*/ 1470279 w 5127430"/>
              <a:gd name="connsiteY1155" fmla="*/ 1356551 h 2895832"/>
              <a:gd name="connsiteX1156" fmla="*/ 1454753 w 5127430"/>
              <a:gd name="connsiteY1156" fmla="*/ 1327404 h 2895832"/>
              <a:gd name="connsiteX1157" fmla="*/ 1491901 w 5127430"/>
              <a:gd name="connsiteY1157" fmla="*/ 1330071 h 2895832"/>
              <a:gd name="connsiteX1158" fmla="*/ 1520857 w 5127430"/>
              <a:gd name="connsiteY1158" fmla="*/ 1286637 h 2895832"/>
              <a:gd name="connsiteX1159" fmla="*/ 1557718 w 5127430"/>
              <a:gd name="connsiteY1159" fmla="*/ 1285970 h 2895832"/>
              <a:gd name="connsiteX1160" fmla="*/ 1573244 w 5127430"/>
              <a:gd name="connsiteY1160" fmla="*/ 1278160 h 2895832"/>
              <a:gd name="connsiteX1161" fmla="*/ 1546384 w 5127430"/>
              <a:gd name="connsiteY1161" fmla="*/ 1245870 h 2895832"/>
              <a:gd name="connsiteX1162" fmla="*/ 1525143 w 5127430"/>
              <a:gd name="connsiteY1162" fmla="*/ 1206722 h 2895832"/>
              <a:gd name="connsiteX1163" fmla="*/ 1574006 w 5127430"/>
              <a:gd name="connsiteY1163" fmla="*/ 1226344 h 2895832"/>
              <a:gd name="connsiteX1164" fmla="*/ 1595152 w 5127430"/>
              <a:gd name="connsiteY1164" fmla="*/ 1223867 h 2895832"/>
              <a:gd name="connsiteX1165" fmla="*/ 1646777 w 5127430"/>
              <a:gd name="connsiteY1165" fmla="*/ 1255681 h 2895832"/>
              <a:gd name="connsiteX1166" fmla="*/ 1702975 w 5127430"/>
              <a:gd name="connsiteY1166" fmla="*/ 1253109 h 2895832"/>
              <a:gd name="connsiteX1167" fmla="*/ 1773269 w 5127430"/>
              <a:gd name="connsiteY1167" fmla="*/ 1209770 h 2895832"/>
              <a:gd name="connsiteX1168" fmla="*/ 1836420 w 5127430"/>
              <a:gd name="connsiteY1168" fmla="*/ 1197197 h 2895832"/>
              <a:gd name="connsiteX1169" fmla="*/ 1864614 w 5127430"/>
              <a:gd name="connsiteY1169" fmla="*/ 1203674 h 2895832"/>
              <a:gd name="connsiteX1170" fmla="*/ 1831086 w 5127430"/>
              <a:gd name="connsiteY1170" fmla="*/ 1225772 h 2895832"/>
              <a:gd name="connsiteX1171" fmla="*/ 1792605 w 5127430"/>
              <a:gd name="connsiteY1171" fmla="*/ 1235678 h 2895832"/>
              <a:gd name="connsiteX1172" fmla="*/ 1784604 w 5127430"/>
              <a:gd name="connsiteY1172" fmla="*/ 1251490 h 2895832"/>
              <a:gd name="connsiteX1173" fmla="*/ 1752600 w 5127430"/>
              <a:gd name="connsiteY1173" fmla="*/ 1276636 h 2895832"/>
              <a:gd name="connsiteX1174" fmla="*/ 1986820 w 5127430"/>
              <a:gd name="connsiteY1174" fmla="*/ 1517523 h 2895832"/>
              <a:gd name="connsiteX1175" fmla="*/ 1927479 w 5127430"/>
              <a:gd name="connsiteY1175" fmla="*/ 1533335 h 2895832"/>
              <a:gd name="connsiteX1176" fmla="*/ 1906048 w 5127430"/>
              <a:gd name="connsiteY1176" fmla="*/ 1531239 h 2895832"/>
              <a:gd name="connsiteX1177" fmla="*/ 1892141 w 5127430"/>
              <a:gd name="connsiteY1177" fmla="*/ 1536097 h 2895832"/>
              <a:gd name="connsiteX1178" fmla="*/ 1870424 w 5127430"/>
              <a:gd name="connsiteY1178" fmla="*/ 1540002 h 2895832"/>
              <a:gd name="connsiteX1179" fmla="*/ 1846421 w 5127430"/>
              <a:gd name="connsiteY1179" fmla="*/ 1552004 h 2895832"/>
              <a:gd name="connsiteX1180" fmla="*/ 1835277 w 5127430"/>
              <a:gd name="connsiteY1180" fmla="*/ 1574483 h 2895832"/>
              <a:gd name="connsiteX1181" fmla="*/ 1788890 w 5127430"/>
              <a:gd name="connsiteY1181" fmla="*/ 1575340 h 2895832"/>
              <a:gd name="connsiteX1182" fmla="*/ 1815370 w 5127430"/>
              <a:gd name="connsiteY1182" fmla="*/ 1533430 h 2895832"/>
              <a:gd name="connsiteX1183" fmla="*/ 1831848 w 5127430"/>
              <a:gd name="connsiteY1183" fmla="*/ 1526477 h 2895832"/>
              <a:gd name="connsiteX1184" fmla="*/ 1860042 w 5127430"/>
              <a:gd name="connsiteY1184" fmla="*/ 1509998 h 2895832"/>
              <a:gd name="connsiteX1185" fmla="*/ 1884521 w 5127430"/>
              <a:gd name="connsiteY1185" fmla="*/ 1486948 h 2895832"/>
              <a:gd name="connsiteX1186" fmla="*/ 1926527 w 5127430"/>
              <a:gd name="connsiteY1186" fmla="*/ 1489901 h 2895832"/>
              <a:gd name="connsiteX1187" fmla="*/ 1929860 w 5127430"/>
              <a:gd name="connsiteY1187" fmla="*/ 1499330 h 2895832"/>
              <a:gd name="connsiteX1188" fmla="*/ 1957007 w 5127430"/>
              <a:gd name="connsiteY1188" fmla="*/ 1497044 h 2895832"/>
              <a:gd name="connsiteX1189" fmla="*/ 1987963 w 5127430"/>
              <a:gd name="connsiteY1189" fmla="*/ 1502093 h 2895832"/>
              <a:gd name="connsiteX1190" fmla="*/ 1987010 w 5127430"/>
              <a:gd name="connsiteY1190" fmla="*/ 1517523 h 2895832"/>
              <a:gd name="connsiteX1191" fmla="*/ 2120932 w 5127430"/>
              <a:gd name="connsiteY1191" fmla="*/ 1809369 h 2895832"/>
              <a:gd name="connsiteX1192" fmla="*/ 2156936 w 5127430"/>
              <a:gd name="connsiteY1192" fmla="*/ 1802321 h 2895832"/>
              <a:gd name="connsiteX1193" fmla="*/ 2162270 w 5127430"/>
              <a:gd name="connsiteY1193" fmla="*/ 1827467 h 2895832"/>
              <a:gd name="connsiteX1194" fmla="*/ 2142363 w 5127430"/>
              <a:gd name="connsiteY1194" fmla="*/ 1844421 h 2895832"/>
              <a:gd name="connsiteX1195" fmla="*/ 2105597 w 5127430"/>
              <a:gd name="connsiteY1195" fmla="*/ 1838230 h 2895832"/>
              <a:gd name="connsiteX1196" fmla="*/ 2120932 w 5127430"/>
              <a:gd name="connsiteY1196" fmla="*/ 1809369 h 2895832"/>
              <a:gd name="connsiteX1197" fmla="*/ 2158937 w 5127430"/>
              <a:gd name="connsiteY1197" fmla="*/ 1902809 h 2895832"/>
              <a:gd name="connsiteX1198" fmla="*/ 2139791 w 5127430"/>
              <a:gd name="connsiteY1198" fmla="*/ 1896237 h 2895832"/>
              <a:gd name="connsiteX1199" fmla="*/ 2141220 w 5127430"/>
              <a:gd name="connsiteY1199" fmla="*/ 1868329 h 2895832"/>
              <a:gd name="connsiteX1200" fmla="*/ 2151126 w 5127430"/>
              <a:gd name="connsiteY1200" fmla="*/ 1860804 h 2895832"/>
              <a:gd name="connsiteX1201" fmla="*/ 2183511 w 5127430"/>
              <a:gd name="connsiteY1201" fmla="*/ 1870519 h 2895832"/>
              <a:gd name="connsiteX1202" fmla="*/ 2158937 w 5127430"/>
              <a:gd name="connsiteY1202" fmla="*/ 1902809 h 2895832"/>
              <a:gd name="connsiteX1203" fmla="*/ 2579656 w 5127430"/>
              <a:gd name="connsiteY1203" fmla="*/ 696278 h 2895832"/>
              <a:gd name="connsiteX1204" fmla="*/ 2601087 w 5127430"/>
              <a:gd name="connsiteY1204" fmla="*/ 678847 h 2895832"/>
              <a:gd name="connsiteX1205" fmla="*/ 2632996 w 5127430"/>
              <a:gd name="connsiteY1205" fmla="*/ 691991 h 2895832"/>
              <a:gd name="connsiteX1206" fmla="*/ 2625947 w 5127430"/>
              <a:gd name="connsiteY1206" fmla="*/ 713042 h 2895832"/>
              <a:gd name="connsiteX1207" fmla="*/ 2618899 w 5127430"/>
              <a:gd name="connsiteY1207" fmla="*/ 714089 h 2895832"/>
              <a:gd name="connsiteX1208" fmla="*/ 2617280 w 5127430"/>
              <a:gd name="connsiteY1208" fmla="*/ 712661 h 2895832"/>
              <a:gd name="connsiteX1209" fmla="*/ 2607469 w 5127430"/>
              <a:gd name="connsiteY1209" fmla="*/ 718090 h 2895832"/>
              <a:gd name="connsiteX1210" fmla="*/ 2584514 w 5127430"/>
              <a:gd name="connsiteY1210" fmla="*/ 712375 h 2895832"/>
              <a:gd name="connsiteX1211" fmla="*/ 2579751 w 5127430"/>
              <a:gd name="connsiteY1211" fmla="*/ 696182 h 2895832"/>
              <a:gd name="connsiteX1212" fmla="*/ 2595563 w 5127430"/>
              <a:gd name="connsiteY1212" fmla="*/ 1180719 h 2895832"/>
              <a:gd name="connsiteX1213" fmla="*/ 2621090 w 5127430"/>
              <a:gd name="connsiteY1213" fmla="*/ 1221200 h 2895832"/>
              <a:gd name="connsiteX1214" fmla="*/ 2584990 w 5127430"/>
              <a:gd name="connsiteY1214" fmla="*/ 1226058 h 2895832"/>
              <a:gd name="connsiteX1215" fmla="*/ 2554986 w 5127430"/>
              <a:gd name="connsiteY1215" fmla="*/ 1205484 h 2895832"/>
              <a:gd name="connsiteX1216" fmla="*/ 2550795 w 5127430"/>
              <a:gd name="connsiteY1216" fmla="*/ 1195769 h 2895832"/>
              <a:gd name="connsiteX1217" fmla="*/ 2595563 w 5127430"/>
              <a:gd name="connsiteY1217" fmla="*/ 1180814 h 2895832"/>
              <a:gd name="connsiteX1218" fmla="*/ 2438686 w 5127430"/>
              <a:gd name="connsiteY1218" fmla="*/ 2004346 h 2895832"/>
              <a:gd name="connsiteX1219" fmla="*/ 2446687 w 5127430"/>
              <a:gd name="connsiteY1219" fmla="*/ 2006918 h 2895832"/>
              <a:gd name="connsiteX1220" fmla="*/ 2462594 w 5127430"/>
              <a:gd name="connsiteY1220" fmla="*/ 2031206 h 2895832"/>
              <a:gd name="connsiteX1221" fmla="*/ 2480691 w 5127430"/>
              <a:gd name="connsiteY1221" fmla="*/ 2046256 h 2895832"/>
              <a:gd name="connsiteX1222" fmla="*/ 2483549 w 5127430"/>
              <a:gd name="connsiteY1222" fmla="*/ 2060829 h 2895832"/>
              <a:gd name="connsiteX1223" fmla="*/ 2438305 w 5127430"/>
              <a:gd name="connsiteY1223" fmla="*/ 2050256 h 2895832"/>
              <a:gd name="connsiteX1224" fmla="*/ 2409444 w 5127430"/>
              <a:gd name="connsiteY1224" fmla="*/ 2021205 h 2895832"/>
              <a:gd name="connsiteX1225" fmla="*/ 2438591 w 5127430"/>
              <a:gd name="connsiteY1225" fmla="*/ 2004441 h 2895832"/>
              <a:gd name="connsiteX1226" fmla="*/ 2304574 w 5127430"/>
              <a:gd name="connsiteY1226" fmla="*/ 1409033 h 2895832"/>
              <a:gd name="connsiteX1227" fmla="*/ 2307622 w 5127430"/>
              <a:gd name="connsiteY1227" fmla="*/ 1390269 h 2895832"/>
              <a:gd name="connsiteX1228" fmla="*/ 2317147 w 5127430"/>
              <a:gd name="connsiteY1228" fmla="*/ 1379792 h 2895832"/>
              <a:gd name="connsiteX1229" fmla="*/ 2327815 w 5127430"/>
              <a:gd name="connsiteY1229" fmla="*/ 1389031 h 2895832"/>
              <a:gd name="connsiteX1230" fmla="*/ 2343341 w 5127430"/>
              <a:gd name="connsiteY1230" fmla="*/ 1406747 h 2895832"/>
              <a:gd name="connsiteX1231" fmla="*/ 2353151 w 5127430"/>
              <a:gd name="connsiteY1231" fmla="*/ 1437418 h 2895832"/>
              <a:gd name="connsiteX1232" fmla="*/ 2335244 w 5127430"/>
              <a:gd name="connsiteY1232" fmla="*/ 1450277 h 2895832"/>
              <a:gd name="connsiteX1233" fmla="*/ 2319909 w 5127430"/>
              <a:gd name="connsiteY1233" fmla="*/ 1440752 h 2895832"/>
              <a:gd name="connsiteX1234" fmla="*/ 2294763 w 5127430"/>
              <a:gd name="connsiteY1234" fmla="*/ 1431989 h 2895832"/>
              <a:gd name="connsiteX1235" fmla="*/ 2304574 w 5127430"/>
              <a:gd name="connsiteY1235" fmla="*/ 1409033 h 2895832"/>
              <a:gd name="connsiteX1236" fmla="*/ 2286762 w 5127430"/>
              <a:gd name="connsiteY1236" fmla="*/ 1608963 h 2895832"/>
              <a:gd name="connsiteX1237" fmla="*/ 2255806 w 5127430"/>
              <a:gd name="connsiteY1237" fmla="*/ 1652969 h 2895832"/>
              <a:gd name="connsiteX1238" fmla="*/ 2223611 w 5127430"/>
              <a:gd name="connsiteY1238" fmla="*/ 1633347 h 2895832"/>
              <a:gd name="connsiteX1239" fmla="*/ 2237423 w 5127430"/>
              <a:gd name="connsiteY1239" fmla="*/ 1585722 h 2895832"/>
              <a:gd name="connsiteX1240" fmla="*/ 2270665 w 5127430"/>
              <a:gd name="connsiteY1240" fmla="*/ 1583627 h 2895832"/>
              <a:gd name="connsiteX1241" fmla="*/ 2286762 w 5127430"/>
              <a:gd name="connsiteY1241" fmla="*/ 1608963 h 2895832"/>
              <a:gd name="connsiteX1242" fmla="*/ 2366963 w 5127430"/>
              <a:gd name="connsiteY1242" fmla="*/ 1657255 h 2895832"/>
              <a:gd name="connsiteX1243" fmla="*/ 2336387 w 5127430"/>
              <a:gd name="connsiteY1243" fmla="*/ 1690497 h 2895832"/>
              <a:gd name="connsiteX1244" fmla="*/ 2336578 w 5127430"/>
              <a:gd name="connsiteY1244" fmla="*/ 1706785 h 2895832"/>
              <a:gd name="connsiteX1245" fmla="*/ 2329053 w 5127430"/>
              <a:gd name="connsiteY1245" fmla="*/ 1717739 h 2895832"/>
              <a:gd name="connsiteX1246" fmla="*/ 2323719 w 5127430"/>
              <a:gd name="connsiteY1246" fmla="*/ 1738503 h 2895832"/>
              <a:gd name="connsiteX1247" fmla="*/ 2302955 w 5127430"/>
              <a:gd name="connsiteY1247" fmla="*/ 1736217 h 2895832"/>
              <a:gd name="connsiteX1248" fmla="*/ 2300573 w 5127430"/>
              <a:gd name="connsiteY1248" fmla="*/ 1710690 h 2895832"/>
              <a:gd name="connsiteX1249" fmla="*/ 2292382 w 5127430"/>
              <a:gd name="connsiteY1249" fmla="*/ 1684020 h 2895832"/>
              <a:gd name="connsiteX1250" fmla="*/ 2321814 w 5127430"/>
              <a:gd name="connsiteY1250" fmla="*/ 1644396 h 2895832"/>
              <a:gd name="connsiteX1251" fmla="*/ 2371154 w 5127430"/>
              <a:gd name="connsiteY1251" fmla="*/ 1644110 h 2895832"/>
              <a:gd name="connsiteX1252" fmla="*/ 2367058 w 5127430"/>
              <a:gd name="connsiteY1252" fmla="*/ 1657350 h 2895832"/>
              <a:gd name="connsiteX1253" fmla="*/ 2376392 w 5127430"/>
              <a:gd name="connsiteY1253" fmla="*/ 1202055 h 2895832"/>
              <a:gd name="connsiteX1254" fmla="*/ 2368677 w 5127430"/>
              <a:gd name="connsiteY1254" fmla="*/ 1192054 h 2895832"/>
              <a:gd name="connsiteX1255" fmla="*/ 2344674 w 5127430"/>
              <a:gd name="connsiteY1255" fmla="*/ 1186815 h 2895832"/>
              <a:gd name="connsiteX1256" fmla="*/ 2331625 w 5127430"/>
              <a:gd name="connsiteY1256" fmla="*/ 1158716 h 2895832"/>
              <a:gd name="connsiteX1257" fmla="*/ 2357914 w 5127430"/>
              <a:gd name="connsiteY1257" fmla="*/ 1132904 h 2895832"/>
              <a:gd name="connsiteX1258" fmla="*/ 2383536 w 5127430"/>
              <a:gd name="connsiteY1258" fmla="*/ 1134428 h 2895832"/>
              <a:gd name="connsiteX1259" fmla="*/ 2394680 w 5127430"/>
              <a:gd name="connsiteY1259" fmla="*/ 1160145 h 2895832"/>
              <a:gd name="connsiteX1260" fmla="*/ 2406491 w 5127430"/>
              <a:gd name="connsiteY1260" fmla="*/ 1170242 h 2895832"/>
              <a:gd name="connsiteX1261" fmla="*/ 2397347 w 5127430"/>
              <a:gd name="connsiteY1261" fmla="*/ 1197388 h 2895832"/>
              <a:gd name="connsiteX1262" fmla="*/ 2376297 w 5127430"/>
              <a:gd name="connsiteY1262" fmla="*/ 1202055 h 2895832"/>
              <a:gd name="connsiteX1263" fmla="*/ 2511076 w 5127430"/>
              <a:gd name="connsiteY1263" fmla="*/ 2193512 h 2895832"/>
              <a:gd name="connsiteX1264" fmla="*/ 2493264 w 5127430"/>
              <a:gd name="connsiteY1264" fmla="*/ 2171319 h 2895832"/>
              <a:gd name="connsiteX1265" fmla="*/ 2450211 w 5127430"/>
              <a:gd name="connsiteY1265" fmla="*/ 2151507 h 2895832"/>
              <a:gd name="connsiteX1266" fmla="*/ 2447163 w 5127430"/>
              <a:gd name="connsiteY1266" fmla="*/ 2110264 h 2895832"/>
              <a:gd name="connsiteX1267" fmla="*/ 2414969 w 5127430"/>
              <a:gd name="connsiteY1267" fmla="*/ 2112550 h 2895832"/>
              <a:gd name="connsiteX1268" fmla="*/ 2400967 w 5127430"/>
              <a:gd name="connsiteY1268" fmla="*/ 2072831 h 2895832"/>
              <a:gd name="connsiteX1269" fmla="*/ 2435162 w 5127430"/>
              <a:gd name="connsiteY1269" fmla="*/ 2068259 h 2895832"/>
              <a:gd name="connsiteX1270" fmla="*/ 2484977 w 5127430"/>
              <a:gd name="connsiteY1270" fmla="*/ 2093881 h 2895832"/>
              <a:gd name="connsiteX1271" fmla="*/ 2488120 w 5127430"/>
              <a:gd name="connsiteY1271" fmla="*/ 2142363 h 2895832"/>
              <a:gd name="connsiteX1272" fmla="*/ 2531078 w 5127430"/>
              <a:gd name="connsiteY1272" fmla="*/ 2155222 h 2895832"/>
              <a:gd name="connsiteX1273" fmla="*/ 2539937 w 5127430"/>
              <a:gd name="connsiteY1273" fmla="*/ 2190179 h 2895832"/>
              <a:gd name="connsiteX1274" fmla="*/ 2511076 w 5127430"/>
              <a:gd name="connsiteY1274" fmla="*/ 2193512 h 2895832"/>
              <a:gd name="connsiteX1275" fmla="*/ 2588609 w 5127430"/>
              <a:gd name="connsiteY1275" fmla="*/ 2268855 h 2895832"/>
              <a:gd name="connsiteX1276" fmla="*/ 2551462 w 5127430"/>
              <a:gd name="connsiteY1276" fmla="*/ 2283428 h 2895832"/>
              <a:gd name="connsiteX1277" fmla="*/ 2537365 w 5127430"/>
              <a:gd name="connsiteY1277" fmla="*/ 2266093 h 2895832"/>
              <a:gd name="connsiteX1278" fmla="*/ 2535936 w 5127430"/>
              <a:gd name="connsiteY1278" fmla="*/ 2245709 h 2895832"/>
              <a:gd name="connsiteX1279" fmla="*/ 2523363 w 5127430"/>
              <a:gd name="connsiteY1279" fmla="*/ 2213896 h 2895832"/>
              <a:gd name="connsiteX1280" fmla="*/ 2560701 w 5127430"/>
              <a:gd name="connsiteY1280" fmla="*/ 2218373 h 2895832"/>
              <a:gd name="connsiteX1281" fmla="*/ 2588705 w 5127430"/>
              <a:gd name="connsiteY1281" fmla="*/ 2268855 h 2895832"/>
              <a:gd name="connsiteX1282" fmla="*/ 2679383 w 5127430"/>
              <a:gd name="connsiteY1282" fmla="*/ 2237613 h 2895832"/>
              <a:gd name="connsiteX1283" fmla="*/ 2668429 w 5127430"/>
              <a:gd name="connsiteY1283" fmla="*/ 2241614 h 2895832"/>
              <a:gd name="connsiteX1284" fmla="*/ 2659190 w 5127430"/>
              <a:gd name="connsiteY1284" fmla="*/ 2259997 h 2895832"/>
              <a:gd name="connsiteX1285" fmla="*/ 2636711 w 5127430"/>
              <a:gd name="connsiteY1285" fmla="*/ 2266188 h 2895832"/>
              <a:gd name="connsiteX1286" fmla="*/ 2639092 w 5127430"/>
              <a:gd name="connsiteY1286" fmla="*/ 2198275 h 2895832"/>
              <a:gd name="connsiteX1287" fmla="*/ 2646807 w 5127430"/>
              <a:gd name="connsiteY1287" fmla="*/ 2169319 h 2895832"/>
              <a:gd name="connsiteX1288" fmla="*/ 2638044 w 5127430"/>
              <a:gd name="connsiteY1288" fmla="*/ 2161604 h 2895832"/>
              <a:gd name="connsiteX1289" fmla="*/ 2621852 w 5127430"/>
              <a:gd name="connsiteY1289" fmla="*/ 2175891 h 2895832"/>
              <a:gd name="connsiteX1290" fmla="*/ 2616422 w 5127430"/>
              <a:gd name="connsiteY1290" fmla="*/ 2159794 h 2895832"/>
              <a:gd name="connsiteX1291" fmla="*/ 2614422 w 5127430"/>
              <a:gd name="connsiteY1291" fmla="*/ 2140934 h 2895832"/>
              <a:gd name="connsiteX1292" fmla="*/ 2594039 w 5127430"/>
              <a:gd name="connsiteY1292" fmla="*/ 2130933 h 2895832"/>
              <a:gd name="connsiteX1293" fmla="*/ 2583657 w 5127430"/>
              <a:gd name="connsiteY1293" fmla="*/ 2142839 h 2895832"/>
              <a:gd name="connsiteX1294" fmla="*/ 2572703 w 5127430"/>
              <a:gd name="connsiteY1294" fmla="*/ 2135124 h 2895832"/>
              <a:gd name="connsiteX1295" fmla="*/ 2559272 w 5127430"/>
              <a:gd name="connsiteY1295" fmla="*/ 2109788 h 2895832"/>
              <a:gd name="connsiteX1296" fmla="*/ 2544890 w 5127430"/>
              <a:gd name="connsiteY1296" fmla="*/ 2101025 h 2895832"/>
              <a:gd name="connsiteX1297" fmla="*/ 2522315 w 5127430"/>
              <a:gd name="connsiteY1297" fmla="*/ 2053304 h 2895832"/>
              <a:gd name="connsiteX1298" fmla="*/ 2524411 w 5127430"/>
              <a:gd name="connsiteY1298" fmla="*/ 2043017 h 2895832"/>
              <a:gd name="connsiteX1299" fmla="*/ 2500979 w 5127430"/>
              <a:gd name="connsiteY1299" fmla="*/ 2028539 h 2895832"/>
              <a:gd name="connsiteX1300" fmla="*/ 2522030 w 5127430"/>
              <a:gd name="connsiteY1300" fmla="*/ 1984915 h 2895832"/>
              <a:gd name="connsiteX1301" fmla="*/ 2549557 w 5127430"/>
              <a:gd name="connsiteY1301" fmla="*/ 1980248 h 2895832"/>
              <a:gd name="connsiteX1302" fmla="*/ 2578227 w 5127430"/>
              <a:gd name="connsiteY1302" fmla="*/ 1993106 h 2895832"/>
              <a:gd name="connsiteX1303" fmla="*/ 2594039 w 5127430"/>
              <a:gd name="connsiteY1303" fmla="*/ 1997773 h 2895832"/>
              <a:gd name="connsiteX1304" fmla="*/ 2620137 w 5127430"/>
              <a:gd name="connsiteY1304" fmla="*/ 2050066 h 2895832"/>
              <a:gd name="connsiteX1305" fmla="*/ 2619947 w 5127430"/>
              <a:gd name="connsiteY1305" fmla="*/ 2063401 h 2895832"/>
              <a:gd name="connsiteX1306" fmla="*/ 2644235 w 5127430"/>
              <a:gd name="connsiteY1306" fmla="*/ 2114931 h 2895832"/>
              <a:gd name="connsiteX1307" fmla="*/ 2654427 w 5127430"/>
              <a:gd name="connsiteY1307" fmla="*/ 2146173 h 2895832"/>
              <a:gd name="connsiteX1308" fmla="*/ 2684526 w 5127430"/>
              <a:gd name="connsiteY1308" fmla="*/ 2196656 h 2895832"/>
              <a:gd name="connsiteX1309" fmla="*/ 2679192 w 5127430"/>
              <a:gd name="connsiteY1309" fmla="*/ 2237804 h 2895832"/>
              <a:gd name="connsiteX1310" fmla="*/ 2714530 w 5127430"/>
              <a:gd name="connsiteY1310" fmla="*/ 1081373 h 2895832"/>
              <a:gd name="connsiteX1311" fmla="*/ 2686526 w 5127430"/>
              <a:gd name="connsiteY1311" fmla="*/ 1045178 h 2895832"/>
              <a:gd name="connsiteX1312" fmla="*/ 2686526 w 5127430"/>
              <a:gd name="connsiteY1312" fmla="*/ 1040416 h 2895832"/>
              <a:gd name="connsiteX1313" fmla="*/ 2737104 w 5127430"/>
              <a:gd name="connsiteY1313" fmla="*/ 1044702 h 2895832"/>
              <a:gd name="connsiteX1314" fmla="*/ 2795016 w 5127430"/>
              <a:gd name="connsiteY1314" fmla="*/ 1067372 h 2895832"/>
              <a:gd name="connsiteX1315" fmla="*/ 2791587 w 5127430"/>
              <a:gd name="connsiteY1315" fmla="*/ 1084517 h 2895832"/>
              <a:gd name="connsiteX1316" fmla="*/ 2770918 w 5127430"/>
              <a:gd name="connsiteY1316" fmla="*/ 1077849 h 2895832"/>
              <a:gd name="connsiteX1317" fmla="*/ 2714530 w 5127430"/>
              <a:gd name="connsiteY1317" fmla="*/ 1081469 h 2895832"/>
              <a:gd name="connsiteX1318" fmla="*/ 3175826 w 5127430"/>
              <a:gd name="connsiteY1318" fmla="*/ 2327624 h 2895832"/>
              <a:gd name="connsiteX1319" fmla="*/ 3139059 w 5127430"/>
              <a:gd name="connsiteY1319" fmla="*/ 2341245 h 2895832"/>
              <a:gd name="connsiteX1320" fmla="*/ 3118771 w 5127430"/>
              <a:gd name="connsiteY1320" fmla="*/ 2312384 h 2895832"/>
              <a:gd name="connsiteX1321" fmla="*/ 3131439 w 5127430"/>
              <a:gd name="connsiteY1321" fmla="*/ 2276380 h 2895832"/>
              <a:gd name="connsiteX1322" fmla="*/ 3143917 w 5127430"/>
              <a:gd name="connsiteY1322" fmla="*/ 2266950 h 2895832"/>
              <a:gd name="connsiteX1323" fmla="*/ 3176969 w 5127430"/>
              <a:gd name="connsiteY1323" fmla="*/ 2283905 h 2895832"/>
              <a:gd name="connsiteX1324" fmla="*/ 3175826 w 5127430"/>
              <a:gd name="connsiteY1324" fmla="*/ 2327624 h 2895832"/>
              <a:gd name="connsiteX1325" fmla="*/ 3707892 w 5127430"/>
              <a:gd name="connsiteY1325" fmla="*/ 2720816 h 2895832"/>
              <a:gd name="connsiteX1326" fmla="*/ 3683699 w 5127430"/>
              <a:gd name="connsiteY1326" fmla="*/ 2725008 h 2895832"/>
              <a:gd name="connsiteX1327" fmla="*/ 3689795 w 5127430"/>
              <a:gd name="connsiteY1327" fmla="*/ 2698433 h 2895832"/>
              <a:gd name="connsiteX1328" fmla="*/ 3712369 w 5127430"/>
              <a:gd name="connsiteY1328" fmla="*/ 2706338 h 2895832"/>
              <a:gd name="connsiteX1329" fmla="*/ 3707797 w 5127430"/>
              <a:gd name="connsiteY1329" fmla="*/ 2720721 h 2895832"/>
              <a:gd name="connsiteX1330" fmla="*/ 3997643 w 5127430"/>
              <a:gd name="connsiteY1330" fmla="*/ 1773269 h 2895832"/>
              <a:gd name="connsiteX1331" fmla="*/ 4002977 w 5127430"/>
              <a:gd name="connsiteY1331" fmla="*/ 1785366 h 2895832"/>
              <a:gd name="connsiteX1332" fmla="*/ 4019074 w 5127430"/>
              <a:gd name="connsiteY1332" fmla="*/ 1788414 h 2895832"/>
              <a:gd name="connsiteX1333" fmla="*/ 4027170 w 5127430"/>
              <a:gd name="connsiteY1333" fmla="*/ 1792034 h 2895832"/>
              <a:gd name="connsiteX1334" fmla="*/ 4016883 w 5127430"/>
              <a:gd name="connsiteY1334" fmla="*/ 1811369 h 2895832"/>
              <a:gd name="connsiteX1335" fmla="*/ 3999452 w 5127430"/>
              <a:gd name="connsiteY1335" fmla="*/ 1805845 h 2895832"/>
              <a:gd name="connsiteX1336" fmla="*/ 3979545 w 5127430"/>
              <a:gd name="connsiteY1336" fmla="*/ 1798415 h 2895832"/>
              <a:gd name="connsiteX1337" fmla="*/ 3969639 w 5127430"/>
              <a:gd name="connsiteY1337" fmla="*/ 1782413 h 2895832"/>
              <a:gd name="connsiteX1338" fmla="*/ 3997547 w 5127430"/>
              <a:gd name="connsiteY1338" fmla="*/ 1773269 h 2895832"/>
              <a:gd name="connsiteX1339" fmla="*/ 3885533 w 5127430"/>
              <a:gd name="connsiteY1339" fmla="*/ 2002917 h 2895832"/>
              <a:gd name="connsiteX1340" fmla="*/ 3836765 w 5127430"/>
              <a:gd name="connsiteY1340" fmla="*/ 2021205 h 2895832"/>
              <a:gd name="connsiteX1341" fmla="*/ 3806571 w 5127430"/>
              <a:gd name="connsiteY1341" fmla="*/ 2004346 h 2895832"/>
              <a:gd name="connsiteX1342" fmla="*/ 3802190 w 5127430"/>
              <a:gd name="connsiteY1342" fmla="*/ 1988725 h 2895832"/>
              <a:gd name="connsiteX1343" fmla="*/ 3836003 w 5127430"/>
              <a:gd name="connsiteY1343" fmla="*/ 1983296 h 2895832"/>
              <a:gd name="connsiteX1344" fmla="*/ 3857435 w 5127430"/>
              <a:gd name="connsiteY1344" fmla="*/ 1964150 h 2895832"/>
              <a:gd name="connsiteX1345" fmla="*/ 3872294 w 5127430"/>
              <a:gd name="connsiteY1345" fmla="*/ 1964627 h 2895832"/>
              <a:gd name="connsiteX1346" fmla="*/ 3869722 w 5127430"/>
              <a:gd name="connsiteY1346" fmla="*/ 1986248 h 2895832"/>
              <a:gd name="connsiteX1347" fmla="*/ 3880295 w 5127430"/>
              <a:gd name="connsiteY1347" fmla="*/ 1993202 h 2895832"/>
              <a:gd name="connsiteX1348" fmla="*/ 3885628 w 5127430"/>
              <a:gd name="connsiteY1348" fmla="*/ 2002917 h 2895832"/>
              <a:gd name="connsiteX1349" fmla="*/ 3940778 w 5127430"/>
              <a:gd name="connsiteY1349" fmla="*/ 2005965 h 2895832"/>
              <a:gd name="connsiteX1350" fmla="*/ 3923538 w 5127430"/>
              <a:gd name="connsiteY1350" fmla="*/ 2018538 h 2895832"/>
              <a:gd name="connsiteX1351" fmla="*/ 3895630 w 5127430"/>
              <a:gd name="connsiteY1351" fmla="*/ 2022634 h 2895832"/>
              <a:gd name="connsiteX1352" fmla="*/ 3931730 w 5127430"/>
              <a:gd name="connsiteY1352" fmla="*/ 1978914 h 2895832"/>
              <a:gd name="connsiteX1353" fmla="*/ 3962686 w 5127430"/>
              <a:gd name="connsiteY1353" fmla="*/ 1971008 h 2895832"/>
              <a:gd name="connsiteX1354" fmla="*/ 3976974 w 5127430"/>
              <a:gd name="connsiteY1354" fmla="*/ 1986534 h 2895832"/>
              <a:gd name="connsiteX1355" fmla="*/ 4002977 w 5127430"/>
              <a:gd name="connsiteY1355" fmla="*/ 1984724 h 2895832"/>
              <a:gd name="connsiteX1356" fmla="*/ 4018788 w 5127430"/>
              <a:gd name="connsiteY1356" fmla="*/ 1994821 h 2895832"/>
              <a:gd name="connsiteX1357" fmla="*/ 3991547 w 5127430"/>
              <a:gd name="connsiteY1357" fmla="*/ 2013871 h 2895832"/>
              <a:gd name="connsiteX1358" fmla="*/ 3940778 w 5127430"/>
              <a:gd name="connsiteY1358" fmla="*/ 2005870 h 2895832"/>
              <a:gd name="connsiteX1359" fmla="*/ 4054031 w 5127430"/>
              <a:gd name="connsiteY1359" fmla="*/ 2219801 h 2895832"/>
              <a:gd name="connsiteX1360" fmla="*/ 4031933 w 5127430"/>
              <a:gd name="connsiteY1360" fmla="*/ 2266188 h 2895832"/>
              <a:gd name="connsiteX1361" fmla="*/ 4013454 w 5127430"/>
              <a:gd name="connsiteY1361" fmla="*/ 2263902 h 2895832"/>
              <a:gd name="connsiteX1362" fmla="*/ 4027932 w 5127430"/>
              <a:gd name="connsiteY1362" fmla="*/ 2211610 h 2895832"/>
              <a:gd name="connsiteX1363" fmla="*/ 4069747 w 5127430"/>
              <a:gd name="connsiteY1363" fmla="*/ 2177415 h 2895832"/>
              <a:gd name="connsiteX1364" fmla="*/ 4107942 w 5127430"/>
              <a:gd name="connsiteY1364" fmla="*/ 2181130 h 2895832"/>
              <a:gd name="connsiteX1365" fmla="*/ 4053935 w 5127430"/>
              <a:gd name="connsiteY1365" fmla="*/ 2219801 h 2895832"/>
              <a:gd name="connsiteX1366" fmla="*/ 4160996 w 5127430"/>
              <a:gd name="connsiteY1366" fmla="*/ 2400967 h 2895832"/>
              <a:gd name="connsiteX1367" fmla="*/ 4142613 w 5127430"/>
              <a:gd name="connsiteY1367" fmla="*/ 2413159 h 2895832"/>
              <a:gd name="connsiteX1368" fmla="*/ 4127945 w 5127430"/>
              <a:gd name="connsiteY1368" fmla="*/ 2408587 h 2895832"/>
              <a:gd name="connsiteX1369" fmla="*/ 4118610 w 5127430"/>
              <a:gd name="connsiteY1369" fmla="*/ 2384298 h 2895832"/>
              <a:gd name="connsiteX1370" fmla="*/ 4143947 w 5127430"/>
              <a:gd name="connsiteY1370" fmla="*/ 2382965 h 2895832"/>
              <a:gd name="connsiteX1371" fmla="*/ 4160996 w 5127430"/>
              <a:gd name="connsiteY1371" fmla="*/ 2401062 h 2895832"/>
              <a:gd name="connsiteX1372" fmla="*/ 4408742 w 5127430"/>
              <a:gd name="connsiteY1372" fmla="*/ 2216849 h 2895832"/>
              <a:gd name="connsiteX1373" fmla="*/ 4393978 w 5127430"/>
              <a:gd name="connsiteY1373" fmla="*/ 2231327 h 2895832"/>
              <a:gd name="connsiteX1374" fmla="*/ 4381024 w 5127430"/>
              <a:gd name="connsiteY1374" fmla="*/ 2216563 h 2895832"/>
              <a:gd name="connsiteX1375" fmla="*/ 4383786 w 5127430"/>
              <a:gd name="connsiteY1375" fmla="*/ 2191893 h 2895832"/>
              <a:gd name="connsiteX1376" fmla="*/ 4402836 w 5127430"/>
              <a:gd name="connsiteY1376" fmla="*/ 2195989 h 2895832"/>
              <a:gd name="connsiteX1377" fmla="*/ 4408742 w 5127430"/>
              <a:gd name="connsiteY1377" fmla="*/ 2216944 h 2895832"/>
              <a:gd name="connsiteX1378" fmla="*/ 4678394 w 5127430"/>
              <a:gd name="connsiteY1378" fmla="*/ 1977771 h 2895832"/>
              <a:gd name="connsiteX1379" fmla="*/ 4644009 w 5127430"/>
              <a:gd name="connsiteY1379" fmla="*/ 1980533 h 2895832"/>
              <a:gd name="connsiteX1380" fmla="*/ 4623340 w 5127430"/>
              <a:gd name="connsiteY1380" fmla="*/ 1992821 h 2895832"/>
              <a:gd name="connsiteX1381" fmla="*/ 4601623 w 5127430"/>
              <a:gd name="connsiteY1381" fmla="*/ 1977771 h 2895832"/>
              <a:gd name="connsiteX1382" fmla="*/ 4587335 w 5127430"/>
              <a:gd name="connsiteY1382" fmla="*/ 1984058 h 2895832"/>
              <a:gd name="connsiteX1383" fmla="*/ 4587335 w 5127430"/>
              <a:gd name="connsiteY1383" fmla="*/ 1985201 h 2895832"/>
              <a:gd name="connsiteX1384" fmla="*/ 4582002 w 5127430"/>
              <a:gd name="connsiteY1384" fmla="*/ 1991201 h 2895832"/>
              <a:gd name="connsiteX1385" fmla="*/ 4536758 w 5127430"/>
              <a:gd name="connsiteY1385" fmla="*/ 1991201 h 2895832"/>
              <a:gd name="connsiteX1386" fmla="*/ 4535043 w 5127430"/>
              <a:gd name="connsiteY1386" fmla="*/ 1960721 h 2895832"/>
              <a:gd name="connsiteX1387" fmla="*/ 4579906 w 5127430"/>
              <a:gd name="connsiteY1387" fmla="*/ 1955292 h 2895832"/>
              <a:gd name="connsiteX1388" fmla="*/ 4584002 w 5127430"/>
              <a:gd name="connsiteY1388" fmla="*/ 1939385 h 2895832"/>
              <a:gd name="connsiteX1389" fmla="*/ 4604671 w 5127430"/>
              <a:gd name="connsiteY1389" fmla="*/ 1929003 h 2895832"/>
              <a:gd name="connsiteX1390" fmla="*/ 4638485 w 5127430"/>
              <a:gd name="connsiteY1390" fmla="*/ 1958816 h 2895832"/>
              <a:gd name="connsiteX1391" fmla="*/ 4653058 w 5127430"/>
              <a:gd name="connsiteY1391" fmla="*/ 1941005 h 2895832"/>
              <a:gd name="connsiteX1392" fmla="*/ 4675251 w 5127430"/>
              <a:gd name="connsiteY1392" fmla="*/ 1952530 h 2895832"/>
              <a:gd name="connsiteX1393" fmla="*/ 4678299 w 5127430"/>
              <a:gd name="connsiteY1393" fmla="*/ 1977771 h 2895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Lst>
            <a:rect l="l" t="t" r="r" b="b"/>
            <a:pathLst>
              <a:path w="5127430" h="2895832">
                <a:moveTo>
                  <a:pt x="4864132" y="2268474"/>
                </a:moveTo>
                <a:cubicBezTo>
                  <a:pt x="4871085" y="2261235"/>
                  <a:pt x="4875562" y="2255806"/>
                  <a:pt x="4881753" y="2252282"/>
                </a:cubicBezTo>
                <a:cubicBezTo>
                  <a:pt x="4917758" y="2231708"/>
                  <a:pt x="4921091" y="2231327"/>
                  <a:pt x="4922616" y="2224278"/>
                </a:cubicBezTo>
                <a:cubicBezTo>
                  <a:pt x="4923663" y="2221325"/>
                  <a:pt x="4923378" y="2212277"/>
                  <a:pt x="4930235" y="2208848"/>
                </a:cubicBezTo>
                <a:cubicBezTo>
                  <a:pt x="4985671" y="2181225"/>
                  <a:pt x="4986719" y="2179987"/>
                  <a:pt x="4994148" y="2178272"/>
                </a:cubicBezTo>
                <a:cubicBezTo>
                  <a:pt x="5011579" y="2174272"/>
                  <a:pt x="5020342" y="2171129"/>
                  <a:pt x="5027867" y="2173129"/>
                </a:cubicBezTo>
                <a:cubicBezTo>
                  <a:pt x="5034153" y="2174081"/>
                  <a:pt x="5042916" y="2179796"/>
                  <a:pt x="5048155" y="2173510"/>
                </a:cubicBezTo>
                <a:cubicBezTo>
                  <a:pt x="5054537" y="2165795"/>
                  <a:pt x="5058632" y="2159984"/>
                  <a:pt x="5065014" y="2156841"/>
                </a:cubicBezTo>
                <a:cubicBezTo>
                  <a:pt x="5098447" y="2140649"/>
                  <a:pt x="5103971" y="2138744"/>
                  <a:pt x="5109020" y="2133124"/>
                </a:cubicBezTo>
                <a:cubicBezTo>
                  <a:pt x="5125212" y="2114931"/>
                  <a:pt x="5131689" y="2110073"/>
                  <a:pt x="5124546" y="2108740"/>
                </a:cubicBezTo>
                <a:cubicBezTo>
                  <a:pt x="5123498" y="2108264"/>
                  <a:pt x="5113306" y="2108168"/>
                  <a:pt x="5117687" y="2102549"/>
                </a:cubicBezTo>
                <a:cubicBezTo>
                  <a:pt x="5118164" y="2101596"/>
                  <a:pt x="5123212" y="2097405"/>
                  <a:pt x="5120926" y="2091023"/>
                </a:cubicBezTo>
                <a:cubicBezTo>
                  <a:pt x="5117687" y="2081879"/>
                  <a:pt x="5113973" y="2074069"/>
                  <a:pt x="5115497" y="2067020"/>
                </a:cubicBezTo>
                <a:cubicBezTo>
                  <a:pt x="5121498" y="2038922"/>
                  <a:pt x="5124260" y="2033683"/>
                  <a:pt x="5117783" y="2030825"/>
                </a:cubicBezTo>
                <a:lnTo>
                  <a:pt x="5115782" y="2029968"/>
                </a:lnTo>
                <a:cubicBezTo>
                  <a:pt x="5106067" y="2025777"/>
                  <a:pt x="5124355" y="2014061"/>
                  <a:pt x="5113782" y="2012537"/>
                </a:cubicBezTo>
                <a:cubicBezTo>
                  <a:pt x="5079778" y="2007584"/>
                  <a:pt x="5073873" y="2008442"/>
                  <a:pt x="5076349" y="2001679"/>
                </a:cubicBezTo>
                <a:cubicBezTo>
                  <a:pt x="5076635" y="2000060"/>
                  <a:pt x="5082349" y="1990249"/>
                  <a:pt x="5075206" y="1991868"/>
                </a:cubicBezTo>
                <a:cubicBezTo>
                  <a:pt x="5042916" y="1999107"/>
                  <a:pt x="5038059" y="1998536"/>
                  <a:pt x="5036153" y="2005394"/>
                </a:cubicBezTo>
                <a:cubicBezTo>
                  <a:pt x="5034915" y="2007870"/>
                  <a:pt x="5034058" y="2020253"/>
                  <a:pt x="5028248" y="2015014"/>
                </a:cubicBezTo>
                <a:cubicBezTo>
                  <a:pt x="5023962" y="2009966"/>
                  <a:pt x="5012341" y="2004632"/>
                  <a:pt x="5018151" y="1998631"/>
                </a:cubicBezTo>
                <a:cubicBezTo>
                  <a:pt x="5022057" y="1993392"/>
                  <a:pt x="5032725" y="1987677"/>
                  <a:pt x="5028153" y="1980724"/>
                </a:cubicBezTo>
                <a:cubicBezTo>
                  <a:pt x="5017866" y="1964817"/>
                  <a:pt x="5015865" y="1959578"/>
                  <a:pt x="5009007" y="1959578"/>
                </a:cubicBezTo>
                <a:cubicBezTo>
                  <a:pt x="4971574" y="1959578"/>
                  <a:pt x="4965573" y="1961293"/>
                  <a:pt x="4968049" y="1954530"/>
                </a:cubicBezTo>
                <a:cubicBezTo>
                  <a:pt x="4969098" y="1952625"/>
                  <a:pt x="4970145" y="1943957"/>
                  <a:pt x="4977480" y="1942814"/>
                </a:cubicBezTo>
                <a:cubicBezTo>
                  <a:pt x="5028153" y="1934623"/>
                  <a:pt x="5039964" y="1932623"/>
                  <a:pt x="5033105" y="1928336"/>
                </a:cubicBezTo>
                <a:cubicBezTo>
                  <a:pt x="5015674" y="1917383"/>
                  <a:pt x="5011674" y="1913192"/>
                  <a:pt x="5005578" y="1916525"/>
                </a:cubicBezTo>
                <a:cubicBezTo>
                  <a:pt x="5004626" y="1916811"/>
                  <a:pt x="4999578" y="1921097"/>
                  <a:pt x="4993767" y="1917764"/>
                </a:cubicBezTo>
                <a:cubicBezTo>
                  <a:pt x="4990338" y="1915001"/>
                  <a:pt x="4978337" y="1911858"/>
                  <a:pt x="4983290" y="1905572"/>
                </a:cubicBezTo>
                <a:cubicBezTo>
                  <a:pt x="4984337" y="1903762"/>
                  <a:pt x="4993482" y="1895380"/>
                  <a:pt x="4985862" y="1895761"/>
                </a:cubicBezTo>
                <a:cubicBezTo>
                  <a:pt x="4977860" y="1896999"/>
                  <a:pt x="4966621" y="1893856"/>
                  <a:pt x="4963859" y="1901762"/>
                </a:cubicBezTo>
                <a:cubicBezTo>
                  <a:pt x="4963192" y="1902714"/>
                  <a:pt x="4962430" y="1910620"/>
                  <a:pt x="4955572" y="1909477"/>
                </a:cubicBezTo>
                <a:cubicBezTo>
                  <a:pt x="4935189" y="1906048"/>
                  <a:pt x="4929093" y="1906524"/>
                  <a:pt x="4927664" y="1899761"/>
                </a:cubicBezTo>
                <a:cubicBezTo>
                  <a:pt x="4927759" y="1898809"/>
                  <a:pt x="4925759" y="1893475"/>
                  <a:pt x="4930998" y="1890427"/>
                </a:cubicBezTo>
                <a:cubicBezTo>
                  <a:pt x="4932521" y="1889189"/>
                  <a:pt x="4943665" y="1885188"/>
                  <a:pt x="4936998" y="1881664"/>
                </a:cubicBezTo>
                <a:cubicBezTo>
                  <a:pt x="4916043" y="1870615"/>
                  <a:pt x="4912424" y="1867567"/>
                  <a:pt x="4905756" y="1869377"/>
                </a:cubicBezTo>
                <a:cubicBezTo>
                  <a:pt x="4883182" y="1875282"/>
                  <a:pt x="4875848" y="1878806"/>
                  <a:pt x="4877657" y="1871853"/>
                </a:cubicBezTo>
                <a:cubicBezTo>
                  <a:pt x="4878324" y="1867567"/>
                  <a:pt x="4884039" y="1854041"/>
                  <a:pt x="4877562" y="1858899"/>
                </a:cubicBezTo>
                <a:cubicBezTo>
                  <a:pt x="4873467" y="1861280"/>
                  <a:pt x="4867466" y="1868900"/>
                  <a:pt x="4860512" y="1866233"/>
                </a:cubicBezTo>
                <a:cubicBezTo>
                  <a:pt x="4850130" y="1862328"/>
                  <a:pt x="4866609" y="1841373"/>
                  <a:pt x="4855178" y="1842897"/>
                </a:cubicBezTo>
                <a:cubicBezTo>
                  <a:pt x="4853274" y="1842802"/>
                  <a:pt x="4842415" y="1846517"/>
                  <a:pt x="4844796" y="1839468"/>
                </a:cubicBezTo>
                <a:lnTo>
                  <a:pt x="4846987" y="1833086"/>
                </a:lnTo>
                <a:cubicBezTo>
                  <a:pt x="4849273" y="1826323"/>
                  <a:pt x="4842510" y="1818037"/>
                  <a:pt x="4842891" y="1818989"/>
                </a:cubicBezTo>
                <a:cubicBezTo>
                  <a:pt x="4841272" y="1816513"/>
                  <a:pt x="4838319" y="1816227"/>
                  <a:pt x="4836224" y="1818323"/>
                </a:cubicBezTo>
                <a:cubicBezTo>
                  <a:pt x="4825937" y="1828991"/>
                  <a:pt x="4820127" y="1836896"/>
                  <a:pt x="4820127" y="1829657"/>
                </a:cubicBezTo>
                <a:cubicBezTo>
                  <a:pt x="4819460" y="1825181"/>
                  <a:pt x="4822698" y="1813274"/>
                  <a:pt x="4814793" y="1814417"/>
                </a:cubicBezTo>
                <a:cubicBezTo>
                  <a:pt x="4813459" y="1814322"/>
                  <a:pt x="4803839" y="1817751"/>
                  <a:pt x="4805649" y="1810798"/>
                </a:cubicBezTo>
                <a:lnTo>
                  <a:pt x="4806887" y="1806131"/>
                </a:lnTo>
                <a:cubicBezTo>
                  <a:pt x="4808601" y="1799654"/>
                  <a:pt x="4803362" y="1791938"/>
                  <a:pt x="4803744" y="1792891"/>
                </a:cubicBezTo>
                <a:cubicBezTo>
                  <a:pt x="4797647" y="1782128"/>
                  <a:pt x="4777074" y="1795939"/>
                  <a:pt x="4773073" y="1784699"/>
                </a:cubicBezTo>
                <a:cubicBezTo>
                  <a:pt x="4772883" y="1782985"/>
                  <a:pt x="4767453" y="1774603"/>
                  <a:pt x="4774407" y="1772126"/>
                </a:cubicBezTo>
                <a:cubicBezTo>
                  <a:pt x="4777931" y="1770317"/>
                  <a:pt x="4791361" y="1768126"/>
                  <a:pt x="4784598" y="1764030"/>
                </a:cubicBezTo>
                <a:cubicBezTo>
                  <a:pt x="4773359" y="1757172"/>
                  <a:pt x="4762405" y="1751743"/>
                  <a:pt x="4770025" y="1751743"/>
                </a:cubicBezTo>
                <a:cubicBezTo>
                  <a:pt x="4789551" y="1751743"/>
                  <a:pt x="4797933" y="1753362"/>
                  <a:pt x="4794980" y="1746790"/>
                </a:cubicBezTo>
                <a:cubicBezTo>
                  <a:pt x="4776883" y="1705261"/>
                  <a:pt x="4777074" y="1701832"/>
                  <a:pt x="4769930" y="1700784"/>
                </a:cubicBezTo>
                <a:cubicBezTo>
                  <a:pt x="4765358" y="1699451"/>
                  <a:pt x="4752118" y="1700594"/>
                  <a:pt x="4756976" y="1694212"/>
                </a:cubicBezTo>
                <a:cubicBezTo>
                  <a:pt x="4760595" y="1688116"/>
                  <a:pt x="4771835" y="1679829"/>
                  <a:pt x="4764119" y="1676495"/>
                </a:cubicBezTo>
                <a:lnTo>
                  <a:pt x="4748499" y="1669733"/>
                </a:lnTo>
                <a:cubicBezTo>
                  <a:pt x="4743355" y="1667542"/>
                  <a:pt x="4743260" y="1660589"/>
                  <a:pt x="4743545" y="1661541"/>
                </a:cubicBezTo>
                <a:cubicBezTo>
                  <a:pt x="4743545" y="1650873"/>
                  <a:pt x="4760691" y="1664494"/>
                  <a:pt x="4760691" y="1653826"/>
                </a:cubicBezTo>
                <a:cubicBezTo>
                  <a:pt x="4760310" y="1652207"/>
                  <a:pt x="4762500" y="1643444"/>
                  <a:pt x="4755452" y="1641539"/>
                </a:cubicBezTo>
                <a:cubicBezTo>
                  <a:pt x="4732020" y="1635062"/>
                  <a:pt x="4726210" y="1634871"/>
                  <a:pt x="4723162" y="1628394"/>
                </a:cubicBezTo>
                <a:lnTo>
                  <a:pt x="4718780" y="1618869"/>
                </a:lnTo>
                <a:cubicBezTo>
                  <a:pt x="4716399" y="1613726"/>
                  <a:pt x="4711160" y="1618393"/>
                  <a:pt x="4712113" y="1618012"/>
                </a:cubicBezTo>
                <a:cubicBezTo>
                  <a:pt x="4707160" y="1622584"/>
                  <a:pt x="4698397" y="1618964"/>
                  <a:pt x="4699350" y="1619060"/>
                </a:cubicBezTo>
                <a:cubicBezTo>
                  <a:pt x="4696492" y="1618202"/>
                  <a:pt x="4695349" y="1615345"/>
                  <a:pt x="4696683" y="1612773"/>
                </a:cubicBezTo>
                <a:lnTo>
                  <a:pt x="4705922" y="1595533"/>
                </a:lnTo>
                <a:cubicBezTo>
                  <a:pt x="4708875" y="1590008"/>
                  <a:pt x="4703921" y="1583627"/>
                  <a:pt x="4704302" y="1584579"/>
                </a:cubicBezTo>
                <a:cubicBezTo>
                  <a:pt x="4702683" y="1582103"/>
                  <a:pt x="4699159" y="1581341"/>
                  <a:pt x="4696587" y="1582769"/>
                </a:cubicBezTo>
                <a:lnTo>
                  <a:pt x="4682109" y="1591056"/>
                </a:lnTo>
                <a:cubicBezTo>
                  <a:pt x="4677347" y="1593818"/>
                  <a:pt x="4673727" y="1588008"/>
                  <a:pt x="4674680" y="1588770"/>
                </a:cubicBezTo>
                <a:cubicBezTo>
                  <a:pt x="4668869" y="1578197"/>
                  <a:pt x="4693539" y="1571911"/>
                  <a:pt x="4687062" y="1561910"/>
                </a:cubicBezTo>
                <a:cubicBezTo>
                  <a:pt x="4670108" y="1535811"/>
                  <a:pt x="4669155" y="1532096"/>
                  <a:pt x="4662488" y="1533335"/>
                </a:cubicBezTo>
                <a:cubicBezTo>
                  <a:pt x="4658678" y="1533620"/>
                  <a:pt x="4645152" y="1538192"/>
                  <a:pt x="4650582" y="1532382"/>
                </a:cubicBezTo>
                <a:cubicBezTo>
                  <a:pt x="4652486" y="1529620"/>
                  <a:pt x="4661345" y="1523810"/>
                  <a:pt x="4657535" y="1517333"/>
                </a:cubicBezTo>
                <a:cubicBezTo>
                  <a:pt x="4655725" y="1514951"/>
                  <a:pt x="4653153" y="1506379"/>
                  <a:pt x="4645628" y="1505522"/>
                </a:cubicBezTo>
                <a:cubicBezTo>
                  <a:pt x="4639723" y="1504188"/>
                  <a:pt x="4624388" y="1505141"/>
                  <a:pt x="4630674" y="1499711"/>
                </a:cubicBezTo>
                <a:cubicBezTo>
                  <a:pt x="4631817" y="1498187"/>
                  <a:pt x="4641914" y="1492568"/>
                  <a:pt x="4635056" y="1489329"/>
                </a:cubicBezTo>
                <a:cubicBezTo>
                  <a:pt x="4625435" y="1483709"/>
                  <a:pt x="4610100" y="1480852"/>
                  <a:pt x="4616958" y="1475518"/>
                </a:cubicBezTo>
                <a:cubicBezTo>
                  <a:pt x="4618101" y="1474184"/>
                  <a:pt x="4627055" y="1469993"/>
                  <a:pt x="4623245" y="1463802"/>
                </a:cubicBezTo>
                <a:cubicBezTo>
                  <a:pt x="4615625" y="1453420"/>
                  <a:pt x="4613244" y="1440752"/>
                  <a:pt x="4605243" y="1444181"/>
                </a:cubicBezTo>
                <a:lnTo>
                  <a:pt x="4601433" y="1445800"/>
                </a:lnTo>
                <a:cubicBezTo>
                  <a:pt x="4589241" y="1451134"/>
                  <a:pt x="4601147" y="1410938"/>
                  <a:pt x="4588288" y="1407890"/>
                </a:cubicBezTo>
                <a:cubicBezTo>
                  <a:pt x="4582573" y="1407319"/>
                  <a:pt x="4572477" y="1401318"/>
                  <a:pt x="4569524" y="1408938"/>
                </a:cubicBezTo>
                <a:cubicBezTo>
                  <a:pt x="4555808" y="1443514"/>
                  <a:pt x="4554665" y="1448943"/>
                  <a:pt x="4548950" y="1453896"/>
                </a:cubicBezTo>
                <a:cubicBezTo>
                  <a:pt x="4534948" y="1466088"/>
                  <a:pt x="4529233" y="1469136"/>
                  <a:pt x="4531900" y="1475613"/>
                </a:cubicBezTo>
                <a:lnTo>
                  <a:pt x="4539044" y="1493044"/>
                </a:lnTo>
                <a:cubicBezTo>
                  <a:pt x="4541996" y="1500092"/>
                  <a:pt x="4532662" y="1494187"/>
                  <a:pt x="4527614" y="1500473"/>
                </a:cubicBezTo>
                <a:cubicBezTo>
                  <a:pt x="4526852" y="1501807"/>
                  <a:pt x="4520089" y="1507141"/>
                  <a:pt x="4523232" y="1513618"/>
                </a:cubicBezTo>
                <a:cubicBezTo>
                  <a:pt x="4523518" y="1514761"/>
                  <a:pt x="4527995" y="1520666"/>
                  <a:pt x="4525137" y="1526953"/>
                </a:cubicBezTo>
                <a:lnTo>
                  <a:pt x="4524852" y="1527524"/>
                </a:lnTo>
                <a:cubicBezTo>
                  <a:pt x="4520756" y="1536383"/>
                  <a:pt x="4512278" y="1524762"/>
                  <a:pt x="4506278" y="1532763"/>
                </a:cubicBezTo>
                <a:lnTo>
                  <a:pt x="4505611" y="1533620"/>
                </a:lnTo>
                <a:cubicBezTo>
                  <a:pt x="4503801" y="1536002"/>
                  <a:pt x="4503706" y="1540002"/>
                  <a:pt x="4505325" y="1542479"/>
                </a:cubicBezTo>
                <a:cubicBezTo>
                  <a:pt x="4506468" y="1544765"/>
                  <a:pt x="4515327" y="1554671"/>
                  <a:pt x="4507802" y="1552670"/>
                </a:cubicBezTo>
                <a:cubicBezTo>
                  <a:pt x="4505135" y="1552480"/>
                  <a:pt x="4494848" y="1547146"/>
                  <a:pt x="4495991" y="1554671"/>
                </a:cubicBezTo>
                <a:cubicBezTo>
                  <a:pt x="4495991" y="1558004"/>
                  <a:pt x="4500277" y="1570196"/>
                  <a:pt x="4493514" y="1566196"/>
                </a:cubicBezTo>
                <a:cubicBezTo>
                  <a:pt x="4484942" y="1562291"/>
                  <a:pt x="4475512" y="1551718"/>
                  <a:pt x="4472369" y="1559719"/>
                </a:cubicBezTo>
                <a:cubicBezTo>
                  <a:pt x="4460939" y="1588580"/>
                  <a:pt x="4460462" y="1594771"/>
                  <a:pt x="4454081" y="1591532"/>
                </a:cubicBezTo>
                <a:cubicBezTo>
                  <a:pt x="4452557" y="1591056"/>
                  <a:pt x="4445985" y="1585627"/>
                  <a:pt x="4439888" y="1589627"/>
                </a:cubicBezTo>
                <a:cubicBezTo>
                  <a:pt x="4410742" y="1608677"/>
                  <a:pt x="4403312" y="1615059"/>
                  <a:pt x="4405884" y="1607915"/>
                </a:cubicBezTo>
                <a:cubicBezTo>
                  <a:pt x="4407027" y="1603248"/>
                  <a:pt x="4413219" y="1593437"/>
                  <a:pt x="4407408" y="1591437"/>
                </a:cubicBezTo>
                <a:cubicBezTo>
                  <a:pt x="4399598" y="1588675"/>
                  <a:pt x="4392454" y="1606868"/>
                  <a:pt x="4390835" y="1597057"/>
                </a:cubicBezTo>
                <a:lnTo>
                  <a:pt x="4389216" y="1587532"/>
                </a:lnTo>
                <a:cubicBezTo>
                  <a:pt x="4388072" y="1580579"/>
                  <a:pt x="4380452" y="1576388"/>
                  <a:pt x="4375785" y="1581817"/>
                </a:cubicBezTo>
                <a:cubicBezTo>
                  <a:pt x="4374071" y="1583246"/>
                  <a:pt x="4367594" y="1594009"/>
                  <a:pt x="4365689" y="1586579"/>
                </a:cubicBezTo>
                <a:cubicBezTo>
                  <a:pt x="4361784" y="1571435"/>
                  <a:pt x="4361021" y="1564196"/>
                  <a:pt x="4355497" y="1559909"/>
                </a:cubicBezTo>
                <a:cubicBezTo>
                  <a:pt x="4352068" y="1557814"/>
                  <a:pt x="4347020" y="1551242"/>
                  <a:pt x="4339209" y="1551813"/>
                </a:cubicBezTo>
                <a:cubicBezTo>
                  <a:pt x="4305872" y="1554290"/>
                  <a:pt x="4301681" y="1553718"/>
                  <a:pt x="4296061" y="1558100"/>
                </a:cubicBezTo>
                <a:cubicBezTo>
                  <a:pt x="4275963" y="1574102"/>
                  <a:pt x="4270439" y="1580102"/>
                  <a:pt x="4271010" y="1572959"/>
                </a:cubicBezTo>
                <a:cubicBezTo>
                  <a:pt x="4273296" y="1560767"/>
                  <a:pt x="4270058" y="1546860"/>
                  <a:pt x="4278630" y="1548575"/>
                </a:cubicBezTo>
                <a:cubicBezTo>
                  <a:pt x="4279583" y="1548575"/>
                  <a:pt x="4287012" y="1551813"/>
                  <a:pt x="4288441" y="1545050"/>
                </a:cubicBezTo>
                <a:cubicBezTo>
                  <a:pt x="4290155" y="1536764"/>
                  <a:pt x="4290727" y="1529429"/>
                  <a:pt x="4295870" y="1524572"/>
                </a:cubicBezTo>
                <a:cubicBezTo>
                  <a:pt x="4329018" y="1493044"/>
                  <a:pt x="4284250" y="1515713"/>
                  <a:pt x="4278535" y="1503521"/>
                </a:cubicBezTo>
                <a:cubicBezTo>
                  <a:pt x="4278059" y="1501616"/>
                  <a:pt x="4272153" y="1494473"/>
                  <a:pt x="4278059" y="1490186"/>
                </a:cubicBezTo>
                <a:cubicBezTo>
                  <a:pt x="4282059" y="1486472"/>
                  <a:pt x="4291679" y="1483233"/>
                  <a:pt x="4290060" y="1475423"/>
                </a:cubicBezTo>
                <a:cubicBezTo>
                  <a:pt x="4287298" y="1466660"/>
                  <a:pt x="4288536" y="1455515"/>
                  <a:pt x="4280535" y="1452753"/>
                </a:cubicBezTo>
                <a:cubicBezTo>
                  <a:pt x="4276820" y="1450943"/>
                  <a:pt x="4262628" y="1448467"/>
                  <a:pt x="4269867" y="1445133"/>
                </a:cubicBezTo>
                <a:cubicBezTo>
                  <a:pt x="4274535" y="1442085"/>
                  <a:pt x="4286822" y="1440371"/>
                  <a:pt x="4283297" y="1432941"/>
                </a:cubicBezTo>
                <a:cubicBezTo>
                  <a:pt x="4270725" y="1405985"/>
                  <a:pt x="4267581" y="1402556"/>
                  <a:pt x="4274058" y="1400366"/>
                </a:cubicBezTo>
                <a:lnTo>
                  <a:pt x="4280440" y="1398175"/>
                </a:lnTo>
                <a:cubicBezTo>
                  <a:pt x="4286250" y="1396270"/>
                  <a:pt x="4283297" y="1388745"/>
                  <a:pt x="4283297" y="1389698"/>
                </a:cubicBezTo>
                <a:cubicBezTo>
                  <a:pt x="4279583" y="1378553"/>
                  <a:pt x="4303110" y="1381887"/>
                  <a:pt x="4299966" y="1370648"/>
                </a:cubicBezTo>
                <a:lnTo>
                  <a:pt x="4294156" y="1350073"/>
                </a:lnTo>
                <a:cubicBezTo>
                  <a:pt x="4292442" y="1343882"/>
                  <a:pt x="4283488" y="1346740"/>
                  <a:pt x="4284441" y="1346835"/>
                </a:cubicBezTo>
                <a:cubicBezTo>
                  <a:pt x="4273677" y="1349407"/>
                  <a:pt x="4284726" y="1364171"/>
                  <a:pt x="4274153" y="1368266"/>
                </a:cubicBezTo>
                <a:cubicBezTo>
                  <a:pt x="4270534" y="1369028"/>
                  <a:pt x="4261961" y="1375601"/>
                  <a:pt x="4258533" y="1368552"/>
                </a:cubicBezTo>
                <a:cubicBezTo>
                  <a:pt x="4251960" y="1357694"/>
                  <a:pt x="4250532" y="1344549"/>
                  <a:pt x="4242340" y="1347407"/>
                </a:cubicBezTo>
                <a:cubicBezTo>
                  <a:pt x="4229958" y="1351788"/>
                  <a:pt x="4224338" y="1354836"/>
                  <a:pt x="4217766" y="1352550"/>
                </a:cubicBezTo>
                <a:cubicBezTo>
                  <a:pt x="4174332" y="1337405"/>
                  <a:pt x="4170521" y="1337882"/>
                  <a:pt x="4170521" y="1330643"/>
                </a:cubicBezTo>
                <a:cubicBezTo>
                  <a:pt x="4170236" y="1329404"/>
                  <a:pt x="4172331" y="1319975"/>
                  <a:pt x="4165187" y="1320927"/>
                </a:cubicBezTo>
                <a:cubicBezTo>
                  <a:pt x="4163473" y="1320927"/>
                  <a:pt x="4151948" y="1324356"/>
                  <a:pt x="4156043" y="1318069"/>
                </a:cubicBezTo>
                <a:cubicBezTo>
                  <a:pt x="4166426" y="1302068"/>
                  <a:pt x="4172331" y="1295686"/>
                  <a:pt x="4165187" y="1295305"/>
                </a:cubicBezTo>
                <a:cubicBezTo>
                  <a:pt x="4150995" y="1294543"/>
                  <a:pt x="4142518" y="1295591"/>
                  <a:pt x="4137755" y="1289876"/>
                </a:cubicBezTo>
                <a:cubicBezTo>
                  <a:pt x="4132136" y="1283018"/>
                  <a:pt x="4128421" y="1276922"/>
                  <a:pt x="4121658" y="1275302"/>
                </a:cubicBezTo>
                <a:cubicBezTo>
                  <a:pt x="4115467" y="1273016"/>
                  <a:pt x="4104608" y="1273778"/>
                  <a:pt x="4102608" y="1265777"/>
                </a:cubicBezTo>
                <a:lnTo>
                  <a:pt x="4099655" y="1253966"/>
                </a:lnTo>
                <a:cubicBezTo>
                  <a:pt x="4098036" y="1247299"/>
                  <a:pt x="4087749" y="1248537"/>
                  <a:pt x="4088702" y="1248728"/>
                </a:cubicBezTo>
                <a:cubicBezTo>
                  <a:pt x="4073081" y="1248728"/>
                  <a:pt x="4046982" y="1213390"/>
                  <a:pt x="4035743" y="1219676"/>
                </a:cubicBezTo>
                <a:lnTo>
                  <a:pt x="4005453" y="1236631"/>
                </a:lnTo>
                <a:cubicBezTo>
                  <a:pt x="3998500" y="1240536"/>
                  <a:pt x="3984498" y="1238060"/>
                  <a:pt x="3985451" y="1238060"/>
                </a:cubicBezTo>
                <a:cubicBezTo>
                  <a:pt x="3979640" y="1237583"/>
                  <a:pt x="3976592" y="1244727"/>
                  <a:pt x="3977450" y="1243775"/>
                </a:cubicBezTo>
                <a:cubicBezTo>
                  <a:pt x="3976307" y="1246537"/>
                  <a:pt x="3973068" y="1247775"/>
                  <a:pt x="3970401" y="1246537"/>
                </a:cubicBezTo>
                <a:lnTo>
                  <a:pt x="3945350" y="1235202"/>
                </a:lnTo>
                <a:cubicBezTo>
                  <a:pt x="3935635" y="1230821"/>
                  <a:pt x="3925824" y="1239203"/>
                  <a:pt x="3914585" y="1236440"/>
                </a:cubicBezTo>
                <a:cubicBezTo>
                  <a:pt x="3811619" y="1211009"/>
                  <a:pt x="3816668" y="1211009"/>
                  <a:pt x="3810381" y="1214628"/>
                </a:cubicBezTo>
                <a:lnTo>
                  <a:pt x="3799903" y="1220724"/>
                </a:lnTo>
                <a:cubicBezTo>
                  <a:pt x="3790093" y="1226439"/>
                  <a:pt x="3781139" y="1221581"/>
                  <a:pt x="3776853" y="1229773"/>
                </a:cubicBezTo>
                <a:cubicBezTo>
                  <a:pt x="3775424" y="1233297"/>
                  <a:pt x="3770186" y="1239298"/>
                  <a:pt x="3771614" y="1247013"/>
                </a:cubicBezTo>
                <a:cubicBezTo>
                  <a:pt x="3778568" y="1284923"/>
                  <a:pt x="3777806" y="1288542"/>
                  <a:pt x="3784187" y="1291781"/>
                </a:cubicBezTo>
                <a:lnTo>
                  <a:pt x="3793617" y="1296448"/>
                </a:lnTo>
                <a:cubicBezTo>
                  <a:pt x="3799523" y="1299401"/>
                  <a:pt x="3801904" y="1308259"/>
                  <a:pt x="3801428" y="1307306"/>
                </a:cubicBezTo>
                <a:cubicBezTo>
                  <a:pt x="3804761" y="1316736"/>
                  <a:pt x="3789617" y="1313212"/>
                  <a:pt x="3791522" y="1323308"/>
                </a:cubicBezTo>
                <a:cubicBezTo>
                  <a:pt x="3791998" y="1329023"/>
                  <a:pt x="3796189" y="1337405"/>
                  <a:pt x="3791045" y="1343597"/>
                </a:cubicBezTo>
                <a:cubicBezTo>
                  <a:pt x="3774948" y="1362932"/>
                  <a:pt x="3772376" y="1367790"/>
                  <a:pt x="3765328" y="1368933"/>
                </a:cubicBezTo>
                <a:lnTo>
                  <a:pt x="3746659" y="1371981"/>
                </a:lnTo>
                <a:cubicBezTo>
                  <a:pt x="3740277" y="1373029"/>
                  <a:pt x="3743230" y="1382078"/>
                  <a:pt x="3743230" y="1381125"/>
                </a:cubicBezTo>
                <a:cubicBezTo>
                  <a:pt x="3743897" y="1383983"/>
                  <a:pt x="3746849" y="1385888"/>
                  <a:pt x="3749707" y="1385221"/>
                </a:cubicBezTo>
                <a:lnTo>
                  <a:pt x="3791522" y="1375696"/>
                </a:lnTo>
                <a:cubicBezTo>
                  <a:pt x="3798475" y="1374172"/>
                  <a:pt x="3804571" y="1381411"/>
                  <a:pt x="3798665" y="1385507"/>
                </a:cubicBezTo>
                <a:lnTo>
                  <a:pt x="3797237" y="1386459"/>
                </a:lnTo>
                <a:cubicBezTo>
                  <a:pt x="3788378" y="1392555"/>
                  <a:pt x="3809143" y="1397508"/>
                  <a:pt x="3801809" y="1405414"/>
                </a:cubicBezTo>
                <a:cubicBezTo>
                  <a:pt x="3801332" y="1406366"/>
                  <a:pt x="3793808" y="1411605"/>
                  <a:pt x="3799618" y="1415606"/>
                </a:cubicBezTo>
                <a:cubicBezTo>
                  <a:pt x="3800570" y="1416558"/>
                  <a:pt x="3808286" y="1419606"/>
                  <a:pt x="3806666" y="1426559"/>
                </a:cubicBezTo>
                <a:cubicBezTo>
                  <a:pt x="3806381" y="1430846"/>
                  <a:pt x="3800475" y="1442276"/>
                  <a:pt x="3808476" y="1441133"/>
                </a:cubicBezTo>
                <a:cubicBezTo>
                  <a:pt x="3810476" y="1441133"/>
                  <a:pt x="3818858" y="1437894"/>
                  <a:pt x="3822478" y="1444181"/>
                </a:cubicBezTo>
                <a:lnTo>
                  <a:pt x="3822478" y="1444371"/>
                </a:lnTo>
                <a:cubicBezTo>
                  <a:pt x="3827717" y="1453134"/>
                  <a:pt x="3809428" y="1453515"/>
                  <a:pt x="3816287" y="1460944"/>
                </a:cubicBezTo>
                <a:lnTo>
                  <a:pt x="3817715" y="1462469"/>
                </a:lnTo>
                <a:cubicBezTo>
                  <a:pt x="3826478" y="1472089"/>
                  <a:pt x="3788664" y="1471708"/>
                  <a:pt x="3793141" y="1483423"/>
                </a:cubicBezTo>
                <a:cubicBezTo>
                  <a:pt x="3793141" y="1484376"/>
                  <a:pt x="3795046" y="1488758"/>
                  <a:pt x="3791141" y="1492377"/>
                </a:cubicBezTo>
                <a:lnTo>
                  <a:pt x="3790378" y="1493044"/>
                </a:lnTo>
                <a:cubicBezTo>
                  <a:pt x="3788188" y="1495044"/>
                  <a:pt x="3787902" y="1498568"/>
                  <a:pt x="3789712" y="1500950"/>
                </a:cubicBezTo>
                <a:cubicBezTo>
                  <a:pt x="3790093" y="1501902"/>
                  <a:pt x="3796379" y="1507046"/>
                  <a:pt x="3790474" y="1510570"/>
                </a:cubicBezTo>
                <a:cubicBezTo>
                  <a:pt x="3778377" y="1517618"/>
                  <a:pt x="3771900" y="1520095"/>
                  <a:pt x="3769519" y="1526858"/>
                </a:cubicBezTo>
                <a:cubicBezTo>
                  <a:pt x="3765423" y="1535240"/>
                  <a:pt x="3764375" y="1549813"/>
                  <a:pt x="3757517" y="1544765"/>
                </a:cubicBezTo>
                <a:cubicBezTo>
                  <a:pt x="3756279" y="1544288"/>
                  <a:pt x="3749802" y="1536954"/>
                  <a:pt x="3745802" y="1542955"/>
                </a:cubicBezTo>
                <a:cubicBezTo>
                  <a:pt x="3744849" y="1545050"/>
                  <a:pt x="3738277" y="1551051"/>
                  <a:pt x="3742087" y="1557338"/>
                </a:cubicBezTo>
                <a:cubicBezTo>
                  <a:pt x="3743706" y="1561338"/>
                  <a:pt x="3752278" y="1569339"/>
                  <a:pt x="3745325" y="1573149"/>
                </a:cubicBezTo>
                <a:cubicBezTo>
                  <a:pt x="3744373" y="1574006"/>
                  <a:pt x="3735515" y="1576959"/>
                  <a:pt x="3741801" y="1580198"/>
                </a:cubicBezTo>
                <a:lnTo>
                  <a:pt x="3823907" y="1622965"/>
                </a:lnTo>
                <a:cubicBezTo>
                  <a:pt x="3854863" y="1644396"/>
                  <a:pt x="3881057" y="1699927"/>
                  <a:pt x="3873722" y="1757077"/>
                </a:cubicBezTo>
                <a:cubicBezTo>
                  <a:pt x="3862197" y="1847660"/>
                  <a:pt x="3728657" y="1904714"/>
                  <a:pt x="3677984" y="1920621"/>
                </a:cubicBezTo>
                <a:cubicBezTo>
                  <a:pt x="3680651" y="1923669"/>
                  <a:pt x="3687604" y="1927765"/>
                  <a:pt x="3689223" y="1935480"/>
                </a:cubicBezTo>
                <a:cubicBezTo>
                  <a:pt x="3693224" y="1954911"/>
                  <a:pt x="3693128" y="1959007"/>
                  <a:pt x="3699034" y="1961960"/>
                </a:cubicBezTo>
                <a:cubicBezTo>
                  <a:pt x="3717989" y="1971389"/>
                  <a:pt x="3726085" y="1973580"/>
                  <a:pt x="3720275" y="1977866"/>
                </a:cubicBezTo>
                <a:lnTo>
                  <a:pt x="3719417" y="1978533"/>
                </a:lnTo>
                <a:cubicBezTo>
                  <a:pt x="3710178" y="1985486"/>
                  <a:pt x="3722275" y="2001584"/>
                  <a:pt x="3715417" y="2012537"/>
                </a:cubicBezTo>
                <a:cubicBezTo>
                  <a:pt x="3715131" y="2013490"/>
                  <a:pt x="3709226" y="2019491"/>
                  <a:pt x="3714178" y="2024444"/>
                </a:cubicBezTo>
                <a:cubicBezTo>
                  <a:pt x="3718370" y="2029682"/>
                  <a:pt x="3728085" y="2034635"/>
                  <a:pt x="3725037" y="2042351"/>
                </a:cubicBezTo>
                <a:cubicBezTo>
                  <a:pt x="3724561" y="2044541"/>
                  <a:pt x="3719417" y="2051685"/>
                  <a:pt x="3724085" y="2057400"/>
                </a:cubicBezTo>
                <a:cubicBezTo>
                  <a:pt x="3726942" y="2061686"/>
                  <a:pt x="3734276" y="2067116"/>
                  <a:pt x="3733991" y="2075307"/>
                </a:cubicBezTo>
                <a:cubicBezTo>
                  <a:pt x="3734372" y="2077879"/>
                  <a:pt x="3731324" y="2087499"/>
                  <a:pt x="3738563" y="2089785"/>
                </a:cubicBezTo>
                <a:cubicBezTo>
                  <a:pt x="3741611" y="2091309"/>
                  <a:pt x="3751612" y="2091404"/>
                  <a:pt x="3751612" y="2099215"/>
                </a:cubicBezTo>
                <a:cubicBezTo>
                  <a:pt x="3751612" y="2112740"/>
                  <a:pt x="3752374" y="2117598"/>
                  <a:pt x="3747897" y="2122265"/>
                </a:cubicBezTo>
                <a:cubicBezTo>
                  <a:pt x="3727514" y="2143220"/>
                  <a:pt x="3723227" y="2145602"/>
                  <a:pt x="3726275" y="2151793"/>
                </a:cubicBezTo>
                <a:cubicBezTo>
                  <a:pt x="3729990" y="2161604"/>
                  <a:pt x="3739229" y="2170652"/>
                  <a:pt x="3731990" y="2175224"/>
                </a:cubicBezTo>
                <a:lnTo>
                  <a:pt x="3726085" y="2178939"/>
                </a:lnTo>
                <a:cubicBezTo>
                  <a:pt x="3715226" y="2185797"/>
                  <a:pt x="3706749" y="2153698"/>
                  <a:pt x="3697891" y="2162651"/>
                </a:cubicBezTo>
                <a:cubicBezTo>
                  <a:pt x="3685413" y="2175129"/>
                  <a:pt x="3679508" y="2179225"/>
                  <a:pt x="3679508" y="2186464"/>
                </a:cubicBezTo>
                <a:cubicBezTo>
                  <a:pt x="3678841" y="2191512"/>
                  <a:pt x="3681984" y="2204466"/>
                  <a:pt x="3674650" y="2200942"/>
                </a:cubicBezTo>
                <a:cubicBezTo>
                  <a:pt x="3642265" y="2185702"/>
                  <a:pt x="3638169" y="2185035"/>
                  <a:pt x="3635216" y="2178463"/>
                </a:cubicBezTo>
                <a:cubicBezTo>
                  <a:pt x="3623310" y="2152364"/>
                  <a:pt x="3622358" y="2147602"/>
                  <a:pt x="3615976" y="2144459"/>
                </a:cubicBezTo>
                <a:cubicBezTo>
                  <a:pt x="3580162" y="2126837"/>
                  <a:pt x="3576161" y="2126361"/>
                  <a:pt x="3573970" y="2119503"/>
                </a:cubicBezTo>
                <a:cubicBezTo>
                  <a:pt x="3570637" y="2108740"/>
                  <a:pt x="3568922" y="2100644"/>
                  <a:pt x="3563969" y="2095310"/>
                </a:cubicBezTo>
                <a:lnTo>
                  <a:pt x="3544253" y="2073878"/>
                </a:lnTo>
                <a:cubicBezTo>
                  <a:pt x="3535109" y="2063877"/>
                  <a:pt x="3522345" y="2063782"/>
                  <a:pt x="3522345" y="2054162"/>
                </a:cubicBezTo>
                <a:lnTo>
                  <a:pt x="3522345" y="2045113"/>
                </a:lnTo>
                <a:cubicBezTo>
                  <a:pt x="3522345" y="2039017"/>
                  <a:pt x="3530060" y="2036826"/>
                  <a:pt x="3529108" y="2037493"/>
                </a:cubicBezTo>
                <a:cubicBezTo>
                  <a:pt x="3531965" y="2036540"/>
                  <a:pt x="3533680" y="2033397"/>
                  <a:pt x="3533108" y="2030540"/>
                </a:cubicBezTo>
                <a:lnTo>
                  <a:pt x="3529013" y="2010918"/>
                </a:lnTo>
                <a:cubicBezTo>
                  <a:pt x="3526632" y="1999393"/>
                  <a:pt x="3537014" y="1990535"/>
                  <a:pt x="3531203" y="1982153"/>
                </a:cubicBezTo>
                <a:cubicBezTo>
                  <a:pt x="3518440" y="1963674"/>
                  <a:pt x="3513963" y="1959673"/>
                  <a:pt x="3516059" y="1952816"/>
                </a:cubicBezTo>
                <a:cubicBezTo>
                  <a:pt x="3528346" y="1912811"/>
                  <a:pt x="3530727" y="1908619"/>
                  <a:pt x="3529394" y="1901095"/>
                </a:cubicBezTo>
                <a:lnTo>
                  <a:pt x="3525679" y="1879949"/>
                </a:lnTo>
                <a:cubicBezTo>
                  <a:pt x="3524631" y="1873758"/>
                  <a:pt x="3518249" y="1880140"/>
                  <a:pt x="3519202" y="1879664"/>
                </a:cubicBezTo>
                <a:cubicBezTo>
                  <a:pt x="3510725" y="1887379"/>
                  <a:pt x="3501962" y="1868805"/>
                  <a:pt x="3493961" y="1876806"/>
                </a:cubicBezTo>
                <a:lnTo>
                  <a:pt x="3491294" y="1879473"/>
                </a:lnTo>
                <a:cubicBezTo>
                  <a:pt x="3484055" y="1886712"/>
                  <a:pt x="3486341" y="1868710"/>
                  <a:pt x="3475768" y="1868710"/>
                </a:cubicBezTo>
                <a:cubicBezTo>
                  <a:pt x="3351657" y="1868710"/>
                  <a:pt x="3353657" y="1870139"/>
                  <a:pt x="3347466" y="1865471"/>
                </a:cubicBezTo>
                <a:lnTo>
                  <a:pt x="3313271" y="1839754"/>
                </a:lnTo>
                <a:cubicBezTo>
                  <a:pt x="3305842" y="1834134"/>
                  <a:pt x="3213926" y="1804607"/>
                  <a:pt x="3214878" y="1804892"/>
                </a:cubicBezTo>
                <a:cubicBezTo>
                  <a:pt x="3202686" y="1800797"/>
                  <a:pt x="3191542" y="1771555"/>
                  <a:pt x="3178969" y="1763840"/>
                </a:cubicBezTo>
                <a:cubicBezTo>
                  <a:pt x="3134297" y="1736312"/>
                  <a:pt x="3133630" y="1735360"/>
                  <a:pt x="3126772" y="1733550"/>
                </a:cubicBezTo>
                <a:cubicBezTo>
                  <a:pt x="3068955" y="1718596"/>
                  <a:pt x="3069050" y="1718977"/>
                  <a:pt x="3062859" y="1715834"/>
                </a:cubicBezTo>
                <a:cubicBezTo>
                  <a:pt x="3015901" y="1692116"/>
                  <a:pt x="3014663" y="1690116"/>
                  <a:pt x="3007709" y="1692212"/>
                </a:cubicBezTo>
                <a:cubicBezTo>
                  <a:pt x="2993136" y="1696688"/>
                  <a:pt x="2897600" y="1728883"/>
                  <a:pt x="2903696" y="1713167"/>
                </a:cubicBezTo>
                <a:cubicBezTo>
                  <a:pt x="2912555" y="1690307"/>
                  <a:pt x="2915126" y="1686878"/>
                  <a:pt x="2911793" y="1680877"/>
                </a:cubicBezTo>
                <a:cubicBezTo>
                  <a:pt x="2901315" y="1661636"/>
                  <a:pt x="2896553" y="1654588"/>
                  <a:pt x="2895124" y="1646968"/>
                </a:cubicBezTo>
                <a:cubicBezTo>
                  <a:pt x="2891695" y="1628013"/>
                  <a:pt x="2891028" y="1619345"/>
                  <a:pt x="2886742" y="1612868"/>
                </a:cubicBezTo>
                <a:cubicBezTo>
                  <a:pt x="2876931" y="1598295"/>
                  <a:pt x="2869692" y="1590294"/>
                  <a:pt x="2870359" y="1582579"/>
                </a:cubicBezTo>
                <a:cubicBezTo>
                  <a:pt x="2870168" y="1572673"/>
                  <a:pt x="2875502" y="1560386"/>
                  <a:pt x="2866930" y="1559814"/>
                </a:cubicBezTo>
                <a:cubicBezTo>
                  <a:pt x="2809303" y="1556290"/>
                  <a:pt x="2808351" y="1554861"/>
                  <a:pt x="2803684" y="1560195"/>
                </a:cubicBezTo>
                <a:cubicBezTo>
                  <a:pt x="2801303" y="1562100"/>
                  <a:pt x="2796064" y="1572292"/>
                  <a:pt x="2791206" y="1566196"/>
                </a:cubicBezTo>
                <a:cubicBezTo>
                  <a:pt x="2770156" y="1539716"/>
                  <a:pt x="2766346" y="1537240"/>
                  <a:pt x="2768060" y="1530287"/>
                </a:cubicBezTo>
                <a:cubicBezTo>
                  <a:pt x="2773013" y="1509903"/>
                  <a:pt x="2775014" y="1504760"/>
                  <a:pt x="2773870" y="1497616"/>
                </a:cubicBezTo>
                <a:cubicBezTo>
                  <a:pt x="2768537" y="1463707"/>
                  <a:pt x="2765965" y="1455230"/>
                  <a:pt x="2768632" y="1447895"/>
                </a:cubicBezTo>
                <a:cubicBezTo>
                  <a:pt x="2778538" y="1420082"/>
                  <a:pt x="2781586" y="1415891"/>
                  <a:pt x="2777204" y="1410176"/>
                </a:cubicBezTo>
                <a:cubicBezTo>
                  <a:pt x="2774918" y="1406176"/>
                  <a:pt x="2764060" y="1396556"/>
                  <a:pt x="2772156" y="1396556"/>
                </a:cubicBezTo>
                <a:cubicBezTo>
                  <a:pt x="2774633" y="1396175"/>
                  <a:pt x="2783491" y="1398461"/>
                  <a:pt x="2787396" y="1391984"/>
                </a:cubicBezTo>
                <a:cubicBezTo>
                  <a:pt x="2826734" y="1327118"/>
                  <a:pt x="2827592" y="1328642"/>
                  <a:pt x="2824829" y="1321975"/>
                </a:cubicBezTo>
                <a:cubicBezTo>
                  <a:pt x="2824734" y="1321022"/>
                  <a:pt x="2820257" y="1314641"/>
                  <a:pt x="2826068" y="1311021"/>
                </a:cubicBezTo>
                <a:cubicBezTo>
                  <a:pt x="2857405" y="1291114"/>
                  <a:pt x="2862929" y="1289876"/>
                  <a:pt x="2859310" y="1283684"/>
                </a:cubicBezTo>
                <a:cubicBezTo>
                  <a:pt x="2858929" y="1282541"/>
                  <a:pt x="2851785" y="1273778"/>
                  <a:pt x="2859024" y="1274826"/>
                </a:cubicBezTo>
                <a:cubicBezTo>
                  <a:pt x="2877026" y="1277207"/>
                  <a:pt x="2885408" y="1279874"/>
                  <a:pt x="2882170" y="1273397"/>
                </a:cubicBezTo>
                <a:cubicBezTo>
                  <a:pt x="2879503" y="1266063"/>
                  <a:pt x="2870835" y="1257395"/>
                  <a:pt x="2877693" y="1252538"/>
                </a:cubicBezTo>
                <a:cubicBezTo>
                  <a:pt x="2896934" y="1239012"/>
                  <a:pt x="2900172" y="1235393"/>
                  <a:pt x="2907220" y="1236059"/>
                </a:cubicBezTo>
                <a:cubicBezTo>
                  <a:pt x="2914174" y="1236059"/>
                  <a:pt x="2930176" y="1240346"/>
                  <a:pt x="2924556" y="1233869"/>
                </a:cubicBezTo>
                <a:cubicBezTo>
                  <a:pt x="2921127" y="1229106"/>
                  <a:pt x="2909126" y="1219200"/>
                  <a:pt x="2917412" y="1220057"/>
                </a:cubicBezTo>
                <a:lnTo>
                  <a:pt x="2943606" y="1223010"/>
                </a:lnTo>
                <a:cubicBezTo>
                  <a:pt x="2949893" y="1223677"/>
                  <a:pt x="2950083" y="1214628"/>
                  <a:pt x="2949702" y="1215581"/>
                </a:cubicBezTo>
                <a:cubicBezTo>
                  <a:pt x="2949988" y="1212628"/>
                  <a:pt x="2947892" y="1209389"/>
                  <a:pt x="2945130" y="1208342"/>
                </a:cubicBezTo>
                <a:lnTo>
                  <a:pt x="2924556" y="1200626"/>
                </a:lnTo>
                <a:cubicBezTo>
                  <a:pt x="2918651" y="1198436"/>
                  <a:pt x="2922365" y="1190530"/>
                  <a:pt x="2922270" y="1191482"/>
                </a:cubicBezTo>
                <a:cubicBezTo>
                  <a:pt x="2926652" y="1179957"/>
                  <a:pt x="2960846" y="1195483"/>
                  <a:pt x="2977896" y="1190435"/>
                </a:cubicBezTo>
                <a:cubicBezTo>
                  <a:pt x="3008567" y="1181386"/>
                  <a:pt x="3012853" y="1181576"/>
                  <a:pt x="3014186" y="1174718"/>
                </a:cubicBezTo>
                <a:cubicBezTo>
                  <a:pt x="3019425" y="1148048"/>
                  <a:pt x="3021235" y="1144143"/>
                  <a:pt x="3016853" y="1139000"/>
                </a:cubicBezTo>
                <a:cubicBezTo>
                  <a:pt x="3007328" y="1127665"/>
                  <a:pt x="2999423" y="1120521"/>
                  <a:pt x="3006662" y="1120521"/>
                </a:cubicBezTo>
                <a:cubicBezTo>
                  <a:pt x="3039713" y="1120521"/>
                  <a:pt x="3044095" y="1121855"/>
                  <a:pt x="3048953" y="1116521"/>
                </a:cubicBezTo>
                <a:cubicBezTo>
                  <a:pt x="3068479" y="1095280"/>
                  <a:pt x="3071908" y="1093280"/>
                  <a:pt x="3069812" y="1086803"/>
                </a:cubicBezTo>
                <a:cubicBezTo>
                  <a:pt x="3069050" y="1082516"/>
                  <a:pt x="3062097" y="1071372"/>
                  <a:pt x="3070098" y="1072420"/>
                </a:cubicBezTo>
                <a:cubicBezTo>
                  <a:pt x="3129249" y="1080421"/>
                  <a:pt x="3130296" y="1081659"/>
                  <a:pt x="3136964" y="1078516"/>
                </a:cubicBezTo>
                <a:cubicBezTo>
                  <a:pt x="3174207" y="1060990"/>
                  <a:pt x="3177064" y="1060895"/>
                  <a:pt x="3179255" y="1054227"/>
                </a:cubicBezTo>
                <a:cubicBezTo>
                  <a:pt x="3185446" y="1035749"/>
                  <a:pt x="3186017" y="1030605"/>
                  <a:pt x="3192304" y="1028129"/>
                </a:cubicBezTo>
                <a:cubicBezTo>
                  <a:pt x="3199352" y="1025271"/>
                  <a:pt x="3206020" y="1023461"/>
                  <a:pt x="3209925" y="1017937"/>
                </a:cubicBezTo>
                <a:lnTo>
                  <a:pt x="3236881" y="979932"/>
                </a:lnTo>
                <a:cubicBezTo>
                  <a:pt x="3241262" y="973836"/>
                  <a:pt x="3240119" y="962406"/>
                  <a:pt x="3240024" y="963359"/>
                </a:cubicBezTo>
                <a:cubicBezTo>
                  <a:pt x="3240024" y="960406"/>
                  <a:pt x="3237643" y="957453"/>
                  <a:pt x="3234785" y="956786"/>
                </a:cubicBezTo>
                <a:cubicBezTo>
                  <a:pt x="3216688" y="952595"/>
                  <a:pt x="3206496" y="951738"/>
                  <a:pt x="3212592" y="947738"/>
                </a:cubicBezTo>
                <a:lnTo>
                  <a:pt x="3270980" y="909923"/>
                </a:lnTo>
                <a:cubicBezTo>
                  <a:pt x="3277934" y="905447"/>
                  <a:pt x="3269933" y="899160"/>
                  <a:pt x="3276695" y="894302"/>
                </a:cubicBezTo>
                <a:cubicBezTo>
                  <a:pt x="3303365" y="875348"/>
                  <a:pt x="3308509" y="873633"/>
                  <a:pt x="3306413" y="867251"/>
                </a:cubicBezTo>
                <a:cubicBezTo>
                  <a:pt x="3302127" y="854488"/>
                  <a:pt x="3261170" y="859345"/>
                  <a:pt x="3258598" y="846106"/>
                </a:cubicBezTo>
                <a:cubicBezTo>
                  <a:pt x="3258122" y="839534"/>
                  <a:pt x="3251740" y="826199"/>
                  <a:pt x="3260217" y="827723"/>
                </a:cubicBezTo>
                <a:cubicBezTo>
                  <a:pt x="3301079" y="835057"/>
                  <a:pt x="3306318" y="837057"/>
                  <a:pt x="3312986" y="834104"/>
                </a:cubicBezTo>
                <a:cubicBezTo>
                  <a:pt x="3322225" y="831247"/>
                  <a:pt x="3332321" y="822198"/>
                  <a:pt x="3335369" y="830199"/>
                </a:cubicBezTo>
                <a:cubicBezTo>
                  <a:pt x="3343275" y="850868"/>
                  <a:pt x="3343942" y="855917"/>
                  <a:pt x="3350705" y="856774"/>
                </a:cubicBezTo>
                <a:cubicBezTo>
                  <a:pt x="3382232" y="860870"/>
                  <a:pt x="3387852" y="859822"/>
                  <a:pt x="3389186" y="866966"/>
                </a:cubicBezTo>
                <a:cubicBezTo>
                  <a:pt x="3389567" y="868394"/>
                  <a:pt x="3389948" y="876110"/>
                  <a:pt x="3394520" y="881634"/>
                </a:cubicBezTo>
                <a:cubicBezTo>
                  <a:pt x="3411855" y="902399"/>
                  <a:pt x="3414332" y="907447"/>
                  <a:pt x="3420713" y="904875"/>
                </a:cubicBezTo>
                <a:cubicBezTo>
                  <a:pt x="3439287" y="897636"/>
                  <a:pt x="3447669" y="895922"/>
                  <a:pt x="3441668" y="891921"/>
                </a:cubicBezTo>
                <a:cubicBezTo>
                  <a:pt x="3411950" y="871728"/>
                  <a:pt x="3408426" y="870776"/>
                  <a:pt x="3407378" y="863918"/>
                </a:cubicBezTo>
                <a:cubicBezTo>
                  <a:pt x="3407378" y="860584"/>
                  <a:pt x="3402997" y="848011"/>
                  <a:pt x="3409569" y="852488"/>
                </a:cubicBezTo>
                <a:cubicBezTo>
                  <a:pt x="3442145" y="874681"/>
                  <a:pt x="3453003" y="883730"/>
                  <a:pt x="3449860" y="876205"/>
                </a:cubicBezTo>
                <a:cubicBezTo>
                  <a:pt x="3439478" y="851059"/>
                  <a:pt x="3437573" y="843343"/>
                  <a:pt x="3431382" y="838676"/>
                </a:cubicBezTo>
                <a:cubicBezTo>
                  <a:pt x="3423380" y="831247"/>
                  <a:pt x="3411569" y="827532"/>
                  <a:pt x="3414522" y="819436"/>
                </a:cubicBezTo>
                <a:cubicBezTo>
                  <a:pt x="3415760" y="817245"/>
                  <a:pt x="3417189" y="805720"/>
                  <a:pt x="3423476" y="810197"/>
                </a:cubicBezTo>
                <a:cubicBezTo>
                  <a:pt x="3436525" y="819436"/>
                  <a:pt x="3445097" y="824008"/>
                  <a:pt x="3448145" y="831056"/>
                </a:cubicBezTo>
                <a:cubicBezTo>
                  <a:pt x="3451479" y="836676"/>
                  <a:pt x="3453194" y="850106"/>
                  <a:pt x="3459861" y="845058"/>
                </a:cubicBezTo>
                <a:cubicBezTo>
                  <a:pt x="3476816" y="832009"/>
                  <a:pt x="3480911" y="827532"/>
                  <a:pt x="3488150" y="827532"/>
                </a:cubicBezTo>
                <a:cubicBezTo>
                  <a:pt x="3494056" y="826865"/>
                  <a:pt x="3503581" y="829913"/>
                  <a:pt x="3507677" y="822865"/>
                </a:cubicBezTo>
                <a:lnTo>
                  <a:pt x="3511010" y="817150"/>
                </a:lnTo>
                <a:cubicBezTo>
                  <a:pt x="3514535" y="811054"/>
                  <a:pt x="3525107" y="812292"/>
                  <a:pt x="3524155" y="812483"/>
                </a:cubicBezTo>
                <a:cubicBezTo>
                  <a:pt x="3537014" y="812483"/>
                  <a:pt x="3538919" y="785527"/>
                  <a:pt x="3551587" y="785527"/>
                </a:cubicBezTo>
                <a:cubicBezTo>
                  <a:pt x="3557969" y="784765"/>
                  <a:pt x="3568732" y="788289"/>
                  <a:pt x="3571208" y="780383"/>
                </a:cubicBezTo>
                <a:cubicBezTo>
                  <a:pt x="3583782" y="739045"/>
                  <a:pt x="3586449" y="735997"/>
                  <a:pt x="3581114" y="731139"/>
                </a:cubicBezTo>
                <a:cubicBezTo>
                  <a:pt x="3535299" y="690182"/>
                  <a:pt x="3531965" y="689705"/>
                  <a:pt x="3534918" y="682943"/>
                </a:cubicBezTo>
                <a:cubicBezTo>
                  <a:pt x="3542538" y="665798"/>
                  <a:pt x="3547967" y="656939"/>
                  <a:pt x="3541205" y="659797"/>
                </a:cubicBezTo>
                <a:lnTo>
                  <a:pt x="3528155" y="665226"/>
                </a:lnTo>
                <a:cubicBezTo>
                  <a:pt x="3522631" y="667512"/>
                  <a:pt x="3518726" y="660749"/>
                  <a:pt x="3519678" y="661607"/>
                </a:cubicBezTo>
                <a:cubicBezTo>
                  <a:pt x="3514058" y="652463"/>
                  <a:pt x="3537680" y="649891"/>
                  <a:pt x="3527870" y="645128"/>
                </a:cubicBezTo>
                <a:cubicBezTo>
                  <a:pt x="3510439" y="636651"/>
                  <a:pt x="3499580" y="632460"/>
                  <a:pt x="3507200" y="632365"/>
                </a:cubicBezTo>
                <a:cubicBezTo>
                  <a:pt x="3536728" y="631889"/>
                  <a:pt x="3546539" y="632841"/>
                  <a:pt x="3553301" y="629031"/>
                </a:cubicBezTo>
                <a:cubicBezTo>
                  <a:pt x="3581019" y="613601"/>
                  <a:pt x="3590639" y="610934"/>
                  <a:pt x="3588068" y="603504"/>
                </a:cubicBezTo>
                <a:cubicBezTo>
                  <a:pt x="3583686" y="594074"/>
                  <a:pt x="3582734" y="579025"/>
                  <a:pt x="3576352" y="584835"/>
                </a:cubicBezTo>
                <a:cubicBezTo>
                  <a:pt x="3574733" y="585788"/>
                  <a:pt x="3568922" y="594265"/>
                  <a:pt x="3564255" y="588550"/>
                </a:cubicBezTo>
                <a:cubicBezTo>
                  <a:pt x="3563779" y="587597"/>
                  <a:pt x="3557111" y="582359"/>
                  <a:pt x="3561778" y="577120"/>
                </a:cubicBezTo>
                <a:cubicBezTo>
                  <a:pt x="3574733" y="562547"/>
                  <a:pt x="3582257" y="556641"/>
                  <a:pt x="3575209" y="554736"/>
                </a:cubicBezTo>
                <a:cubicBezTo>
                  <a:pt x="3551015" y="548164"/>
                  <a:pt x="3546824" y="545878"/>
                  <a:pt x="3540728" y="549212"/>
                </a:cubicBezTo>
                <a:cubicBezTo>
                  <a:pt x="3537204" y="550450"/>
                  <a:pt x="3529013" y="558356"/>
                  <a:pt x="3525774" y="551212"/>
                </a:cubicBezTo>
                <a:cubicBezTo>
                  <a:pt x="3525012" y="548069"/>
                  <a:pt x="3517773" y="539401"/>
                  <a:pt x="3525203" y="537020"/>
                </a:cubicBezTo>
                <a:lnTo>
                  <a:pt x="3531584" y="535019"/>
                </a:lnTo>
                <a:cubicBezTo>
                  <a:pt x="3538347" y="532924"/>
                  <a:pt x="3541395" y="525304"/>
                  <a:pt x="3535394" y="521399"/>
                </a:cubicBezTo>
                <a:cubicBezTo>
                  <a:pt x="3508343" y="503968"/>
                  <a:pt x="3505200" y="500920"/>
                  <a:pt x="3498057" y="500920"/>
                </a:cubicBezTo>
                <a:cubicBezTo>
                  <a:pt x="3446240" y="500920"/>
                  <a:pt x="3441287" y="502539"/>
                  <a:pt x="3445193" y="496348"/>
                </a:cubicBezTo>
                <a:lnTo>
                  <a:pt x="3446526" y="494157"/>
                </a:lnTo>
                <a:cubicBezTo>
                  <a:pt x="3448145" y="491680"/>
                  <a:pt x="3447002" y="489109"/>
                  <a:pt x="3444145" y="488442"/>
                </a:cubicBezTo>
                <a:cubicBezTo>
                  <a:pt x="3440525" y="488252"/>
                  <a:pt x="3430810" y="483584"/>
                  <a:pt x="3426524" y="489871"/>
                </a:cubicBezTo>
                <a:lnTo>
                  <a:pt x="3425571" y="491300"/>
                </a:lnTo>
                <a:cubicBezTo>
                  <a:pt x="3418046" y="502253"/>
                  <a:pt x="3382042" y="481584"/>
                  <a:pt x="3366611" y="487299"/>
                </a:cubicBezTo>
                <a:cubicBezTo>
                  <a:pt x="3334893" y="499015"/>
                  <a:pt x="3329369" y="499110"/>
                  <a:pt x="3330226" y="506254"/>
                </a:cubicBezTo>
                <a:cubicBezTo>
                  <a:pt x="3334607" y="542068"/>
                  <a:pt x="3333845" y="545497"/>
                  <a:pt x="3339370" y="549878"/>
                </a:cubicBezTo>
                <a:cubicBezTo>
                  <a:pt x="3361373" y="567500"/>
                  <a:pt x="3368326" y="570738"/>
                  <a:pt x="3362801" y="575405"/>
                </a:cubicBezTo>
                <a:cubicBezTo>
                  <a:pt x="3360515" y="578072"/>
                  <a:pt x="3350324" y="582740"/>
                  <a:pt x="3355277" y="588740"/>
                </a:cubicBezTo>
                <a:cubicBezTo>
                  <a:pt x="3358325" y="593312"/>
                  <a:pt x="3369755" y="603028"/>
                  <a:pt x="3361563" y="602552"/>
                </a:cubicBezTo>
                <a:cubicBezTo>
                  <a:pt x="3333083" y="600837"/>
                  <a:pt x="3329083" y="599313"/>
                  <a:pt x="3324701" y="604647"/>
                </a:cubicBezTo>
                <a:cubicBezTo>
                  <a:pt x="3323653" y="606171"/>
                  <a:pt x="3318129" y="611315"/>
                  <a:pt x="3316891" y="618458"/>
                </a:cubicBezTo>
                <a:cubicBezTo>
                  <a:pt x="3307557" y="671893"/>
                  <a:pt x="3308128" y="675132"/>
                  <a:pt x="3302984" y="680466"/>
                </a:cubicBezTo>
                <a:cubicBezTo>
                  <a:pt x="3277934" y="706850"/>
                  <a:pt x="3275076" y="708374"/>
                  <a:pt x="3274505" y="715328"/>
                </a:cubicBezTo>
                <a:cubicBezTo>
                  <a:pt x="3272504" y="738378"/>
                  <a:pt x="3273552" y="747141"/>
                  <a:pt x="3266980" y="743903"/>
                </a:cubicBezTo>
                <a:cubicBezTo>
                  <a:pt x="3263265" y="742569"/>
                  <a:pt x="3256598" y="736759"/>
                  <a:pt x="3249359" y="739807"/>
                </a:cubicBezTo>
                <a:cubicBezTo>
                  <a:pt x="3247263" y="741236"/>
                  <a:pt x="3236786" y="742855"/>
                  <a:pt x="3239738" y="749808"/>
                </a:cubicBezTo>
                <a:cubicBezTo>
                  <a:pt x="3240500" y="753142"/>
                  <a:pt x="3246977" y="761238"/>
                  <a:pt x="3239929" y="764572"/>
                </a:cubicBezTo>
                <a:cubicBezTo>
                  <a:pt x="3234785" y="766191"/>
                  <a:pt x="3226213" y="774287"/>
                  <a:pt x="3222498" y="766953"/>
                </a:cubicBezTo>
                <a:cubicBezTo>
                  <a:pt x="3218212" y="758666"/>
                  <a:pt x="3214688" y="750094"/>
                  <a:pt x="3208973" y="745236"/>
                </a:cubicBezTo>
                <a:cubicBezTo>
                  <a:pt x="3186399" y="726186"/>
                  <a:pt x="3178588" y="720662"/>
                  <a:pt x="3174683" y="713899"/>
                </a:cubicBezTo>
                <a:cubicBezTo>
                  <a:pt x="3158490" y="686086"/>
                  <a:pt x="3154204" y="682085"/>
                  <a:pt x="3157824" y="675799"/>
                </a:cubicBezTo>
                <a:cubicBezTo>
                  <a:pt x="3158204" y="674846"/>
                  <a:pt x="3162967" y="669131"/>
                  <a:pt x="3160014" y="662940"/>
                </a:cubicBezTo>
                <a:cubicBezTo>
                  <a:pt x="3159252" y="660178"/>
                  <a:pt x="3152680" y="652558"/>
                  <a:pt x="3158681" y="647795"/>
                </a:cubicBezTo>
                <a:cubicBezTo>
                  <a:pt x="3161443" y="646271"/>
                  <a:pt x="3168587" y="637032"/>
                  <a:pt x="3171635" y="644176"/>
                </a:cubicBezTo>
                <a:cubicBezTo>
                  <a:pt x="3173825" y="647700"/>
                  <a:pt x="3175254" y="659416"/>
                  <a:pt x="3182303" y="655796"/>
                </a:cubicBezTo>
                <a:cubicBezTo>
                  <a:pt x="3185351" y="653606"/>
                  <a:pt x="3195924" y="651605"/>
                  <a:pt x="3193352" y="644176"/>
                </a:cubicBezTo>
                <a:cubicBezTo>
                  <a:pt x="3187541" y="627412"/>
                  <a:pt x="3185255" y="621602"/>
                  <a:pt x="3184112" y="614743"/>
                </a:cubicBezTo>
                <a:cubicBezTo>
                  <a:pt x="3181731" y="600075"/>
                  <a:pt x="3181922" y="595217"/>
                  <a:pt x="3176302" y="591598"/>
                </a:cubicBezTo>
                <a:cubicBezTo>
                  <a:pt x="3133249" y="564261"/>
                  <a:pt x="3130963" y="564166"/>
                  <a:pt x="3128296" y="557308"/>
                </a:cubicBezTo>
                <a:cubicBezTo>
                  <a:pt x="3127724" y="556355"/>
                  <a:pt x="3126582" y="550640"/>
                  <a:pt x="3120581" y="548069"/>
                </a:cubicBezTo>
                <a:cubicBezTo>
                  <a:pt x="3119342" y="547783"/>
                  <a:pt x="3112484" y="542735"/>
                  <a:pt x="3107245" y="547592"/>
                </a:cubicBezTo>
                <a:cubicBezTo>
                  <a:pt x="3080671" y="571786"/>
                  <a:pt x="3077337" y="573310"/>
                  <a:pt x="3077337" y="580358"/>
                </a:cubicBezTo>
                <a:cubicBezTo>
                  <a:pt x="3077337" y="597503"/>
                  <a:pt x="3078670" y="606552"/>
                  <a:pt x="3073432" y="601599"/>
                </a:cubicBezTo>
                <a:cubicBezTo>
                  <a:pt x="3064955" y="593598"/>
                  <a:pt x="3057430" y="584930"/>
                  <a:pt x="3058573" y="592169"/>
                </a:cubicBezTo>
                <a:cubicBezTo>
                  <a:pt x="3064383" y="627793"/>
                  <a:pt x="3066383" y="631317"/>
                  <a:pt x="3061621" y="636746"/>
                </a:cubicBezTo>
                <a:cubicBezTo>
                  <a:pt x="3054001" y="643890"/>
                  <a:pt x="3047048" y="657797"/>
                  <a:pt x="3043714" y="649700"/>
                </a:cubicBezTo>
                <a:cubicBezTo>
                  <a:pt x="3043047" y="648557"/>
                  <a:pt x="3041523" y="640842"/>
                  <a:pt x="3034570" y="639032"/>
                </a:cubicBezTo>
                <a:cubicBezTo>
                  <a:pt x="3032665" y="638175"/>
                  <a:pt x="3021616" y="637889"/>
                  <a:pt x="3024950" y="631127"/>
                </a:cubicBezTo>
                <a:cubicBezTo>
                  <a:pt x="3025902" y="628555"/>
                  <a:pt x="3030760" y="622173"/>
                  <a:pt x="3029141" y="614839"/>
                </a:cubicBezTo>
                <a:cubicBezTo>
                  <a:pt x="3028664" y="610838"/>
                  <a:pt x="3025045" y="603599"/>
                  <a:pt x="3028855" y="596932"/>
                </a:cubicBezTo>
                <a:cubicBezTo>
                  <a:pt x="3029141" y="595979"/>
                  <a:pt x="3034189" y="590360"/>
                  <a:pt x="3030188" y="584740"/>
                </a:cubicBezTo>
                <a:cubicBezTo>
                  <a:pt x="3010186" y="556260"/>
                  <a:pt x="3003899" y="549974"/>
                  <a:pt x="3011234" y="551021"/>
                </a:cubicBezTo>
                <a:cubicBezTo>
                  <a:pt x="3026855" y="553212"/>
                  <a:pt x="3032189" y="555022"/>
                  <a:pt x="3037237" y="550450"/>
                </a:cubicBezTo>
                <a:cubicBezTo>
                  <a:pt x="3045809" y="541020"/>
                  <a:pt x="3060002" y="534257"/>
                  <a:pt x="3052763" y="528828"/>
                </a:cubicBezTo>
                <a:cubicBezTo>
                  <a:pt x="3041904" y="520827"/>
                  <a:pt x="3035903" y="514445"/>
                  <a:pt x="3028569" y="515684"/>
                </a:cubicBezTo>
                <a:cubicBezTo>
                  <a:pt x="3004661" y="519779"/>
                  <a:pt x="2996851" y="522446"/>
                  <a:pt x="3000566" y="516350"/>
                </a:cubicBezTo>
                <a:lnTo>
                  <a:pt x="3001232" y="515207"/>
                </a:lnTo>
                <a:cubicBezTo>
                  <a:pt x="3004947" y="509111"/>
                  <a:pt x="2997708" y="504444"/>
                  <a:pt x="2990755" y="505206"/>
                </a:cubicBezTo>
                <a:cubicBezTo>
                  <a:pt x="2973800" y="507016"/>
                  <a:pt x="2969228" y="506635"/>
                  <a:pt x="2964847" y="511683"/>
                </a:cubicBezTo>
                <a:cubicBezTo>
                  <a:pt x="2959703" y="516446"/>
                  <a:pt x="2954845" y="527780"/>
                  <a:pt x="2947607" y="523685"/>
                </a:cubicBezTo>
                <a:lnTo>
                  <a:pt x="2936748" y="517493"/>
                </a:lnTo>
                <a:cubicBezTo>
                  <a:pt x="2929700" y="513493"/>
                  <a:pt x="2935795" y="505301"/>
                  <a:pt x="2927985" y="503492"/>
                </a:cubicBezTo>
                <a:cubicBezTo>
                  <a:pt x="2909316" y="499301"/>
                  <a:pt x="2900267" y="498634"/>
                  <a:pt x="2905982" y="494252"/>
                </a:cubicBezTo>
                <a:cubicBezTo>
                  <a:pt x="2931986" y="474059"/>
                  <a:pt x="2940463" y="469106"/>
                  <a:pt x="2936272" y="466630"/>
                </a:cubicBezTo>
                <a:cubicBezTo>
                  <a:pt x="2932748" y="464534"/>
                  <a:pt x="2924080" y="464725"/>
                  <a:pt x="2925032" y="464820"/>
                </a:cubicBezTo>
                <a:cubicBezTo>
                  <a:pt x="2917984" y="464820"/>
                  <a:pt x="2910078" y="460058"/>
                  <a:pt x="2915126" y="455009"/>
                </a:cubicBezTo>
                <a:cubicBezTo>
                  <a:pt x="2917032" y="453676"/>
                  <a:pt x="2921889" y="445484"/>
                  <a:pt x="2928747" y="448628"/>
                </a:cubicBezTo>
                <a:cubicBezTo>
                  <a:pt x="2942082" y="454819"/>
                  <a:pt x="2948750" y="459105"/>
                  <a:pt x="2955989" y="458057"/>
                </a:cubicBezTo>
                <a:cubicBezTo>
                  <a:pt x="2963799" y="456152"/>
                  <a:pt x="2976277" y="457772"/>
                  <a:pt x="2976277" y="450723"/>
                </a:cubicBezTo>
                <a:cubicBezTo>
                  <a:pt x="2976277" y="445199"/>
                  <a:pt x="2966752" y="442722"/>
                  <a:pt x="2967704" y="443294"/>
                </a:cubicBezTo>
                <a:cubicBezTo>
                  <a:pt x="2959799" y="440531"/>
                  <a:pt x="2965418" y="432149"/>
                  <a:pt x="2957417" y="429959"/>
                </a:cubicBezTo>
                <a:cubicBezTo>
                  <a:pt x="2956465" y="429959"/>
                  <a:pt x="2951798" y="428530"/>
                  <a:pt x="2948083" y="432245"/>
                </a:cubicBezTo>
                <a:lnTo>
                  <a:pt x="2946178" y="434150"/>
                </a:lnTo>
                <a:cubicBezTo>
                  <a:pt x="2944082" y="436245"/>
                  <a:pt x="2941701" y="435864"/>
                  <a:pt x="2940844" y="433197"/>
                </a:cubicBezTo>
                <a:cubicBezTo>
                  <a:pt x="2938749" y="426530"/>
                  <a:pt x="2932652" y="417767"/>
                  <a:pt x="2933319" y="418719"/>
                </a:cubicBezTo>
                <a:cubicBezTo>
                  <a:pt x="2930366" y="413956"/>
                  <a:pt x="2935700" y="409385"/>
                  <a:pt x="2935129" y="410337"/>
                </a:cubicBezTo>
                <a:cubicBezTo>
                  <a:pt x="2937415" y="408527"/>
                  <a:pt x="2937129" y="406051"/>
                  <a:pt x="2934367" y="405003"/>
                </a:cubicBezTo>
                <a:lnTo>
                  <a:pt x="2909888" y="395288"/>
                </a:lnTo>
                <a:cubicBezTo>
                  <a:pt x="2904458" y="393097"/>
                  <a:pt x="2889790" y="382143"/>
                  <a:pt x="2888837" y="372999"/>
                </a:cubicBezTo>
                <a:lnTo>
                  <a:pt x="2884646" y="334328"/>
                </a:lnTo>
                <a:cubicBezTo>
                  <a:pt x="2883980" y="328517"/>
                  <a:pt x="2876836" y="325946"/>
                  <a:pt x="2877788" y="326612"/>
                </a:cubicBezTo>
                <a:cubicBezTo>
                  <a:pt x="2871502" y="324326"/>
                  <a:pt x="2868359" y="315659"/>
                  <a:pt x="2869025" y="316611"/>
                </a:cubicBezTo>
                <a:cubicBezTo>
                  <a:pt x="2863501" y="304419"/>
                  <a:pt x="2831116" y="302705"/>
                  <a:pt x="2835497" y="291846"/>
                </a:cubicBezTo>
                <a:cubicBezTo>
                  <a:pt x="2835688" y="290513"/>
                  <a:pt x="2841212" y="282226"/>
                  <a:pt x="2834069" y="281273"/>
                </a:cubicBezTo>
                <a:cubicBezTo>
                  <a:pt x="2813685" y="278606"/>
                  <a:pt x="2808732" y="276987"/>
                  <a:pt x="2802636" y="280511"/>
                </a:cubicBezTo>
                <a:cubicBezTo>
                  <a:pt x="2798636" y="282321"/>
                  <a:pt x="2787396" y="291656"/>
                  <a:pt x="2789968" y="283940"/>
                </a:cubicBezTo>
                <a:cubicBezTo>
                  <a:pt x="2795588" y="267176"/>
                  <a:pt x="2797874" y="264509"/>
                  <a:pt x="2791397" y="262509"/>
                </a:cubicBezTo>
                <a:cubicBezTo>
                  <a:pt x="2790444" y="261938"/>
                  <a:pt x="2781872" y="260985"/>
                  <a:pt x="2786539" y="256032"/>
                </a:cubicBezTo>
                <a:cubicBezTo>
                  <a:pt x="2787872" y="255175"/>
                  <a:pt x="2792159" y="247364"/>
                  <a:pt x="2797493" y="252317"/>
                </a:cubicBezTo>
                <a:cubicBezTo>
                  <a:pt x="2798445" y="252984"/>
                  <a:pt x="2803493" y="259652"/>
                  <a:pt x="2809303" y="258413"/>
                </a:cubicBezTo>
                <a:cubicBezTo>
                  <a:pt x="2811780" y="257937"/>
                  <a:pt x="2814733" y="255270"/>
                  <a:pt x="2815781" y="252508"/>
                </a:cubicBezTo>
                <a:lnTo>
                  <a:pt x="2827782" y="223171"/>
                </a:lnTo>
                <a:cubicBezTo>
                  <a:pt x="2830830" y="215741"/>
                  <a:pt x="2839022" y="220504"/>
                  <a:pt x="2843403" y="213646"/>
                </a:cubicBezTo>
                <a:cubicBezTo>
                  <a:pt x="2848070" y="206216"/>
                  <a:pt x="2853119" y="202597"/>
                  <a:pt x="2852261" y="203549"/>
                </a:cubicBezTo>
                <a:cubicBezTo>
                  <a:pt x="2861405" y="196882"/>
                  <a:pt x="2835116" y="187261"/>
                  <a:pt x="2833402" y="177165"/>
                </a:cubicBezTo>
                <a:cubicBezTo>
                  <a:pt x="2833116" y="175165"/>
                  <a:pt x="2830449" y="172879"/>
                  <a:pt x="2827592" y="172117"/>
                </a:cubicBezTo>
                <a:cubicBezTo>
                  <a:pt x="2813399" y="168116"/>
                  <a:pt x="2801493" y="165545"/>
                  <a:pt x="2809018" y="164687"/>
                </a:cubicBezTo>
                <a:lnTo>
                  <a:pt x="2854833" y="159353"/>
                </a:lnTo>
                <a:cubicBezTo>
                  <a:pt x="2864072" y="158306"/>
                  <a:pt x="2918936" y="170402"/>
                  <a:pt x="2917984" y="170212"/>
                </a:cubicBezTo>
                <a:cubicBezTo>
                  <a:pt x="2925223" y="171641"/>
                  <a:pt x="2942844" y="165449"/>
                  <a:pt x="2947892" y="158591"/>
                </a:cubicBezTo>
                <a:lnTo>
                  <a:pt x="3000470" y="86392"/>
                </a:lnTo>
                <a:cubicBezTo>
                  <a:pt x="3003899" y="81629"/>
                  <a:pt x="3000470" y="75152"/>
                  <a:pt x="3000661" y="76105"/>
                </a:cubicBezTo>
                <a:cubicBezTo>
                  <a:pt x="2997803" y="70390"/>
                  <a:pt x="3006471" y="73343"/>
                  <a:pt x="3005519" y="73343"/>
                </a:cubicBezTo>
                <a:cubicBezTo>
                  <a:pt x="3008376" y="74200"/>
                  <a:pt x="3012377" y="73057"/>
                  <a:pt x="3014472" y="70961"/>
                </a:cubicBezTo>
                <a:lnTo>
                  <a:pt x="3032474" y="52483"/>
                </a:lnTo>
                <a:cubicBezTo>
                  <a:pt x="3036284" y="48578"/>
                  <a:pt x="3038189" y="42196"/>
                  <a:pt x="3037808" y="43148"/>
                </a:cubicBezTo>
                <a:cubicBezTo>
                  <a:pt x="3039523" y="36957"/>
                  <a:pt x="3047524" y="32766"/>
                  <a:pt x="3046571" y="33623"/>
                </a:cubicBezTo>
                <a:cubicBezTo>
                  <a:pt x="3049143" y="32099"/>
                  <a:pt x="3048857" y="30099"/>
                  <a:pt x="3046095" y="29242"/>
                </a:cubicBezTo>
                <a:lnTo>
                  <a:pt x="3011710" y="18288"/>
                </a:lnTo>
                <a:cubicBezTo>
                  <a:pt x="3006281" y="16574"/>
                  <a:pt x="2952464" y="12573"/>
                  <a:pt x="2943511" y="17431"/>
                </a:cubicBezTo>
                <a:cubicBezTo>
                  <a:pt x="2936843" y="20003"/>
                  <a:pt x="2927223" y="29528"/>
                  <a:pt x="2924366" y="21717"/>
                </a:cubicBezTo>
                <a:cubicBezTo>
                  <a:pt x="2923794" y="20765"/>
                  <a:pt x="2922842" y="14383"/>
                  <a:pt x="2916650" y="11240"/>
                </a:cubicBezTo>
                <a:cubicBezTo>
                  <a:pt x="2905030" y="5429"/>
                  <a:pt x="2896457" y="0"/>
                  <a:pt x="2888647" y="0"/>
                </a:cubicBezTo>
                <a:lnTo>
                  <a:pt x="2842260" y="0"/>
                </a:lnTo>
                <a:cubicBezTo>
                  <a:pt x="2834354" y="0"/>
                  <a:pt x="2835974" y="10192"/>
                  <a:pt x="2829211" y="6191"/>
                </a:cubicBezTo>
                <a:cubicBezTo>
                  <a:pt x="2827020" y="5239"/>
                  <a:pt x="2821019" y="-476"/>
                  <a:pt x="2813780" y="1429"/>
                </a:cubicBezTo>
                <a:cubicBezTo>
                  <a:pt x="2741295" y="20193"/>
                  <a:pt x="2739962" y="18383"/>
                  <a:pt x="2741771" y="25527"/>
                </a:cubicBezTo>
                <a:cubicBezTo>
                  <a:pt x="2742343" y="26860"/>
                  <a:pt x="2742628" y="33147"/>
                  <a:pt x="2748534" y="36957"/>
                </a:cubicBezTo>
                <a:cubicBezTo>
                  <a:pt x="2777109" y="55721"/>
                  <a:pt x="2786063" y="60293"/>
                  <a:pt x="2778538" y="60008"/>
                </a:cubicBezTo>
                <a:cubicBezTo>
                  <a:pt x="2768060" y="59531"/>
                  <a:pt x="2761012" y="60103"/>
                  <a:pt x="2754535" y="56674"/>
                </a:cubicBezTo>
                <a:cubicBezTo>
                  <a:pt x="2748629" y="54197"/>
                  <a:pt x="2741390" y="47053"/>
                  <a:pt x="2733580" y="50102"/>
                </a:cubicBezTo>
                <a:cubicBezTo>
                  <a:pt x="2729294" y="52483"/>
                  <a:pt x="2716816" y="53626"/>
                  <a:pt x="2720340" y="60960"/>
                </a:cubicBezTo>
                <a:cubicBezTo>
                  <a:pt x="2721674" y="65151"/>
                  <a:pt x="2728341" y="72390"/>
                  <a:pt x="2723293" y="78486"/>
                </a:cubicBezTo>
                <a:cubicBezTo>
                  <a:pt x="2722817" y="79439"/>
                  <a:pt x="2717768" y="83344"/>
                  <a:pt x="2719292" y="89916"/>
                </a:cubicBezTo>
                <a:cubicBezTo>
                  <a:pt x="2725293" y="115348"/>
                  <a:pt x="2728341" y="122777"/>
                  <a:pt x="2721959" y="119444"/>
                </a:cubicBezTo>
                <a:cubicBezTo>
                  <a:pt x="2719197" y="118491"/>
                  <a:pt x="2710910" y="111347"/>
                  <a:pt x="2708053" y="117539"/>
                </a:cubicBezTo>
                <a:cubicBezTo>
                  <a:pt x="2703767" y="126873"/>
                  <a:pt x="2726912" y="132779"/>
                  <a:pt x="2717197" y="137922"/>
                </a:cubicBezTo>
                <a:lnTo>
                  <a:pt x="2714816" y="139160"/>
                </a:lnTo>
                <a:cubicBezTo>
                  <a:pt x="2707767" y="142875"/>
                  <a:pt x="2708910" y="157163"/>
                  <a:pt x="2713863" y="162211"/>
                </a:cubicBezTo>
                <a:cubicBezTo>
                  <a:pt x="2750820" y="199835"/>
                  <a:pt x="2753011" y="200216"/>
                  <a:pt x="2752630" y="207455"/>
                </a:cubicBezTo>
                <a:cubicBezTo>
                  <a:pt x="2748344" y="274320"/>
                  <a:pt x="2750058" y="276225"/>
                  <a:pt x="2742914" y="274796"/>
                </a:cubicBezTo>
                <a:cubicBezTo>
                  <a:pt x="2741771" y="274796"/>
                  <a:pt x="2733008" y="271082"/>
                  <a:pt x="2733485" y="278130"/>
                </a:cubicBezTo>
                <a:cubicBezTo>
                  <a:pt x="2733199" y="279083"/>
                  <a:pt x="2733770" y="283845"/>
                  <a:pt x="2728913" y="285845"/>
                </a:cubicBezTo>
                <a:cubicBezTo>
                  <a:pt x="2715197" y="291275"/>
                  <a:pt x="2710529" y="292322"/>
                  <a:pt x="2708243" y="298418"/>
                </a:cubicBezTo>
                <a:lnTo>
                  <a:pt x="2707291" y="300990"/>
                </a:lnTo>
                <a:cubicBezTo>
                  <a:pt x="2703100" y="312230"/>
                  <a:pt x="2729484" y="303371"/>
                  <a:pt x="2730437" y="315373"/>
                </a:cubicBezTo>
                <a:cubicBezTo>
                  <a:pt x="2730151" y="319945"/>
                  <a:pt x="2734151" y="329470"/>
                  <a:pt x="2726722" y="332899"/>
                </a:cubicBezTo>
                <a:cubicBezTo>
                  <a:pt x="2725769" y="332994"/>
                  <a:pt x="2721293" y="335375"/>
                  <a:pt x="2717578" y="331470"/>
                </a:cubicBezTo>
                <a:cubicBezTo>
                  <a:pt x="2713101" y="327660"/>
                  <a:pt x="2708910" y="319469"/>
                  <a:pt x="2700814" y="319469"/>
                </a:cubicBezTo>
                <a:cubicBezTo>
                  <a:pt x="2699290" y="319659"/>
                  <a:pt x="2691670" y="318326"/>
                  <a:pt x="2686336" y="323088"/>
                </a:cubicBezTo>
                <a:cubicBezTo>
                  <a:pt x="2682621" y="325850"/>
                  <a:pt x="2677573" y="332994"/>
                  <a:pt x="2669667" y="332994"/>
                </a:cubicBezTo>
                <a:cubicBezTo>
                  <a:pt x="2666524" y="333470"/>
                  <a:pt x="2653856" y="331184"/>
                  <a:pt x="2658999" y="336995"/>
                </a:cubicBezTo>
                <a:cubicBezTo>
                  <a:pt x="2671191" y="350806"/>
                  <a:pt x="2675477" y="353759"/>
                  <a:pt x="2673668" y="360426"/>
                </a:cubicBezTo>
                <a:cubicBezTo>
                  <a:pt x="2668905" y="377952"/>
                  <a:pt x="2666524" y="382619"/>
                  <a:pt x="2670524" y="388144"/>
                </a:cubicBezTo>
                <a:lnTo>
                  <a:pt x="2677573" y="397669"/>
                </a:lnTo>
                <a:cubicBezTo>
                  <a:pt x="2681478" y="403003"/>
                  <a:pt x="2690432" y="404908"/>
                  <a:pt x="2689479" y="404527"/>
                </a:cubicBezTo>
                <a:cubicBezTo>
                  <a:pt x="2702909" y="408337"/>
                  <a:pt x="2661285" y="437579"/>
                  <a:pt x="2668429" y="449580"/>
                </a:cubicBezTo>
                <a:lnTo>
                  <a:pt x="2677954" y="465677"/>
                </a:lnTo>
                <a:cubicBezTo>
                  <a:pt x="2681288" y="471392"/>
                  <a:pt x="2690336" y="472726"/>
                  <a:pt x="2689289" y="472250"/>
                </a:cubicBezTo>
                <a:cubicBezTo>
                  <a:pt x="2697099" y="474059"/>
                  <a:pt x="2693194" y="481108"/>
                  <a:pt x="2700719" y="484346"/>
                </a:cubicBezTo>
                <a:cubicBezTo>
                  <a:pt x="2769775" y="513874"/>
                  <a:pt x="2768918" y="515207"/>
                  <a:pt x="2775680" y="512159"/>
                </a:cubicBezTo>
                <a:cubicBezTo>
                  <a:pt x="2776633" y="511969"/>
                  <a:pt x="2782824" y="507492"/>
                  <a:pt x="2787777" y="512159"/>
                </a:cubicBezTo>
                <a:cubicBezTo>
                  <a:pt x="2800160" y="523780"/>
                  <a:pt x="2802922" y="527495"/>
                  <a:pt x="2809494" y="527495"/>
                </a:cubicBezTo>
                <a:cubicBezTo>
                  <a:pt x="2810542" y="527495"/>
                  <a:pt x="2817686" y="528066"/>
                  <a:pt x="2823877" y="525209"/>
                </a:cubicBezTo>
                <a:cubicBezTo>
                  <a:pt x="2834545" y="521494"/>
                  <a:pt x="2844070" y="512159"/>
                  <a:pt x="2848642" y="519589"/>
                </a:cubicBezTo>
                <a:cubicBezTo>
                  <a:pt x="2850070" y="523018"/>
                  <a:pt x="2859024" y="531876"/>
                  <a:pt x="2851214" y="533019"/>
                </a:cubicBezTo>
                <a:cubicBezTo>
                  <a:pt x="2814066" y="538448"/>
                  <a:pt x="2807970" y="537496"/>
                  <a:pt x="2807113" y="544735"/>
                </a:cubicBezTo>
                <a:cubicBezTo>
                  <a:pt x="2806065" y="549021"/>
                  <a:pt x="2807589" y="558356"/>
                  <a:pt x="2800731" y="562356"/>
                </a:cubicBezTo>
                <a:cubicBezTo>
                  <a:pt x="2793873" y="567309"/>
                  <a:pt x="2782538" y="569690"/>
                  <a:pt x="2783205" y="578168"/>
                </a:cubicBezTo>
                <a:cubicBezTo>
                  <a:pt x="2785396" y="590931"/>
                  <a:pt x="2782062" y="604742"/>
                  <a:pt x="2790349" y="602075"/>
                </a:cubicBezTo>
                <a:cubicBezTo>
                  <a:pt x="2813114" y="594741"/>
                  <a:pt x="2818162" y="594360"/>
                  <a:pt x="2820067" y="587788"/>
                </a:cubicBezTo>
                <a:cubicBezTo>
                  <a:pt x="2822067" y="583311"/>
                  <a:pt x="2821972" y="572738"/>
                  <a:pt x="2829878" y="572738"/>
                </a:cubicBezTo>
                <a:cubicBezTo>
                  <a:pt x="2833783" y="573405"/>
                  <a:pt x="2844927" y="570262"/>
                  <a:pt x="2844260" y="578072"/>
                </a:cubicBezTo>
                <a:cubicBezTo>
                  <a:pt x="2841784" y="605219"/>
                  <a:pt x="2840069" y="609791"/>
                  <a:pt x="2845213" y="614363"/>
                </a:cubicBezTo>
                <a:cubicBezTo>
                  <a:pt x="2845975" y="615506"/>
                  <a:pt x="2854738" y="620554"/>
                  <a:pt x="2848356" y="624078"/>
                </a:cubicBezTo>
                <a:cubicBezTo>
                  <a:pt x="2825115" y="636842"/>
                  <a:pt x="2817876" y="640080"/>
                  <a:pt x="2812352" y="645509"/>
                </a:cubicBezTo>
                <a:cubicBezTo>
                  <a:pt x="2781205" y="675989"/>
                  <a:pt x="2779967" y="679323"/>
                  <a:pt x="2772728" y="678370"/>
                </a:cubicBezTo>
                <a:cubicBezTo>
                  <a:pt x="2746153" y="674751"/>
                  <a:pt x="2740914" y="672370"/>
                  <a:pt x="2737104" y="678370"/>
                </a:cubicBezTo>
                <a:cubicBezTo>
                  <a:pt x="2720531" y="704564"/>
                  <a:pt x="2715673" y="708755"/>
                  <a:pt x="2722245" y="711899"/>
                </a:cubicBezTo>
                <a:cubicBezTo>
                  <a:pt x="2744343" y="722567"/>
                  <a:pt x="2749487" y="723519"/>
                  <a:pt x="2749487" y="730472"/>
                </a:cubicBezTo>
                <a:cubicBezTo>
                  <a:pt x="2748249" y="743998"/>
                  <a:pt x="2752916" y="757238"/>
                  <a:pt x="2744057" y="757238"/>
                </a:cubicBezTo>
                <a:cubicBezTo>
                  <a:pt x="2734151" y="756285"/>
                  <a:pt x="2719483" y="760095"/>
                  <a:pt x="2723293" y="752380"/>
                </a:cubicBezTo>
                <a:lnTo>
                  <a:pt x="2724436" y="750094"/>
                </a:lnTo>
                <a:cubicBezTo>
                  <a:pt x="2728055" y="742950"/>
                  <a:pt x="2711577" y="741807"/>
                  <a:pt x="2705862" y="746093"/>
                </a:cubicBezTo>
                <a:cubicBezTo>
                  <a:pt x="2700338" y="749237"/>
                  <a:pt x="2692146" y="760000"/>
                  <a:pt x="2689384" y="751999"/>
                </a:cubicBezTo>
                <a:cubicBezTo>
                  <a:pt x="2684717" y="738664"/>
                  <a:pt x="2682526" y="734378"/>
                  <a:pt x="2684431" y="728091"/>
                </a:cubicBezTo>
                <a:cubicBezTo>
                  <a:pt x="2708339" y="651415"/>
                  <a:pt x="2712149" y="643985"/>
                  <a:pt x="2706053" y="648938"/>
                </a:cubicBezTo>
                <a:cubicBezTo>
                  <a:pt x="2681097" y="669322"/>
                  <a:pt x="2675668" y="675608"/>
                  <a:pt x="2675668" y="668274"/>
                </a:cubicBezTo>
                <a:cubicBezTo>
                  <a:pt x="2675001" y="664369"/>
                  <a:pt x="2678144" y="653225"/>
                  <a:pt x="2670239" y="653891"/>
                </a:cubicBezTo>
                <a:cubicBezTo>
                  <a:pt x="2650617" y="655415"/>
                  <a:pt x="2645378" y="657035"/>
                  <a:pt x="2641759" y="651320"/>
                </a:cubicBezTo>
                <a:cubicBezTo>
                  <a:pt x="2639187" y="647986"/>
                  <a:pt x="2636234" y="640080"/>
                  <a:pt x="2628900" y="637318"/>
                </a:cubicBezTo>
                <a:cubicBezTo>
                  <a:pt x="2585371" y="621506"/>
                  <a:pt x="2582418" y="618458"/>
                  <a:pt x="2579084" y="624840"/>
                </a:cubicBezTo>
                <a:cubicBezTo>
                  <a:pt x="2575465" y="630079"/>
                  <a:pt x="2573655" y="640461"/>
                  <a:pt x="2565464" y="639985"/>
                </a:cubicBezTo>
                <a:cubicBezTo>
                  <a:pt x="2540889" y="638366"/>
                  <a:pt x="2532888" y="636461"/>
                  <a:pt x="2536984" y="642461"/>
                </a:cubicBezTo>
                <a:cubicBezTo>
                  <a:pt x="2549747" y="661130"/>
                  <a:pt x="2554224" y="665321"/>
                  <a:pt x="2548319" y="668655"/>
                </a:cubicBezTo>
                <a:cubicBezTo>
                  <a:pt x="2542318" y="673132"/>
                  <a:pt x="2528221" y="676751"/>
                  <a:pt x="2534126" y="682847"/>
                </a:cubicBezTo>
                <a:cubicBezTo>
                  <a:pt x="2547747" y="696944"/>
                  <a:pt x="2554795" y="701802"/>
                  <a:pt x="2547842" y="703802"/>
                </a:cubicBezTo>
                <a:cubicBezTo>
                  <a:pt x="2532888" y="708184"/>
                  <a:pt x="2524411" y="711899"/>
                  <a:pt x="2516791" y="710375"/>
                </a:cubicBezTo>
                <a:cubicBezTo>
                  <a:pt x="2425351" y="692372"/>
                  <a:pt x="2425065" y="691134"/>
                  <a:pt x="2417826" y="693801"/>
                </a:cubicBezTo>
                <a:cubicBezTo>
                  <a:pt x="2372487" y="710089"/>
                  <a:pt x="2370677" y="712089"/>
                  <a:pt x="2363915" y="709517"/>
                </a:cubicBezTo>
                <a:cubicBezTo>
                  <a:pt x="2347722" y="703421"/>
                  <a:pt x="2344388" y="701516"/>
                  <a:pt x="2338578" y="703898"/>
                </a:cubicBezTo>
                <a:cubicBezTo>
                  <a:pt x="2325053" y="709327"/>
                  <a:pt x="2320957" y="711994"/>
                  <a:pt x="2314956" y="709041"/>
                </a:cubicBezTo>
                <a:cubicBezTo>
                  <a:pt x="2265140" y="684848"/>
                  <a:pt x="2262664" y="685419"/>
                  <a:pt x="2262664" y="678180"/>
                </a:cubicBezTo>
                <a:cubicBezTo>
                  <a:pt x="2262378" y="676656"/>
                  <a:pt x="2263807" y="670465"/>
                  <a:pt x="2258854" y="665512"/>
                </a:cubicBezTo>
                <a:cubicBezTo>
                  <a:pt x="2257901" y="665036"/>
                  <a:pt x="2254091" y="658844"/>
                  <a:pt x="2249234" y="663512"/>
                </a:cubicBezTo>
                <a:cubicBezTo>
                  <a:pt x="2237804" y="674465"/>
                  <a:pt x="2234660" y="678847"/>
                  <a:pt x="2227898" y="678847"/>
                </a:cubicBezTo>
                <a:cubicBezTo>
                  <a:pt x="2194084" y="678847"/>
                  <a:pt x="2187226" y="680466"/>
                  <a:pt x="2190464" y="673989"/>
                </a:cubicBezTo>
                <a:cubicBezTo>
                  <a:pt x="2191417" y="670846"/>
                  <a:pt x="2199037" y="662083"/>
                  <a:pt x="2191703" y="659320"/>
                </a:cubicBezTo>
                <a:cubicBezTo>
                  <a:pt x="2137982" y="638747"/>
                  <a:pt x="2135124" y="639509"/>
                  <a:pt x="2133981" y="632174"/>
                </a:cubicBezTo>
                <a:cubicBezTo>
                  <a:pt x="2130171" y="608171"/>
                  <a:pt x="2130647" y="603218"/>
                  <a:pt x="2124551" y="599885"/>
                </a:cubicBezTo>
                <a:cubicBezTo>
                  <a:pt x="2092833" y="582263"/>
                  <a:pt x="2089785" y="578739"/>
                  <a:pt x="2082927" y="581501"/>
                </a:cubicBezTo>
                <a:cubicBezTo>
                  <a:pt x="2027111" y="603409"/>
                  <a:pt x="2027206" y="603980"/>
                  <a:pt x="2019872" y="604552"/>
                </a:cubicBezTo>
                <a:cubicBezTo>
                  <a:pt x="1962626" y="609505"/>
                  <a:pt x="1961293" y="608171"/>
                  <a:pt x="1956816" y="613886"/>
                </a:cubicBezTo>
                <a:cubicBezTo>
                  <a:pt x="1935385" y="640652"/>
                  <a:pt x="1930051" y="644557"/>
                  <a:pt x="1933670" y="650843"/>
                </a:cubicBezTo>
                <a:cubicBezTo>
                  <a:pt x="1935099" y="652463"/>
                  <a:pt x="1937671" y="662083"/>
                  <a:pt x="1944434" y="658844"/>
                </a:cubicBezTo>
                <a:cubicBezTo>
                  <a:pt x="1946434" y="658368"/>
                  <a:pt x="1954721" y="651510"/>
                  <a:pt x="1957388" y="658463"/>
                </a:cubicBezTo>
                <a:cubicBezTo>
                  <a:pt x="1958150" y="659416"/>
                  <a:pt x="1959007" y="665988"/>
                  <a:pt x="1965484" y="664559"/>
                </a:cubicBezTo>
                <a:cubicBezTo>
                  <a:pt x="1978152" y="660559"/>
                  <a:pt x="1991297" y="662273"/>
                  <a:pt x="1990916" y="653415"/>
                </a:cubicBezTo>
                <a:cubicBezTo>
                  <a:pt x="1991106" y="652082"/>
                  <a:pt x="1988534" y="641795"/>
                  <a:pt x="1995678" y="643223"/>
                </a:cubicBezTo>
                <a:cubicBezTo>
                  <a:pt x="2020062" y="648176"/>
                  <a:pt x="2024253" y="650177"/>
                  <a:pt x="2029492" y="645795"/>
                </a:cubicBezTo>
                <a:cubicBezTo>
                  <a:pt x="2037683" y="639032"/>
                  <a:pt x="2042636" y="634175"/>
                  <a:pt x="2049304" y="631031"/>
                </a:cubicBezTo>
                <a:cubicBezTo>
                  <a:pt x="2079022" y="617030"/>
                  <a:pt x="2084356" y="613505"/>
                  <a:pt x="2091881" y="613505"/>
                </a:cubicBezTo>
                <a:cubicBezTo>
                  <a:pt x="2100263" y="614458"/>
                  <a:pt x="2112645" y="610457"/>
                  <a:pt x="2112645" y="618935"/>
                </a:cubicBezTo>
                <a:cubicBezTo>
                  <a:pt x="2111788" y="626745"/>
                  <a:pt x="2115598" y="638080"/>
                  <a:pt x="2107406" y="640366"/>
                </a:cubicBezTo>
                <a:cubicBezTo>
                  <a:pt x="2072735" y="649986"/>
                  <a:pt x="2070545" y="649700"/>
                  <a:pt x="2066639" y="655225"/>
                </a:cubicBezTo>
                <a:cubicBezTo>
                  <a:pt x="2057305" y="668560"/>
                  <a:pt x="2055686" y="672179"/>
                  <a:pt x="2049304" y="672560"/>
                </a:cubicBezTo>
                <a:cubicBezTo>
                  <a:pt x="1997678" y="675227"/>
                  <a:pt x="1993106" y="673608"/>
                  <a:pt x="1994916" y="680657"/>
                </a:cubicBezTo>
                <a:cubicBezTo>
                  <a:pt x="1994916" y="681990"/>
                  <a:pt x="1999393" y="690943"/>
                  <a:pt x="1992249" y="692182"/>
                </a:cubicBezTo>
                <a:cubicBezTo>
                  <a:pt x="1985963" y="693992"/>
                  <a:pt x="1970627" y="693134"/>
                  <a:pt x="1976533" y="699421"/>
                </a:cubicBezTo>
                <a:cubicBezTo>
                  <a:pt x="2001488" y="725995"/>
                  <a:pt x="2005775" y="728377"/>
                  <a:pt x="2004727" y="735520"/>
                </a:cubicBezTo>
                <a:cubicBezTo>
                  <a:pt x="2002822" y="748093"/>
                  <a:pt x="2000536" y="754952"/>
                  <a:pt x="2004727" y="760762"/>
                </a:cubicBezTo>
                <a:cubicBezTo>
                  <a:pt x="2020443" y="783241"/>
                  <a:pt x="2027492" y="791051"/>
                  <a:pt x="2020253" y="788956"/>
                </a:cubicBezTo>
                <a:lnTo>
                  <a:pt x="1979771" y="776954"/>
                </a:lnTo>
                <a:cubicBezTo>
                  <a:pt x="1966817" y="773144"/>
                  <a:pt x="1988915" y="738473"/>
                  <a:pt x="1978533" y="728853"/>
                </a:cubicBezTo>
                <a:lnTo>
                  <a:pt x="1976152" y="726662"/>
                </a:lnTo>
                <a:cubicBezTo>
                  <a:pt x="1968056" y="719138"/>
                  <a:pt x="1959388" y="733616"/>
                  <a:pt x="1950339" y="726948"/>
                </a:cubicBezTo>
                <a:cubicBezTo>
                  <a:pt x="1948053" y="725805"/>
                  <a:pt x="1940433" y="717042"/>
                  <a:pt x="1939004" y="724567"/>
                </a:cubicBezTo>
                <a:cubicBezTo>
                  <a:pt x="1935290" y="744665"/>
                  <a:pt x="1935290" y="753332"/>
                  <a:pt x="1930241" y="748189"/>
                </a:cubicBezTo>
                <a:cubicBezTo>
                  <a:pt x="1926336" y="743331"/>
                  <a:pt x="1917383" y="738568"/>
                  <a:pt x="1919097" y="730663"/>
                </a:cubicBezTo>
                <a:cubicBezTo>
                  <a:pt x="1919192" y="729329"/>
                  <a:pt x="1921574" y="723710"/>
                  <a:pt x="1918621" y="717328"/>
                </a:cubicBezTo>
                <a:cubicBezTo>
                  <a:pt x="1915954" y="713327"/>
                  <a:pt x="1914525" y="702564"/>
                  <a:pt x="1906810" y="704755"/>
                </a:cubicBezTo>
                <a:cubicBezTo>
                  <a:pt x="1886617" y="710470"/>
                  <a:pt x="1881950" y="713137"/>
                  <a:pt x="1877568" y="707898"/>
                </a:cubicBezTo>
                <a:cubicBezTo>
                  <a:pt x="1861947" y="689229"/>
                  <a:pt x="1859280" y="683324"/>
                  <a:pt x="1852898" y="686562"/>
                </a:cubicBezTo>
                <a:cubicBezTo>
                  <a:pt x="1804416" y="710756"/>
                  <a:pt x="1802702" y="713613"/>
                  <a:pt x="1798701" y="707612"/>
                </a:cubicBezTo>
                <a:cubicBezTo>
                  <a:pt x="1798415" y="706660"/>
                  <a:pt x="1793272" y="701802"/>
                  <a:pt x="1798701" y="697992"/>
                </a:cubicBezTo>
                <a:cubicBezTo>
                  <a:pt x="1802797" y="694277"/>
                  <a:pt x="1815179" y="690182"/>
                  <a:pt x="1809845" y="683895"/>
                </a:cubicBezTo>
                <a:lnTo>
                  <a:pt x="1808321" y="682181"/>
                </a:lnTo>
                <a:cubicBezTo>
                  <a:pt x="1806416" y="679895"/>
                  <a:pt x="1802606" y="679133"/>
                  <a:pt x="1799939" y="680466"/>
                </a:cubicBezTo>
                <a:cubicBezTo>
                  <a:pt x="1790319" y="685133"/>
                  <a:pt x="1782699" y="687610"/>
                  <a:pt x="1779746" y="694182"/>
                </a:cubicBezTo>
                <a:cubicBezTo>
                  <a:pt x="1776889" y="698564"/>
                  <a:pt x="1774889" y="711327"/>
                  <a:pt x="1768697" y="706088"/>
                </a:cubicBezTo>
                <a:cubicBezTo>
                  <a:pt x="1767745" y="705612"/>
                  <a:pt x="1764221" y="701897"/>
                  <a:pt x="1758410" y="702659"/>
                </a:cubicBezTo>
                <a:cubicBezTo>
                  <a:pt x="1731455" y="705898"/>
                  <a:pt x="1724978" y="705993"/>
                  <a:pt x="1718405" y="709041"/>
                </a:cubicBezTo>
                <a:cubicBezTo>
                  <a:pt x="1711357" y="712280"/>
                  <a:pt x="1705261" y="715804"/>
                  <a:pt x="1698308" y="715518"/>
                </a:cubicBezTo>
                <a:cubicBezTo>
                  <a:pt x="1628870" y="712375"/>
                  <a:pt x="1627156" y="712946"/>
                  <a:pt x="1620012" y="710375"/>
                </a:cubicBezTo>
                <a:cubicBezTo>
                  <a:pt x="1605820" y="705326"/>
                  <a:pt x="1597057" y="701421"/>
                  <a:pt x="1589342" y="701516"/>
                </a:cubicBezTo>
                <a:cubicBezTo>
                  <a:pt x="1562862" y="701897"/>
                  <a:pt x="1554671" y="703231"/>
                  <a:pt x="1547908" y="699421"/>
                </a:cubicBezTo>
                <a:cubicBezTo>
                  <a:pt x="1541717" y="695039"/>
                  <a:pt x="1526858" y="690658"/>
                  <a:pt x="1534192" y="686467"/>
                </a:cubicBezTo>
                <a:cubicBezTo>
                  <a:pt x="1539050" y="682752"/>
                  <a:pt x="1551146" y="679990"/>
                  <a:pt x="1547717" y="672465"/>
                </a:cubicBezTo>
                <a:cubicBezTo>
                  <a:pt x="1547146" y="669989"/>
                  <a:pt x="1540002" y="659987"/>
                  <a:pt x="1547717" y="660749"/>
                </a:cubicBezTo>
                <a:lnTo>
                  <a:pt x="1560195" y="661892"/>
                </a:lnTo>
                <a:cubicBezTo>
                  <a:pt x="1567053" y="662559"/>
                  <a:pt x="1574197" y="655606"/>
                  <a:pt x="1573244" y="656177"/>
                </a:cubicBezTo>
                <a:cubicBezTo>
                  <a:pt x="1584008" y="647414"/>
                  <a:pt x="1612583" y="658273"/>
                  <a:pt x="1618012" y="647414"/>
                </a:cubicBezTo>
                <a:cubicBezTo>
                  <a:pt x="1619060" y="643985"/>
                  <a:pt x="1626013" y="636556"/>
                  <a:pt x="1620012" y="631698"/>
                </a:cubicBezTo>
                <a:lnTo>
                  <a:pt x="1583341" y="601980"/>
                </a:lnTo>
                <a:cubicBezTo>
                  <a:pt x="1576102" y="596170"/>
                  <a:pt x="1529429" y="577691"/>
                  <a:pt x="1530382" y="578168"/>
                </a:cubicBezTo>
                <a:cubicBezTo>
                  <a:pt x="1522571" y="574929"/>
                  <a:pt x="1497044" y="572357"/>
                  <a:pt x="1497997" y="572453"/>
                </a:cubicBezTo>
                <a:cubicBezTo>
                  <a:pt x="1490948" y="571500"/>
                  <a:pt x="1482566" y="576739"/>
                  <a:pt x="1488758" y="580358"/>
                </a:cubicBezTo>
                <a:cubicBezTo>
                  <a:pt x="1492377" y="583216"/>
                  <a:pt x="1505807" y="587693"/>
                  <a:pt x="1498664" y="591407"/>
                </a:cubicBezTo>
                <a:cubicBezTo>
                  <a:pt x="1497711" y="591693"/>
                  <a:pt x="1493139" y="595122"/>
                  <a:pt x="1487043" y="593027"/>
                </a:cubicBezTo>
                <a:cubicBezTo>
                  <a:pt x="1479518" y="590360"/>
                  <a:pt x="1472946" y="587407"/>
                  <a:pt x="1465802" y="587121"/>
                </a:cubicBezTo>
                <a:cubicBezTo>
                  <a:pt x="1436942" y="585978"/>
                  <a:pt x="1432370" y="586645"/>
                  <a:pt x="1426464" y="582740"/>
                </a:cubicBezTo>
                <a:cubicBezTo>
                  <a:pt x="1425416" y="582168"/>
                  <a:pt x="1419892" y="577215"/>
                  <a:pt x="1412748" y="577120"/>
                </a:cubicBezTo>
                <a:cubicBezTo>
                  <a:pt x="1400080" y="576834"/>
                  <a:pt x="1389793" y="577787"/>
                  <a:pt x="1383125" y="573977"/>
                </a:cubicBezTo>
                <a:cubicBezTo>
                  <a:pt x="1340549" y="549974"/>
                  <a:pt x="1338929" y="548354"/>
                  <a:pt x="1331976" y="547307"/>
                </a:cubicBezTo>
                <a:cubicBezTo>
                  <a:pt x="1235869" y="532352"/>
                  <a:pt x="1239203" y="533781"/>
                  <a:pt x="1233678" y="529114"/>
                </a:cubicBezTo>
                <a:cubicBezTo>
                  <a:pt x="1213390" y="512255"/>
                  <a:pt x="1207865" y="506540"/>
                  <a:pt x="1200531" y="504063"/>
                </a:cubicBezTo>
                <a:cubicBezTo>
                  <a:pt x="1155478" y="489204"/>
                  <a:pt x="1153382" y="487871"/>
                  <a:pt x="1146048" y="487871"/>
                </a:cubicBezTo>
                <a:cubicBezTo>
                  <a:pt x="1079373" y="487871"/>
                  <a:pt x="1077563" y="485966"/>
                  <a:pt x="1075563" y="493014"/>
                </a:cubicBezTo>
                <a:cubicBezTo>
                  <a:pt x="1069181" y="515303"/>
                  <a:pt x="1069086" y="521113"/>
                  <a:pt x="1062133" y="521399"/>
                </a:cubicBezTo>
                <a:cubicBezTo>
                  <a:pt x="1061180" y="521589"/>
                  <a:pt x="1054513" y="520637"/>
                  <a:pt x="1050893" y="526256"/>
                </a:cubicBezTo>
                <a:cubicBezTo>
                  <a:pt x="1048798" y="528638"/>
                  <a:pt x="1045940" y="537305"/>
                  <a:pt x="1038320" y="537020"/>
                </a:cubicBezTo>
                <a:cubicBezTo>
                  <a:pt x="992791" y="535210"/>
                  <a:pt x="985266" y="536448"/>
                  <a:pt x="990029" y="530733"/>
                </a:cubicBezTo>
                <a:cubicBezTo>
                  <a:pt x="1010507" y="506063"/>
                  <a:pt x="1017842" y="499586"/>
                  <a:pt x="1010412" y="500253"/>
                </a:cubicBezTo>
                <a:cubicBezTo>
                  <a:pt x="1000697" y="500063"/>
                  <a:pt x="987266" y="505301"/>
                  <a:pt x="988790" y="496824"/>
                </a:cubicBezTo>
                <a:cubicBezTo>
                  <a:pt x="995744" y="458915"/>
                  <a:pt x="998411" y="454628"/>
                  <a:pt x="991743" y="451961"/>
                </a:cubicBezTo>
                <a:cubicBezTo>
                  <a:pt x="990505" y="451676"/>
                  <a:pt x="984599" y="448056"/>
                  <a:pt x="977932" y="450342"/>
                </a:cubicBezTo>
                <a:cubicBezTo>
                  <a:pt x="954977" y="458248"/>
                  <a:pt x="949071" y="458819"/>
                  <a:pt x="946690" y="465582"/>
                </a:cubicBezTo>
                <a:lnTo>
                  <a:pt x="946118" y="467297"/>
                </a:lnTo>
                <a:cubicBezTo>
                  <a:pt x="942308" y="478250"/>
                  <a:pt x="968883" y="465487"/>
                  <a:pt x="964216" y="476155"/>
                </a:cubicBezTo>
                <a:cubicBezTo>
                  <a:pt x="964216" y="476155"/>
                  <a:pt x="956882" y="493205"/>
                  <a:pt x="955072" y="493205"/>
                </a:cubicBezTo>
                <a:cubicBezTo>
                  <a:pt x="949642" y="493205"/>
                  <a:pt x="941832" y="485299"/>
                  <a:pt x="937260" y="492347"/>
                </a:cubicBezTo>
                <a:cubicBezTo>
                  <a:pt x="935831" y="495491"/>
                  <a:pt x="928211" y="502730"/>
                  <a:pt x="932593" y="508921"/>
                </a:cubicBezTo>
                <a:cubicBezTo>
                  <a:pt x="933260" y="510635"/>
                  <a:pt x="940689" y="517303"/>
                  <a:pt x="934212" y="520637"/>
                </a:cubicBezTo>
                <a:lnTo>
                  <a:pt x="932402" y="521589"/>
                </a:lnTo>
                <a:cubicBezTo>
                  <a:pt x="923068" y="526447"/>
                  <a:pt x="946404" y="538544"/>
                  <a:pt x="935355" y="538353"/>
                </a:cubicBezTo>
                <a:cubicBezTo>
                  <a:pt x="922877" y="538163"/>
                  <a:pt x="914781" y="539115"/>
                  <a:pt x="908685" y="535019"/>
                </a:cubicBezTo>
                <a:cubicBezTo>
                  <a:pt x="865727" y="505968"/>
                  <a:pt x="856393" y="501205"/>
                  <a:pt x="852297" y="493871"/>
                </a:cubicBezTo>
                <a:cubicBezTo>
                  <a:pt x="817150" y="431387"/>
                  <a:pt x="817626" y="430625"/>
                  <a:pt x="811435" y="427006"/>
                </a:cubicBezTo>
                <a:cubicBezTo>
                  <a:pt x="765715" y="400526"/>
                  <a:pt x="760381" y="395192"/>
                  <a:pt x="759714" y="402717"/>
                </a:cubicBezTo>
                <a:cubicBezTo>
                  <a:pt x="759714" y="406718"/>
                  <a:pt x="757238" y="414147"/>
                  <a:pt x="761238" y="420815"/>
                </a:cubicBezTo>
                <a:lnTo>
                  <a:pt x="769715" y="434530"/>
                </a:lnTo>
                <a:cubicBezTo>
                  <a:pt x="776097" y="444913"/>
                  <a:pt x="794385" y="450056"/>
                  <a:pt x="784955" y="451961"/>
                </a:cubicBezTo>
                <a:cubicBezTo>
                  <a:pt x="756380" y="457867"/>
                  <a:pt x="749046" y="457772"/>
                  <a:pt x="753809" y="463105"/>
                </a:cubicBezTo>
                <a:cubicBezTo>
                  <a:pt x="754666" y="464630"/>
                  <a:pt x="762667" y="470154"/>
                  <a:pt x="757523" y="475298"/>
                </a:cubicBezTo>
                <a:cubicBezTo>
                  <a:pt x="747332" y="485489"/>
                  <a:pt x="742093" y="492157"/>
                  <a:pt x="734949" y="493967"/>
                </a:cubicBezTo>
                <a:cubicBezTo>
                  <a:pt x="714089" y="498920"/>
                  <a:pt x="705231" y="502730"/>
                  <a:pt x="708279" y="495967"/>
                </a:cubicBezTo>
                <a:cubicBezTo>
                  <a:pt x="709898" y="490919"/>
                  <a:pt x="718185" y="478822"/>
                  <a:pt x="710375" y="481489"/>
                </a:cubicBezTo>
                <a:lnTo>
                  <a:pt x="644081" y="503873"/>
                </a:lnTo>
                <a:cubicBezTo>
                  <a:pt x="629888" y="508730"/>
                  <a:pt x="603790" y="538544"/>
                  <a:pt x="607790" y="527018"/>
                </a:cubicBezTo>
                <a:cubicBezTo>
                  <a:pt x="616649" y="501396"/>
                  <a:pt x="617030" y="496729"/>
                  <a:pt x="623411" y="494252"/>
                </a:cubicBezTo>
                <a:lnTo>
                  <a:pt x="672751" y="475202"/>
                </a:lnTo>
                <a:cubicBezTo>
                  <a:pt x="677418" y="473393"/>
                  <a:pt x="696468" y="459296"/>
                  <a:pt x="688753" y="453580"/>
                </a:cubicBezTo>
                <a:lnTo>
                  <a:pt x="676561" y="444532"/>
                </a:lnTo>
                <a:cubicBezTo>
                  <a:pt x="674180" y="442722"/>
                  <a:pt x="670941" y="443389"/>
                  <a:pt x="669322" y="445865"/>
                </a:cubicBezTo>
                <a:lnTo>
                  <a:pt x="660844" y="459010"/>
                </a:lnTo>
                <a:cubicBezTo>
                  <a:pt x="659225" y="461486"/>
                  <a:pt x="655701" y="462534"/>
                  <a:pt x="653034" y="461296"/>
                </a:cubicBezTo>
                <a:lnTo>
                  <a:pt x="638270" y="454628"/>
                </a:lnTo>
                <a:cubicBezTo>
                  <a:pt x="635603" y="453390"/>
                  <a:pt x="630936" y="452819"/>
                  <a:pt x="627983" y="453200"/>
                </a:cubicBezTo>
                <a:lnTo>
                  <a:pt x="607695" y="456343"/>
                </a:lnTo>
                <a:cubicBezTo>
                  <a:pt x="604742" y="456819"/>
                  <a:pt x="601504" y="459391"/>
                  <a:pt x="600361" y="462248"/>
                </a:cubicBezTo>
                <a:lnTo>
                  <a:pt x="594741" y="476822"/>
                </a:lnTo>
                <a:cubicBezTo>
                  <a:pt x="593693" y="479584"/>
                  <a:pt x="590455" y="481298"/>
                  <a:pt x="587597" y="480536"/>
                </a:cubicBezTo>
                <a:lnTo>
                  <a:pt x="575882" y="477584"/>
                </a:lnTo>
                <a:cubicBezTo>
                  <a:pt x="573024" y="476822"/>
                  <a:pt x="568643" y="477584"/>
                  <a:pt x="566071" y="479203"/>
                </a:cubicBezTo>
                <a:lnTo>
                  <a:pt x="537020" y="497967"/>
                </a:lnTo>
                <a:cubicBezTo>
                  <a:pt x="534543" y="499586"/>
                  <a:pt x="530257" y="499872"/>
                  <a:pt x="527590" y="498634"/>
                </a:cubicBezTo>
                <a:lnTo>
                  <a:pt x="513588" y="492062"/>
                </a:lnTo>
                <a:cubicBezTo>
                  <a:pt x="510921" y="490823"/>
                  <a:pt x="507016" y="491585"/>
                  <a:pt x="505016" y="493681"/>
                </a:cubicBezTo>
                <a:lnTo>
                  <a:pt x="498158" y="500920"/>
                </a:lnTo>
                <a:cubicBezTo>
                  <a:pt x="493395" y="505873"/>
                  <a:pt x="483775" y="505587"/>
                  <a:pt x="484727" y="505397"/>
                </a:cubicBezTo>
                <a:cubicBezTo>
                  <a:pt x="481775" y="505587"/>
                  <a:pt x="478917" y="508064"/>
                  <a:pt x="478346" y="511016"/>
                </a:cubicBezTo>
                <a:lnTo>
                  <a:pt x="475583" y="525780"/>
                </a:lnTo>
                <a:cubicBezTo>
                  <a:pt x="475012" y="528733"/>
                  <a:pt x="472154" y="531495"/>
                  <a:pt x="469297" y="532067"/>
                </a:cubicBezTo>
                <a:lnTo>
                  <a:pt x="423577" y="540449"/>
                </a:lnTo>
                <a:cubicBezTo>
                  <a:pt x="420624" y="541020"/>
                  <a:pt x="419291" y="539210"/>
                  <a:pt x="420624" y="536543"/>
                </a:cubicBezTo>
                <a:lnTo>
                  <a:pt x="430149" y="516922"/>
                </a:lnTo>
                <a:cubicBezTo>
                  <a:pt x="431483" y="514255"/>
                  <a:pt x="430244" y="511112"/>
                  <a:pt x="427482" y="510064"/>
                </a:cubicBezTo>
                <a:lnTo>
                  <a:pt x="389096" y="494348"/>
                </a:lnTo>
                <a:cubicBezTo>
                  <a:pt x="386334" y="493205"/>
                  <a:pt x="384620" y="494633"/>
                  <a:pt x="385286" y="497586"/>
                </a:cubicBezTo>
                <a:lnTo>
                  <a:pt x="387668" y="507683"/>
                </a:lnTo>
                <a:cubicBezTo>
                  <a:pt x="388334" y="510540"/>
                  <a:pt x="387096" y="514541"/>
                  <a:pt x="384905" y="516541"/>
                </a:cubicBezTo>
                <a:lnTo>
                  <a:pt x="377095" y="523589"/>
                </a:lnTo>
                <a:cubicBezTo>
                  <a:pt x="374904" y="525590"/>
                  <a:pt x="370713" y="526828"/>
                  <a:pt x="367760" y="526352"/>
                </a:cubicBezTo>
                <a:lnTo>
                  <a:pt x="340328" y="521780"/>
                </a:lnTo>
                <a:cubicBezTo>
                  <a:pt x="337376" y="521303"/>
                  <a:pt x="332994" y="522256"/>
                  <a:pt x="330518" y="523875"/>
                </a:cubicBezTo>
                <a:lnTo>
                  <a:pt x="287941" y="552069"/>
                </a:lnTo>
                <a:cubicBezTo>
                  <a:pt x="285464" y="553688"/>
                  <a:pt x="284512" y="557213"/>
                  <a:pt x="285750" y="559975"/>
                </a:cubicBezTo>
                <a:lnTo>
                  <a:pt x="295370" y="580358"/>
                </a:lnTo>
                <a:cubicBezTo>
                  <a:pt x="296609" y="583025"/>
                  <a:pt x="295275" y="584930"/>
                  <a:pt x="292322" y="584645"/>
                </a:cubicBezTo>
                <a:lnTo>
                  <a:pt x="267367" y="581882"/>
                </a:lnTo>
                <a:cubicBezTo>
                  <a:pt x="260985" y="581216"/>
                  <a:pt x="256223" y="588836"/>
                  <a:pt x="257175" y="587978"/>
                </a:cubicBezTo>
                <a:cubicBezTo>
                  <a:pt x="255460" y="590360"/>
                  <a:pt x="251746" y="591503"/>
                  <a:pt x="248984" y="590550"/>
                </a:cubicBezTo>
                <a:lnTo>
                  <a:pt x="193262" y="570452"/>
                </a:lnTo>
                <a:cubicBezTo>
                  <a:pt x="184499" y="567309"/>
                  <a:pt x="120587" y="532543"/>
                  <a:pt x="121539" y="533019"/>
                </a:cubicBezTo>
                <a:cubicBezTo>
                  <a:pt x="118967" y="531590"/>
                  <a:pt x="118396" y="528638"/>
                  <a:pt x="120301" y="526352"/>
                </a:cubicBezTo>
                <a:lnTo>
                  <a:pt x="128302" y="517017"/>
                </a:lnTo>
                <a:cubicBezTo>
                  <a:pt x="132112" y="512636"/>
                  <a:pt x="125444" y="509016"/>
                  <a:pt x="126302" y="509969"/>
                </a:cubicBezTo>
                <a:cubicBezTo>
                  <a:pt x="123730" y="508540"/>
                  <a:pt x="119444" y="508635"/>
                  <a:pt x="116967" y="510254"/>
                </a:cubicBezTo>
                <a:cubicBezTo>
                  <a:pt x="104489" y="517874"/>
                  <a:pt x="98584" y="522923"/>
                  <a:pt x="91726" y="521208"/>
                </a:cubicBezTo>
                <a:cubicBezTo>
                  <a:pt x="66770" y="515207"/>
                  <a:pt x="59722" y="513017"/>
                  <a:pt x="51911" y="512731"/>
                </a:cubicBezTo>
                <a:cubicBezTo>
                  <a:pt x="28004" y="511683"/>
                  <a:pt x="11525" y="511112"/>
                  <a:pt x="0" y="510635"/>
                </a:cubicBezTo>
                <a:lnTo>
                  <a:pt x="0" y="1427131"/>
                </a:lnTo>
                <a:lnTo>
                  <a:pt x="28861" y="1434275"/>
                </a:lnTo>
                <a:lnTo>
                  <a:pt x="39148" y="1429322"/>
                </a:lnTo>
                <a:lnTo>
                  <a:pt x="62484" y="1437799"/>
                </a:lnTo>
                <a:lnTo>
                  <a:pt x="83630" y="1422464"/>
                </a:lnTo>
                <a:lnTo>
                  <a:pt x="116586" y="1423797"/>
                </a:lnTo>
                <a:lnTo>
                  <a:pt x="111633" y="1449800"/>
                </a:lnTo>
                <a:lnTo>
                  <a:pt x="202311" y="1520952"/>
                </a:lnTo>
                <a:lnTo>
                  <a:pt x="212503" y="1552956"/>
                </a:lnTo>
                <a:lnTo>
                  <a:pt x="266986" y="1527619"/>
                </a:lnTo>
                <a:lnTo>
                  <a:pt x="272129" y="1506855"/>
                </a:lnTo>
                <a:lnTo>
                  <a:pt x="289274" y="1498854"/>
                </a:lnTo>
                <a:lnTo>
                  <a:pt x="293275" y="1486186"/>
                </a:lnTo>
                <a:lnTo>
                  <a:pt x="332423" y="1473041"/>
                </a:lnTo>
                <a:lnTo>
                  <a:pt x="358902" y="1491806"/>
                </a:lnTo>
                <a:lnTo>
                  <a:pt x="364046" y="1521238"/>
                </a:lnTo>
                <a:lnTo>
                  <a:pt x="382429" y="1525524"/>
                </a:lnTo>
                <a:lnTo>
                  <a:pt x="406146" y="1556766"/>
                </a:lnTo>
                <a:lnTo>
                  <a:pt x="427482" y="1567244"/>
                </a:lnTo>
                <a:lnTo>
                  <a:pt x="452914" y="1592104"/>
                </a:lnTo>
                <a:lnTo>
                  <a:pt x="452914" y="1607915"/>
                </a:lnTo>
                <a:lnTo>
                  <a:pt x="473012" y="1622012"/>
                </a:lnTo>
                <a:lnTo>
                  <a:pt x="522161" y="1693069"/>
                </a:lnTo>
                <a:lnTo>
                  <a:pt x="521018" y="1710690"/>
                </a:lnTo>
                <a:lnTo>
                  <a:pt x="537401" y="1715262"/>
                </a:lnTo>
                <a:lnTo>
                  <a:pt x="535591" y="1730312"/>
                </a:lnTo>
                <a:lnTo>
                  <a:pt x="549593" y="1735836"/>
                </a:lnTo>
                <a:lnTo>
                  <a:pt x="553212" y="1753172"/>
                </a:lnTo>
                <a:lnTo>
                  <a:pt x="574548" y="1754315"/>
                </a:lnTo>
                <a:lnTo>
                  <a:pt x="598265" y="1772603"/>
                </a:lnTo>
                <a:lnTo>
                  <a:pt x="619506" y="1777365"/>
                </a:lnTo>
                <a:lnTo>
                  <a:pt x="639128" y="1794510"/>
                </a:lnTo>
                <a:lnTo>
                  <a:pt x="655415" y="1795558"/>
                </a:lnTo>
                <a:lnTo>
                  <a:pt x="661321" y="1807940"/>
                </a:lnTo>
                <a:lnTo>
                  <a:pt x="652272" y="1835277"/>
                </a:lnTo>
                <a:lnTo>
                  <a:pt x="664369" y="1862804"/>
                </a:lnTo>
                <a:lnTo>
                  <a:pt x="617125" y="1910048"/>
                </a:lnTo>
                <a:cubicBezTo>
                  <a:pt x="620459" y="1911191"/>
                  <a:pt x="623697" y="1911953"/>
                  <a:pt x="627126" y="1911668"/>
                </a:cubicBezTo>
                <a:cubicBezTo>
                  <a:pt x="628460" y="1911858"/>
                  <a:pt x="638937" y="1909191"/>
                  <a:pt x="635508" y="1915573"/>
                </a:cubicBezTo>
                <a:cubicBezTo>
                  <a:pt x="634079" y="1919192"/>
                  <a:pt x="627507" y="1925860"/>
                  <a:pt x="631222" y="1932718"/>
                </a:cubicBezTo>
                <a:cubicBezTo>
                  <a:pt x="640652" y="1950148"/>
                  <a:pt x="642176" y="1955483"/>
                  <a:pt x="649034" y="1956149"/>
                </a:cubicBezTo>
                <a:cubicBezTo>
                  <a:pt x="649986" y="1956435"/>
                  <a:pt x="658368" y="1955483"/>
                  <a:pt x="659130" y="1962436"/>
                </a:cubicBezTo>
                <a:cubicBezTo>
                  <a:pt x="659130" y="1970056"/>
                  <a:pt x="663321" y="1979390"/>
                  <a:pt x="657225" y="1985105"/>
                </a:cubicBezTo>
                <a:cubicBezTo>
                  <a:pt x="656082" y="1986725"/>
                  <a:pt x="646557" y="1992535"/>
                  <a:pt x="653510" y="1995107"/>
                </a:cubicBezTo>
                <a:cubicBezTo>
                  <a:pt x="654463" y="1995583"/>
                  <a:pt x="661607" y="1997107"/>
                  <a:pt x="665702" y="2002727"/>
                </a:cubicBezTo>
                <a:cubicBezTo>
                  <a:pt x="677990" y="2019491"/>
                  <a:pt x="681228" y="2026920"/>
                  <a:pt x="685705" y="2021205"/>
                </a:cubicBezTo>
                <a:cubicBezTo>
                  <a:pt x="686467" y="2019872"/>
                  <a:pt x="692372" y="2014633"/>
                  <a:pt x="691325" y="2007584"/>
                </a:cubicBezTo>
                <a:lnTo>
                  <a:pt x="690944" y="2005203"/>
                </a:lnTo>
                <a:cubicBezTo>
                  <a:pt x="690467" y="2002250"/>
                  <a:pt x="692182" y="2001107"/>
                  <a:pt x="694754" y="2002631"/>
                </a:cubicBezTo>
                <a:cubicBezTo>
                  <a:pt x="695706" y="2002917"/>
                  <a:pt x="701421" y="2008156"/>
                  <a:pt x="706946" y="2004155"/>
                </a:cubicBezTo>
                <a:cubicBezTo>
                  <a:pt x="709327" y="2002441"/>
                  <a:pt x="712375" y="2003203"/>
                  <a:pt x="713613" y="2005870"/>
                </a:cubicBezTo>
                <a:lnTo>
                  <a:pt x="715994" y="2010728"/>
                </a:lnTo>
                <a:cubicBezTo>
                  <a:pt x="718947" y="2016823"/>
                  <a:pt x="728472" y="2018729"/>
                  <a:pt x="727519" y="2018252"/>
                </a:cubicBezTo>
                <a:cubicBezTo>
                  <a:pt x="732282" y="2019586"/>
                  <a:pt x="752951" y="2029397"/>
                  <a:pt x="755999" y="2038636"/>
                </a:cubicBezTo>
                <a:lnTo>
                  <a:pt x="767239" y="2071783"/>
                </a:lnTo>
                <a:cubicBezTo>
                  <a:pt x="769906" y="2079498"/>
                  <a:pt x="758285" y="2079498"/>
                  <a:pt x="762572" y="2086451"/>
                </a:cubicBezTo>
                <a:cubicBezTo>
                  <a:pt x="763429" y="2087404"/>
                  <a:pt x="765810" y="2093786"/>
                  <a:pt x="772573" y="2094643"/>
                </a:cubicBezTo>
                <a:lnTo>
                  <a:pt x="774954" y="2094929"/>
                </a:lnTo>
                <a:cubicBezTo>
                  <a:pt x="777907" y="2095310"/>
                  <a:pt x="779526" y="2097977"/>
                  <a:pt x="778574" y="2100739"/>
                </a:cubicBezTo>
                <a:cubicBezTo>
                  <a:pt x="777145" y="2103501"/>
                  <a:pt x="776669" y="2112645"/>
                  <a:pt x="769144" y="2113979"/>
                </a:cubicBezTo>
                <a:cubicBezTo>
                  <a:pt x="762857" y="2115788"/>
                  <a:pt x="747046" y="2115122"/>
                  <a:pt x="752951" y="2121408"/>
                </a:cubicBezTo>
                <a:cubicBezTo>
                  <a:pt x="757809" y="2126647"/>
                  <a:pt x="762762" y="2131219"/>
                  <a:pt x="765524" y="2137505"/>
                </a:cubicBezTo>
                <a:cubicBezTo>
                  <a:pt x="766286" y="2138553"/>
                  <a:pt x="769049" y="2149316"/>
                  <a:pt x="772859" y="2143030"/>
                </a:cubicBezTo>
                <a:cubicBezTo>
                  <a:pt x="778574" y="2135410"/>
                  <a:pt x="780860" y="2124361"/>
                  <a:pt x="789337" y="2125123"/>
                </a:cubicBezTo>
                <a:cubicBezTo>
                  <a:pt x="793052" y="2125980"/>
                  <a:pt x="806387" y="2124456"/>
                  <a:pt x="801053" y="2130362"/>
                </a:cubicBezTo>
                <a:cubicBezTo>
                  <a:pt x="795528" y="2137791"/>
                  <a:pt x="785908" y="2143220"/>
                  <a:pt x="788861" y="2151126"/>
                </a:cubicBezTo>
                <a:cubicBezTo>
                  <a:pt x="791718" y="2156460"/>
                  <a:pt x="792480" y="2167985"/>
                  <a:pt x="800291" y="2166366"/>
                </a:cubicBezTo>
                <a:lnTo>
                  <a:pt x="801529" y="2166080"/>
                </a:lnTo>
                <a:cubicBezTo>
                  <a:pt x="811340" y="2164080"/>
                  <a:pt x="798005" y="2179415"/>
                  <a:pt x="807911" y="2178749"/>
                </a:cubicBezTo>
                <a:cubicBezTo>
                  <a:pt x="808863" y="2178939"/>
                  <a:pt x="816197" y="2176748"/>
                  <a:pt x="818102" y="2183321"/>
                </a:cubicBezTo>
                <a:lnTo>
                  <a:pt x="818864" y="2185892"/>
                </a:lnTo>
                <a:cubicBezTo>
                  <a:pt x="822198" y="2197322"/>
                  <a:pt x="787813" y="2188464"/>
                  <a:pt x="796862" y="2197513"/>
                </a:cubicBezTo>
                <a:cubicBezTo>
                  <a:pt x="807815" y="2208467"/>
                  <a:pt x="813816" y="2216182"/>
                  <a:pt x="821341" y="2217992"/>
                </a:cubicBezTo>
                <a:cubicBezTo>
                  <a:pt x="850106" y="2225135"/>
                  <a:pt x="855631" y="2224850"/>
                  <a:pt x="857726" y="2231803"/>
                </a:cubicBezTo>
                <a:cubicBezTo>
                  <a:pt x="859441" y="2240947"/>
                  <a:pt x="867251" y="2254377"/>
                  <a:pt x="858869" y="2252282"/>
                </a:cubicBezTo>
                <a:cubicBezTo>
                  <a:pt x="823817" y="2243519"/>
                  <a:pt x="819626" y="2243328"/>
                  <a:pt x="813816" y="2238756"/>
                </a:cubicBezTo>
                <a:cubicBezTo>
                  <a:pt x="790289" y="2220087"/>
                  <a:pt x="788003" y="2216658"/>
                  <a:pt x="781431" y="2218754"/>
                </a:cubicBezTo>
                <a:cubicBezTo>
                  <a:pt x="758857" y="2225802"/>
                  <a:pt x="750951" y="2226564"/>
                  <a:pt x="755809" y="2231898"/>
                </a:cubicBezTo>
                <a:cubicBezTo>
                  <a:pt x="784193" y="2263616"/>
                  <a:pt x="786575" y="2264759"/>
                  <a:pt x="786575" y="2271808"/>
                </a:cubicBezTo>
                <a:cubicBezTo>
                  <a:pt x="786956" y="2273808"/>
                  <a:pt x="784479" y="2284667"/>
                  <a:pt x="791813" y="2282952"/>
                </a:cubicBezTo>
                <a:cubicBezTo>
                  <a:pt x="795814" y="2282476"/>
                  <a:pt x="804196" y="2277999"/>
                  <a:pt x="810387" y="2282762"/>
                </a:cubicBezTo>
                <a:cubicBezTo>
                  <a:pt x="858774" y="2319433"/>
                  <a:pt x="860108" y="2318957"/>
                  <a:pt x="861441" y="2326100"/>
                </a:cubicBezTo>
                <a:cubicBezTo>
                  <a:pt x="862489" y="2328863"/>
                  <a:pt x="862013" y="2340578"/>
                  <a:pt x="868680" y="2336768"/>
                </a:cubicBezTo>
                <a:lnTo>
                  <a:pt x="871157" y="2335340"/>
                </a:lnTo>
                <a:cubicBezTo>
                  <a:pt x="873728" y="2333911"/>
                  <a:pt x="877729" y="2334197"/>
                  <a:pt x="880110" y="2336006"/>
                </a:cubicBezTo>
                <a:cubicBezTo>
                  <a:pt x="924116" y="2370011"/>
                  <a:pt x="925259" y="2373344"/>
                  <a:pt x="930497" y="2368201"/>
                </a:cubicBezTo>
                <a:lnTo>
                  <a:pt x="931831" y="2366867"/>
                </a:lnTo>
                <a:cubicBezTo>
                  <a:pt x="933926" y="2364772"/>
                  <a:pt x="938022" y="2363629"/>
                  <a:pt x="940880" y="2364391"/>
                </a:cubicBezTo>
                <a:cubicBezTo>
                  <a:pt x="943832" y="2365724"/>
                  <a:pt x="955739" y="2365724"/>
                  <a:pt x="952405" y="2372678"/>
                </a:cubicBezTo>
                <a:cubicBezTo>
                  <a:pt x="952024" y="2374202"/>
                  <a:pt x="945928" y="2381917"/>
                  <a:pt x="952500" y="2384870"/>
                </a:cubicBezTo>
                <a:cubicBezTo>
                  <a:pt x="967169" y="2391442"/>
                  <a:pt x="1028700" y="2422017"/>
                  <a:pt x="1045655" y="2413921"/>
                </a:cubicBezTo>
                <a:cubicBezTo>
                  <a:pt x="1046798" y="2412968"/>
                  <a:pt x="1056989" y="2410492"/>
                  <a:pt x="1051846" y="2405253"/>
                </a:cubicBezTo>
                <a:cubicBezTo>
                  <a:pt x="1048607" y="2400967"/>
                  <a:pt x="1037463" y="2394871"/>
                  <a:pt x="1043654" y="2389442"/>
                </a:cubicBezTo>
                <a:cubicBezTo>
                  <a:pt x="1046702" y="2385822"/>
                  <a:pt x="1057751" y="2380393"/>
                  <a:pt x="1051465" y="2375345"/>
                </a:cubicBezTo>
                <a:cubicBezTo>
                  <a:pt x="1035367" y="2362295"/>
                  <a:pt x="1031272" y="2358295"/>
                  <a:pt x="1024700" y="2355628"/>
                </a:cubicBezTo>
                <a:cubicBezTo>
                  <a:pt x="1011650" y="2350294"/>
                  <a:pt x="958120" y="2330672"/>
                  <a:pt x="961263" y="2316671"/>
                </a:cubicBezTo>
                <a:lnTo>
                  <a:pt x="961263" y="2316480"/>
                </a:lnTo>
                <a:cubicBezTo>
                  <a:pt x="963930" y="2304574"/>
                  <a:pt x="932783" y="2282190"/>
                  <a:pt x="945261" y="2282952"/>
                </a:cubicBezTo>
                <a:cubicBezTo>
                  <a:pt x="959167" y="2283905"/>
                  <a:pt x="965549" y="2283238"/>
                  <a:pt x="970407" y="2288286"/>
                </a:cubicBezTo>
                <a:cubicBezTo>
                  <a:pt x="996125" y="2314861"/>
                  <a:pt x="999363" y="2320671"/>
                  <a:pt x="1001744" y="2313813"/>
                </a:cubicBezTo>
                <a:lnTo>
                  <a:pt x="1001935" y="2313337"/>
                </a:lnTo>
                <a:cubicBezTo>
                  <a:pt x="1005364" y="2303145"/>
                  <a:pt x="1017080" y="2324576"/>
                  <a:pt x="1031367" y="2329625"/>
                </a:cubicBezTo>
                <a:cubicBezTo>
                  <a:pt x="1061276" y="2340197"/>
                  <a:pt x="1065943" y="2340578"/>
                  <a:pt x="1069277" y="2346865"/>
                </a:cubicBezTo>
                <a:cubicBezTo>
                  <a:pt x="1071372" y="2349818"/>
                  <a:pt x="1073372" y="2359343"/>
                  <a:pt x="1081088" y="2359343"/>
                </a:cubicBezTo>
                <a:cubicBezTo>
                  <a:pt x="1082040" y="2359533"/>
                  <a:pt x="1088517" y="2358295"/>
                  <a:pt x="1092708" y="2363629"/>
                </a:cubicBezTo>
                <a:cubicBezTo>
                  <a:pt x="1094613" y="2366105"/>
                  <a:pt x="1096328" y="2368296"/>
                  <a:pt x="1098042" y="2370392"/>
                </a:cubicBezTo>
                <a:lnTo>
                  <a:pt x="2742057" y="2370392"/>
                </a:lnTo>
                <a:cubicBezTo>
                  <a:pt x="2742057" y="2369630"/>
                  <a:pt x="2741962" y="2368963"/>
                  <a:pt x="2741771" y="2368582"/>
                </a:cubicBezTo>
                <a:cubicBezTo>
                  <a:pt x="2741581" y="2366772"/>
                  <a:pt x="2742438" y="2365439"/>
                  <a:pt x="2743676" y="2364296"/>
                </a:cubicBezTo>
                <a:lnTo>
                  <a:pt x="2757107" y="2345341"/>
                </a:lnTo>
                <a:cubicBezTo>
                  <a:pt x="2756345" y="2343341"/>
                  <a:pt x="2762536" y="2338578"/>
                  <a:pt x="2763488" y="2337245"/>
                </a:cubicBezTo>
                <a:cubicBezTo>
                  <a:pt x="2768727" y="2332101"/>
                  <a:pt x="2776633" y="2333720"/>
                  <a:pt x="2778919" y="2333435"/>
                </a:cubicBezTo>
                <a:cubicBezTo>
                  <a:pt x="2785777" y="2333435"/>
                  <a:pt x="2787491" y="2337340"/>
                  <a:pt x="2804732" y="2358962"/>
                </a:cubicBezTo>
                <a:cubicBezTo>
                  <a:pt x="2809208" y="2364581"/>
                  <a:pt x="2803398" y="2367439"/>
                  <a:pt x="2783205" y="2385727"/>
                </a:cubicBezTo>
                <a:cubicBezTo>
                  <a:pt x="2781776" y="2387060"/>
                  <a:pt x="2780348" y="2387441"/>
                  <a:pt x="2778919" y="2387251"/>
                </a:cubicBezTo>
                <a:lnTo>
                  <a:pt x="2779205" y="2389346"/>
                </a:lnTo>
                <a:lnTo>
                  <a:pt x="2831878" y="2399348"/>
                </a:lnTo>
                <a:lnTo>
                  <a:pt x="2835402" y="2407634"/>
                </a:lnTo>
                <a:lnTo>
                  <a:pt x="2854452" y="2407920"/>
                </a:lnTo>
                <a:lnTo>
                  <a:pt x="2862929" y="2398586"/>
                </a:lnTo>
                <a:lnTo>
                  <a:pt x="2907220" y="2407920"/>
                </a:lnTo>
                <a:lnTo>
                  <a:pt x="2914078" y="2429447"/>
                </a:lnTo>
                <a:lnTo>
                  <a:pt x="2954750" y="2425637"/>
                </a:lnTo>
                <a:lnTo>
                  <a:pt x="2959989" y="2440305"/>
                </a:lnTo>
                <a:lnTo>
                  <a:pt x="2986659" y="2440305"/>
                </a:lnTo>
                <a:lnTo>
                  <a:pt x="2994374" y="2430590"/>
                </a:lnTo>
                <a:lnTo>
                  <a:pt x="3011710" y="2424970"/>
                </a:lnTo>
                <a:lnTo>
                  <a:pt x="3017711" y="2436209"/>
                </a:lnTo>
                <a:lnTo>
                  <a:pt x="3053810" y="2432590"/>
                </a:lnTo>
                <a:lnTo>
                  <a:pt x="3069145" y="2447354"/>
                </a:lnTo>
                <a:cubicBezTo>
                  <a:pt x="3075813" y="2444591"/>
                  <a:pt x="3083338" y="2441448"/>
                  <a:pt x="3092006" y="2437829"/>
                </a:cubicBezTo>
                <a:cubicBezTo>
                  <a:pt x="3098387" y="2435162"/>
                  <a:pt x="3098768" y="2428589"/>
                  <a:pt x="3102007" y="2415540"/>
                </a:cubicBezTo>
                <a:cubicBezTo>
                  <a:pt x="3104007" y="2407349"/>
                  <a:pt x="3122771" y="2409920"/>
                  <a:pt x="3122771" y="2409920"/>
                </a:cubicBezTo>
                <a:cubicBezTo>
                  <a:pt x="3131153" y="2409730"/>
                  <a:pt x="3132582" y="2398967"/>
                  <a:pt x="3136487" y="2392871"/>
                </a:cubicBezTo>
                <a:cubicBezTo>
                  <a:pt x="3139726" y="2386298"/>
                  <a:pt x="3148299" y="2388775"/>
                  <a:pt x="3150584" y="2388394"/>
                </a:cubicBezTo>
                <a:cubicBezTo>
                  <a:pt x="3159157" y="2388680"/>
                  <a:pt x="3150965" y="2400586"/>
                  <a:pt x="3149537" y="2406872"/>
                </a:cubicBezTo>
                <a:cubicBezTo>
                  <a:pt x="3147060" y="2413921"/>
                  <a:pt x="3153537" y="2408968"/>
                  <a:pt x="3195542" y="2386584"/>
                </a:cubicBezTo>
                <a:cubicBezTo>
                  <a:pt x="3202210" y="2383060"/>
                  <a:pt x="3189542" y="2382774"/>
                  <a:pt x="3181826" y="2381822"/>
                </a:cubicBezTo>
                <a:cubicBezTo>
                  <a:pt x="3175159" y="2381060"/>
                  <a:pt x="3171539" y="2376202"/>
                  <a:pt x="3170587" y="2375535"/>
                </a:cubicBezTo>
                <a:cubicBezTo>
                  <a:pt x="3165062" y="2370201"/>
                  <a:pt x="3176397" y="2367153"/>
                  <a:pt x="3178302" y="2365629"/>
                </a:cubicBezTo>
                <a:cubicBezTo>
                  <a:pt x="3184589" y="2362295"/>
                  <a:pt x="3187541" y="2365058"/>
                  <a:pt x="3218402" y="2378202"/>
                </a:cubicBezTo>
                <a:cubicBezTo>
                  <a:pt x="3225451" y="2381155"/>
                  <a:pt x="3230975" y="2380774"/>
                  <a:pt x="3270885" y="2382965"/>
                </a:cubicBezTo>
                <a:cubicBezTo>
                  <a:pt x="3278600" y="2383346"/>
                  <a:pt x="3280315" y="2392680"/>
                  <a:pt x="3295555" y="2428304"/>
                </a:cubicBezTo>
                <a:cubicBezTo>
                  <a:pt x="3298603" y="2435352"/>
                  <a:pt x="3307461" y="2440210"/>
                  <a:pt x="3317843" y="2447639"/>
                </a:cubicBezTo>
                <a:cubicBezTo>
                  <a:pt x="3323844" y="2451926"/>
                  <a:pt x="3329654" y="2450116"/>
                  <a:pt x="3366040" y="2447258"/>
                </a:cubicBezTo>
                <a:cubicBezTo>
                  <a:pt x="3374708" y="2446592"/>
                  <a:pt x="3365945" y="2459069"/>
                  <a:pt x="3362897" y="2471071"/>
                </a:cubicBezTo>
                <a:cubicBezTo>
                  <a:pt x="3360611" y="2477643"/>
                  <a:pt x="3365754" y="2480025"/>
                  <a:pt x="3383947" y="2494979"/>
                </a:cubicBezTo>
                <a:cubicBezTo>
                  <a:pt x="3390519" y="2500408"/>
                  <a:pt x="3382042" y="2509171"/>
                  <a:pt x="3379280" y="2517362"/>
                </a:cubicBezTo>
                <a:cubicBezTo>
                  <a:pt x="3375755" y="2524983"/>
                  <a:pt x="3388709" y="2526125"/>
                  <a:pt x="3394996" y="2529745"/>
                </a:cubicBezTo>
                <a:cubicBezTo>
                  <a:pt x="3401282" y="2532317"/>
                  <a:pt x="3399282" y="2537460"/>
                  <a:pt x="3396710" y="2558987"/>
                </a:cubicBezTo>
                <a:cubicBezTo>
                  <a:pt x="3396520" y="2560796"/>
                  <a:pt x="3395949" y="2562035"/>
                  <a:pt x="3394805" y="2562796"/>
                </a:cubicBezTo>
                <a:lnTo>
                  <a:pt x="3396044" y="2564321"/>
                </a:lnTo>
                <a:lnTo>
                  <a:pt x="3418427" y="2592705"/>
                </a:lnTo>
                <a:cubicBezTo>
                  <a:pt x="3419380" y="2592038"/>
                  <a:pt x="3419856" y="2590895"/>
                  <a:pt x="3419856" y="2589086"/>
                </a:cubicBezTo>
                <a:cubicBezTo>
                  <a:pt x="3420809" y="2580799"/>
                  <a:pt x="3416808" y="2568035"/>
                  <a:pt x="3425190" y="2568702"/>
                </a:cubicBezTo>
                <a:lnTo>
                  <a:pt x="3504152" y="2574989"/>
                </a:lnTo>
                <a:cubicBezTo>
                  <a:pt x="3513582" y="2575751"/>
                  <a:pt x="3615595" y="2599849"/>
                  <a:pt x="3614642" y="2599563"/>
                </a:cubicBezTo>
                <a:cubicBezTo>
                  <a:pt x="3617500" y="2600230"/>
                  <a:pt x="3621310" y="2602802"/>
                  <a:pt x="3623024" y="2605183"/>
                </a:cubicBezTo>
                <a:lnTo>
                  <a:pt x="3676269" y="2680526"/>
                </a:lnTo>
                <a:cubicBezTo>
                  <a:pt x="3677984" y="2682907"/>
                  <a:pt x="3676936" y="2684717"/>
                  <a:pt x="3673983" y="2684526"/>
                </a:cubicBezTo>
                <a:lnTo>
                  <a:pt x="3661505" y="2683574"/>
                </a:lnTo>
                <a:cubicBezTo>
                  <a:pt x="3658553" y="2683383"/>
                  <a:pt x="3657600" y="2685098"/>
                  <a:pt x="3659315" y="2687479"/>
                </a:cubicBezTo>
                <a:lnTo>
                  <a:pt x="3663029" y="2692527"/>
                </a:lnTo>
                <a:cubicBezTo>
                  <a:pt x="3664839" y="2694908"/>
                  <a:pt x="3665125" y="2699004"/>
                  <a:pt x="3663696" y="2701671"/>
                </a:cubicBezTo>
                <a:lnTo>
                  <a:pt x="3659886" y="2708815"/>
                </a:lnTo>
                <a:cubicBezTo>
                  <a:pt x="3658457" y="2711387"/>
                  <a:pt x="3655219" y="2712339"/>
                  <a:pt x="3652647" y="2710910"/>
                </a:cubicBezTo>
                <a:lnTo>
                  <a:pt x="3626834" y="2696051"/>
                </a:lnTo>
                <a:cubicBezTo>
                  <a:pt x="3621405" y="2692908"/>
                  <a:pt x="3613785" y="2695956"/>
                  <a:pt x="3614738" y="2695861"/>
                </a:cubicBezTo>
                <a:cubicBezTo>
                  <a:pt x="3611880" y="2696813"/>
                  <a:pt x="3609118" y="2695194"/>
                  <a:pt x="3608546" y="2692241"/>
                </a:cubicBezTo>
                <a:lnTo>
                  <a:pt x="3607118" y="2685574"/>
                </a:lnTo>
                <a:cubicBezTo>
                  <a:pt x="3606546" y="2682621"/>
                  <a:pt x="3604451" y="2678430"/>
                  <a:pt x="3602545" y="2676144"/>
                </a:cubicBezTo>
                <a:cubicBezTo>
                  <a:pt x="3588163" y="2659094"/>
                  <a:pt x="3585496" y="2653665"/>
                  <a:pt x="3578257" y="2653951"/>
                </a:cubicBezTo>
                <a:cubicBezTo>
                  <a:pt x="3572542" y="2654808"/>
                  <a:pt x="3557588" y="2652332"/>
                  <a:pt x="3562922" y="2658809"/>
                </a:cubicBezTo>
                <a:cubicBezTo>
                  <a:pt x="3575780" y="2674429"/>
                  <a:pt x="3582638" y="2680716"/>
                  <a:pt x="3583400" y="2688431"/>
                </a:cubicBezTo>
                <a:cubicBezTo>
                  <a:pt x="3583400" y="2692432"/>
                  <a:pt x="3586258" y="2700338"/>
                  <a:pt x="3581781" y="2706719"/>
                </a:cubicBezTo>
                <a:cubicBezTo>
                  <a:pt x="3562826" y="2733770"/>
                  <a:pt x="3559397" y="2736723"/>
                  <a:pt x="3559493" y="2743962"/>
                </a:cubicBezTo>
                <a:cubicBezTo>
                  <a:pt x="3559874" y="2789015"/>
                  <a:pt x="3561493" y="2792730"/>
                  <a:pt x="3555207" y="2796350"/>
                </a:cubicBezTo>
                <a:cubicBezTo>
                  <a:pt x="3549015" y="2799969"/>
                  <a:pt x="3542633" y="2802731"/>
                  <a:pt x="3539490" y="2808827"/>
                </a:cubicBezTo>
                <a:cubicBezTo>
                  <a:pt x="3538728" y="2809780"/>
                  <a:pt x="3536633" y="2817781"/>
                  <a:pt x="3529489" y="2817971"/>
                </a:cubicBezTo>
                <a:cubicBezTo>
                  <a:pt x="3524155" y="2817400"/>
                  <a:pt x="3515487" y="2819971"/>
                  <a:pt x="3511868" y="2816352"/>
                </a:cubicBezTo>
                <a:lnTo>
                  <a:pt x="3511010" y="2818448"/>
                </a:lnTo>
                <a:lnTo>
                  <a:pt x="3503295" y="2848737"/>
                </a:lnTo>
                <a:cubicBezTo>
                  <a:pt x="3509201" y="2851309"/>
                  <a:pt x="3514249" y="2853976"/>
                  <a:pt x="3514249" y="2853976"/>
                </a:cubicBezTo>
                <a:cubicBezTo>
                  <a:pt x="3521202" y="2857214"/>
                  <a:pt x="3513677" y="2864644"/>
                  <a:pt x="3512915" y="2866739"/>
                </a:cubicBezTo>
                <a:cubicBezTo>
                  <a:pt x="3508534" y="2874169"/>
                  <a:pt x="3498247" y="2868359"/>
                  <a:pt x="3487484" y="2867501"/>
                </a:cubicBezTo>
                <a:cubicBezTo>
                  <a:pt x="3485578" y="2867216"/>
                  <a:pt x="3484531" y="2866263"/>
                  <a:pt x="3483864" y="2865120"/>
                </a:cubicBezTo>
                <a:lnTo>
                  <a:pt x="3482150" y="2866549"/>
                </a:lnTo>
                <a:lnTo>
                  <a:pt x="3470243" y="2882646"/>
                </a:lnTo>
                <a:lnTo>
                  <a:pt x="3471482" y="2884170"/>
                </a:lnTo>
                <a:cubicBezTo>
                  <a:pt x="3472625" y="2883884"/>
                  <a:pt x="3473863" y="2883979"/>
                  <a:pt x="3475292" y="2884551"/>
                </a:cubicBezTo>
                <a:cubicBezTo>
                  <a:pt x="3505867" y="2895981"/>
                  <a:pt x="3509582" y="2898934"/>
                  <a:pt x="3511963" y="2892457"/>
                </a:cubicBezTo>
                <a:cubicBezTo>
                  <a:pt x="3512630" y="2891123"/>
                  <a:pt x="3513963" y="2883599"/>
                  <a:pt x="3520059" y="2879789"/>
                </a:cubicBezTo>
                <a:cubicBezTo>
                  <a:pt x="3579019" y="2843308"/>
                  <a:pt x="3577876" y="2842451"/>
                  <a:pt x="3585115" y="2843498"/>
                </a:cubicBezTo>
                <a:cubicBezTo>
                  <a:pt x="3633883" y="2850547"/>
                  <a:pt x="3636550" y="2852642"/>
                  <a:pt x="3640265" y="2846356"/>
                </a:cubicBezTo>
                <a:cubicBezTo>
                  <a:pt x="3640265" y="2846356"/>
                  <a:pt x="3646075" y="2831973"/>
                  <a:pt x="3654171" y="2831021"/>
                </a:cubicBezTo>
                <a:cubicBezTo>
                  <a:pt x="3704273" y="2824734"/>
                  <a:pt x="3721608" y="2821781"/>
                  <a:pt x="3727514" y="2822543"/>
                </a:cubicBezTo>
                <a:lnTo>
                  <a:pt x="3716845" y="2801779"/>
                </a:lnTo>
                <a:lnTo>
                  <a:pt x="3716845" y="2801779"/>
                </a:lnTo>
                <a:cubicBezTo>
                  <a:pt x="3715322" y="2802160"/>
                  <a:pt x="3713798" y="2802636"/>
                  <a:pt x="3712083" y="2803208"/>
                </a:cubicBezTo>
                <a:cubicBezTo>
                  <a:pt x="3704749" y="2805494"/>
                  <a:pt x="3697034" y="2802731"/>
                  <a:pt x="3674078" y="2797969"/>
                </a:cubicBezTo>
                <a:cubicBezTo>
                  <a:pt x="3667030" y="2796540"/>
                  <a:pt x="3673031" y="2790539"/>
                  <a:pt x="3683984" y="2774347"/>
                </a:cubicBezTo>
                <a:cubicBezTo>
                  <a:pt x="3688270" y="2768060"/>
                  <a:pt x="3699891" y="2770442"/>
                  <a:pt x="3699891" y="2770442"/>
                </a:cubicBezTo>
                <a:cubicBezTo>
                  <a:pt x="3706940" y="2770727"/>
                  <a:pt x="3710274" y="2766155"/>
                  <a:pt x="3724275" y="2753678"/>
                </a:cubicBezTo>
                <a:cubicBezTo>
                  <a:pt x="3729895" y="2748725"/>
                  <a:pt x="3731419" y="2749677"/>
                  <a:pt x="3796760" y="2740533"/>
                </a:cubicBezTo>
                <a:cubicBezTo>
                  <a:pt x="3804380" y="2739485"/>
                  <a:pt x="3812572" y="2744343"/>
                  <a:pt x="3829717" y="2751868"/>
                </a:cubicBezTo>
                <a:cubicBezTo>
                  <a:pt x="3836194" y="2754725"/>
                  <a:pt x="3839528" y="2749868"/>
                  <a:pt x="3859149" y="2733008"/>
                </a:cubicBezTo>
                <a:cubicBezTo>
                  <a:pt x="3865150" y="2727865"/>
                  <a:pt x="3873532" y="2729960"/>
                  <a:pt x="3878199" y="2729484"/>
                </a:cubicBezTo>
                <a:cubicBezTo>
                  <a:pt x="3880199" y="2729484"/>
                  <a:pt x="3881628" y="2729960"/>
                  <a:pt x="3882771" y="2731199"/>
                </a:cubicBezTo>
                <a:lnTo>
                  <a:pt x="3883533" y="2729484"/>
                </a:lnTo>
                <a:lnTo>
                  <a:pt x="3971925" y="2672144"/>
                </a:lnTo>
                <a:lnTo>
                  <a:pt x="4174712" y="2672144"/>
                </a:lnTo>
                <a:lnTo>
                  <a:pt x="4183570" y="2651951"/>
                </a:lnTo>
                <a:lnTo>
                  <a:pt x="4209193" y="2656142"/>
                </a:lnTo>
                <a:lnTo>
                  <a:pt x="4216813" y="2633853"/>
                </a:lnTo>
                <a:lnTo>
                  <a:pt x="4248531" y="2608421"/>
                </a:lnTo>
                <a:lnTo>
                  <a:pt x="4246150" y="2583466"/>
                </a:lnTo>
                <a:lnTo>
                  <a:pt x="4259771" y="2565273"/>
                </a:lnTo>
                <a:lnTo>
                  <a:pt x="4262438" y="2545271"/>
                </a:lnTo>
                <a:lnTo>
                  <a:pt x="4310063" y="2486501"/>
                </a:lnTo>
                <a:lnTo>
                  <a:pt x="4320064" y="2492883"/>
                </a:lnTo>
                <a:lnTo>
                  <a:pt x="4322160" y="2504408"/>
                </a:lnTo>
                <a:lnTo>
                  <a:pt x="4331589" y="2511552"/>
                </a:lnTo>
                <a:lnTo>
                  <a:pt x="4366355" y="2494788"/>
                </a:lnTo>
                <a:lnTo>
                  <a:pt x="4395121" y="2517839"/>
                </a:lnTo>
                <a:lnTo>
                  <a:pt x="4396359" y="2622137"/>
                </a:lnTo>
                <a:lnTo>
                  <a:pt x="4417505" y="2626233"/>
                </a:lnTo>
                <a:lnTo>
                  <a:pt x="4417505" y="2654999"/>
                </a:lnTo>
                <a:lnTo>
                  <a:pt x="4428554" y="2657666"/>
                </a:lnTo>
                <a:lnTo>
                  <a:pt x="4434554" y="2669953"/>
                </a:lnTo>
                <a:cubicBezTo>
                  <a:pt x="4434364" y="2668905"/>
                  <a:pt x="4434650" y="2667762"/>
                  <a:pt x="4435983" y="2666524"/>
                </a:cubicBezTo>
                <a:lnTo>
                  <a:pt x="4441127" y="2661666"/>
                </a:lnTo>
                <a:cubicBezTo>
                  <a:pt x="4445699" y="2657285"/>
                  <a:pt x="4451700" y="2663762"/>
                  <a:pt x="4450747" y="2663285"/>
                </a:cubicBezTo>
                <a:cubicBezTo>
                  <a:pt x="4452938" y="2665286"/>
                  <a:pt x="4457034" y="2666429"/>
                  <a:pt x="4459986" y="2665857"/>
                </a:cubicBezTo>
                <a:lnTo>
                  <a:pt x="4485418" y="2660428"/>
                </a:lnTo>
                <a:cubicBezTo>
                  <a:pt x="4491133" y="2659190"/>
                  <a:pt x="4492276" y="2651665"/>
                  <a:pt x="4491800" y="2652617"/>
                </a:cubicBezTo>
                <a:cubicBezTo>
                  <a:pt x="4492276" y="2649665"/>
                  <a:pt x="4494848" y="2648426"/>
                  <a:pt x="4497515" y="2649760"/>
                </a:cubicBezTo>
                <a:cubicBezTo>
                  <a:pt x="4499229" y="2650331"/>
                  <a:pt x="4505706" y="2655856"/>
                  <a:pt x="4512183" y="2652332"/>
                </a:cubicBezTo>
                <a:lnTo>
                  <a:pt x="4559427" y="2626804"/>
                </a:lnTo>
                <a:cubicBezTo>
                  <a:pt x="4572477" y="2619756"/>
                  <a:pt x="4575429" y="2601849"/>
                  <a:pt x="4585430" y="2605088"/>
                </a:cubicBezTo>
                <a:lnTo>
                  <a:pt x="4597146" y="2608898"/>
                </a:lnTo>
                <a:cubicBezTo>
                  <a:pt x="4610767" y="2613279"/>
                  <a:pt x="4558379" y="2633567"/>
                  <a:pt x="4569905" y="2640806"/>
                </a:cubicBezTo>
                <a:cubicBezTo>
                  <a:pt x="4570857" y="2641187"/>
                  <a:pt x="4575429" y="2645569"/>
                  <a:pt x="4581620" y="2642902"/>
                </a:cubicBezTo>
                <a:cubicBezTo>
                  <a:pt x="4586859" y="2640711"/>
                  <a:pt x="4592193" y="2637854"/>
                  <a:pt x="4598766" y="2637854"/>
                </a:cubicBezTo>
                <a:lnTo>
                  <a:pt x="4648105" y="2637854"/>
                </a:lnTo>
                <a:cubicBezTo>
                  <a:pt x="4655249" y="2637854"/>
                  <a:pt x="4655153" y="2647093"/>
                  <a:pt x="4648105" y="2648141"/>
                </a:cubicBezTo>
                <a:cubicBezTo>
                  <a:pt x="4640676" y="2649188"/>
                  <a:pt x="4634484" y="2649760"/>
                  <a:pt x="4628388" y="2652713"/>
                </a:cubicBezTo>
                <a:cubicBezTo>
                  <a:pt x="4616958" y="2656999"/>
                  <a:pt x="4608386" y="2665857"/>
                  <a:pt x="4602290" y="2659666"/>
                </a:cubicBezTo>
                <a:cubicBezTo>
                  <a:pt x="4601337" y="2659094"/>
                  <a:pt x="4598194" y="2655094"/>
                  <a:pt x="4592384" y="2655856"/>
                </a:cubicBezTo>
                <a:cubicBezTo>
                  <a:pt x="4582383" y="2657094"/>
                  <a:pt x="4575239" y="2657189"/>
                  <a:pt x="4569143" y="2661095"/>
                </a:cubicBezTo>
                <a:cubicBezTo>
                  <a:pt x="4504563" y="2702147"/>
                  <a:pt x="4504277" y="2700909"/>
                  <a:pt x="4501325" y="2707767"/>
                </a:cubicBezTo>
                <a:cubicBezTo>
                  <a:pt x="4496753" y="2718150"/>
                  <a:pt x="4492752" y="2725388"/>
                  <a:pt x="4492752" y="2732627"/>
                </a:cubicBezTo>
                <a:cubicBezTo>
                  <a:pt x="4492752" y="2757488"/>
                  <a:pt x="4491228" y="2762726"/>
                  <a:pt x="4498086" y="2763679"/>
                </a:cubicBezTo>
                <a:cubicBezTo>
                  <a:pt x="4501229" y="2764536"/>
                  <a:pt x="4509993" y="2763488"/>
                  <a:pt x="4514088" y="2769965"/>
                </a:cubicBezTo>
                <a:cubicBezTo>
                  <a:pt x="4518184" y="2774918"/>
                  <a:pt x="4520946" y="2785586"/>
                  <a:pt x="4528947" y="2783967"/>
                </a:cubicBezTo>
                <a:cubicBezTo>
                  <a:pt x="4531328" y="2783110"/>
                  <a:pt x="4540187" y="2783586"/>
                  <a:pt x="4542854" y="2776442"/>
                </a:cubicBezTo>
                <a:cubicBezTo>
                  <a:pt x="4544759" y="2773109"/>
                  <a:pt x="4545711" y="2761964"/>
                  <a:pt x="4553427" y="2763584"/>
                </a:cubicBezTo>
                <a:cubicBezTo>
                  <a:pt x="4554760" y="2763584"/>
                  <a:pt x="4561332" y="2766536"/>
                  <a:pt x="4566380" y="2761774"/>
                </a:cubicBezTo>
                <a:cubicBezTo>
                  <a:pt x="4603623" y="2726817"/>
                  <a:pt x="4606100" y="2726246"/>
                  <a:pt x="4606100" y="2719007"/>
                </a:cubicBezTo>
                <a:cubicBezTo>
                  <a:pt x="4606862" y="2712625"/>
                  <a:pt x="4603337" y="2701766"/>
                  <a:pt x="4611338" y="2699576"/>
                </a:cubicBezTo>
                <a:cubicBezTo>
                  <a:pt x="4615625" y="2699004"/>
                  <a:pt x="4625054" y="2693289"/>
                  <a:pt x="4628007" y="2700242"/>
                </a:cubicBezTo>
                <a:cubicBezTo>
                  <a:pt x="4629055" y="2702814"/>
                  <a:pt x="4632294" y="2705671"/>
                  <a:pt x="4635151" y="2706434"/>
                </a:cubicBezTo>
                <a:lnTo>
                  <a:pt x="4647724" y="2709863"/>
                </a:lnTo>
                <a:cubicBezTo>
                  <a:pt x="4650582" y="2710625"/>
                  <a:pt x="4652963" y="2708910"/>
                  <a:pt x="4652963" y="2705862"/>
                </a:cubicBezTo>
                <a:lnTo>
                  <a:pt x="4652963" y="2699957"/>
                </a:lnTo>
                <a:cubicBezTo>
                  <a:pt x="4652963" y="2697004"/>
                  <a:pt x="4655344" y="2694337"/>
                  <a:pt x="4658297" y="2694051"/>
                </a:cubicBezTo>
                <a:lnTo>
                  <a:pt x="4688015" y="2691098"/>
                </a:lnTo>
                <a:cubicBezTo>
                  <a:pt x="4696492" y="2690241"/>
                  <a:pt x="4720495" y="2676620"/>
                  <a:pt x="4719543" y="2677192"/>
                </a:cubicBezTo>
                <a:cubicBezTo>
                  <a:pt x="4725638" y="2674049"/>
                  <a:pt x="4734973" y="2674620"/>
                  <a:pt x="4734020" y="2674715"/>
                </a:cubicBezTo>
                <a:cubicBezTo>
                  <a:pt x="4736973" y="2674715"/>
                  <a:pt x="4741545" y="2673572"/>
                  <a:pt x="4744117" y="2672048"/>
                </a:cubicBezTo>
                <a:cubicBezTo>
                  <a:pt x="4755357" y="2665762"/>
                  <a:pt x="4761738" y="2661190"/>
                  <a:pt x="4768977" y="2661190"/>
                </a:cubicBezTo>
                <a:cubicBezTo>
                  <a:pt x="4787932" y="2661190"/>
                  <a:pt x="4793266" y="2662333"/>
                  <a:pt x="4797267" y="2656808"/>
                </a:cubicBezTo>
                <a:cubicBezTo>
                  <a:pt x="4798886" y="2653475"/>
                  <a:pt x="4808506" y="2644807"/>
                  <a:pt x="4800695" y="2643950"/>
                </a:cubicBezTo>
                <a:cubicBezTo>
                  <a:pt x="4782027" y="2642045"/>
                  <a:pt x="4772978" y="2642521"/>
                  <a:pt x="4778217" y="2637663"/>
                </a:cubicBezTo>
                <a:cubicBezTo>
                  <a:pt x="4788408" y="2628138"/>
                  <a:pt x="4791456" y="2624138"/>
                  <a:pt x="4797933" y="2624804"/>
                </a:cubicBezTo>
                <a:cubicBezTo>
                  <a:pt x="4816317" y="2626709"/>
                  <a:pt x="4825460" y="2628995"/>
                  <a:pt x="4832128" y="2625090"/>
                </a:cubicBezTo>
                <a:lnTo>
                  <a:pt x="4877562" y="2598706"/>
                </a:lnTo>
                <a:cubicBezTo>
                  <a:pt x="4882706" y="2595658"/>
                  <a:pt x="4875753" y="2591562"/>
                  <a:pt x="4876514" y="2592515"/>
                </a:cubicBezTo>
                <a:cubicBezTo>
                  <a:pt x="4871371" y="2589371"/>
                  <a:pt x="4871657" y="2581466"/>
                  <a:pt x="4871943" y="2582418"/>
                </a:cubicBezTo>
                <a:cubicBezTo>
                  <a:pt x="4871943" y="2579465"/>
                  <a:pt x="4869561" y="2576608"/>
                  <a:pt x="4866609" y="2576036"/>
                </a:cubicBezTo>
                <a:lnTo>
                  <a:pt x="4837557" y="2570798"/>
                </a:lnTo>
                <a:cubicBezTo>
                  <a:pt x="4834604" y="2570226"/>
                  <a:pt x="4833366" y="2567654"/>
                  <a:pt x="4834795" y="2565083"/>
                </a:cubicBezTo>
                <a:lnTo>
                  <a:pt x="4840796" y="2554034"/>
                </a:lnTo>
                <a:cubicBezTo>
                  <a:pt x="4844701" y="2546890"/>
                  <a:pt x="4844320" y="2532317"/>
                  <a:pt x="4844225" y="2533269"/>
                </a:cubicBezTo>
                <a:cubicBezTo>
                  <a:pt x="4844701" y="2525078"/>
                  <a:pt x="4835843" y="2530126"/>
                  <a:pt x="4835081" y="2521934"/>
                </a:cubicBezTo>
                <a:cubicBezTo>
                  <a:pt x="4834700" y="2520982"/>
                  <a:pt x="4835271" y="2512790"/>
                  <a:pt x="4830413" y="2517267"/>
                </a:cubicBezTo>
                <a:cubicBezTo>
                  <a:pt x="4808411" y="2537365"/>
                  <a:pt x="4799648" y="2543270"/>
                  <a:pt x="4798505" y="2551081"/>
                </a:cubicBezTo>
                <a:cubicBezTo>
                  <a:pt x="4798028" y="2552795"/>
                  <a:pt x="4798124" y="2560511"/>
                  <a:pt x="4793266" y="2565845"/>
                </a:cubicBezTo>
                <a:cubicBezTo>
                  <a:pt x="4773930" y="2587371"/>
                  <a:pt x="4770406" y="2589562"/>
                  <a:pt x="4771644" y="2596325"/>
                </a:cubicBezTo>
                <a:cubicBezTo>
                  <a:pt x="4772025" y="2602802"/>
                  <a:pt x="4777359" y="2612898"/>
                  <a:pt x="4770120" y="2616803"/>
                </a:cubicBezTo>
                <a:cubicBezTo>
                  <a:pt x="4765644" y="2618423"/>
                  <a:pt x="4757261" y="2626804"/>
                  <a:pt x="4753166" y="2619661"/>
                </a:cubicBezTo>
                <a:cubicBezTo>
                  <a:pt x="4749165" y="2614422"/>
                  <a:pt x="4746308" y="2601849"/>
                  <a:pt x="4739450" y="2606516"/>
                </a:cubicBezTo>
                <a:cubicBezTo>
                  <a:pt x="4718304" y="2620709"/>
                  <a:pt x="4714209" y="2625566"/>
                  <a:pt x="4709065" y="2620613"/>
                </a:cubicBezTo>
                <a:cubicBezTo>
                  <a:pt x="4707827" y="2619661"/>
                  <a:pt x="4703350" y="2614041"/>
                  <a:pt x="4696397" y="2612231"/>
                </a:cubicBezTo>
                <a:cubicBezTo>
                  <a:pt x="4686681" y="2609755"/>
                  <a:pt x="4680109" y="2606993"/>
                  <a:pt x="4673346" y="2609469"/>
                </a:cubicBezTo>
                <a:cubicBezTo>
                  <a:pt x="4671251" y="2609945"/>
                  <a:pt x="4664202" y="2614327"/>
                  <a:pt x="4657344" y="2611565"/>
                </a:cubicBezTo>
                <a:cubicBezTo>
                  <a:pt x="4623530" y="2597849"/>
                  <a:pt x="4616958" y="2596991"/>
                  <a:pt x="4622197" y="2592038"/>
                </a:cubicBezTo>
                <a:cubicBezTo>
                  <a:pt x="4622959" y="2590895"/>
                  <a:pt x="4632008" y="2584895"/>
                  <a:pt x="4624959" y="2583180"/>
                </a:cubicBezTo>
                <a:cubicBezTo>
                  <a:pt x="4591717" y="2575275"/>
                  <a:pt x="4585335" y="2575655"/>
                  <a:pt x="4583907" y="2568416"/>
                </a:cubicBezTo>
                <a:cubicBezTo>
                  <a:pt x="4582192" y="2560129"/>
                  <a:pt x="4580859" y="2546318"/>
                  <a:pt x="4574667" y="2541746"/>
                </a:cubicBezTo>
                <a:cubicBezTo>
                  <a:pt x="4573143" y="2540127"/>
                  <a:pt x="4563333" y="2536031"/>
                  <a:pt x="4568571" y="2530793"/>
                </a:cubicBezTo>
                <a:cubicBezTo>
                  <a:pt x="4569238" y="2529840"/>
                  <a:pt x="4574382" y="2526316"/>
                  <a:pt x="4573905" y="2520125"/>
                </a:cubicBezTo>
                <a:cubicBezTo>
                  <a:pt x="4573715" y="2517362"/>
                  <a:pt x="4571048" y="2515171"/>
                  <a:pt x="4568095" y="2515267"/>
                </a:cubicBezTo>
                <a:lnTo>
                  <a:pt x="4551141" y="2515553"/>
                </a:lnTo>
                <a:cubicBezTo>
                  <a:pt x="4548188" y="2515553"/>
                  <a:pt x="4547616" y="2514029"/>
                  <a:pt x="4549902" y="2512124"/>
                </a:cubicBezTo>
                <a:lnTo>
                  <a:pt x="4559522" y="2504027"/>
                </a:lnTo>
                <a:cubicBezTo>
                  <a:pt x="4568571" y="2496408"/>
                  <a:pt x="4567714" y="2481548"/>
                  <a:pt x="4576953" y="2475357"/>
                </a:cubicBezTo>
                <a:lnTo>
                  <a:pt x="4590860" y="2466023"/>
                </a:lnTo>
                <a:cubicBezTo>
                  <a:pt x="4595908" y="2462689"/>
                  <a:pt x="4608957" y="2442401"/>
                  <a:pt x="4599623" y="2442305"/>
                </a:cubicBezTo>
                <a:cubicBezTo>
                  <a:pt x="4598670" y="2442401"/>
                  <a:pt x="4591527" y="2441162"/>
                  <a:pt x="4586669" y="2446020"/>
                </a:cubicBezTo>
                <a:cubicBezTo>
                  <a:pt x="4583240" y="2448878"/>
                  <a:pt x="4578858" y="2456307"/>
                  <a:pt x="4570952" y="2456879"/>
                </a:cubicBezTo>
                <a:lnTo>
                  <a:pt x="4556475" y="2457926"/>
                </a:lnTo>
                <a:cubicBezTo>
                  <a:pt x="4540377" y="2459069"/>
                  <a:pt x="4527614" y="2476500"/>
                  <a:pt x="4521137" y="2467642"/>
                </a:cubicBezTo>
                <a:cubicBezTo>
                  <a:pt x="4516374" y="2461165"/>
                  <a:pt x="4512850" y="2454688"/>
                  <a:pt x="4506087" y="2452402"/>
                </a:cubicBezTo>
                <a:cubicBezTo>
                  <a:pt x="4480751" y="2443829"/>
                  <a:pt x="4470559" y="2441829"/>
                  <a:pt x="4477512" y="2438971"/>
                </a:cubicBezTo>
                <a:cubicBezTo>
                  <a:pt x="4499515" y="2430018"/>
                  <a:pt x="4503325" y="2427351"/>
                  <a:pt x="4509611" y="2430113"/>
                </a:cubicBezTo>
                <a:cubicBezTo>
                  <a:pt x="4534948" y="2441734"/>
                  <a:pt x="4538472" y="2444591"/>
                  <a:pt x="4544663" y="2441543"/>
                </a:cubicBezTo>
                <a:lnTo>
                  <a:pt x="4569524" y="2429066"/>
                </a:lnTo>
                <a:cubicBezTo>
                  <a:pt x="4575715" y="2426018"/>
                  <a:pt x="4580954" y="2417636"/>
                  <a:pt x="4580096" y="2418588"/>
                </a:cubicBezTo>
                <a:cubicBezTo>
                  <a:pt x="4584287" y="2412778"/>
                  <a:pt x="4594860" y="2414492"/>
                  <a:pt x="4593908" y="2414588"/>
                </a:cubicBezTo>
                <a:cubicBezTo>
                  <a:pt x="4600480" y="2414873"/>
                  <a:pt x="4606290" y="2407539"/>
                  <a:pt x="4605338" y="2408301"/>
                </a:cubicBezTo>
                <a:cubicBezTo>
                  <a:pt x="4607338" y="2406110"/>
                  <a:pt x="4607910" y="2402110"/>
                  <a:pt x="4606671" y="2399443"/>
                </a:cubicBezTo>
                <a:cubicBezTo>
                  <a:pt x="4605147" y="2395061"/>
                  <a:pt x="4596479" y="2383155"/>
                  <a:pt x="4604385" y="2385346"/>
                </a:cubicBezTo>
                <a:lnTo>
                  <a:pt x="4609052" y="2386584"/>
                </a:lnTo>
                <a:cubicBezTo>
                  <a:pt x="4614768" y="2388108"/>
                  <a:pt x="4613910" y="2380488"/>
                  <a:pt x="4613625" y="2381441"/>
                </a:cubicBezTo>
                <a:cubicBezTo>
                  <a:pt x="4613339" y="2378488"/>
                  <a:pt x="4611338" y="2374392"/>
                  <a:pt x="4609148" y="2372392"/>
                </a:cubicBezTo>
                <a:lnTo>
                  <a:pt x="4599146" y="2363057"/>
                </a:lnTo>
                <a:cubicBezTo>
                  <a:pt x="4594289" y="2358581"/>
                  <a:pt x="4574477" y="2349341"/>
                  <a:pt x="4564952" y="2349151"/>
                </a:cubicBezTo>
                <a:lnTo>
                  <a:pt x="4506659" y="2348484"/>
                </a:lnTo>
                <a:cubicBezTo>
                  <a:pt x="4497896" y="2348389"/>
                  <a:pt x="4466654" y="2356866"/>
                  <a:pt x="4467606" y="2356676"/>
                </a:cubicBezTo>
                <a:cubicBezTo>
                  <a:pt x="4458462" y="2358866"/>
                  <a:pt x="4383786" y="2391918"/>
                  <a:pt x="4384739" y="2391537"/>
                </a:cubicBezTo>
                <a:cubicBezTo>
                  <a:pt x="4376833" y="2394966"/>
                  <a:pt x="4350163" y="2410587"/>
                  <a:pt x="4351116" y="2410016"/>
                </a:cubicBezTo>
                <a:cubicBezTo>
                  <a:pt x="4340924" y="2415826"/>
                  <a:pt x="4332351" y="2414588"/>
                  <a:pt x="4326160" y="2421446"/>
                </a:cubicBezTo>
                <a:lnTo>
                  <a:pt x="4310444" y="2438876"/>
                </a:lnTo>
                <a:cubicBezTo>
                  <a:pt x="4304919" y="2444972"/>
                  <a:pt x="4299871" y="2442305"/>
                  <a:pt x="4294632" y="2448592"/>
                </a:cubicBezTo>
                <a:cubicBezTo>
                  <a:pt x="4235006" y="2520696"/>
                  <a:pt x="4237768" y="2518505"/>
                  <a:pt x="4231101" y="2520791"/>
                </a:cubicBezTo>
                <a:cubicBezTo>
                  <a:pt x="4220052" y="2524601"/>
                  <a:pt x="4209955" y="2529554"/>
                  <a:pt x="4213194" y="2522982"/>
                </a:cubicBezTo>
                <a:cubicBezTo>
                  <a:pt x="4228148" y="2492978"/>
                  <a:pt x="4229005" y="2488787"/>
                  <a:pt x="4235577" y="2486025"/>
                </a:cubicBezTo>
                <a:cubicBezTo>
                  <a:pt x="4237196" y="2485168"/>
                  <a:pt x="4244531" y="2483263"/>
                  <a:pt x="4249008" y="2477548"/>
                </a:cubicBezTo>
                <a:cubicBezTo>
                  <a:pt x="4256627" y="2467928"/>
                  <a:pt x="4262914" y="2460689"/>
                  <a:pt x="4266248" y="2453926"/>
                </a:cubicBezTo>
                <a:cubicBezTo>
                  <a:pt x="4271486" y="2443067"/>
                  <a:pt x="4275011" y="2434304"/>
                  <a:pt x="4280154" y="2428589"/>
                </a:cubicBezTo>
                <a:cubicBezTo>
                  <a:pt x="4300252" y="2406206"/>
                  <a:pt x="4302824" y="2402396"/>
                  <a:pt x="4308634" y="2399538"/>
                </a:cubicBezTo>
                <a:cubicBezTo>
                  <a:pt x="4313968" y="2396871"/>
                  <a:pt x="4317302" y="2387727"/>
                  <a:pt x="4316730" y="2388680"/>
                </a:cubicBezTo>
                <a:cubicBezTo>
                  <a:pt x="4317873" y="2385917"/>
                  <a:pt x="4321112" y="2382679"/>
                  <a:pt x="4323779" y="2381345"/>
                </a:cubicBezTo>
                <a:lnTo>
                  <a:pt x="4336066" y="2375345"/>
                </a:lnTo>
                <a:cubicBezTo>
                  <a:pt x="4341400" y="2372773"/>
                  <a:pt x="4345019" y="2366010"/>
                  <a:pt x="4344258" y="2366963"/>
                </a:cubicBezTo>
                <a:cubicBezTo>
                  <a:pt x="4349782" y="2357057"/>
                  <a:pt x="4364546" y="2364391"/>
                  <a:pt x="4371499" y="2354866"/>
                </a:cubicBezTo>
                <a:cubicBezTo>
                  <a:pt x="4374071" y="2352008"/>
                  <a:pt x="4377214" y="2344007"/>
                  <a:pt x="4385025" y="2343150"/>
                </a:cubicBezTo>
                <a:cubicBezTo>
                  <a:pt x="4416838" y="2339626"/>
                  <a:pt x="4421886" y="2340578"/>
                  <a:pt x="4424649" y="2334006"/>
                </a:cubicBezTo>
                <a:cubicBezTo>
                  <a:pt x="4440936" y="2295335"/>
                  <a:pt x="4440936" y="2293239"/>
                  <a:pt x="4446842" y="2289810"/>
                </a:cubicBezTo>
                <a:lnTo>
                  <a:pt x="4465511" y="2278666"/>
                </a:lnTo>
                <a:cubicBezTo>
                  <a:pt x="4472654" y="2274380"/>
                  <a:pt x="4489514" y="2274951"/>
                  <a:pt x="4488561" y="2274951"/>
                </a:cubicBezTo>
                <a:cubicBezTo>
                  <a:pt x="4494657" y="2274665"/>
                  <a:pt x="4500372" y="2269331"/>
                  <a:pt x="4499420" y="2269903"/>
                </a:cubicBezTo>
                <a:cubicBezTo>
                  <a:pt x="4503801" y="2265998"/>
                  <a:pt x="4510183" y="2269712"/>
                  <a:pt x="4509230" y="2269522"/>
                </a:cubicBezTo>
                <a:cubicBezTo>
                  <a:pt x="4511802" y="2270951"/>
                  <a:pt x="4516279" y="2271427"/>
                  <a:pt x="4519136" y="2270665"/>
                </a:cubicBezTo>
                <a:lnTo>
                  <a:pt x="4534091" y="2266474"/>
                </a:lnTo>
                <a:cubicBezTo>
                  <a:pt x="4542187" y="2264188"/>
                  <a:pt x="4562666" y="2269046"/>
                  <a:pt x="4561713" y="2268855"/>
                </a:cubicBezTo>
                <a:cubicBezTo>
                  <a:pt x="4570095" y="2270284"/>
                  <a:pt x="4587431" y="2264474"/>
                  <a:pt x="4586383" y="2264759"/>
                </a:cubicBezTo>
                <a:cubicBezTo>
                  <a:pt x="4593622" y="2262854"/>
                  <a:pt x="4603337" y="2269236"/>
                  <a:pt x="4602385" y="2268855"/>
                </a:cubicBezTo>
                <a:cubicBezTo>
                  <a:pt x="4605052" y="2270189"/>
                  <a:pt x="4609529" y="2270760"/>
                  <a:pt x="4612482" y="2270093"/>
                </a:cubicBezTo>
                <a:lnTo>
                  <a:pt x="4628484" y="2266283"/>
                </a:lnTo>
                <a:cubicBezTo>
                  <a:pt x="4636485" y="2264378"/>
                  <a:pt x="4634865" y="2273427"/>
                  <a:pt x="4643057" y="2272189"/>
                </a:cubicBezTo>
                <a:cubicBezTo>
                  <a:pt x="4672203" y="2267712"/>
                  <a:pt x="4681919" y="2265617"/>
                  <a:pt x="4689729" y="2266379"/>
                </a:cubicBezTo>
                <a:cubicBezTo>
                  <a:pt x="4744308" y="2271141"/>
                  <a:pt x="4746212" y="2269998"/>
                  <a:pt x="4750499" y="2275808"/>
                </a:cubicBezTo>
                <a:cubicBezTo>
                  <a:pt x="4751451" y="2276666"/>
                  <a:pt x="4754594" y="2284000"/>
                  <a:pt x="4761071" y="2281333"/>
                </a:cubicBezTo>
                <a:cubicBezTo>
                  <a:pt x="4772502" y="2276666"/>
                  <a:pt x="4779550" y="2273046"/>
                  <a:pt x="4786884" y="2273046"/>
                </a:cubicBezTo>
                <a:cubicBezTo>
                  <a:pt x="4859274" y="2273046"/>
                  <a:pt x="4859465" y="2274475"/>
                  <a:pt x="4864608" y="2269141"/>
                </a:cubicBezTo>
                <a:close/>
                <a:moveTo>
                  <a:pt x="4856036" y="1988344"/>
                </a:moveTo>
                <a:cubicBezTo>
                  <a:pt x="4860512" y="1983200"/>
                  <a:pt x="4864799" y="1984248"/>
                  <a:pt x="4888707" y="1984248"/>
                </a:cubicBezTo>
                <a:cubicBezTo>
                  <a:pt x="4895946" y="1984248"/>
                  <a:pt x="4897279" y="1982915"/>
                  <a:pt x="4944714" y="1961864"/>
                </a:cubicBezTo>
                <a:cubicBezTo>
                  <a:pt x="4951571" y="1958816"/>
                  <a:pt x="4934522" y="1991201"/>
                  <a:pt x="4934522" y="1991201"/>
                </a:cubicBezTo>
                <a:cubicBezTo>
                  <a:pt x="4930998" y="1998536"/>
                  <a:pt x="4921663" y="1997678"/>
                  <a:pt x="4916234" y="1999488"/>
                </a:cubicBezTo>
                <a:cubicBezTo>
                  <a:pt x="4909566" y="2000917"/>
                  <a:pt x="4905565" y="2006537"/>
                  <a:pt x="4900708" y="2011871"/>
                </a:cubicBezTo>
                <a:cubicBezTo>
                  <a:pt x="4895374" y="2017776"/>
                  <a:pt x="4886706" y="2015300"/>
                  <a:pt x="4881658" y="2015871"/>
                </a:cubicBezTo>
                <a:cubicBezTo>
                  <a:pt x="4867656" y="2015871"/>
                  <a:pt x="4855750" y="2029778"/>
                  <a:pt x="4844987" y="2025968"/>
                </a:cubicBezTo>
                <a:lnTo>
                  <a:pt x="4833461" y="2021872"/>
                </a:lnTo>
                <a:cubicBezTo>
                  <a:pt x="4826603" y="2019395"/>
                  <a:pt x="4832033" y="2015776"/>
                  <a:pt x="4856036" y="1988153"/>
                </a:cubicBezTo>
                <a:close/>
                <a:moveTo>
                  <a:pt x="3070003" y="888683"/>
                </a:moveTo>
                <a:cubicBezTo>
                  <a:pt x="3077432" y="886682"/>
                  <a:pt x="3178493" y="948023"/>
                  <a:pt x="3178493" y="948023"/>
                </a:cubicBezTo>
                <a:cubicBezTo>
                  <a:pt x="3185065" y="951929"/>
                  <a:pt x="3176874" y="950786"/>
                  <a:pt x="3121057" y="950786"/>
                </a:cubicBezTo>
                <a:cubicBezTo>
                  <a:pt x="3113627" y="950786"/>
                  <a:pt x="3115723" y="950786"/>
                  <a:pt x="3049238" y="898589"/>
                </a:cubicBezTo>
                <a:cubicBezTo>
                  <a:pt x="3043619" y="894112"/>
                  <a:pt x="3052382" y="893350"/>
                  <a:pt x="3069908" y="888683"/>
                </a:cubicBezTo>
                <a:close/>
                <a:moveTo>
                  <a:pt x="2866453" y="537020"/>
                </a:moveTo>
                <a:cubicBezTo>
                  <a:pt x="2868168" y="529304"/>
                  <a:pt x="2878550" y="532448"/>
                  <a:pt x="2883122" y="531781"/>
                </a:cubicBezTo>
                <a:cubicBezTo>
                  <a:pt x="2886075" y="531781"/>
                  <a:pt x="2887790" y="534067"/>
                  <a:pt x="2886932" y="536924"/>
                </a:cubicBezTo>
                <a:cubicBezTo>
                  <a:pt x="2886932" y="536924"/>
                  <a:pt x="2877788" y="566261"/>
                  <a:pt x="2877788" y="568071"/>
                </a:cubicBezTo>
                <a:cubicBezTo>
                  <a:pt x="2877788" y="569881"/>
                  <a:pt x="2866263" y="559213"/>
                  <a:pt x="2866263" y="559213"/>
                </a:cubicBezTo>
                <a:cubicBezTo>
                  <a:pt x="2860072" y="553498"/>
                  <a:pt x="2865596" y="544163"/>
                  <a:pt x="2866453" y="537020"/>
                </a:cubicBezTo>
                <a:close/>
                <a:moveTo>
                  <a:pt x="2764632" y="176022"/>
                </a:moveTo>
                <a:cubicBezTo>
                  <a:pt x="2764632" y="176022"/>
                  <a:pt x="2747391" y="152876"/>
                  <a:pt x="2754440" y="151638"/>
                </a:cubicBezTo>
                <a:cubicBezTo>
                  <a:pt x="2756916" y="151638"/>
                  <a:pt x="2764727" y="148209"/>
                  <a:pt x="2770537" y="152972"/>
                </a:cubicBezTo>
                <a:cubicBezTo>
                  <a:pt x="2786920" y="166402"/>
                  <a:pt x="2794159" y="170402"/>
                  <a:pt x="2787491" y="172879"/>
                </a:cubicBezTo>
                <a:cubicBezTo>
                  <a:pt x="2778633" y="175165"/>
                  <a:pt x="2769203" y="183071"/>
                  <a:pt x="2764536" y="176022"/>
                </a:cubicBezTo>
                <a:close/>
                <a:moveTo>
                  <a:pt x="1263777" y="922782"/>
                </a:moveTo>
                <a:cubicBezTo>
                  <a:pt x="1265015" y="923639"/>
                  <a:pt x="1269778" y="929450"/>
                  <a:pt x="1276922" y="929450"/>
                </a:cubicBezTo>
                <a:lnTo>
                  <a:pt x="1278636" y="929450"/>
                </a:lnTo>
                <a:cubicBezTo>
                  <a:pt x="1281589" y="929450"/>
                  <a:pt x="1284922" y="931736"/>
                  <a:pt x="1286066" y="934403"/>
                </a:cubicBezTo>
                <a:cubicBezTo>
                  <a:pt x="1287209" y="938879"/>
                  <a:pt x="1295019" y="949643"/>
                  <a:pt x="1286923" y="949643"/>
                </a:cubicBezTo>
                <a:cubicBezTo>
                  <a:pt x="1269873" y="949643"/>
                  <a:pt x="1264539" y="948500"/>
                  <a:pt x="1260729" y="954119"/>
                </a:cubicBezTo>
                <a:cubicBezTo>
                  <a:pt x="1257300" y="958120"/>
                  <a:pt x="1254347" y="967454"/>
                  <a:pt x="1246442" y="967454"/>
                </a:cubicBezTo>
                <a:cubicBezTo>
                  <a:pt x="1245489" y="967645"/>
                  <a:pt x="1240346" y="967168"/>
                  <a:pt x="1235678" y="970788"/>
                </a:cubicBezTo>
                <a:cubicBezTo>
                  <a:pt x="1196816" y="1000697"/>
                  <a:pt x="1195388" y="1003745"/>
                  <a:pt x="1188339" y="1001649"/>
                </a:cubicBezTo>
                <a:cubicBezTo>
                  <a:pt x="1176338" y="996791"/>
                  <a:pt x="1160621" y="996696"/>
                  <a:pt x="1165384" y="989171"/>
                </a:cubicBezTo>
                <a:cubicBezTo>
                  <a:pt x="1166813" y="987457"/>
                  <a:pt x="1169480" y="979837"/>
                  <a:pt x="1176814" y="978599"/>
                </a:cubicBezTo>
                <a:cubicBezTo>
                  <a:pt x="1182719" y="976884"/>
                  <a:pt x="1193197" y="978503"/>
                  <a:pt x="1194816" y="970502"/>
                </a:cubicBezTo>
                <a:cubicBezTo>
                  <a:pt x="1195197" y="969550"/>
                  <a:pt x="1195959" y="964597"/>
                  <a:pt x="1200531" y="961358"/>
                </a:cubicBezTo>
                <a:cubicBezTo>
                  <a:pt x="1227106" y="942689"/>
                  <a:pt x="1231392" y="941451"/>
                  <a:pt x="1230344" y="934498"/>
                </a:cubicBezTo>
                <a:cubicBezTo>
                  <a:pt x="1229963" y="933545"/>
                  <a:pt x="1230535" y="926020"/>
                  <a:pt x="1223867" y="924401"/>
                </a:cubicBezTo>
                <a:cubicBezTo>
                  <a:pt x="1219391" y="923735"/>
                  <a:pt x="1211675" y="919829"/>
                  <a:pt x="1204627" y="923354"/>
                </a:cubicBezTo>
                <a:cubicBezTo>
                  <a:pt x="1169099" y="941356"/>
                  <a:pt x="1165003" y="941927"/>
                  <a:pt x="1162526" y="948881"/>
                </a:cubicBezTo>
                <a:cubicBezTo>
                  <a:pt x="1156240" y="966978"/>
                  <a:pt x="1155192" y="973836"/>
                  <a:pt x="1148810" y="977360"/>
                </a:cubicBezTo>
                <a:cubicBezTo>
                  <a:pt x="1141000" y="980789"/>
                  <a:pt x="1133570" y="988790"/>
                  <a:pt x="1126236" y="984599"/>
                </a:cubicBezTo>
                <a:cubicBezTo>
                  <a:pt x="1122140" y="982313"/>
                  <a:pt x="1117092" y="978884"/>
                  <a:pt x="1110710" y="978884"/>
                </a:cubicBezTo>
                <a:cubicBezTo>
                  <a:pt x="1083088" y="978884"/>
                  <a:pt x="1078516" y="979551"/>
                  <a:pt x="1071848" y="976884"/>
                </a:cubicBezTo>
                <a:cubicBezTo>
                  <a:pt x="1044416" y="966026"/>
                  <a:pt x="1034320" y="963168"/>
                  <a:pt x="1041749" y="961930"/>
                </a:cubicBezTo>
                <a:cubicBezTo>
                  <a:pt x="1081373" y="955262"/>
                  <a:pt x="1084802" y="955929"/>
                  <a:pt x="1088993" y="950119"/>
                </a:cubicBezTo>
                <a:lnTo>
                  <a:pt x="1089946" y="948785"/>
                </a:lnTo>
                <a:cubicBezTo>
                  <a:pt x="1091660" y="946404"/>
                  <a:pt x="1091946" y="942213"/>
                  <a:pt x="1090517" y="939641"/>
                </a:cubicBezTo>
                <a:cubicBezTo>
                  <a:pt x="1088993" y="935355"/>
                  <a:pt x="1080326" y="925925"/>
                  <a:pt x="1088231" y="924211"/>
                </a:cubicBezTo>
                <a:cubicBezTo>
                  <a:pt x="1100233" y="921544"/>
                  <a:pt x="1108424" y="920782"/>
                  <a:pt x="1113377" y="915448"/>
                </a:cubicBezTo>
                <a:cubicBezTo>
                  <a:pt x="1116521" y="910971"/>
                  <a:pt x="1127665" y="903923"/>
                  <a:pt x="1120331" y="900398"/>
                </a:cubicBezTo>
                <a:cubicBezTo>
                  <a:pt x="1114235" y="896684"/>
                  <a:pt x="1103376" y="895255"/>
                  <a:pt x="1102900" y="886873"/>
                </a:cubicBezTo>
                <a:lnTo>
                  <a:pt x="1102900" y="885444"/>
                </a:lnTo>
                <a:cubicBezTo>
                  <a:pt x="1102709" y="882491"/>
                  <a:pt x="1104995" y="880205"/>
                  <a:pt x="1107948" y="880396"/>
                </a:cubicBezTo>
                <a:cubicBezTo>
                  <a:pt x="1130618" y="881825"/>
                  <a:pt x="1139285" y="881158"/>
                  <a:pt x="1145762" y="885444"/>
                </a:cubicBezTo>
                <a:cubicBezTo>
                  <a:pt x="1146715" y="885920"/>
                  <a:pt x="1150906" y="889635"/>
                  <a:pt x="1157383" y="889635"/>
                </a:cubicBezTo>
                <a:cubicBezTo>
                  <a:pt x="1161860" y="889064"/>
                  <a:pt x="1170908" y="891731"/>
                  <a:pt x="1175195" y="885158"/>
                </a:cubicBezTo>
                <a:cubicBezTo>
                  <a:pt x="1176052" y="883158"/>
                  <a:pt x="1184529" y="874109"/>
                  <a:pt x="1177004" y="874300"/>
                </a:cubicBezTo>
                <a:cubicBezTo>
                  <a:pt x="1167289" y="874586"/>
                  <a:pt x="1159955" y="875919"/>
                  <a:pt x="1154621" y="871157"/>
                </a:cubicBezTo>
                <a:cubicBezTo>
                  <a:pt x="1148620" y="865823"/>
                  <a:pt x="1143095" y="859250"/>
                  <a:pt x="1135952" y="859250"/>
                </a:cubicBezTo>
                <a:cubicBezTo>
                  <a:pt x="1078230" y="859250"/>
                  <a:pt x="1074611" y="857441"/>
                  <a:pt x="1077087" y="864299"/>
                </a:cubicBezTo>
                <a:cubicBezTo>
                  <a:pt x="1077087" y="865251"/>
                  <a:pt x="1081373" y="872014"/>
                  <a:pt x="1074706" y="873538"/>
                </a:cubicBezTo>
                <a:cubicBezTo>
                  <a:pt x="1071277" y="873824"/>
                  <a:pt x="1063085" y="878205"/>
                  <a:pt x="1057847" y="872585"/>
                </a:cubicBezTo>
                <a:cubicBezTo>
                  <a:pt x="1056894" y="872014"/>
                  <a:pt x="1053846" y="868204"/>
                  <a:pt x="1048607" y="869633"/>
                </a:cubicBezTo>
                <a:cubicBezTo>
                  <a:pt x="1021652" y="877157"/>
                  <a:pt x="1016889" y="880205"/>
                  <a:pt x="1012031" y="874967"/>
                </a:cubicBezTo>
                <a:cubicBezTo>
                  <a:pt x="1011079" y="874300"/>
                  <a:pt x="1007936" y="869347"/>
                  <a:pt x="1001363" y="869633"/>
                </a:cubicBezTo>
                <a:cubicBezTo>
                  <a:pt x="995172" y="870776"/>
                  <a:pt x="982980" y="867632"/>
                  <a:pt x="982980" y="875919"/>
                </a:cubicBezTo>
                <a:cubicBezTo>
                  <a:pt x="982790" y="876872"/>
                  <a:pt x="984504" y="884968"/>
                  <a:pt x="977741" y="886778"/>
                </a:cubicBezTo>
                <a:cubicBezTo>
                  <a:pt x="975932" y="886968"/>
                  <a:pt x="968312" y="890778"/>
                  <a:pt x="962787" y="886111"/>
                </a:cubicBezTo>
                <a:cubicBezTo>
                  <a:pt x="957167" y="880205"/>
                  <a:pt x="946309" y="875824"/>
                  <a:pt x="948881" y="867823"/>
                </a:cubicBezTo>
                <a:cubicBezTo>
                  <a:pt x="952214" y="860489"/>
                  <a:pt x="952024" y="848297"/>
                  <a:pt x="960311" y="849344"/>
                </a:cubicBezTo>
                <a:cubicBezTo>
                  <a:pt x="974789" y="851154"/>
                  <a:pt x="982218" y="853250"/>
                  <a:pt x="987933" y="849059"/>
                </a:cubicBezTo>
                <a:cubicBezTo>
                  <a:pt x="989171" y="848392"/>
                  <a:pt x="994886" y="842486"/>
                  <a:pt x="1002030" y="843534"/>
                </a:cubicBezTo>
                <a:cubicBezTo>
                  <a:pt x="1002030" y="843534"/>
                  <a:pt x="1014508" y="846011"/>
                  <a:pt x="1020985" y="844201"/>
                </a:cubicBezTo>
                <a:cubicBezTo>
                  <a:pt x="1063466" y="832295"/>
                  <a:pt x="1067372" y="830961"/>
                  <a:pt x="1074706" y="829818"/>
                </a:cubicBezTo>
                <a:cubicBezTo>
                  <a:pt x="1131665" y="821150"/>
                  <a:pt x="1134142" y="821341"/>
                  <a:pt x="1140905" y="818198"/>
                </a:cubicBezTo>
                <a:cubicBezTo>
                  <a:pt x="1185863" y="797433"/>
                  <a:pt x="1188339" y="795814"/>
                  <a:pt x="1195483" y="794480"/>
                </a:cubicBezTo>
                <a:cubicBezTo>
                  <a:pt x="1267492" y="781431"/>
                  <a:pt x="1267301" y="780383"/>
                  <a:pt x="1273969" y="783431"/>
                </a:cubicBezTo>
                <a:cubicBezTo>
                  <a:pt x="1301306" y="796195"/>
                  <a:pt x="1309211" y="798290"/>
                  <a:pt x="1302449" y="801053"/>
                </a:cubicBezTo>
                <a:cubicBezTo>
                  <a:pt x="1243775" y="825056"/>
                  <a:pt x="1242917" y="824198"/>
                  <a:pt x="1239107" y="830390"/>
                </a:cubicBezTo>
                <a:cubicBezTo>
                  <a:pt x="1237488" y="834009"/>
                  <a:pt x="1228154" y="843820"/>
                  <a:pt x="1236059" y="843439"/>
                </a:cubicBezTo>
                <a:cubicBezTo>
                  <a:pt x="1243679" y="843629"/>
                  <a:pt x="1252728" y="840677"/>
                  <a:pt x="1259300" y="845820"/>
                </a:cubicBezTo>
                <a:cubicBezTo>
                  <a:pt x="1260729" y="846677"/>
                  <a:pt x="1264920" y="851535"/>
                  <a:pt x="1271778" y="851154"/>
                </a:cubicBezTo>
                <a:cubicBezTo>
                  <a:pt x="1346454" y="847154"/>
                  <a:pt x="1344835" y="848678"/>
                  <a:pt x="1349883" y="843343"/>
                </a:cubicBezTo>
                <a:cubicBezTo>
                  <a:pt x="1360932" y="831723"/>
                  <a:pt x="1366552" y="824008"/>
                  <a:pt x="1373981" y="822103"/>
                </a:cubicBezTo>
                <a:cubicBezTo>
                  <a:pt x="1383887" y="820484"/>
                  <a:pt x="1397889" y="813340"/>
                  <a:pt x="1394841" y="821341"/>
                </a:cubicBezTo>
                <a:cubicBezTo>
                  <a:pt x="1369314" y="889159"/>
                  <a:pt x="1369886" y="890968"/>
                  <a:pt x="1364075" y="896017"/>
                </a:cubicBezTo>
                <a:cubicBezTo>
                  <a:pt x="1340453" y="916495"/>
                  <a:pt x="1338263" y="920210"/>
                  <a:pt x="1333214" y="915638"/>
                </a:cubicBezTo>
                <a:cubicBezTo>
                  <a:pt x="1325785" y="908971"/>
                  <a:pt x="1321118" y="903161"/>
                  <a:pt x="1313974" y="903351"/>
                </a:cubicBezTo>
                <a:cubicBezTo>
                  <a:pt x="1281779" y="904304"/>
                  <a:pt x="1278255" y="903351"/>
                  <a:pt x="1273016" y="907923"/>
                </a:cubicBezTo>
                <a:cubicBezTo>
                  <a:pt x="1269206" y="912209"/>
                  <a:pt x="1257776" y="917448"/>
                  <a:pt x="1263968" y="922782"/>
                </a:cubicBezTo>
                <a:close/>
                <a:moveTo>
                  <a:pt x="1325785" y="967931"/>
                </a:moveTo>
                <a:cubicBezTo>
                  <a:pt x="1323785" y="960977"/>
                  <a:pt x="1349788" y="949738"/>
                  <a:pt x="1349788" y="949738"/>
                </a:cubicBezTo>
                <a:cubicBezTo>
                  <a:pt x="1356265" y="946404"/>
                  <a:pt x="1355408" y="950405"/>
                  <a:pt x="1369981" y="1001935"/>
                </a:cubicBezTo>
                <a:cubicBezTo>
                  <a:pt x="1371886" y="1008888"/>
                  <a:pt x="1364837" y="1005554"/>
                  <a:pt x="1339787" y="999649"/>
                </a:cubicBezTo>
                <a:cubicBezTo>
                  <a:pt x="1333024" y="998030"/>
                  <a:pt x="1333119" y="993362"/>
                  <a:pt x="1325785" y="967931"/>
                </a:cubicBezTo>
                <a:close/>
                <a:moveTo>
                  <a:pt x="1420273" y="1160717"/>
                </a:moveTo>
                <a:cubicBezTo>
                  <a:pt x="1392841" y="1168241"/>
                  <a:pt x="1390364" y="1169956"/>
                  <a:pt x="1385983" y="1166813"/>
                </a:cubicBezTo>
                <a:cubicBezTo>
                  <a:pt x="1365504" y="1151763"/>
                  <a:pt x="1363504" y="1149858"/>
                  <a:pt x="1358551" y="1147763"/>
                </a:cubicBezTo>
                <a:cubicBezTo>
                  <a:pt x="1358551" y="1147763"/>
                  <a:pt x="1332643" y="1138523"/>
                  <a:pt x="1337977" y="1135475"/>
                </a:cubicBezTo>
                <a:cubicBezTo>
                  <a:pt x="1370838" y="1116616"/>
                  <a:pt x="1372362" y="1114235"/>
                  <a:pt x="1376172" y="1118140"/>
                </a:cubicBezTo>
                <a:cubicBezTo>
                  <a:pt x="1382840" y="1124807"/>
                  <a:pt x="1386935" y="1130046"/>
                  <a:pt x="1392365" y="1131284"/>
                </a:cubicBezTo>
                <a:cubicBezTo>
                  <a:pt x="1403509" y="1133856"/>
                  <a:pt x="1405509" y="1133856"/>
                  <a:pt x="1408271" y="1137666"/>
                </a:cubicBezTo>
                <a:cubicBezTo>
                  <a:pt x="1419511" y="1153287"/>
                  <a:pt x="1425893" y="1159288"/>
                  <a:pt x="1420273" y="1160812"/>
                </a:cubicBezTo>
                <a:close/>
                <a:moveTo>
                  <a:pt x="1652016" y="850487"/>
                </a:moveTo>
                <a:lnTo>
                  <a:pt x="1652016" y="850487"/>
                </a:lnTo>
                <a:cubicBezTo>
                  <a:pt x="1654207" y="848487"/>
                  <a:pt x="1655826" y="844963"/>
                  <a:pt x="1655540" y="842582"/>
                </a:cubicBezTo>
                <a:cubicBezTo>
                  <a:pt x="1654874" y="836771"/>
                  <a:pt x="1662208" y="834866"/>
                  <a:pt x="1677162" y="827818"/>
                </a:cubicBezTo>
                <a:cubicBezTo>
                  <a:pt x="1684687" y="824293"/>
                  <a:pt x="1688211" y="836009"/>
                  <a:pt x="1692497" y="840867"/>
                </a:cubicBezTo>
                <a:cubicBezTo>
                  <a:pt x="1696498" y="846677"/>
                  <a:pt x="1694593" y="850773"/>
                  <a:pt x="1690878" y="872585"/>
                </a:cubicBezTo>
                <a:cubicBezTo>
                  <a:pt x="1689640" y="879634"/>
                  <a:pt x="1683068" y="876872"/>
                  <a:pt x="1661541" y="873919"/>
                </a:cubicBezTo>
                <a:cubicBezTo>
                  <a:pt x="1653635" y="872776"/>
                  <a:pt x="1652588" y="863346"/>
                  <a:pt x="1650016" y="859060"/>
                </a:cubicBezTo>
                <a:cubicBezTo>
                  <a:pt x="1648873" y="856298"/>
                  <a:pt x="1649635" y="852488"/>
                  <a:pt x="1651921" y="850487"/>
                </a:cubicBezTo>
                <a:close/>
                <a:moveTo>
                  <a:pt x="1748504" y="1607344"/>
                </a:moveTo>
                <a:cubicBezTo>
                  <a:pt x="1734693" y="1606106"/>
                  <a:pt x="1721644" y="1610773"/>
                  <a:pt x="1721644" y="1601915"/>
                </a:cubicBezTo>
                <a:cubicBezTo>
                  <a:pt x="1721358" y="1600676"/>
                  <a:pt x="1723263" y="1592104"/>
                  <a:pt x="1716596" y="1589532"/>
                </a:cubicBezTo>
                <a:cubicBezTo>
                  <a:pt x="1710595" y="1586294"/>
                  <a:pt x="1697450" y="1585436"/>
                  <a:pt x="1700975" y="1577816"/>
                </a:cubicBezTo>
                <a:cubicBezTo>
                  <a:pt x="1700975" y="1577816"/>
                  <a:pt x="1706880" y="1557623"/>
                  <a:pt x="1715262" y="1559052"/>
                </a:cubicBezTo>
                <a:cubicBezTo>
                  <a:pt x="1747933" y="1564958"/>
                  <a:pt x="1753934" y="1564196"/>
                  <a:pt x="1753934" y="1571435"/>
                </a:cubicBezTo>
                <a:cubicBezTo>
                  <a:pt x="1753934" y="1601724"/>
                  <a:pt x="1755648" y="1607344"/>
                  <a:pt x="1748504" y="1607344"/>
                </a:cubicBezTo>
                <a:close/>
                <a:moveTo>
                  <a:pt x="1752505" y="1276636"/>
                </a:moveTo>
                <a:cubicBezTo>
                  <a:pt x="1746028" y="1280827"/>
                  <a:pt x="1741170" y="1288447"/>
                  <a:pt x="1729835" y="1303020"/>
                </a:cubicBezTo>
                <a:cubicBezTo>
                  <a:pt x="1725073" y="1309116"/>
                  <a:pt x="1716024" y="1310926"/>
                  <a:pt x="1696688" y="1317498"/>
                </a:cubicBezTo>
                <a:cubicBezTo>
                  <a:pt x="1689830" y="1319784"/>
                  <a:pt x="1682115" y="1317117"/>
                  <a:pt x="1672209" y="1314831"/>
                </a:cubicBezTo>
                <a:cubicBezTo>
                  <a:pt x="1665351" y="1313307"/>
                  <a:pt x="1660398" y="1317022"/>
                  <a:pt x="1647158" y="1323880"/>
                </a:cubicBezTo>
                <a:cubicBezTo>
                  <a:pt x="1639919" y="1327594"/>
                  <a:pt x="1643063" y="1337310"/>
                  <a:pt x="1642396" y="1343216"/>
                </a:cubicBezTo>
                <a:cubicBezTo>
                  <a:pt x="1642396" y="1351693"/>
                  <a:pt x="1631918" y="1354360"/>
                  <a:pt x="1624679" y="1359980"/>
                </a:cubicBezTo>
                <a:cubicBezTo>
                  <a:pt x="1618012" y="1364266"/>
                  <a:pt x="1610487" y="1359218"/>
                  <a:pt x="1605439" y="1358170"/>
                </a:cubicBezTo>
                <a:cubicBezTo>
                  <a:pt x="1598581" y="1355979"/>
                  <a:pt x="1601534" y="1356169"/>
                  <a:pt x="1509617" y="1372267"/>
                </a:cubicBezTo>
                <a:cubicBezTo>
                  <a:pt x="1502569" y="1373505"/>
                  <a:pt x="1499330" y="1370743"/>
                  <a:pt x="1470279" y="1356551"/>
                </a:cubicBezTo>
                <a:cubicBezTo>
                  <a:pt x="1463897" y="1353407"/>
                  <a:pt x="1462945" y="1348073"/>
                  <a:pt x="1454753" y="1327404"/>
                </a:cubicBezTo>
                <a:cubicBezTo>
                  <a:pt x="1451991" y="1320641"/>
                  <a:pt x="1459325" y="1323689"/>
                  <a:pt x="1491901" y="1330071"/>
                </a:cubicBezTo>
                <a:cubicBezTo>
                  <a:pt x="1498949" y="1331500"/>
                  <a:pt x="1499045" y="1327594"/>
                  <a:pt x="1520857" y="1286637"/>
                </a:cubicBezTo>
                <a:cubicBezTo>
                  <a:pt x="1524191" y="1280446"/>
                  <a:pt x="1528858" y="1282541"/>
                  <a:pt x="1557718" y="1285970"/>
                </a:cubicBezTo>
                <a:cubicBezTo>
                  <a:pt x="1565339" y="1286923"/>
                  <a:pt x="1570577" y="1279874"/>
                  <a:pt x="1573244" y="1278160"/>
                </a:cubicBezTo>
                <a:cubicBezTo>
                  <a:pt x="1578769" y="1273493"/>
                  <a:pt x="1573435" y="1270921"/>
                  <a:pt x="1546384" y="1245870"/>
                </a:cubicBezTo>
                <a:cubicBezTo>
                  <a:pt x="1541145" y="1241012"/>
                  <a:pt x="1540002" y="1237202"/>
                  <a:pt x="1525143" y="1206722"/>
                </a:cubicBezTo>
                <a:cubicBezTo>
                  <a:pt x="1521238" y="1198721"/>
                  <a:pt x="1535525" y="1207961"/>
                  <a:pt x="1574006" y="1226344"/>
                </a:cubicBezTo>
                <a:cubicBezTo>
                  <a:pt x="1581341" y="1229868"/>
                  <a:pt x="1589056" y="1225106"/>
                  <a:pt x="1595152" y="1223867"/>
                </a:cubicBezTo>
                <a:cubicBezTo>
                  <a:pt x="1602105" y="1221772"/>
                  <a:pt x="1602772" y="1224058"/>
                  <a:pt x="1646777" y="1255681"/>
                </a:cubicBezTo>
                <a:cubicBezTo>
                  <a:pt x="1652683" y="1259967"/>
                  <a:pt x="1655064" y="1258348"/>
                  <a:pt x="1702975" y="1253109"/>
                </a:cubicBezTo>
                <a:cubicBezTo>
                  <a:pt x="1710404" y="1252252"/>
                  <a:pt x="1709642" y="1251585"/>
                  <a:pt x="1773269" y="1209770"/>
                </a:cubicBezTo>
                <a:cubicBezTo>
                  <a:pt x="1779365" y="1205770"/>
                  <a:pt x="1782223" y="1206056"/>
                  <a:pt x="1836420" y="1197197"/>
                </a:cubicBezTo>
                <a:cubicBezTo>
                  <a:pt x="1843945" y="1195959"/>
                  <a:pt x="1852898" y="1199864"/>
                  <a:pt x="1864614" y="1203674"/>
                </a:cubicBezTo>
                <a:cubicBezTo>
                  <a:pt x="1871758" y="1205960"/>
                  <a:pt x="1863566" y="1208532"/>
                  <a:pt x="1831086" y="1225772"/>
                </a:cubicBezTo>
                <a:cubicBezTo>
                  <a:pt x="1824704" y="1229106"/>
                  <a:pt x="1820323" y="1229582"/>
                  <a:pt x="1792605" y="1235678"/>
                </a:cubicBezTo>
                <a:cubicBezTo>
                  <a:pt x="1785176" y="1237298"/>
                  <a:pt x="1785747" y="1248061"/>
                  <a:pt x="1784604" y="1251490"/>
                </a:cubicBezTo>
                <a:cubicBezTo>
                  <a:pt x="1783366" y="1258157"/>
                  <a:pt x="1780318" y="1258919"/>
                  <a:pt x="1752600" y="1276636"/>
                </a:cubicBezTo>
                <a:close/>
                <a:moveTo>
                  <a:pt x="1986820" y="1517523"/>
                </a:moveTo>
                <a:cubicBezTo>
                  <a:pt x="1984058" y="1523810"/>
                  <a:pt x="1984153" y="1522667"/>
                  <a:pt x="1927479" y="1533335"/>
                </a:cubicBezTo>
                <a:cubicBezTo>
                  <a:pt x="1920621" y="1534668"/>
                  <a:pt x="1914144" y="1532763"/>
                  <a:pt x="1906048" y="1531239"/>
                </a:cubicBezTo>
                <a:cubicBezTo>
                  <a:pt x="1898999" y="1529906"/>
                  <a:pt x="1893475" y="1535430"/>
                  <a:pt x="1892141" y="1536097"/>
                </a:cubicBezTo>
                <a:cubicBezTo>
                  <a:pt x="1886331" y="1540097"/>
                  <a:pt x="1878997" y="1539621"/>
                  <a:pt x="1870424" y="1540002"/>
                </a:cubicBezTo>
                <a:cubicBezTo>
                  <a:pt x="1863185" y="1540383"/>
                  <a:pt x="1856899" y="1545431"/>
                  <a:pt x="1846421" y="1552004"/>
                </a:cubicBezTo>
                <a:cubicBezTo>
                  <a:pt x="1840325" y="1555814"/>
                  <a:pt x="1839182" y="1562767"/>
                  <a:pt x="1835277" y="1574483"/>
                </a:cubicBezTo>
                <a:cubicBezTo>
                  <a:pt x="1832991" y="1581341"/>
                  <a:pt x="1828610" y="1579055"/>
                  <a:pt x="1788890" y="1575340"/>
                </a:cubicBezTo>
                <a:cubicBezTo>
                  <a:pt x="1781556" y="1574673"/>
                  <a:pt x="1786128" y="1571435"/>
                  <a:pt x="1815370" y="1533430"/>
                </a:cubicBezTo>
                <a:cubicBezTo>
                  <a:pt x="1820037" y="1527334"/>
                  <a:pt x="1831848" y="1526477"/>
                  <a:pt x="1831848" y="1526477"/>
                </a:cubicBezTo>
                <a:cubicBezTo>
                  <a:pt x="1839468" y="1524953"/>
                  <a:pt x="1846802" y="1518857"/>
                  <a:pt x="1860042" y="1509998"/>
                </a:cubicBezTo>
                <a:cubicBezTo>
                  <a:pt x="1865947" y="1505998"/>
                  <a:pt x="1869472" y="1501997"/>
                  <a:pt x="1884521" y="1486948"/>
                </a:cubicBezTo>
                <a:cubicBezTo>
                  <a:pt x="1889570" y="1481900"/>
                  <a:pt x="1893761" y="1484090"/>
                  <a:pt x="1926527" y="1489901"/>
                </a:cubicBezTo>
                <a:cubicBezTo>
                  <a:pt x="1933289" y="1491139"/>
                  <a:pt x="1929765" y="1498378"/>
                  <a:pt x="1929860" y="1499330"/>
                </a:cubicBezTo>
                <a:cubicBezTo>
                  <a:pt x="1928146" y="1506284"/>
                  <a:pt x="1935671" y="1502759"/>
                  <a:pt x="1957007" y="1497044"/>
                </a:cubicBezTo>
                <a:cubicBezTo>
                  <a:pt x="1964341" y="1495044"/>
                  <a:pt x="1973294" y="1498473"/>
                  <a:pt x="1987963" y="1502093"/>
                </a:cubicBezTo>
                <a:cubicBezTo>
                  <a:pt x="1995678" y="1503998"/>
                  <a:pt x="1988058" y="1513523"/>
                  <a:pt x="1987010" y="1517523"/>
                </a:cubicBezTo>
                <a:close/>
                <a:moveTo>
                  <a:pt x="2120932" y="1809369"/>
                </a:moveTo>
                <a:cubicBezTo>
                  <a:pt x="2125123" y="1803749"/>
                  <a:pt x="2156936" y="1802321"/>
                  <a:pt x="2156936" y="1802321"/>
                </a:cubicBezTo>
                <a:cubicBezTo>
                  <a:pt x="2165795" y="1801559"/>
                  <a:pt x="2161223" y="1815656"/>
                  <a:pt x="2162270" y="1827467"/>
                </a:cubicBezTo>
                <a:cubicBezTo>
                  <a:pt x="2162270" y="1834325"/>
                  <a:pt x="2156555" y="1836134"/>
                  <a:pt x="2142363" y="1844421"/>
                </a:cubicBezTo>
                <a:cubicBezTo>
                  <a:pt x="2136172" y="1848041"/>
                  <a:pt x="2131409" y="1845469"/>
                  <a:pt x="2105597" y="1838230"/>
                </a:cubicBezTo>
                <a:cubicBezTo>
                  <a:pt x="2098548" y="1836230"/>
                  <a:pt x="2104930" y="1830705"/>
                  <a:pt x="2120932" y="1809369"/>
                </a:cubicBezTo>
                <a:close/>
                <a:moveTo>
                  <a:pt x="2158937" y="1902809"/>
                </a:moveTo>
                <a:cubicBezTo>
                  <a:pt x="2153126" y="1908810"/>
                  <a:pt x="2145602" y="1899190"/>
                  <a:pt x="2139791" y="1896237"/>
                </a:cubicBezTo>
                <a:cubicBezTo>
                  <a:pt x="2133981" y="1892332"/>
                  <a:pt x="2136934" y="1886522"/>
                  <a:pt x="2141220" y="1868329"/>
                </a:cubicBezTo>
                <a:cubicBezTo>
                  <a:pt x="2142839" y="1861566"/>
                  <a:pt x="2151126" y="1860804"/>
                  <a:pt x="2151126" y="1860804"/>
                </a:cubicBezTo>
                <a:cubicBezTo>
                  <a:pt x="2158079" y="1858994"/>
                  <a:pt x="2163890" y="1862519"/>
                  <a:pt x="2183511" y="1870519"/>
                </a:cubicBezTo>
                <a:cubicBezTo>
                  <a:pt x="2190274" y="1873282"/>
                  <a:pt x="2184464" y="1876616"/>
                  <a:pt x="2158937" y="1902809"/>
                </a:cubicBezTo>
                <a:close/>
                <a:moveTo>
                  <a:pt x="2579656" y="696278"/>
                </a:moveTo>
                <a:cubicBezTo>
                  <a:pt x="2579656" y="689515"/>
                  <a:pt x="2601087" y="678847"/>
                  <a:pt x="2601087" y="678847"/>
                </a:cubicBezTo>
                <a:cubicBezTo>
                  <a:pt x="2606993" y="675513"/>
                  <a:pt x="2610041" y="678656"/>
                  <a:pt x="2632996" y="691991"/>
                </a:cubicBezTo>
                <a:cubicBezTo>
                  <a:pt x="2640330" y="696278"/>
                  <a:pt x="2629948" y="704945"/>
                  <a:pt x="2625947" y="713042"/>
                </a:cubicBezTo>
                <a:cubicBezTo>
                  <a:pt x="2624328" y="715518"/>
                  <a:pt x="2621185" y="715994"/>
                  <a:pt x="2618899" y="714089"/>
                </a:cubicBezTo>
                <a:lnTo>
                  <a:pt x="2617280" y="712661"/>
                </a:lnTo>
                <a:cubicBezTo>
                  <a:pt x="2611850" y="707993"/>
                  <a:pt x="2608421" y="717137"/>
                  <a:pt x="2607469" y="718090"/>
                </a:cubicBezTo>
                <a:cubicBezTo>
                  <a:pt x="2602897" y="725329"/>
                  <a:pt x="2593753" y="715899"/>
                  <a:pt x="2584514" y="712375"/>
                </a:cubicBezTo>
                <a:cubicBezTo>
                  <a:pt x="2577656" y="708851"/>
                  <a:pt x="2580227" y="699611"/>
                  <a:pt x="2579751" y="696182"/>
                </a:cubicBezTo>
                <a:close/>
                <a:moveTo>
                  <a:pt x="2595563" y="1180719"/>
                </a:moveTo>
                <a:cubicBezTo>
                  <a:pt x="2602611" y="1179195"/>
                  <a:pt x="2602992" y="1183862"/>
                  <a:pt x="2621090" y="1221200"/>
                </a:cubicBezTo>
                <a:cubicBezTo>
                  <a:pt x="2624233" y="1227773"/>
                  <a:pt x="2617184" y="1226058"/>
                  <a:pt x="2584990" y="1226058"/>
                </a:cubicBezTo>
                <a:cubicBezTo>
                  <a:pt x="2577941" y="1226058"/>
                  <a:pt x="2575655" y="1222819"/>
                  <a:pt x="2554986" y="1205484"/>
                </a:cubicBezTo>
                <a:cubicBezTo>
                  <a:pt x="2550605" y="1201769"/>
                  <a:pt x="2551081" y="1196721"/>
                  <a:pt x="2550795" y="1195769"/>
                </a:cubicBezTo>
                <a:cubicBezTo>
                  <a:pt x="2550795" y="1188530"/>
                  <a:pt x="2595563" y="1180814"/>
                  <a:pt x="2595563" y="1180814"/>
                </a:cubicBezTo>
                <a:close/>
                <a:moveTo>
                  <a:pt x="2438686" y="2004346"/>
                </a:moveTo>
                <a:cubicBezTo>
                  <a:pt x="2441448" y="2003298"/>
                  <a:pt x="2445068" y="2004346"/>
                  <a:pt x="2446687" y="2006918"/>
                </a:cubicBezTo>
                <a:lnTo>
                  <a:pt x="2462594" y="2031206"/>
                </a:lnTo>
                <a:cubicBezTo>
                  <a:pt x="2466499" y="2037207"/>
                  <a:pt x="2472500" y="2040541"/>
                  <a:pt x="2480691" y="2046256"/>
                </a:cubicBezTo>
                <a:cubicBezTo>
                  <a:pt x="2486692" y="2050447"/>
                  <a:pt x="2483453" y="2058734"/>
                  <a:pt x="2483549" y="2060829"/>
                </a:cubicBezTo>
                <a:cubicBezTo>
                  <a:pt x="2482596" y="2068068"/>
                  <a:pt x="2478024" y="2064544"/>
                  <a:pt x="2438305" y="2050256"/>
                </a:cubicBezTo>
                <a:cubicBezTo>
                  <a:pt x="2431066" y="2047685"/>
                  <a:pt x="2426303" y="2040446"/>
                  <a:pt x="2409444" y="2021205"/>
                </a:cubicBezTo>
                <a:cubicBezTo>
                  <a:pt x="2404682" y="2015681"/>
                  <a:pt x="2412778" y="2014442"/>
                  <a:pt x="2438591" y="2004441"/>
                </a:cubicBezTo>
                <a:close/>
                <a:moveTo>
                  <a:pt x="2304574" y="1409033"/>
                </a:moveTo>
                <a:cubicBezTo>
                  <a:pt x="2308479" y="1403509"/>
                  <a:pt x="2307622" y="1397127"/>
                  <a:pt x="2307622" y="1390269"/>
                </a:cubicBezTo>
                <a:cubicBezTo>
                  <a:pt x="2307622" y="1383030"/>
                  <a:pt x="2317147" y="1379792"/>
                  <a:pt x="2317147" y="1379792"/>
                </a:cubicBezTo>
                <a:cubicBezTo>
                  <a:pt x="2323910" y="1376172"/>
                  <a:pt x="2326196" y="1386840"/>
                  <a:pt x="2327815" y="1389031"/>
                </a:cubicBezTo>
                <a:cubicBezTo>
                  <a:pt x="2330958" y="1395317"/>
                  <a:pt x="2336292" y="1399794"/>
                  <a:pt x="2343341" y="1406747"/>
                </a:cubicBezTo>
                <a:cubicBezTo>
                  <a:pt x="2348865" y="1412177"/>
                  <a:pt x="2349627" y="1421702"/>
                  <a:pt x="2353151" y="1437418"/>
                </a:cubicBezTo>
                <a:cubicBezTo>
                  <a:pt x="2354961" y="1445705"/>
                  <a:pt x="2342579" y="1446276"/>
                  <a:pt x="2335244" y="1450277"/>
                </a:cubicBezTo>
                <a:cubicBezTo>
                  <a:pt x="2327624" y="1453229"/>
                  <a:pt x="2323338" y="1443704"/>
                  <a:pt x="2319909" y="1440752"/>
                </a:cubicBezTo>
                <a:cubicBezTo>
                  <a:pt x="2315051" y="1435322"/>
                  <a:pt x="2306765" y="1434656"/>
                  <a:pt x="2294763" y="1431989"/>
                </a:cubicBezTo>
                <a:cubicBezTo>
                  <a:pt x="2286000" y="1430084"/>
                  <a:pt x="2298668" y="1419511"/>
                  <a:pt x="2304574" y="1409033"/>
                </a:cubicBezTo>
                <a:close/>
                <a:moveTo>
                  <a:pt x="2286762" y="1608963"/>
                </a:moveTo>
                <a:cubicBezTo>
                  <a:pt x="2262759" y="1651540"/>
                  <a:pt x="2262473" y="1655826"/>
                  <a:pt x="2255806" y="1652969"/>
                </a:cubicBezTo>
                <a:cubicBezTo>
                  <a:pt x="2229803" y="1641824"/>
                  <a:pt x="2222278" y="1640491"/>
                  <a:pt x="2223611" y="1633347"/>
                </a:cubicBezTo>
                <a:cubicBezTo>
                  <a:pt x="2223611" y="1633347"/>
                  <a:pt x="2230374" y="1587151"/>
                  <a:pt x="2237423" y="1585722"/>
                </a:cubicBezTo>
                <a:cubicBezTo>
                  <a:pt x="2260854" y="1580960"/>
                  <a:pt x="2265998" y="1578483"/>
                  <a:pt x="2270665" y="1583627"/>
                </a:cubicBezTo>
                <a:cubicBezTo>
                  <a:pt x="2285810" y="1600295"/>
                  <a:pt x="2290191" y="1602962"/>
                  <a:pt x="2286762" y="1608963"/>
                </a:cubicBezTo>
                <a:close/>
                <a:moveTo>
                  <a:pt x="2366963" y="1657255"/>
                </a:moveTo>
                <a:cubicBezTo>
                  <a:pt x="2338578" y="1681925"/>
                  <a:pt x="2334006" y="1683639"/>
                  <a:pt x="2336387" y="1690497"/>
                </a:cubicBezTo>
                <a:cubicBezTo>
                  <a:pt x="2336959" y="1693640"/>
                  <a:pt x="2342674" y="1702308"/>
                  <a:pt x="2336578" y="1706785"/>
                </a:cubicBezTo>
                <a:cubicBezTo>
                  <a:pt x="2335625" y="1707737"/>
                  <a:pt x="2329053" y="1710690"/>
                  <a:pt x="2329053" y="1717739"/>
                </a:cubicBezTo>
                <a:cubicBezTo>
                  <a:pt x="2328101" y="1725454"/>
                  <a:pt x="2332006" y="1737265"/>
                  <a:pt x="2323719" y="1738503"/>
                </a:cubicBezTo>
                <a:cubicBezTo>
                  <a:pt x="2315242" y="1738789"/>
                  <a:pt x="2302955" y="1744694"/>
                  <a:pt x="2302955" y="1736217"/>
                </a:cubicBezTo>
                <a:cubicBezTo>
                  <a:pt x="2302955" y="1725454"/>
                  <a:pt x="2303812" y="1717167"/>
                  <a:pt x="2300573" y="1710690"/>
                </a:cubicBezTo>
                <a:cubicBezTo>
                  <a:pt x="2292382" y="1694307"/>
                  <a:pt x="2288762" y="1689830"/>
                  <a:pt x="2292382" y="1684020"/>
                </a:cubicBezTo>
                <a:cubicBezTo>
                  <a:pt x="2314004" y="1648968"/>
                  <a:pt x="2314670" y="1645253"/>
                  <a:pt x="2321814" y="1644396"/>
                </a:cubicBezTo>
                <a:cubicBezTo>
                  <a:pt x="2367248" y="1639062"/>
                  <a:pt x="2371154" y="1636871"/>
                  <a:pt x="2371154" y="1644110"/>
                </a:cubicBezTo>
                <a:cubicBezTo>
                  <a:pt x="2371154" y="1644110"/>
                  <a:pt x="2372392" y="1652683"/>
                  <a:pt x="2367058" y="1657350"/>
                </a:cubicBezTo>
                <a:close/>
                <a:moveTo>
                  <a:pt x="2376392" y="1202055"/>
                </a:moveTo>
                <a:cubicBezTo>
                  <a:pt x="2369249" y="1202055"/>
                  <a:pt x="2369153" y="1193102"/>
                  <a:pt x="2368677" y="1192054"/>
                </a:cubicBezTo>
                <a:cubicBezTo>
                  <a:pt x="2366677" y="1183672"/>
                  <a:pt x="2354675" y="1187768"/>
                  <a:pt x="2344674" y="1186815"/>
                </a:cubicBezTo>
                <a:cubicBezTo>
                  <a:pt x="2337721" y="1186815"/>
                  <a:pt x="2337721" y="1180910"/>
                  <a:pt x="2331625" y="1158716"/>
                </a:cubicBezTo>
                <a:cubicBezTo>
                  <a:pt x="2329815" y="1151954"/>
                  <a:pt x="2334482" y="1150334"/>
                  <a:pt x="2357914" y="1132904"/>
                </a:cubicBezTo>
                <a:cubicBezTo>
                  <a:pt x="2363343" y="1128903"/>
                  <a:pt x="2383536" y="1134428"/>
                  <a:pt x="2383536" y="1134428"/>
                </a:cubicBezTo>
                <a:cubicBezTo>
                  <a:pt x="2390204" y="1135952"/>
                  <a:pt x="2390299" y="1141762"/>
                  <a:pt x="2394680" y="1160145"/>
                </a:cubicBezTo>
                <a:cubicBezTo>
                  <a:pt x="2396395" y="1167289"/>
                  <a:pt x="2404777" y="1169099"/>
                  <a:pt x="2406491" y="1170242"/>
                </a:cubicBezTo>
                <a:cubicBezTo>
                  <a:pt x="2412683" y="1173099"/>
                  <a:pt x="2408492" y="1177671"/>
                  <a:pt x="2397347" y="1197388"/>
                </a:cubicBezTo>
                <a:cubicBezTo>
                  <a:pt x="2393252" y="1204627"/>
                  <a:pt x="2383155" y="1201388"/>
                  <a:pt x="2376297" y="1202055"/>
                </a:cubicBezTo>
                <a:close/>
                <a:moveTo>
                  <a:pt x="2511076" y="2193512"/>
                </a:moveTo>
                <a:cubicBezTo>
                  <a:pt x="2502789" y="2180177"/>
                  <a:pt x="2499932" y="2173605"/>
                  <a:pt x="2493264" y="2171319"/>
                </a:cubicBezTo>
                <a:cubicBezTo>
                  <a:pt x="2454497" y="2158365"/>
                  <a:pt x="2449925" y="2158651"/>
                  <a:pt x="2450211" y="2151507"/>
                </a:cubicBezTo>
                <a:cubicBezTo>
                  <a:pt x="2452116" y="2115026"/>
                  <a:pt x="2454212" y="2108645"/>
                  <a:pt x="2447163" y="2110264"/>
                </a:cubicBezTo>
                <a:cubicBezTo>
                  <a:pt x="2423827" y="2115788"/>
                  <a:pt x="2418112" y="2118932"/>
                  <a:pt x="2414969" y="2112550"/>
                </a:cubicBezTo>
                <a:cubicBezTo>
                  <a:pt x="2398300" y="2079022"/>
                  <a:pt x="2393728" y="2074450"/>
                  <a:pt x="2400967" y="2072831"/>
                </a:cubicBezTo>
                <a:cubicBezTo>
                  <a:pt x="2419160" y="2068735"/>
                  <a:pt x="2428018" y="2065401"/>
                  <a:pt x="2435162" y="2068259"/>
                </a:cubicBezTo>
                <a:cubicBezTo>
                  <a:pt x="2481739" y="2087118"/>
                  <a:pt x="2485358" y="2086642"/>
                  <a:pt x="2484977" y="2093881"/>
                </a:cubicBezTo>
                <a:cubicBezTo>
                  <a:pt x="2482977" y="2136934"/>
                  <a:pt x="2480977" y="2141030"/>
                  <a:pt x="2488120" y="2142363"/>
                </a:cubicBezTo>
                <a:cubicBezTo>
                  <a:pt x="2524125" y="2149316"/>
                  <a:pt x="2528316" y="2148650"/>
                  <a:pt x="2531078" y="2155222"/>
                </a:cubicBezTo>
                <a:cubicBezTo>
                  <a:pt x="2542794" y="2182940"/>
                  <a:pt x="2546795" y="2188083"/>
                  <a:pt x="2539937" y="2190179"/>
                </a:cubicBezTo>
                <a:cubicBezTo>
                  <a:pt x="2519458" y="2196370"/>
                  <a:pt x="2514695" y="2199323"/>
                  <a:pt x="2511076" y="2193512"/>
                </a:cubicBezTo>
                <a:close/>
                <a:moveTo>
                  <a:pt x="2588609" y="2268855"/>
                </a:moveTo>
                <a:cubicBezTo>
                  <a:pt x="2560987" y="2283905"/>
                  <a:pt x="2556986" y="2288096"/>
                  <a:pt x="2551462" y="2283428"/>
                </a:cubicBezTo>
                <a:cubicBezTo>
                  <a:pt x="2546128" y="2278094"/>
                  <a:pt x="2536698" y="2274380"/>
                  <a:pt x="2537365" y="2266093"/>
                </a:cubicBezTo>
                <a:cubicBezTo>
                  <a:pt x="2537936" y="2258759"/>
                  <a:pt x="2539270" y="2251710"/>
                  <a:pt x="2535936" y="2245709"/>
                </a:cubicBezTo>
                <a:cubicBezTo>
                  <a:pt x="2535936" y="2245709"/>
                  <a:pt x="2516124" y="2213896"/>
                  <a:pt x="2523363" y="2213896"/>
                </a:cubicBezTo>
                <a:cubicBezTo>
                  <a:pt x="2544794" y="2215134"/>
                  <a:pt x="2555558" y="2210753"/>
                  <a:pt x="2560701" y="2218373"/>
                </a:cubicBezTo>
                <a:cubicBezTo>
                  <a:pt x="2590800" y="2262473"/>
                  <a:pt x="2595277" y="2265331"/>
                  <a:pt x="2588705" y="2268855"/>
                </a:cubicBezTo>
                <a:close/>
                <a:moveTo>
                  <a:pt x="2679383" y="2237613"/>
                </a:moveTo>
                <a:cubicBezTo>
                  <a:pt x="2678430" y="2237708"/>
                  <a:pt x="2670334" y="2234851"/>
                  <a:pt x="2668429" y="2241614"/>
                </a:cubicBezTo>
                <a:cubicBezTo>
                  <a:pt x="2666333" y="2247043"/>
                  <a:pt x="2666428" y="2256282"/>
                  <a:pt x="2659190" y="2259997"/>
                </a:cubicBezTo>
                <a:cubicBezTo>
                  <a:pt x="2648712" y="2264283"/>
                  <a:pt x="2636615" y="2275046"/>
                  <a:pt x="2636711" y="2266188"/>
                </a:cubicBezTo>
                <a:cubicBezTo>
                  <a:pt x="2637092" y="2206085"/>
                  <a:pt x="2636330" y="2205133"/>
                  <a:pt x="2639092" y="2198275"/>
                </a:cubicBezTo>
                <a:cubicBezTo>
                  <a:pt x="2645855" y="2181987"/>
                  <a:pt x="2649855" y="2175891"/>
                  <a:pt x="2646807" y="2169319"/>
                </a:cubicBezTo>
                <a:cubicBezTo>
                  <a:pt x="2645474" y="2167414"/>
                  <a:pt x="2642521" y="2155317"/>
                  <a:pt x="2638044" y="2161604"/>
                </a:cubicBezTo>
                <a:cubicBezTo>
                  <a:pt x="2638044" y="2161604"/>
                  <a:pt x="2626138" y="2183321"/>
                  <a:pt x="2621852" y="2175891"/>
                </a:cubicBezTo>
                <a:cubicBezTo>
                  <a:pt x="2620804" y="2173510"/>
                  <a:pt x="2615279" y="2167223"/>
                  <a:pt x="2616422" y="2159794"/>
                </a:cubicBezTo>
                <a:cubicBezTo>
                  <a:pt x="2616518" y="2154650"/>
                  <a:pt x="2620613" y="2145983"/>
                  <a:pt x="2614422" y="2140934"/>
                </a:cubicBezTo>
                <a:cubicBezTo>
                  <a:pt x="2605469" y="2135029"/>
                  <a:pt x="2597182" y="2122932"/>
                  <a:pt x="2594039" y="2130933"/>
                </a:cubicBezTo>
                <a:cubicBezTo>
                  <a:pt x="2592134" y="2134172"/>
                  <a:pt x="2591181" y="2145030"/>
                  <a:pt x="2583657" y="2142839"/>
                </a:cubicBezTo>
                <a:cubicBezTo>
                  <a:pt x="2582609" y="2142363"/>
                  <a:pt x="2575084" y="2141601"/>
                  <a:pt x="2572703" y="2135124"/>
                </a:cubicBezTo>
                <a:cubicBezTo>
                  <a:pt x="2566321" y="2117122"/>
                  <a:pt x="2565749" y="2112074"/>
                  <a:pt x="2559272" y="2109788"/>
                </a:cubicBezTo>
                <a:cubicBezTo>
                  <a:pt x="2556796" y="2108549"/>
                  <a:pt x="2548795" y="2107406"/>
                  <a:pt x="2544890" y="2101025"/>
                </a:cubicBezTo>
                <a:cubicBezTo>
                  <a:pt x="2520791" y="2060829"/>
                  <a:pt x="2517648" y="2058829"/>
                  <a:pt x="2522315" y="2053304"/>
                </a:cubicBezTo>
                <a:cubicBezTo>
                  <a:pt x="2522982" y="2051971"/>
                  <a:pt x="2531269" y="2045589"/>
                  <a:pt x="2524411" y="2043017"/>
                </a:cubicBezTo>
                <a:cubicBezTo>
                  <a:pt x="2511933" y="2037017"/>
                  <a:pt x="2497932" y="2036826"/>
                  <a:pt x="2500979" y="2028539"/>
                </a:cubicBezTo>
                <a:cubicBezTo>
                  <a:pt x="2515172" y="1991201"/>
                  <a:pt x="2515172" y="1987106"/>
                  <a:pt x="2522030" y="1984915"/>
                </a:cubicBezTo>
                <a:cubicBezTo>
                  <a:pt x="2535269" y="1980724"/>
                  <a:pt x="2543080" y="1976628"/>
                  <a:pt x="2549557" y="1980248"/>
                </a:cubicBezTo>
                <a:cubicBezTo>
                  <a:pt x="2562701" y="1987487"/>
                  <a:pt x="2570512" y="1993106"/>
                  <a:pt x="2578227" y="1993106"/>
                </a:cubicBezTo>
                <a:cubicBezTo>
                  <a:pt x="2581370" y="1993583"/>
                  <a:pt x="2590133" y="1991201"/>
                  <a:pt x="2594039" y="1997773"/>
                </a:cubicBezTo>
                <a:cubicBezTo>
                  <a:pt x="2619947" y="2041969"/>
                  <a:pt x="2622233" y="2043208"/>
                  <a:pt x="2620137" y="2050066"/>
                </a:cubicBezTo>
                <a:cubicBezTo>
                  <a:pt x="2619947" y="2051590"/>
                  <a:pt x="2616803" y="2057114"/>
                  <a:pt x="2619947" y="2063401"/>
                </a:cubicBezTo>
                <a:cubicBezTo>
                  <a:pt x="2640807" y="2105692"/>
                  <a:pt x="2642330" y="2107883"/>
                  <a:pt x="2644235" y="2114931"/>
                </a:cubicBezTo>
                <a:cubicBezTo>
                  <a:pt x="2648522" y="2130838"/>
                  <a:pt x="2650141" y="2139696"/>
                  <a:pt x="2654427" y="2146173"/>
                </a:cubicBezTo>
                <a:cubicBezTo>
                  <a:pt x="2682145" y="2187702"/>
                  <a:pt x="2684526" y="2189417"/>
                  <a:pt x="2684526" y="2196656"/>
                </a:cubicBezTo>
                <a:cubicBezTo>
                  <a:pt x="2684526" y="2232851"/>
                  <a:pt x="2686431" y="2238756"/>
                  <a:pt x="2679192" y="2237804"/>
                </a:cubicBezTo>
                <a:close/>
                <a:moveTo>
                  <a:pt x="2714530" y="1081373"/>
                </a:moveTo>
                <a:cubicBezTo>
                  <a:pt x="2705195" y="1082516"/>
                  <a:pt x="2703767" y="1070229"/>
                  <a:pt x="2686526" y="1045178"/>
                </a:cubicBezTo>
                <a:lnTo>
                  <a:pt x="2686526" y="1040416"/>
                </a:lnTo>
                <a:lnTo>
                  <a:pt x="2737104" y="1044702"/>
                </a:lnTo>
                <a:cubicBezTo>
                  <a:pt x="2766441" y="1047179"/>
                  <a:pt x="2772061" y="1053370"/>
                  <a:pt x="2795016" y="1067372"/>
                </a:cubicBezTo>
                <a:cubicBezTo>
                  <a:pt x="2802065" y="1071658"/>
                  <a:pt x="2793302" y="1080040"/>
                  <a:pt x="2791587" y="1084517"/>
                </a:cubicBezTo>
                <a:cubicBezTo>
                  <a:pt x="2787396" y="1091946"/>
                  <a:pt x="2778824" y="1081659"/>
                  <a:pt x="2770918" y="1077849"/>
                </a:cubicBezTo>
                <a:cubicBezTo>
                  <a:pt x="2764822" y="1073944"/>
                  <a:pt x="2762631" y="1075468"/>
                  <a:pt x="2714530" y="1081469"/>
                </a:cubicBezTo>
                <a:close/>
                <a:moveTo>
                  <a:pt x="3175826" y="2327624"/>
                </a:moveTo>
                <a:cubicBezTo>
                  <a:pt x="3174873" y="2334673"/>
                  <a:pt x="3169730" y="2334197"/>
                  <a:pt x="3139059" y="2341245"/>
                </a:cubicBezTo>
                <a:cubicBezTo>
                  <a:pt x="3132106" y="2342864"/>
                  <a:pt x="3130963" y="2336864"/>
                  <a:pt x="3118771" y="2312384"/>
                </a:cubicBezTo>
                <a:cubicBezTo>
                  <a:pt x="3115628" y="2306193"/>
                  <a:pt x="3118485" y="2303240"/>
                  <a:pt x="3131439" y="2276380"/>
                </a:cubicBezTo>
                <a:cubicBezTo>
                  <a:pt x="3134582" y="2269808"/>
                  <a:pt x="3143917" y="2266950"/>
                  <a:pt x="3143917" y="2266950"/>
                </a:cubicBezTo>
                <a:cubicBezTo>
                  <a:pt x="3150489" y="2263997"/>
                  <a:pt x="3153823" y="2268188"/>
                  <a:pt x="3176969" y="2283905"/>
                </a:cubicBezTo>
                <a:cubicBezTo>
                  <a:pt x="3182969" y="2288000"/>
                  <a:pt x="3180683" y="2292763"/>
                  <a:pt x="3175826" y="2327624"/>
                </a:cubicBezTo>
                <a:close/>
                <a:moveTo>
                  <a:pt x="3707892" y="2720816"/>
                </a:moveTo>
                <a:cubicBezTo>
                  <a:pt x="3703606" y="2726246"/>
                  <a:pt x="3697129" y="2725008"/>
                  <a:pt x="3683699" y="2725008"/>
                </a:cubicBezTo>
                <a:cubicBezTo>
                  <a:pt x="3676460" y="2725008"/>
                  <a:pt x="3681222" y="2718340"/>
                  <a:pt x="3689795" y="2698433"/>
                </a:cubicBezTo>
                <a:cubicBezTo>
                  <a:pt x="3693224" y="2690432"/>
                  <a:pt x="3712369" y="2706338"/>
                  <a:pt x="3712369" y="2706338"/>
                </a:cubicBezTo>
                <a:cubicBezTo>
                  <a:pt x="3718941" y="2710434"/>
                  <a:pt x="3709511" y="2717768"/>
                  <a:pt x="3707797" y="2720721"/>
                </a:cubicBezTo>
                <a:close/>
                <a:moveTo>
                  <a:pt x="3997643" y="1773269"/>
                </a:moveTo>
                <a:cubicBezTo>
                  <a:pt x="4005167" y="1772222"/>
                  <a:pt x="4002500" y="1782794"/>
                  <a:pt x="4002977" y="1785366"/>
                </a:cubicBezTo>
                <a:cubicBezTo>
                  <a:pt x="4002977" y="1793367"/>
                  <a:pt x="4014121" y="1788319"/>
                  <a:pt x="4019074" y="1788414"/>
                </a:cubicBezTo>
                <a:cubicBezTo>
                  <a:pt x="4022027" y="1787938"/>
                  <a:pt x="4025646" y="1789557"/>
                  <a:pt x="4027170" y="1792034"/>
                </a:cubicBezTo>
                <a:cubicBezTo>
                  <a:pt x="4031552" y="1798796"/>
                  <a:pt x="4021360" y="1804988"/>
                  <a:pt x="4016883" y="1811369"/>
                </a:cubicBezTo>
                <a:cubicBezTo>
                  <a:pt x="4011549" y="1817465"/>
                  <a:pt x="4004501" y="1808321"/>
                  <a:pt x="3999452" y="1805845"/>
                </a:cubicBezTo>
                <a:cubicBezTo>
                  <a:pt x="3993737" y="1801844"/>
                  <a:pt x="3986879" y="1800511"/>
                  <a:pt x="3979545" y="1798415"/>
                </a:cubicBezTo>
                <a:cubicBezTo>
                  <a:pt x="3971925" y="1796320"/>
                  <a:pt x="3971735" y="1786890"/>
                  <a:pt x="3969639" y="1782413"/>
                </a:cubicBezTo>
                <a:cubicBezTo>
                  <a:pt x="3967449" y="1775555"/>
                  <a:pt x="3974973" y="1776317"/>
                  <a:pt x="3997547" y="1773269"/>
                </a:cubicBezTo>
                <a:close/>
                <a:moveTo>
                  <a:pt x="3885533" y="2002917"/>
                </a:moveTo>
                <a:cubicBezTo>
                  <a:pt x="3885533" y="2010156"/>
                  <a:pt x="3881533" y="2009394"/>
                  <a:pt x="3836765" y="2021205"/>
                </a:cubicBezTo>
                <a:cubicBezTo>
                  <a:pt x="3830003" y="2023015"/>
                  <a:pt x="3827050" y="2019300"/>
                  <a:pt x="3806571" y="2004346"/>
                </a:cubicBezTo>
                <a:cubicBezTo>
                  <a:pt x="3800475" y="1999869"/>
                  <a:pt x="3802666" y="1991963"/>
                  <a:pt x="3802190" y="1988725"/>
                </a:cubicBezTo>
                <a:cubicBezTo>
                  <a:pt x="3802190" y="1981867"/>
                  <a:pt x="3806857" y="1983296"/>
                  <a:pt x="3836003" y="1983296"/>
                </a:cubicBezTo>
                <a:cubicBezTo>
                  <a:pt x="3842861" y="1983296"/>
                  <a:pt x="3845147" y="1978723"/>
                  <a:pt x="3857435" y="1964150"/>
                </a:cubicBezTo>
                <a:cubicBezTo>
                  <a:pt x="3862197" y="1958435"/>
                  <a:pt x="3872294" y="1964627"/>
                  <a:pt x="3872294" y="1964627"/>
                </a:cubicBezTo>
                <a:cubicBezTo>
                  <a:pt x="3880199" y="1967865"/>
                  <a:pt x="3871913" y="1977866"/>
                  <a:pt x="3869722" y="1986248"/>
                </a:cubicBezTo>
                <a:cubicBezTo>
                  <a:pt x="3866960" y="1993297"/>
                  <a:pt x="3878009" y="1992440"/>
                  <a:pt x="3880295" y="1993202"/>
                </a:cubicBezTo>
                <a:cubicBezTo>
                  <a:pt x="3887057" y="1994249"/>
                  <a:pt x="3885343" y="2001965"/>
                  <a:pt x="3885628" y="2002917"/>
                </a:cubicBezTo>
                <a:close/>
                <a:moveTo>
                  <a:pt x="3940778" y="2005965"/>
                </a:moveTo>
                <a:cubicBezTo>
                  <a:pt x="3932682" y="2004155"/>
                  <a:pt x="3928586" y="2013966"/>
                  <a:pt x="3923538" y="2018538"/>
                </a:cubicBezTo>
                <a:cubicBezTo>
                  <a:pt x="3918680" y="2024158"/>
                  <a:pt x="3909822" y="2022634"/>
                  <a:pt x="3895630" y="2022634"/>
                </a:cubicBezTo>
                <a:cubicBezTo>
                  <a:pt x="3887819" y="2022634"/>
                  <a:pt x="3895630" y="2016919"/>
                  <a:pt x="3931730" y="1978914"/>
                </a:cubicBezTo>
                <a:cubicBezTo>
                  <a:pt x="3936683" y="1973675"/>
                  <a:pt x="3962686" y="1971008"/>
                  <a:pt x="3962686" y="1971008"/>
                </a:cubicBezTo>
                <a:cubicBezTo>
                  <a:pt x="3970877" y="1969770"/>
                  <a:pt x="3972973" y="1981010"/>
                  <a:pt x="3976974" y="1986534"/>
                </a:cubicBezTo>
                <a:cubicBezTo>
                  <a:pt x="3981164" y="1994154"/>
                  <a:pt x="3991451" y="1986820"/>
                  <a:pt x="4002977" y="1984724"/>
                </a:cubicBezTo>
                <a:cubicBezTo>
                  <a:pt x="4010692" y="1982534"/>
                  <a:pt x="4015074" y="1991678"/>
                  <a:pt x="4018788" y="1994821"/>
                </a:cubicBezTo>
                <a:cubicBezTo>
                  <a:pt x="4023741" y="2000155"/>
                  <a:pt x="4016407" y="2001774"/>
                  <a:pt x="3991547" y="2013871"/>
                </a:cubicBezTo>
                <a:cubicBezTo>
                  <a:pt x="3985260" y="2016919"/>
                  <a:pt x="3983260" y="2015490"/>
                  <a:pt x="3940778" y="2005870"/>
                </a:cubicBezTo>
                <a:close/>
                <a:moveTo>
                  <a:pt x="4054031" y="2219801"/>
                </a:moveTo>
                <a:cubicBezTo>
                  <a:pt x="4047649" y="2223897"/>
                  <a:pt x="4046982" y="2228945"/>
                  <a:pt x="4031933" y="2266188"/>
                </a:cubicBezTo>
                <a:cubicBezTo>
                  <a:pt x="4028885" y="2273808"/>
                  <a:pt x="4019360" y="2265617"/>
                  <a:pt x="4013454" y="2263902"/>
                </a:cubicBezTo>
                <a:cubicBezTo>
                  <a:pt x="4006787" y="2260949"/>
                  <a:pt x="4009930" y="2258092"/>
                  <a:pt x="4027932" y="2211610"/>
                </a:cubicBezTo>
                <a:cubicBezTo>
                  <a:pt x="4030694" y="2204466"/>
                  <a:pt x="4036314" y="2201894"/>
                  <a:pt x="4069747" y="2177415"/>
                </a:cubicBezTo>
                <a:cubicBezTo>
                  <a:pt x="4075367" y="2173319"/>
                  <a:pt x="4107942" y="2181130"/>
                  <a:pt x="4107942" y="2181130"/>
                </a:cubicBezTo>
                <a:cubicBezTo>
                  <a:pt x="4115372" y="2182654"/>
                  <a:pt x="4108799" y="2185035"/>
                  <a:pt x="4053935" y="2219801"/>
                </a:cubicBezTo>
                <a:close/>
                <a:moveTo>
                  <a:pt x="4160996" y="2400967"/>
                </a:moveTo>
                <a:cubicBezTo>
                  <a:pt x="4154995" y="2406587"/>
                  <a:pt x="4149757" y="2413159"/>
                  <a:pt x="4142613" y="2413159"/>
                </a:cubicBezTo>
                <a:cubicBezTo>
                  <a:pt x="4140422" y="2412778"/>
                  <a:pt x="4131945" y="2414873"/>
                  <a:pt x="4127945" y="2408587"/>
                </a:cubicBezTo>
                <a:cubicBezTo>
                  <a:pt x="4127945" y="2408587"/>
                  <a:pt x="4111466" y="2385822"/>
                  <a:pt x="4118610" y="2384298"/>
                </a:cubicBezTo>
                <a:cubicBezTo>
                  <a:pt x="4134422" y="2380964"/>
                  <a:pt x="4138613" y="2379250"/>
                  <a:pt x="4143947" y="2382965"/>
                </a:cubicBezTo>
                <a:cubicBezTo>
                  <a:pt x="4153662" y="2391156"/>
                  <a:pt x="4167283" y="2395157"/>
                  <a:pt x="4160996" y="2401062"/>
                </a:cubicBezTo>
                <a:close/>
                <a:moveTo>
                  <a:pt x="4408742" y="2216849"/>
                </a:moveTo>
                <a:cubicBezTo>
                  <a:pt x="4403789" y="2223326"/>
                  <a:pt x="4400741" y="2236470"/>
                  <a:pt x="4393978" y="2231327"/>
                </a:cubicBezTo>
                <a:cubicBezTo>
                  <a:pt x="4390454" y="2227993"/>
                  <a:pt x="4381881" y="2224469"/>
                  <a:pt x="4381024" y="2216563"/>
                </a:cubicBezTo>
                <a:cubicBezTo>
                  <a:pt x="4381024" y="2216563"/>
                  <a:pt x="4375119" y="2192179"/>
                  <a:pt x="4383786" y="2191893"/>
                </a:cubicBezTo>
                <a:cubicBezTo>
                  <a:pt x="4389501" y="2192369"/>
                  <a:pt x="4399026" y="2188845"/>
                  <a:pt x="4402836" y="2195989"/>
                </a:cubicBezTo>
                <a:cubicBezTo>
                  <a:pt x="4405408" y="2202466"/>
                  <a:pt x="4412933" y="2209800"/>
                  <a:pt x="4408742" y="2216944"/>
                </a:cubicBezTo>
                <a:close/>
                <a:moveTo>
                  <a:pt x="4678394" y="1977771"/>
                </a:moveTo>
                <a:cubicBezTo>
                  <a:pt x="4653820" y="1976914"/>
                  <a:pt x="4649058" y="1975676"/>
                  <a:pt x="4644009" y="1980533"/>
                </a:cubicBezTo>
                <a:cubicBezTo>
                  <a:pt x="4635627" y="1987010"/>
                  <a:pt x="4629531" y="1998726"/>
                  <a:pt x="4623340" y="1992821"/>
                </a:cubicBezTo>
                <a:cubicBezTo>
                  <a:pt x="4614768" y="1984724"/>
                  <a:pt x="4609052" y="1977390"/>
                  <a:pt x="4601623" y="1977771"/>
                </a:cubicBezTo>
                <a:cubicBezTo>
                  <a:pt x="4598099" y="1978533"/>
                  <a:pt x="4587335" y="1976247"/>
                  <a:pt x="4587335" y="1984058"/>
                </a:cubicBezTo>
                <a:lnTo>
                  <a:pt x="4587335" y="1985201"/>
                </a:lnTo>
                <a:cubicBezTo>
                  <a:pt x="4587335" y="1988153"/>
                  <a:pt x="4584954" y="1990916"/>
                  <a:pt x="4582002" y="1991201"/>
                </a:cubicBezTo>
                <a:cubicBezTo>
                  <a:pt x="4542473" y="1995964"/>
                  <a:pt x="4538377" y="1998155"/>
                  <a:pt x="4536758" y="1991201"/>
                </a:cubicBezTo>
                <a:cubicBezTo>
                  <a:pt x="4531233" y="1967389"/>
                  <a:pt x="4527900" y="1960721"/>
                  <a:pt x="4535043" y="1960721"/>
                </a:cubicBezTo>
                <a:cubicBezTo>
                  <a:pt x="4574286" y="1960721"/>
                  <a:pt x="4579906" y="1962626"/>
                  <a:pt x="4579906" y="1955292"/>
                </a:cubicBezTo>
                <a:cubicBezTo>
                  <a:pt x="4579906" y="1955292"/>
                  <a:pt x="4578096" y="1944338"/>
                  <a:pt x="4584002" y="1939385"/>
                </a:cubicBezTo>
                <a:cubicBezTo>
                  <a:pt x="4592098" y="1933861"/>
                  <a:pt x="4598861" y="1922621"/>
                  <a:pt x="4604671" y="1929003"/>
                </a:cubicBezTo>
                <a:cubicBezTo>
                  <a:pt x="4632770" y="1959959"/>
                  <a:pt x="4635246" y="1965389"/>
                  <a:pt x="4638485" y="1958816"/>
                </a:cubicBezTo>
                <a:cubicBezTo>
                  <a:pt x="4643438" y="1950911"/>
                  <a:pt x="4644962" y="1938528"/>
                  <a:pt x="4653058" y="1941005"/>
                </a:cubicBezTo>
                <a:cubicBezTo>
                  <a:pt x="4668012" y="1945672"/>
                  <a:pt x="4673156" y="1946148"/>
                  <a:pt x="4675251" y="1952530"/>
                </a:cubicBezTo>
                <a:cubicBezTo>
                  <a:pt x="4678204" y="1964722"/>
                  <a:pt x="4687253" y="1978057"/>
                  <a:pt x="4678299" y="1977771"/>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1" name="Graphic 10">
            <a:extLst>
              <a:ext uri="{FF2B5EF4-FFF2-40B4-BE49-F238E27FC236}">
                <a16:creationId xmlns:a16="http://schemas.microsoft.com/office/drawing/2014/main" id="{1FA2F2FA-0396-B192-210A-2F1F8B105BE2}"/>
              </a:ext>
            </a:extLst>
          </p:cNvPr>
          <p:cNvSpPr/>
          <p:nvPr/>
        </p:nvSpPr>
        <p:spPr>
          <a:xfrm>
            <a:off x="875043" y="1992375"/>
            <a:ext cx="3469268" cy="1655617"/>
          </a:xfrm>
          <a:custGeom>
            <a:avLst/>
            <a:gdLst>
              <a:gd name="connsiteX0" fmla="*/ 3466817 w 3469268"/>
              <a:gd name="connsiteY0" fmla="*/ 305943 h 1655617"/>
              <a:gd name="connsiteX1" fmla="*/ 3458911 w 3469268"/>
              <a:gd name="connsiteY1" fmla="*/ 299752 h 1655617"/>
              <a:gd name="connsiteX2" fmla="*/ 3452911 w 3469268"/>
              <a:gd name="connsiteY2" fmla="*/ 287465 h 1655617"/>
              <a:gd name="connsiteX3" fmla="*/ 3441862 w 3469268"/>
              <a:gd name="connsiteY3" fmla="*/ 284798 h 1655617"/>
              <a:gd name="connsiteX4" fmla="*/ 3441862 w 3469268"/>
              <a:gd name="connsiteY4" fmla="*/ 256032 h 1655617"/>
              <a:gd name="connsiteX5" fmla="*/ 3420716 w 3469268"/>
              <a:gd name="connsiteY5" fmla="*/ 251936 h 1655617"/>
              <a:gd name="connsiteX6" fmla="*/ 3419478 w 3469268"/>
              <a:gd name="connsiteY6" fmla="*/ 147638 h 1655617"/>
              <a:gd name="connsiteX7" fmla="*/ 3390712 w 3469268"/>
              <a:gd name="connsiteY7" fmla="*/ 124587 h 1655617"/>
              <a:gd name="connsiteX8" fmla="*/ 3355946 w 3469268"/>
              <a:gd name="connsiteY8" fmla="*/ 141351 h 1655617"/>
              <a:gd name="connsiteX9" fmla="*/ 3346516 w 3469268"/>
              <a:gd name="connsiteY9" fmla="*/ 134207 h 1655617"/>
              <a:gd name="connsiteX10" fmla="*/ 3344421 w 3469268"/>
              <a:gd name="connsiteY10" fmla="*/ 122682 h 1655617"/>
              <a:gd name="connsiteX11" fmla="*/ 3334420 w 3469268"/>
              <a:gd name="connsiteY11" fmla="*/ 116300 h 1655617"/>
              <a:gd name="connsiteX12" fmla="*/ 3286795 w 3469268"/>
              <a:gd name="connsiteY12" fmla="*/ 175069 h 1655617"/>
              <a:gd name="connsiteX13" fmla="*/ 3284128 w 3469268"/>
              <a:gd name="connsiteY13" fmla="*/ 195072 h 1655617"/>
              <a:gd name="connsiteX14" fmla="*/ 3270507 w 3469268"/>
              <a:gd name="connsiteY14" fmla="*/ 213265 h 1655617"/>
              <a:gd name="connsiteX15" fmla="*/ 3272888 w 3469268"/>
              <a:gd name="connsiteY15" fmla="*/ 238220 h 1655617"/>
              <a:gd name="connsiteX16" fmla="*/ 3241170 w 3469268"/>
              <a:gd name="connsiteY16" fmla="*/ 263652 h 1655617"/>
              <a:gd name="connsiteX17" fmla="*/ 3233550 w 3469268"/>
              <a:gd name="connsiteY17" fmla="*/ 285941 h 1655617"/>
              <a:gd name="connsiteX18" fmla="*/ 3207928 w 3469268"/>
              <a:gd name="connsiteY18" fmla="*/ 281750 h 1655617"/>
              <a:gd name="connsiteX19" fmla="*/ 3199069 w 3469268"/>
              <a:gd name="connsiteY19" fmla="*/ 301943 h 1655617"/>
              <a:gd name="connsiteX20" fmla="*/ 2996282 w 3469268"/>
              <a:gd name="connsiteY20" fmla="*/ 301943 h 1655617"/>
              <a:gd name="connsiteX21" fmla="*/ 2907890 w 3469268"/>
              <a:gd name="connsiteY21" fmla="*/ 359283 h 1655617"/>
              <a:gd name="connsiteX22" fmla="*/ 2907128 w 3469268"/>
              <a:gd name="connsiteY22" fmla="*/ 360998 h 1655617"/>
              <a:gd name="connsiteX23" fmla="*/ 2918749 w 3469268"/>
              <a:gd name="connsiteY23" fmla="*/ 398526 h 1655617"/>
              <a:gd name="connsiteX24" fmla="*/ 2901413 w 3469268"/>
              <a:gd name="connsiteY24" fmla="*/ 411290 h 1655617"/>
              <a:gd name="connsiteX25" fmla="*/ 2884458 w 3469268"/>
              <a:gd name="connsiteY25" fmla="*/ 424625 h 1655617"/>
              <a:gd name="connsiteX26" fmla="*/ 2835881 w 3469268"/>
              <a:gd name="connsiteY26" fmla="*/ 434054 h 1655617"/>
              <a:gd name="connsiteX27" fmla="*/ 2819593 w 3469268"/>
              <a:gd name="connsiteY27" fmla="*/ 425482 h 1655617"/>
              <a:gd name="connsiteX28" fmla="*/ 2777207 w 3469268"/>
              <a:gd name="connsiteY28" fmla="*/ 421958 h 1655617"/>
              <a:gd name="connsiteX29" fmla="*/ 2741203 w 3469268"/>
              <a:gd name="connsiteY29" fmla="*/ 431578 h 1655617"/>
              <a:gd name="connsiteX30" fmla="*/ 2741203 w 3469268"/>
              <a:gd name="connsiteY30" fmla="*/ 431578 h 1655617"/>
              <a:gd name="connsiteX31" fmla="*/ 2751871 w 3469268"/>
              <a:gd name="connsiteY31" fmla="*/ 452438 h 1655617"/>
              <a:gd name="connsiteX32" fmla="*/ 2755109 w 3469268"/>
              <a:gd name="connsiteY32" fmla="*/ 456724 h 1655617"/>
              <a:gd name="connsiteX33" fmla="*/ 2750537 w 3469268"/>
              <a:gd name="connsiteY33" fmla="*/ 469583 h 1655617"/>
              <a:gd name="connsiteX34" fmla="*/ 2672146 w 3469268"/>
              <a:gd name="connsiteY34" fmla="*/ 517303 h 1655617"/>
              <a:gd name="connsiteX35" fmla="*/ 2601947 w 3469268"/>
              <a:gd name="connsiteY35" fmla="*/ 543020 h 1655617"/>
              <a:gd name="connsiteX36" fmla="*/ 2575849 w 3469268"/>
              <a:gd name="connsiteY36" fmla="*/ 561785 h 1655617"/>
              <a:gd name="connsiteX37" fmla="*/ 2525271 w 3469268"/>
              <a:gd name="connsiteY37" fmla="*/ 565023 h 1655617"/>
              <a:gd name="connsiteX38" fmla="*/ 2477836 w 3469268"/>
              <a:gd name="connsiteY38" fmla="*/ 537782 h 1655617"/>
              <a:gd name="connsiteX39" fmla="*/ 2495743 w 3469268"/>
              <a:gd name="connsiteY39" fmla="*/ 514064 h 1655617"/>
              <a:gd name="connsiteX40" fmla="*/ 2494505 w 3469268"/>
              <a:gd name="connsiteY40" fmla="*/ 512540 h 1655617"/>
              <a:gd name="connsiteX41" fmla="*/ 2506411 w 3469268"/>
              <a:gd name="connsiteY41" fmla="*/ 496443 h 1655617"/>
              <a:gd name="connsiteX42" fmla="*/ 2508126 w 3469268"/>
              <a:gd name="connsiteY42" fmla="*/ 495014 h 1655617"/>
              <a:gd name="connsiteX43" fmla="*/ 2509650 w 3469268"/>
              <a:gd name="connsiteY43" fmla="*/ 476250 h 1655617"/>
              <a:gd name="connsiteX44" fmla="*/ 2527366 w 3469268"/>
              <a:gd name="connsiteY44" fmla="*/ 478536 h 1655617"/>
              <a:gd name="connsiteX45" fmla="*/ 2535082 w 3469268"/>
              <a:gd name="connsiteY45" fmla="*/ 448247 h 1655617"/>
              <a:gd name="connsiteX46" fmla="*/ 2535939 w 3469268"/>
              <a:gd name="connsiteY46" fmla="*/ 446151 h 1655617"/>
              <a:gd name="connsiteX47" fmla="*/ 2534320 w 3469268"/>
              <a:gd name="connsiteY47" fmla="*/ 442913 h 1655617"/>
              <a:gd name="connsiteX48" fmla="*/ 2523271 w 3469268"/>
              <a:gd name="connsiteY48" fmla="*/ 384143 h 1655617"/>
              <a:gd name="connsiteX49" fmla="*/ 2504792 w 3469268"/>
              <a:gd name="connsiteY49" fmla="*/ 372809 h 1655617"/>
              <a:gd name="connsiteX50" fmla="*/ 2483266 w 3469268"/>
              <a:gd name="connsiteY50" fmla="*/ 385763 h 1655617"/>
              <a:gd name="connsiteX51" fmla="*/ 2461168 w 3469268"/>
              <a:gd name="connsiteY51" fmla="*/ 404527 h 1655617"/>
              <a:gd name="connsiteX52" fmla="*/ 2445928 w 3469268"/>
              <a:gd name="connsiteY52" fmla="*/ 391287 h 1655617"/>
              <a:gd name="connsiteX53" fmla="*/ 2452881 w 3469268"/>
              <a:gd name="connsiteY53" fmla="*/ 373190 h 1655617"/>
              <a:gd name="connsiteX54" fmla="*/ 2467549 w 3469268"/>
              <a:gd name="connsiteY54" fmla="*/ 365284 h 1655617"/>
              <a:gd name="connsiteX55" fmla="*/ 2484408 w 3469268"/>
              <a:gd name="connsiteY55" fmla="*/ 337375 h 1655617"/>
              <a:gd name="connsiteX56" fmla="*/ 2483075 w 3469268"/>
              <a:gd name="connsiteY56" fmla="*/ 309944 h 1655617"/>
              <a:gd name="connsiteX57" fmla="*/ 2479074 w 3469268"/>
              <a:gd name="connsiteY57" fmla="*/ 296799 h 1655617"/>
              <a:gd name="connsiteX58" fmla="*/ 2483742 w 3469268"/>
              <a:gd name="connsiteY58" fmla="*/ 287179 h 1655617"/>
              <a:gd name="connsiteX59" fmla="*/ 2470978 w 3469268"/>
              <a:gd name="connsiteY59" fmla="*/ 273082 h 1655617"/>
              <a:gd name="connsiteX60" fmla="*/ 2437831 w 3469268"/>
              <a:gd name="connsiteY60" fmla="*/ 261461 h 1655617"/>
              <a:gd name="connsiteX61" fmla="*/ 2424877 w 3469268"/>
              <a:gd name="connsiteY61" fmla="*/ 250793 h 1655617"/>
              <a:gd name="connsiteX62" fmla="*/ 2394397 w 3469268"/>
              <a:gd name="connsiteY62" fmla="*/ 247745 h 1655617"/>
              <a:gd name="connsiteX63" fmla="*/ 2384682 w 3469268"/>
              <a:gd name="connsiteY63" fmla="*/ 263747 h 1655617"/>
              <a:gd name="connsiteX64" fmla="*/ 2386777 w 3469268"/>
              <a:gd name="connsiteY64" fmla="*/ 276130 h 1655617"/>
              <a:gd name="connsiteX65" fmla="*/ 2364298 w 3469268"/>
              <a:gd name="connsiteY65" fmla="*/ 285750 h 1655617"/>
              <a:gd name="connsiteX66" fmla="*/ 2359155 w 3469268"/>
              <a:gd name="connsiteY66" fmla="*/ 313277 h 1655617"/>
              <a:gd name="connsiteX67" fmla="*/ 2346106 w 3469268"/>
              <a:gd name="connsiteY67" fmla="*/ 312325 h 1655617"/>
              <a:gd name="connsiteX68" fmla="*/ 2342105 w 3469268"/>
              <a:gd name="connsiteY68" fmla="*/ 294799 h 1655617"/>
              <a:gd name="connsiteX69" fmla="*/ 2311816 w 3469268"/>
              <a:gd name="connsiteY69" fmla="*/ 327089 h 1655617"/>
              <a:gd name="connsiteX70" fmla="*/ 2308958 w 3469268"/>
              <a:gd name="connsiteY70" fmla="*/ 352520 h 1655617"/>
              <a:gd name="connsiteX71" fmla="*/ 2299052 w 3469268"/>
              <a:gd name="connsiteY71" fmla="*/ 372999 h 1655617"/>
              <a:gd name="connsiteX72" fmla="*/ 2299719 w 3469268"/>
              <a:gd name="connsiteY72" fmla="*/ 394716 h 1655617"/>
              <a:gd name="connsiteX73" fmla="*/ 2297433 w 3469268"/>
              <a:gd name="connsiteY73" fmla="*/ 406432 h 1655617"/>
              <a:gd name="connsiteX74" fmla="*/ 2314578 w 3469268"/>
              <a:gd name="connsiteY74" fmla="*/ 455105 h 1655617"/>
              <a:gd name="connsiteX75" fmla="*/ 2307339 w 3469268"/>
              <a:gd name="connsiteY75" fmla="*/ 501015 h 1655617"/>
              <a:gd name="connsiteX76" fmla="*/ 2278383 w 3469268"/>
              <a:gd name="connsiteY76" fmla="*/ 539020 h 1655617"/>
              <a:gd name="connsiteX77" fmla="*/ 2242950 w 3469268"/>
              <a:gd name="connsiteY77" fmla="*/ 548640 h 1655617"/>
              <a:gd name="connsiteX78" fmla="*/ 2229520 w 3469268"/>
              <a:gd name="connsiteY78" fmla="*/ 536543 h 1655617"/>
              <a:gd name="connsiteX79" fmla="*/ 2220947 w 3469268"/>
              <a:gd name="connsiteY79" fmla="*/ 514826 h 1655617"/>
              <a:gd name="connsiteX80" fmla="*/ 2212851 w 3469268"/>
              <a:gd name="connsiteY80" fmla="*/ 499967 h 1655617"/>
              <a:gd name="connsiteX81" fmla="*/ 2216756 w 3469268"/>
              <a:gd name="connsiteY81" fmla="*/ 459962 h 1655617"/>
              <a:gd name="connsiteX82" fmla="*/ 2208374 w 3469268"/>
              <a:gd name="connsiteY82" fmla="*/ 432816 h 1655617"/>
              <a:gd name="connsiteX83" fmla="*/ 2221423 w 3469268"/>
              <a:gd name="connsiteY83" fmla="*/ 390144 h 1655617"/>
              <a:gd name="connsiteX84" fmla="*/ 2220280 w 3469268"/>
              <a:gd name="connsiteY84" fmla="*/ 376619 h 1655617"/>
              <a:gd name="connsiteX85" fmla="*/ 2236949 w 3469268"/>
              <a:gd name="connsiteY85" fmla="*/ 354997 h 1655617"/>
              <a:gd name="connsiteX86" fmla="*/ 2259142 w 3469268"/>
              <a:gd name="connsiteY86" fmla="*/ 287179 h 1655617"/>
              <a:gd name="connsiteX87" fmla="*/ 2251903 w 3469268"/>
              <a:gd name="connsiteY87" fmla="*/ 288512 h 1655617"/>
              <a:gd name="connsiteX88" fmla="*/ 2206088 w 3469268"/>
              <a:gd name="connsiteY88" fmla="*/ 337757 h 1655617"/>
              <a:gd name="connsiteX89" fmla="*/ 2195134 w 3469268"/>
              <a:gd name="connsiteY89" fmla="*/ 337375 h 1655617"/>
              <a:gd name="connsiteX90" fmla="*/ 2193515 w 3469268"/>
              <a:gd name="connsiteY90" fmla="*/ 330137 h 1655617"/>
              <a:gd name="connsiteX91" fmla="*/ 2258285 w 3469268"/>
              <a:gd name="connsiteY91" fmla="*/ 240221 h 1655617"/>
              <a:gd name="connsiteX92" fmla="*/ 2283431 w 3469268"/>
              <a:gd name="connsiteY92" fmla="*/ 239173 h 1655617"/>
              <a:gd name="connsiteX93" fmla="*/ 2287622 w 3469268"/>
              <a:gd name="connsiteY93" fmla="*/ 249460 h 1655617"/>
              <a:gd name="connsiteX94" fmla="*/ 2322960 w 3469268"/>
              <a:gd name="connsiteY94" fmla="*/ 225838 h 1655617"/>
              <a:gd name="connsiteX95" fmla="*/ 2336771 w 3469268"/>
              <a:gd name="connsiteY95" fmla="*/ 225838 h 1655617"/>
              <a:gd name="connsiteX96" fmla="*/ 2350773 w 3469268"/>
              <a:gd name="connsiteY96" fmla="*/ 218313 h 1655617"/>
              <a:gd name="connsiteX97" fmla="*/ 2359917 w 3469268"/>
              <a:gd name="connsiteY97" fmla="*/ 216503 h 1655617"/>
              <a:gd name="connsiteX98" fmla="*/ 2398112 w 3469268"/>
              <a:gd name="connsiteY98" fmla="*/ 225076 h 1655617"/>
              <a:gd name="connsiteX99" fmla="*/ 2413352 w 3469268"/>
              <a:gd name="connsiteY99" fmla="*/ 218885 h 1655617"/>
              <a:gd name="connsiteX100" fmla="*/ 2442308 w 3469268"/>
              <a:gd name="connsiteY100" fmla="*/ 222504 h 1655617"/>
              <a:gd name="connsiteX101" fmla="*/ 2419924 w 3469268"/>
              <a:gd name="connsiteY101" fmla="*/ 194119 h 1655617"/>
              <a:gd name="connsiteX102" fmla="*/ 2418686 w 3469268"/>
              <a:gd name="connsiteY102" fmla="*/ 192596 h 1655617"/>
              <a:gd name="connsiteX103" fmla="*/ 2384015 w 3469268"/>
              <a:gd name="connsiteY103" fmla="*/ 194119 h 1655617"/>
              <a:gd name="connsiteX104" fmla="*/ 2378586 w 3469268"/>
              <a:gd name="connsiteY104" fmla="*/ 176498 h 1655617"/>
              <a:gd name="connsiteX105" fmla="*/ 2321245 w 3469268"/>
              <a:gd name="connsiteY105" fmla="*/ 176213 h 1655617"/>
              <a:gd name="connsiteX106" fmla="*/ 2286574 w 3469268"/>
              <a:gd name="connsiteY106" fmla="*/ 191643 h 1655617"/>
              <a:gd name="connsiteX107" fmla="*/ 2252189 w 3469268"/>
              <a:gd name="connsiteY107" fmla="*/ 190119 h 1655617"/>
              <a:gd name="connsiteX108" fmla="*/ 2225043 w 3469268"/>
              <a:gd name="connsiteY108" fmla="*/ 165640 h 1655617"/>
              <a:gd name="connsiteX109" fmla="*/ 2202088 w 3469268"/>
              <a:gd name="connsiteY109" fmla="*/ 157925 h 1655617"/>
              <a:gd name="connsiteX110" fmla="*/ 2195420 w 3469268"/>
              <a:gd name="connsiteY110" fmla="*/ 134398 h 1655617"/>
              <a:gd name="connsiteX111" fmla="*/ 2224662 w 3469268"/>
              <a:gd name="connsiteY111" fmla="*/ 114395 h 1655617"/>
              <a:gd name="connsiteX112" fmla="*/ 2192658 w 3469268"/>
              <a:gd name="connsiteY112" fmla="*/ 111633 h 1655617"/>
              <a:gd name="connsiteX113" fmla="*/ 2139699 w 3469268"/>
              <a:gd name="connsiteY113" fmla="*/ 154115 h 1655617"/>
              <a:gd name="connsiteX114" fmla="*/ 2100456 w 3469268"/>
              <a:gd name="connsiteY114" fmla="*/ 165259 h 1655617"/>
              <a:gd name="connsiteX115" fmla="*/ 2065118 w 3469268"/>
              <a:gd name="connsiteY115" fmla="*/ 180785 h 1655617"/>
              <a:gd name="connsiteX116" fmla="*/ 2033876 w 3469268"/>
              <a:gd name="connsiteY116" fmla="*/ 183071 h 1655617"/>
              <a:gd name="connsiteX117" fmla="*/ 2039020 w 3469268"/>
              <a:gd name="connsiteY117" fmla="*/ 166973 h 1655617"/>
              <a:gd name="connsiteX118" fmla="*/ 2034447 w 3469268"/>
              <a:gd name="connsiteY118" fmla="*/ 156877 h 1655617"/>
              <a:gd name="connsiteX119" fmla="*/ 1967677 w 3469268"/>
              <a:gd name="connsiteY119" fmla="*/ 177165 h 1655617"/>
              <a:gd name="connsiteX120" fmla="*/ 1958724 w 3469268"/>
              <a:gd name="connsiteY120" fmla="*/ 167545 h 1655617"/>
              <a:gd name="connsiteX121" fmla="*/ 2038448 w 3469268"/>
              <a:gd name="connsiteY121" fmla="*/ 101346 h 1655617"/>
              <a:gd name="connsiteX122" fmla="*/ 2092741 w 3469268"/>
              <a:gd name="connsiteY122" fmla="*/ 77153 h 1655617"/>
              <a:gd name="connsiteX123" fmla="*/ 2077405 w 3469268"/>
              <a:gd name="connsiteY123" fmla="*/ 62389 h 1655617"/>
              <a:gd name="connsiteX124" fmla="*/ 2041306 w 3469268"/>
              <a:gd name="connsiteY124" fmla="*/ 66008 h 1655617"/>
              <a:gd name="connsiteX125" fmla="*/ 2035305 w 3469268"/>
              <a:gd name="connsiteY125" fmla="*/ 54769 h 1655617"/>
              <a:gd name="connsiteX126" fmla="*/ 2017969 w 3469268"/>
              <a:gd name="connsiteY126" fmla="*/ 60389 h 1655617"/>
              <a:gd name="connsiteX127" fmla="*/ 2010254 w 3469268"/>
              <a:gd name="connsiteY127" fmla="*/ 70104 h 1655617"/>
              <a:gd name="connsiteX128" fmla="*/ 1983584 w 3469268"/>
              <a:gd name="connsiteY128" fmla="*/ 70104 h 1655617"/>
              <a:gd name="connsiteX129" fmla="*/ 1978345 w 3469268"/>
              <a:gd name="connsiteY129" fmla="*/ 55436 h 1655617"/>
              <a:gd name="connsiteX130" fmla="*/ 1937673 w 3469268"/>
              <a:gd name="connsiteY130" fmla="*/ 59245 h 1655617"/>
              <a:gd name="connsiteX131" fmla="*/ 1930816 w 3469268"/>
              <a:gd name="connsiteY131" fmla="*/ 37719 h 1655617"/>
              <a:gd name="connsiteX132" fmla="*/ 1886524 w 3469268"/>
              <a:gd name="connsiteY132" fmla="*/ 28385 h 1655617"/>
              <a:gd name="connsiteX133" fmla="*/ 1878047 w 3469268"/>
              <a:gd name="connsiteY133" fmla="*/ 37719 h 1655617"/>
              <a:gd name="connsiteX134" fmla="*/ 1858997 w 3469268"/>
              <a:gd name="connsiteY134" fmla="*/ 37433 h 1655617"/>
              <a:gd name="connsiteX135" fmla="*/ 1855473 w 3469268"/>
              <a:gd name="connsiteY135" fmla="*/ 29147 h 1655617"/>
              <a:gd name="connsiteX136" fmla="*/ 1802800 w 3469268"/>
              <a:gd name="connsiteY136" fmla="*/ 19145 h 1655617"/>
              <a:gd name="connsiteX137" fmla="*/ 1802514 w 3469268"/>
              <a:gd name="connsiteY137" fmla="*/ 17050 h 1655617"/>
              <a:gd name="connsiteX138" fmla="*/ 1793275 w 3469268"/>
              <a:gd name="connsiteY138" fmla="*/ 10287 h 1655617"/>
              <a:gd name="connsiteX139" fmla="*/ 1772320 w 3469268"/>
              <a:gd name="connsiteY139" fmla="*/ 10478 h 1655617"/>
              <a:gd name="connsiteX140" fmla="*/ 1765652 w 3469268"/>
              <a:gd name="connsiteY140" fmla="*/ 95 h 1655617"/>
              <a:gd name="connsiteX141" fmla="*/ 1765652 w 3469268"/>
              <a:gd name="connsiteY141" fmla="*/ 95 h 1655617"/>
              <a:gd name="connsiteX142" fmla="*/ 121827 w 3469268"/>
              <a:gd name="connsiteY142" fmla="*/ 0 h 1655617"/>
              <a:gd name="connsiteX143" fmla="*/ 129924 w 3469268"/>
              <a:gd name="connsiteY143" fmla="*/ 15145 h 1655617"/>
              <a:gd name="connsiteX144" fmla="*/ 130209 w 3469268"/>
              <a:gd name="connsiteY144" fmla="*/ 48006 h 1655617"/>
              <a:gd name="connsiteX145" fmla="*/ 129828 w 3469268"/>
              <a:gd name="connsiteY145" fmla="*/ 48578 h 1655617"/>
              <a:gd name="connsiteX146" fmla="*/ 128400 w 3469268"/>
              <a:gd name="connsiteY146" fmla="*/ 57912 h 1655617"/>
              <a:gd name="connsiteX147" fmla="*/ 131067 w 3469268"/>
              <a:gd name="connsiteY147" fmla="*/ 65437 h 1655617"/>
              <a:gd name="connsiteX148" fmla="*/ 138210 w 3469268"/>
              <a:gd name="connsiteY148" fmla="*/ 71057 h 1655617"/>
              <a:gd name="connsiteX149" fmla="*/ 144687 w 3469268"/>
              <a:gd name="connsiteY149" fmla="*/ 71723 h 1655617"/>
              <a:gd name="connsiteX150" fmla="*/ 148497 w 3469268"/>
              <a:gd name="connsiteY150" fmla="*/ 77438 h 1655617"/>
              <a:gd name="connsiteX151" fmla="*/ 139544 w 3469268"/>
              <a:gd name="connsiteY151" fmla="*/ 106204 h 1655617"/>
              <a:gd name="connsiteX152" fmla="*/ 136305 w 3469268"/>
              <a:gd name="connsiteY152" fmla="*/ 106204 h 1655617"/>
              <a:gd name="connsiteX153" fmla="*/ 132019 w 3469268"/>
              <a:gd name="connsiteY153" fmla="*/ 92869 h 1655617"/>
              <a:gd name="connsiteX154" fmla="*/ 126780 w 3469268"/>
              <a:gd name="connsiteY154" fmla="*/ 91726 h 1655617"/>
              <a:gd name="connsiteX155" fmla="*/ 119351 w 3469268"/>
              <a:gd name="connsiteY155" fmla="*/ 99822 h 1655617"/>
              <a:gd name="connsiteX156" fmla="*/ 110302 w 3469268"/>
              <a:gd name="connsiteY156" fmla="*/ 104203 h 1655617"/>
              <a:gd name="connsiteX157" fmla="*/ 106016 w 3469268"/>
              <a:gd name="connsiteY157" fmla="*/ 104584 h 1655617"/>
              <a:gd name="connsiteX158" fmla="*/ 103920 w 3469268"/>
              <a:gd name="connsiteY158" fmla="*/ 100679 h 1655617"/>
              <a:gd name="connsiteX159" fmla="*/ 118017 w 3469268"/>
              <a:gd name="connsiteY159" fmla="*/ 82296 h 1655617"/>
              <a:gd name="connsiteX160" fmla="*/ 118779 w 3469268"/>
              <a:gd name="connsiteY160" fmla="*/ 73247 h 1655617"/>
              <a:gd name="connsiteX161" fmla="*/ 117255 w 3469268"/>
              <a:gd name="connsiteY161" fmla="*/ 70390 h 1655617"/>
              <a:gd name="connsiteX162" fmla="*/ 109350 w 3469268"/>
              <a:gd name="connsiteY162" fmla="*/ 65246 h 1655617"/>
              <a:gd name="connsiteX163" fmla="*/ 109350 w 3469268"/>
              <a:gd name="connsiteY163" fmla="*/ 65246 h 1655617"/>
              <a:gd name="connsiteX164" fmla="*/ 37436 w 3469268"/>
              <a:gd name="connsiteY164" fmla="*/ 58865 h 1655617"/>
              <a:gd name="connsiteX165" fmla="*/ 1431 w 3469268"/>
              <a:gd name="connsiteY165" fmla="*/ 49149 h 1655617"/>
              <a:gd name="connsiteX166" fmla="*/ 2289 w 3469268"/>
              <a:gd name="connsiteY166" fmla="*/ 75724 h 1655617"/>
              <a:gd name="connsiteX167" fmla="*/ 20862 w 3469268"/>
              <a:gd name="connsiteY167" fmla="*/ 109157 h 1655617"/>
              <a:gd name="connsiteX168" fmla="*/ 33435 w 3469268"/>
              <a:gd name="connsiteY168" fmla="*/ 150686 h 1655617"/>
              <a:gd name="connsiteX169" fmla="*/ 34388 w 3469268"/>
              <a:gd name="connsiteY169" fmla="*/ 149257 h 1655617"/>
              <a:gd name="connsiteX170" fmla="*/ 41532 w 3469268"/>
              <a:gd name="connsiteY170" fmla="*/ 148400 h 1655617"/>
              <a:gd name="connsiteX171" fmla="*/ 45246 w 3469268"/>
              <a:gd name="connsiteY171" fmla="*/ 158972 h 1655617"/>
              <a:gd name="connsiteX172" fmla="*/ 38198 w 3469268"/>
              <a:gd name="connsiteY172" fmla="*/ 172022 h 1655617"/>
              <a:gd name="connsiteX173" fmla="*/ 41246 w 3469268"/>
              <a:gd name="connsiteY173" fmla="*/ 206407 h 1655617"/>
              <a:gd name="connsiteX174" fmla="*/ 45342 w 3469268"/>
              <a:gd name="connsiteY174" fmla="*/ 228791 h 1655617"/>
              <a:gd name="connsiteX175" fmla="*/ 19434 w 3469268"/>
              <a:gd name="connsiteY175" fmla="*/ 425387 h 1655617"/>
              <a:gd name="connsiteX176" fmla="*/ 10004 w 3469268"/>
              <a:gd name="connsiteY176" fmla="*/ 465963 h 1655617"/>
              <a:gd name="connsiteX177" fmla="*/ 18005 w 3469268"/>
              <a:gd name="connsiteY177" fmla="*/ 482822 h 1655617"/>
              <a:gd name="connsiteX178" fmla="*/ 22196 w 3469268"/>
              <a:gd name="connsiteY178" fmla="*/ 515779 h 1655617"/>
              <a:gd name="connsiteX179" fmla="*/ 30197 w 3469268"/>
              <a:gd name="connsiteY179" fmla="*/ 528638 h 1655617"/>
              <a:gd name="connsiteX180" fmla="*/ 31435 w 3469268"/>
              <a:gd name="connsiteY180" fmla="*/ 542354 h 1655617"/>
              <a:gd name="connsiteX181" fmla="*/ 41627 w 3469268"/>
              <a:gd name="connsiteY181" fmla="*/ 558927 h 1655617"/>
              <a:gd name="connsiteX182" fmla="*/ 31149 w 3469268"/>
              <a:gd name="connsiteY182" fmla="*/ 601885 h 1655617"/>
              <a:gd name="connsiteX183" fmla="*/ 18291 w 3469268"/>
              <a:gd name="connsiteY183" fmla="*/ 628840 h 1655617"/>
              <a:gd name="connsiteX184" fmla="*/ 22958 w 3469268"/>
              <a:gd name="connsiteY184" fmla="*/ 646081 h 1655617"/>
              <a:gd name="connsiteX185" fmla="*/ 46866 w 3469268"/>
              <a:gd name="connsiteY185" fmla="*/ 669512 h 1655617"/>
              <a:gd name="connsiteX186" fmla="*/ 54581 w 3469268"/>
              <a:gd name="connsiteY186" fmla="*/ 692087 h 1655617"/>
              <a:gd name="connsiteX187" fmla="*/ 52866 w 3469268"/>
              <a:gd name="connsiteY187" fmla="*/ 708755 h 1655617"/>
              <a:gd name="connsiteX188" fmla="*/ 57343 w 3469268"/>
              <a:gd name="connsiteY188" fmla="*/ 725615 h 1655617"/>
              <a:gd name="connsiteX189" fmla="*/ 60296 w 3469268"/>
              <a:gd name="connsiteY189" fmla="*/ 740474 h 1655617"/>
              <a:gd name="connsiteX190" fmla="*/ 99634 w 3469268"/>
              <a:gd name="connsiteY190" fmla="*/ 779431 h 1655617"/>
              <a:gd name="connsiteX191" fmla="*/ 108397 w 3469268"/>
              <a:gd name="connsiteY191" fmla="*/ 799433 h 1655617"/>
              <a:gd name="connsiteX192" fmla="*/ 129352 w 3469268"/>
              <a:gd name="connsiteY192" fmla="*/ 808577 h 1655617"/>
              <a:gd name="connsiteX193" fmla="*/ 132305 w 3469268"/>
              <a:gd name="connsiteY193" fmla="*/ 790099 h 1655617"/>
              <a:gd name="connsiteX194" fmla="*/ 134210 w 3469268"/>
              <a:gd name="connsiteY194" fmla="*/ 790099 h 1655617"/>
              <a:gd name="connsiteX195" fmla="*/ 150974 w 3469268"/>
              <a:gd name="connsiteY195" fmla="*/ 818579 h 1655617"/>
              <a:gd name="connsiteX196" fmla="*/ 159070 w 3469268"/>
              <a:gd name="connsiteY196" fmla="*/ 840010 h 1655617"/>
              <a:gd name="connsiteX197" fmla="*/ 140211 w 3469268"/>
              <a:gd name="connsiteY197" fmla="*/ 829818 h 1655617"/>
              <a:gd name="connsiteX198" fmla="*/ 132305 w 3469268"/>
              <a:gd name="connsiteY198" fmla="*/ 822674 h 1655617"/>
              <a:gd name="connsiteX199" fmla="*/ 129924 w 3469268"/>
              <a:gd name="connsiteY199" fmla="*/ 828294 h 1655617"/>
              <a:gd name="connsiteX200" fmla="*/ 136305 w 3469268"/>
              <a:gd name="connsiteY200" fmla="*/ 852392 h 1655617"/>
              <a:gd name="connsiteX201" fmla="*/ 148974 w 3469268"/>
              <a:gd name="connsiteY201" fmla="*/ 869252 h 1655617"/>
              <a:gd name="connsiteX202" fmla="*/ 163261 w 3469268"/>
              <a:gd name="connsiteY202" fmla="*/ 873157 h 1655617"/>
              <a:gd name="connsiteX203" fmla="*/ 169071 w 3469268"/>
              <a:gd name="connsiteY203" fmla="*/ 896874 h 1655617"/>
              <a:gd name="connsiteX204" fmla="*/ 168309 w 3469268"/>
              <a:gd name="connsiteY204" fmla="*/ 897065 h 1655617"/>
              <a:gd name="connsiteX205" fmla="*/ 164499 w 3469268"/>
              <a:gd name="connsiteY205" fmla="*/ 903732 h 1655617"/>
              <a:gd name="connsiteX206" fmla="*/ 172024 w 3469268"/>
              <a:gd name="connsiteY206" fmla="*/ 921830 h 1655617"/>
              <a:gd name="connsiteX207" fmla="*/ 228126 w 3469268"/>
              <a:gd name="connsiteY207" fmla="*/ 983933 h 1655617"/>
              <a:gd name="connsiteX208" fmla="*/ 233460 w 3469268"/>
              <a:gd name="connsiteY208" fmla="*/ 996791 h 1655617"/>
              <a:gd name="connsiteX209" fmla="*/ 243652 w 3469268"/>
              <a:gd name="connsiteY209" fmla="*/ 1004126 h 1655617"/>
              <a:gd name="connsiteX210" fmla="*/ 247843 w 3469268"/>
              <a:gd name="connsiteY210" fmla="*/ 1036130 h 1655617"/>
              <a:gd name="connsiteX211" fmla="*/ 262797 w 3469268"/>
              <a:gd name="connsiteY211" fmla="*/ 1044035 h 1655617"/>
              <a:gd name="connsiteX212" fmla="*/ 310994 w 3469268"/>
              <a:gd name="connsiteY212" fmla="*/ 1046607 h 1655617"/>
              <a:gd name="connsiteX213" fmla="*/ 327377 w 3469268"/>
              <a:gd name="connsiteY213" fmla="*/ 1058609 h 1655617"/>
              <a:gd name="connsiteX214" fmla="*/ 333949 w 3469268"/>
              <a:gd name="connsiteY214" fmla="*/ 1064419 h 1655617"/>
              <a:gd name="connsiteX215" fmla="*/ 347094 w 3469268"/>
              <a:gd name="connsiteY215" fmla="*/ 1069467 h 1655617"/>
              <a:gd name="connsiteX216" fmla="*/ 373859 w 3469268"/>
              <a:gd name="connsiteY216" fmla="*/ 1076706 h 1655617"/>
              <a:gd name="connsiteX217" fmla="*/ 375097 w 3469268"/>
              <a:gd name="connsiteY217" fmla="*/ 1083945 h 1655617"/>
              <a:gd name="connsiteX218" fmla="*/ 388146 w 3469268"/>
              <a:gd name="connsiteY218" fmla="*/ 1089565 h 1655617"/>
              <a:gd name="connsiteX219" fmla="*/ 395766 w 3469268"/>
              <a:gd name="connsiteY219" fmla="*/ 1089565 h 1655617"/>
              <a:gd name="connsiteX220" fmla="*/ 435867 w 3469268"/>
              <a:gd name="connsiteY220" fmla="*/ 1119473 h 1655617"/>
              <a:gd name="connsiteX221" fmla="*/ 447963 w 3469268"/>
              <a:gd name="connsiteY221" fmla="*/ 1153763 h 1655617"/>
              <a:gd name="connsiteX222" fmla="*/ 456155 w 3469268"/>
              <a:gd name="connsiteY222" fmla="*/ 1169670 h 1655617"/>
              <a:gd name="connsiteX223" fmla="*/ 457584 w 3469268"/>
              <a:gd name="connsiteY223" fmla="*/ 1176909 h 1655617"/>
              <a:gd name="connsiteX224" fmla="*/ 457584 w 3469268"/>
              <a:gd name="connsiteY224" fmla="*/ 1176909 h 1655617"/>
              <a:gd name="connsiteX225" fmla="*/ 598363 w 3469268"/>
              <a:gd name="connsiteY225" fmla="*/ 1161574 h 1655617"/>
              <a:gd name="connsiteX226" fmla="*/ 595601 w 3469268"/>
              <a:gd name="connsiteY226" fmla="*/ 1179481 h 1655617"/>
              <a:gd name="connsiteX227" fmla="*/ 822391 w 3469268"/>
              <a:gd name="connsiteY227" fmla="*/ 1258729 h 1655617"/>
              <a:gd name="connsiteX228" fmla="*/ 993270 w 3469268"/>
              <a:gd name="connsiteY228" fmla="*/ 1258729 h 1655617"/>
              <a:gd name="connsiteX229" fmla="*/ 993270 w 3469268"/>
              <a:gd name="connsiteY229" fmla="*/ 1229011 h 1655617"/>
              <a:gd name="connsiteX230" fmla="*/ 1095378 w 3469268"/>
              <a:gd name="connsiteY230" fmla="*/ 1229011 h 1655617"/>
              <a:gd name="connsiteX231" fmla="*/ 1113666 w 3469268"/>
              <a:gd name="connsiteY231" fmla="*/ 1253109 h 1655617"/>
              <a:gd name="connsiteX232" fmla="*/ 1134716 w 3469268"/>
              <a:gd name="connsiteY232" fmla="*/ 1258253 h 1655617"/>
              <a:gd name="connsiteX233" fmla="*/ 1163958 w 3469268"/>
              <a:gd name="connsiteY233" fmla="*/ 1290923 h 1655617"/>
              <a:gd name="connsiteX234" fmla="*/ 1187104 w 3469268"/>
              <a:gd name="connsiteY234" fmla="*/ 1301115 h 1655617"/>
              <a:gd name="connsiteX235" fmla="*/ 1207297 w 3469268"/>
              <a:gd name="connsiteY235" fmla="*/ 1336072 h 1655617"/>
              <a:gd name="connsiteX236" fmla="*/ 1212059 w 3469268"/>
              <a:gd name="connsiteY236" fmla="*/ 1369409 h 1655617"/>
              <a:gd name="connsiteX237" fmla="*/ 1295403 w 3469268"/>
              <a:gd name="connsiteY237" fmla="*/ 1413034 h 1655617"/>
              <a:gd name="connsiteX238" fmla="*/ 1326645 w 3469268"/>
              <a:gd name="connsiteY238" fmla="*/ 1363980 h 1655617"/>
              <a:gd name="connsiteX239" fmla="*/ 1350457 w 3469268"/>
              <a:gd name="connsiteY239" fmla="*/ 1353788 h 1655617"/>
              <a:gd name="connsiteX240" fmla="*/ 1383509 w 3469268"/>
              <a:gd name="connsiteY240" fmla="*/ 1361504 h 1655617"/>
              <a:gd name="connsiteX241" fmla="*/ 1398177 w 3469268"/>
              <a:gd name="connsiteY241" fmla="*/ 1354360 h 1655617"/>
              <a:gd name="connsiteX242" fmla="*/ 1407512 w 3469268"/>
              <a:gd name="connsiteY242" fmla="*/ 1359980 h 1655617"/>
              <a:gd name="connsiteX243" fmla="*/ 1410846 w 3469268"/>
              <a:gd name="connsiteY243" fmla="*/ 1374172 h 1655617"/>
              <a:gd name="connsiteX244" fmla="*/ 1439230 w 3469268"/>
              <a:gd name="connsiteY244" fmla="*/ 1397508 h 1655617"/>
              <a:gd name="connsiteX245" fmla="*/ 1467520 w 3469268"/>
              <a:gd name="connsiteY245" fmla="*/ 1455896 h 1655617"/>
              <a:gd name="connsiteX246" fmla="*/ 1484569 w 3469268"/>
              <a:gd name="connsiteY246" fmla="*/ 1464278 h 1655617"/>
              <a:gd name="connsiteX247" fmla="*/ 1497714 w 3469268"/>
              <a:gd name="connsiteY247" fmla="*/ 1494854 h 1655617"/>
              <a:gd name="connsiteX248" fmla="*/ 1515526 w 3469268"/>
              <a:gd name="connsiteY248" fmla="*/ 1499997 h 1655617"/>
              <a:gd name="connsiteX249" fmla="*/ 1517907 w 3469268"/>
              <a:gd name="connsiteY249" fmla="*/ 1541717 h 1655617"/>
              <a:gd name="connsiteX250" fmla="*/ 1532194 w 3469268"/>
              <a:gd name="connsiteY250" fmla="*/ 1552004 h 1655617"/>
              <a:gd name="connsiteX251" fmla="*/ 1540100 w 3469268"/>
              <a:gd name="connsiteY251" fmla="*/ 1580579 h 1655617"/>
              <a:gd name="connsiteX252" fmla="*/ 1571437 w 3469268"/>
              <a:gd name="connsiteY252" fmla="*/ 1585722 h 1655617"/>
              <a:gd name="connsiteX253" fmla="*/ 1594107 w 3469268"/>
              <a:gd name="connsiteY253" fmla="*/ 1603248 h 1655617"/>
              <a:gd name="connsiteX254" fmla="*/ 1625444 w 3469268"/>
              <a:gd name="connsiteY254" fmla="*/ 1603248 h 1655617"/>
              <a:gd name="connsiteX255" fmla="*/ 1634493 w 3469268"/>
              <a:gd name="connsiteY255" fmla="*/ 1612678 h 1655617"/>
              <a:gd name="connsiteX256" fmla="*/ 1661068 w 3469268"/>
              <a:gd name="connsiteY256" fmla="*/ 1613154 h 1655617"/>
              <a:gd name="connsiteX257" fmla="*/ 1661258 w 3469268"/>
              <a:gd name="connsiteY257" fmla="*/ 1613154 h 1655617"/>
              <a:gd name="connsiteX258" fmla="*/ 1661639 w 3469268"/>
              <a:gd name="connsiteY258" fmla="*/ 1609154 h 1655617"/>
              <a:gd name="connsiteX259" fmla="*/ 1660115 w 3469268"/>
              <a:gd name="connsiteY259" fmla="*/ 1581912 h 1655617"/>
              <a:gd name="connsiteX260" fmla="*/ 1649352 w 3469268"/>
              <a:gd name="connsiteY260" fmla="*/ 1516475 h 1655617"/>
              <a:gd name="connsiteX261" fmla="*/ 1659543 w 3469268"/>
              <a:gd name="connsiteY261" fmla="*/ 1492282 h 1655617"/>
              <a:gd name="connsiteX262" fmla="*/ 1711645 w 3469268"/>
              <a:gd name="connsiteY262" fmla="*/ 1445419 h 1655617"/>
              <a:gd name="connsiteX263" fmla="*/ 1766985 w 3469268"/>
              <a:gd name="connsiteY263" fmla="*/ 1412177 h 1655617"/>
              <a:gd name="connsiteX264" fmla="*/ 1810420 w 3469268"/>
              <a:gd name="connsiteY264" fmla="*/ 1376077 h 1655617"/>
              <a:gd name="connsiteX265" fmla="*/ 1856711 w 3469268"/>
              <a:gd name="connsiteY265" fmla="*/ 1357598 h 1655617"/>
              <a:gd name="connsiteX266" fmla="*/ 1898050 w 3469268"/>
              <a:gd name="connsiteY266" fmla="*/ 1356836 h 1655617"/>
              <a:gd name="connsiteX267" fmla="*/ 1943484 w 3469268"/>
              <a:gd name="connsiteY267" fmla="*/ 1369790 h 1655617"/>
              <a:gd name="connsiteX268" fmla="*/ 1957485 w 3469268"/>
              <a:gd name="connsiteY268" fmla="*/ 1369600 h 1655617"/>
              <a:gd name="connsiteX269" fmla="*/ 1977774 w 3469268"/>
              <a:gd name="connsiteY269" fmla="*/ 1372362 h 1655617"/>
              <a:gd name="connsiteX270" fmla="*/ 1977774 w 3469268"/>
              <a:gd name="connsiteY270" fmla="*/ 1372362 h 1655617"/>
              <a:gd name="connsiteX271" fmla="*/ 1959867 w 3469268"/>
              <a:gd name="connsiteY271" fmla="*/ 1350740 h 1655617"/>
              <a:gd name="connsiteX272" fmla="*/ 1976821 w 3469268"/>
              <a:gd name="connsiteY272" fmla="*/ 1345406 h 1655617"/>
              <a:gd name="connsiteX273" fmla="*/ 1994538 w 3469268"/>
              <a:gd name="connsiteY273" fmla="*/ 1363789 h 1655617"/>
              <a:gd name="connsiteX274" fmla="*/ 2009397 w 3469268"/>
              <a:gd name="connsiteY274" fmla="*/ 1379506 h 1655617"/>
              <a:gd name="connsiteX275" fmla="*/ 2007587 w 3469268"/>
              <a:gd name="connsiteY275" fmla="*/ 1390460 h 1655617"/>
              <a:gd name="connsiteX276" fmla="*/ 2043306 w 3469268"/>
              <a:gd name="connsiteY276" fmla="*/ 1396175 h 1655617"/>
              <a:gd name="connsiteX277" fmla="*/ 2049497 w 3469268"/>
              <a:gd name="connsiteY277" fmla="*/ 1385507 h 1655617"/>
              <a:gd name="connsiteX278" fmla="*/ 2061689 w 3469268"/>
              <a:gd name="connsiteY278" fmla="*/ 1384649 h 1655617"/>
              <a:gd name="connsiteX279" fmla="*/ 2069023 w 3469268"/>
              <a:gd name="connsiteY279" fmla="*/ 1393984 h 1655617"/>
              <a:gd name="connsiteX280" fmla="*/ 2075214 w 3469268"/>
              <a:gd name="connsiteY280" fmla="*/ 1395889 h 1655617"/>
              <a:gd name="connsiteX281" fmla="*/ 2080739 w 3469268"/>
              <a:gd name="connsiteY281" fmla="*/ 1392460 h 1655617"/>
              <a:gd name="connsiteX282" fmla="*/ 2084168 w 3469268"/>
              <a:gd name="connsiteY282" fmla="*/ 1381887 h 1655617"/>
              <a:gd name="connsiteX283" fmla="*/ 2094455 w 3469268"/>
              <a:gd name="connsiteY283" fmla="*/ 1377696 h 1655617"/>
              <a:gd name="connsiteX284" fmla="*/ 2103885 w 3469268"/>
              <a:gd name="connsiteY284" fmla="*/ 1385507 h 1655617"/>
              <a:gd name="connsiteX285" fmla="*/ 2137984 w 3469268"/>
              <a:gd name="connsiteY285" fmla="*/ 1402175 h 1655617"/>
              <a:gd name="connsiteX286" fmla="*/ 2144271 w 3469268"/>
              <a:gd name="connsiteY286" fmla="*/ 1390460 h 1655617"/>
              <a:gd name="connsiteX287" fmla="*/ 2129602 w 3469268"/>
              <a:gd name="connsiteY287" fmla="*/ 1379792 h 1655617"/>
              <a:gd name="connsiteX288" fmla="*/ 2110362 w 3469268"/>
              <a:gd name="connsiteY288" fmla="*/ 1371791 h 1655617"/>
              <a:gd name="connsiteX289" fmla="*/ 2109505 w 3469268"/>
              <a:gd name="connsiteY289" fmla="*/ 1370362 h 1655617"/>
              <a:gd name="connsiteX290" fmla="*/ 2129602 w 3469268"/>
              <a:gd name="connsiteY290" fmla="*/ 1349216 h 1655617"/>
              <a:gd name="connsiteX291" fmla="*/ 2126840 w 3469268"/>
              <a:gd name="connsiteY291" fmla="*/ 1334167 h 1655617"/>
              <a:gd name="connsiteX292" fmla="*/ 2102456 w 3469268"/>
              <a:gd name="connsiteY292" fmla="*/ 1345121 h 1655617"/>
              <a:gd name="connsiteX293" fmla="*/ 2095789 w 3469268"/>
              <a:gd name="connsiteY293" fmla="*/ 1338167 h 1655617"/>
              <a:gd name="connsiteX294" fmla="*/ 2177608 w 3469268"/>
              <a:gd name="connsiteY294" fmla="*/ 1315403 h 1655617"/>
              <a:gd name="connsiteX295" fmla="*/ 2196563 w 3469268"/>
              <a:gd name="connsiteY295" fmla="*/ 1310164 h 1655617"/>
              <a:gd name="connsiteX296" fmla="*/ 2204850 w 3469268"/>
              <a:gd name="connsiteY296" fmla="*/ 1294448 h 1655617"/>
              <a:gd name="connsiteX297" fmla="*/ 2205898 w 3469268"/>
              <a:gd name="connsiteY297" fmla="*/ 1294162 h 1655617"/>
              <a:gd name="connsiteX298" fmla="*/ 2215327 w 3469268"/>
              <a:gd name="connsiteY298" fmla="*/ 1312640 h 1655617"/>
              <a:gd name="connsiteX299" fmla="*/ 2229234 w 3469268"/>
              <a:gd name="connsiteY299" fmla="*/ 1318832 h 1655617"/>
              <a:gd name="connsiteX300" fmla="*/ 2303434 w 3469268"/>
              <a:gd name="connsiteY300" fmla="*/ 1311402 h 1655617"/>
              <a:gd name="connsiteX301" fmla="*/ 2360107 w 3469268"/>
              <a:gd name="connsiteY301" fmla="*/ 1340358 h 1655617"/>
              <a:gd name="connsiteX302" fmla="*/ 2370585 w 3469268"/>
              <a:gd name="connsiteY302" fmla="*/ 1357122 h 1655617"/>
              <a:gd name="connsiteX303" fmla="*/ 2389825 w 3469268"/>
              <a:gd name="connsiteY303" fmla="*/ 1363123 h 1655617"/>
              <a:gd name="connsiteX304" fmla="*/ 2412590 w 3469268"/>
              <a:gd name="connsiteY304" fmla="*/ 1347883 h 1655617"/>
              <a:gd name="connsiteX305" fmla="*/ 2423925 w 3469268"/>
              <a:gd name="connsiteY305" fmla="*/ 1332071 h 1655617"/>
              <a:gd name="connsiteX306" fmla="*/ 2444499 w 3469268"/>
              <a:gd name="connsiteY306" fmla="*/ 1329881 h 1655617"/>
              <a:gd name="connsiteX307" fmla="*/ 2483647 w 3469268"/>
              <a:gd name="connsiteY307" fmla="*/ 1365314 h 1655617"/>
              <a:gd name="connsiteX308" fmla="*/ 2487266 w 3469268"/>
              <a:gd name="connsiteY308" fmla="*/ 1375791 h 1655617"/>
              <a:gd name="connsiteX309" fmla="*/ 2508602 w 3469268"/>
              <a:gd name="connsiteY309" fmla="*/ 1394270 h 1655617"/>
              <a:gd name="connsiteX310" fmla="*/ 2520699 w 3469268"/>
              <a:gd name="connsiteY310" fmla="*/ 1401509 h 1655617"/>
              <a:gd name="connsiteX311" fmla="*/ 2527271 w 3469268"/>
              <a:gd name="connsiteY311" fmla="*/ 1440466 h 1655617"/>
              <a:gd name="connsiteX312" fmla="*/ 2514698 w 3469268"/>
              <a:gd name="connsiteY312" fmla="*/ 1479995 h 1655617"/>
              <a:gd name="connsiteX313" fmla="*/ 2525175 w 3469268"/>
              <a:gd name="connsiteY313" fmla="*/ 1483900 h 1655617"/>
              <a:gd name="connsiteX314" fmla="*/ 2536891 w 3469268"/>
              <a:gd name="connsiteY314" fmla="*/ 1475042 h 1655617"/>
              <a:gd name="connsiteX315" fmla="*/ 2542321 w 3469268"/>
              <a:gd name="connsiteY315" fmla="*/ 1485710 h 1655617"/>
              <a:gd name="connsiteX316" fmla="*/ 2528033 w 3469268"/>
              <a:gd name="connsiteY316" fmla="*/ 1512856 h 1655617"/>
              <a:gd name="connsiteX317" fmla="*/ 2552322 w 3469268"/>
              <a:gd name="connsiteY317" fmla="*/ 1546003 h 1655617"/>
              <a:gd name="connsiteX318" fmla="*/ 2554227 w 3469268"/>
              <a:gd name="connsiteY318" fmla="*/ 1541145 h 1655617"/>
              <a:gd name="connsiteX319" fmla="*/ 2561847 w 3469268"/>
              <a:gd name="connsiteY319" fmla="*/ 1540574 h 1655617"/>
              <a:gd name="connsiteX320" fmla="*/ 2563561 w 3469268"/>
              <a:gd name="connsiteY320" fmla="*/ 1570958 h 1655617"/>
              <a:gd name="connsiteX321" fmla="*/ 2576325 w 3469268"/>
              <a:gd name="connsiteY321" fmla="*/ 1584198 h 1655617"/>
              <a:gd name="connsiteX322" fmla="*/ 2588707 w 3469268"/>
              <a:gd name="connsiteY322" fmla="*/ 1608677 h 1655617"/>
              <a:gd name="connsiteX323" fmla="*/ 2606519 w 3469268"/>
              <a:gd name="connsiteY323" fmla="*/ 1618298 h 1655617"/>
              <a:gd name="connsiteX324" fmla="*/ 2616044 w 3469268"/>
              <a:gd name="connsiteY324" fmla="*/ 1635062 h 1655617"/>
              <a:gd name="connsiteX325" fmla="*/ 2616044 w 3469268"/>
              <a:gd name="connsiteY325" fmla="*/ 1644587 h 1655617"/>
              <a:gd name="connsiteX326" fmla="*/ 2617758 w 3469268"/>
              <a:gd name="connsiteY326" fmla="*/ 1653350 h 1655617"/>
              <a:gd name="connsiteX327" fmla="*/ 2629665 w 3469268"/>
              <a:gd name="connsiteY327" fmla="*/ 1654493 h 1655617"/>
              <a:gd name="connsiteX328" fmla="*/ 2662431 w 3469268"/>
              <a:gd name="connsiteY328" fmla="*/ 1640396 h 1655617"/>
              <a:gd name="connsiteX329" fmla="*/ 2668146 w 3469268"/>
              <a:gd name="connsiteY329" fmla="*/ 1623251 h 1655617"/>
              <a:gd name="connsiteX330" fmla="*/ 2676909 w 3469268"/>
              <a:gd name="connsiteY330" fmla="*/ 1608773 h 1655617"/>
              <a:gd name="connsiteX331" fmla="*/ 2680909 w 3469268"/>
              <a:gd name="connsiteY331" fmla="*/ 1537145 h 1655617"/>
              <a:gd name="connsiteX332" fmla="*/ 2649953 w 3469268"/>
              <a:gd name="connsiteY332" fmla="*/ 1452467 h 1655617"/>
              <a:gd name="connsiteX333" fmla="*/ 2650620 w 3469268"/>
              <a:gd name="connsiteY333" fmla="*/ 1436275 h 1655617"/>
              <a:gd name="connsiteX334" fmla="*/ 2625664 w 3469268"/>
              <a:gd name="connsiteY334" fmla="*/ 1388936 h 1655617"/>
              <a:gd name="connsiteX335" fmla="*/ 2604328 w 3469268"/>
              <a:gd name="connsiteY335" fmla="*/ 1331309 h 1655617"/>
              <a:gd name="connsiteX336" fmla="*/ 2594422 w 3469268"/>
              <a:gd name="connsiteY336" fmla="*/ 1289018 h 1655617"/>
              <a:gd name="connsiteX337" fmla="*/ 2599852 w 3469268"/>
              <a:gd name="connsiteY337" fmla="*/ 1277303 h 1655617"/>
              <a:gd name="connsiteX338" fmla="*/ 2598232 w 3469268"/>
              <a:gd name="connsiteY338" fmla="*/ 1267778 h 1655617"/>
              <a:gd name="connsiteX339" fmla="*/ 2605281 w 3469268"/>
              <a:gd name="connsiteY339" fmla="*/ 1257014 h 1655617"/>
              <a:gd name="connsiteX340" fmla="*/ 2609948 w 3469268"/>
              <a:gd name="connsiteY340" fmla="*/ 1245584 h 1655617"/>
              <a:gd name="connsiteX341" fmla="*/ 2609757 w 3469268"/>
              <a:gd name="connsiteY341" fmla="*/ 1236917 h 1655617"/>
              <a:gd name="connsiteX342" fmla="*/ 2617473 w 3469268"/>
              <a:gd name="connsiteY342" fmla="*/ 1226630 h 1655617"/>
              <a:gd name="connsiteX343" fmla="*/ 2629093 w 3469268"/>
              <a:gd name="connsiteY343" fmla="*/ 1201579 h 1655617"/>
              <a:gd name="connsiteX344" fmla="*/ 2627379 w 3469268"/>
              <a:gd name="connsiteY344" fmla="*/ 1199388 h 1655617"/>
              <a:gd name="connsiteX345" fmla="*/ 2643571 w 3469268"/>
              <a:gd name="connsiteY345" fmla="*/ 1192340 h 1655617"/>
              <a:gd name="connsiteX346" fmla="*/ 2656811 w 3469268"/>
              <a:gd name="connsiteY346" fmla="*/ 1179005 h 1655617"/>
              <a:gd name="connsiteX347" fmla="*/ 2656811 w 3469268"/>
              <a:gd name="connsiteY347" fmla="*/ 1176909 h 1655617"/>
              <a:gd name="connsiteX348" fmla="*/ 2662240 w 3469268"/>
              <a:gd name="connsiteY348" fmla="*/ 1171480 h 1655617"/>
              <a:gd name="connsiteX349" fmla="*/ 2694435 w 3469268"/>
              <a:gd name="connsiteY349" fmla="*/ 1158240 h 1655617"/>
              <a:gd name="connsiteX350" fmla="*/ 2712723 w 3469268"/>
              <a:gd name="connsiteY350" fmla="*/ 1138619 h 1655617"/>
              <a:gd name="connsiteX351" fmla="*/ 2723391 w 3469268"/>
              <a:gd name="connsiteY351" fmla="*/ 1134332 h 1655617"/>
              <a:gd name="connsiteX352" fmla="*/ 2730820 w 3469268"/>
              <a:gd name="connsiteY352" fmla="*/ 1129284 h 1655617"/>
              <a:gd name="connsiteX353" fmla="*/ 2737869 w 3469268"/>
              <a:gd name="connsiteY353" fmla="*/ 1111472 h 1655617"/>
              <a:gd name="connsiteX354" fmla="*/ 2764348 w 3469268"/>
              <a:gd name="connsiteY354" fmla="*/ 1084421 h 1655617"/>
              <a:gd name="connsiteX355" fmla="*/ 2783874 w 3469268"/>
              <a:gd name="connsiteY355" fmla="*/ 1078230 h 1655617"/>
              <a:gd name="connsiteX356" fmla="*/ 2809687 w 3469268"/>
              <a:gd name="connsiteY356" fmla="*/ 1076992 h 1655617"/>
              <a:gd name="connsiteX357" fmla="*/ 2825308 w 3469268"/>
              <a:gd name="connsiteY357" fmla="*/ 1050131 h 1655617"/>
              <a:gd name="connsiteX358" fmla="*/ 2874172 w 3469268"/>
              <a:gd name="connsiteY358" fmla="*/ 1026605 h 1655617"/>
              <a:gd name="connsiteX359" fmla="*/ 2896936 w 3469268"/>
              <a:gd name="connsiteY359" fmla="*/ 1025271 h 1655617"/>
              <a:gd name="connsiteX360" fmla="*/ 2906461 w 3469268"/>
              <a:gd name="connsiteY360" fmla="*/ 1006507 h 1655617"/>
              <a:gd name="connsiteX361" fmla="*/ 2891793 w 3469268"/>
              <a:gd name="connsiteY361" fmla="*/ 997268 h 1655617"/>
              <a:gd name="connsiteX362" fmla="*/ 2894079 w 3469268"/>
              <a:gd name="connsiteY362" fmla="*/ 994315 h 1655617"/>
              <a:gd name="connsiteX363" fmla="*/ 2893317 w 3469268"/>
              <a:gd name="connsiteY363" fmla="*/ 982790 h 1655617"/>
              <a:gd name="connsiteX364" fmla="*/ 2922940 w 3469268"/>
              <a:gd name="connsiteY364" fmla="*/ 981647 h 1655617"/>
              <a:gd name="connsiteX365" fmla="*/ 2940275 w 3469268"/>
              <a:gd name="connsiteY365" fmla="*/ 959834 h 1655617"/>
              <a:gd name="connsiteX366" fmla="*/ 2929988 w 3469268"/>
              <a:gd name="connsiteY366" fmla="*/ 941927 h 1655617"/>
              <a:gd name="connsiteX367" fmla="*/ 2903128 w 3469268"/>
              <a:gd name="connsiteY367" fmla="*/ 940308 h 1655617"/>
              <a:gd name="connsiteX368" fmla="*/ 2919987 w 3469268"/>
              <a:gd name="connsiteY368" fmla="*/ 931259 h 1655617"/>
              <a:gd name="connsiteX369" fmla="*/ 2938751 w 3469268"/>
              <a:gd name="connsiteY369" fmla="*/ 933545 h 1655617"/>
              <a:gd name="connsiteX370" fmla="*/ 2953229 w 3469268"/>
              <a:gd name="connsiteY370" fmla="*/ 962311 h 1655617"/>
              <a:gd name="connsiteX371" fmla="*/ 2947990 w 3469268"/>
              <a:gd name="connsiteY371" fmla="*/ 988695 h 1655617"/>
              <a:gd name="connsiteX372" fmla="*/ 2957896 w 3469268"/>
              <a:gd name="connsiteY372" fmla="*/ 978218 h 1655617"/>
              <a:gd name="connsiteX373" fmla="*/ 2961230 w 3469268"/>
              <a:gd name="connsiteY373" fmla="*/ 949071 h 1655617"/>
              <a:gd name="connsiteX374" fmla="*/ 2938561 w 3469268"/>
              <a:gd name="connsiteY374" fmla="*/ 911924 h 1655617"/>
              <a:gd name="connsiteX375" fmla="*/ 2929702 w 3469268"/>
              <a:gd name="connsiteY375" fmla="*/ 882396 h 1655617"/>
              <a:gd name="connsiteX376" fmla="*/ 2923035 w 3469268"/>
              <a:gd name="connsiteY376" fmla="*/ 876681 h 1655617"/>
              <a:gd name="connsiteX377" fmla="*/ 2917320 w 3469268"/>
              <a:gd name="connsiteY377" fmla="*/ 876110 h 1655617"/>
              <a:gd name="connsiteX378" fmla="*/ 2897508 w 3469268"/>
              <a:gd name="connsiteY378" fmla="*/ 876300 h 1655617"/>
              <a:gd name="connsiteX379" fmla="*/ 2904080 w 3469268"/>
              <a:gd name="connsiteY379" fmla="*/ 860108 h 1655617"/>
              <a:gd name="connsiteX380" fmla="*/ 2898746 w 3469268"/>
              <a:gd name="connsiteY380" fmla="*/ 848773 h 1655617"/>
              <a:gd name="connsiteX381" fmla="*/ 2903223 w 3469268"/>
              <a:gd name="connsiteY381" fmla="*/ 843629 h 1655617"/>
              <a:gd name="connsiteX382" fmla="*/ 2908366 w 3469268"/>
              <a:gd name="connsiteY382" fmla="*/ 838010 h 1655617"/>
              <a:gd name="connsiteX383" fmla="*/ 2902651 w 3469268"/>
              <a:gd name="connsiteY383" fmla="*/ 805148 h 1655617"/>
              <a:gd name="connsiteX384" fmla="*/ 2896841 w 3469268"/>
              <a:gd name="connsiteY384" fmla="*/ 794480 h 1655617"/>
              <a:gd name="connsiteX385" fmla="*/ 2897603 w 3469268"/>
              <a:gd name="connsiteY385" fmla="*/ 794099 h 1655617"/>
              <a:gd name="connsiteX386" fmla="*/ 2901413 w 3469268"/>
              <a:gd name="connsiteY386" fmla="*/ 786479 h 1655617"/>
              <a:gd name="connsiteX387" fmla="*/ 2903318 w 3469268"/>
              <a:gd name="connsiteY387" fmla="*/ 780288 h 1655617"/>
              <a:gd name="connsiteX388" fmla="*/ 2894460 w 3469268"/>
              <a:gd name="connsiteY388" fmla="*/ 761905 h 1655617"/>
              <a:gd name="connsiteX389" fmla="*/ 2892555 w 3469268"/>
              <a:gd name="connsiteY389" fmla="*/ 751904 h 1655617"/>
              <a:gd name="connsiteX390" fmla="*/ 2897508 w 3469268"/>
              <a:gd name="connsiteY390" fmla="*/ 721519 h 1655617"/>
              <a:gd name="connsiteX391" fmla="*/ 2902366 w 3469268"/>
              <a:gd name="connsiteY391" fmla="*/ 712565 h 1655617"/>
              <a:gd name="connsiteX392" fmla="*/ 2920177 w 3469268"/>
              <a:gd name="connsiteY392" fmla="*/ 693420 h 1655617"/>
              <a:gd name="connsiteX393" fmla="*/ 2925416 w 3469268"/>
              <a:gd name="connsiteY393" fmla="*/ 695039 h 1655617"/>
              <a:gd name="connsiteX394" fmla="*/ 2925607 w 3469268"/>
              <a:gd name="connsiteY394" fmla="*/ 700088 h 1655617"/>
              <a:gd name="connsiteX395" fmla="*/ 2921511 w 3469268"/>
              <a:gd name="connsiteY395" fmla="*/ 709613 h 1655617"/>
              <a:gd name="connsiteX396" fmla="*/ 2915605 w 3469268"/>
              <a:gd name="connsiteY396" fmla="*/ 718757 h 1655617"/>
              <a:gd name="connsiteX397" fmla="*/ 2911795 w 3469268"/>
              <a:gd name="connsiteY397" fmla="*/ 728472 h 1655617"/>
              <a:gd name="connsiteX398" fmla="*/ 2911795 w 3469268"/>
              <a:gd name="connsiteY398" fmla="*/ 743140 h 1655617"/>
              <a:gd name="connsiteX399" fmla="*/ 2919034 w 3469268"/>
              <a:gd name="connsiteY399" fmla="*/ 752380 h 1655617"/>
              <a:gd name="connsiteX400" fmla="*/ 2913891 w 3469268"/>
              <a:gd name="connsiteY400" fmla="*/ 758952 h 1655617"/>
              <a:gd name="connsiteX401" fmla="*/ 2910938 w 3469268"/>
              <a:gd name="connsiteY401" fmla="*/ 765810 h 1655617"/>
              <a:gd name="connsiteX402" fmla="*/ 2914272 w 3469268"/>
              <a:gd name="connsiteY402" fmla="*/ 773716 h 1655617"/>
              <a:gd name="connsiteX403" fmla="*/ 2927702 w 3469268"/>
              <a:gd name="connsiteY403" fmla="*/ 785622 h 1655617"/>
              <a:gd name="connsiteX404" fmla="*/ 2932274 w 3469268"/>
              <a:gd name="connsiteY404" fmla="*/ 797433 h 1655617"/>
              <a:gd name="connsiteX405" fmla="*/ 2939894 w 3469268"/>
              <a:gd name="connsiteY405" fmla="*/ 804196 h 1655617"/>
              <a:gd name="connsiteX406" fmla="*/ 2928655 w 3469268"/>
              <a:gd name="connsiteY406" fmla="*/ 831628 h 1655617"/>
              <a:gd name="connsiteX407" fmla="*/ 2928464 w 3469268"/>
              <a:gd name="connsiteY407" fmla="*/ 859727 h 1655617"/>
              <a:gd name="connsiteX408" fmla="*/ 2941228 w 3469268"/>
              <a:gd name="connsiteY408" fmla="*/ 851535 h 1655617"/>
              <a:gd name="connsiteX409" fmla="*/ 2961802 w 3469268"/>
              <a:gd name="connsiteY409" fmla="*/ 810006 h 1655617"/>
              <a:gd name="connsiteX410" fmla="*/ 2971327 w 3469268"/>
              <a:gd name="connsiteY410" fmla="*/ 799052 h 1655617"/>
              <a:gd name="connsiteX411" fmla="*/ 2978756 w 3469268"/>
              <a:gd name="connsiteY411" fmla="*/ 751427 h 1655617"/>
              <a:gd name="connsiteX412" fmla="*/ 2961325 w 3469268"/>
              <a:gd name="connsiteY412" fmla="*/ 722567 h 1655617"/>
              <a:gd name="connsiteX413" fmla="*/ 2966564 w 3469268"/>
              <a:gd name="connsiteY413" fmla="*/ 707041 h 1655617"/>
              <a:gd name="connsiteX414" fmla="*/ 2988567 w 3469268"/>
              <a:gd name="connsiteY414" fmla="*/ 718090 h 1655617"/>
              <a:gd name="connsiteX415" fmla="*/ 2989138 w 3469268"/>
              <a:gd name="connsiteY415" fmla="*/ 737711 h 1655617"/>
              <a:gd name="connsiteX416" fmla="*/ 2998473 w 3469268"/>
              <a:gd name="connsiteY416" fmla="*/ 737330 h 1655617"/>
              <a:gd name="connsiteX417" fmla="*/ 3015999 w 3469268"/>
              <a:gd name="connsiteY417" fmla="*/ 708374 h 1655617"/>
              <a:gd name="connsiteX418" fmla="*/ 3036192 w 3469268"/>
              <a:gd name="connsiteY418" fmla="*/ 684562 h 1655617"/>
              <a:gd name="connsiteX419" fmla="*/ 3040954 w 3469268"/>
              <a:gd name="connsiteY419" fmla="*/ 631127 h 1655617"/>
              <a:gd name="connsiteX420" fmla="*/ 3031048 w 3469268"/>
              <a:gd name="connsiteY420" fmla="*/ 626555 h 1655617"/>
              <a:gd name="connsiteX421" fmla="*/ 3047717 w 3469268"/>
              <a:gd name="connsiteY421" fmla="*/ 617696 h 1655617"/>
              <a:gd name="connsiteX422" fmla="*/ 3084579 w 3469268"/>
              <a:gd name="connsiteY422" fmla="*/ 619125 h 1655617"/>
              <a:gd name="connsiteX423" fmla="*/ 3136681 w 3469268"/>
              <a:gd name="connsiteY423" fmla="*/ 608838 h 1655617"/>
              <a:gd name="connsiteX424" fmla="*/ 3171256 w 3469268"/>
              <a:gd name="connsiteY424" fmla="*/ 589598 h 1655617"/>
              <a:gd name="connsiteX425" fmla="*/ 3139824 w 3469268"/>
              <a:gd name="connsiteY425" fmla="*/ 589598 h 1655617"/>
              <a:gd name="connsiteX426" fmla="*/ 3117345 w 3469268"/>
              <a:gd name="connsiteY426" fmla="*/ 598837 h 1655617"/>
              <a:gd name="connsiteX427" fmla="*/ 3071339 w 3469268"/>
              <a:gd name="connsiteY427" fmla="*/ 592169 h 1655617"/>
              <a:gd name="connsiteX428" fmla="*/ 3114392 w 3469268"/>
              <a:gd name="connsiteY428" fmla="*/ 572167 h 1655617"/>
              <a:gd name="connsiteX429" fmla="*/ 3178495 w 3469268"/>
              <a:gd name="connsiteY429" fmla="*/ 567881 h 1655617"/>
              <a:gd name="connsiteX430" fmla="*/ 3223930 w 3469268"/>
              <a:gd name="connsiteY430" fmla="*/ 554260 h 1655617"/>
              <a:gd name="connsiteX431" fmla="*/ 3241265 w 3469268"/>
              <a:gd name="connsiteY431" fmla="*/ 548640 h 1655617"/>
              <a:gd name="connsiteX432" fmla="*/ 3250314 w 3469268"/>
              <a:gd name="connsiteY432" fmla="*/ 555974 h 1655617"/>
              <a:gd name="connsiteX433" fmla="*/ 3292129 w 3469268"/>
              <a:gd name="connsiteY433" fmla="*/ 538925 h 1655617"/>
              <a:gd name="connsiteX434" fmla="*/ 3285652 w 3469268"/>
              <a:gd name="connsiteY434" fmla="*/ 515874 h 1655617"/>
              <a:gd name="connsiteX435" fmla="*/ 3274888 w 3469268"/>
              <a:gd name="connsiteY435" fmla="*/ 513302 h 1655617"/>
              <a:gd name="connsiteX436" fmla="*/ 3275555 w 3469268"/>
              <a:gd name="connsiteY436" fmla="*/ 525399 h 1655617"/>
              <a:gd name="connsiteX437" fmla="*/ 3274412 w 3469268"/>
              <a:gd name="connsiteY437" fmla="*/ 534924 h 1655617"/>
              <a:gd name="connsiteX438" fmla="*/ 3253933 w 3469268"/>
              <a:gd name="connsiteY438" fmla="*/ 534257 h 1655617"/>
              <a:gd name="connsiteX439" fmla="*/ 3232693 w 3469268"/>
              <a:gd name="connsiteY439" fmla="*/ 504444 h 1655617"/>
              <a:gd name="connsiteX440" fmla="*/ 3223739 w 3469268"/>
              <a:gd name="connsiteY440" fmla="*/ 500920 h 1655617"/>
              <a:gd name="connsiteX441" fmla="*/ 3228216 w 3469268"/>
              <a:gd name="connsiteY441" fmla="*/ 486632 h 1655617"/>
              <a:gd name="connsiteX442" fmla="*/ 3245361 w 3469268"/>
              <a:gd name="connsiteY442" fmla="*/ 468344 h 1655617"/>
              <a:gd name="connsiteX443" fmla="*/ 3240313 w 3469268"/>
              <a:gd name="connsiteY443" fmla="*/ 450533 h 1655617"/>
              <a:gd name="connsiteX444" fmla="*/ 3278984 w 3469268"/>
              <a:gd name="connsiteY444" fmla="*/ 395383 h 1655617"/>
              <a:gd name="connsiteX445" fmla="*/ 3312036 w 3469268"/>
              <a:gd name="connsiteY445" fmla="*/ 383381 h 1655617"/>
              <a:gd name="connsiteX446" fmla="*/ 3326133 w 3469268"/>
              <a:gd name="connsiteY446" fmla="*/ 375380 h 1655617"/>
              <a:gd name="connsiteX447" fmla="*/ 3338134 w 3469268"/>
              <a:gd name="connsiteY447" fmla="*/ 371094 h 1655617"/>
              <a:gd name="connsiteX448" fmla="*/ 3342325 w 3469268"/>
              <a:gd name="connsiteY448" fmla="*/ 362236 h 1655617"/>
              <a:gd name="connsiteX449" fmla="*/ 3342325 w 3469268"/>
              <a:gd name="connsiteY449" fmla="*/ 352997 h 1655617"/>
              <a:gd name="connsiteX450" fmla="*/ 3347564 w 3469268"/>
              <a:gd name="connsiteY450" fmla="*/ 346234 h 1655617"/>
              <a:gd name="connsiteX451" fmla="*/ 3353374 w 3469268"/>
              <a:gd name="connsiteY451" fmla="*/ 344710 h 1655617"/>
              <a:gd name="connsiteX452" fmla="*/ 3361661 w 3469268"/>
              <a:gd name="connsiteY452" fmla="*/ 347758 h 1655617"/>
              <a:gd name="connsiteX453" fmla="*/ 3366995 w 3469268"/>
              <a:gd name="connsiteY453" fmla="*/ 355473 h 1655617"/>
              <a:gd name="connsiteX454" fmla="*/ 3381282 w 3469268"/>
              <a:gd name="connsiteY454" fmla="*/ 356902 h 1655617"/>
              <a:gd name="connsiteX455" fmla="*/ 3382807 w 3469268"/>
              <a:gd name="connsiteY455" fmla="*/ 357569 h 1655617"/>
              <a:gd name="connsiteX456" fmla="*/ 3398808 w 3469268"/>
              <a:gd name="connsiteY456" fmla="*/ 343186 h 1655617"/>
              <a:gd name="connsiteX457" fmla="*/ 3409572 w 3469268"/>
              <a:gd name="connsiteY457" fmla="*/ 343376 h 1655617"/>
              <a:gd name="connsiteX458" fmla="*/ 3422240 w 3469268"/>
              <a:gd name="connsiteY458" fmla="*/ 334899 h 1655617"/>
              <a:gd name="connsiteX459" fmla="*/ 3435480 w 3469268"/>
              <a:gd name="connsiteY459" fmla="*/ 335947 h 1655617"/>
              <a:gd name="connsiteX460" fmla="*/ 3446910 w 3469268"/>
              <a:gd name="connsiteY460" fmla="*/ 327279 h 1655617"/>
              <a:gd name="connsiteX461" fmla="*/ 3455863 w 3469268"/>
              <a:gd name="connsiteY461" fmla="*/ 324707 h 1655617"/>
              <a:gd name="connsiteX462" fmla="*/ 3467007 w 3469268"/>
              <a:gd name="connsiteY462" fmla="*/ 306134 h 1655617"/>
              <a:gd name="connsiteX463" fmla="*/ 745239 w 3469268"/>
              <a:gd name="connsiteY463" fmla="*/ 606266 h 1655617"/>
              <a:gd name="connsiteX464" fmla="*/ 730856 w 3469268"/>
              <a:gd name="connsiteY464" fmla="*/ 608076 h 1655617"/>
              <a:gd name="connsiteX465" fmla="*/ 714663 w 3469268"/>
              <a:gd name="connsiteY465" fmla="*/ 584930 h 1655617"/>
              <a:gd name="connsiteX466" fmla="*/ 707424 w 3469268"/>
              <a:gd name="connsiteY466" fmla="*/ 579501 h 1655617"/>
              <a:gd name="connsiteX467" fmla="*/ 701043 w 3469268"/>
              <a:gd name="connsiteY467" fmla="*/ 552450 h 1655617"/>
              <a:gd name="connsiteX468" fmla="*/ 717616 w 3469268"/>
              <a:gd name="connsiteY468" fmla="*/ 547211 h 1655617"/>
              <a:gd name="connsiteX469" fmla="*/ 726570 w 3469268"/>
              <a:gd name="connsiteY469" fmla="*/ 557879 h 1655617"/>
              <a:gd name="connsiteX470" fmla="*/ 739428 w 3469268"/>
              <a:gd name="connsiteY470" fmla="*/ 556641 h 1655617"/>
              <a:gd name="connsiteX471" fmla="*/ 751430 w 3469268"/>
              <a:gd name="connsiteY471" fmla="*/ 558356 h 1655617"/>
              <a:gd name="connsiteX472" fmla="*/ 753049 w 3469268"/>
              <a:gd name="connsiteY472" fmla="*/ 571976 h 1655617"/>
              <a:gd name="connsiteX473" fmla="*/ 763336 w 3469268"/>
              <a:gd name="connsiteY473" fmla="*/ 590360 h 1655617"/>
              <a:gd name="connsiteX474" fmla="*/ 745334 w 3469268"/>
              <a:gd name="connsiteY474" fmla="*/ 606171 h 1655617"/>
              <a:gd name="connsiteX475" fmla="*/ 1637731 w 3469268"/>
              <a:gd name="connsiteY475" fmla="*/ 1496187 h 1655617"/>
              <a:gd name="connsiteX476" fmla="*/ 1636112 w 3469268"/>
              <a:gd name="connsiteY476" fmla="*/ 1515237 h 1655617"/>
              <a:gd name="connsiteX477" fmla="*/ 1623634 w 3469268"/>
              <a:gd name="connsiteY477" fmla="*/ 1503617 h 1655617"/>
              <a:gd name="connsiteX478" fmla="*/ 1637731 w 3469268"/>
              <a:gd name="connsiteY478" fmla="*/ 1496187 h 1655617"/>
              <a:gd name="connsiteX479" fmla="*/ 1643922 w 3469268"/>
              <a:gd name="connsiteY479" fmla="*/ 1588103 h 1655617"/>
              <a:gd name="connsiteX480" fmla="*/ 1640398 w 3469268"/>
              <a:gd name="connsiteY480" fmla="*/ 1590389 h 1655617"/>
              <a:gd name="connsiteX481" fmla="*/ 1634302 w 3469268"/>
              <a:gd name="connsiteY481" fmla="*/ 1588199 h 1655617"/>
              <a:gd name="connsiteX482" fmla="*/ 1626397 w 3469268"/>
              <a:gd name="connsiteY482" fmla="*/ 1559814 h 1655617"/>
              <a:gd name="connsiteX483" fmla="*/ 1628016 w 3469268"/>
              <a:gd name="connsiteY483" fmla="*/ 1540288 h 1655617"/>
              <a:gd name="connsiteX484" fmla="*/ 1637446 w 3469268"/>
              <a:gd name="connsiteY484" fmla="*/ 1539526 h 1655617"/>
              <a:gd name="connsiteX485" fmla="*/ 1642494 w 3469268"/>
              <a:gd name="connsiteY485" fmla="*/ 1565148 h 1655617"/>
              <a:gd name="connsiteX486" fmla="*/ 1643922 w 3469268"/>
              <a:gd name="connsiteY486" fmla="*/ 1588008 h 1655617"/>
              <a:gd name="connsiteX487" fmla="*/ 1649923 w 3469268"/>
              <a:gd name="connsiteY487" fmla="*/ 1484376 h 1655617"/>
              <a:gd name="connsiteX488" fmla="*/ 1635826 w 3469268"/>
              <a:gd name="connsiteY488" fmla="*/ 1481804 h 1655617"/>
              <a:gd name="connsiteX489" fmla="*/ 1647542 w 3469268"/>
              <a:gd name="connsiteY489" fmla="*/ 1465898 h 1655617"/>
              <a:gd name="connsiteX490" fmla="*/ 1651162 w 3469268"/>
              <a:gd name="connsiteY490" fmla="*/ 1456277 h 1655617"/>
              <a:gd name="connsiteX491" fmla="*/ 1664973 w 3469268"/>
              <a:gd name="connsiteY491" fmla="*/ 1456182 h 1655617"/>
              <a:gd name="connsiteX492" fmla="*/ 1649828 w 3469268"/>
              <a:gd name="connsiteY492" fmla="*/ 1484471 h 1655617"/>
              <a:gd name="connsiteX493" fmla="*/ 1723361 w 3469268"/>
              <a:gd name="connsiteY493" fmla="*/ 1424083 h 1655617"/>
              <a:gd name="connsiteX494" fmla="*/ 1695929 w 3469268"/>
              <a:gd name="connsiteY494" fmla="*/ 1440275 h 1655617"/>
              <a:gd name="connsiteX495" fmla="*/ 1673164 w 3469268"/>
              <a:gd name="connsiteY495" fmla="*/ 1449800 h 1655617"/>
              <a:gd name="connsiteX496" fmla="*/ 1678308 w 3469268"/>
              <a:gd name="connsiteY496" fmla="*/ 1432084 h 1655617"/>
              <a:gd name="connsiteX497" fmla="*/ 1696881 w 3469268"/>
              <a:gd name="connsiteY497" fmla="*/ 1424083 h 1655617"/>
              <a:gd name="connsiteX498" fmla="*/ 1715741 w 3469268"/>
              <a:gd name="connsiteY498" fmla="*/ 1416272 h 1655617"/>
              <a:gd name="connsiteX499" fmla="*/ 1723361 w 3469268"/>
              <a:gd name="connsiteY499" fmla="*/ 1424083 h 1655617"/>
              <a:gd name="connsiteX500" fmla="*/ 1792989 w 3469268"/>
              <a:gd name="connsiteY500" fmla="*/ 1374267 h 1655617"/>
              <a:gd name="connsiteX501" fmla="*/ 1783178 w 3469268"/>
              <a:gd name="connsiteY501" fmla="*/ 1370362 h 1655617"/>
              <a:gd name="connsiteX502" fmla="*/ 1796704 w 3469268"/>
              <a:gd name="connsiteY502" fmla="*/ 1352074 h 1655617"/>
              <a:gd name="connsiteX503" fmla="*/ 1802323 w 3469268"/>
              <a:gd name="connsiteY503" fmla="*/ 1360265 h 1655617"/>
              <a:gd name="connsiteX504" fmla="*/ 1792989 w 3469268"/>
              <a:gd name="connsiteY504" fmla="*/ 1374267 h 1655617"/>
              <a:gd name="connsiteX505" fmla="*/ 2083597 w 3469268"/>
              <a:gd name="connsiteY505" fmla="*/ 1330071 h 1655617"/>
              <a:gd name="connsiteX506" fmla="*/ 2064547 w 3469268"/>
              <a:gd name="connsiteY506" fmla="*/ 1333214 h 1655617"/>
              <a:gd name="connsiteX507" fmla="*/ 2056831 w 3469268"/>
              <a:gd name="connsiteY507" fmla="*/ 1328357 h 1655617"/>
              <a:gd name="connsiteX508" fmla="*/ 2056546 w 3469268"/>
              <a:gd name="connsiteY508" fmla="*/ 1327785 h 1655617"/>
              <a:gd name="connsiteX509" fmla="*/ 2060641 w 3469268"/>
              <a:gd name="connsiteY509" fmla="*/ 1315117 h 1655617"/>
              <a:gd name="connsiteX510" fmla="*/ 2073024 w 3469268"/>
              <a:gd name="connsiteY510" fmla="*/ 1310926 h 1655617"/>
              <a:gd name="connsiteX511" fmla="*/ 2090645 w 3469268"/>
              <a:gd name="connsiteY511" fmla="*/ 1319022 h 1655617"/>
              <a:gd name="connsiteX512" fmla="*/ 2083692 w 3469268"/>
              <a:gd name="connsiteY512" fmla="*/ 1330071 h 1655617"/>
              <a:gd name="connsiteX513" fmla="*/ 2630808 w 3469268"/>
              <a:gd name="connsiteY513" fmla="*/ 1534478 h 1655617"/>
              <a:gd name="connsiteX514" fmla="*/ 2637190 w 3469268"/>
              <a:gd name="connsiteY514" fmla="*/ 1530572 h 1655617"/>
              <a:gd name="connsiteX515" fmla="*/ 2638714 w 3469268"/>
              <a:gd name="connsiteY515" fmla="*/ 1530572 h 1655617"/>
              <a:gd name="connsiteX516" fmla="*/ 2647191 w 3469268"/>
              <a:gd name="connsiteY516" fmla="*/ 1542098 h 1655617"/>
              <a:gd name="connsiteX517" fmla="*/ 2641666 w 3469268"/>
              <a:gd name="connsiteY517" fmla="*/ 1558100 h 1655617"/>
              <a:gd name="connsiteX518" fmla="*/ 2627569 w 3469268"/>
              <a:gd name="connsiteY518" fmla="*/ 1549622 h 1655617"/>
              <a:gd name="connsiteX519" fmla="*/ 2630713 w 3469268"/>
              <a:gd name="connsiteY519" fmla="*/ 1534478 h 165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Lst>
            <a:rect l="l" t="t" r="r" b="b"/>
            <a:pathLst>
              <a:path w="3469268" h="1655617">
                <a:moveTo>
                  <a:pt x="3466817" y="305943"/>
                </a:moveTo>
                <a:cubicBezTo>
                  <a:pt x="3465769" y="304991"/>
                  <a:pt x="3459673" y="302895"/>
                  <a:pt x="3458911" y="299752"/>
                </a:cubicBezTo>
                <a:lnTo>
                  <a:pt x="3452911" y="287465"/>
                </a:lnTo>
                <a:lnTo>
                  <a:pt x="3441862" y="284798"/>
                </a:lnTo>
                <a:lnTo>
                  <a:pt x="3441862" y="256032"/>
                </a:lnTo>
                <a:lnTo>
                  <a:pt x="3420716" y="251936"/>
                </a:lnTo>
                <a:lnTo>
                  <a:pt x="3419478" y="147638"/>
                </a:lnTo>
                <a:lnTo>
                  <a:pt x="3390712" y="124587"/>
                </a:lnTo>
                <a:lnTo>
                  <a:pt x="3355946" y="141351"/>
                </a:lnTo>
                <a:lnTo>
                  <a:pt x="3346516" y="134207"/>
                </a:lnTo>
                <a:lnTo>
                  <a:pt x="3344421" y="122682"/>
                </a:lnTo>
                <a:lnTo>
                  <a:pt x="3334420" y="116300"/>
                </a:lnTo>
                <a:lnTo>
                  <a:pt x="3286795" y="175069"/>
                </a:lnTo>
                <a:lnTo>
                  <a:pt x="3284128" y="195072"/>
                </a:lnTo>
                <a:lnTo>
                  <a:pt x="3270507" y="213265"/>
                </a:lnTo>
                <a:lnTo>
                  <a:pt x="3272888" y="238220"/>
                </a:lnTo>
                <a:lnTo>
                  <a:pt x="3241170" y="263652"/>
                </a:lnTo>
                <a:lnTo>
                  <a:pt x="3233550" y="285941"/>
                </a:lnTo>
                <a:lnTo>
                  <a:pt x="3207928" y="281750"/>
                </a:lnTo>
                <a:lnTo>
                  <a:pt x="3199069" y="301943"/>
                </a:lnTo>
                <a:lnTo>
                  <a:pt x="2996282" y="301943"/>
                </a:lnTo>
                <a:lnTo>
                  <a:pt x="2907890" y="359283"/>
                </a:lnTo>
                <a:lnTo>
                  <a:pt x="2907128" y="360998"/>
                </a:lnTo>
                <a:cubicBezTo>
                  <a:pt x="2910271" y="364426"/>
                  <a:pt x="2911891" y="373951"/>
                  <a:pt x="2918749" y="398526"/>
                </a:cubicBezTo>
                <a:cubicBezTo>
                  <a:pt x="2921035" y="406622"/>
                  <a:pt x="2908271" y="407480"/>
                  <a:pt x="2901413" y="411290"/>
                </a:cubicBezTo>
                <a:cubicBezTo>
                  <a:pt x="2894936" y="413861"/>
                  <a:pt x="2890364" y="419100"/>
                  <a:pt x="2884458" y="424625"/>
                </a:cubicBezTo>
                <a:cubicBezTo>
                  <a:pt x="2879315" y="429482"/>
                  <a:pt x="2876553" y="428911"/>
                  <a:pt x="2835881" y="434054"/>
                </a:cubicBezTo>
                <a:cubicBezTo>
                  <a:pt x="2828071" y="435007"/>
                  <a:pt x="2822927" y="427768"/>
                  <a:pt x="2819593" y="425482"/>
                </a:cubicBezTo>
                <a:cubicBezTo>
                  <a:pt x="2812449" y="419481"/>
                  <a:pt x="2803020" y="423005"/>
                  <a:pt x="2777207" y="421958"/>
                </a:cubicBezTo>
                <a:cubicBezTo>
                  <a:pt x="2769968" y="421958"/>
                  <a:pt x="2763491" y="424529"/>
                  <a:pt x="2741203" y="431578"/>
                </a:cubicBezTo>
                <a:lnTo>
                  <a:pt x="2741203" y="431578"/>
                </a:lnTo>
                <a:cubicBezTo>
                  <a:pt x="2741203" y="431578"/>
                  <a:pt x="2751871" y="452438"/>
                  <a:pt x="2751871" y="452438"/>
                </a:cubicBezTo>
                <a:cubicBezTo>
                  <a:pt x="2755014" y="452819"/>
                  <a:pt x="2755109" y="454247"/>
                  <a:pt x="2755109" y="456724"/>
                </a:cubicBezTo>
                <a:cubicBezTo>
                  <a:pt x="2754919" y="457962"/>
                  <a:pt x="2756538" y="465773"/>
                  <a:pt x="2750537" y="469583"/>
                </a:cubicBezTo>
                <a:cubicBezTo>
                  <a:pt x="2681195" y="513112"/>
                  <a:pt x="2679481" y="514922"/>
                  <a:pt x="2672146" y="517303"/>
                </a:cubicBezTo>
                <a:cubicBezTo>
                  <a:pt x="2609662" y="538163"/>
                  <a:pt x="2607662" y="537877"/>
                  <a:pt x="2601947" y="543020"/>
                </a:cubicBezTo>
                <a:cubicBezTo>
                  <a:pt x="2586802" y="556641"/>
                  <a:pt x="2583183" y="561785"/>
                  <a:pt x="2575849" y="561785"/>
                </a:cubicBezTo>
                <a:cubicBezTo>
                  <a:pt x="2536129" y="561785"/>
                  <a:pt x="2535463" y="569690"/>
                  <a:pt x="2525271" y="565023"/>
                </a:cubicBezTo>
                <a:cubicBezTo>
                  <a:pt x="2477932" y="543592"/>
                  <a:pt x="2473836" y="543782"/>
                  <a:pt x="2477836" y="537782"/>
                </a:cubicBezTo>
                <a:cubicBezTo>
                  <a:pt x="2488504" y="521684"/>
                  <a:pt x="2491838" y="515112"/>
                  <a:pt x="2495743" y="514064"/>
                </a:cubicBezTo>
                <a:lnTo>
                  <a:pt x="2494505" y="512540"/>
                </a:lnTo>
                <a:lnTo>
                  <a:pt x="2506411" y="496443"/>
                </a:lnTo>
                <a:lnTo>
                  <a:pt x="2508126" y="495014"/>
                </a:lnTo>
                <a:cubicBezTo>
                  <a:pt x="2505840" y="490919"/>
                  <a:pt x="2509459" y="482537"/>
                  <a:pt x="2509650" y="476250"/>
                </a:cubicBezTo>
                <a:cubicBezTo>
                  <a:pt x="2510316" y="472154"/>
                  <a:pt x="2519556" y="475202"/>
                  <a:pt x="2527366" y="478536"/>
                </a:cubicBezTo>
                <a:lnTo>
                  <a:pt x="2535082" y="448247"/>
                </a:lnTo>
                <a:lnTo>
                  <a:pt x="2535939" y="446151"/>
                </a:lnTo>
                <a:cubicBezTo>
                  <a:pt x="2535177" y="445389"/>
                  <a:pt x="2534510" y="444341"/>
                  <a:pt x="2534320" y="442913"/>
                </a:cubicBezTo>
                <a:cubicBezTo>
                  <a:pt x="2527557" y="391192"/>
                  <a:pt x="2528319" y="389192"/>
                  <a:pt x="2523271" y="384143"/>
                </a:cubicBezTo>
                <a:cubicBezTo>
                  <a:pt x="2517460" y="379476"/>
                  <a:pt x="2512317" y="369189"/>
                  <a:pt x="2504792" y="372809"/>
                </a:cubicBezTo>
                <a:cubicBezTo>
                  <a:pt x="2495743" y="377190"/>
                  <a:pt x="2487838" y="380143"/>
                  <a:pt x="2483266" y="385763"/>
                </a:cubicBezTo>
                <a:cubicBezTo>
                  <a:pt x="2469645" y="402526"/>
                  <a:pt x="2467359" y="407575"/>
                  <a:pt x="2461168" y="404527"/>
                </a:cubicBezTo>
                <a:cubicBezTo>
                  <a:pt x="2455929" y="401003"/>
                  <a:pt x="2445070" y="399383"/>
                  <a:pt x="2445928" y="391287"/>
                </a:cubicBezTo>
                <a:cubicBezTo>
                  <a:pt x="2447261" y="385763"/>
                  <a:pt x="2445166" y="375666"/>
                  <a:pt x="2452881" y="373190"/>
                </a:cubicBezTo>
                <a:cubicBezTo>
                  <a:pt x="2454976" y="372332"/>
                  <a:pt x="2463168" y="371285"/>
                  <a:pt x="2467549" y="365284"/>
                </a:cubicBezTo>
                <a:cubicBezTo>
                  <a:pt x="2479837" y="348329"/>
                  <a:pt x="2483742" y="344519"/>
                  <a:pt x="2484408" y="337375"/>
                </a:cubicBezTo>
                <a:cubicBezTo>
                  <a:pt x="2485742" y="322898"/>
                  <a:pt x="2487647" y="315373"/>
                  <a:pt x="2483075" y="309944"/>
                </a:cubicBezTo>
                <a:cubicBezTo>
                  <a:pt x="2481741" y="307658"/>
                  <a:pt x="2472693" y="301085"/>
                  <a:pt x="2479074" y="296799"/>
                </a:cubicBezTo>
                <a:cubicBezTo>
                  <a:pt x="2479932" y="295847"/>
                  <a:pt x="2487266" y="293180"/>
                  <a:pt x="2483742" y="287179"/>
                </a:cubicBezTo>
                <a:cubicBezTo>
                  <a:pt x="2481075" y="283655"/>
                  <a:pt x="2478598" y="274987"/>
                  <a:pt x="2470978" y="273082"/>
                </a:cubicBezTo>
                <a:cubicBezTo>
                  <a:pt x="2448785" y="267557"/>
                  <a:pt x="2442499" y="267081"/>
                  <a:pt x="2437831" y="261461"/>
                </a:cubicBezTo>
                <a:cubicBezTo>
                  <a:pt x="2436212" y="259842"/>
                  <a:pt x="2432116" y="252603"/>
                  <a:pt x="2424877" y="250793"/>
                </a:cubicBezTo>
                <a:cubicBezTo>
                  <a:pt x="2404018" y="245650"/>
                  <a:pt x="2399541" y="243078"/>
                  <a:pt x="2394397" y="247745"/>
                </a:cubicBezTo>
                <a:cubicBezTo>
                  <a:pt x="2390683" y="252127"/>
                  <a:pt x="2380205" y="256889"/>
                  <a:pt x="2384682" y="263747"/>
                </a:cubicBezTo>
                <a:cubicBezTo>
                  <a:pt x="2385730" y="266319"/>
                  <a:pt x="2394302" y="274701"/>
                  <a:pt x="2386777" y="276130"/>
                </a:cubicBezTo>
                <a:cubicBezTo>
                  <a:pt x="2376681" y="279083"/>
                  <a:pt x="2364298" y="277178"/>
                  <a:pt x="2364298" y="285750"/>
                </a:cubicBezTo>
                <a:cubicBezTo>
                  <a:pt x="2364298" y="305943"/>
                  <a:pt x="2365727" y="311087"/>
                  <a:pt x="2359155" y="313277"/>
                </a:cubicBezTo>
                <a:cubicBezTo>
                  <a:pt x="2356393" y="313658"/>
                  <a:pt x="2346106" y="320040"/>
                  <a:pt x="2346106" y="312325"/>
                </a:cubicBezTo>
                <a:cubicBezTo>
                  <a:pt x="2345439" y="305181"/>
                  <a:pt x="2348392" y="289179"/>
                  <a:pt x="2342105" y="294799"/>
                </a:cubicBezTo>
                <a:cubicBezTo>
                  <a:pt x="2315054" y="318611"/>
                  <a:pt x="2311720" y="320040"/>
                  <a:pt x="2311816" y="327089"/>
                </a:cubicBezTo>
                <a:cubicBezTo>
                  <a:pt x="2312006" y="341662"/>
                  <a:pt x="2312863" y="347091"/>
                  <a:pt x="2308958" y="352520"/>
                </a:cubicBezTo>
                <a:cubicBezTo>
                  <a:pt x="2305148" y="358902"/>
                  <a:pt x="2297433" y="364998"/>
                  <a:pt x="2299052" y="372999"/>
                </a:cubicBezTo>
                <a:cubicBezTo>
                  <a:pt x="2299814" y="379476"/>
                  <a:pt x="2304196" y="387858"/>
                  <a:pt x="2299719" y="394716"/>
                </a:cubicBezTo>
                <a:cubicBezTo>
                  <a:pt x="2299338" y="395669"/>
                  <a:pt x="2294861" y="400241"/>
                  <a:pt x="2297433" y="406432"/>
                </a:cubicBezTo>
                <a:cubicBezTo>
                  <a:pt x="2313435" y="445484"/>
                  <a:pt x="2315340" y="448056"/>
                  <a:pt x="2314578" y="455105"/>
                </a:cubicBezTo>
                <a:cubicBezTo>
                  <a:pt x="2311530" y="485108"/>
                  <a:pt x="2311720" y="494538"/>
                  <a:pt x="2307339" y="501015"/>
                </a:cubicBezTo>
                <a:cubicBezTo>
                  <a:pt x="2287622" y="530543"/>
                  <a:pt x="2285336" y="536162"/>
                  <a:pt x="2278383" y="539020"/>
                </a:cubicBezTo>
                <a:cubicBezTo>
                  <a:pt x="2253142" y="549116"/>
                  <a:pt x="2249236" y="552164"/>
                  <a:pt x="2242950" y="548640"/>
                </a:cubicBezTo>
                <a:cubicBezTo>
                  <a:pt x="2239711" y="546259"/>
                  <a:pt x="2231615" y="544068"/>
                  <a:pt x="2229520" y="536543"/>
                </a:cubicBezTo>
                <a:cubicBezTo>
                  <a:pt x="2226853" y="526923"/>
                  <a:pt x="2225805" y="519970"/>
                  <a:pt x="2220947" y="514826"/>
                </a:cubicBezTo>
                <a:cubicBezTo>
                  <a:pt x="2219137" y="512255"/>
                  <a:pt x="2211613" y="507397"/>
                  <a:pt x="2212851" y="499967"/>
                </a:cubicBezTo>
                <a:cubicBezTo>
                  <a:pt x="2217232" y="474917"/>
                  <a:pt x="2219995" y="466916"/>
                  <a:pt x="2216756" y="459962"/>
                </a:cubicBezTo>
                <a:cubicBezTo>
                  <a:pt x="2210565" y="446723"/>
                  <a:pt x="2205612" y="439769"/>
                  <a:pt x="2208374" y="432816"/>
                </a:cubicBezTo>
                <a:cubicBezTo>
                  <a:pt x="2221804" y="399764"/>
                  <a:pt x="2224567" y="396526"/>
                  <a:pt x="2221423" y="390144"/>
                </a:cubicBezTo>
                <a:cubicBezTo>
                  <a:pt x="2221042" y="388715"/>
                  <a:pt x="2215518" y="382048"/>
                  <a:pt x="2220280" y="376619"/>
                </a:cubicBezTo>
                <a:cubicBezTo>
                  <a:pt x="2228472" y="367284"/>
                  <a:pt x="2234282" y="361760"/>
                  <a:pt x="2236949" y="354997"/>
                </a:cubicBezTo>
                <a:cubicBezTo>
                  <a:pt x="2262476" y="290513"/>
                  <a:pt x="2263905" y="290608"/>
                  <a:pt x="2259142" y="287179"/>
                </a:cubicBezTo>
                <a:cubicBezTo>
                  <a:pt x="2257142" y="285750"/>
                  <a:pt x="2253904" y="286417"/>
                  <a:pt x="2251903" y="288512"/>
                </a:cubicBezTo>
                <a:lnTo>
                  <a:pt x="2206088" y="337757"/>
                </a:lnTo>
                <a:cubicBezTo>
                  <a:pt x="2201611" y="342519"/>
                  <a:pt x="2194182" y="337090"/>
                  <a:pt x="2195134" y="337375"/>
                </a:cubicBezTo>
                <a:cubicBezTo>
                  <a:pt x="2192563" y="335851"/>
                  <a:pt x="2191896" y="332613"/>
                  <a:pt x="2193515" y="330137"/>
                </a:cubicBezTo>
                <a:cubicBezTo>
                  <a:pt x="2252475" y="242602"/>
                  <a:pt x="2250665" y="242221"/>
                  <a:pt x="2258285" y="240221"/>
                </a:cubicBezTo>
                <a:cubicBezTo>
                  <a:pt x="2269906" y="238411"/>
                  <a:pt x="2283431" y="230219"/>
                  <a:pt x="2283431" y="239173"/>
                </a:cubicBezTo>
                <a:cubicBezTo>
                  <a:pt x="2283812" y="241744"/>
                  <a:pt x="2281621" y="254318"/>
                  <a:pt x="2287622" y="249460"/>
                </a:cubicBezTo>
                <a:cubicBezTo>
                  <a:pt x="2313625" y="228886"/>
                  <a:pt x="2315816" y="225838"/>
                  <a:pt x="2322960" y="225838"/>
                </a:cubicBezTo>
                <a:lnTo>
                  <a:pt x="2336771" y="225838"/>
                </a:lnTo>
                <a:cubicBezTo>
                  <a:pt x="2344105" y="225838"/>
                  <a:pt x="2351725" y="217646"/>
                  <a:pt x="2350773" y="218313"/>
                </a:cubicBezTo>
                <a:cubicBezTo>
                  <a:pt x="2352964" y="216313"/>
                  <a:pt x="2357155" y="215551"/>
                  <a:pt x="2359917" y="216503"/>
                </a:cubicBezTo>
                <a:cubicBezTo>
                  <a:pt x="2388016" y="226219"/>
                  <a:pt x="2392302" y="229267"/>
                  <a:pt x="2398112" y="225076"/>
                </a:cubicBezTo>
                <a:cubicBezTo>
                  <a:pt x="2400208" y="223933"/>
                  <a:pt x="2406018" y="217551"/>
                  <a:pt x="2413352" y="218885"/>
                </a:cubicBezTo>
                <a:cubicBezTo>
                  <a:pt x="2431069" y="222028"/>
                  <a:pt x="2439355" y="224504"/>
                  <a:pt x="2442308" y="222504"/>
                </a:cubicBezTo>
                <a:lnTo>
                  <a:pt x="2419924" y="194119"/>
                </a:lnTo>
                <a:lnTo>
                  <a:pt x="2418686" y="192596"/>
                </a:lnTo>
                <a:cubicBezTo>
                  <a:pt x="2415352" y="195072"/>
                  <a:pt x="2406685" y="194119"/>
                  <a:pt x="2384015" y="194119"/>
                </a:cubicBezTo>
                <a:cubicBezTo>
                  <a:pt x="2375824" y="194119"/>
                  <a:pt x="2379443" y="182404"/>
                  <a:pt x="2378586" y="176498"/>
                </a:cubicBezTo>
                <a:cubicBezTo>
                  <a:pt x="2378586" y="169164"/>
                  <a:pt x="2375252" y="171450"/>
                  <a:pt x="2321245" y="176213"/>
                </a:cubicBezTo>
                <a:cubicBezTo>
                  <a:pt x="2313530" y="176879"/>
                  <a:pt x="2306577" y="181451"/>
                  <a:pt x="2286574" y="191643"/>
                </a:cubicBezTo>
                <a:cubicBezTo>
                  <a:pt x="2279716" y="195167"/>
                  <a:pt x="2270668" y="192596"/>
                  <a:pt x="2252189" y="190119"/>
                </a:cubicBezTo>
                <a:cubicBezTo>
                  <a:pt x="2245712" y="189262"/>
                  <a:pt x="2244474" y="186881"/>
                  <a:pt x="2225043" y="165640"/>
                </a:cubicBezTo>
                <a:cubicBezTo>
                  <a:pt x="2220661" y="160782"/>
                  <a:pt x="2215804" y="160592"/>
                  <a:pt x="2202088" y="157925"/>
                </a:cubicBezTo>
                <a:cubicBezTo>
                  <a:pt x="2182561" y="154115"/>
                  <a:pt x="2158939" y="189738"/>
                  <a:pt x="2195420" y="134398"/>
                </a:cubicBezTo>
                <a:cubicBezTo>
                  <a:pt x="2199421" y="128302"/>
                  <a:pt x="2204945" y="126016"/>
                  <a:pt x="2224662" y="114395"/>
                </a:cubicBezTo>
                <a:cubicBezTo>
                  <a:pt x="2232663" y="109633"/>
                  <a:pt x="2213803" y="112395"/>
                  <a:pt x="2192658" y="111633"/>
                </a:cubicBezTo>
                <a:cubicBezTo>
                  <a:pt x="2185514" y="111633"/>
                  <a:pt x="2185800" y="112967"/>
                  <a:pt x="2139699" y="154115"/>
                </a:cubicBezTo>
                <a:cubicBezTo>
                  <a:pt x="2133984" y="159258"/>
                  <a:pt x="2126364" y="159734"/>
                  <a:pt x="2100456" y="165259"/>
                </a:cubicBezTo>
                <a:cubicBezTo>
                  <a:pt x="2092931" y="166878"/>
                  <a:pt x="2085597" y="170974"/>
                  <a:pt x="2065118" y="180785"/>
                </a:cubicBezTo>
                <a:cubicBezTo>
                  <a:pt x="2058260" y="184118"/>
                  <a:pt x="2048640" y="183071"/>
                  <a:pt x="2033876" y="183071"/>
                </a:cubicBezTo>
                <a:cubicBezTo>
                  <a:pt x="2025494" y="183071"/>
                  <a:pt x="2036162" y="172688"/>
                  <a:pt x="2039020" y="166973"/>
                </a:cubicBezTo>
                <a:cubicBezTo>
                  <a:pt x="2042830" y="161068"/>
                  <a:pt x="2035210" y="157925"/>
                  <a:pt x="2034447" y="156877"/>
                </a:cubicBezTo>
                <a:cubicBezTo>
                  <a:pt x="2028447" y="152495"/>
                  <a:pt x="2027685" y="154591"/>
                  <a:pt x="1967677" y="177165"/>
                </a:cubicBezTo>
                <a:cubicBezTo>
                  <a:pt x="1960724" y="179832"/>
                  <a:pt x="1959962" y="169640"/>
                  <a:pt x="1958724" y="167545"/>
                </a:cubicBezTo>
                <a:cubicBezTo>
                  <a:pt x="1956247" y="160211"/>
                  <a:pt x="1959772" y="160306"/>
                  <a:pt x="2038448" y="101346"/>
                </a:cubicBezTo>
                <a:cubicBezTo>
                  <a:pt x="2043401" y="97631"/>
                  <a:pt x="2042448" y="98108"/>
                  <a:pt x="2092741" y="77153"/>
                </a:cubicBezTo>
                <a:lnTo>
                  <a:pt x="2077405" y="62389"/>
                </a:lnTo>
                <a:lnTo>
                  <a:pt x="2041306" y="66008"/>
                </a:lnTo>
                <a:lnTo>
                  <a:pt x="2035305" y="54769"/>
                </a:lnTo>
                <a:lnTo>
                  <a:pt x="2017969" y="60389"/>
                </a:lnTo>
                <a:lnTo>
                  <a:pt x="2010254" y="70104"/>
                </a:lnTo>
                <a:lnTo>
                  <a:pt x="1983584" y="70104"/>
                </a:lnTo>
                <a:lnTo>
                  <a:pt x="1978345" y="55436"/>
                </a:lnTo>
                <a:lnTo>
                  <a:pt x="1937673" y="59245"/>
                </a:lnTo>
                <a:lnTo>
                  <a:pt x="1930816" y="37719"/>
                </a:lnTo>
                <a:lnTo>
                  <a:pt x="1886524" y="28385"/>
                </a:lnTo>
                <a:lnTo>
                  <a:pt x="1878047" y="37719"/>
                </a:lnTo>
                <a:lnTo>
                  <a:pt x="1858997" y="37433"/>
                </a:lnTo>
                <a:lnTo>
                  <a:pt x="1855473" y="29147"/>
                </a:lnTo>
                <a:lnTo>
                  <a:pt x="1802800" y="19145"/>
                </a:lnTo>
                <a:lnTo>
                  <a:pt x="1802514" y="17050"/>
                </a:lnTo>
                <a:cubicBezTo>
                  <a:pt x="1798513" y="16574"/>
                  <a:pt x="1794989" y="11430"/>
                  <a:pt x="1793275" y="10287"/>
                </a:cubicBezTo>
                <a:cubicBezTo>
                  <a:pt x="1787274" y="4763"/>
                  <a:pt x="1778511" y="9716"/>
                  <a:pt x="1772320" y="10478"/>
                </a:cubicBezTo>
                <a:cubicBezTo>
                  <a:pt x="1765938" y="11906"/>
                  <a:pt x="1766033" y="4191"/>
                  <a:pt x="1765652" y="95"/>
                </a:cubicBezTo>
                <a:lnTo>
                  <a:pt x="1765652" y="95"/>
                </a:lnTo>
                <a:cubicBezTo>
                  <a:pt x="1765652" y="95"/>
                  <a:pt x="121827" y="0"/>
                  <a:pt x="121827" y="0"/>
                </a:cubicBezTo>
                <a:cubicBezTo>
                  <a:pt x="126018" y="5334"/>
                  <a:pt x="129352" y="10001"/>
                  <a:pt x="129924" y="15145"/>
                </a:cubicBezTo>
                <a:cubicBezTo>
                  <a:pt x="132495" y="35719"/>
                  <a:pt x="134496" y="42291"/>
                  <a:pt x="130209" y="48006"/>
                </a:cubicBezTo>
                <a:cubicBezTo>
                  <a:pt x="130019" y="48197"/>
                  <a:pt x="129924" y="48387"/>
                  <a:pt x="129828" y="48578"/>
                </a:cubicBezTo>
                <a:cubicBezTo>
                  <a:pt x="128019" y="50959"/>
                  <a:pt x="127447" y="55150"/>
                  <a:pt x="128400" y="57912"/>
                </a:cubicBezTo>
                <a:lnTo>
                  <a:pt x="131067" y="65437"/>
                </a:lnTo>
                <a:cubicBezTo>
                  <a:pt x="132019" y="68199"/>
                  <a:pt x="135258" y="70771"/>
                  <a:pt x="138210" y="71057"/>
                </a:cubicBezTo>
                <a:lnTo>
                  <a:pt x="144687" y="71723"/>
                </a:lnTo>
                <a:cubicBezTo>
                  <a:pt x="147640" y="72009"/>
                  <a:pt x="149355" y="74581"/>
                  <a:pt x="148497" y="77438"/>
                </a:cubicBezTo>
                <a:lnTo>
                  <a:pt x="139544" y="106204"/>
                </a:lnTo>
                <a:cubicBezTo>
                  <a:pt x="138687" y="109061"/>
                  <a:pt x="137163" y="109061"/>
                  <a:pt x="136305" y="106204"/>
                </a:cubicBezTo>
                <a:lnTo>
                  <a:pt x="132019" y="92869"/>
                </a:lnTo>
                <a:cubicBezTo>
                  <a:pt x="131162" y="90011"/>
                  <a:pt x="128781" y="89535"/>
                  <a:pt x="126780" y="91726"/>
                </a:cubicBezTo>
                <a:lnTo>
                  <a:pt x="119351" y="99822"/>
                </a:lnTo>
                <a:cubicBezTo>
                  <a:pt x="117351" y="102013"/>
                  <a:pt x="113255" y="104013"/>
                  <a:pt x="110302" y="104203"/>
                </a:cubicBezTo>
                <a:lnTo>
                  <a:pt x="106016" y="104584"/>
                </a:lnTo>
                <a:cubicBezTo>
                  <a:pt x="103063" y="104775"/>
                  <a:pt x="102111" y="103061"/>
                  <a:pt x="103920" y="100679"/>
                </a:cubicBezTo>
                <a:lnTo>
                  <a:pt x="118017" y="82296"/>
                </a:lnTo>
                <a:cubicBezTo>
                  <a:pt x="119827" y="79915"/>
                  <a:pt x="120113" y="75819"/>
                  <a:pt x="118779" y="73247"/>
                </a:cubicBezTo>
                <a:lnTo>
                  <a:pt x="117255" y="70390"/>
                </a:lnTo>
                <a:cubicBezTo>
                  <a:pt x="115827" y="67723"/>
                  <a:pt x="112302" y="65437"/>
                  <a:pt x="109350" y="65246"/>
                </a:cubicBezTo>
                <a:lnTo>
                  <a:pt x="109350" y="65246"/>
                </a:lnTo>
                <a:cubicBezTo>
                  <a:pt x="46199" y="61246"/>
                  <a:pt x="44199" y="61722"/>
                  <a:pt x="37436" y="58865"/>
                </a:cubicBezTo>
                <a:cubicBezTo>
                  <a:pt x="7527" y="46101"/>
                  <a:pt x="2003" y="42005"/>
                  <a:pt x="1431" y="49149"/>
                </a:cubicBezTo>
                <a:cubicBezTo>
                  <a:pt x="3" y="64389"/>
                  <a:pt x="-1236" y="69914"/>
                  <a:pt x="2289" y="75724"/>
                </a:cubicBezTo>
                <a:cubicBezTo>
                  <a:pt x="13147" y="93440"/>
                  <a:pt x="19148" y="101441"/>
                  <a:pt x="20862" y="109157"/>
                </a:cubicBezTo>
                <a:cubicBezTo>
                  <a:pt x="29435" y="147542"/>
                  <a:pt x="28959" y="157258"/>
                  <a:pt x="33435" y="150686"/>
                </a:cubicBezTo>
                <a:lnTo>
                  <a:pt x="34388" y="149257"/>
                </a:lnTo>
                <a:cubicBezTo>
                  <a:pt x="36102" y="146780"/>
                  <a:pt x="39246" y="146399"/>
                  <a:pt x="41532" y="148400"/>
                </a:cubicBezTo>
                <a:cubicBezTo>
                  <a:pt x="42198" y="149352"/>
                  <a:pt x="50199" y="153924"/>
                  <a:pt x="45246" y="158972"/>
                </a:cubicBezTo>
                <a:cubicBezTo>
                  <a:pt x="44389" y="160115"/>
                  <a:pt x="37817" y="164783"/>
                  <a:pt x="38198" y="172022"/>
                </a:cubicBezTo>
                <a:cubicBezTo>
                  <a:pt x="39246" y="189929"/>
                  <a:pt x="39246" y="198882"/>
                  <a:pt x="41246" y="206407"/>
                </a:cubicBezTo>
                <a:cubicBezTo>
                  <a:pt x="43627" y="215265"/>
                  <a:pt x="45913" y="221837"/>
                  <a:pt x="45342" y="228791"/>
                </a:cubicBezTo>
                <a:cubicBezTo>
                  <a:pt x="33626" y="366332"/>
                  <a:pt x="35721" y="378333"/>
                  <a:pt x="19434" y="425387"/>
                </a:cubicBezTo>
                <a:cubicBezTo>
                  <a:pt x="8480" y="456914"/>
                  <a:pt x="6003" y="460248"/>
                  <a:pt x="10004" y="465963"/>
                </a:cubicBezTo>
                <a:cubicBezTo>
                  <a:pt x="13814" y="471392"/>
                  <a:pt x="18005" y="476155"/>
                  <a:pt x="18005" y="482822"/>
                </a:cubicBezTo>
                <a:cubicBezTo>
                  <a:pt x="18005" y="505301"/>
                  <a:pt x="16671" y="511207"/>
                  <a:pt x="22196" y="515779"/>
                </a:cubicBezTo>
                <a:cubicBezTo>
                  <a:pt x="23910" y="517684"/>
                  <a:pt x="32102" y="521303"/>
                  <a:pt x="30197" y="528638"/>
                </a:cubicBezTo>
                <a:cubicBezTo>
                  <a:pt x="30102" y="529876"/>
                  <a:pt x="26387" y="537305"/>
                  <a:pt x="31435" y="542354"/>
                </a:cubicBezTo>
                <a:cubicBezTo>
                  <a:pt x="34674" y="546449"/>
                  <a:pt x="43246" y="551117"/>
                  <a:pt x="41627" y="558927"/>
                </a:cubicBezTo>
                <a:cubicBezTo>
                  <a:pt x="35150" y="591312"/>
                  <a:pt x="34959" y="595598"/>
                  <a:pt x="31149" y="601885"/>
                </a:cubicBezTo>
                <a:cubicBezTo>
                  <a:pt x="24482" y="612934"/>
                  <a:pt x="18005" y="621125"/>
                  <a:pt x="18291" y="628840"/>
                </a:cubicBezTo>
                <a:cubicBezTo>
                  <a:pt x="18862" y="632174"/>
                  <a:pt x="17148" y="640937"/>
                  <a:pt x="22958" y="646081"/>
                </a:cubicBezTo>
                <a:cubicBezTo>
                  <a:pt x="38865" y="659987"/>
                  <a:pt x="43532" y="663226"/>
                  <a:pt x="46866" y="669512"/>
                </a:cubicBezTo>
                <a:cubicBezTo>
                  <a:pt x="53533" y="681990"/>
                  <a:pt x="56581" y="685895"/>
                  <a:pt x="54581" y="692087"/>
                </a:cubicBezTo>
                <a:cubicBezTo>
                  <a:pt x="54009" y="694849"/>
                  <a:pt x="49914" y="701897"/>
                  <a:pt x="52866" y="708755"/>
                </a:cubicBezTo>
                <a:cubicBezTo>
                  <a:pt x="55057" y="713899"/>
                  <a:pt x="57915" y="719138"/>
                  <a:pt x="57343" y="725615"/>
                </a:cubicBezTo>
                <a:cubicBezTo>
                  <a:pt x="57438" y="727710"/>
                  <a:pt x="54771" y="735616"/>
                  <a:pt x="60296" y="740474"/>
                </a:cubicBezTo>
                <a:cubicBezTo>
                  <a:pt x="95538" y="771620"/>
                  <a:pt x="97920" y="772478"/>
                  <a:pt x="99634" y="779431"/>
                </a:cubicBezTo>
                <a:cubicBezTo>
                  <a:pt x="101539" y="786860"/>
                  <a:pt x="102301" y="795433"/>
                  <a:pt x="108397" y="799433"/>
                </a:cubicBezTo>
                <a:cubicBezTo>
                  <a:pt x="123732" y="809625"/>
                  <a:pt x="130305" y="815721"/>
                  <a:pt x="129352" y="808577"/>
                </a:cubicBezTo>
                <a:cubicBezTo>
                  <a:pt x="129352" y="802005"/>
                  <a:pt x="124018" y="790099"/>
                  <a:pt x="132305" y="790099"/>
                </a:cubicBezTo>
                <a:lnTo>
                  <a:pt x="134210" y="790099"/>
                </a:lnTo>
                <a:cubicBezTo>
                  <a:pt x="143544" y="790099"/>
                  <a:pt x="142211" y="803243"/>
                  <a:pt x="150974" y="818579"/>
                </a:cubicBezTo>
                <a:cubicBezTo>
                  <a:pt x="160308" y="834866"/>
                  <a:pt x="165833" y="842201"/>
                  <a:pt x="159070" y="840010"/>
                </a:cubicBezTo>
                <a:cubicBezTo>
                  <a:pt x="151450" y="837438"/>
                  <a:pt x="143640" y="836105"/>
                  <a:pt x="140211" y="829818"/>
                </a:cubicBezTo>
                <a:cubicBezTo>
                  <a:pt x="139449" y="828865"/>
                  <a:pt x="137067" y="822103"/>
                  <a:pt x="132305" y="822674"/>
                </a:cubicBezTo>
                <a:cubicBezTo>
                  <a:pt x="130209" y="822865"/>
                  <a:pt x="129162" y="825437"/>
                  <a:pt x="129924" y="828294"/>
                </a:cubicBezTo>
                <a:lnTo>
                  <a:pt x="136305" y="852392"/>
                </a:lnTo>
                <a:cubicBezTo>
                  <a:pt x="138401" y="860298"/>
                  <a:pt x="149926" y="870204"/>
                  <a:pt x="148974" y="869252"/>
                </a:cubicBezTo>
                <a:cubicBezTo>
                  <a:pt x="153927" y="874300"/>
                  <a:pt x="164214" y="873252"/>
                  <a:pt x="163261" y="873157"/>
                </a:cubicBezTo>
                <a:cubicBezTo>
                  <a:pt x="174024" y="873157"/>
                  <a:pt x="181835" y="893159"/>
                  <a:pt x="169071" y="896874"/>
                </a:cubicBezTo>
                <a:lnTo>
                  <a:pt x="168309" y="897065"/>
                </a:lnTo>
                <a:cubicBezTo>
                  <a:pt x="165452" y="897922"/>
                  <a:pt x="163737" y="900875"/>
                  <a:pt x="164499" y="903732"/>
                </a:cubicBezTo>
                <a:cubicBezTo>
                  <a:pt x="166309" y="910590"/>
                  <a:pt x="167262" y="916972"/>
                  <a:pt x="172024" y="921830"/>
                </a:cubicBezTo>
                <a:cubicBezTo>
                  <a:pt x="228317" y="978789"/>
                  <a:pt x="228126" y="976598"/>
                  <a:pt x="228126" y="983933"/>
                </a:cubicBezTo>
                <a:cubicBezTo>
                  <a:pt x="228507" y="986028"/>
                  <a:pt x="226126" y="995458"/>
                  <a:pt x="233460" y="996791"/>
                </a:cubicBezTo>
                <a:cubicBezTo>
                  <a:pt x="234508" y="997268"/>
                  <a:pt x="243652" y="996982"/>
                  <a:pt x="243652" y="1004126"/>
                </a:cubicBezTo>
                <a:cubicBezTo>
                  <a:pt x="243652" y="1028033"/>
                  <a:pt x="242604" y="1031748"/>
                  <a:pt x="247843" y="1036130"/>
                </a:cubicBezTo>
                <a:cubicBezTo>
                  <a:pt x="250224" y="1037654"/>
                  <a:pt x="255273" y="1044035"/>
                  <a:pt x="262797" y="1044035"/>
                </a:cubicBezTo>
                <a:cubicBezTo>
                  <a:pt x="293468" y="1044797"/>
                  <a:pt x="302707" y="1042130"/>
                  <a:pt x="310994" y="1046607"/>
                </a:cubicBezTo>
                <a:cubicBezTo>
                  <a:pt x="317852" y="1050322"/>
                  <a:pt x="325472" y="1053560"/>
                  <a:pt x="327377" y="1058609"/>
                </a:cubicBezTo>
                <a:cubicBezTo>
                  <a:pt x="328234" y="1060704"/>
                  <a:pt x="331092" y="1063371"/>
                  <a:pt x="333949" y="1064419"/>
                </a:cubicBezTo>
                <a:lnTo>
                  <a:pt x="347094" y="1069467"/>
                </a:lnTo>
                <a:cubicBezTo>
                  <a:pt x="359857" y="1074325"/>
                  <a:pt x="372335" y="1067372"/>
                  <a:pt x="373859" y="1076706"/>
                </a:cubicBezTo>
                <a:lnTo>
                  <a:pt x="375097" y="1083945"/>
                </a:lnTo>
                <a:cubicBezTo>
                  <a:pt x="376240" y="1090898"/>
                  <a:pt x="383955" y="1093851"/>
                  <a:pt x="388146" y="1089565"/>
                </a:cubicBezTo>
                <a:cubicBezTo>
                  <a:pt x="389956" y="1087755"/>
                  <a:pt x="393385" y="1087755"/>
                  <a:pt x="395766" y="1089565"/>
                </a:cubicBezTo>
                <a:lnTo>
                  <a:pt x="435867" y="1119473"/>
                </a:lnTo>
                <a:cubicBezTo>
                  <a:pt x="448821" y="1129094"/>
                  <a:pt x="448154" y="1153001"/>
                  <a:pt x="447963" y="1153763"/>
                </a:cubicBezTo>
                <a:cubicBezTo>
                  <a:pt x="448059" y="1161479"/>
                  <a:pt x="454536" y="1161764"/>
                  <a:pt x="456155" y="1169670"/>
                </a:cubicBezTo>
                <a:cubicBezTo>
                  <a:pt x="456822" y="1171575"/>
                  <a:pt x="457012" y="1174242"/>
                  <a:pt x="457584" y="1176909"/>
                </a:cubicBezTo>
                <a:lnTo>
                  <a:pt x="457584" y="1176909"/>
                </a:lnTo>
                <a:cubicBezTo>
                  <a:pt x="457584" y="1176909"/>
                  <a:pt x="598363" y="1161574"/>
                  <a:pt x="598363" y="1161574"/>
                </a:cubicBezTo>
                <a:lnTo>
                  <a:pt x="595601" y="1179481"/>
                </a:lnTo>
                <a:lnTo>
                  <a:pt x="822391" y="1258729"/>
                </a:lnTo>
                <a:lnTo>
                  <a:pt x="993270" y="1258729"/>
                </a:lnTo>
                <a:lnTo>
                  <a:pt x="993270" y="1229011"/>
                </a:lnTo>
                <a:lnTo>
                  <a:pt x="1095378" y="1229011"/>
                </a:lnTo>
                <a:lnTo>
                  <a:pt x="1113666" y="1253109"/>
                </a:lnTo>
                <a:lnTo>
                  <a:pt x="1134716" y="1258253"/>
                </a:lnTo>
                <a:lnTo>
                  <a:pt x="1163958" y="1290923"/>
                </a:lnTo>
                <a:lnTo>
                  <a:pt x="1187104" y="1301115"/>
                </a:lnTo>
                <a:lnTo>
                  <a:pt x="1207297" y="1336072"/>
                </a:lnTo>
                <a:lnTo>
                  <a:pt x="1212059" y="1369409"/>
                </a:lnTo>
                <a:lnTo>
                  <a:pt x="1295403" y="1413034"/>
                </a:lnTo>
                <a:lnTo>
                  <a:pt x="1326645" y="1363980"/>
                </a:lnTo>
                <a:lnTo>
                  <a:pt x="1350457" y="1353788"/>
                </a:lnTo>
                <a:lnTo>
                  <a:pt x="1383509" y="1361504"/>
                </a:lnTo>
                <a:lnTo>
                  <a:pt x="1398177" y="1354360"/>
                </a:lnTo>
                <a:lnTo>
                  <a:pt x="1407512" y="1359980"/>
                </a:lnTo>
                <a:lnTo>
                  <a:pt x="1410846" y="1374172"/>
                </a:lnTo>
                <a:lnTo>
                  <a:pt x="1439230" y="1397508"/>
                </a:lnTo>
                <a:lnTo>
                  <a:pt x="1467520" y="1455896"/>
                </a:lnTo>
                <a:lnTo>
                  <a:pt x="1484569" y="1464278"/>
                </a:lnTo>
                <a:lnTo>
                  <a:pt x="1497714" y="1494854"/>
                </a:lnTo>
                <a:lnTo>
                  <a:pt x="1515526" y="1499997"/>
                </a:lnTo>
                <a:lnTo>
                  <a:pt x="1517907" y="1541717"/>
                </a:lnTo>
                <a:lnTo>
                  <a:pt x="1532194" y="1552004"/>
                </a:lnTo>
                <a:lnTo>
                  <a:pt x="1540100" y="1580579"/>
                </a:lnTo>
                <a:lnTo>
                  <a:pt x="1571437" y="1585722"/>
                </a:lnTo>
                <a:lnTo>
                  <a:pt x="1594107" y="1603248"/>
                </a:lnTo>
                <a:lnTo>
                  <a:pt x="1625444" y="1603248"/>
                </a:lnTo>
                <a:lnTo>
                  <a:pt x="1634493" y="1612678"/>
                </a:lnTo>
                <a:lnTo>
                  <a:pt x="1661068" y="1613154"/>
                </a:lnTo>
                <a:lnTo>
                  <a:pt x="1661258" y="1613154"/>
                </a:lnTo>
                <a:cubicBezTo>
                  <a:pt x="1661544" y="1611821"/>
                  <a:pt x="1661639" y="1610487"/>
                  <a:pt x="1661639" y="1609154"/>
                </a:cubicBezTo>
                <a:cubicBezTo>
                  <a:pt x="1661639" y="1596771"/>
                  <a:pt x="1662115" y="1588865"/>
                  <a:pt x="1660115" y="1581912"/>
                </a:cubicBezTo>
                <a:cubicBezTo>
                  <a:pt x="1657258" y="1571339"/>
                  <a:pt x="1645066" y="1528667"/>
                  <a:pt x="1649352" y="1516475"/>
                </a:cubicBezTo>
                <a:cubicBezTo>
                  <a:pt x="1653067" y="1505903"/>
                  <a:pt x="1655162" y="1498092"/>
                  <a:pt x="1659543" y="1492282"/>
                </a:cubicBezTo>
                <a:cubicBezTo>
                  <a:pt x="1678784" y="1467136"/>
                  <a:pt x="1676593" y="1465707"/>
                  <a:pt x="1711645" y="1445419"/>
                </a:cubicBezTo>
                <a:cubicBezTo>
                  <a:pt x="1759461" y="1417796"/>
                  <a:pt x="1761366" y="1417225"/>
                  <a:pt x="1766985" y="1412177"/>
                </a:cubicBezTo>
                <a:cubicBezTo>
                  <a:pt x="1802323" y="1381030"/>
                  <a:pt x="1803657" y="1379030"/>
                  <a:pt x="1810420" y="1376077"/>
                </a:cubicBezTo>
                <a:cubicBezTo>
                  <a:pt x="1844519" y="1361027"/>
                  <a:pt x="1849186" y="1358170"/>
                  <a:pt x="1856711" y="1357598"/>
                </a:cubicBezTo>
                <a:cubicBezTo>
                  <a:pt x="1882333" y="1355789"/>
                  <a:pt x="1890810" y="1354264"/>
                  <a:pt x="1898050" y="1356836"/>
                </a:cubicBezTo>
                <a:cubicBezTo>
                  <a:pt x="1933483" y="1369409"/>
                  <a:pt x="1936531" y="1371505"/>
                  <a:pt x="1943484" y="1369790"/>
                </a:cubicBezTo>
                <a:cubicBezTo>
                  <a:pt x="1944817" y="1369600"/>
                  <a:pt x="1951009" y="1366933"/>
                  <a:pt x="1957485" y="1369600"/>
                </a:cubicBezTo>
                <a:cubicBezTo>
                  <a:pt x="1964343" y="1371505"/>
                  <a:pt x="1973678" y="1379601"/>
                  <a:pt x="1977774" y="1372362"/>
                </a:cubicBezTo>
                <a:lnTo>
                  <a:pt x="1977774" y="1372362"/>
                </a:lnTo>
                <a:cubicBezTo>
                  <a:pt x="1983775" y="1361599"/>
                  <a:pt x="1949580" y="1357884"/>
                  <a:pt x="1959867" y="1350740"/>
                </a:cubicBezTo>
                <a:cubicBezTo>
                  <a:pt x="1964153" y="1348550"/>
                  <a:pt x="1971487" y="1339215"/>
                  <a:pt x="1976821" y="1345406"/>
                </a:cubicBezTo>
                <a:cubicBezTo>
                  <a:pt x="1983489" y="1353217"/>
                  <a:pt x="1988442" y="1359980"/>
                  <a:pt x="1994538" y="1363789"/>
                </a:cubicBezTo>
                <a:cubicBezTo>
                  <a:pt x="2001396" y="1369314"/>
                  <a:pt x="2014445" y="1372743"/>
                  <a:pt x="2009397" y="1379506"/>
                </a:cubicBezTo>
                <a:cubicBezTo>
                  <a:pt x="2008635" y="1381125"/>
                  <a:pt x="2000539" y="1388174"/>
                  <a:pt x="2007587" y="1390460"/>
                </a:cubicBezTo>
                <a:cubicBezTo>
                  <a:pt x="2039115" y="1400556"/>
                  <a:pt x="2042068" y="1402842"/>
                  <a:pt x="2043306" y="1396175"/>
                </a:cubicBezTo>
                <a:cubicBezTo>
                  <a:pt x="2043687" y="1395222"/>
                  <a:pt x="2043496" y="1388650"/>
                  <a:pt x="2049497" y="1385507"/>
                </a:cubicBezTo>
                <a:cubicBezTo>
                  <a:pt x="2050450" y="1385221"/>
                  <a:pt x="2056260" y="1380363"/>
                  <a:pt x="2061689" y="1384649"/>
                </a:cubicBezTo>
                <a:cubicBezTo>
                  <a:pt x="2062642" y="1385602"/>
                  <a:pt x="2067118" y="1388364"/>
                  <a:pt x="2069023" y="1393984"/>
                </a:cubicBezTo>
                <a:cubicBezTo>
                  <a:pt x="2069881" y="1396556"/>
                  <a:pt x="2072643" y="1397508"/>
                  <a:pt x="2075214" y="1395889"/>
                </a:cubicBezTo>
                <a:lnTo>
                  <a:pt x="2080739" y="1392460"/>
                </a:lnTo>
                <a:cubicBezTo>
                  <a:pt x="2086073" y="1389126"/>
                  <a:pt x="2084263" y="1380935"/>
                  <a:pt x="2084168" y="1381887"/>
                </a:cubicBezTo>
                <a:cubicBezTo>
                  <a:pt x="2083120" y="1374934"/>
                  <a:pt x="2090264" y="1371981"/>
                  <a:pt x="2094455" y="1377696"/>
                </a:cubicBezTo>
                <a:cubicBezTo>
                  <a:pt x="2095408" y="1378649"/>
                  <a:pt x="2097884" y="1383316"/>
                  <a:pt x="2103885" y="1385507"/>
                </a:cubicBezTo>
                <a:cubicBezTo>
                  <a:pt x="2126269" y="1393793"/>
                  <a:pt x="2129507" y="1408748"/>
                  <a:pt x="2137984" y="1402175"/>
                </a:cubicBezTo>
                <a:cubicBezTo>
                  <a:pt x="2139604" y="1400366"/>
                  <a:pt x="2149510" y="1395984"/>
                  <a:pt x="2144271" y="1390460"/>
                </a:cubicBezTo>
                <a:cubicBezTo>
                  <a:pt x="2141890" y="1388364"/>
                  <a:pt x="2137127" y="1381316"/>
                  <a:pt x="2129602" y="1379792"/>
                </a:cubicBezTo>
                <a:cubicBezTo>
                  <a:pt x="2123697" y="1377982"/>
                  <a:pt x="2114458" y="1378839"/>
                  <a:pt x="2110362" y="1371791"/>
                </a:cubicBezTo>
                <a:lnTo>
                  <a:pt x="2109505" y="1370362"/>
                </a:lnTo>
                <a:cubicBezTo>
                  <a:pt x="2103599" y="1360361"/>
                  <a:pt x="2128078" y="1361599"/>
                  <a:pt x="2129602" y="1349216"/>
                </a:cubicBezTo>
                <a:cubicBezTo>
                  <a:pt x="2129602" y="1344359"/>
                  <a:pt x="2134270" y="1330738"/>
                  <a:pt x="2126840" y="1334167"/>
                </a:cubicBezTo>
                <a:cubicBezTo>
                  <a:pt x="2109981" y="1341882"/>
                  <a:pt x="2110171" y="1347978"/>
                  <a:pt x="2102456" y="1345121"/>
                </a:cubicBezTo>
                <a:cubicBezTo>
                  <a:pt x="2100932" y="1344263"/>
                  <a:pt x="2089502" y="1342073"/>
                  <a:pt x="2095789" y="1338167"/>
                </a:cubicBezTo>
                <a:cubicBezTo>
                  <a:pt x="2156939" y="1299686"/>
                  <a:pt x="2125030" y="1315403"/>
                  <a:pt x="2177608" y="1315403"/>
                </a:cubicBezTo>
                <a:cubicBezTo>
                  <a:pt x="2183895" y="1314545"/>
                  <a:pt x="2194849" y="1318165"/>
                  <a:pt x="2196563" y="1310164"/>
                </a:cubicBezTo>
                <a:cubicBezTo>
                  <a:pt x="2197992" y="1306163"/>
                  <a:pt x="2197135" y="1296448"/>
                  <a:pt x="2204850" y="1294448"/>
                </a:cubicBezTo>
                <a:lnTo>
                  <a:pt x="2205898" y="1294162"/>
                </a:lnTo>
                <a:cubicBezTo>
                  <a:pt x="2215423" y="1291685"/>
                  <a:pt x="2206945" y="1305878"/>
                  <a:pt x="2215327" y="1312640"/>
                </a:cubicBezTo>
                <a:cubicBezTo>
                  <a:pt x="2216661" y="1313402"/>
                  <a:pt x="2221900" y="1319784"/>
                  <a:pt x="2229234" y="1318832"/>
                </a:cubicBezTo>
                <a:cubicBezTo>
                  <a:pt x="2294480" y="1309878"/>
                  <a:pt x="2296480" y="1308354"/>
                  <a:pt x="2303434" y="1311402"/>
                </a:cubicBezTo>
                <a:cubicBezTo>
                  <a:pt x="2355631" y="1334357"/>
                  <a:pt x="2357345" y="1333786"/>
                  <a:pt x="2360107" y="1340358"/>
                </a:cubicBezTo>
                <a:cubicBezTo>
                  <a:pt x="2363441" y="1348359"/>
                  <a:pt x="2364965" y="1353884"/>
                  <a:pt x="2370585" y="1357122"/>
                </a:cubicBezTo>
                <a:cubicBezTo>
                  <a:pt x="2376014" y="1359503"/>
                  <a:pt x="2382586" y="1366742"/>
                  <a:pt x="2389825" y="1363123"/>
                </a:cubicBezTo>
                <a:cubicBezTo>
                  <a:pt x="2404780" y="1355693"/>
                  <a:pt x="2409828" y="1354074"/>
                  <a:pt x="2412590" y="1347883"/>
                </a:cubicBezTo>
                <a:cubicBezTo>
                  <a:pt x="2415162" y="1343406"/>
                  <a:pt x="2416305" y="1334548"/>
                  <a:pt x="2423925" y="1332071"/>
                </a:cubicBezTo>
                <a:cubicBezTo>
                  <a:pt x="2429926" y="1330738"/>
                  <a:pt x="2438022" y="1324928"/>
                  <a:pt x="2444499" y="1329881"/>
                </a:cubicBezTo>
                <a:cubicBezTo>
                  <a:pt x="2480503" y="1357598"/>
                  <a:pt x="2483647" y="1358075"/>
                  <a:pt x="2483647" y="1365314"/>
                </a:cubicBezTo>
                <a:cubicBezTo>
                  <a:pt x="2483837" y="1366266"/>
                  <a:pt x="2483266" y="1371410"/>
                  <a:pt x="2487266" y="1375791"/>
                </a:cubicBezTo>
                <a:cubicBezTo>
                  <a:pt x="2498506" y="1388078"/>
                  <a:pt x="2501744" y="1392936"/>
                  <a:pt x="2508602" y="1394270"/>
                </a:cubicBezTo>
                <a:cubicBezTo>
                  <a:pt x="2510698" y="1395032"/>
                  <a:pt x="2518889" y="1394270"/>
                  <a:pt x="2520699" y="1401509"/>
                </a:cubicBezTo>
                <a:cubicBezTo>
                  <a:pt x="2527938" y="1429607"/>
                  <a:pt x="2530224" y="1433989"/>
                  <a:pt x="2527271" y="1440466"/>
                </a:cubicBezTo>
                <a:cubicBezTo>
                  <a:pt x="2513460" y="1470755"/>
                  <a:pt x="2509840" y="1474661"/>
                  <a:pt x="2514698" y="1479995"/>
                </a:cubicBezTo>
                <a:cubicBezTo>
                  <a:pt x="2516127" y="1481042"/>
                  <a:pt x="2521366" y="1490186"/>
                  <a:pt x="2525175" y="1483900"/>
                </a:cubicBezTo>
                <a:cubicBezTo>
                  <a:pt x="2527462" y="1481233"/>
                  <a:pt x="2530510" y="1470470"/>
                  <a:pt x="2536891" y="1475042"/>
                </a:cubicBezTo>
                <a:cubicBezTo>
                  <a:pt x="2537844" y="1476185"/>
                  <a:pt x="2546702" y="1479899"/>
                  <a:pt x="2542321" y="1485710"/>
                </a:cubicBezTo>
                <a:cubicBezTo>
                  <a:pt x="2528509" y="1503902"/>
                  <a:pt x="2524604" y="1506855"/>
                  <a:pt x="2528033" y="1512856"/>
                </a:cubicBezTo>
                <a:cubicBezTo>
                  <a:pt x="2547464" y="1546193"/>
                  <a:pt x="2549655" y="1552861"/>
                  <a:pt x="2552322" y="1546003"/>
                </a:cubicBezTo>
                <a:lnTo>
                  <a:pt x="2554227" y="1541145"/>
                </a:lnTo>
                <a:cubicBezTo>
                  <a:pt x="2556513" y="1535430"/>
                  <a:pt x="2562799" y="1540859"/>
                  <a:pt x="2561847" y="1540574"/>
                </a:cubicBezTo>
                <a:cubicBezTo>
                  <a:pt x="2571372" y="1548098"/>
                  <a:pt x="2553941" y="1563814"/>
                  <a:pt x="2563561" y="1570958"/>
                </a:cubicBezTo>
                <a:cubicBezTo>
                  <a:pt x="2566609" y="1573625"/>
                  <a:pt x="2573944" y="1576864"/>
                  <a:pt x="2576325" y="1584198"/>
                </a:cubicBezTo>
                <a:cubicBezTo>
                  <a:pt x="2581754" y="1601248"/>
                  <a:pt x="2582230" y="1606582"/>
                  <a:pt x="2588707" y="1608677"/>
                </a:cubicBezTo>
                <a:cubicBezTo>
                  <a:pt x="2593279" y="1610678"/>
                  <a:pt x="2602519" y="1611249"/>
                  <a:pt x="2606519" y="1618298"/>
                </a:cubicBezTo>
                <a:lnTo>
                  <a:pt x="2616044" y="1635062"/>
                </a:lnTo>
                <a:cubicBezTo>
                  <a:pt x="2618711" y="1639634"/>
                  <a:pt x="2615758" y="1645539"/>
                  <a:pt x="2616044" y="1644587"/>
                </a:cubicBezTo>
                <a:cubicBezTo>
                  <a:pt x="2613282" y="1649444"/>
                  <a:pt x="2618235" y="1654302"/>
                  <a:pt x="2617758" y="1653350"/>
                </a:cubicBezTo>
                <a:cubicBezTo>
                  <a:pt x="2622521" y="1657731"/>
                  <a:pt x="2630617" y="1654397"/>
                  <a:pt x="2629665" y="1654493"/>
                </a:cubicBezTo>
                <a:cubicBezTo>
                  <a:pt x="2634427" y="1652968"/>
                  <a:pt x="2660621" y="1651826"/>
                  <a:pt x="2662431" y="1640396"/>
                </a:cubicBezTo>
                <a:cubicBezTo>
                  <a:pt x="2663479" y="1634109"/>
                  <a:pt x="2663764" y="1628108"/>
                  <a:pt x="2668146" y="1623251"/>
                </a:cubicBezTo>
                <a:cubicBezTo>
                  <a:pt x="2669765" y="1620964"/>
                  <a:pt x="2676242" y="1616202"/>
                  <a:pt x="2676909" y="1608773"/>
                </a:cubicBezTo>
                <a:cubicBezTo>
                  <a:pt x="2682814" y="1544003"/>
                  <a:pt x="2683576" y="1543622"/>
                  <a:pt x="2680909" y="1537145"/>
                </a:cubicBezTo>
                <a:cubicBezTo>
                  <a:pt x="2648239" y="1457135"/>
                  <a:pt x="2647857" y="1459516"/>
                  <a:pt x="2649953" y="1452467"/>
                </a:cubicBezTo>
                <a:cubicBezTo>
                  <a:pt x="2650334" y="1450181"/>
                  <a:pt x="2654239" y="1442847"/>
                  <a:pt x="2650620" y="1436275"/>
                </a:cubicBezTo>
                <a:cubicBezTo>
                  <a:pt x="2630141" y="1398651"/>
                  <a:pt x="2628427" y="1395984"/>
                  <a:pt x="2625664" y="1388936"/>
                </a:cubicBezTo>
                <a:cubicBezTo>
                  <a:pt x="2606138" y="1339120"/>
                  <a:pt x="2605471" y="1338072"/>
                  <a:pt x="2604328" y="1331309"/>
                </a:cubicBezTo>
                <a:cubicBezTo>
                  <a:pt x="2598613" y="1297210"/>
                  <a:pt x="2598804" y="1292733"/>
                  <a:pt x="2594422" y="1289018"/>
                </a:cubicBezTo>
                <a:cubicBezTo>
                  <a:pt x="2589660" y="1285018"/>
                  <a:pt x="2598994" y="1285208"/>
                  <a:pt x="2599852" y="1277303"/>
                </a:cubicBezTo>
                <a:cubicBezTo>
                  <a:pt x="2599852" y="1276350"/>
                  <a:pt x="2600423" y="1271492"/>
                  <a:pt x="2598232" y="1267778"/>
                </a:cubicBezTo>
                <a:cubicBezTo>
                  <a:pt x="2595089" y="1262443"/>
                  <a:pt x="2602233" y="1264539"/>
                  <a:pt x="2605281" y="1257014"/>
                </a:cubicBezTo>
                <a:lnTo>
                  <a:pt x="2609948" y="1245584"/>
                </a:lnTo>
                <a:cubicBezTo>
                  <a:pt x="2611091" y="1242822"/>
                  <a:pt x="2610996" y="1238917"/>
                  <a:pt x="2609757" y="1236917"/>
                </a:cubicBezTo>
                <a:cubicBezTo>
                  <a:pt x="2606805" y="1231964"/>
                  <a:pt x="2612806" y="1233202"/>
                  <a:pt x="2617473" y="1226630"/>
                </a:cubicBezTo>
                <a:cubicBezTo>
                  <a:pt x="2623664" y="1216152"/>
                  <a:pt x="2634523" y="1208532"/>
                  <a:pt x="2629093" y="1201579"/>
                </a:cubicBezTo>
                <a:lnTo>
                  <a:pt x="2627379" y="1199388"/>
                </a:lnTo>
                <a:cubicBezTo>
                  <a:pt x="2622140" y="1192625"/>
                  <a:pt x="2635094" y="1197483"/>
                  <a:pt x="2643571" y="1192340"/>
                </a:cubicBezTo>
                <a:cubicBezTo>
                  <a:pt x="2647477" y="1189292"/>
                  <a:pt x="2656811" y="1186910"/>
                  <a:pt x="2656811" y="1179005"/>
                </a:cubicBezTo>
                <a:lnTo>
                  <a:pt x="2656811" y="1176909"/>
                </a:lnTo>
                <a:cubicBezTo>
                  <a:pt x="2656811" y="1173956"/>
                  <a:pt x="2659192" y="1171480"/>
                  <a:pt x="2662240" y="1171480"/>
                </a:cubicBezTo>
                <a:cubicBezTo>
                  <a:pt x="2676052" y="1169861"/>
                  <a:pt x="2689958" y="1162526"/>
                  <a:pt x="2694435" y="1158240"/>
                </a:cubicBezTo>
                <a:cubicBezTo>
                  <a:pt x="2702531" y="1150430"/>
                  <a:pt x="2709389" y="1144715"/>
                  <a:pt x="2712723" y="1138619"/>
                </a:cubicBezTo>
                <a:cubicBezTo>
                  <a:pt x="2715580" y="1133475"/>
                  <a:pt x="2724343" y="1134142"/>
                  <a:pt x="2723391" y="1134332"/>
                </a:cubicBezTo>
                <a:cubicBezTo>
                  <a:pt x="2726344" y="1134332"/>
                  <a:pt x="2729677" y="1132046"/>
                  <a:pt x="2730820" y="1129284"/>
                </a:cubicBezTo>
                <a:lnTo>
                  <a:pt x="2737869" y="1111472"/>
                </a:lnTo>
                <a:cubicBezTo>
                  <a:pt x="2740060" y="1106043"/>
                  <a:pt x="2754919" y="1087469"/>
                  <a:pt x="2764348" y="1084421"/>
                </a:cubicBezTo>
                <a:lnTo>
                  <a:pt x="2783874" y="1078230"/>
                </a:lnTo>
                <a:cubicBezTo>
                  <a:pt x="2795305" y="1074611"/>
                  <a:pt x="2805687" y="1085850"/>
                  <a:pt x="2809687" y="1076992"/>
                </a:cubicBezTo>
                <a:cubicBezTo>
                  <a:pt x="2818546" y="1057275"/>
                  <a:pt x="2819307" y="1053465"/>
                  <a:pt x="2825308" y="1050131"/>
                </a:cubicBezTo>
                <a:cubicBezTo>
                  <a:pt x="2865218" y="1027748"/>
                  <a:pt x="2867123" y="1025557"/>
                  <a:pt x="2874172" y="1026605"/>
                </a:cubicBezTo>
                <a:cubicBezTo>
                  <a:pt x="2881887" y="1026986"/>
                  <a:pt x="2891507" y="1031653"/>
                  <a:pt x="2896936" y="1025271"/>
                </a:cubicBezTo>
                <a:cubicBezTo>
                  <a:pt x="2902366" y="1017461"/>
                  <a:pt x="2914748" y="1008793"/>
                  <a:pt x="2906461" y="1006507"/>
                </a:cubicBezTo>
                <a:cubicBezTo>
                  <a:pt x="2901032" y="1004221"/>
                  <a:pt x="2886745" y="1003935"/>
                  <a:pt x="2891793" y="997268"/>
                </a:cubicBezTo>
                <a:lnTo>
                  <a:pt x="2894079" y="994315"/>
                </a:lnTo>
                <a:cubicBezTo>
                  <a:pt x="2897984" y="989171"/>
                  <a:pt x="2893031" y="981837"/>
                  <a:pt x="2893317" y="982790"/>
                </a:cubicBezTo>
                <a:cubicBezTo>
                  <a:pt x="2887507" y="972598"/>
                  <a:pt x="2913986" y="989457"/>
                  <a:pt x="2922940" y="981647"/>
                </a:cubicBezTo>
                <a:cubicBezTo>
                  <a:pt x="2926940" y="977170"/>
                  <a:pt x="2943037" y="967454"/>
                  <a:pt x="2940275" y="959834"/>
                </a:cubicBezTo>
                <a:cubicBezTo>
                  <a:pt x="2937989" y="955358"/>
                  <a:pt x="2937989" y="943165"/>
                  <a:pt x="2929988" y="941927"/>
                </a:cubicBezTo>
                <a:cubicBezTo>
                  <a:pt x="2921035" y="939832"/>
                  <a:pt x="2897222" y="946690"/>
                  <a:pt x="2903128" y="940308"/>
                </a:cubicBezTo>
                <a:cubicBezTo>
                  <a:pt x="2907033" y="936879"/>
                  <a:pt x="2912081" y="930688"/>
                  <a:pt x="2919987" y="931259"/>
                </a:cubicBezTo>
                <a:cubicBezTo>
                  <a:pt x="2923225" y="931926"/>
                  <a:pt x="2934655" y="927163"/>
                  <a:pt x="2938751" y="933545"/>
                </a:cubicBezTo>
                <a:cubicBezTo>
                  <a:pt x="2952372" y="954596"/>
                  <a:pt x="2954848" y="955643"/>
                  <a:pt x="2953229" y="962311"/>
                </a:cubicBezTo>
                <a:cubicBezTo>
                  <a:pt x="2948848" y="979646"/>
                  <a:pt x="2941799" y="992505"/>
                  <a:pt x="2947990" y="988695"/>
                </a:cubicBezTo>
                <a:cubicBezTo>
                  <a:pt x="2949038" y="987838"/>
                  <a:pt x="2956182" y="985171"/>
                  <a:pt x="2957896" y="978218"/>
                </a:cubicBezTo>
                <a:cubicBezTo>
                  <a:pt x="2962087" y="961739"/>
                  <a:pt x="2964945" y="955167"/>
                  <a:pt x="2961230" y="949071"/>
                </a:cubicBezTo>
                <a:lnTo>
                  <a:pt x="2938561" y="911924"/>
                </a:lnTo>
                <a:cubicBezTo>
                  <a:pt x="2934274" y="904875"/>
                  <a:pt x="2929416" y="881348"/>
                  <a:pt x="2929702" y="882396"/>
                </a:cubicBezTo>
                <a:cubicBezTo>
                  <a:pt x="2929036" y="879538"/>
                  <a:pt x="2925988" y="876872"/>
                  <a:pt x="2923035" y="876681"/>
                </a:cubicBezTo>
                <a:lnTo>
                  <a:pt x="2917320" y="876110"/>
                </a:lnTo>
                <a:cubicBezTo>
                  <a:pt x="2906461" y="875062"/>
                  <a:pt x="2891888" y="883444"/>
                  <a:pt x="2897508" y="876300"/>
                </a:cubicBezTo>
                <a:cubicBezTo>
                  <a:pt x="2899413" y="873062"/>
                  <a:pt x="2907414" y="867251"/>
                  <a:pt x="2904080" y="860108"/>
                </a:cubicBezTo>
                <a:lnTo>
                  <a:pt x="2898746" y="848773"/>
                </a:lnTo>
                <a:cubicBezTo>
                  <a:pt x="2896174" y="843344"/>
                  <a:pt x="2904175" y="843153"/>
                  <a:pt x="2903223" y="843629"/>
                </a:cubicBezTo>
                <a:cubicBezTo>
                  <a:pt x="2906175" y="843534"/>
                  <a:pt x="2908462" y="840962"/>
                  <a:pt x="2908366" y="838010"/>
                </a:cubicBezTo>
                <a:cubicBezTo>
                  <a:pt x="2907128" y="812387"/>
                  <a:pt x="2907890" y="809149"/>
                  <a:pt x="2902651" y="805148"/>
                </a:cubicBezTo>
                <a:cubicBezTo>
                  <a:pt x="2900841" y="803148"/>
                  <a:pt x="2889888" y="797814"/>
                  <a:pt x="2896841" y="794480"/>
                </a:cubicBezTo>
                <a:lnTo>
                  <a:pt x="2897603" y="794099"/>
                </a:lnTo>
                <a:cubicBezTo>
                  <a:pt x="2900270" y="792861"/>
                  <a:pt x="2901985" y="789432"/>
                  <a:pt x="2901413" y="786479"/>
                </a:cubicBezTo>
                <a:lnTo>
                  <a:pt x="2903318" y="780288"/>
                </a:lnTo>
                <a:cubicBezTo>
                  <a:pt x="2901699" y="772382"/>
                  <a:pt x="2893888" y="760952"/>
                  <a:pt x="2894460" y="761905"/>
                </a:cubicBezTo>
                <a:cubicBezTo>
                  <a:pt x="2892936" y="759333"/>
                  <a:pt x="2892079" y="754856"/>
                  <a:pt x="2892555" y="751904"/>
                </a:cubicBezTo>
                <a:lnTo>
                  <a:pt x="2897508" y="721519"/>
                </a:lnTo>
                <a:cubicBezTo>
                  <a:pt x="2897984" y="718566"/>
                  <a:pt x="2900175" y="714565"/>
                  <a:pt x="2902366" y="712565"/>
                </a:cubicBezTo>
                <a:lnTo>
                  <a:pt x="2920177" y="693420"/>
                </a:lnTo>
                <a:cubicBezTo>
                  <a:pt x="2922368" y="691420"/>
                  <a:pt x="2924749" y="692087"/>
                  <a:pt x="2925416" y="695039"/>
                </a:cubicBezTo>
                <a:lnTo>
                  <a:pt x="2925607" y="700088"/>
                </a:lnTo>
                <a:cubicBezTo>
                  <a:pt x="2926369" y="702945"/>
                  <a:pt x="2923321" y="707231"/>
                  <a:pt x="2921511" y="709613"/>
                </a:cubicBezTo>
                <a:lnTo>
                  <a:pt x="2915605" y="718757"/>
                </a:lnTo>
                <a:cubicBezTo>
                  <a:pt x="2913796" y="721138"/>
                  <a:pt x="2911795" y="725519"/>
                  <a:pt x="2911795" y="728472"/>
                </a:cubicBezTo>
                <a:lnTo>
                  <a:pt x="2911795" y="743140"/>
                </a:lnTo>
                <a:cubicBezTo>
                  <a:pt x="2911700" y="749618"/>
                  <a:pt x="2919511" y="753332"/>
                  <a:pt x="2919034" y="752380"/>
                </a:cubicBezTo>
                <a:cubicBezTo>
                  <a:pt x="2922082" y="756952"/>
                  <a:pt x="2912938" y="759809"/>
                  <a:pt x="2913891" y="758952"/>
                </a:cubicBezTo>
                <a:cubicBezTo>
                  <a:pt x="2911129" y="760000"/>
                  <a:pt x="2909795" y="763048"/>
                  <a:pt x="2910938" y="765810"/>
                </a:cubicBezTo>
                <a:lnTo>
                  <a:pt x="2914272" y="773716"/>
                </a:lnTo>
                <a:cubicBezTo>
                  <a:pt x="2917415" y="781145"/>
                  <a:pt x="2928274" y="777907"/>
                  <a:pt x="2927702" y="785622"/>
                </a:cubicBezTo>
                <a:cubicBezTo>
                  <a:pt x="2927988" y="787241"/>
                  <a:pt x="2925130" y="796004"/>
                  <a:pt x="2932274" y="797433"/>
                </a:cubicBezTo>
                <a:cubicBezTo>
                  <a:pt x="2933227" y="797909"/>
                  <a:pt x="2942942" y="797719"/>
                  <a:pt x="2939894" y="804196"/>
                </a:cubicBezTo>
                <a:cubicBezTo>
                  <a:pt x="2934750" y="815340"/>
                  <a:pt x="2930083" y="824008"/>
                  <a:pt x="2928655" y="831628"/>
                </a:cubicBezTo>
                <a:cubicBezTo>
                  <a:pt x="2924559" y="854202"/>
                  <a:pt x="2921606" y="861727"/>
                  <a:pt x="2928464" y="859727"/>
                </a:cubicBezTo>
                <a:cubicBezTo>
                  <a:pt x="2930274" y="858869"/>
                  <a:pt x="2938370" y="858298"/>
                  <a:pt x="2941228" y="851535"/>
                </a:cubicBezTo>
                <a:cubicBezTo>
                  <a:pt x="2952848" y="823722"/>
                  <a:pt x="2955420" y="814388"/>
                  <a:pt x="2961802" y="810006"/>
                </a:cubicBezTo>
                <a:cubicBezTo>
                  <a:pt x="2962754" y="809149"/>
                  <a:pt x="2969612" y="806006"/>
                  <a:pt x="2971327" y="799052"/>
                </a:cubicBezTo>
                <a:cubicBezTo>
                  <a:pt x="2980947" y="759809"/>
                  <a:pt x="2982947" y="757142"/>
                  <a:pt x="2978756" y="751427"/>
                </a:cubicBezTo>
                <a:cubicBezTo>
                  <a:pt x="2966088" y="734282"/>
                  <a:pt x="2961325" y="729901"/>
                  <a:pt x="2961325" y="722567"/>
                </a:cubicBezTo>
                <a:cubicBezTo>
                  <a:pt x="2962087" y="717423"/>
                  <a:pt x="2958563" y="705040"/>
                  <a:pt x="2966564" y="707041"/>
                </a:cubicBezTo>
                <a:cubicBezTo>
                  <a:pt x="2977041" y="710851"/>
                  <a:pt x="2990757" y="709708"/>
                  <a:pt x="2988567" y="718090"/>
                </a:cubicBezTo>
                <a:cubicBezTo>
                  <a:pt x="2988281" y="721328"/>
                  <a:pt x="2982661" y="733520"/>
                  <a:pt x="2989138" y="737711"/>
                </a:cubicBezTo>
                <a:cubicBezTo>
                  <a:pt x="2990091" y="737997"/>
                  <a:pt x="2995139" y="742950"/>
                  <a:pt x="2998473" y="737330"/>
                </a:cubicBezTo>
                <a:cubicBezTo>
                  <a:pt x="3005236" y="726281"/>
                  <a:pt x="3010379" y="713804"/>
                  <a:pt x="3015999" y="708374"/>
                </a:cubicBezTo>
                <a:cubicBezTo>
                  <a:pt x="3026857" y="697897"/>
                  <a:pt x="3034763" y="692182"/>
                  <a:pt x="3036192" y="684562"/>
                </a:cubicBezTo>
                <a:cubicBezTo>
                  <a:pt x="3045431" y="636080"/>
                  <a:pt x="3048289" y="631698"/>
                  <a:pt x="3040954" y="631127"/>
                </a:cubicBezTo>
                <a:cubicBezTo>
                  <a:pt x="3038382" y="630555"/>
                  <a:pt x="3025048" y="631508"/>
                  <a:pt x="3031048" y="626555"/>
                </a:cubicBezTo>
                <a:cubicBezTo>
                  <a:pt x="3034763" y="624078"/>
                  <a:pt x="3039907" y="617125"/>
                  <a:pt x="3047717" y="617696"/>
                </a:cubicBezTo>
                <a:cubicBezTo>
                  <a:pt x="3068482" y="619220"/>
                  <a:pt x="3076959" y="620459"/>
                  <a:pt x="3084579" y="619125"/>
                </a:cubicBezTo>
                <a:cubicBezTo>
                  <a:pt x="3124965" y="612267"/>
                  <a:pt x="3129727" y="612077"/>
                  <a:pt x="3136681" y="608838"/>
                </a:cubicBezTo>
                <a:cubicBezTo>
                  <a:pt x="3169542" y="593408"/>
                  <a:pt x="3178781" y="590264"/>
                  <a:pt x="3171256" y="589598"/>
                </a:cubicBezTo>
                <a:cubicBezTo>
                  <a:pt x="3156302" y="588074"/>
                  <a:pt x="3146491" y="585788"/>
                  <a:pt x="3139824" y="589598"/>
                </a:cubicBezTo>
                <a:cubicBezTo>
                  <a:pt x="3130680" y="594741"/>
                  <a:pt x="3124393" y="599408"/>
                  <a:pt x="3117345" y="598837"/>
                </a:cubicBezTo>
                <a:cubicBezTo>
                  <a:pt x="3079245" y="595694"/>
                  <a:pt x="3063910" y="596170"/>
                  <a:pt x="3071339" y="592169"/>
                </a:cubicBezTo>
                <a:cubicBezTo>
                  <a:pt x="3104486" y="574834"/>
                  <a:pt x="3107248" y="572453"/>
                  <a:pt x="3114392" y="572167"/>
                </a:cubicBezTo>
                <a:cubicBezTo>
                  <a:pt x="3170018" y="569500"/>
                  <a:pt x="3171923" y="569595"/>
                  <a:pt x="3178495" y="567881"/>
                </a:cubicBezTo>
                <a:cubicBezTo>
                  <a:pt x="3214214" y="558641"/>
                  <a:pt x="3217929" y="558451"/>
                  <a:pt x="3223930" y="554260"/>
                </a:cubicBezTo>
                <a:cubicBezTo>
                  <a:pt x="3229549" y="551402"/>
                  <a:pt x="3237931" y="541020"/>
                  <a:pt x="3241265" y="548640"/>
                </a:cubicBezTo>
                <a:cubicBezTo>
                  <a:pt x="3242027" y="549593"/>
                  <a:pt x="3243551" y="557784"/>
                  <a:pt x="3250314" y="555974"/>
                </a:cubicBezTo>
                <a:cubicBezTo>
                  <a:pt x="3286890" y="545878"/>
                  <a:pt x="3292986" y="546259"/>
                  <a:pt x="3292129" y="538925"/>
                </a:cubicBezTo>
                <a:cubicBezTo>
                  <a:pt x="3290890" y="528447"/>
                  <a:pt x="3291176" y="520446"/>
                  <a:pt x="3285652" y="515874"/>
                </a:cubicBezTo>
                <a:cubicBezTo>
                  <a:pt x="3283937" y="514922"/>
                  <a:pt x="3276603" y="505968"/>
                  <a:pt x="3274888" y="513302"/>
                </a:cubicBezTo>
                <a:cubicBezTo>
                  <a:pt x="3274888" y="514255"/>
                  <a:pt x="3272698" y="519589"/>
                  <a:pt x="3275555" y="525399"/>
                </a:cubicBezTo>
                <a:cubicBezTo>
                  <a:pt x="3275746" y="526352"/>
                  <a:pt x="3281175" y="533305"/>
                  <a:pt x="3274412" y="534924"/>
                </a:cubicBezTo>
                <a:cubicBezTo>
                  <a:pt x="3267935" y="535591"/>
                  <a:pt x="3257743" y="541687"/>
                  <a:pt x="3253933" y="534257"/>
                </a:cubicBezTo>
                <a:cubicBezTo>
                  <a:pt x="3240979" y="509111"/>
                  <a:pt x="3239741" y="502920"/>
                  <a:pt x="3232693" y="504444"/>
                </a:cubicBezTo>
                <a:cubicBezTo>
                  <a:pt x="3231740" y="504444"/>
                  <a:pt x="3223739" y="507778"/>
                  <a:pt x="3223739" y="500920"/>
                </a:cubicBezTo>
                <a:cubicBezTo>
                  <a:pt x="3224025" y="499205"/>
                  <a:pt x="3222215" y="490728"/>
                  <a:pt x="3228216" y="486632"/>
                </a:cubicBezTo>
                <a:cubicBezTo>
                  <a:pt x="3237074" y="479203"/>
                  <a:pt x="3249838" y="475774"/>
                  <a:pt x="3245361" y="468344"/>
                </a:cubicBezTo>
                <a:cubicBezTo>
                  <a:pt x="3243361" y="463772"/>
                  <a:pt x="3236026" y="457295"/>
                  <a:pt x="3240313" y="450533"/>
                </a:cubicBezTo>
                <a:cubicBezTo>
                  <a:pt x="3271840" y="399955"/>
                  <a:pt x="3271745" y="397383"/>
                  <a:pt x="3278984" y="395383"/>
                </a:cubicBezTo>
                <a:cubicBezTo>
                  <a:pt x="3301558" y="389192"/>
                  <a:pt x="3307083" y="388620"/>
                  <a:pt x="3312036" y="383381"/>
                </a:cubicBezTo>
                <a:cubicBezTo>
                  <a:pt x="3314989" y="381000"/>
                  <a:pt x="3320418" y="371856"/>
                  <a:pt x="3326133" y="375380"/>
                </a:cubicBezTo>
                <a:cubicBezTo>
                  <a:pt x="3331276" y="378524"/>
                  <a:pt x="3339087" y="370618"/>
                  <a:pt x="3338134" y="371094"/>
                </a:cubicBezTo>
                <a:cubicBezTo>
                  <a:pt x="3340420" y="369189"/>
                  <a:pt x="3342325" y="365189"/>
                  <a:pt x="3342325" y="362236"/>
                </a:cubicBezTo>
                <a:lnTo>
                  <a:pt x="3342325" y="352997"/>
                </a:lnTo>
                <a:cubicBezTo>
                  <a:pt x="3342325" y="350044"/>
                  <a:pt x="3344707" y="346996"/>
                  <a:pt x="3347564" y="346234"/>
                </a:cubicBezTo>
                <a:lnTo>
                  <a:pt x="3353374" y="344710"/>
                </a:lnTo>
                <a:cubicBezTo>
                  <a:pt x="3356232" y="343948"/>
                  <a:pt x="3359947" y="345281"/>
                  <a:pt x="3361661" y="347758"/>
                </a:cubicBezTo>
                <a:lnTo>
                  <a:pt x="3366995" y="355473"/>
                </a:lnTo>
                <a:cubicBezTo>
                  <a:pt x="3371377" y="361855"/>
                  <a:pt x="3373853" y="353854"/>
                  <a:pt x="3381282" y="356902"/>
                </a:cubicBezTo>
                <a:lnTo>
                  <a:pt x="3382807" y="357569"/>
                </a:lnTo>
                <a:cubicBezTo>
                  <a:pt x="3393284" y="361855"/>
                  <a:pt x="3389188" y="337471"/>
                  <a:pt x="3398808" y="343186"/>
                </a:cubicBezTo>
                <a:cubicBezTo>
                  <a:pt x="3399761" y="343472"/>
                  <a:pt x="3405571" y="348996"/>
                  <a:pt x="3409572" y="343376"/>
                </a:cubicBezTo>
                <a:cubicBezTo>
                  <a:pt x="3412048" y="340900"/>
                  <a:pt x="3415477" y="331184"/>
                  <a:pt x="3422240" y="334899"/>
                </a:cubicBezTo>
                <a:cubicBezTo>
                  <a:pt x="3424336" y="335566"/>
                  <a:pt x="3431479" y="342233"/>
                  <a:pt x="3435480" y="335947"/>
                </a:cubicBezTo>
                <a:cubicBezTo>
                  <a:pt x="3436908" y="334423"/>
                  <a:pt x="3439861" y="325565"/>
                  <a:pt x="3446910" y="327279"/>
                </a:cubicBezTo>
                <a:cubicBezTo>
                  <a:pt x="3449767" y="327946"/>
                  <a:pt x="3453768" y="326803"/>
                  <a:pt x="3455863" y="324707"/>
                </a:cubicBezTo>
                <a:cubicBezTo>
                  <a:pt x="3461674" y="317468"/>
                  <a:pt x="3474437" y="310420"/>
                  <a:pt x="3467007" y="306134"/>
                </a:cubicBezTo>
                <a:close/>
                <a:moveTo>
                  <a:pt x="745239" y="606266"/>
                </a:moveTo>
                <a:cubicBezTo>
                  <a:pt x="741619" y="608648"/>
                  <a:pt x="737142" y="608076"/>
                  <a:pt x="730856" y="608076"/>
                </a:cubicBezTo>
                <a:cubicBezTo>
                  <a:pt x="726665" y="608076"/>
                  <a:pt x="726665" y="606362"/>
                  <a:pt x="714663" y="584930"/>
                </a:cubicBezTo>
                <a:cubicBezTo>
                  <a:pt x="712568" y="581120"/>
                  <a:pt x="708186" y="579977"/>
                  <a:pt x="707424" y="579501"/>
                </a:cubicBezTo>
                <a:cubicBezTo>
                  <a:pt x="703519" y="577787"/>
                  <a:pt x="704091" y="575691"/>
                  <a:pt x="701043" y="552450"/>
                </a:cubicBezTo>
                <a:cubicBezTo>
                  <a:pt x="700471" y="548164"/>
                  <a:pt x="717616" y="547211"/>
                  <a:pt x="717616" y="547211"/>
                </a:cubicBezTo>
                <a:cubicBezTo>
                  <a:pt x="722665" y="546640"/>
                  <a:pt x="723712" y="553593"/>
                  <a:pt x="726570" y="557879"/>
                </a:cubicBezTo>
                <a:cubicBezTo>
                  <a:pt x="728951" y="562451"/>
                  <a:pt x="734857" y="557689"/>
                  <a:pt x="739428" y="556641"/>
                </a:cubicBezTo>
                <a:cubicBezTo>
                  <a:pt x="742953" y="555403"/>
                  <a:pt x="745429" y="556451"/>
                  <a:pt x="751430" y="558356"/>
                </a:cubicBezTo>
                <a:cubicBezTo>
                  <a:pt x="756383" y="559880"/>
                  <a:pt x="753049" y="566642"/>
                  <a:pt x="753049" y="571976"/>
                </a:cubicBezTo>
                <a:cubicBezTo>
                  <a:pt x="752573" y="575977"/>
                  <a:pt x="754288" y="577691"/>
                  <a:pt x="763336" y="590360"/>
                </a:cubicBezTo>
                <a:cubicBezTo>
                  <a:pt x="765908" y="593979"/>
                  <a:pt x="762193" y="595027"/>
                  <a:pt x="745334" y="606171"/>
                </a:cubicBezTo>
                <a:close/>
                <a:moveTo>
                  <a:pt x="1637731" y="1496187"/>
                </a:moveTo>
                <a:cubicBezTo>
                  <a:pt x="1646113" y="1494758"/>
                  <a:pt x="1637826" y="1507712"/>
                  <a:pt x="1636112" y="1515237"/>
                </a:cubicBezTo>
                <a:cubicBezTo>
                  <a:pt x="1633255" y="1523333"/>
                  <a:pt x="1623634" y="1503617"/>
                  <a:pt x="1623634" y="1503617"/>
                </a:cubicBezTo>
                <a:cubicBezTo>
                  <a:pt x="1619253" y="1496663"/>
                  <a:pt x="1632588" y="1497806"/>
                  <a:pt x="1637731" y="1496187"/>
                </a:cubicBezTo>
                <a:close/>
                <a:moveTo>
                  <a:pt x="1643922" y="1588103"/>
                </a:moveTo>
                <a:lnTo>
                  <a:pt x="1640398" y="1590389"/>
                </a:lnTo>
                <a:cubicBezTo>
                  <a:pt x="1637922" y="1592009"/>
                  <a:pt x="1635160" y="1591056"/>
                  <a:pt x="1634302" y="1588199"/>
                </a:cubicBezTo>
                <a:cubicBezTo>
                  <a:pt x="1629921" y="1574006"/>
                  <a:pt x="1627635" y="1567148"/>
                  <a:pt x="1626397" y="1559814"/>
                </a:cubicBezTo>
                <a:cubicBezTo>
                  <a:pt x="1626111" y="1554004"/>
                  <a:pt x="1621443" y="1544955"/>
                  <a:pt x="1628016" y="1540288"/>
                </a:cubicBezTo>
                <a:cubicBezTo>
                  <a:pt x="1628016" y="1540288"/>
                  <a:pt x="1636207" y="1532477"/>
                  <a:pt x="1637446" y="1539526"/>
                </a:cubicBezTo>
                <a:cubicBezTo>
                  <a:pt x="1639255" y="1550099"/>
                  <a:pt x="1640398" y="1558290"/>
                  <a:pt x="1642494" y="1565148"/>
                </a:cubicBezTo>
                <a:cubicBezTo>
                  <a:pt x="1644018" y="1573625"/>
                  <a:pt x="1651066" y="1583436"/>
                  <a:pt x="1643922" y="1588008"/>
                </a:cubicBezTo>
                <a:close/>
                <a:moveTo>
                  <a:pt x="1649923" y="1484376"/>
                </a:moveTo>
                <a:cubicBezTo>
                  <a:pt x="1645351" y="1490377"/>
                  <a:pt x="1638398" y="1482852"/>
                  <a:pt x="1635826" y="1481804"/>
                </a:cubicBezTo>
                <a:cubicBezTo>
                  <a:pt x="1628683" y="1477232"/>
                  <a:pt x="1641446" y="1474280"/>
                  <a:pt x="1647542" y="1465898"/>
                </a:cubicBezTo>
                <a:cubicBezTo>
                  <a:pt x="1650114" y="1462373"/>
                  <a:pt x="1650209" y="1459802"/>
                  <a:pt x="1651162" y="1456277"/>
                </a:cubicBezTo>
                <a:cubicBezTo>
                  <a:pt x="1652209" y="1448562"/>
                  <a:pt x="1661830" y="1455515"/>
                  <a:pt x="1664973" y="1456182"/>
                </a:cubicBezTo>
                <a:cubicBezTo>
                  <a:pt x="1671735" y="1458849"/>
                  <a:pt x="1665830" y="1463612"/>
                  <a:pt x="1649828" y="1484471"/>
                </a:cubicBezTo>
                <a:close/>
                <a:moveTo>
                  <a:pt x="1723361" y="1424083"/>
                </a:moveTo>
                <a:cubicBezTo>
                  <a:pt x="1711169" y="1431131"/>
                  <a:pt x="1702406" y="1435989"/>
                  <a:pt x="1695929" y="1440275"/>
                </a:cubicBezTo>
                <a:cubicBezTo>
                  <a:pt x="1679546" y="1450943"/>
                  <a:pt x="1673164" y="1457039"/>
                  <a:pt x="1673164" y="1449800"/>
                </a:cubicBezTo>
                <a:cubicBezTo>
                  <a:pt x="1673831" y="1444657"/>
                  <a:pt x="1670688" y="1434656"/>
                  <a:pt x="1678308" y="1432084"/>
                </a:cubicBezTo>
                <a:cubicBezTo>
                  <a:pt x="1685261" y="1429703"/>
                  <a:pt x="1691357" y="1427988"/>
                  <a:pt x="1696881" y="1424083"/>
                </a:cubicBezTo>
                <a:cubicBezTo>
                  <a:pt x="1702216" y="1421130"/>
                  <a:pt x="1708216" y="1413129"/>
                  <a:pt x="1715741" y="1416272"/>
                </a:cubicBezTo>
                <a:cubicBezTo>
                  <a:pt x="1715741" y="1416272"/>
                  <a:pt x="1730029" y="1420273"/>
                  <a:pt x="1723361" y="1424083"/>
                </a:cubicBezTo>
                <a:close/>
                <a:moveTo>
                  <a:pt x="1792989" y="1374267"/>
                </a:moveTo>
                <a:cubicBezTo>
                  <a:pt x="1787655" y="1378839"/>
                  <a:pt x="1784131" y="1371124"/>
                  <a:pt x="1783178" y="1370362"/>
                </a:cubicBezTo>
                <a:cubicBezTo>
                  <a:pt x="1777939" y="1363599"/>
                  <a:pt x="1790322" y="1358741"/>
                  <a:pt x="1796704" y="1352074"/>
                </a:cubicBezTo>
                <a:cubicBezTo>
                  <a:pt x="1802418" y="1347407"/>
                  <a:pt x="1802323" y="1360265"/>
                  <a:pt x="1802323" y="1360265"/>
                </a:cubicBezTo>
                <a:cubicBezTo>
                  <a:pt x="1803276" y="1367885"/>
                  <a:pt x="1795084" y="1371791"/>
                  <a:pt x="1792989" y="1374267"/>
                </a:cubicBezTo>
                <a:close/>
                <a:moveTo>
                  <a:pt x="2083597" y="1330071"/>
                </a:moveTo>
                <a:cubicBezTo>
                  <a:pt x="2078072" y="1333976"/>
                  <a:pt x="2071500" y="1333214"/>
                  <a:pt x="2064547" y="1333214"/>
                </a:cubicBezTo>
                <a:cubicBezTo>
                  <a:pt x="2061594" y="1333214"/>
                  <a:pt x="2058070" y="1331024"/>
                  <a:pt x="2056831" y="1328357"/>
                </a:cubicBezTo>
                <a:lnTo>
                  <a:pt x="2056546" y="1327785"/>
                </a:lnTo>
                <a:cubicBezTo>
                  <a:pt x="2053402" y="1321308"/>
                  <a:pt x="2060070" y="1316355"/>
                  <a:pt x="2060641" y="1315117"/>
                </a:cubicBezTo>
                <a:cubicBezTo>
                  <a:pt x="2065023" y="1309878"/>
                  <a:pt x="2073024" y="1310926"/>
                  <a:pt x="2073024" y="1310926"/>
                </a:cubicBezTo>
                <a:cubicBezTo>
                  <a:pt x="2079787" y="1310926"/>
                  <a:pt x="2084835" y="1315212"/>
                  <a:pt x="2090645" y="1319022"/>
                </a:cubicBezTo>
                <a:cubicBezTo>
                  <a:pt x="2097122" y="1323308"/>
                  <a:pt x="2085978" y="1327785"/>
                  <a:pt x="2083692" y="1330071"/>
                </a:cubicBezTo>
                <a:close/>
                <a:moveTo>
                  <a:pt x="2630808" y="1534478"/>
                </a:moveTo>
                <a:cubicBezTo>
                  <a:pt x="2631951" y="1532382"/>
                  <a:pt x="2634808" y="1530572"/>
                  <a:pt x="2637190" y="1530572"/>
                </a:cubicBezTo>
                <a:lnTo>
                  <a:pt x="2638714" y="1530572"/>
                </a:lnTo>
                <a:cubicBezTo>
                  <a:pt x="2645381" y="1530572"/>
                  <a:pt x="2645572" y="1538954"/>
                  <a:pt x="2647191" y="1542098"/>
                </a:cubicBezTo>
                <a:cubicBezTo>
                  <a:pt x="2649382" y="1548289"/>
                  <a:pt x="2643762" y="1553528"/>
                  <a:pt x="2641666" y="1558100"/>
                </a:cubicBezTo>
                <a:cubicBezTo>
                  <a:pt x="2638237" y="1564005"/>
                  <a:pt x="2632808" y="1553909"/>
                  <a:pt x="2627569" y="1549622"/>
                </a:cubicBezTo>
                <a:cubicBezTo>
                  <a:pt x="2622997" y="1544955"/>
                  <a:pt x="2629189" y="1538764"/>
                  <a:pt x="2630713" y="1534478"/>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2" name="Graphic 12">
            <a:extLst>
              <a:ext uri="{FF2B5EF4-FFF2-40B4-BE49-F238E27FC236}">
                <a16:creationId xmlns:a16="http://schemas.microsoft.com/office/drawing/2014/main" id="{7D000060-4855-E479-AB56-E5B8DA834F5B}"/>
              </a:ext>
            </a:extLst>
          </p:cNvPr>
          <p:cNvSpPr/>
          <p:nvPr/>
        </p:nvSpPr>
        <p:spPr>
          <a:xfrm>
            <a:off x="1356955" y="3149347"/>
            <a:ext cx="1821197" cy="1163002"/>
          </a:xfrm>
          <a:custGeom>
            <a:avLst/>
            <a:gdLst>
              <a:gd name="connsiteX0" fmla="*/ 1177290 w 1821197"/>
              <a:gd name="connsiteY0" fmla="*/ 451104 h 1163002"/>
              <a:gd name="connsiteX1" fmla="*/ 1168241 w 1821197"/>
              <a:gd name="connsiteY1" fmla="*/ 441674 h 1163002"/>
              <a:gd name="connsiteX2" fmla="*/ 1136904 w 1821197"/>
              <a:gd name="connsiteY2" fmla="*/ 441674 h 1163002"/>
              <a:gd name="connsiteX3" fmla="*/ 1114235 w 1821197"/>
              <a:gd name="connsiteY3" fmla="*/ 424148 h 1163002"/>
              <a:gd name="connsiteX4" fmla="*/ 1082897 w 1821197"/>
              <a:gd name="connsiteY4" fmla="*/ 419005 h 1163002"/>
              <a:gd name="connsiteX5" fmla="*/ 1074992 w 1821197"/>
              <a:gd name="connsiteY5" fmla="*/ 390430 h 1163002"/>
              <a:gd name="connsiteX6" fmla="*/ 1060704 w 1821197"/>
              <a:gd name="connsiteY6" fmla="*/ 380143 h 1163002"/>
              <a:gd name="connsiteX7" fmla="*/ 1058323 w 1821197"/>
              <a:gd name="connsiteY7" fmla="*/ 338423 h 1163002"/>
              <a:gd name="connsiteX8" fmla="*/ 1040511 w 1821197"/>
              <a:gd name="connsiteY8" fmla="*/ 333280 h 1163002"/>
              <a:gd name="connsiteX9" fmla="*/ 1027367 w 1821197"/>
              <a:gd name="connsiteY9" fmla="*/ 302705 h 1163002"/>
              <a:gd name="connsiteX10" fmla="*/ 1010317 w 1821197"/>
              <a:gd name="connsiteY10" fmla="*/ 294323 h 1163002"/>
              <a:gd name="connsiteX11" fmla="*/ 982028 w 1821197"/>
              <a:gd name="connsiteY11" fmla="*/ 235934 h 1163002"/>
              <a:gd name="connsiteX12" fmla="*/ 953643 w 1821197"/>
              <a:gd name="connsiteY12" fmla="*/ 212598 h 1163002"/>
              <a:gd name="connsiteX13" fmla="*/ 950309 w 1821197"/>
              <a:gd name="connsiteY13" fmla="*/ 198406 h 1163002"/>
              <a:gd name="connsiteX14" fmla="*/ 940975 w 1821197"/>
              <a:gd name="connsiteY14" fmla="*/ 192786 h 1163002"/>
              <a:gd name="connsiteX15" fmla="*/ 926306 w 1821197"/>
              <a:gd name="connsiteY15" fmla="*/ 199930 h 1163002"/>
              <a:gd name="connsiteX16" fmla="*/ 893255 w 1821197"/>
              <a:gd name="connsiteY16" fmla="*/ 192215 h 1163002"/>
              <a:gd name="connsiteX17" fmla="*/ 869442 w 1821197"/>
              <a:gd name="connsiteY17" fmla="*/ 202406 h 1163002"/>
              <a:gd name="connsiteX18" fmla="*/ 838200 w 1821197"/>
              <a:gd name="connsiteY18" fmla="*/ 251460 h 1163002"/>
              <a:gd name="connsiteX19" fmla="*/ 754856 w 1821197"/>
              <a:gd name="connsiteY19" fmla="*/ 207836 h 1163002"/>
              <a:gd name="connsiteX20" fmla="*/ 750094 w 1821197"/>
              <a:gd name="connsiteY20" fmla="*/ 174498 h 1163002"/>
              <a:gd name="connsiteX21" fmla="*/ 729901 w 1821197"/>
              <a:gd name="connsiteY21" fmla="*/ 139541 h 1163002"/>
              <a:gd name="connsiteX22" fmla="*/ 706755 w 1821197"/>
              <a:gd name="connsiteY22" fmla="*/ 129350 h 1163002"/>
              <a:gd name="connsiteX23" fmla="*/ 677513 w 1821197"/>
              <a:gd name="connsiteY23" fmla="*/ 96679 h 1163002"/>
              <a:gd name="connsiteX24" fmla="*/ 656463 w 1821197"/>
              <a:gd name="connsiteY24" fmla="*/ 91535 h 1163002"/>
              <a:gd name="connsiteX25" fmla="*/ 638175 w 1821197"/>
              <a:gd name="connsiteY25" fmla="*/ 67437 h 1163002"/>
              <a:gd name="connsiteX26" fmla="*/ 536067 w 1821197"/>
              <a:gd name="connsiteY26" fmla="*/ 67437 h 1163002"/>
              <a:gd name="connsiteX27" fmla="*/ 536067 w 1821197"/>
              <a:gd name="connsiteY27" fmla="*/ 97155 h 1163002"/>
              <a:gd name="connsiteX28" fmla="*/ 365189 w 1821197"/>
              <a:gd name="connsiteY28" fmla="*/ 97155 h 1163002"/>
              <a:gd name="connsiteX29" fmla="*/ 138017 w 1821197"/>
              <a:gd name="connsiteY29" fmla="*/ 17907 h 1163002"/>
              <a:gd name="connsiteX30" fmla="*/ 140780 w 1821197"/>
              <a:gd name="connsiteY30" fmla="*/ 0 h 1163002"/>
              <a:gd name="connsiteX31" fmla="*/ 0 w 1821197"/>
              <a:gd name="connsiteY31" fmla="*/ 15335 h 1163002"/>
              <a:gd name="connsiteX32" fmla="*/ 0 w 1821197"/>
              <a:gd name="connsiteY32" fmla="*/ 15335 h 1163002"/>
              <a:gd name="connsiteX33" fmla="*/ 6668 w 1821197"/>
              <a:gd name="connsiteY33" fmla="*/ 25813 h 1163002"/>
              <a:gd name="connsiteX34" fmla="*/ 12954 w 1821197"/>
              <a:gd name="connsiteY34" fmla="*/ 34290 h 1163002"/>
              <a:gd name="connsiteX35" fmla="*/ 15716 w 1821197"/>
              <a:gd name="connsiteY35" fmla="*/ 45815 h 1163002"/>
              <a:gd name="connsiteX36" fmla="*/ 27337 w 1821197"/>
              <a:gd name="connsiteY36" fmla="*/ 59436 h 1163002"/>
              <a:gd name="connsiteX37" fmla="*/ 30861 w 1821197"/>
              <a:gd name="connsiteY37" fmla="*/ 78962 h 1163002"/>
              <a:gd name="connsiteX38" fmla="*/ 46387 w 1821197"/>
              <a:gd name="connsiteY38" fmla="*/ 102870 h 1163002"/>
              <a:gd name="connsiteX39" fmla="*/ 50578 w 1821197"/>
              <a:gd name="connsiteY39" fmla="*/ 113348 h 1163002"/>
              <a:gd name="connsiteX40" fmla="*/ 62484 w 1821197"/>
              <a:gd name="connsiteY40" fmla="*/ 128397 h 1163002"/>
              <a:gd name="connsiteX41" fmla="*/ 67056 w 1821197"/>
              <a:gd name="connsiteY41" fmla="*/ 147257 h 1163002"/>
              <a:gd name="connsiteX42" fmla="*/ 77915 w 1821197"/>
              <a:gd name="connsiteY42" fmla="*/ 158591 h 1163002"/>
              <a:gd name="connsiteX43" fmla="*/ 89821 w 1821197"/>
              <a:gd name="connsiteY43" fmla="*/ 195263 h 1163002"/>
              <a:gd name="connsiteX44" fmla="*/ 132302 w 1821197"/>
              <a:gd name="connsiteY44" fmla="*/ 220885 h 1163002"/>
              <a:gd name="connsiteX45" fmla="*/ 182785 w 1821197"/>
              <a:gd name="connsiteY45" fmla="*/ 278987 h 1163002"/>
              <a:gd name="connsiteX46" fmla="*/ 179261 w 1821197"/>
              <a:gd name="connsiteY46" fmla="*/ 300323 h 1163002"/>
              <a:gd name="connsiteX47" fmla="*/ 177260 w 1821197"/>
              <a:gd name="connsiteY47" fmla="*/ 310991 h 1163002"/>
              <a:gd name="connsiteX48" fmla="*/ 190595 w 1821197"/>
              <a:gd name="connsiteY48" fmla="*/ 325469 h 1163002"/>
              <a:gd name="connsiteX49" fmla="*/ 167069 w 1821197"/>
              <a:gd name="connsiteY49" fmla="*/ 323374 h 1163002"/>
              <a:gd name="connsiteX50" fmla="*/ 159925 w 1821197"/>
              <a:gd name="connsiteY50" fmla="*/ 316801 h 1163002"/>
              <a:gd name="connsiteX51" fmla="*/ 146209 w 1821197"/>
              <a:gd name="connsiteY51" fmla="*/ 320040 h 1163002"/>
              <a:gd name="connsiteX52" fmla="*/ 121444 w 1821197"/>
              <a:gd name="connsiteY52" fmla="*/ 317659 h 1163002"/>
              <a:gd name="connsiteX53" fmla="*/ 154781 w 1821197"/>
              <a:gd name="connsiteY53" fmla="*/ 350044 h 1163002"/>
              <a:gd name="connsiteX54" fmla="*/ 154781 w 1821197"/>
              <a:gd name="connsiteY54" fmla="*/ 352044 h 1163002"/>
              <a:gd name="connsiteX55" fmla="*/ 197644 w 1821197"/>
              <a:gd name="connsiteY55" fmla="*/ 375666 h 1163002"/>
              <a:gd name="connsiteX56" fmla="*/ 213551 w 1821197"/>
              <a:gd name="connsiteY56" fmla="*/ 387382 h 1163002"/>
              <a:gd name="connsiteX57" fmla="*/ 224219 w 1821197"/>
              <a:gd name="connsiteY57" fmla="*/ 383858 h 1163002"/>
              <a:gd name="connsiteX58" fmla="*/ 286036 w 1821197"/>
              <a:gd name="connsiteY58" fmla="*/ 427292 h 1163002"/>
              <a:gd name="connsiteX59" fmla="*/ 301276 w 1821197"/>
              <a:gd name="connsiteY59" fmla="*/ 458057 h 1163002"/>
              <a:gd name="connsiteX60" fmla="*/ 298418 w 1821197"/>
              <a:gd name="connsiteY60" fmla="*/ 488061 h 1163002"/>
              <a:gd name="connsiteX61" fmla="*/ 291370 w 1821197"/>
              <a:gd name="connsiteY61" fmla="*/ 509207 h 1163002"/>
              <a:gd name="connsiteX62" fmla="*/ 311849 w 1821197"/>
              <a:gd name="connsiteY62" fmla="*/ 517017 h 1163002"/>
              <a:gd name="connsiteX63" fmla="*/ 322517 w 1821197"/>
              <a:gd name="connsiteY63" fmla="*/ 525494 h 1163002"/>
              <a:gd name="connsiteX64" fmla="*/ 341852 w 1821197"/>
              <a:gd name="connsiteY64" fmla="*/ 541687 h 1163002"/>
              <a:gd name="connsiteX65" fmla="*/ 360998 w 1821197"/>
              <a:gd name="connsiteY65" fmla="*/ 552641 h 1163002"/>
              <a:gd name="connsiteX66" fmla="*/ 386334 w 1821197"/>
              <a:gd name="connsiteY66" fmla="*/ 579025 h 1163002"/>
              <a:gd name="connsiteX67" fmla="*/ 412433 w 1821197"/>
              <a:gd name="connsiteY67" fmla="*/ 599504 h 1163002"/>
              <a:gd name="connsiteX68" fmla="*/ 422148 w 1821197"/>
              <a:gd name="connsiteY68" fmla="*/ 628650 h 1163002"/>
              <a:gd name="connsiteX69" fmla="*/ 434245 w 1821197"/>
              <a:gd name="connsiteY69" fmla="*/ 631984 h 1163002"/>
              <a:gd name="connsiteX70" fmla="*/ 456724 w 1821197"/>
              <a:gd name="connsiteY70" fmla="*/ 610743 h 1163002"/>
              <a:gd name="connsiteX71" fmla="*/ 454628 w 1821197"/>
              <a:gd name="connsiteY71" fmla="*/ 588169 h 1163002"/>
              <a:gd name="connsiteX72" fmla="*/ 440531 w 1821197"/>
              <a:gd name="connsiteY72" fmla="*/ 575024 h 1163002"/>
              <a:gd name="connsiteX73" fmla="*/ 437769 w 1821197"/>
              <a:gd name="connsiteY73" fmla="*/ 566261 h 1163002"/>
              <a:gd name="connsiteX74" fmla="*/ 423196 w 1821197"/>
              <a:gd name="connsiteY74" fmla="*/ 555308 h 1163002"/>
              <a:gd name="connsiteX75" fmla="*/ 404527 w 1821197"/>
              <a:gd name="connsiteY75" fmla="*/ 531305 h 1163002"/>
              <a:gd name="connsiteX76" fmla="*/ 399193 w 1821197"/>
              <a:gd name="connsiteY76" fmla="*/ 548640 h 1163002"/>
              <a:gd name="connsiteX77" fmla="*/ 384239 w 1821197"/>
              <a:gd name="connsiteY77" fmla="*/ 536639 h 1163002"/>
              <a:gd name="connsiteX78" fmla="*/ 383762 w 1821197"/>
              <a:gd name="connsiteY78" fmla="*/ 513874 h 1163002"/>
              <a:gd name="connsiteX79" fmla="*/ 385477 w 1821197"/>
              <a:gd name="connsiteY79" fmla="*/ 497205 h 1163002"/>
              <a:gd name="connsiteX80" fmla="*/ 369189 w 1821197"/>
              <a:gd name="connsiteY80" fmla="*/ 486347 h 1163002"/>
              <a:gd name="connsiteX81" fmla="*/ 360236 w 1821197"/>
              <a:gd name="connsiteY81" fmla="*/ 465392 h 1163002"/>
              <a:gd name="connsiteX82" fmla="*/ 344424 w 1821197"/>
              <a:gd name="connsiteY82" fmla="*/ 442055 h 1163002"/>
              <a:gd name="connsiteX83" fmla="*/ 341948 w 1821197"/>
              <a:gd name="connsiteY83" fmla="*/ 413766 h 1163002"/>
              <a:gd name="connsiteX84" fmla="*/ 329089 w 1821197"/>
              <a:gd name="connsiteY84" fmla="*/ 387477 h 1163002"/>
              <a:gd name="connsiteX85" fmla="*/ 319945 w 1821197"/>
              <a:gd name="connsiteY85" fmla="*/ 387191 h 1163002"/>
              <a:gd name="connsiteX86" fmla="*/ 314325 w 1821197"/>
              <a:gd name="connsiteY86" fmla="*/ 391192 h 1163002"/>
              <a:gd name="connsiteX87" fmla="*/ 303752 w 1821197"/>
              <a:gd name="connsiteY87" fmla="*/ 369094 h 1163002"/>
              <a:gd name="connsiteX88" fmla="*/ 296799 w 1821197"/>
              <a:gd name="connsiteY88" fmla="*/ 357854 h 1163002"/>
              <a:gd name="connsiteX89" fmla="*/ 278987 w 1821197"/>
              <a:gd name="connsiteY89" fmla="*/ 331184 h 1163002"/>
              <a:gd name="connsiteX90" fmla="*/ 259080 w 1821197"/>
              <a:gd name="connsiteY90" fmla="*/ 313373 h 1163002"/>
              <a:gd name="connsiteX91" fmla="*/ 253937 w 1821197"/>
              <a:gd name="connsiteY91" fmla="*/ 286703 h 1163002"/>
              <a:gd name="connsiteX92" fmla="*/ 243935 w 1821197"/>
              <a:gd name="connsiteY92" fmla="*/ 277273 h 1163002"/>
              <a:gd name="connsiteX93" fmla="*/ 237077 w 1821197"/>
              <a:gd name="connsiteY93" fmla="*/ 269939 h 1163002"/>
              <a:gd name="connsiteX94" fmla="*/ 232791 w 1821197"/>
              <a:gd name="connsiteY94" fmla="*/ 258509 h 1163002"/>
              <a:gd name="connsiteX95" fmla="*/ 221075 w 1821197"/>
              <a:gd name="connsiteY95" fmla="*/ 252317 h 1163002"/>
              <a:gd name="connsiteX96" fmla="*/ 214979 w 1821197"/>
              <a:gd name="connsiteY96" fmla="*/ 243650 h 1163002"/>
              <a:gd name="connsiteX97" fmla="*/ 210788 w 1821197"/>
              <a:gd name="connsiteY97" fmla="*/ 234315 h 1163002"/>
              <a:gd name="connsiteX98" fmla="*/ 174784 w 1821197"/>
              <a:gd name="connsiteY98" fmla="*/ 196310 h 1163002"/>
              <a:gd name="connsiteX99" fmla="*/ 158401 w 1821197"/>
              <a:gd name="connsiteY99" fmla="*/ 184214 h 1163002"/>
              <a:gd name="connsiteX100" fmla="*/ 146876 w 1821197"/>
              <a:gd name="connsiteY100" fmla="*/ 159639 h 1163002"/>
              <a:gd name="connsiteX101" fmla="*/ 146399 w 1821197"/>
              <a:gd name="connsiteY101" fmla="*/ 136208 h 1163002"/>
              <a:gd name="connsiteX102" fmla="*/ 137446 w 1821197"/>
              <a:gd name="connsiteY102" fmla="*/ 108871 h 1163002"/>
              <a:gd name="connsiteX103" fmla="*/ 132302 w 1821197"/>
              <a:gd name="connsiteY103" fmla="*/ 98012 h 1163002"/>
              <a:gd name="connsiteX104" fmla="*/ 140684 w 1821197"/>
              <a:gd name="connsiteY104" fmla="*/ 63341 h 1163002"/>
              <a:gd name="connsiteX105" fmla="*/ 153162 w 1821197"/>
              <a:gd name="connsiteY105" fmla="*/ 62960 h 1163002"/>
              <a:gd name="connsiteX106" fmla="*/ 183166 w 1821197"/>
              <a:gd name="connsiteY106" fmla="*/ 74009 h 1163002"/>
              <a:gd name="connsiteX107" fmla="*/ 184594 w 1821197"/>
              <a:gd name="connsiteY107" fmla="*/ 72581 h 1163002"/>
              <a:gd name="connsiteX108" fmla="*/ 193358 w 1821197"/>
              <a:gd name="connsiteY108" fmla="*/ 70771 h 1163002"/>
              <a:gd name="connsiteX109" fmla="*/ 208979 w 1821197"/>
              <a:gd name="connsiteY109" fmla="*/ 82106 h 1163002"/>
              <a:gd name="connsiteX110" fmla="*/ 215265 w 1821197"/>
              <a:gd name="connsiteY110" fmla="*/ 90107 h 1163002"/>
              <a:gd name="connsiteX111" fmla="*/ 241935 w 1821197"/>
              <a:gd name="connsiteY111" fmla="*/ 104775 h 1163002"/>
              <a:gd name="connsiteX112" fmla="*/ 242506 w 1821197"/>
              <a:gd name="connsiteY112" fmla="*/ 134112 h 1163002"/>
              <a:gd name="connsiteX113" fmla="*/ 255937 w 1821197"/>
              <a:gd name="connsiteY113" fmla="*/ 152686 h 1163002"/>
              <a:gd name="connsiteX114" fmla="*/ 287655 w 1821197"/>
              <a:gd name="connsiteY114" fmla="*/ 217456 h 1163002"/>
              <a:gd name="connsiteX115" fmla="*/ 295275 w 1821197"/>
              <a:gd name="connsiteY115" fmla="*/ 224790 h 1163002"/>
              <a:gd name="connsiteX116" fmla="*/ 303657 w 1821197"/>
              <a:gd name="connsiteY116" fmla="*/ 247745 h 1163002"/>
              <a:gd name="connsiteX117" fmla="*/ 331375 w 1821197"/>
              <a:gd name="connsiteY117" fmla="*/ 280702 h 1163002"/>
              <a:gd name="connsiteX118" fmla="*/ 341662 w 1821197"/>
              <a:gd name="connsiteY118" fmla="*/ 287179 h 1163002"/>
              <a:gd name="connsiteX119" fmla="*/ 367379 w 1821197"/>
              <a:gd name="connsiteY119" fmla="*/ 314135 h 1163002"/>
              <a:gd name="connsiteX120" fmla="*/ 367951 w 1821197"/>
              <a:gd name="connsiteY120" fmla="*/ 314420 h 1163002"/>
              <a:gd name="connsiteX121" fmla="*/ 382810 w 1821197"/>
              <a:gd name="connsiteY121" fmla="*/ 310706 h 1163002"/>
              <a:gd name="connsiteX122" fmla="*/ 391763 w 1821197"/>
              <a:gd name="connsiteY122" fmla="*/ 321183 h 1163002"/>
              <a:gd name="connsiteX123" fmla="*/ 396050 w 1821197"/>
              <a:gd name="connsiteY123" fmla="*/ 351854 h 1163002"/>
              <a:gd name="connsiteX124" fmla="*/ 403574 w 1821197"/>
              <a:gd name="connsiteY124" fmla="*/ 357759 h 1163002"/>
              <a:gd name="connsiteX125" fmla="*/ 430721 w 1821197"/>
              <a:gd name="connsiteY125" fmla="*/ 369665 h 1163002"/>
              <a:gd name="connsiteX126" fmla="*/ 442913 w 1821197"/>
              <a:gd name="connsiteY126" fmla="*/ 386810 h 1163002"/>
              <a:gd name="connsiteX127" fmla="*/ 460343 w 1821197"/>
              <a:gd name="connsiteY127" fmla="*/ 392430 h 1163002"/>
              <a:gd name="connsiteX128" fmla="*/ 470154 w 1821197"/>
              <a:gd name="connsiteY128" fmla="*/ 409670 h 1163002"/>
              <a:gd name="connsiteX129" fmla="*/ 462439 w 1821197"/>
              <a:gd name="connsiteY129" fmla="*/ 441389 h 1163002"/>
              <a:gd name="connsiteX130" fmla="*/ 484918 w 1821197"/>
              <a:gd name="connsiteY130" fmla="*/ 467868 h 1163002"/>
              <a:gd name="connsiteX131" fmla="*/ 489204 w 1821197"/>
              <a:gd name="connsiteY131" fmla="*/ 464915 h 1163002"/>
              <a:gd name="connsiteX132" fmla="*/ 501872 w 1821197"/>
              <a:gd name="connsiteY132" fmla="*/ 473774 h 1163002"/>
              <a:gd name="connsiteX133" fmla="*/ 541592 w 1821197"/>
              <a:gd name="connsiteY133" fmla="*/ 501491 h 1163002"/>
              <a:gd name="connsiteX134" fmla="*/ 550164 w 1821197"/>
              <a:gd name="connsiteY134" fmla="*/ 519970 h 1163002"/>
              <a:gd name="connsiteX135" fmla="*/ 609790 w 1821197"/>
              <a:gd name="connsiteY135" fmla="*/ 571024 h 1163002"/>
              <a:gd name="connsiteX136" fmla="*/ 642842 w 1821197"/>
              <a:gd name="connsiteY136" fmla="*/ 616649 h 1163002"/>
              <a:gd name="connsiteX137" fmla="*/ 684467 w 1821197"/>
              <a:gd name="connsiteY137" fmla="*/ 660083 h 1163002"/>
              <a:gd name="connsiteX138" fmla="*/ 689324 w 1821197"/>
              <a:gd name="connsiteY138" fmla="*/ 693801 h 1163002"/>
              <a:gd name="connsiteX139" fmla="*/ 704945 w 1821197"/>
              <a:gd name="connsiteY139" fmla="*/ 715232 h 1163002"/>
              <a:gd name="connsiteX140" fmla="*/ 714661 w 1821197"/>
              <a:gd name="connsiteY140" fmla="*/ 728758 h 1163002"/>
              <a:gd name="connsiteX141" fmla="*/ 709613 w 1821197"/>
              <a:gd name="connsiteY141" fmla="*/ 750189 h 1163002"/>
              <a:gd name="connsiteX142" fmla="*/ 701135 w 1821197"/>
              <a:gd name="connsiteY142" fmla="*/ 766191 h 1163002"/>
              <a:gd name="connsiteX143" fmla="*/ 712851 w 1821197"/>
              <a:gd name="connsiteY143" fmla="*/ 781145 h 1163002"/>
              <a:gd name="connsiteX144" fmla="*/ 711518 w 1821197"/>
              <a:gd name="connsiteY144" fmla="*/ 783146 h 1163002"/>
              <a:gd name="connsiteX145" fmla="*/ 686467 w 1821197"/>
              <a:gd name="connsiteY145" fmla="*/ 789718 h 1163002"/>
              <a:gd name="connsiteX146" fmla="*/ 686276 w 1821197"/>
              <a:gd name="connsiteY146" fmla="*/ 790480 h 1163002"/>
              <a:gd name="connsiteX147" fmla="*/ 687705 w 1821197"/>
              <a:gd name="connsiteY147" fmla="*/ 800195 h 1163002"/>
              <a:gd name="connsiteX148" fmla="*/ 729520 w 1821197"/>
              <a:gd name="connsiteY148" fmla="*/ 860298 h 1163002"/>
              <a:gd name="connsiteX149" fmla="*/ 772668 w 1821197"/>
              <a:gd name="connsiteY149" fmla="*/ 878015 h 1163002"/>
              <a:gd name="connsiteX150" fmla="*/ 808482 w 1821197"/>
              <a:gd name="connsiteY150" fmla="*/ 904113 h 1163002"/>
              <a:gd name="connsiteX151" fmla="*/ 827246 w 1821197"/>
              <a:gd name="connsiteY151" fmla="*/ 926021 h 1163002"/>
              <a:gd name="connsiteX152" fmla="*/ 900017 w 1821197"/>
              <a:gd name="connsiteY152" fmla="*/ 947261 h 1163002"/>
              <a:gd name="connsiteX153" fmla="*/ 914972 w 1821197"/>
              <a:gd name="connsiteY153" fmla="*/ 945452 h 1163002"/>
              <a:gd name="connsiteX154" fmla="*/ 968693 w 1821197"/>
              <a:gd name="connsiteY154" fmla="*/ 993172 h 1163002"/>
              <a:gd name="connsiteX155" fmla="*/ 1031081 w 1821197"/>
              <a:gd name="connsiteY155" fmla="*/ 1012698 h 1163002"/>
              <a:gd name="connsiteX156" fmla="*/ 1052132 w 1821197"/>
              <a:gd name="connsiteY156" fmla="*/ 1026795 h 1163002"/>
              <a:gd name="connsiteX157" fmla="*/ 1103757 w 1821197"/>
              <a:gd name="connsiteY157" fmla="*/ 1038511 h 1163002"/>
              <a:gd name="connsiteX158" fmla="*/ 1124426 w 1821197"/>
              <a:gd name="connsiteY158" fmla="*/ 1055084 h 1163002"/>
              <a:gd name="connsiteX159" fmla="*/ 1142810 w 1821197"/>
              <a:gd name="connsiteY159" fmla="*/ 1059466 h 1163002"/>
              <a:gd name="connsiteX160" fmla="*/ 1174337 w 1821197"/>
              <a:gd name="connsiteY160" fmla="*/ 1074801 h 1163002"/>
              <a:gd name="connsiteX161" fmla="*/ 1203389 w 1821197"/>
              <a:gd name="connsiteY161" fmla="*/ 1079564 h 1163002"/>
              <a:gd name="connsiteX162" fmla="*/ 1242346 w 1821197"/>
              <a:gd name="connsiteY162" fmla="*/ 1092803 h 1163002"/>
              <a:gd name="connsiteX163" fmla="*/ 1301972 w 1821197"/>
              <a:gd name="connsiteY163" fmla="*/ 1067753 h 1163002"/>
              <a:gd name="connsiteX164" fmla="*/ 1324451 w 1821197"/>
              <a:gd name="connsiteY164" fmla="*/ 1055370 h 1163002"/>
              <a:gd name="connsiteX165" fmla="*/ 1373029 w 1821197"/>
              <a:gd name="connsiteY165" fmla="*/ 1060037 h 1163002"/>
              <a:gd name="connsiteX166" fmla="*/ 1412558 w 1821197"/>
              <a:gd name="connsiteY166" fmla="*/ 1082802 h 1163002"/>
              <a:gd name="connsiteX167" fmla="*/ 1492377 w 1821197"/>
              <a:gd name="connsiteY167" fmla="*/ 1163003 h 1163002"/>
              <a:gd name="connsiteX168" fmla="*/ 1499616 w 1821197"/>
              <a:gd name="connsiteY168" fmla="*/ 1154430 h 1163002"/>
              <a:gd name="connsiteX169" fmla="*/ 1505617 w 1821197"/>
              <a:gd name="connsiteY169" fmla="*/ 1131665 h 1163002"/>
              <a:gd name="connsiteX170" fmla="*/ 1495711 w 1821197"/>
              <a:gd name="connsiteY170" fmla="*/ 1118426 h 1163002"/>
              <a:gd name="connsiteX171" fmla="*/ 1526286 w 1821197"/>
              <a:gd name="connsiteY171" fmla="*/ 1067848 h 1163002"/>
              <a:gd name="connsiteX172" fmla="*/ 1606391 w 1821197"/>
              <a:gd name="connsiteY172" fmla="*/ 1068324 h 1163002"/>
              <a:gd name="connsiteX173" fmla="*/ 1605725 w 1821197"/>
              <a:gd name="connsiteY173" fmla="*/ 1048322 h 1163002"/>
              <a:gd name="connsiteX174" fmla="*/ 1590770 w 1821197"/>
              <a:gd name="connsiteY174" fmla="*/ 1041083 h 1163002"/>
              <a:gd name="connsiteX175" fmla="*/ 1588580 w 1821197"/>
              <a:gd name="connsiteY175" fmla="*/ 1027367 h 1163002"/>
              <a:gd name="connsiteX176" fmla="*/ 1562005 w 1821197"/>
              <a:gd name="connsiteY176" fmla="*/ 1014698 h 1163002"/>
              <a:gd name="connsiteX177" fmla="*/ 1545336 w 1821197"/>
              <a:gd name="connsiteY177" fmla="*/ 994410 h 1163002"/>
              <a:gd name="connsiteX178" fmla="*/ 1570101 w 1821197"/>
              <a:gd name="connsiteY178" fmla="*/ 994410 h 1163002"/>
              <a:gd name="connsiteX179" fmla="*/ 1570101 w 1821197"/>
              <a:gd name="connsiteY179" fmla="*/ 960120 h 1163002"/>
              <a:gd name="connsiteX180" fmla="*/ 1678877 w 1821197"/>
              <a:gd name="connsiteY180" fmla="*/ 960120 h 1163002"/>
              <a:gd name="connsiteX181" fmla="*/ 1678877 w 1821197"/>
              <a:gd name="connsiteY181" fmla="*/ 950500 h 1163002"/>
              <a:gd name="connsiteX182" fmla="*/ 1690688 w 1821197"/>
              <a:gd name="connsiteY182" fmla="*/ 945833 h 1163002"/>
              <a:gd name="connsiteX183" fmla="*/ 1700213 w 1821197"/>
              <a:gd name="connsiteY183" fmla="*/ 955072 h 1163002"/>
              <a:gd name="connsiteX184" fmla="*/ 1722596 w 1821197"/>
              <a:gd name="connsiteY184" fmla="*/ 921449 h 1163002"/>
              <a:gd name="connsiteX185" fmla="*/ 1724692 w 1821197"/>
              <a:gd name="connsiteY185" fmla="*/ 919734 h 1163002"/>
              <a:gd name="connsiteX186" fmla="*/ 1725168 w 1821197"/>
              <a:gd name="connsiteY186" fmla="*/ 916686 h 1163002"/>
              <a:gd name="connsiteX187" fmla="*/ 1743647 w 1821197"/>
              <a:gd name="connsiteY187" fmla="*/ 894302 h 1163002"/>
              <a:gd name="connsiteX188" fmla="*/ 1744028 w 1821197"/>
              <a:gd name="connsiteY188" fmla="*/ 894302 h 1163002"/>
              <a:gd name="connsiteX189" fmla="*/ 1749076 w 1821197"/>
              <a:gd name="connsiteY189" fmla="*/ 913924 h 1163002"/>
              <a:gd name="connsiteX190" fmla="*/ 1753362 w 1821197"/>
              <a:gd name="connsiteY190" fmla="*/ 945356 h 1163002"/>
              <a:gd name="connsiteX191" fmla="*/ 1758029 w 1821197"/>
              <a:gd name="connsiteY191" fmla="*/ 937451 h 1163002"/>
              <a:gd name="connsiteX192" fmla="*/ 1777651 w 1821197"/>
              <a:gd name="connsiteY192" fmla="*/ 871347 h 1163002"/>
              <a:gd name="connsiteX193" fmla="*/ 1773079 w 1821197"/>
              <a:gd name="connsiteY193" fmla="*/ 863060 h 1163002"/>
              <a:gd name="connsiteX194" fmla="*/ 1772698 w 1821197"/>
              <a:gd name="connsiteY194" fmla="*/ 857536 h 1163002"/>
              <a:gd name="connsiteX195" fmla="*/ 1775270 w 1821197"/>
              <a:gd name="connsiteY195" fmla="*/ 855726 h 1163002"/>
              <a:gd name="connsiteX196" fmla="*/ 1781651 w 1821197"/>
              <a:gd name="connsiteY196" fmla="*/ 844772 h 1163002"/>
              <a:gd name="connsiteX197" fmla="*/ 1777841 w 1821197"/>
              <a:gd name="connsiteY197" fmla="*/ 841343 h 1163002"/>
              <a:gd name="connsiteX198" fmla="*/ 1771364 w 1821197"/>
              <a:gd name="connsiteY198" fmla="*/ 843629 h 1163002"/>
              <a:gd name="connsiteX199" fmla="*/ 1766507 w 1821197"/>
              <a:gd name="connsiteY199" fmla="*/ 834581 h 1163002"/>
              <a:gd name="connsiteX200" fmla="*/ 1780223 w 1821197"/>
              <a:gd name="connsiteY200" fmla="*/ 817245 h 1163002"/>
              <a:gd name="connsiteX201" fmla="*/ 1780508 w 1821197"/>
              <a:gd name="connsiteY201" fmla="*/ 804863 h 1163002"/>
              <a:gd name="connsiteX202" fmla="*/ 1792414 w 1821197"/>
              <a:gd name="connsiteY202" fmla="*/ 785051 h 1163002"/>
              <a:gd name="connsiteX203" fmla="*/ 1812227 w 1821197"/>
              <a:gd name="connsiteY203" fmla="*/ 764000 h 1163002"/>
              <a:gd name="connsiteX204" fmla="*/ 1819561 w 1821197"/>
              <a:gd name="connsiteY204" fmla="*/ 737426 h 1163002"/>
              <a:gd name="connsiteX205" fmla="*/ 1799844 w 1821197"/>
              <a:gd name="connsiteY205" fmla="*/ 716852 h 1163002"/>
              <a:gd name="connsiteX206" fmla="*/ 1798606 w 1821197"/>
              <a:gd name="connsiteY206" fmla="*/ 719233 h 1163002"/>
              <a:gd name="connsiteX207" fmla="*/ 1734693 w 1821197"/>
              <a:gd name="connsiteY207" fmla="*/ 713613 h 1163002"/>
              <a:gd name="connsiteX208" fmla="*/ 1695450 w 1821197"/>
              <a:gd name="connsiteY208" fmla="*/ 727329 h 1163002"/>
              <a:gd name="connsiteX209" fmla="*/ 1646682 w 1821197"/>
              <a:gd name="connsiteY209" fmla="*/ 734092 h 1163002"/>
              <a:gd name="connsiteX210" fmla="*/ 1608296 w 1821197"/>
              <a:gd name="connsiteY210" fmla="*/ 754761 h 1163002"/>
              <a:gd name="connsiteX211" fmla="*/ 1598009 w 1821197"/>
              <a:gd name="connsiteY211" fmla="*/ 785336 h 1163002"/>
              <a:gd name="connsiteX212" fmla="*/ 1594295 w 1821197"/>
              <a:gd name="connsiteY212" fmla="*/ 825913 h 1163002"/>
              <a:gd name="connsiteX213" fmla="*/ 1585151 w 1821197"/>
              <a:gd name="connsiteY213" fmla="*/ 840105 h 1163002"/>
              <a:gd name="connsiteX214" fmla="*/ 1578197 w 1821197"/>
              <a:gd name="connsiteY214" fmla="*/ 863346 h 1163002"/>
              <a:gd name="connsiteX215" fmla="*/ 1525048 w 1821197"/>
              <a:gd name="connsiteY215" fmla="*/ 896588 h 1163002"/>
              <a:gd name="connsiteX216" fmla="*/ 1535906 w 1821197"/>
              <a:gd name="connsiteY216" fmla="*/ 898303 h 1163002"/>
              <a:gd name="connsiteX217" fmla="*/ 1553051 w 1821197"/>
              <a:gd name="connsiteY217" fmla="*/ 896588 h 1163002"/>
              <a:gd name="connsiteX218" fmla="*/ 1552670 w 1821197"/>
              <a:gd name="connsiteY218" fmla="*/ 903542 h 1163002"/>
              <a:gd name="connsiteX219" fmla="*/ 1528953 w 1821197"/>
              <a:gd name="connsiteY219" fmla="*/ 918115 h 1163002"/>
              <a:gd name="connsiteX220" fmla="*/ 1518095 w 1821197"/>
              <a:gd name="connsiteY220" fmla="*/ 913638 h 1163002"/>
              <a:gd name="connsiteX221" fmla="*/ 1509998 w 1821197"/>
              <a:gd name="connsiteY221" fmla="*/ 902780 h 1163002"/>
              <a:gd name="connsiteX222" fmla="*/ 1502759 w 1821197"/>
              <a:gd name="connsiteY222" fmla="*/ 897827 h 1163002"/>
              <a:gd name="connsiteX223" fmla="*/ 1465993 w 1821197"/>
              <a:gd name="connsiteY223" fmla="*/ 901922 h 1163002"/>
              <a:gd name="connsiteX224" fmla="*/ 1445038 w 1821197"/>
              <a:gd name="connsiteY224" fmla="*/ 915543 h 1163002"/>
              <a:gd name="connsiteX225" fmla="*/ 1422083 w 1821197"/>
              <a:gd name="connsiteY225" fmla="*/ 915543 h 1163002"/>
              <a:gd name="connsiteX226" fmla="*/ 1362551 w 1821197"/>
              <a:gd name="connsiteY226" fmla="*/ 931545 h 1163002"/>
              <a:gd name="connsiteX227" fmla="*/ 1354264 w 1821197"/>
              <a:gd name="connsiteY227" fmla="*/ 928688 h 1163002"/>
              <a:gd name="connsiteX228" fmla="*/ 1342549 w 1821197"/>
              <a:gd name="connsiteY228" fmla="*/ 911924 h 1163002"/>
              <a:gd name="connsiteX229" fmla="*/ 1324356 w 1821197"/>
              <a:gd name="connsiteY229" fmla="*/ 904399 h 1163002"/>
              <a:gd name="connsiteX230" fmla="*/ 1309688 w 1821197"/>
              <a:gd name="connsiteY230" fmla="*/ 897922 h 1163002"/>
              <a:gd name="connsiteX231" fmla="*/ 1287018 w 1821197"/>
              <a:gd name="connsiteY231" fmla="*/ 895540 h 1163002"/>
              <a:gd name="connsiteX232" fmla="*/ 1274255 w 1821197"/>
              <a:gd name="connsiteY232" fmla="*/ 886111 h 1163002"/>
              <a:gd name="connsiteX233" fmla="*/ 1247585 w 1821197"/>
              <a:gd name="connsiteY233" fmla="*/ 850963 h 1163002"/>
              <a:gd name="connsiteX234" fmla="*/ 1239869 w 1821197"/>
              <a:gd name="connsiteY234" fmla="*/ 821341 h 1163002"/>
              <a:gd name="connsiteX235" fmla="*/ 1197388 w 1821197"/>
              <a:gd name="connsiteY235" fmla="*/ 771049 h 1163002"/>
              <a:gd name="connsiteX236" fmla="*/ 1184720 w 1821197"/>
              <a:gd name="connsiteY236" fmla="*/ 734473 h 1163002"/>
              <a:gd name="connsiteX237" fmla="*/ 1187387 w 1821197"/>
              <a:gd name="connsiteY237" fmla="*/ 710946 h 1163002"/>
              <a:gd name="connsiteX238" fmla="*/ 1164241 w 1821197"/>
              <a:gd name="connsiteY238" fmla="*/ 685610 h 1163002"/>
              <a:gd name="connsiteX239" fmla="*/ 1157002 w 1821197"/>
              <a:gd name="connsiteY239" fmla="*/ 650462 h 1163002"/>
              <a:gd name="connsiteX240" fmla="*/ 1162526 w 1821197"/>
              <a:gd name="connsiteY240" fmla="*/ 624650 h 1163002"/>
              <a:gd name="connsiteX241" fmla="*/ 1165670 w 1821197"/>
              <a:gd name="connsiteY241" fmla="*/ 560546 h 1163002"/>
              <a:gd name="connsiteX242" fmla="*/ 1184434 w 1821197"/>
              <a:gd name="connsiteY242" fmla="*/ 491109 h 1163002"/>
              <a:gd name="connsiteX243" fmla="*/ 1204246 w 1821197"/>
              <a:gd name="connsiteY243" fmla="*/ 451295 h 1163002"/>
              <a:gd name="connsiteX244" fmla="*/ 1204055 w 1821197"/>
              <a:gd name="connsiteY244" fmla="*/ 451295 h 1163002"/>
              <a:gd name="connsiteX245" fmla="*/ 1177481 w 1821197"/>
              <a:gd name="connsiteY245" fmla="*/ 450818 h 1163002"/>
              <a:gd name="connsiteX246" fmla="*/ 1161574 w 1821197"/>
              <a:gd name="connsiteY246" fmla="*/ 710756 h 1163002"/>
              <a:gd name="connsiteX247" fmla="*/ 1172813 w 1821197"/>
              <a:gd name="connsiteY247" fmla="*/ 714947 h 1163002"/>
              <a:gd name="connsiteX248" fmla="*/ 1175195 w 1821197"/>
              <a:gd name="connsiteY248" fmla="*/ 723710 h 1163002"/>
              <a:gd name="connsiteX249" fmla="*/ 1174623 w 1821197"/>
              <a:gd name="connsiteY249" fmla="*/ 725615 h 1163002"/>
              <a:gd name="connsiteX250" fmla="*/ 1164908 w 1821197"/>
              <a:gd name="connsiteY250" fmla="*/ 724090 h 1163002"/>
              <a:gd name="connsiteX251" fmla="*/ 1161574 w 1821197"/>
              <a:gd name="connsiteY251" fmla="*/ 710851 h 1163002"/>
              <a:gd name="connsiteX252" fmla="*/ 1171766 w 1821197"/>
              <a:gd name="connsiteY252" fmla="*/ 487585 h 1163002"/>
              <a:gd name="connsiteX253" fmla="*/ 1157669 w 1821197"/>
              <a:gd name="connsiteY253" fmla="*/ 539115 h 1163002"/>
              <a:gd name="connsiteX254" fmla="*/ 1144715 w 1821197"/>
              <a:gd name="connsiteY254" fmla="*/ 531114 h 1163002"/>
              <a:gd name="connsiteX255" fmla="*/ 1146048 w 1821197"/>
              <a:gd name="connsiteY255" fmla="*/ 520160 h 1163002"/>
              <a:gd name="connsiteX256" fmla="*/ 1155002 w 1821197"/>
              <a:gd name="connsiteY256" fmla="*/ 493205 h 1163002"/>
              <a:gd name="connsiteX257" fmla="*/ 1153859 w 1821197"/>
              <a:gd name="connsiteY257" fmla="*/ 476441 h 1163002"/>
              <a:gd name="connsiteX258" fmla="*/ 1174623 w 1821197"/>
              <a:gd name="connsiteY258" fmla="*/ 471202 h 1163002"/>
              <a:gd name="connsiteX259" fmla="*/ 1171766 w 1821197"/>
              <a:gd name="connsiteY259" fmla="*/ 487680 h 116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821197" h="1163002">
                <a:moveTo>
                  <a:pt x="1177290" y="451104"/>
                </a:moveTo>
                <a:lnTo>
                  <a:pt x="1168241" y="441674"/>
                </a:lnTo>
                <a:lnTo>
                  <a:pt x="1136904" y="441674"/>
                </a:lnTo>
                <a:lnTo>
                  <a:pt x="1114235" y="424148"/>
                </a:lnTo>
                <a:lnTo>
                  <a:pt x="1082897" y="419005"/>
                </a:lnTo>
                <a:lnTo>
                  <a:pt x="1074992" y="390430"/>
                </a:lnTo>
                <a:lnTo>
                  <a:pt x="1060704" y="380143"/>
                </a:lnTo>
                <a:lnTo>
                  <a:pt x="1058323" y="338423"/>
                </a:lnTo>
                <a:lnTo>
                  <a:pt x="1040511" y="333280"/>
                </a:lnTo>
                <a:lnTo>
                  <a:pt x="1027367" y="302705"/>
                </a:lnTo>
                <a:lnTo>
                  <a:pt x="1010317" y="294323"/>
                </a:lnTo>
                <a:lnTo>
                  <a:pt x="982028" y="235934"/>
                </a:lnTo>
                <a:lnTo>
                  <a:pt x="953643" y="212598"/>
                </a:lnTo>
                <a:lnTo>
                  <a:pt x="950309" y="198406"/>
                </a:lnTo>
                <a:lnTo>
                  <a:pt x="940975" y="192786"/>
                </a:lnTo>
                <a:lnTo>
                  <a:pt x="926306" y="199930"/>
                </a:lnTo>
                <a:lnTo>
                  <a:pt x="893255" y="192215"/>
                </a:lnTo>
                <a:lnTo>
                  <a:pt x="869442" y="202406"/>
                </a:lnTo>
                <a:lnTo>
                  <a:pt x="838200" y="251460"/>
                </a:lnTo>
                <a:lnTo>
                  <a:pt x="754856" y="207836"/>
                </a:lnTo>
                <a:lnTo>
                  <a:pt x="750094" y="174498"/>
                </a:lnTo>
                <a:lnTo>
                  <a:pt x="729901" y="139541"/>
                </a:lnTo>
                <a:lnTo>
                  <a:pt x="706755" y="129350"/>
                </a:lnTo>
                <a:lnTo>
                  <a:pt x="677513" y="96679"/>
                </a:lnTo>
                <a:lnTo>
                  <a:pt x="656463" y="91535"/>
                </a:lnTo>
                <a:lnTo>
                  <a:pt x="638175" y="67437"/>
                </a:lnTo>
                <a:lnTo>
                  <a:pt x="536067" y="67437"/>
                </a:lnTo>
                <a:lnTo>
                  <a:pt x="536067" y="97155"/>
                </a:lnTo>
                <a:lnTo>
                  <a:pt x="365189" y="97155"/>
                </a:lnTo>
                <a:lnTo>
                  <a:pt x="138017" y="17907"/>
                </a:lnTo>
                <a:lnTo>
                  <a:pt x="140780" y="0"/>
                </a:lnTo>
                <a:lnTo>
                  <a:pt x="0" y="15335"/>
                </a:lnTo>
                <a:lnTo>
                  <a:pt x="0" y="15335"/>
                </a:lnTo>
                <a:cubicBezTo>
                  <a:pt x="762" y="19526"/>
                  <a:pt x="2191" y="23908"/>
                  <a:pt x="6668" y="25813"/>
                </a:cubicBezTo>
                <a:cubicBezTo>
                  <a:pt x="7620" y="26575"/>
                  <a:pt x="14288" y="27718"/>
                  <a:pt x="12954" y="34290"/>
                </a:cubicBezTo>
                <a:cubicBezTo>
                  <a:pt x="12954" y="35243"/>
                  <a:pt x="10096" y="41910"/>
                  <a:pt x="15716" y="45815"/>
                </a:cubicBezTo>
                <a:cubicBezTo>
                  <a:pt x="18574" y="48387"/>
                  <a:pt x="27337" y="51626"/>
                  <a:pt x="27337" y="59436"/>
                </a:cubicBezTo>
                <a:cubicBezTo>
                  <a:pt x="27813" y="64294"/>
                  <a:pt x="25718" y="72962"/>
                  <a:pt x="30861" y="78962"/>
                </a:cubicBezTo>
                <a:cubicBezTo>
                  <a:pt x="40958" y="90964"/>
                  <a:pt x="46387" y="95822"/>
                  <a:pt x="46387" y="102870"/>
                </a:cubicBezTo>
                <a:cubicBezTo>
                  <a:pt x="46577" y="103823"/>
                  <a:pt x="45720" y="109442"/>
                  <a:pt x="50578" y="113348"/>
                </a:cubicBezTo>
                <a:cubicBezTo>
                  <a:pt x="54102" y="116872"/>
                  <a:pt x="62484" y="120491"/>
                  <a:pt x="62484" y="128397"/>
                </a:cubicBezTo>
                <a:cubicBezTo>
                  <a:pt x="63056" y="133636"/>
                  <a:pt x="60293" y="143066"/>
                  <a:pt x="67056" y="147257"/>
                </a:cubicBezTo>
                <a:cubicBezTo>
                  <a:pt x="68580" y="148590"/>
                  <a:pt x="76391" y="151448"/>
                  <a:pt x="77915" y="158591"/>
                </a:cubicBezTo>
                <a:cubicBezTo>
                  <a:pt x="83820" y="186404"/>
                  <a:pt x="83534" y="191738"/>
                  <a:pt x="89821" y="195263"/>
                </a:cubicBezTo>
                <a:cubicBezTo>
                  <a:pt x="122301" y="213551"/>
                  <a:pt x="127064" y="215456"/>
                  <a:pt x="132302" y="220885"/>
                </a:cubicBezTo>
                <a:cubicBezTo>
                  <a:pt x="179642" y="270320"/>
                  <a:pt x="182785" y="271558"/>
                  <a:pt x="182785" y="278987"/>
                </a:cubicBezTo>
                <a:cubicBezTo>
                  <a:pt x="182785" y="286417"/>
                  <a:pt x="183928" y="294799"/>
                  <a:pt x="179261" y="300323"/>
                </a:cubicBezTo>
                <a:cubicBezTo>
                  <a:pt x="178784" y="301276"/>
                  <a:pt x="171545" y="306800"/>
                  <a:pt x="177260" y="310991"/>
                </a:cubicBezTo>
                <a:cubicBezTo>
                  <a:pt x="189167" y="319754"/>
                  <a:pt x="197739" y="324422"/>
                  <a:pt x="190595" y="325469"/>
                </a:cubicBezTo>
                <a:cubicBezTo>
                  <a:pt x="180785" y="325850"/>
                  <a:pt x="169259" y="331661"/>
                  <a:pt x="167069" y="323374"/>
                </a:cubicBezTo>
                <a:cubicBezTo>
                  <a:pt x="166497" y="322421"/>
                  <a:pt x="166116" y="313658"/>
                  <a:pt x="159925" y="316801"/>
                </a:cubicBezTo>
                <a:cubicBezTo>
                  <a:pt x="158972" y="317183"/>
                  <a:pt x="152972" y="321469"/>
                  <a:pt x="146209" y="320040"/>
                </a:cubicBezTo>
                <a:cubicBezTo>
                  <a:pt x="126778" y="316135"/>
                  <a:pt x="115634" y="312896"/>
                  <a:pt x="121444" y="317659"/>
                </a:cubicBezTo>
                <a:cubicBezTo>
                  <a:pt x="150781" y="341376"/>
                  <a:pt x="154781" y="342805"/>
                  <a:pt x="154781" y="350044"/>
                </a:cubicBezTo>
                <a:lnTo>
                  <a:pt x="154781" y="352044"/>
                </a:lnTo>
                <a:cubicBezTo>
                  <a:pt x="154781" y="364712"/>
                  <a:pt x="188119" y="363379"/>
                  <a:pt x="197644" y="375666"/>
                </a:cubicBezTo>
                <a:cubicBezTo>
                  <a:pt x="202787" y="380905"/>
                  <a:pt x="207740" y="393573"/>
                  <a:pt x="213551" y="387382"/>
                </a:cubicBezTo>
                <a:cubicBezTo>
                  <a:pt x="214503" y="386810"/>
                  <a:pt x="218408" y="380048"/>
                  <a:pt x="224219" y="383858"/>
                </a:cubicBezTo>
                <a:cubicBezTo>
                  <a:pt x="279559" y="420243"/>
                  <a:pt x="282131" y="420910"/>
                  <a:pt x="286036" y="427292"/>
                </a:cubicBezTo>
                <a:cubicBezTo>
                  <a:pt x="295561" y="443103"/>
                  <a:pt x="301276" y="450342"/>
                  <a:pt x="301276" y="458057"/>
                </a:cubicBezTo>
                <a:cubicBezTo>
                  <a:pt x="301276" y="475774"/>
                  <a:pt x="302228" y="481965"/>
                  <a:pt x="298418" y="488061"/>
                </a:cubicBezTo>
                <a:cubicBezTo>
                  <a:pt x="293751" y="497586"/>
                  <a:pt x="282893" y="507683"/>
                  <a:pt x="291370" y="509207"/>
                </a:cubicBezTo>
                <a:cubicBezTo>
                  <a:pt x="297752" y="511016"/>
                  <a:pt x="307467" y="510064"/>
                  <a:pt x="311849" y="517017"/>
                </a:cubicBezTo>
                <a:cubicBezTo>
                  <a:pt x="312992" y="518350"/>
                  <a:pt x="316040" y="526637"/>
                  <a:pt x="322517" y="525494"/>
                </a:cubicBezTo>
                <a:cubicBezTo>
                  <a:pt x="330994" y="524066"/>
                  <a:pt x="331565" y="535781"/>
                  <a:pt x="341852" y="541687"/>
                </a:cubicBezTo>
                <a:lnTo>
                  <a:pt x="360998" y="552641"/>
                </a:lnTo>
                <a:cubicBezTo>
                  <a:pt x="368427" y="556927"/>
                  <a:pt x="387191" y="579977"/>
                  <a:pt x="386334" y="579025"/>
                </a:cubicBezTo>
                <a:cubicBezTo>
                  <a:pt x="395573" y="589693"/>
                  <a:pt x="410242" y="589312"/>
                  <a:pt x="412433" y="599504"/>
                </a:cubicBezTo>
                <a:cubicBezTo>
                  <a:pt x="416528" y="618173"/>
                  <a:pt x="416719" y="624078"/>
                  <a:pt x="422148" y="628650"/>
                </a:cubicBezTo>
                <a:cubicBezTo>
                  <a:pt x="423196" y="629222"/>
                  <a:pt x="428530" y="636175"/>
                  <a:pt x="434245" y="631984"/>
                </a:cubicBezTo>
                <a:cubicBezTo>
                  <a:pt x="451295" y="619601"/>
                  <a:pt x="455867" y="617792"/>
                  <a:pt x="456724" y="610743"/>
                </a:cubicBezTo>
                <a:cubicBezTo>
                  <a:pt x="456914" y="602837"/>
                  <a:pt x="461772" y="592741"/>
                  <a:pt x="454628" y="588169"/>
                </a:cubicBezTo>
                <a:cubicBezTo>
                  <a:pt x="451009" y="585407"/>
                  <a:pt x="442817" y="582549"/>
                  <a:pt x="440531" y="575024"/>
                </a:cubicBezTo>
                <a:lnTo>
                  <a:pt x="437769" y="566261"/>
                </a:lnTo>
                <a:cubicBezTo>
                  <a:pt x="435388" y="558737"/>
                  <a:pt x="427482" y="562166"/>
                  <a:pt x="423196" y="555308"/>
                </a:cubicBezTo>
                <a:cubicBezTo>
                  <a:pt x="409480" y="533495"/>
                  <a:pt x="404717" y="523780"/>
                  <a:pt x="404527" y="531305"/>
                </a:cubicBezTo>
                <a:cubicBezTo>
                  <a:pt x="403574" y="537782"/>
                  <a:pt x="407003" y="552260"/>
                  <a:pt x="399193" y="548640"/>
                </a:cubicBezTo>
                <a:cubicBezTo>
                  <a:pt x="394811" y="545973"/>
                  <a:pt x="385477" y="544544"/>
                  <a:pt x="384239" y="536639"/>
                </a:cubicBezTo>
                <a:cubicBezTo>
                  <a:pt x="382715" y="526923"/>
                  <a:pt x="380810" y="520256"/>
                  <a:pt x="383762" y="513874"/>
                </a:cubicBezTo>
                <a:cubicBezTo>
                  <a:pt x="385096" y="509207"/>
                  <a:pt x="392906" y="500158"/>
                  <a:pt x="385477" y="497205"/>
                </a:cubicBezTo>
                <a:cubicBezTo>
                  <a:pt x="380905" y="494824"/>
                  <a:pt x="371666" y="493967"/>
                  <a:pt x="369189" y="486347"/>
                </a:cubicBezTo>
                <a:cubicBezTo>
                  <a:pt x="366332" y="477393"/>
                  <a:pt x="364903" y="470630"/>
                  <a:pt x="360236" y="465392"/>
                </a:cubicBezTo>
                <a:cubicBezTo>
                  <a:pt x="354711" y="459010"/>
                  <a:pt x="344710" y="449771"/>
                  <a:pt x="344424" y="442055"/>
                </a:cubicBezTo>
                <a:cubicBezTo>
                  <a:pt x="344043" y="428530"/>
                  <a:pt x="344424" y="420624"/>
                  <a:pt x="341948" y="413766"/>
                </a:cubicBezTo>
                <a:cubicBezTo>
                  <a:pt x="336995" y="400241"/>
                  <a:pt x="335090" y="391859"/>
                  <a:pt x="329089" y="387477"/>
                </a:cubicBezTo>
                <a:cubicBezTo>
                  <a:pt x="328136" y="387096"/>
                  <a:pt x="321945" y="380619"/>
                  <a:pt x="319945" y="387191"/>
                </a:cubicBezTo>
                <a:cubicBezTo>
                  <a:pt x="319373" y="388144"/>
                  <a:pt x="318040" y="397002"/>
                  <a:pt x="314325" y="391192"/>
                </a:cubicBezTo>
                <a:cubicBezTo>
                  <a:pt x="307086" y="380048"/>
                  <a:pt x="303276" y="375666"/>
                  <a:pt x="303752" y="369094"/>
                </a:cubicBezTo>
                <a:cubicBezTo>
                  <a:pt x="304229" y="362617"/>
                  <a:pt x="295942" y="356902"/>
                  <a:pt x="296799" y="357854"/>
                </a:cubicBezTo>
                <a:cubicBezTo>
                  <a:pt x="287846" y="350425"/>
                  <a:pt x="287941" y="337090"/>
                  <a:pt x="278987" y="331184"/>
                </a:cubicBezTo>
                <a:cubicBezTo>
                  <a:pt x="264224" y="321374"/>
                  <a:pt x="260318" y="319659"/>
                  <a:pt x="259080" y="313373"/>
                </a:cubicBezTo>
                <a:lnTo>
                  <a:pt x="253937" y="286703"/>
                </a:lnTo>
                <a:cubicBezTo>
                  <a:pt x="252603" y="279940"/>
                  <a:pt x="242983" y="276606"/>
                  <a:pt x="243935" y="277273"/>
                </a:cubicBezTo>
                <a:cubicBezTo>
                  <a:pt x="241268" y="276035"/>
                  <a:pt x="238125" y="272796"/>
                  <a:pt x="237077" y="269939"/>
                </a:cubicBezTo>
                <a:lnTo>
                  <a:pt x="232791" y="258509"/>
                </a:lnTo>
                <a:cubicBezTo>
                  <a:pt x="230315" y="252031"/>
                  <a:pt x="220123" y="252031"/>
                  <a:pt x="221075" y="252317"/>
                </a:cubicBezTo>
                <a:cubicBezTo>
                  <a:pt x="214694" y="251555"/>
                  <a:pt x="214598" y="242697"/>
                  <a:pt x="214979" y="243650"/>
                </a:cubicBezTo>
                <a:cubicBezTo>
                  <a:pt x="214694" y="240697"/>
                  <a:pt x="212789" y="236506"/>
                  <a:pt x="210788" y="234315"/>
                </a:cubicBezTo>
                <a:lnTo>
                  <a:pt x="174784" y="196310"/>
                </a:lnTo>
                <a:cubicBezTo>
                  <a:pt x="169259" y="190500"/>
                  <a:pt x="162401" y="190786"/>
                  <a:pt x="158401" y="184214"/>
                </a:cubicBezTo>
                <a:cubicBezTo>
                  <a:pt x="151638" y="173165"/>
                  <a:pt x="146590" y="166878"/>
                  <a:pt x="146876" y="159639"/>
                </a:cubicBezTo>
                <a:cubicBezTo>
                  <a:pt x="147257" y="150019"/>
                  <a:pt x="147923" y="143161"/>
                  <a:pt x="146399" y="136208"/>
                </a:cubicBezTo>
                <a:cubicBezTo>
                  <a:pt x="143351" y="122301"/>
                  <a:pt x="142685" y="113919"/>
                  <a:pt x="137446" y="108871"/>
                </a:cubicBezTo>
                <a:cubicBezTo>
                  <a:pt x="136779" y="107918"/>
                  <a:pt x="131636" y="104680"/>
                  <a:pt x="132302" y="98012"/>
                </a:cubicBezTo>
                <a:cubicBezTo>
                  <a:pt x="135065" y="70199"/>
                  <a:pt x="134303" y="65818"/>
                  <a:pt x="140684" y="63341"/>
                </a:cubicBezTo>
                <a:cubicBezTo>
                  <a:pt x="141637" y="63151"/>
                  <a:pt x="147257" y="59627"/>
                  <a:pt x="153162" y="62960"/>
                </a:cubicBezTo>
                <a:cubicBezTo>
                  <a:pt x="173260" y="74295"/>
                  <a:pt x="178118" y="79153"/>
                  <a:pt x="183166" y="74009"/>
                </a:cubicBezTo>
                <a:lnTo>
                  <a:pt x="184594" y="72581"/>
                </a:lnTo>
                <a:cubicBezTo>
                  <a:pt x="186690" y="70485"/>
                  <a:pt x="190595" y="69628"/>
                  <a:pt x="193358" y="70771"/>
                </a:cubicBezTo>
                <a:cubicBezTo>
                  <a:pt x="197930" y="73343"/>
                  <a:pt x="207550" y="74200"/>
                  <a:pt x="208979" y="82106"/>
                </a:cubicBezTo>
                <a:cubicBezTo>
                  <a:pt x="209455" y="83058"/>
                  <a:pt x="209741" y="88297"/>
                  <a:pt x="215265" y="90107"/>
                </a:cubicBezTo>
                <a:cubicBezTo>
                  <a:pt x="237173" y="97536"/>
                  <a:pt x="242792" y="97822"/>
                  <a:pt x="241935" y="104775"/>
                </a:cubicBezTo>
                <a:cubicBezTo>
                  <a:pt x="239649" y="124301"/>
                  <a:pt x="238125" y="129064"/>
                  <a:pt x="242506" y="134112"/>
                </a:cubicBezTo>
                <a:cubicBezTo>
                  <a:pt x="248603" y="141161"/>
                  <a:pt x="253651" y="146018"/>
                  <a:pt x="255937" y="152686"/>
                </a:cubicBezTo>
                <a:cubicBezTo>
                  <a:pt x="259937" y="164116"/>
                  <a:pt x="276035" y="213455"/>
                  <a:pt x="287655" y="217456"/>
                </a:cubicBezTo>
                <a:cubicBezTo>
                  <a:pt x="288608" y="218123"/>
                  <a:pt x="293751" y="219075"/>
                  <a:pt x="295275" y="224790"/>
                </a:cubicBezTo>
                <a:cubicBezTo>
                  <a:pt x="298037" y="234887"/>
                  <a:pt x="299371" y="241840"/>
                  <a:pt x="303657" y="247745"/>
                </a:cubicBezTo>
                <a:cubicBezTo>
                  <a:pt x="320612" y="271177"/>
                  <a:pt x="324041" y="278130"/>
                  <a:pt x="331375" y="280702"/>
                </a:cubicBezTo>
                <a:cubicBezTo>
                  <a:pt x="332327" y="281178"/>
                  <a:pt x="337566" y="282321"/>
                  <a:pt x="341662" y="287179"/>
                </a:cubicBezTo>
                <a:cubicBezTo>
                  <a:pt x="355759" y="303657"/>
                  <a:pt x="360521" y="310515"/>
                  <a:pt x="367379" y="314135"/>
                </a:cubicBezTo>
                <a:lnTo>
                  <a:pt x="367951" y="314420"/>
                </a:lnTo>
                <a:cubicBezTo>
                  <a:pt x="375380" y="318325"/>
                  <a:pt x="375475" y="306515"/>
                  <a:pt x="382810" y="310706"/>
                </a:cubicBezTo>
                <a:cubicBezTo>
                  <a:pt x="383858" y="311563"/>
                  <a:pt x="391763" y="314039"/>
                  <a:pt x="391763" y="321183"/>
                </a:cubicBezTo>
                <a:cubicBezTo>
                  <a:pt x="391763" y="342805"/>
                  <a:pt x="390620" y="347663"/>
                  <a:pt x="396050" y="351854"/>
                </a:cubicBezTo>
                <a:lnTo>
                  <a:pt x="403574" y="357759"/>
                </a:lnTo>
                <a:cubicBezTo>
                  <a:pt x="413480" y="365474"/>
                  <a:pt x="426815" y="360140"/>
                  <a:pt x="430721" y="369665"/>
                </a:cubicBezTo>
                <a:cubicBezTo>
                  <a:pt x="433673" y="374904"/>
                  <a:pt x="434721" y="385763"/>
                  <a:pt x="442913" y="386810"/>
                </a:cubicBezTo>
                <a:cubicBezTo>
                  <a:pt x="446818" y="387668"/>
                  <a:pt x="454914" y="386810"/>
                  <a:pt x="460343" y="392430"/>
                </a:cubicBezTo>
                <a:cubicBezTo>
                  <a:pt x="463868" y="397193"/>
                  <a:pt x="473107" y="402050"/>
                  <a:pt x="470154" y="409670"/>
                </a:cubicBezTo>
                <a:cubicBezTo>
                  <a:pt x="461486" y="431959"/>
                  <a:pt x="458915" y="435578"/>
                  <a:pt x="462439" y="441389"/>
                </a:cubicBezTo>
                <a:cubicBezTo>
                  <a:pt x="477203" y="465773"/>
                  <a:pt x="479012" y="471964"/>
                  <a:pt x="484918" y="467868"/>
                </a:cubicBezTo>
                <a:lnTo>
                  <a:pt x="489204" y="464915"/>
                </a:lnTo>
                <a:cubicBezTo>
                  <a:pt x="495205" y="460724"/>
                  <a:pt x="494729" y="469583"/>
                  <a:pt x="501872" y="473774"/>
                </a:cubicBezTo>
                <a:cubicBezTo>
                  <a:pt x="533495" y="492347"/>
                  <a:pt x="539496" y="494443"/>
                  <a:pt x="541592" y="501491"/>
                </a:cubicBezTo>
                <a:cubicBezTo>
                  <a:pt x="543687" y="508540"/>
                  <a:pt x="544830" y="515588"/>
                  <a:pt x="550164" y="519970"/>
                </a:cubicBezTo>
                <a:cubicBezTo>
                  <a:pt x="603409" y="563785"/>
                  <a:pt x="605504" y="564737"/>
                  <a:pt x="609790" y="571024"/>
                </a:cubicBezTo>
                <a:cubicBezTo>
                  <a:pt x="635794" y="608552"/>
                  <a:pt x="637413" y="611696"/>
                  <a:pt x="642842" y="616649"/>
                </a:cubicBezTo>
                <a:cubicBezTo>
                  <a:pt x="681704" y="652463"/>
                  <a:pt x="683990" y="652844"/>
                  <a:pt x="684467" y="660083"/>
                </a:cubicBezTo>
                <a:cubicBezTo>
                  <a:pt x="685705" y="677990"/>
                  <a:pt x="685229" y="687229"/>
                  <a:pt x="689324" y="693801"/>
                </a:cubicBezTo>
                <a:cubicBezTo>
                  <a:pt x="695611" y="703802"/>
                  <a:pt x="699326" y="710660"/>
                  <a:pt x="704945" y="715232"/>
                </a:cubicBezTo>
                <a:cubicBezTo>
                  <a:pt x="707041" y="717423"/>
                  <a:pt x="715137" y="721138"/>
                  <a:pt x="714661" y="728758"/>
                </a:cubicBezTo>
                <a:cubicBezTo>
                  <a:pt x="714089" y="736663"/>
                  <a:pt x="714661" y="745141"/>
                  <a:pt x="709613" y="750189"/>
                </a:cubicBezTo>
                <a:cubicBezTo>
                  <a:pt x="705898" y="755047"/>
                  <a:pt x="694373" y="761333"/>
                  <a:pt x="701135" y="766191"/>
                </a:cubicBezTo>
                <a:cubicBezTo>
                  <a:pt x="705707" y="770477"/>
                  <a:pt x="717328" y="774192"/>
                  <a:pt x="712851" y="781145"/>
                </a:cubicBezTo>
                <a:lnTo>
                  <a:pt x="711518" y="783146"/>
                </a:lnTo>
                <a:cubicBezTo>
                  <a:pt x="705326" y="792861"/>
                  <a:pt x="689515" y="779050"/>
                  <a:pt x="686467" y="789718"/>
                </a:cubicBezTo>
                <a:lnTo>
                  <a:pt x="686276" y="790480"/>
                </a:lnTo>
                <a:cubicBezTo>
                  <a:pt x="685419" y="793337"/>
                  <a:pt x="686086" y="797719"/>
                  <a:pt x="687705" y="800195"/>
                </a:cubicBezTo>
                <a:cubicBezTo>
                  <a:pt x="723900" y="857345"/>
                  <a:pt x="722757" y="857726"/>
                  <a:pt x="729520" y="860298"/>
                </a:cubicBezTo>
                <a:cubicBezTo>
                  <a:pt x="757047" y="870776"/>
                  <a:pt x="766096" y="873728"/>
                  <a:pt x="772668" y="878015"/>
                </a:cubicBezTo>
                <a:cubicBezTo>
                  <a:pt x="800862" y="896588"/>
                  <a:pt x="804482" y="898208"/>
                  <a:pt x="808482" y="904113"/>
                </a:cubicBezTo>
                <a:cubicBezTo>
                  <a:pt x="818579" y="918972"/>
                  <a:pt x="820769" y="923735"/>
                  <a:pt x="827246" y="926021"/>
                </a:cubicBezTo>
                <a:cubicBezTo>
                  <a:pt x="893731" y="949071"/>
                  <a:pt x="893350" y="950595"/>
                  <a:pt x="900017" y="947261"/>
                </a:cubicBezTo>
                <a:cubicBezTo>
                  <a:pt x="902303" y="946595"/>
                  <a:pt x="909542" y="940308"/>
                  <a:pt x="914972" y="945452"/>
                </a:cubicBezTo>
                <a:cubicBezTo>
                  <a:pt x="960501" y="988886"/>
                  <a:pt x="961454" y="991172"/>
                  <a:pt x="968693" y="993172"/>
                </a:cubicBezTo>
                <a:cubicBezTo>
                  <a:pt x="1024033" y="1008412"/>
                  <a:pt x="1025462" y="1007840"/>
                  <a:pt x="1031081" y="1012698"/>
                </a:cubicBezTo>
                <a:cubicBezTo>
                  <a:pt x="1038225" y="1018699"/>
                  <a:pt x="1044702" y="1025557"/>
                  <a:pt x="1052132" y="1026795"/>
                </a:cubicBezTo>
                <a:cubicBezTo>
                  <a:pt x="1095375" y="1033844"/>
                  <a:pt x="1098899" y="1033463"/>
                  <a:pt x="1103757" y="1038511"/>
                </a:cubicBezTo>
                <a:cubicBezTo>
                  <a:pt x="1113949" y="1049084"/>
                  <a:pt x="1117473" y="1054227"/>
                  <a:pt x="1124426" y="1055084"/>
                </a:cubicBezTo>
                <a:cubicBezTo>
                  <a:pt x="1130999" y="1055942"/>
                  <a:pt x="1137095" y="1056227"/>
                  <a:pt x="1142810" y="1059466"/>
                </a:cubicBezTo>
                <a:cubicBezTo>
                  <a:pt x="1159002" y="1068610"/>
                  <a:pt x="1166717" y="1074039"/>
                  <a:pt x="1174337" y="1074801"/>
                </a:cubicBezTo>
                <a:cubicBezTo>
                  <a:pt x="1186529" y="1076135"/>
                  <a:pt x="1196435" y="1076516"/>
                  <a:pt x="1203389" y="1079564"/>
                </a:cubicBezTo>
                <a:cubicBezTo>
                  <a:pt x="1232059" y="1092518"/>
                  <a:pt x="1235774" y="1095470"/>
                  <a:pt x="1242346" y="1092803"/>
                </a:cubicBezTo>
                <a:cubicBezTo>
                  <a:pt x="1293114" y="1072801"/>
                  <a:pt x="1296162" y="1072039"/>
                  <a:pt x="1301972" y="1067753"/>
                </a:cubicBezTo>
                <a:cubicBezTo>
                  <a:pt x="1311783" y="1060418"/>
                  <a:pt x="1317308" y="1054989"/>
                  <a:pt x="1324451" y="1055370"/>
                </a:cubicBezTo>
                <a:cubicBezTo>
                  <a:pt x="1360742" y="1057180"/>
                  <a:pt x="1366361" y="1056513"/>
                  <a:pt x="1373029" y="1060037"/>
                </a:cubicBezTo>
                <a:cubicBezTo>
                  <a:pt x="1401318" y="1074992"/>
                  <a:pt x="1407224" y="1077468"/>
                  <a:pt x="1412558" y="1082802"/>
                </a:cubicBezTo>
                <a:cubicBezTo>
                  <a:pt x="1470660" y="1141571"/>
                  <a:pt x="1485805" y="1157192"/>
                  <a:pt x="1492377" y="1163003"/>
                </a:cubicBezTo>
                <a:lnTo>
                  <a:pt x="1499616" y="1154430"/>
                </a:lnTo>
                <a:lnTo>
                  <a:pt x="1505617" y="1131665"/>
                </a:lnTo>
                <a:lnTo>
                  <a:pt x="1495711" y="1118426"/>
                </a:lnTo>
                <a:lnTo>
                  <a:pt x="1526286" y="1067848"/>
                </a:lnTo>
                <a:lnTo>
                  <a:pt x="1606391" y="1068324"/>
                </a:lnTo>
                <a:lnTo>
                  <a:pt x="1605725" y="1048322"/>
                </a:lnTo>
                <a:lnTo>
                  <a:pt x="1590770" y="1041083"/>
                </a:lnTo>
                <a:lnTo>
                  <a:pt x="1588580" y="1027367"/>
                </a:lnTo>
                <a:lnTo>
                  <a:pt x="1562005" y="1014698"/>
                </a:lnTo>
                <a:lnTo>
                  <a:pt x="1545336" y="994410"/>
                </a:lnTo>
                <a:lnTo>
                  <a:pt x="1570101" y="994410"/>
                </a:lnTo>
                <a:lnTo>
                  <a:pt x="1570101" y="960120"/>
                </a:lnTo>
                <a:lnTo>
                  <a:pt x="1678877" y="960120"/>
                </a:lnTo>
                <a:lnTo>
                  <a:pt x="1678877" y="950500"/>
                </a:lnTo>
                <a:lnTo>
                  <a:pt x="1690688" y="945833"/>
                </a:lnTo>
                <a:lnTo>
                  <a:pt x="1700213" y="955072"/>
                </a:lnTo>
                <a:lnTo>
                  <a:pt x="1722596" y="921449"/>
                </a:lnTo>
                <a:lnTo>
                  <a:pt x="1724692" y="919734"/>
                </a:lnTo>
                <a:cubicBezTo>
                  <a:pt x="1724406" y="918972"/>
                  <a:pt x="1724501" y="918020"/>
                  <a:pt x="1725168" y="916686"/>
                </a:cubicBezTo>
                <a:cubicBezTo>
                  <a:pt x="1735646" y="898017"/>
                  <a:pt x="1736884" y="892969"/>
                  <a:pt x="1743647" y="894302"/>
                </a:cubicBezTo>
                <a:lnTo>
                  <a:pt x="1744028" y="894302"/>
                </a:lnTo>
                <a:cubicBezTo>
                  <a:pt x="1754600" y="896493"/>
                  <a:pt x="1741361" y="910876"/>
                  <a:pt x="1749076" y="913924"/>
                </a:cubicBezTo>
                <a:cubicBezTo>
                  <a:pt x="1756124" y="916686"/>
                  <a:pt x="1746980" y="956310"/>
                  <a:pt x="1753362" y="945356"/>
                </a:cubicBezTo>
                <a:lnTo>
                  <a:pt x="1758029" y="937451"/>
                </a:lnTo>
                <a:cubicBezTo>
                  <a:pt x="1762792" y="929354"/>
                  <a:pt x="1777937" y="870395"/>
                  <a:pt x="1777651" y="871347"/>
                </a:cubicBezTo>
                <a:cubicBezTo>
                  <a:pt x="1779270" y="865632"/>
                  <a:pt x="1772126" y="862108"/>
                  <a:pt x="1773079" y="863060"/>
                </a:cubicBezTo>
                <a:cubicBezTo>
                  <a:pt x="1770412" y="861727"/>
                  <a:pt x="1770317" y="859250"/>
                  <a:pt x="1772698" y="857536"/>
                </a:cubicBezTo>
                <a:lnTo>
                  <a:pt x="1775270" y="855726"/>
                </a:lnTo>
                <a:cubicBezTo>
                  <a:pt x="1780508" y="852107"/>
                  <a:pt x="1782032" y="843820"/>
                  <a:pt x="1781651" y="844772"/>
                </a:cubicBezTo>
                <a:cubicBezTo>
                  <a:pt x="1782318" y="841915"/>
                  <a:pt x="1780604" y="840391"/>
                  <a:pt x="1777841" y="841343"/>
                </a:cubicBezTo>
                <a:lnTo>
                  <a:pt x="1771364" y="843629"/>
                </a:lnTo>
                <a:cubicBezTo>
                  <a:pt x="1764697" y="846011"/>
                  <a:pt x="1760982" y="838962"/>
                  <a:pt x="1766507" y="834581"/>
                </a:cubicBezTo>
                <a:cubicBezTo>
                  <a:pt x="1771936" y="829247"/>
                  <a:pt x="1782509" y="825341"/>
                  <a:pt x="1780223" y="817245"/>
                </a:cubicBezTo>
                <a:cubicBezTo>
                  <a:pt x="1780127" y="816293"/>
                  <a:pt x="1777556" y="810863"/>
                  <a:pt x="1780508" y="804863"/>
                </a:cubicBezTo>
                <a:cubicBezTo>
                  <a:pt x="1784795" y="796100"/>
                  <a:pt x="1787176" y="789813"/>
                  <a:pt x="1792414" y="785051"/>
                </a:cubicBezTo>
                <a:cubicBezTo>
                  <a:pt x="1801368" y="776764"/>
                  <a:pt x="1808893" y="770954"/>
                  <a:pt x="1812227" y="764000"/>
                </a:cubicBezTo>
                <a:cubicBezTo>
                  <a:pt x="1820132" y="747141"/>
                  <a:pt x="1823466" y="743140"/>
                  <a:pt x="1819561" y="737426"/>
                </a:cubicBezTo>
                <a:cubicBezTo>
                  <a:pt x="1806321" y="717995"/>
                  <a:pt x="1803178" y="710565"/>
                  <a:pt x="1799844" y="716852"/>
                </a:cubicBezTo>
                <a:lnTo>
                  <a:pt x="1798606" y="719233"/>
                </a:lnTo>
                <a:cubicBezTo>
                  <a:pt x="1789652" y="735997"/>
                  <a:pt x="1748790" y="708184"/>
                  <a:pt x="1734693" y="713613"/>
                </a:cubicBezTo>
                <a:cubicBezTo>
                  <a:pt x="1709833" y="723233"/>
                  <a:pt x="1703165" y="726472"/>
                  <a:pt x="1695450" y="727329"/>
                </a:cubicBezTo>
                <a:cubicBezTo>
                  <a:pt x="1659350" y="731139"/>
                  <a:pt x="1653540" y="731044"/>
                  <a:pt x="1646682" y="734092"/>
                </a:cubicBezTo>
                <a:cubicBezTo>
                  <a:pt x="1614678" y="747998"/>
                  <a:pt x="1610963" y="748284"/>
                  <a:pt x="1608296" y="754761"/>
                </a:cubicBezTo>
                <a:cubicBezTo>
                  <a:pt x="1602486" y="768953"/>
                  <a:pt x="1598009" y="777621"/>
                  <a:pt x="1598009" y="785336"/>
                </a:cubicBezTo>
                <a:cubicBezTo>
                  <a:pt x="1598009" y="817531"/>
                  <a:pt x="1599057" y="820960"/>
                  <a:pt x="1594295" y="825913"/>
                </a:cubicBezTo>
                <a:cubicBezTo>
                  <a:pt x="1592580" y="828104"/>
                  <a:pt x="1586008" y="832676"/>
                  <a:pt x="1585151" y="840105"/>
                </a:cubicBezTo>
                <a:cubicBezTo>
                  <a:pt x="1583436" y="848868"/>
                  <a:pt x="1585627" y="859441"/>
                  <a:pt x="1578197" y="863346"/>
                </a:cubicBezTo>
                <a:cubicBezTo>
                  <a:pt x="1525810" y="890873"/>
                  <a:pt x="1518571" y="892493"/>
                  <a:pt x="1525048" y="896588"/>
                </a:cubicBezTo>
                <a:cubicBezTo>
                  <a:pt x="1526000" y="896874"/>
                  <a:pt x="1530191" y="900494"/>
                  <a:pt x="1535906" y="898303"/>
                </a:cubicBezTo>
                <a:cubicBezTo>
                  <a:pt x="1539431" y="897446"/>
                  <a:pt x="1547717" y="891731"/>
                  <a:pt x="1553051" y="896588"/>
                </a:cubicBezTo>
                <a:cubicBezTo>
                  <a:pt x="1555052" y="898398"/>
                  <a:pt x="1554956" y="901541"/>
                  <a:pt x="1552670" y="903542"/>
                </a:cubicBezTo>
                <a:cubicBezTo>
                  <a:pt x="1538573" y="916115"/>
                  <a:pt x="1535335" y="920782"/>
                  <a:pt x="1528953" y="918115"/>
                </a:cubicBezTo>
                <a:lnTo>
                  <a:pt x="1518095" y="913638"/>
                </a:lnTo>
                <a:cubicBezTo>
                  <a:pt x="1511903" y="911066"/>
                  <a:pt x="1509427" y="901827"/>
                  <a:pt x="1509998" y="902780"/>
                </a:cubicBezTo>
                <a:cubicBezTo>
                  <a:pt x="1509046" y="900017"/>
                  <a:pt x="1505807" y="897731"/>
                  <a:pt x="1502759" y="897827"/>
                </a:cubicBezTo>
                <a:cubicBezTo>
                  <a:pt x="1476280" y="898208"/>
                  <a:pt x="1471327" y="897255"/>
                  <a:pt x="1465993" y="901922"/>
                </a:cubicBezTo>
                <a:cubicBezTo>
                  <a:pt x="1456754" y="910019"/>
                  <a:pt x="1452182" y="915543"/>
                  <a:pt x="1445038" y="915543"/>
                </a:cubicBezTo>
                <a:lnTo>
                  <a:pt x="1422083" y="915543"/>
                </a:lnTo>
                <a:cubicBezTo>
                  <a:pt x="1412748" y="915543"/>
                  <a:pt x="1361599" y="931831"/>
                  <a:pt x="1362551" y="931545"/>
                </a:cubicBezTo>
                <a:cubicBezTo>
                  <a:pt x="1359694" y="932402"/>
                  <a:pt x="1355979" y="931069"/>
                  <a:pt x="1354264" y="928688"/>
                </a:cubicBezTo>
                <a:lnTo>
                  <a:pt x="1342549" y="911924"/>
                </a:lnTo>
                <a:cubicBezTo>
                  <a:pt x="1338167" y="905637"/>
                  <a:pt x="1330928" y="909066"/>
                  <a:pt x="1324356" y="904399"/>
                </a:cubicBezTo>
                <a:cubicBezTo>
                  <a:pt x="1322642" y="903446"/>
                  <a:pt x="1317022" y="897922"/>
                  <a:pt x="1309688" y="897922"/>
                </a:cubicBezTo>
                <a:cubicBezTo>
                  <a:pt x="1300258" y="897922"/>
                  <a:pt x="1293305" y="898588"/>
                  <a:pt x="1287018" y="895540"/>
                </a:cubicBezTo>
                <a:cubicBezTo>
                  <a:pt x="1285589" y="894683"/>
                  <a:pt x="1277969" y="892397"/>
                  <a:pt x="1274255" y="886111"/>
                </a:cubicBezTo>
                <a:cubicBezTo>
                  <a:pt x="1262443" y="865823"/>
                  <a:pt x="1249299" y="862108"/>
                  <a:pt x="1247585" y="850963"/>
                </a:cubicBezTo>
                <a:cubicBezTo>
                  <a:pt x="1245203" y="836200"/>
                  <a:pt x="1244918" y="826961"/>
                  <a:pt x="1239869" y="821341"/>
                </a:cubicBezTo>
                <a:cubicBezTo>
                  <a:pt x="1200817" y="777335"/>
                  <a:pt x="1200245" y="777431"/>
                  <a:pt x="1197388" y="771049"/>
                </a:cubicBezTo>
                <a:cubicBezTo>
                  <a:pt x="1185005" y="743998"/>
                  <a:pt x="1182529" y="741045"/>
                  <a:pt x="1184720" y="734473"/>
                </a:cubicBezTo>
                <a:cubicBezTo>
                  <a:pt x="1186720" y="725615"/>
                  <a:pt x="1193483" y="716661"/>
                  <a:pt x="1187387" y="710946"/>
                </a:cubicBezTo>
                <a:cubicBezTo>
                  <a:pt x="1174242" y="698754"/>
                  <a:pt x="1166432" y="693039"/>
                  <a:pt x="1164241" y="685610"/>
                </a:cubicBezTo>
                <a:cubicBezTo>
                  <a:pt x="1157573" y="662464"/>
                  <a:pt x="1155097" y="657511"/>
                  <a:pt x="1157002" y="650462"/>
                </a:cubicBezTo>
                <a:cubicBezTo>
                  <a:pt x="1159764" y="639794"/>
                  <a:pt x="1162145" y="631888"/>
                  <a:pt x="1162526" y="624650"/>
                </a:cubicBezTo>
                <a:lnTo>
                  <a:pt x="1165670" y="560546"/>
                </a:lnTo>
                <a:cubicBezTo>
                  <a:pt x="1165670" y="564547"/>
                  <a:pt x="1179195" y="501015"/>
                  <a:pt x="1184434" y="491109"/>
                </a:cubicBezTo>
                <a:cubicBezTo>
                  <a:pt x="1197959" y="465487"/>
                  <a:pt x="1202912" y="457486"/>
                  <a:pt x="1204246" y="451295"/>
                </a:cubicBezTo>
                <a:lnTo>
                  <a:pt x="1204055" y="451295"/>
                </a:lnTo>
                <a:cubicBezTo>
                  <a:pt x="1204055" y="451295"/>
                  <a:pt x="1177481" y="450818"/>
                  <a:pt x="1177481" y="450818"/>
                </a:cubicBezTo>
                <a:close/>
                <a:moveTo>
                  <a:pt x="1161574" y="710756"/>
                </a:moveTo>
                <a:cubicBezTo>
                  <a:pt x="1162241" y="702945"/>
                  <a:pt x="1170051" y="713137"/>
                  <a:pt x="1172813" y="714947"/>
                </a:cubicBezTo>
                <a:cubicBezTo>
                  <a:pt x="1175004" y="716947"/>
                  <a:pt x="1176147" y="720852"/>
                  <a:pt x="1175195" y="723710"/>
                </a:cubicBezTo>
                <a:lnTo>
                  <a:pt x="1174623" y="725615"/>
                </a:lnTo>
                <a:cubicBezTo>
                  <a:pt x="1172432" y="732473"/>
                  <a:pt x="1164908" y="724090"/>
                  <a:pt x="1164908" y="724090"/>
                </a:cubicBezTo>
                <a:cubicBezTo>
                  <a:pt x="1159478" y="719614"/>
                  <a:pt x="1161669" y="712089"/>
                  <a:pt x="1161574" y="710851"/>
                </a:cubicBezTo>
                <a:close/>
                <a:moveTo>
                  <a:pt x="1171766" y="487585"/>
                </a:moveTo>
                <a:cubicBezTo>
                  <a:pt x="1168337" y="494348"/>
                  <a:pt x="1167575" y="499682"/>
                  <a:pt x="1157669" y="539115"/>
                </a:cubicBezTo>
                <a:cubicBezTo>
                  <a:pt x="1155668" y="547116"/>
                  <a:pt x="1144715" y="531114"/>
                  <a:pt x="1144715" y="531114"/>
                </a:cubicBezTo>
                <a:cubicBezTo>
                  <a:pt x="1140238" y="526066"/>
                  <a:pt x="1145762" y="521113"/>
                  <a:pt x="1146048" y="520160"/>
                </a:cubicBezTo>
                <a:cubicBezTo>
                  <a:pt x="1150334" y="514160"/>
                  <a:pt x="1151858" y="505397"/>
                  <a:pt x="1155002" y="493205"/>
                </a:cubicBezTo>
                <a:cubicBezTo>
                  <a:pt x="1156621" y="487013"/>
                  <a:pt x="1155002" y="481394"/>
                  <a:pt x="1153859" y="476441"/>
                </a:cubicBezTo>
                <a:cubicBezTo>
                  <a:pt x="1152049" y="468059"/>
                  <a:pt x="1165479" y="472154"/>
                  <a:pt x="1174623" y="471202"/>
                </a:cubicBezTo>
                <a:cubicBezTo>
                  <a:pt x="1183005" y="471202"/>
                  <a:pt x="1173766" y="481965"/>
                  <a:pt x="1171766" y="487680"/>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3" name="Graphic 14">
            <a:extLst>
              <a:ext uri="{FF2B5EF4-FFF2-40B4-BE49-F238E27FC236}">
                <a16:creationId xmlns:a16="http://schemas.microsoft.com/office/drawing/2014/main" id="{E90B7736-53DC-F5B9-124B-44000FA96774}"/>
              </a:ext>
            </a:extLst>
          </p:cNvPr>
          <p:cNvSpPr/>
          <p:nvPr/>
        </p:nvSpPr>
        <p:spPr>
          <a:xfrm>
            <a:off x="2855459" y="4111823"/>
            <a:ext cx="247364" cy="257746"/>
          </a:xfrm>
          <a:custGeom>
            <a:avLst/>
            <a:gdLst>
              <a:gd name="connsiteX0" fmla="*/ 182785 w 247364"/>
              <a:gd name="connsiteY0" fmla="*/ 118491 h 257746"/>
              <a:gd name="connsiteX1" fmla="*/ 186500 w 247364"/>
              <a:gd name="connsiteY1" fmla="*/ 0 h 257746"/>
              <a:gd name="connsiteX2" fmla="*/ 77724 w 247364"/>
              <a:gd name="connsiteY2" fmla="*/ 0 h 257746"/>
              <a:gd name="connsiteX3" fmla="*/ 77724 w 247364"/>
              <a:gd name="connsiteY3" fmla="*/ 34290 h 257746"/>
              <a:gd name="connsiteX4" fmla="*/ 52959 w 247364"/>
              <a:gd name="connsiteY4" fmla="*/ 34290 h 257746"/>
              <a:gd name="connsiteX5" fmla="*/ 69628 w 247364"/>
              <a:gd name="connsiteY5" fmla="*/ 54578 h 257746"/>
              <a:gd name="connsiteX6" fmla="*/ 96203 w 247364"/>
              <a:gd name="connsiteY6" fmla="*/ 67247 h 257746"/>
              <a:gd name="connsiteX7" fmla="*/ 98393 w 247364"/>
              <a:gd name="connsiteY7" fmla="*/ 80963 h 257746"/>
              <a:gd name="connsiteX8" fmla="*/ 113348 w 247364"/>
              <a:gd name="connsiteY8" fmla="*/ 88202 h 257746"/>
              <a:gd name="connsiteX9" fmla="*/ 114014 w 247364"/>
              <a:gd name="connsiteY9" fmla="*/ 108204 h 257746"/>
              <a:gd name="connsiteX10" fmla="*/ 33909 w 247364"/>
              <a:gd name="connsiteY10" fmla="*/ 107728 h 257746"/>
              <a:gd name="connsiteX11" fmla="*/ 3334 w 247364"/>
              <a:gd name="connsiteY11" fmla="*/ 158306 h 257746"/>
              <a:gd name="connsiteX12" fmla="*/ 13240 w 247364"/>
              <a:gd name="connsiteY12" fmla="*/ 171545 h 257746"/>
              <a:gd name="connsiteX13" fmla="*/ 7239 w 247364"/>
              <a:gd name="connsiteY13" fmla="*/ 194310 h 257746"/>
              <a:gd name="connsiteX14" fmla="*/ 0 w 247364"/>
              <a:gd name="connsiteY14" fmla="*/ 202883 h 257746"/>
              <a:gd name="connsiteX15" fmla="*/ 5048 w 247364"/>
              <a:gd name="connsiteY15" fmla="*/ 206693 h 257746"/>
              <a:gd name="connsiteX16" fmla="*/ 64580 w 247364"/>
              <a:gd name="connsiteY16" fmla="*/ 240316 h 257746"/>
              <a:gd name="connsiteX17" fmla="*/ 108776 w 247364"/>
              <a:gd name="connsiteY17" fmla="*/ 243173 h 257746"/>
              <a:gd name="connsiteX18" fmla="*/ 132302 w 247364"/>
              <a:gd name="connsiteY18" fmla="*/ 257747 h 257746"/>
              <a:gd name="connsiteX19" fmla="*/ 132302 w 247364"/>
              <a:gd name="connsiteY19" fmla="*/ 257747 h 257746"/>
              <a:gd name="connsiteX20" fmla="*/ 131826 w 247364"/>
              <a:gd name="connsiteY20" fmla="*/ 239935 h 257746"/>
              <a:gd name="connsiteX21" fmla="*/ 160782 w 247364"/>
              <a:gd name="connsiteY21" fmla="*/ 228029 h 257746"/>
              <a:gd name="connsiteX22" fmla="*/ 161449 w 247364"/>
              <a:gd name="connsiteY22" fmla="*/ 211265 h 257746"/>
              <a:gd name="connsiteX23" fmla="*/ 172783 w 247364"/>
              <a:gd name="connsiteY23" fmla="*/ 213265 h 257746"/>
              <a:gd name="connsiteX24" fmla="*/ 188976 w 247364"/>
              <a:gd name="connsiteY24" fmla="*/ 197072 h 257746"/>
              <a:gd name="connsiteX25" fmla="*/ 183070 w 247364"/>
              <a:gd name="connsiteY25" fmla="*/ 174022 h 257746"/>
              <a:gd name="connsiteX26" fmla="*/ 247364 w 247364"/>
              <a:gd name="connsiteY26" fmla="*/ 129540 h 257746"/>
              <a:gd name="connsiteX27" fmla="*/ 247364 w 247364"/>
              <a:gd name="connsiteY27" fmla="*/ 129159 h 257746"/>
              <a:gd name="connsiteX28" fmla="*/ 243269 w 247364"/>
              <a:gd name="connsiteY28" fmla="*/ 128111 h 257746"/>
              <a:gd name="connsiteX29" fmla="*/ 220028 w 247364"/>
              <a:gd name="connsiteY29" fmla="*/ 118205 h 257746"/>
              <a:gd name="connsiteX30" fmla="*/ 215265 w 247364"/>
              <a:gd name="connsiteY30" fmla="*/ 126492 h 257746"/>
              <a:gd name="connsiteX31" fmla="*/ 199073 w 247364"/>
              <a:gd name="connsiteY31" fmla="*/ 115538 h 257746"/>
              <a:gd name="connsiteX32" fmla="*/ 196977 w 247364"/>
              <a:gd name="connsiteY32" fmla="*/ 116396 h 257746"/>
              <a:gd name="connsiteX33" fmla="*/ 182690 w 247364"/>
              <a:gd name="connsiteY33" fmla="*/ 118396 h 25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47364" h="257746">
                <a:moveTo>
                  <a:pt x="182785" y="118491"/>
                </a:moveTo>
                <a:lnTo>
                  <a:pt x="186500" y="0"/>
                </a:lnTo>
                <a:lnTo>
                  <a:pt x="77724" y="0"/>
                </a:lnTo>
                <a:lnTo>
                  <a:pt x="77724" y="34290"/>
                </a:lnTo>
                <a:lnTo>
                  <a:pt x="52959" y="34290"/>
                </a:lnTo>
                <a:lnTo>
                  <a:pt x="69628" y="54578"/>
                </a:lnTo>
                <a:lnTo>
                  <a:pt x="96203" y="67247"/>
                </a:lnTo>
                <a:lnTo>
                  <a:pt x="98393" y="80963"/>
                </a:lnTo>
                <a:lnTo>
                  <a:pt x="113348" y="88202"/>
                </a:lnTo>
                <a:lnTo>
                  <a:pt x="114014" y="108204"/>
                </a:lnTo>
                <a:lnTo>
                  <a:pt x="33909" y="107728"/>
                </a:lnTo>
                <a:lnTo>
                  <a:pt x="3334" y="158306"/>
                </a:lnTo>
                <a:lnTo>
                  <a:pt x="13240" y="171545"/>
                </a:lnTo>
                <a:lnTo>
                  <a:pt x="7239" y="194310"/>
                </a:lnTo>
                <a:lnTo>
                  <a:pt x="0" y="202883"/>
                </a:lnTo>
                <a:cubicBezTo>
                  <a:pt x="2191" y="204883"/>
                  <a:pt x="3524" y="205645"/>
                  <a:pt x="5048" y="206693"/>
                </a:cubicBezTo>
                <a:cubicBezTo>
                  <a:pt x="55436" y="238030"/>
                  <a:pt x="57150" y="240316"/>
                  <a:pt x="64580" y="240316"/>
                </a:cubicBezTo>
                <a:cubicBezTo>
                  <a:pt x="91916" y="241173"/>
                  <a:pt x="100775" y="238220"/>
                  <a:pt x="108776" y="243173"/>
                </a:cubicBezTo>
                <a:cubicBezTo>
                  <a:pt x="119253" y="249650"/>
                  <a:pt x="126683" y="254318"/>
                  <a:pt x="132302" y="257747"/>
                </a:cubicBezTo>
                <a:lnTo>
                  <a:pt x="132302" y="257747"/>
                </a:lnTo>
                <a:cubicBezTo>
                  <a:pt x="132302" y="257747"/>
                  <a:pt x="131826" y="239935"/>
                  <a:pt x="131826" y="239935"/>
                </a:cubicBezTo>
                <a:lnTo>
                  <a:pt x="160782" y="228029"/>
                </a:lnTo>
                <a:lnTo>
                  <a:pt x="161449" y="211265"/>
                </a:lnTo>
                <a:lnTo>
                  <a:pt x="172783" y="213265"/>
                </a:lnTo>
                <a:lnTo>
                  <a:pt x="188976" y="197072"/>
                </a:lnTo>
                <a:lnTo>
                  <a:pt x="183070" y="174022"/>
                </a:lnTo>
                <a:lnTo>
                  <a:pt x="247364" y="129540"/>
                </a:lnTo>
                <a:lnTo>
                  <a:pt x="247364" y="129159"/>
                </a:lnTo>
                <a:cubicBezTo>
                  <a:pt x="246031" y="129254"/>
                  <a:pt x="244697" y="129159"/>
                  <a:pt x="243269" y="128111"/>
                </a:cubicBezTo>
                <a:cubicBezTo>
                  <a:pt x="226124" y="116777"/>
                  <a:pt x="220028" y="111062"/>
                  <a:pt x="220028" y="118205"/>
                </a:cubicBezTo>
                <a:cubicBezTo>
                  <a:pt x="219742" y="119444"/>
                  <a:pt x="221647" y="129921"/>
                  <a:pt x="215265" y="126492"/>
                </a:cubicBezTo>
                <a:cubicBezTo>
                  <a:pt x="209836" y="122587"/>
                  <a:pt x="200406" y="120301"/>
                  <a:pt x="199073" y="115538"/>
                </a:cubicBezTo>
                <a:lnTo>
                  <a:pt x="196977" y="116396"/>
                </a:lnTo>
                <a:lnTo>
                  <a:pt x="182690" y="118396"/>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4" name="Graphic 16">
            <a:extLst>
              <a:ext uri="{FF2B5EF4-FFF2-40B4-BE49-F238E27FC236}">
                <a16:creationId xmlns:a16="http://schemas.microsoft.com/office/drawing/2014/main" id="{A9BF0FB6-AD59-C131-4000-FB06B260186D}"/>
              </a:ext>
            </a:extLst>
          </p:cNvPr>
          <p:cNvSpPr/>
          <p:nvPr/>
        </p:nvSpPr>
        <p:spPr>
          <a:xfrm>
            <a:off x="3042880" y="4057987"/>
            <a:ext cx="63713" cy="158972"/>
          </a:xfrm>
          <a:custGeom>
            <a:avLst/>
            <a:gdLst>
              <a:gd name="connsiteX0" fmla="*/ 25051 w 63713"/>
              <a:gd name="connsiteY0" fmla="*/ 35433 h 158972"/>
              <a:gd name="connsiteX1" fmla="*/ 15526 w 63713"/>
              <a:gd name="connsiteY1" fmla="*/ 26194 h 158972"/>
              <a:gd name="connsiteX2" fmla="*/ 3715 w 63713"/>
              <a:gd name="connsiteY2" fmla="*/ 30861 h 158972"/>
              <a:gd name="connsiteX3" fmla="*/ 3715 w 63713"/>
              <a:gd name="connsiteY3" fmla="*/ 40481 h 158972"/>
              <a:gd name="connsiteX4" fmla="*/ 0 w 63713"/>
              <a:gd name="connsiteY4" fmla="*/ 158972 h 158972"/>
              <a:gd name="connsiteX5" fmla="*/ 14288 w 63713"/>
              <a:gd name="connsiteY5" fmla="*/ 156972 h 158972"/>
              <a:gd name="connsiteX6" fmla="*/ 16383 w 63713"/>
              <a:gd name="connsiteY6" fmla="*/ 156115 h 158972"/>
              <a:gd name="connsiteX7" fmla="*/ 16859 w 63713"/>
              <a:gd name="connsiteY7" fmla="*/ 152210 h 158972"/>
              <a:gd name="connsiteX8" fmla="*/ 32004 w 63713"/>
              <a:gd name="connsiteY8" fmla="*/ 134303 h 158972"/>
              <a:gd name="connsiteX9" fmla="*/ 42958 w 63713"/>
              <a:gd name="connsiteY9" fmla="*/ 129159 h 158972"/>
              <a:gd name="connsiteX10" fmla="*/ 54769 w 63713"/>
              <a:gd name="connsiteY10" fmla="*/ 82963 h 158972"/>
              <a:gd name="connsiteX11" fmla="*/ 52864 w 63713"/>
              <a:gd name="connsiteY11" fmla="*/ 67532 h 158972"/>
              <a:gd name="connsiteX12" fmla="*/ 55245 w 63713"/>
              <a:gd name="connsiteY12" fmla="*/ 50578 h 158972"/>
              <a:gd name="connsiteX13" fmla="*/ 55055 w 63713"/>
              <a:gd name="connsiteY13" fmla="*/ 50197 h 158972"/>
              <a:gd name="connsiteX14" fmla="*/ 63627 w 63713"/>
              <a:gd name="connsiteY14" fmla="*/ 10859 h 158972"/>
              <a:gd name="connsiteX15" fmla="*/ 57436 w 63713"/>
              <a:gd name="connsiteY15" fmla="*/ 2572 h 158972"/>
              <a:gd name="connsiteX16" fmla="*/ 49530 w 63713"/>
              <a:gd name="connsiteY16" fmla="*/ 0 h 158972"/>
              <a:gd name="connsiteX17" fmla="*/ 47435 w 63713"/>
              <a:gd name="connsiteY17" fmla="*/ 1715 h 158972"/>
              <a:gd name="connsiteX18" fmla="*/ 25051 w 63713"/>
              <a:gd name="connsiteY18" fmla="*/ 35338 h 15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713" h="158972">
                <a:moveTo>
                  <a:pt x="25051" y="35433"/>
                </a:moveTo>
                <a:lnTo>
                  <a:pt x="15526" y="26194"/>
                </a:lnTo>
                <a:lnTo>
                  <a:pt x="3715" y="30861"/>
                </a:lnTo>
                <a:lnTo>
                  <a:pt x="3715" y="40481"/>
                </a:lnTo>
                <a:lnTo>
                  <a:pt x="0" y="158972"/>
                </a:lnTo>
                <a:lnTo>
                  <a:pt x="14288" y="156972"/>
                </a:lnTo>
                <a:lnTo>
                  <a:pt x="16383" y="156115"/>
                </a:lnTo>
                <a:cubicBezTo>
                  <a:pt x="16002" y="154972"/>
                  <a:pt x="16002" y="153733"/>
                  <a:pt x="16859" y="152210"/>
                </a:cubicBezTo>
                <a:cubicBezTo>
                  <a:pt x="21431" y="145447"/>
                  <a:pt x="23527" y="134303"/>
                  <a:pt x="32004" y="134303"/>
                </a:cubicBezTo>
                <a:cubicBezTo>
                  <a:pt x="32957" y="134112"/>
                  <a:pt x="40767" y="135731"/>
                  <a:pt x="42958" y="129159"/>
                </a:cubicBezTo>
                <a:cubicBezTo>
                  <a:pt x="55340" y="92107"/>
                  <a:pt x="57245" y="89630"/>
                  <a:pt x="54769" y="82963"/>
                </a:cubicBezTo>
                <a:cubicBezTo>
                  <a:pt x="54293" y="81153"/>
                  <a:pt x="50292" y="74390"/>
                  <a:pt x="52864" y="67532"/>
                </a:cubicBezTo>
                <a:cubicBezTo>
                  <a:pt x="53626" y="64675"/>
                  <a:pt x="58484" y="57436"/>
                  <a:pt x="55245" y="50578"/>
                </a:cubicBezTo>
                <a:lnTo>
                  <a:pt x="55055" y="50197"/>
                </a:lnTo>
                <a:cubicBezTo>
                  <a:pt x="50387" y="40481"/>
                  <a:pt x="64961" y="24003"/>
                  <a:pt x="63627" y="10859"/>
                </a:cubicBezTo>
                <a:cubicBezTo>
                  <a:pt x="63246" y="9906"/>
                  <a:pt x="64103" y="3143"/>
                  <a:pt x="57436" y="2572"/>
                </a:cubicBezTo>
                <a:cubicBezTo>
                  <a:pt x="56674" y="2286"/>
                  <a:pt x="50483" y="2762"/>
                  <a:pt x="49530" y="0"/>
                </a:cubicBezTo>
                <a:lnTo>
                  <a:pt x="47435" y="1715"/>
                </a:lnTo>
                <a:lnTo>
                  <a:pt x="25051" y="35338"/>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5" name="Graphic 20">
            <a:extLst>
              <a:ext uri="{FF2B5EF4-FFF2-40B4-BE49-F238E27FC236}">
                <a16:creationId xmlns:a16="http://schemas.microsoft.com/office/drawing/2014/main" id="{634C7AAD-FBD1-263B-1524-B0188C0BFF04}"/>
              </a:ext>
            </a:extLst>
          </p:cNvPr>
          <p:cNvSpPr/>
          <p:nvPr/>
        </p:nvSpPr>
        <p:spPr>
          <a:xfrm>
            <a:off x="2992080" y="4327037"/>
            <a:ext cx="141732" cy="78140"/>
          </a:xfrm>
          <a:custGeom>
            <a:avLst/>
            <a:gdLst>
              <a:gd name="connsiteX0" fmla="*/ 113538 w 141732"/>
              <a:gd name="connsiteY0" fmla="*/ 24289 h 78140"/>
              <a:gd name="connsiteX1" fmla="*/ 106775 w 141732"/>
              <a:gd name="connsiteY1" fmla="*/ 37433 h 78140"/>
              <a:gd name="connsiteX2" fmla="*/ 90869 w 141732"/>
              <a:gd name="connsiteY2" fmla="*/ 37433 h 78140"/>
              <a:gd name="connsiteX3" fmla="*/ 89726 w 141732"/>
              <a:gd name="connsiteY3" fmla="*/ 24765 h 78140"/>
              <a:gd name="connsiteX4" fmla="*/ 59531 w 141732"/>
              <a:gd name="connsiteY4" fmla="*/ 5239 h 78140"/>
              <a:gd name="connsiteX5" fmla="*/ 29623 w 141732"/>
              <a:gd name="connsiteY5" fmla="*/ 0 h 78140"/>
              <a:gd name="connsiteX6" fmla="*/ 28956 w 141732"/>
              <a:gd name="connsiteY6" fmla="*/ 16764 h 78140"/>
              <a:gd name="connsiteX7" fmla="*/ 0 w 141732"/>
              <a:gd name="connsiteY7" fmla="*/ 28670 h 78140"/>
              <a:gd name="connsiteX8" fmla="*/ 476 w 141732"/>
              <a:gd name="connsiteY8" fmla="*/ 46482 h 78140"/>
              <a:gd name="connsiteX9" fmla="*/ 476 w 141732"/>
              <a:gd name="connsiteY9" fmla="*/ 46482 h 78140"/>
              <a:gd name="connsiteX10" fmla="*/ 20860 w 141732"/>
              <a:gd name="connsiteY10" fmla="*/ 56388 h 78140"/>
              <a:gd name="connsiteX11" fmla="*/ 55055 w 141732"/>
              <a:gd name="connsiteY11" fmla="*/ 61532 h 78140"/>
              <a:gd name="connsiteX12" fmla="*/ 101632 w 141732"/>
              <a:gd name="connsiteY12" fmla="*/ 78010 h 78140"/>
              <a:gd name="connsiteX13" fmla="*/ 132302 w 141732"/>
              <a:gd name="connsiteY13" fmla="*/ 72866 h 78140"/>
              <a:gd name="connsiteX14" fmla="*/ 134207 w 141732"/>
              <a:gd name="connsiteY14" fmla="*/ 68009 h 78140"/>
              <a:gd name="connsiteX15" fmla="*/ 141732 w 141732"/>
              <a:gd name="connsiteY15" fmla="*/ 33909 h 78140"/>
              <a:gd name="connsiteX16" fmla="*/ 113443 w 141732"/>
              <a:gd name="connsiteY16" fmla="*/ 24384 h 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732" h="78140">
                <a:moveTo>
                  <a:pt x="113538" y="24289"/>
                </a:moveTo>
                <a:lnTo>
                  <a:pt x="106775" y="37433"/>
                </a:lnTo>
                <a:lnTo>
                  <a:pt x="90869" y="37433"/>
                </a:lnTo>
                <a:lnTo>
                  <a:pt x="89726" y="24765"/>
                </a:lnTo>
                <a:lnTo>
                  <a:pt x="59531" y="5239"/>
                </a:lnTo>
                <a:lnTo>
                  <a:pt x="29623" y="0"/>
                </a:lnTo>
                <a:lnTo>
                  <a:pt x="28956" y="16764"/>
                </a:lnTo>
                <a:lnTo>
                  <a:pt x="0" y="28670"/>
                </a:lnTo>
                <a:lnTo>
                  <a:pt x="476" y="46482"/>
                </a:lnTo>
                <a:lnTo>
                  <a:pt x="476" y="46482"/>
                </a:lnTo>
                <a:cubicBezTo>
                  <a:pt x="13145" y="54388"/>
                  <a:pt x="15812" y="55817"/>
                  <a:pt x="20860" y="56388"/>
                </a:cubicBezTo>
                <a:cubicBezTo>
                  <a:pt x="38672" y="58293"/>
                  <a:pt x="47816" y="58674"/>
                  <a:pt x="55055" y="61532"/>
                </a:cubicBezTo>
                <a:cubicBezTo>
                  <a:pt x="89630" y="75343"/>
                  <a:pt x="94107" y="78010"/>
                  <a:pt x="101632" y="78010"/>
                </a:cubicBezTo>
                <a:cubicBezTo>
                  <a:pt x="125349" y="78010"/>
                  <a:pt x="130207" y="79439"/>
                  <a:pt x="132302" y="72866"/>
                </a:cubicBezTo>
                <a:cubicBezTo>
                  <a:pt x="132588" y="72390"/>
                  <a:pt x="132969" y="69914"/>
                  <a:pt x="134207" y="68009"/>
                </a:cubicBezTo>
                <a:lnTo>
                  <a:pt x="141732" y="33909"/>
                </a:lnTo>
                <a:lnTo>
                  <a:pt x="113443" y="24384"/>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6" name="Graphic 22">
            <a:extLst>
              <a:ext uri="{FF2B5EF4-FFF2-40B4-BE49-F238E27FC236}">
                <a16:creationId xmlns:a16="http://schemas.microsoft.com/office/drawing/2014/main" id="{F105DE37-11A8-BB6F-5DF9-1479DFA6C4FD}"/>
              </a:ext>
            </a:extLst>
          </p:cNvPr>
          <p:cNvSpPr/>
          <p:nvPr/>
        </p:nvSpPr>
        <p:spPr>
          <a:xfrm>
            <a:off x="3042784" y="4219836"/>
            <a:ext cx="373111" cy="189433"/>
          </a:xfrm>
          <a:custGeom>
            <a:avLst/>
            <a:gdLst>
              <a:gd name="connsiteX0" fmla="*/ 10287 w 373111"/>
              <a:gd name="connsiteY0" fmla="*/ 66275 h 189433"/>
              <a:gd name="connsiteX1" fmla="*/ 16193 w 373111"/>
              <a:gd name="connsiteY1" fmla="*/ 89325 h 189433"/>
              <a:gd name="connsiteX2" fmla="*/ 0 w 373111"/>
              <a:gd name="connsiteY2" fmla="*/ 105518 h 189433"/>
              <a:gd name="connsiteX3" fmla="*/ 18574 w 373111"/>
              <a:gd name="connsiteY3" fmla="*/ 108756 h 189433"/>
              <a:gd name="connsiteX4" fmla="*/ 48768 w 373111"/>
              <a:gd name="connsiteY4" fmla="*/ 128187 h 189433"/>
              <a:gd name="connsiteX5" fmla="*/ 49911 w 373111"/>
              <a:gd name="connsiteY5" fmla="*/ 140856 h 189433"/>
              <a:gd name="connsiteX6" fmla="*/ 65818 w 373111"/>
              <a:gd name="connsiteY6" fmla="*/ 140856 h 189433"/>
              <a:gd name="connsiteX7" fmla="*/ 72581 w 373111"/>
              <a:gd name="connsiteY7" fmla="*/ 127711 h 189433"/>
              <a:gd name="connsiteX8" fmla="*/ 100870 w 373111"/>
              <a:gd name="connsiteY8" fmla="*/ 137236 h 189433"/>
              <a:gd name="connsiteX9" fmla="*/ 93345 w 373111"/>
              <a:gd name="connsiteY9" fmla="*/ 171336 h 189433"/>
              <a:gd name="connsiteX10" fmla="*/ 99346 w 373111"/>
              <a:gd name="connsiteY10" fmla="*/ 169145 h 189433"/>
              <a:gd name="connsiteX11" fmla="*/ 118491 w 373111"/>
              <a:gd name="connsiteY11" fmla="*/ 177432 h 189433"/>
              <a:gd name="connsiteX12" fmla="*/ 125063 w 373111"/>
              <a:gd name="connsiteY12" fmla="*/ 188195 h 189433"/>
              <a:gd name="connsiteX13" fmla="*/ 125254 w 373111"/>
              <a:gd name="connsiteY13" fmla="*/ 188195 h 189433"/>
              <a:gd name="connsiteX14" fmla="*/ 146304 w 373111"/>
              <a:gd name="connsiteY14" fmla="*/ 189433 h 189433"/>
              <a:gd name="connsiteX15" fmla="*/ 161830 w 373111"/>
              <a:gd name="connsiteY15" fmla="*/ 170097 h 189433"/>
              <a:gd name="connsiteX16" fmla="*/ 158210 w 373111"/>
              <a:gd name="connsiteY16" fmla="*/ 144761 h 189433"/>
              <a:gd name="connsiteX17" fmla="*/ 182118 w 373111"/>
              <a:gd name="connsiteY17" fmla="*/ 142570 h 189433"/>
              <a:gd name="connsiteX18" fmla="*/ 199835 w 373111"/>
              <a:gd name="connsiteY18" fmla="*/ 123234 h 189433"/>
              <a:gd name="connsiteX19" fmla="*/ 219170 w 373111"/>
              <a:gd name="connsiteY19" fmla="*/ 136093 h 189433"/>
              <a:gd name="connsiteX20" fmla="*/ 257651 w 373111"/>
              <a:gd name="connsiteY20" fmla="*/ 103327 h 189433"/>
              <a:gd name="connsiteX21" fmla="*/ 260033 w 373111"/>
              <a:gd name="connsiteY21" fmla="*/ 83706 h 189433"/>
              <a:gd name="connsiteX22" fmla="*/ 273463 w 373111"/>
              <a:gd name="connsiteY22" fmla="*/ 72276 h 189433"/>
              <a:gd name="connsiteX23" fmla="*/ 292799 w 373111"/>
              <a:gd name="connsiteY23" fmla="*/ 88563 h 189433"/>
              <a:gd name="connsiteX24" fmla="*/ 339281 w 373111"/>
              <a:gd name="connsiteY24" fmla="*/ 79038 h 189433"/>
              <a:gd name="connsiteX25" fmla="*/ 352520 w 373111"/>
              <a:gd name="connsiteY25" fmla="*/ 66846 h 189433"/>
              <a:gd name="connsiteX26" fmla="*/ 373094 w 373111"/>
              <a:gd name="connsiteY26" fmla="*/ 65799 h 189433"/>
              <a:gd name="connsiteX27" fmla="*/ 371856 w 373111"/>
              <a:gd name="connsiteY27" fmla="*/ 61512 h 189433"/>
              <a:gd name="connsiteX28" fmla="*/ 354902 w 373111"/>
              <a:gd name="connsiteY28" fmla="*/ 43605 h 189433"/>
              <a:gd name="connsiteX29" fmla="*/ 339566 w 373111"/>
              <a:gd name="connsiteY29" fmla="*/ 53988 h 189433"/>
              <a:gd name="connsiteX30" fmla="*/ 331851 w 373111"/>
              <a:gd name="connsiteY30" fmla="*/ 55131 h 189433"/>
              <a:gd name="connsiteX31" fmla="*/ 315182 w 373111"/>
              <a:gd name="connsiteY31" fmla="*/ 37890 h 189433"/>
              <a:gd name="connsiteX32" fmla="*/ 322517 w 373111"/>
              <a:gd name="connsiteY32" fmla="*/ 26841 h 189433"/>
              <a:gd name="connsiteX33" fmla="*/ 297752 w 373111"/>
              <a:gd name="connsiteY33" fmla="*/ 12744 h 189433"/>
              <a:gd name="connsiteX34" fmla="*/ 280321 w 373111"/>
              <a:gd name="connsiteY34" fmla="*/ 14078 h 189433"/>
              <a:gd name="connsiteX35" fmla="*/ 254889 w 373111"/>
              <a:gd name="connsiteY35" fmla="*/ 4934 h 189433"/>
              <a:gd name="connsiteX36" fmla="*/ 229553 w 373111"/>
              <a:gd name="connsiteY36" fmla="*/ 8458 h 189433"/>
              <a:gd name="connsiteX37" fmla="*/ 211455 w 373111"/>
              <a:gd name="connsiteY37" fmla="*/ 648 h 189433"/>
              <a:gd name="connsiteX38" fmla="*/ 201930 w 373111"/>
              <a:gd name="connsiteY38" fmla="*/ 8268 h 189433"/>
              <a:gd name="connsiteX39" fmla="*/ 174879 w 373111"/>
              <a:gd name="connsiteY39" fmla="*/ 17888 h 189433"/>
              <a:gd name="connsiteX40" fmla="*/ 143161 w 373111"/>
              <a:gd name="connsiteY40" fmla="*/ 17316 h 189433"/>
              <a:gd name="connsiteX41" fmla="*/ 120777 w 373111"/>
              <a:gd name="connsiteY41" fmla="*/ 14268 h 189433"/>
              <a:gd name="connsiteX42" fmla="*/ 108299 w 373111"/>
              <a:gd name="connsiteY42" fmla="*/ 13983 h 189433"/>
              <a:gd name="connsiteX43" fmla="*/ 98489 w 373111"/>
              <a:gd name="connsiteY43" fmla="*/ 8172 h 189433"/>
              <a:gd name="connsiteX44" fmla="*/ 85725 w 373111"/>
              <a:gd name="connsiteY44" fmla="*/ 12649 h 189433"/>
              <a:gd name="connsiteX45" fmla="*/ 74390 w 373111"/>
              <a:gd name="connsiteY45" fmla="*/ 21222 h 189433"/>
              <a:gd name="connsiteX46" fmla="*/ 74390 w 373111"/>
              <a:gd name="connsiteY46" fmla="*/ 21603 h 189433"/>
              <a:gd name="connsiteX47" fmla="*/ 10287 w 373111"/>
              <a:gd name="connsiteY47" fmla="*/ 66275 h 18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73111" h="189433">
                <a:moveTo>
                  <a:pt x="10287" y="66275"/>
                </a:moveTo>
                <a:lnTo>
                  <a:pt x="16193" y="89325"/>
                </a:lnTo>
                <a:lnTo>
                  <a:pt x="0" y="105518"/>
                </a:lnTo>
                <a:lnTo>
                  <a:pt x="18574" y="108756"/>
                </a:lnTo>
                <a:lnTo>
                  <a:pt x="48768" y="128187"/>
                </a:lnTo>
                <a:lnTo>
                  <a:pt x="49911" y="140856"/>
                </a:lnTo>
                <a:lnTo>
                  <a:pt x="65818" y="140856"/>
                </a:lnTo>
                <a:lnTo>
                  <a:pt x="72581" y="127711"/>
                </a:lnTo>
                <a:lnTo>
                  <a:pt x="100870" y="137236"/>
                </a:lnTo>
                <a:lnTo>
                  <a:pt x="93345" y="171336"/>
                </a:lnTo>
                <a:cubicBezTo>
                  <a:pt x="94488" y="169621"/>
                  <a:pt x="96203" y="168288"/>
                  <a:pt x="99346" y="169145"/>
                </a:cubicBezTo>
                <a:cubicBezTo>
                  <a:pt x="106966" y="171145"/>
                  <a:pt x="114110" y="172098"/>
                  <a:pt x="118491" y="177432"/>
                </a:cubicBezTo>
                <a:cubicBezTo>
                  <a:pt x="119729" y="179527"/>
                  <a:pt x="125730" y="184004"/>
                  <a:pt x="125063" y="188195"/>
                </a:cubicBezTo>
                <a:lnTo>
                  <a:pt x="125254" y="188195"/>
                </a:lnTo>
                <a:cubicBezTo>
                  <a:pt x="125254" y="188195"/>
                  <a:pt x="146304" y="189433"/>
                  <a:pt x="146304" y="189433"/>
                </a:cubicBezTo>
                <a:lnTo>
                  <a:pt x="161830" y="170097"/>
                </a:lnTo>
                <a:lnTo>
                  <a:pt x="158210" y="144761"/>
                </a:lnTo>
                <a:lnTo>
                  <a:pt x="182118" y="142570"/>
                </a:lnTo>
                <a:lnTo>
                  <a:pt x="199835" y="123234"/>
                </a:lnTo>
                <a:lnTo>
                  <a:pt x="219170" y="136093"/>
                </a:lnTo>
                <a:lnTo>
                  <a:pt x="257651" y="103327"/>
                </a:lnTo>
                <a:lnTo>
                  <a:pt x="260033" y="83706"/>
                </a:lnTo>
                <a:lnTo>
                  <a:pt x="273463" y="72276"/>
                </a:lnTo>
                <a:lnTo>
                  <a:pt x="292799" y="88563"/>
                </a:lnTo>
                <a:lnTo>
                  <a:pt x="339281" y="79038"/>
                </a:lnTo>
                <a:lnTo>
                  <a:pt x="352520" y="66846"/>
                </a:lnTo>
                <a:lnTo>
                  <a:pt x="373094" y="65799"/>
                </a:lnTo>
                <a:cubicBezTo>
                  <a:pt x="373189" y="64370"/>
                  <a:pt x="372904" y="62941"/>
                  <a:pt x="371856" y="61512"/>
                </a:cubicBezTo>
                <a:cubicBezTo>
                  <a:pt x="362807" y="48844"/>
                  <a:pt x="361188" y="45415"/>
                  <a:pt x="354902" y="43605"/>
                </a:cubicBezTo>
                <a:cubicBezTo>
                  <a:pt x="320516" y="33795"/>
                  <a:pt x="347567" y="43796"/>
                  <a:pt x="339566" y="53988"/>
                </a:cubicBezTo>
                <a:cubicBezTo>
                  <a:pt x="337757" y="56274"/>
                  <a:pt x="334232" y="56750"/>
                  <a:pt x="331851" y="55131"/>
                </a:cubicBezTo>
                <a:cubicBezTo>
                  <a:pt x="322040" y="47130"/>
                  <a:pt x="307943" y="42748"/>
                  <a:pt x="315182" y="37890"/>
                </a:cubicBezTo>
                <a:cubicBezTo>
                  <a:pt x="317373" y="35795"/>
                  <a:pt x="328613" y="31699"/>
                  <a:pt x="322517" y="26841"/>
                </a:cubicBezTo>
                <a:cubicBezTo>
                  <a:pt x="307753" y="15030"/>
                  <a:pt x="304324" y="10744"/>
                  <a:pt x="297752" y="12744"/>
                </a:cubicBezTo>
                <a:cubicBezTo>
                  <a:pt x="293942" y="13411"/>
                  <a:pt x="286988" y="17602"/>
                  <a:pt x="280321" y="14078"/>
                </a:cubicBezTo>
                <a:cubicBezTo>
                  <a:pt x="264509" y="5791"/>
                  <a:pt x="261080" y="3219"/>
                  <a:pt x="254889" y="4934"/>
                </a:cubicBezTo>
                <a:cubicBezTo>
                  <a:pt x="242507" y="8363"/>
                  <a:pt x="236125" y="11316"/>
                  <a:pt x="229553" y="8458"/>
                </a:cubicBezTo>
                <a:lnTo>
                  <a:pt x="211455" y="648"/>
                </a:lnTo>
                <a:cubicBezTo>
                  <a:pt x="204121" y="-2496"/>
                  <a:pt x="209836" y="6744"/>
                  <a:pt x="201930" y="8268"/>
                </a:cubicBezTo>
                <a:cubicBezTo>
                  <a:pt x="182975" y="11982"/>
                  <a:pt x="184214" y="17507"/>
                  <a:pt x="174879" y="17888"/>
                </a:cubicBezTo>
                <a:cubicBezTo>
                  <a:pt x="158306" y="18459"/>
                  <a:pt x="150305" y="19507"/>
                  <a:pt x="143161" y="17316"/>
                </a:cubicBezTo>
                <a:cubicBezTo>
                  <a:pt x="133445" y="14364"/>
                  <a:pt x="127159" y="11506"/>
                  <a:pt x="120777" y="14268"/>
                </a:cubicBezTo>
                <a:cubicBezTo>
                  <a:pt x="119634" y="14459"/>
                  <a:pt x="112395" y="19793"/>
                  <a:pt x="108299" y="13983"/>
                </a:cubicBezTo>
                <a:cubicBezTo>
                  <a:pt x="107347" y="13125"/>
                  <a:pt x="104966" y="7601"/>
                  <a:pt x="98489" y="8172"/>
                </a:cubicBezTo>
                <a:cubicBezTo>
                  <a:pt x="96965" y="8553"/>
                  <a:pt x="90773" y="7791"/>
                  <a:pt x="85725" y="12649"/>
                </a:cubicBezTo>
                <a:cubicBezTo>
                  <a:pt x="82867" y="14649"/>
                  <a:pt x="79153" y="20745"/>
                  <a:pt x="74390" y="21222"/>
                </a:cubicBezTo>
                <a:lnTo>
                  <a:pt x="74390" y="21603"/>
                </a:lnTo>
                <a:cubicBezTo>
                  <a:pt x="74390" y="21603"/>
                  <a:pt x="10287" y="66275"/>
                  <a:pt x="10287" y="66275"/>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7" name="Graphic 24">
            <a:extLst>
              <a:ext uri="{FF2B5EF4-FFF2-40B4-BE49-F238E27FC236}">
                <a16:creationId xmlns:a16="http://schemas.microsoft.com/office/drawing/2014/main" id="{D7E5358F-A7B4-8C2F-9889-0815CFD4EA5B}"/>
              </a:ext>
            </a:extLst>
          </p:cNvPr>
          <p:cNvSpPr/>
          <p:nvPr/>
        </p:nvSpPr>
        <p:spPr>
          <a:xfrm>
            <a:off x="3149205" y="4289457"/>
            <a:ext cx="271403" cy="263080"/>
          </a:xfrm>
          <a:custGeom>
            <a:avLst/>
            <a:gdLst>
              <a:gd name="connsiteX0" fmla="*/ 237971 w 271403"/>
              <a:gd name="connsiteY0" fmla="*/ 12954 h 263080"/>
              <a:gd name="connsiteX1" fmla="*/ 191489 w 271403"/>
              <a:gd name="connsiteY1" fmla="*/ 22479 h 263080"/>
              <a:gd name="connsiteX2" fmla="*/ 172153 w 271403"/>
              <a:gd name="connsiteY2" fmla="*/ 6191 h 263080"/>
              <a:gd name="connsiteX3" fmla="*/ 158723 w 271403"/>
              <a:gd name="connsiteY3" fmla="*/ 17621 h 263080"/>
              <a:gd name="connsiteX4" fmla="*/ 156341 w 271403"/>
              <a:gd name="connsiteY4" fmla="*/ 37243 h 263080"/>
              <a:gd name="connsiteX5" fmla="*/ 117860 w 271403"/>
              <a:gd name="connsiteY5" fmla="*/ 70009 h 263080"/>
              <a:gd name="connsiteX6" fmla="*/ 98525 w 271403"/>
              <a:gd name="connsiteY6" fmla="*/ 57150 h 263080"/>
              <a:gd name="connsiteX7" fmla="*/ 80808 w 271403"/>
              <a:gd name="connsiteY7" fmla="*/ 76486 h 263080"/>
              <a:gd name="connsiteX8" fmla="*/ 56900 w 271403"/>
              <a:gd name="connsiteY8" fmla="*/ 78677 h 263080"/>
              <a:gd name="connsiteX9" fmla="*/ 60520 w 271403"/>
              <a:gd name="connsiteY9" fmla="*/ 104013 h 263080"/>
              <a:gd name="connsiteX10" fmla="*/ 44994 w 271403"/>
              <a:gd name="connsiteY10" fmla="*/ 123349 h 263080"/>
              <a:gd name="connsiteX11" fmla="*/ 23944 w 271403"/>
              <a:gd name="connsiteY11" fmla="*/ 122206 h 263080"/>
              <a:gd name="connsiteX12" fmla="*/ 23753 w 271403"/>
              <a:gd name="connsiteY12" fmla="*/ 122206 h 263080"/>
              <a:gd name="connsiteX13" fmla="*/ 21753 w 271403"/>
              <a:gd name="connsiteY13" fmla="*/ 125349 h 263080"/>
              <a:gd name="connsiteX14" fmla="*/ 12514 w 271403"/>
              <a:gd name="connsiteY14" fmla="*/ 126397 h 263080"/>
              <a:gd name="connsiteX15" fmla="*/ 1370 w 271403"/>
              <a:gd name="connsiteY15" fmla="*/ 125730 h 263080"/>
              <a:gd name="connsiteX16" fmla="*/ 1941 w 271403"/>
              <a:gd name="connsiteY16" fmla="*/ 132112 h 263080"/>
              <a:gd name="connsiteX17" fmla="*/ 50042 w 271403"/>
              <a:gd name="connsiteY17" fmla="*/ 169259 h 263080"/>
              <a:gd name="connsiteX18" fmla="*/ 65187 w 271403"/>
              <a:gd name="connsiteY18" fmla="*/ 191929 h 263080"/>
              <a:gd name="connsiteX19" fmla="*/ 115003 w 271403"/>
              <a:gd name="connsiteY19" fmla="*/ 239268 h 263080"/>
              <a:gd name="connsiteX20" fmla="*/ 116432 w 271403"/>
              <a:gd name="connsiteY20" fmla="*/ 243269 h 263080"/>
              <a:gd name="connsiteX21" fmla="*/ 116432 w 271403"/>
              <a:gd name="connsiteY21" fmla="*/ 243269 h 263080"/>
              <a:gd name="connsiteX22" fmla="*/ 127100 w 271403"/>
              <a:gd name="connsiteY22" fmla="*/ 238125 h 263080"/>
              <a:gd name="connsiteX23" fmla="*/ 166152 w 271403"/>
              <a:gd name="connsiteY23" fmla="*/ 252794 h 263080"/>
              <a:gd name="connsiteX24" fmla="*/ 183202 w 271403"/>
              <a:gd name="connsiteY24" fmla="*/ 241935 h 263080"/>
              <a:gd name="connsiteX25" fmla="*/ 227874 w 271403"/>
              <a:gd name="connsiteY25" fmla="*/ 263081 h 263080"/>
              <a:gd name="connsiteX26" fmla="*/ 242924 w 271403"/>
              <a:gd name="connsiteY26" fmla="*/ 251841 h 263080"/>
              <a:gd name="connsiteX27" fmla="*/ 236828 w 271403"/>
              <a:gd name="connsiteY27" fmla="*/ 246126 h 263080"/>
              <a:gd name="connsiteX28" fmla="*/ 228827 w 271403"/>
              <a:gd name="connsiteY28" fmla="*/ 228791 h 263080"/>
              <a:gd name="connsiteX29" fmla="*/ 241019 w 271403"/>
              <a:gd name="connsiteY29" fmla="*/ 199549 h 263080"/>
              <a:gd name="connsiteX30" fmla="*/ 239971 w 271403"/>
              <a:gd name="connsiteY30" fmla="*/ 179546 h 263080"/>
              <a:gd name="connsiteX31" fmla="*/ 233875 w 271403"/>
              <a:gd name="connsiteY31" fmla="*/ 155353 h 263080"/>
              <a:gd name="connsiteX32" fmla="*/ 243019 w 271403"/>
              <a:gd name="connsiteY32" fmla="*/ 154877 h 263080"/>
              <a:gd name="connsiteX33" fmla="*/ 244924 w 271403"/>
              <a:gd name="connsiteY33" fmla="*/ 158877 h 263080"/>
              <a:gd name="connsiteX34" fmla="*/ 256068 w 271403"/>
              <a:gd name="connsiteY34" fmla="*/ 154781 h 263080"/>
              <a:gd name="connsiteX35" fmla="*/ 249591 w 271403"/>
              <a:gd name="connsiteY35" fmla="*/ 82106 h 263080"/>
              <a:gd name="connsiteX36" fmla="*/ 267308 w 271403"/>
              <a:gd name="connsiteY36" fmla="*/ 40005 h 263080"/>
              <a:gd name="connsiteX37" fmla="*/ 264831 w 271403"/>
              <a:gd name="connsiteY37" fmla="*/ 10192 h 263080"/>
              <a:gd name="connsiteX38" fmla="*/ 271403 w 271403"/>
              <a:gd name="connsiteY38" fmla="*/ 0 h 263080"/>
              <a:gd name="connsiteX39" fmla="*/ 250829 w 271403"/>
              <a:gd name="connsiteY39" fmla="*/ 1048 h 263080"/>
              <a:gd name="connsiteX40" fmla="*/ 237590 w 271403"/>
              <a:gd name="connsiteY40" fmla="*/ 13240 h 263080"/>
              <a:gd name="connsiteX41" fmla="*/ 164533 w 271403"/>
              <a:gd name="connsiteY41" fmla="*/ 230029 h 263080"/>
              <a:gd name="connsiteX42" fmla="*/ 125766 w 271403"/>
              <a:gd name="connsiteY42" fmla="*/ 223171 h 263080"/>
              <a:gd name="connsiteX43" fmla="*/ 105668 w 271403"/>
              <a:gd name="connsiteY43" fmla="*/ 181261 h 263080"/>
              <a:gd name="connsiteX44" fmla="*/ 139958 w 271403"/>
              <a:gd name="connsiteY44" fmla="*/ 186214 h 263080"/>
              <a:gd name="connsiteX45" fmla="*/ 162342 w 271403"/>
              <a:gd name="connsiteY45" fmla="*/ 211074 h 263080"/>
              <a:gd name="connsiteX46" fmla="*/ 164533 w 271403"/>
              <a:gd name="connsiteY46" fmla="*/ 230029 h 26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71403" h="263080">
                <a:moveTo>
                  <a:pt x="237971" y="12954"/>
                </a:moveTo>
                <a:lnTo>
                  <a:pt x="191489" y="22479"/>
                </a:lnTo>
                <a:lnTo>
                  <a:pt x="172153" y="6191"/>
                </a:lnTo>
                <a:lnTo>
                  <a:pt x="158723" y="17621"/>
                </a:lnTo>
                <a:lnTo>
                  <a:pt x="156341" y="37243"/>
                </a:lnTo>
                <a:lnTo>
                  <a:pt x="117860" y="70009"/>
                </a:lnTo>
                <a:lnTo>
                  <a:pt x="98525" y="57150"/>
                </a:lnTo>
                <a:lnTo>
                  <a:pt x="80808" y="76486"/>
                </a:lnTo>
                <a:lnTo>
                  <a:pt x="56900" y="78677"/>
                </a:lnTo>
                <a:lnTo>
                  <a:pt x="60520" y="104013"/>
                </a:lnTo>
                <a:lnTo>
                  <a:pt x="44994" y="123349"/>
                </a:lnTo>
                <a:lnTo>
                  <a:pt x="23944" y="122206"/>
                </a:lnTo>
                <a:lnTo>
                  <a:pt x="23753" y="122206"/>
                </a:lnTo>
                <a:cubicBezTo>
                  <a:pt x="23563" y="123254"/>
                  <a:pt x="23087" y="124301"/>
                  <a:pt x="21753" y="125349"/>
                </a:cubicBezTo>
                <a:cubicBezTo>
                  <a:pt x="20801" y="125730"/>
                  <a:pt x="17181" y="128683"/>
                  <a:pt x="12514" y="126397"/>
                </a:cubicBezTo>
                <a:cubicBezTo>
                  <a:pt x="11561" y="126111"/>
                  <a:pt x="5942" y="121920"/>
                  <a:pt x="1370" y="125730"/>
                </a:cubicBezTo>
                <a:cubicBezTo>
                  <a:pt x="-631" y="127445"/>
                  <a:pt x="-440" y="130302"/>
                  <a:pt x="1941" y="132112"/>
                </a:cubicBezTo>
                <a:lnTo>
                  <a:pt x="50042" y="169259"/>
                </a:lnTo>
                <a:cubicBezTo>
                  <a:pt x="56710" y="174403"/>
                  <a:pt x="65759" y="192881"/>
                  <a:pt x="65187" y="191929"/>
                </a:cubicBezTo>
                <a:cubicBezTo>
                  <a:pt x="69759" y="200025"/>
                  <a:pt x="115955" y="240125"/>
                  <a:pt x="115003" y="239268"/>
                </a:cubicBezTo>
                <a:cubicBezTo>
                  <a:pt x="116241" y="240411"/>
                  <a:pt x="116717" y="241840"/>
                  <a:pt x="116432" y="243269"/>
                </a:cubicBezTo>
                <a:lnTo>
                  <a:pt x="116432" y="243269"/>
                </a:lnTo>
                <a:cubicBezTo>
                  <a:pt x="116432" y="243269"/>
                  <a:pt x="127100" y="238125"/>
                  <a:pt x="127100" y="238125"/>
                </a:cubicBezTo>
                <a:lnTo>
                  <a:pt x="166152" y="252794"/>
                </a:lnTo>
                <a:lnTo>
                  <a:pt x="183202" y="241935"/>
                </a:lnTo>
                <a:lnTo>
                  <a:pt x="227874" y="263081"/>
                </a:lnTo>
                <a:lnTo>
                  <a:pt x="242924" y="251841"/>
                </a:lnTo>
                <a:cubicBezTo>
                  <a:pt x="239876" y="248031"/>
                  <a:pt x="236066" y="245364"/>
                  <a:pt x="236828" y="246126"/>
                </a:cubicBezTo>
                <a:cubicBezTo>
                  <a:pt x="230636" y="241364"/>
                  <a:pt x="228446" y="227838"/>
                  <a:pt x="228827" y="228791"/>
                </a:cubicBezTo>
                <a:cubicBezTo>
                  <a:pt x="225969" y="218123"/>
                  <a:pt x="241686" y="211646"/>
                  <a:pt x="241019" y="199549"/>
                </a:cubicBezTo>
                <a:lnTo>
                  <a:pt x="239971" y="179546"/>
                </a:lnTo>
                <a:cubicBezTo>
                  <a:pt x="239399" y="167164"/>
                  <a:pt x="226160" y="161354"/>
                  <a:pt x="233875" y="155353"/>
                </a:cubicBezTo>
                <a:cubicBezTo>
                  <a:pt x="234827" y="154972"/>
                  <a:pt x="240066" y="148685"/>
                  <a:pt x="243019" y="154877"/>
                </a:cubicBezTo>
                <a:lnTo>
                  <a:pt x="244924" y="158877"/>
                </a:lnTo>
                <a:cubicBezTo>
                  <a:pt x="248067" y="165259"/>
                  <a:pt x="257021" y="161830"/>
                  <a:pt x="256068" y="154781"/>
                </a:cubicBezTo>
                <a:cubicBezTo>
                  <a:pt x="247496" y="89916"/>
                  <a:pt x="246257" y="88678"/>
                  <a:pt x="249591" y="82106"/>
                </a:cubicBezTo>
                <a:cubicBezTo>
                  <a:pt x="266260" y="49816"/>
                  <a:pt x="268927" y="46958"/>
                  <a:pt x="267308" y="40005"/>
                </a:cubicBezTo>
                <a:cubicBezTo>
                  <a:pt x="262355" y="18574"/>
                  <a:pt x="260545" y="15240"/>
                  <a:pt x="264831" y="10192"/>
                </a:cubicBezTo>
                <a:cubicBezTo>
                  <a:pt x="265974" y="8192"/>
                  <a:pt x="271023" y="4382"/>
                  <a:pt x="271403" y="0"/>
                </a:cubicBezTo>
                <a:lnTo>
                  <a:pt x="250829" y="1048"/>
                </a:lnTo>
                <a:lnTo>
                  <a:pt x="237590" y="13240"/>
                </a:lnTo>
                <a:close/>
                <a:moveTo>
                  <a:pt x="164533" y="230029"/>
                </a:moveTo>
                <a:cubicBezTo>
                  <a:pt x="164247" y="236506"/>
                  <a:pt x="159961" y="233553"/>
                  <a:pt x="125766" y="223171"/>
                </a:cubicBezTo>
                <a:cubicBezTo>
                  <a:pt x="119575" y="221266"/>
                  <a:pt x="119670" y="218027"/>
                  <a:pt x="105668" y="181261"/>
                </a:cubicBezTo>
                <a:cubicBezTo>
                  <a:pt x="103287" y="175070"/>
                  <a:pt x="139958" y="186214"/>
                  <a:pt x="139958" y="186214"/>
                </a:cubicBezTo>
                <a:cubicBezTo>
                  <a:pt x="146150" y="187833"/>
                  <a:pt x="148055" y="191929"/>
                  <a:pt x="162342" y="211074"/>
                </a:cubicBezTo>
                <a:cubicBezTo>
                  <a:pt x="166152" y="216218"/>
                  <a:pt x="164819" y="223171"/>
                  <a:pt x="164533" y="230029"/>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8" name="Graphic 26">
            <a:extLst>
              <a:ext uri="{FF2B5EF4-FFF2-40B4-BE49-F238E27FC236}">
                <a16:creationId xmlns:a16="http://schemas.microsoft.com/office/drawing/2014/main" id="{8A0BF827-2CE1-C07A-F174-98AFE4FB28BA}"/>
              </a:ext>
            </a:extLst>
          </p:cNvPr>
          <p:cNvSpPr/>
          <p:nvPr/>
        </p:nvSpPr>
        <p:spPr>
          <a:xfrm>
            <a:off x="3265155" y="4539419"/>
            <a:ext cx="199711" cy="182860"/>
          </a:xfrm>
          <a:custGeom>
            <a:avLst/>
            <a:gdLst>
              <a:gd name="connsiteX0" fmla="*/ 72553 w 199711"/>
              <a:gd name="connsiteY0" fmla="*/ 3810 h 182860"/>
              <a:gd name="connsiteX1" fmla="*/ 55503 w 199711"/>
              <a:gd name="connsiteY1" fmla="*/ 14669 h 182860"/>
              <a:gd name="connsiteX2" fmla="*/ 16450 w 199711"/>
              <a:gd name="connsiteY2" fmla="*/ 0 h 182860"/>
              <a:gd name="connsiteX3" fmla="*/ 5687 w 199711"/>
              <a:gd name="connsiteY3" fmla="*/ 5144 h 182860"/>
              <a:gd name="connsiteX4" fmla="*/ 5687 w 199711"/>
              <a:gd name="connsiteY4" fmla="*/ 5144 h 182860"/>
              <a:gd name="connsiteX5" fmla="*/ 3973 w 199711"/>
              <a:gd name="connsiteY5" fmla="*/ 8096 h 182860"/>
              <a:gd name="connsiteX6" fmla="*/ 2068 w 199711"/>
              <a:gd name="connsiteY6" fmla="*/ 9620 h 182860"/>
              <a:gd name="connsiteX7" fmla="*/ 9783 w 199711"/>
              <a:gd name="connsiteY7" fmla="*/ 30575 h 182860"/>
              <a:gd name="connsiteX8" fmla="*/ 1210 w 199711"/>
              <a:gd name="connsiteY8" fmla="*/ 51530 h 182860"/>
              <a:gd name="connsiteX9" fmla="*/ 18165 w 199711"/>
              <a:gd name="connsiteY9" fmla="*/ 78486 h 182860"/>
              <a:gd name="connsiteX10" fmla="*/ 34929 w 199711"/>
              <a:gd name="connsiteY10" fmla="*/ 82868 h 182860"/>
              <a:gd name="connsiteX11" fmla="*/ 46645 w 199711"/>
              <a:gd name="connsiteY11" fmla="*/ 90392 h 182860"/>
              <a:gd name="connsiteX12" fmla="*/ 50169 w 199711"/>
              <a:gd name="connsiteY12" fmla="*/ 78010 h 182860"/>
              <a:gd name="connsiteX13" fmla="*/ 38548 w 199711"/>
              <a:gd name="connsiteY13" fmla="*/ 57817 h 182860"/>
              <a:gd name="connsiteX14" fmla="*/ 51312 w 199711"/>
              <a:gd name="connsiteY14" fmla="*/ 57626 h 182860"/>
              <a:gd name="connsiteX15" fmla="*/ 69409 w 199711"/>
              <a:gd name="connsiteY15" fmla="*/ 73724 h 182860"/>
              <a:gd name="connsiteX16" fmla="*/ 74648 w 199711"/>
              <a:gd name="connsiteY16" fmla="*/ 89154 h 182860"/>
              <a:gd name="connsiteX17" fmla="*/ 80554 w 199711"/>
              <a:gd name="connsiteY17" fmla="*/ 95536 h 182860"/>
              <a:gd name="connsiteX18" fmla="*/ 98270 w 199711"/>
              <a:gd name="connsiteY18" fmla="*/ 101060 h 182860"/>
              <a:gd name="connsiteX19" fmla="*/ 130369 w 199711"/>
              <a:gd name="connsiteY19" fmla="*/ 127826 h 182860"/>
              <a:gd name="connsiteX20" fmla="*/ 130750 w 199711"/>
              <a:gd name="connsiteY20" fmla="*/ 154400 h 182860"/>
              <a:gd name="connsiteX21" fmla="*/ 143895 w 199711"/>
              <a:gd name="connsiteY21" fmla="*/ 164592 h 182860"/>
              <a:gd name="connsiteX22" fmla="*/ 149515 w 199711"/>
              <a:gd name="connsiteY22" fmla="*/ 153924 h 182860"/>
              <a:gd name="connsiteX23" fmla="*/ 149610 w 199711"/>
              <a:gd name="connsiteY23" fmla="*/ 144685 h 182860"/>
              <a:gd name="connsiteX24" fmla="*/ 159135 w 199711"/>
              <a:gd name="connsiteY24" fmla="*/ 146876 h 182860"/>
              <a:gd name="connsiteX25" fmla="*/ 164374 w 199711"/>
              <a:gd name="connsiteY25" fmla="*/ 162973 h 182860"/>
              <a:gd name="connsiteX26" fmla="*/ 167231 w 199711"/>
              <a:gd name="connsiteY26" fmla="*/ 173927 h 182860"/>
              <a:gd name="connsiteX27" fmla="*/ 180471 w 199711"/>
              <a:gd name="connsiteY27" fmla="*/ 180023 h 182860"/>
              <a:gd name="connsiteX28" fmla="*/ 182566 w 199711"/>
              <a:gd name="connsiteY28" fmla="*/ 170212 h 182860"/>
              <a:gd name="connsiteX29" fmla="*/ 181900 w 199711"/>
              <a:gd name="connsiteY29" fmla="*/ 167545 h 182860"/>
              <a:gd name="connsiteX30" fmla="*/ 178757 w 199711"/>
              <a:gd name="connsiteY30" fmla="*/ 156591 h 182860"/>
              <a:gd name="connsiteX31" fmla="*/ 189615 w 199711"/>
              <a:gd name="connsiteY31" fmla="*/ 130683 h 182860"/>
              <a:gd name="connsiteX32" fmla="*/ 176661 w 199711"/>
              <a:gd name="connsiteY32" fmla="*/ 121444 h 182860"/>
              <a:gd name="connsiteX33" fmla="*/ 176851 w 199711"/>
              <a:gd name="connsiteY33" fmla="*/ 102965 h 182860"/>
              <a:gd name="connsiteX34" fmla="*/ 191044 w 199711"/>
              <a:gd name="connsiteY34" fmla="*/ 104299 h 182860"/>
              <a:gd name="connsiteX35" fmla="*/ 199330 w 199711"/>
              <a:gd name="connsiteY35" fmla="*/ 95059 h 182860"/>
              <a:gd name="connsiteX36" fmla="*/ 199711 w 199711"/>
              <a:gd name="connsiteY36" fmla="*/ 94583 h 182860"/>
              <a:gd name="connsiteX37" fmla="*/ 181328 w 199711"/>
              <a:gd name="connsiteY37" fmla="*/ 83058 h 182860"/>
              <a:gd name="connsiteX38" fmla="*/ 150658 w 199711"/>
              <a:gd name="connsiteY38" fmla="*/ 50483 h 182860"/>
              <a:gd name="connsiteX39" fmla="*/ 135132 w 199711"/>
              <a:gd name="connsiteY39" fmla="*/ 18193 h 182860"/>
              <a:gd name="connsiteX40" fmla="*/ 132370 w 199711"/>
              <a:gd name="connsiteY40" fmla="*/ 13716 h 182860"/>
              <a:gd name="connsiteX41" fmla="*/ 117320 w 199711"/>
              <a:gd name="connsiteY41" fmla="*/ 24955 h 182860"/>
              <a:gd name="connsiteX42" fmla="*/ 72553 w 199711"/>
              <a:gd name="connsiteY42" fmla="*/ 3810 h 18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9711" h="182860">
                <a:moveTo>
                  <a:pt x="72553" y="3810"/>
                </a:moveTo>
                <a:lnTo>
                  <a:pt x="55503" y="14669"/>
                </a:lnTo>
                <a:lnTo>
                  <a:pt x="16450" y="0"/>
                </a:lnTo>
                <a:lnTo>
                  <a:pt x="5687" y="5144"/>
                </a:lnTo>
                <a:lnTo>
                  <a:pt x="5687" y="5144"/>
                </a:lnTo>
                <a:cubicBezTo>
                  <a:pt x="5497" y="6287"/>
                  <a:pt x="5020" y="7334"/>
                  <a:pt x="3973" y="8096"/>
                </a:cubicBezTo>
                <a:lnTo>
                  <a:pt x="2068" y="9620"/>
                </a:lnTo>
                <a:cubicBezTo>
                  <a:pt x="-6791" y="16764"/>
                  <a:pt x="16069" y="21146"/>
                  <a:pt x="9783" y="30575"/>
                </a:cubicBezTo>
                <a:cubicBezTo>
                  <a:pt x="6259" y="37148"/>
                  <a:pt x="-2123" y="43815"/>
                  <a:pt x="1210" y="51530"/>
                </a:cubicBezTo>
                <a:cubicBezTo>
                  <a:pt x="10354" y="72866"/>
                  <a:pt x="11212" y="78486"/>
                  <a:pt x="18165" y="78486"/>
                </a:cubicBezTo>
                <a:cubicBezTo>
                  <a:pt x="21689" y="78962"/>
                  <a:pt x="30452" y="76581"/>
                  <a:pt x="34929" y="82868"/>
                </a:cubicBezTo>
                <a:cubicBezTo>
                  <a:pt x="37215" y="85153"/>
                  <a:pt x="41596" y="96298"/>
                  <a:pt x="46645" y="90392"/>
                </a:cubicBezTo>
                <a:cubicBezTo>
                  <a:pt x="47407" y="88964"/>
                  <a:pt x="55122" y="83344"/>
                  <a:pt x="50169" y="78010"/>
                </a:cubicBezTo>
                <a:cubicBezTo>
                  <a:pt x="43406" y="69152"/>
                  <a:pt x="30547" y="61246"/>
                  <a:pt x="38548" y="57817"/>
                </a:cubicBezTo>
                <a:cubicBezTo>
                  <a:pt x="39501" y="57626"/>
                  <a:pt x="46168" y="53054"/>
                  <a:pt x="51312" y="57626"/>
                </a:cubicBezTo>
                <a:lnTo>
                  <a:pt x="69409" y="73724"/>
                </a:lnTo>
                <a:cubicBezTo>
                  <a:pt x="75029" y="78677"/>
                  <a:pt x="74934" y="90107"/>
                  <a:pt x="74648" y="89154"/>
                </a:cubicBezTo>
                <a:cubicBezTo>
                  <a:pt x="74934" y="92107"/>
                  <a:pt x="77601" y="94964"/>
                  <a:pt x="80554" y="95536"/>
                </a:cubicBezTo>
                <a:cubicBezTo>
                  <a:pt x="86935" y="96774"/>
                  <a:pt x="92746" y="97441"/>
                  <a:pt x="98270" y="101060"/>
                </a:cubicBezTo>
                <a:cubicBezTo>
                  <a:pt x="126845" y="119634"/>
                  <a:pt x="131513" y="120777"/>
                  <a:pt x="130369" y="127826"/>
                </a:cubicBezTo>
                <a:cubicBezTo>
                  <a:pt x="127512" y="145161"/>
                  <a:pt x="125321" y="150209"/>
                  <a:pt x="130750" y="154400"/>
                </a:cubicBezTo>
                <a:lnTo>
                  <a:pt x="143895" y="164592"/>
                </a:lnTo>
                <a:cubicBezTo>
                  <a:pt x="149515" y="168974"/>
                  <a:pt x="153515" y="159830"/>
                  <a:pt x="149515" y="153924"/>
                </a:cubicBezTo>
                <a:cubicBezTo>
                  <a:pt x="149229" y="152972"/>
                  <a:pt x="143133" y="147066"/>
                  <a:pt x="149610" y="144685"/>
                </a:cubicBezTo>
                <a:cubicBezTo>
                  <a:pt x="150563" y="144685"/>
                  <a:pt x="155992" y="141351"/>
                  <a:pt x="159135" y="146876"/>
                </a:cubicBezTo>
                <a:cubicBezTo>
                  <a:pt x="160278" y="149447"/>
                  <a:pt x="165517" y="155543"/>
                  <a:pt x="164374" y="162973"/>
                </a:cubicBezTo>
                <a:cubicBezTo>
                  <a:pt x="164374" y="163925"/>
                  <a:pt x="162469" y="169640"/>
                  <a:pt x="167231" y="173927"/>
                </a:cubicBezTo>
                <a:cubicBezTo>
                  <a:pt x="170946" y="176594"/>
                  <a:pt x="179614" y="188119"/>
                  <a:pt x="180471" y="180023"/>
                </a:cubicBezTo>
                <a:cubicBezTo>
                  <a:pt x="180947" y="178499"/>
                  <a:pt x="180471" y="172879"/>
                  <a:pt x="182566" y="170212"/>
                </a:cubicBezTo>
                <a:lnTo>
                  <a:pt x="181900" y="167545"/>
                </a:lnTo>
                <a:lnTo>
                  <a:pt x="178757" y="156591"/>
                </a:lnTo>
                <a:lnTo>
                  <a:pt x="189615" y="130683"/>
                </a:lnTo>
                <a:lnTo>
                  <a:pt x="176661" y="121444"/>
                </a:lnTo>
                <a:lnTo>
                  <a:pt x="176851" y="102965"/>
                </a:lnTo>
                <a:lnTo>
                  <a:pt x="191044" y="104299"/>
                </a:lnTo>
                <a:lnTo>
                  <a:pt x="199330" y="95059"/>
                </a:lnTo>
                <a:lnTo>
                  <a:pt x="199711" y="94583"/>
                </a:lnTo>
                <a:cubicBezTo>
                  <a:pt x="192663" y="91154"/>
                  <a:pt x="185614" y="87535"/>
                  <a:pt x="181328" y="83058"/>
                </a:cubicBezTo>
                <a:lnTo>
                  <a:pt x="150658" y="50483"/>
                </a:lnTo>
                <a:cubicBezTo>
                  <a:pt x="144752" y="44196"/>
                  <a:pt x="134751" y="17240"/>
                  <a:pt x="135132" y="18193"/>
                </a:cubicBezTo>
                <a:cubicBezTo>
                  <a:pt x="134465" y="16574"/>
                  <a:pt x="133417" y="15050"/>
                  <a:pt x="132370" y="13716"/>
                </a:cubicBezTo>
                <a:lnTo>
                  <a:pt x="117320" y="24955"/>
                </a:lnTo>
                <a:lnTo>
                  <a:pt x="72553" y="3810"/>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9" name="Graphic 30">
            <a:extLst>
              <a:ext uri="{FF2B5EF4-FFF2-40B4-BE49-F238E27FC236}">
                <a16:creationId xmlns:a16="http://schemas.microsoft.com/office/drawing/2014/main" id="{DA093989-906F-1AE5-E4A3-173C88C14FCF}"/>
              </a:ext>
            </a:extLst>
          </p:cNvPr>
          <p:cNvSpPr/>
          <p:nvPr/>
        </p:nvSpPr>
        <p:spPr>
          <a:xfrm>
            <a:off x="3449278" y="4629793"/>
            <a:ext cx="339470" cy="144735"/>
          </a:xfrm>
          <a:custGeom>
            <a:avLst/>
            <a:gdLst>
              <a:gd name="connsiteX0" fmla="*/ 14383 w 339470"/>
              <a:gd name="connsiteY0" fmla="*/ 14781 h 144735"/>
              <a:gd name="connsiteX1" fmla="*/ 191 w 339470"/>
              <a:gd name="connsiteY1" fmla="*/ 13448 h 144735"/>
              <a:gd name="connsiteX2" fmla="*/ 0 w 339470"/>
              <a:gd name="connsiteY2" fmla="*/ 31926 h 144735"/>
              <a:gd name="connsiteX3" fmla="*/ 12954 w 339470"/>
              <a:gd name="connsiteY3" fmla="*/ 41166 h 144735"/>
              <a:gd name="connsiteX4" fmla="*/ 2096 w 339470"/>
              <a:gd name="connsiteY4" fmla="*/ 67074 h 144735"/>
              <a:gd name="connsiteX5" fmla="*/ 5239 w 339470"/>
              <a:gd name="connsiteY5" fmla="*/ 78027 h 144735"/>
              <a:gd name="connsiteX6" fmla="*/ 5906 w 339470"/>
              <a:gd name="connsiteY6" fmla="*/ 80694 h 144735"/>
              <a:gd name="connsiteX7" fmla="*/ 10382 w 339470"/>
              <a:gd name="connsiteY7" fmla="*/ 79456 h 144735"/>
              <a:gd name="connsiteX8" fmla="*/ 47625 w 339470"/>
              <a:gd name="connsiteY8" fmla="*/ 86314 h 144735"/>
              <a:gd name="connsiteX9" fmla="*/ 72676 w 339470"/>
              <a:gd name="connsiteY9" fmla="*/ 95458 h 144735"/>
              <a:gd name="connsiteX10" fmla="*/ 84106 w 339470"/>
              <a:gd name="connsiteY10" fmla="*/ 117461 h 144735"/>
              <a:gd name="connsiteX11" fmla="*/ 99155 w 339470"/>
              <a:gd name="connsiteY11" fmla="*/ 117080 h 144735"/>
              <a:gd name="connsiteX12" fmla="*/ 99346 w 339470"/>
              <a:gd name="connsiteY12" fmla="*/ 112413 h 144735"/>
              <a:gd name="connsiteX13" fmla="*/ 112014 w 339470"/>
              <a:gd name="connsiteY13" fmla="*/ 112127 h 144735"/>
              <a:gd name="connsiteX14" fmla="*/ 128397 w 339470"/>
              <a:gd name="connsiteY14" fmla="*/ 144702 h 144735"/>
              <a:gd name="connsiteX15" fmla="*/ 150971 w 339470"/>
              <a:gd name="connsiteY15" fmla="*/ 138416 h 144735"/>
              <a:gd name="connsiteX16" fmla="*/ 160211 w 339470"/>
              <a:gd name="connsiteY16" fmla="*/ 131367 h 144735"/>
              <a:gd name="connsiteX17" fmla="*/ 174879 w 339470"/>
              <a:gd name="connsiteY17" fmla="*/ 127843 h 144735"/>
              <a:gd name="connsiteX18" fmla="*/ 170974 w 339470"/>
              <a:gd name="connsiteY18" fmla="*/ 120223 h 144735"/>
              <a:gd name="connsiteX19" fmla="*/ 148304 w 339470"/>
              <a:gd name="connsiteY19" fmla="*/ 96696 h 144735"/>
              <a:gd name="connsiteX20" fmla="*/ 146590 w 339470"/>
              <a:gd name="connsiteY20" fmla="*/ 83361 h 144735"/>
              <a:gd name="connsiteX21" fmla="*/ 156210 w 339470"/>
              <a:gd name="connsiteY21" fmla="*/ 79075 h 144735"/>
              <a:gd name="connsiteX22" fmla="*/ 166116 w 339470"/>
              <a:gd name="connsiteY22" fmla="*/ 76694 h 144735"/>
              <a:gd name="connsiteX23" fmla="*/ 183261 w 339470"/>
              <a:gd name="connsiteY23" fmla="*/ 65550 h 144735"/>
              <a:gd name="connsiteX24" fmla="*/ 188024 w 339470"/>
              <a:gd name="connsiteY24" fmla="*/ 54120 h 144735"/>
              <a:gd name="connsiteX25" fmla="*/ 192691 w 339470"/>
              <a:gd name="connsiteY25" fmla="*/ 45833 h 144735"/>
              <a:gd name="connsiteX26" fmla="*/ 214313 w 339470"/>
              <a:gd name="connsiteY26" fmla="*/ 36879 h 144735"/>
              <a:gd name="connsiteX27" fmla="*/ 241268 w 339470"/>
              <a:gd name="connsiteY27" fmla="*/ 45166 h 144735"/>
              <a:gd name="connsiteX28" fmla="*/ 256985 w 339470"/>
              <a:gd name="connsiteY28" fmla="*/ 55929 h 144735"/>
              <a:gd name="connsiteX29" fmla="*/ 262985 w 339470"/>
              <a:gd name="connsiteY29" fmla="*/ 67359 h 144735"/>
              <a:gd name="connsiteX30" fmla="*/ 274320 w 339470"/>
              <a:gd name="connsiteY30" fmla="*/ 74217 h 144735"/>
              <a:gd name="connsiteX31" fmla="*/ 283464 w 339470"/>
              <a:gd name="connsiteY31" fmla="*/ 72979 h 144735"/>
              <a:gd name="connsiteX32" fmla="*/ 285274 w 339470"/>
              <a:gd name="connsiteY32" fmla="*/ 73836 h 144735"/>
              <a:gd name="connsiteX33" fmla="*/ 286893 w 339470"/>
              <a:gd name="connsiteY33" fmla="*/ 80504 h 144735"/>
              <a:gd name="connsiteX34" fmla="*/ 272415 w 339470"/>
              <a:gd name="connsiteY34" fmla="*/ 92982 h 144735"/>
              <a:gd name="connsiteX35" fmla="*/ 272129 w 339470"/>
              <a:gd name="connsiteY35" fmla="*/ 92982 h 144735"/>
              <a:gd name="connsiteX36" fmla="*/ 269272 w 339470"/>
              <a:gd name="connsiteY36" fmla="*/ 97935 h 144735"/>
              <a:gd name="connsiteX37" fmla="*/ 291751 w 339470"/>
              <a:gd name="connsiteY37" fmla="*/ 135654 h 144735"/>
              <a:gd name="connsiteX38" fmla="*/ 297752 w 339470"/>
              <a:gd name="connsiteY38" fmla="*/ 140988 h 144735"/>
              <a:gd name="connsiteX39" fmla="*/ 310134 w 339470"/>
              <a:gd name="connsiteY39" fmla="*/ 116508 h 144735"/>
              <a:gd name="connsiteX40" fmla="*/ 322517 w 339470"/>
              <a:gd name="connsiteY40" fmla="*/ 125462 h 144735"/>
              <a:gd name="connsiteX41" fmla="*/ 339471 w 339470"/>
              <a:gd name="connsiteY41" fmla="*/ 101364 h 144735"/>
              <a:gd name="connsiteX42" fmla="*/ 323279 w 339470"/>
              <a:gd name="connsiteY42" fmla="*/ 74979 h 144735"/>
              <a:gd name="connsiteX43" fmla="*/ 335280 w 339470"/>
              <a:gd name="connsiteY43" fmla="*/ 62121 h 144735"/>
              <a:gd name="connsiteX44" fmla="*/ 330803 w 339470"/>
              <a:gd name="connsiteY44" fmla="*/ 59644 h 144735"/>
              <a:gd name="connsiteX45" fmla="*/ 318611 w 339470"/>
              <a:gd name="connsiteY45" fmla="*/ 51643 h 144735"/>
              <a:gd name="connsiteX46" fmla="*/ 302514 w 339470"/>
              <a:gd name="connsiteY46" fmla="*/ 31355 h 144735"/>
              <a:gd name="connsiteX47" fmla="*/ 258604 w 339470"/>
              <a:gd name="connsiteY47" fmla="*/ 10495 h 144735"/>
              <a:gd name="connsiteX48" fmla="*/ 232886 w 339470"/>
              <a:gd name="connsiteY48" fmla="*/ 6685 h 144735"/>
              <a:gd name="connsiteX49" fmla="*/ 229267 w 339470"/>
              <a:gd name="connsiteY49" fmla="*/ 2399 h 144735"/>
              <a:gd name="connsiteX50" fmla="*/ 194310 w 339470"/>
              <a:gd name="connsiteY50" fmla="*/ 2780 h 144735"/>
              <a:gd name="connsiteX51" fmla="*/ 170593 w 339470"/>
              <a:gd name="connsiteY51" fmla="*/ 21830 h 144735"/>
              <a:gd name="connsiteX52" fmla="*/ 145352 w 339470"/>
              <a:gd name="connsiteY52" fmla="*/ 30974 h 144735"/>
              <a:gd name="connsiteX53" fmla="*/ 104203 w 339470"/>
              <a:gd name="connsiteY53" fmla="*/ 49071 h 144735"/>
              <a:gd name="connsiteX54" fmla="*/ 76962 w 339470"/>
              <a:gd name="connsiteY54" fmla="*/ 43833 h 144735"/>
              <a:gd name="connsiteX55" fmla="*/ 66199 w 339470"/>
              <a:gd name="connsiteY55" fmla="*/ 32784 h 144735"/>
              <a:gd name="connsiteX56" fmla="*/ 63056 w 339470"/>
              <a:gd name="connsiteY56" fmla="*/ 35355 h 144735"/>
              <a:gd name="connsiteX57" fmla="*/ 59436 w 339470"/>
              <a:gd name="connsiteY57" fmla="*/ 42785 h 144735"/>
              <a:gd name="connsiteX58" fmla="*/ 43148 w 339470"/>
              <a:gd name="connsiteY58" fmla="*/ 37260 h 144735"/>
              <a:gd name="connsiteX59" fmla="*/ 41339 w 339470"/>
              <a:gd name="connsiteY59" fmla="*/ 33927 h 144735"/>
              <a:gd name="connsiteX60" fmla="*/ 45911 w 339470"/>
              <a:gd name="connsiteY60" fmla="*/ 28402 h 144735"/>
              <a:gd name="connsiteX61" fmla="*/ 49435 w 339470"/>
              <a:gd name="connsiteY61" fmla="*/ 22306 h 144735"/>
              <a:gd name="connsiteX62" fmla="*/ 23051 w 339470"/>
              <a:gd name="connsiteY62" fmla="*/ 5066 h 144735"/>
              <a:gd name="connsiteX63" fmla="*/ 22670 w 339470"/>
              <a:gd name="connsiteY63" fmla="*/ 5542 h 144735"/>
              <a:gd name="connsiteX64" fmla="*/ 14383 w 339470"/>
              <a:gd name="connsiteY64" fmla="*/ 14781 h 14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39470" h="144735">
                <a:moveTo>
                  <a:pt x="14383" y="14781"/>
                </a:moveTo>
                <a:lnTo>
                  <a:pt x="191" y="13448"/>
                </a:lnTo>
                <a:lnTo>
                  <a:pt x="0" y="31926"/>
                </a:lnTo>
                <a:lnTo>
                  <a:pt x="12954" y="41166"/>
                </a:lnTo>
                <a:lnTo>
                  <a:pt x="2096" y="67074"/>
                </a:lnTo>
                <a:lnTo>
                  <a:pt x="5239" y="78027"/>
                </a:lnTo>
                <a:lnTo>
                  <a:pt x="5906" y="80694"/>
                </a:lnTo>
                <a:cubicBezTo>
                  <a:pt x="6858" y="79456"/>
                  <a:pt x="8192" y="78789"/>
                  <a:pt x="10382" y="79456"/>
                </a:cubicBezTo>
                <a:cubicBezTo>
                  <a:pt x="38672" y="87362"/>
                  <a:pt x="42101" y="89362"/>
                  <a:pt x="47625" y="86314"/>
                </a:cubicBezTo>
                <a:cubicBezTo>
                  <a:pt x="54102" y="82790"/>
                  <a:pt x="70390" y="88124"/>
                  <a:pt x="72676" y="95458"/>
                </a:cubicBezTo>
                <a:cubicBezTo>
                  <a:pt x="77153" y="109746"/>
                  <a:pt x="77629" y="115270"/>
                  <a:pt x="84106" y="117461"/>
                </a:cubicBezTo>
                <a:cubicBezTo>
                  <a:pt x="88202" y="118128"/>
                  <a:pt x="98679" y="125081"/>
                  <a:pt x="99155" y="117080"/>
                </a:cubicBezTo>
                <a:lnTo>
                  <a:pt x="99346" y="112413"/>
                </a:lnTo>
                <a:cubicBezTo>
                  <a:pt x="99727" y="105269"/>
                  <a:pt x="109823" y="105459"/>
                  <a:pt x="112014" y="112127"/>
                </a:cubicBezTo>
                <a:cubicBezTo>
                  <a:pt x="120872" y="138606"/>
                  <a:pt x="121158" y="145274"/>
                  <a:pt x="128397" y="144702"/>
                </a:cubicBezTo>
                <a:cubicBezTo>
                  <a:pt x="136589" y="143274"/>
                  <a:pt x="146971" y="145845"/>
                  <a:pt x="150971" y="138416"/>
                </a:cubicBezTo>
                <a:cubicBezTo>
                  <a:pt x="151829" y="137463"/>
                  <a:pt x="153448" y="131272"/>
                  <a:pt x="160211" y="131367"/>
                </a:cubicBezTo>
                <a:cubicBezTo>
                  <a:pt x="164021" y="130986"/>
                  <a:pt x="175165" y="133368"/>
                  <a:pt x="174879" y="127843"/>
                </a:cubicBezTo>
                <a:cubicBezTo>
                  <a:pt x="174784" y="125748"/>
                  <a:pt x="172974" y="122319"/>
                  <a:pt x="170974" y="120223"/>
                </a:cubicBezTo>
                <a:lnTo>
                  <a:pt x="148304" y="96696"/>
                </a:lnTo>
                <a:cubicBezTo>
                  <a:pt x="143542" y="91743"/>
                  <a:pt x="146590" y="82409"/>
                  <a:pt x="146590" y="83361"/>
                </a:cubicBezTo>
                <a:cubicBezTo>
                  <a:pt x="147923" y="76980"/>
                  <a:pt x="157163" y="78885"/>
                  <a:pt x="156210" y="79075"/>
                </a:cubicBezTo>
                <a:cubicBezTo>
                  <a:pt x="159163" y="79456"/>
                  <a:pt x="163640" y="78408"/>
                  <a:pt x="166116" y="76694"/>
                </a:cubicBezTo>
                <a:lnTo>
                  <a:pt x="183261" y="65550"/>
                </a:lnTo>
                <a:cubicBezTo>
                  <a:pt x="188690" y="62025"/>
                  <a:pt x="188214" y="53167"/>
                  <a:pt x="188024" y="54120"/>
                </a:cubicBezTo>
                <a:cubicBezTo>
                  <a:pt x="188024" y="51167"/>
                  <a:pt x="190214" y="47452"/>
                  <a:pt x="192691" y="45833"/>
                </a:cubicBezTo>
                <a:cubicBezTo>
                  <a:pt x="199739" y="42118"/>
                  <a:pt x="206312" y="34403"/>
                  <a:pt x="214313" y="36879"/>
                </a:cubicBezTo>
                <a:lnTo>
                  <a:pt x="241268" y="45166"/>
                </a:lnTo>
                <a:cubicBezTo>
                  <a:pt x="248793" y="47452"/>
                  <a:pt x="257937" y="56787"/>
                  <a:pt x="256985" y="55929"/>
                </a:cubicBezTo>
                <a:cubicBezTo>
                  <a:pt x="261842" y="60120"/>
                  <a:pt x="263366" y="68312"/>
                  <a:pt x="262985" y="67359"/>
                </a:cubicBezTo>
                <a:cubicBezTo>
                  <a:pt x="264700" y="74217"/>
                  <a:pt x="268986" y="78885"/>
                  <a:pt x="274320" y="74217"/>
                </a:cubicBezTo>
                <a:cubicBezTo>
                  <a:pt x="275273" y="73836"/>
                  <a:pt x="278797" y="70693"/>
                  <a:pt x="283464" y="72979"/>
                </a:cubicBezTo>
                <a:lnTo>
                  <a:pt x="285274" y="73836"/>
                </a:lnTo>
                <a:cubicBezTo>
                  <a:pt x="287941" y="75170"/>
                  <a:pt x="288703" y="78123"/>
                  <a:pt x="286893" y="80504"/>
                </a:cubicBezTo>
                <a:cubicBezTo>
                  <a:pt x="283845" y="83742"/>
                  <a:pt x="280321" y="92791"/>
                  <a:pt x="272415" y="92982"/>
                </a:cubicBezTo>
                <a:lnTo>
                  <a:pt x="272129" y="92982"/>
                </a:lnTo>
                <a:cubicBezTo>
                  <a:pt x="269177" y="93077"/>
                  <a:pt x="267938" y="95363"/>
                  <a:pt x="269272" y="97935"/>
                </a:cubicBezTo>
                <a:cubicBezTo>
                  <a:pt x="285083" y="127176"/>
                  <a:pt x="286417" y="130891"/>
                  <a:pt x="291751" y="135654"/>
                </a:cubicBezTo>
                <a:lnTo>
                  <a:pt x="297752" y="140988"/>
                </a:lnTo>
                <a:lnTo>
                  <a:pt x="310134" y="116508"/>
                </a:lnTo>
                <a:lnTo>
                  <a:pt x="322517" y="125462"/>
                </a:lnTo>
                <a:lnTo>
                  <a:pt x="339471" y="101364"/>
                </a:lnTo>
                <a:lnTo>
                  <a:pt x="323279" y="74979"/>
                </a:lnTo>
                <a:lnTo>
                  <a:pt x="335280" y="62121"/>
                </a:lnTo>
                <a:cubicBezTo>
                  <a:pt x="333851" y="61073"/>
                  <a:pt x="332327" y="60216"/>
                  <a:pt x="330803" y="59644"/>
                </a:cubicBezTo>
                <a:cubicBezTo>
                  <a:pt x="329756" y="59073"/>
                  <a:pt x="322517" y="57644"/>
                  <a:pt x="318611" y="51643"/>
                </a:cubicBezTo>
                <a:cubicBezTo>
                  <a:pt x="312515" y="42118"/>
                  <a:pt x="308896" y="34879"/>
                  <a:pt x="302514" y="31355"/>
                </a:cubicBezTo>
                <a:cubicBezTo>
                  <a:pt x="270605" y="14115"/>
                  <a:pt x="266129" y="10495"/>
                  <a:pt x="258604" y="10495"/>
                </a:cubicBezTo>
                <a:cubicBezTo>
                  <a:pt x="244507" y="10495"/>
                  <a:pt x="230124" y="12400"/>
                  <a:pt x="232886" y="6685"/>
                </a:cubicBezTo>
                <a:cubicBezTo>
                  <a:pt x="233839" y="4590"/>
                  <a:pt x="232219" y="2685"/>
                  <a:pt x="229267" y="2399"/>
                </a:cubicBezTo>
                <a:cubicBezTo>
                  <a:pt x="204216" y="-78"/>
                  <a:pt x="199739" y="-1602"/>
                  <a:pt x="194310" y="2780"/>
                </a:cubicBezTo>
                <a:lnTo>
                  <a:pt x="170593" y="21830"/>
                </a:lnTo>
                <a:cubicBezTo>
                  <a:pt x="164116" y="26973"/>
                  <a:pt x="144399" y="31164"/>
                  <a:pt x="145352" y="30974"/>
                </a:cubicBezTo>
                <a:cubicBezTo>
                  <a:pt x="131064" y="34879"/>
                  <a:pt x="115157" y="49833"/>
                  <a:pt x="104203" y="49071"/>
                </a:cubicBezTo>
                <a:cubicBezTo>
                  <a:pt x="86773" y="47833"/>
                  <a:pt x="82106" y="48405"/>
                  <a:pt x="76962" y="43833"/>
                </a:cubicBezTo>
                <a:lnTo>
                  <a:pt x="66199" y="32784"/>
                </a:lnTo>
                <a:cubicBezTo>
                  <a:pt x="61913" y="28974"/>
                  <a:pt x="62770" y="36308"/>
                  <a:pt x="63056" y="35355"/>
                </a:cubicBezTo>
                <a:cubicBezTo>
                  <a:pt x="63437" y="38308"/>
                  <a:pt x="62389" y="42975"/>
                  <a:pt x="59436" y="42785"/>
                </a:cubicBezTo>
                <a:cubicBezTo>
                  <a:pt x="53531" y="41832"/>
                  <a:pt x="46673" y="44499"/>
                  <a:pt x="43148" y="37260"/>
                </a:cubicBezTo>
                <a:lnTo>
                  <a:pt x="41339" y="33927"/>
                </a:lnTo>
                <a:cubicBezTo>
                  <a:pt x="38767" y="28402"/>
                  <a:pt x="46863" y="27926"/>
                  <a:pt x="45911" y="28402"/>
                </a:cubicBezTo>
                <a:cubicBezTo>
                  <a:pt x="51435" y="27831"/>
                  <a:pt x="49530" y="21354"/>
                  <a:pt x="49435" y="22306"/>
                </a:cubicBezTo>
                <a:cubicBezTo>
                  <a:pt x="47244" y="15829"/>
                  <a:pt x="33433" y="10114"/>
                  <a:pt x="23051" y="5066"/>
                </a:cubicBezTo>
                <a:lnTo>
                  <a:pt x="22670" y="5542"/>
                </a:lnTo>
                <a:lnTo>
                  <a:pt x="14383" y="14781"/>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0" name="Graphic 18">
            <a:extLst>
              <a:ext uri="{FF2B5EF4-FFF2-40B4-BE49-F238E27FC236}">
                <a16:creationId xmlns:a16="http://schemas.microsoft.com/office/drawing/2014/main" id="{9865AFAA-C1F0-CF76-3927-C755404ACE90}"/>
              </a:ext>
            </a:extLst>
          </p:cNvPr>
          <p:cNvSpPr/>
          <p:nvPr/>
        </p:nvSpPr>
        <p:spPr>
          <a:xfrm>
            <a:off x="3692121" y="4466637"/>
            <a:ext cx="735185" cy="998033"/>
          </a:xfrm>
          <a:custGeom>
            <a:avLst/>
            <a:gdLst>
              <a:gd name="connsiteX0" fmla="*/ 691751 w 735185"/>
              <a:gd name="connsiteY0" fmla="*/ 583125 h 998033"/>
              <a:gd name="connsiteX1" fmla="*/ 670415 w 735185"/>
              <a:gd name="connsiteY1" fmla="*/ 579791 h 998033"/>
              <a:gd name="connsiteX2" fmla="*/ 703467 w 735185"/>
              <a:gd name="connsiteY2" fmla="*/ 543215 h 998033"/>
              <a:gd name="connsiteX3" fmla="*/ 682988 w 735185"/>
              <a:gd name="connsiteY3" fmla="*/ 521784 h 998033"/>
              <a:gd name="connsiteX4" fmla="*/ 668891 w 735185"/>
              <a:gd name="connsiteY4" fmla="*/ 487113 h 998033"/>
              <a:gd name="connsiteX5" fmla="*/ 669558 w 735185"/>
              <a:gd name="connsiteY5" fmla="*/ 430915 h 998033"/>
              <a:gd name="connsiteX6" fmla="*/ 684417 w 735185"/>
              <a:gd name="connsiteY6" fmla="*/ 416056 h 998033"/>
              <a:gd name="connsiteX7" fmla="*/ 682798 w 735185"/>
              <a:gd name="connsiteY7" fmla="*/ 402626 h 998033"/>
              <a:gd name="connsiteX8" fmla="*/ 695847 w 735185"/>
              <a:gd name="connsiteY8" fmla="*/ 387481 h 998033"/>
              <a:gd name="connsiteX9" fmla="*/ 687941 w 735185"/>
              <a:gd name="connsiteY9" fmla="*/ 367288 h 998033"/>
              <a:gd name="connsiteX10" fmla="*/ 664891 w 735185"/>
              <a:gd name="connsiteY10" fmla="*/ 366526 h 998033"/>
              <a:gd name="connsiteX11" fmla="*/ 657557 w 735185"/>
              <a:gd name="connsiteY11" fmla="*/ 377670 h 998033"/>
              <a:gd name="connsiteX12" fmla="*/ 598883 w 735185"/>
              <a:gd name="connsiteY12" fmla="*/ 375003 h 998033"/>
              <a:gd name="connsiteX13" fmla="*/ 580690 w 735185"/>
              <a:gd name="connsiteY13" fmla="*/ 386433 h 998033"/>
              <a:gd name="connsiteX14" fmla="*/ 531160 w 735185"/>
              <a:gd name="connsiteY14" fmla="*/ 328140 h 998033"/>
              <a:gd name="connsiteX15" fmla="*/ 522016 w 735185"/>
              <a:gd name="connsiteY15" fmla="*/ 331569 h 998033"/>
              <a:gd name="connsiteX16" fmla="*/ 496775 w 735185"/>
              <a:gd name="connsiteY16" fmla="*/ 320520 h 998033"/>
              <a:gd name="connsiteX17" fmla="*/ 470581 w 735185"/>
              <a:gd name="connsiteY17" fmla="*/ 330617 h 998033"/>
              <a:gd name="connsiteX18" fmla="*/ 421813 w 735185"/>
              <a:gd name="connsiteY18" fmla="*/ 326997 h 998033"/>
              <a:gd name="connsiteX19" fmla="*/ 409621 w 735185"/>
              <a:gd name="connsiteY19" fmla="*/ 304709 h 998033"/>
              <a:gd name="connsiteX20" fmla="*/ 396381 w 735185"/>
              <a:gd name="connsiteY20" fmla="*/ 302899 h 998033"/>
              <a:gd name="connsiteX21" fmla="*/ 394190 w 735185"/>
              <a:gd name="connsiteY21" fmla="*/ 274324 h 998033"/>
              <a:gd name="connsiteX22" fmla="*/ 400858 w 735185"/>
              <a:gd name="connsiteY22" fmla="*/ 262132 h 998033"/>
              <a:gd name="connsiteX23" fmla="*/ 399239 w 735185"/>
              <a:gd name="connsiteY23" fmla="*/ 244035 h 998033"/>
              <a:gd name="connsiteX24" fmla="*/ 382189 w 735185"/>
              <a:gd name="connsiteY24" fmla="*/ 230604 h 998033"/>
              <a:gd name="connsiteX25" fmla="*/ 376664 w 735185"/>
              <a:gd name="connsiteY25" fmla="*/ 199362 h 998033"/>
              <a:gd name="connsiteX26" fmla="*/ 367044 w 735185"/>
              <a:gd name="connsiteY26" fmla="*/ 199934 h 998033"/>
              <a:gd name="connsiteX27" fmla="*/ 363996 w 735185"/>
              <a:gd name="connsiteY27" fmla="*/ 189552 h 998033"/>
              <a:gd name="connsiteX28" fmla="*/ 338850 w 735185"/>
              <a:gd name="connsiteY28" fmla="*/ 195362 h 998033"/>
              <a:gd name="connsiteX29" fmla="*/ 362282 w 735185"/>
              <a:gd name="connsiteY29" fmla="*/ 154119 h 998033"/>
              <a:gd name="connsiteX30" fmla="*/ 366568 w 735185"/>
              <a:gd name="connsiteY30" fmla="*/ 119543 h 998033"/>
              <a:gd name="connsiteX31" fmla="*/ 390190 w 735185"/>
              <a:gd name="connsiteY31" fmla="*/ 79824 h 998033"/>
              <a:gd name="connsiteX32" fmla="*/ 403715 w 735185"/>
              <a:gd name="connsiteY32" fmla="*/ 76395 h 998033"/>
              <a:gd name="connsiteX33" fmla="*/ 419908 w 735185"/>
              <a:gd name="connsiteY33" fmla="*/ 38390 h 998033"/>
              <a:gd name="connsiteX34" fmla="*/ 470105 w 735185"/>
              <a:gd name="connsiteY34" fmla="*/ 28389 h 998033"/>
              <a:gd name="connsiteX35" fmla="*/ 470105 w 735185"/>
              <a:gd name="connsiteY35" fmla="*/ 28389 h 998033"/>
              <a:gd name="connsiteX36" fmla="*/ 472200 w 735185"/>
              <a:gd name="connsiteY36" fmla="*/ 18102 h 998033"/>
              <a:gd name="connsiteX37" fmla="*/ 461437 w 735185"/>
              <a:gd name="connsiteY37" fmla="*/ 5433 h 998033"/>
              <a:gd name="connsiteX38" fmla="*/ 433243 w 735185"/>
              <a:gd name="connsiteY38" fmla="*/ 1338 h 998033"/>
              <a:gd name="connsiteX39" fmla="*/ 408764 w 735185"/>
              <a:gd name="connsiteY39" fmla="*/ 17721 h 998033"/>
              <a:gd name="connsiteX40" fmla="*/ 397810 w 735185"/>
              <a:gd name="connsiteY40" fmla="*/ 36199 h 998033"/>
              <a:gd name="connsiteX41" fmla="*/ 332849 w 735185"/>
              <a:gd name="connsiteY41" fmla="*/ 71156 h 998033"/>
              <a:gd name="connsiteX42" fmla="*/ 289796 w 735185"/>
              <a:gd name="connsiteY42" fmla="*/ 73156 h 998033"/>
              <a:gd name="connsiteX43" fmla="*/ 271889 w 735185"/>
              <a:gd name="connsiteY43" fmla="*/ 104208 h 998033"/>
              <a:gd name="connsiteX44" fmla="*/ 260555 w 735185"/>
              <a:gd name="connsiteY44" fmla="*/ 85634 h 998033"/>
              <a:gd name="connsiteX45" fmla="*/ 247220 w 735185"/>
              <a:gd name="connsiteY45" fmla="*/ 86396 h 998033"/>
              <a:gd name="connsiteX46" fmla="*/ 207881 w 735185"/>
              <a:gd name="connsiteY46" fmla="*/ 126687 h 998033"/>
              <a:gd name="connsiteX47" fmla="*/ 197404 w 735185"/>
              <a:gd name="connsiteY47" fmla="*/ 180979 h 998033"/>
              <a:gd name="connsiteX48" fmla="*/ 179973 w 735185"/>
              <a:gd name="connsiteY48" fmla="*/ 186123 h 998033"/>
              <a:gd name="connsiteX49" fmla="*/ 158351 w 735185"/>
              <a:gd name="connsiteY49" fmla="*/ 210792 h 998033"/>
              <a:gd name="connsiteX50" fmla="*/ 129967 w 735185"/>
              <a:gd name="connsiteY50" fmla="*/ 234510 h 998033"/>
              <a:gd name="connsiteX51" fmla="*/ 139397 w 735185"/>
              <a:gd name="connsiteY51" fmla="*/ 255941 h 998033"/>
              <a:gd name="connsiteX52" fmla="*/ 133396 w 735185"/>
              <a:gd name="connsiteY52" fmla="*/ 274896 h 998033"/>
              <a:gd name="connsiteX53" fmla="*/ 122537 w 735185"/>
              <a:gd name="connsiteY53" fmla="*/ 270609 h 998033"/>
              <a:gd name="connsiteX54" fmla="*/ 120156 w 735185"/>
              <a:gd name="connsiteY54" fmla="*/ 252988 h 998033"/>
              <a:gd name="connsiteX55" fmla="*/ 100058 w 735185"/>
              <a:gd name="connsiteY55" fmla="*/ 231176 h 998033"/>
              <a:gd name="connsiteX56" fmla="*/ 88057 w 735185"/>
              <a:gd name="connsiteY56" fmla="*/ 244035 h 998033"/>
              <a:gd name="connsiteX57" fmla="*/ 104249 w 735185"/>
              <a:gd name="connsiteY57" fmla="*/ 270419 h 998033"/>
              <a:gd name="connsiteX58" fmla="*/ 87295 w 735185"/>
              <a:gd name="connsiteY58" fmla="*/ 294517 h 998033"/>
              <a:gd name="connsiteX59" fmla="*/ 74912 w 735185"/>
              <a:gd name="connsiteY59" fmla="*/ 285564 h 998033"/>
              <a:gd name="connsiteX60" fmla="*/ 62530 w 735185"/>
              <a:gd name="connsiteY60" fmla="*/ 310043 h 998033"/>
              <a:gd name="connsiteX61" fmla="*/ 74246 w 735185"/>
              <a:gd name="connsiteY61" fmla="*/ 320520 h 998033"/>
              <a:gd name="connsiteX62" fmla="*/ 79008 w 735185"/>
              <a:gd name="connsiteY62" fmla="*/ 331474 h 998033"/>
              <a:gd name="connsiteX63" fmla="*/ 101011 w 735185"/>
              <a:gd name="connsiteY63" fmla="*/ 357287 h 998033"/>
              <a:gd name="connsiteX64" fmla="*/ 99773 w 735185"/>
              <a:gd name="connsiteY64" fmla="*/ 366050 h 998033"/>
              <a:gd name="connsiteX65" fmla="*/ 92534 w 735185"/>
              <a:gd name="connsiteY65" fmla="*/ 376337 h 998033"/>
              <a:gd name="connsiteX66" fmla="*/ 101201 w 735185"/>
              <a:gd name="connsiteY66" fmla="*/ 403959 h 998033"/>
              <a:gd name="connsiteX67" fmla="*/ 93296 w 735185"/>
              <a:gd name="connsiteY67" fmla="*/ 410246 h 998033"/>
              <a:gd name="connsiteX68" fmla="*/ 92248 w 735185"/>
              <a:gd name="connsiteY68" fmla="*/ 409960 h 998033"/>
              <a:gd name="connsiteX69" fmla="*/ 96248 w 735185"/>
              <a:gd name="connsiteY69" fmla="*/ 437392 h 998033"/>
              <a:gd name="connsiteX70" fmla="*/ 95105 w 735185"/>
              <a:gd name="connsiteY70" fmla="*/ 483207 h 998033"/>
              <a:gd name="connsiteX71" fmla="*/ 86914 w 735185"/>
              <a:gd name="connsiteY71" fmla="*/ 498924 h 998033"/>
              <a:gd name="connsiteX72" fmla="*/ 107297 w 735185"/>
              <a:gd name="connsiteY72" fmla="*/ 527975 h 998033"/>
              <a:gd name="connsiteX73" fmla="*/ 63482 w 735185"/>
              <a:gd name="connsiteY73" fmla="*/ 594174 h 998033"/>
              <a:gd name="connsiteX74" fmla="*/ 26335 w 735185"/>
              <a:gd name="connsiteY74" fmla="*/ 603889 h 998033"/>
              <a:gd name="connsiteX75" fmla="*/ 21953 w 735185"/>
              <a:gd name="connsiteY75" fmla="*/ 622749 h 998033"/>
              <a:gd name="connsiteX76" fmla="*/ 29669 w 735185"/>
              <a:gd name="connsiteY76" fmla="*/ 639798 h 998033"/>
              <a:gd name="connsiteX77" fmla="*/ 29288 w 735185"/>
              <a:gd name="connsiteY77" fmla="*/ 640656 h 998033"/>
              <a:gd name="connsiteX78" fmla="*/ 4142 w 735185"/>
              <a:gd name="connsiteY78" fmla="*/ 645704 h 998033"/>
              <a:gd name="connsiteX79" fmla="*/ 2427 w 735185"/>
              <a:gd name="connsiteY79" fmla="*/ 658181 h 998033"/>
              <a:gd name="connsiteX80" fmla="*/ 7856 w 735185"/>
              <a:gd name="connsiteY80" fmla="*/ 663325 h 998033"/>
              <a:gd name="connsiteX81" fmla="*/ 9571 w 735185"/>
              <a:gd name="connsiteY81" fmla="*/ 662944 h 998033"/>
              <a:gd name="connsiteX82" fmla="*/ 89962 w 735185"/>
              <a:gd name="connsiteY82" fmla="*/ 708283 h 998033"/>
              <a:gd name="connsiteX83" fmla="*/ 101011 w 735185"/>
              <a:gd name="connsiteY83" fmla="*/ 728952 h 998033"/>
              <a:gd name="connsiteX84" fmla="*/ 149588 w 735185"/>
              <a:gd name="connsiteY84" fmla="*/ 735144 h 998033"/>
              <a:gd name="connsiteX85" fmla="*/ 161018 w 735185"/>
              <a:gd name="connsiteY85" fmla="*/ 721428 h 998033"/>
              <a:gd name="connsiteX86" fmla="*/ 229027 w 735185"/>
              <a:gd name="connsiteY86" fmla="*/ 750288 h 998033"/>
              <a:gd name="connsiteX87" fmla="*/ 275318 w 735185"/>
              <a:gd name="connsiteY87" fmla="*/ 781435 h 998033"/>
              <a:gd name="connsiteX88" fmla="*/ 284081 w 735185"/>
              <a:gd name="connsiteY88" fmla="*/ 806962 h 998033"/>
              <a:gd name="connsiteX89" fmla="*/ 325610 w 735185"/>
              <a:gd name="connsiteY89" fmla="*/ 828870 h 998033"/>
              <a:gd name="connsiteX90" fmla="*/ 330087 w 735185"/>
              <a:gd name="connsiteY90" fmla="*/ 854968 h 998033"/>
              <a:gd name="connsiteX91" fmla="*/ 349899 w 735185"/>
              <a:gd name="connsiteY91" fmla="*/ 856968 h 998033"/>
              <a:gd name="connsiteX92" fmla="*/ 357043 w 735185"/>
              <a:gd name="connsiteY92" fmla="*/ 891449 h 998033"/>
              <a:gd name="connsiteX93" fmla="*/ 402287 w 735185"/>
              <a:gd name="connsiteY93" fmla="*/ 896211 h 998033"/>
              <a:gd name="connsiteX94" fmla="*/ 436481 w 735185"/>
              <a:gd name="connsiteY94" fmla="*/ 876780 h 998033"/>
              <a:gd name="connsiteX95" fmla="*/ 455531 w 735185"/>
              <a:gd name="connsiteY95" fmla="*/ 889449 h 998033"/>
              <a:gd name="connsiteX96" fmla="*/ 482201 w 735185"/>
              <a:gd name="connsiteY96" fmla="*/ 881352 h 998033"/>
              <a:gd name="connsiteX97" fmla="*/ 534398 w 735185"/>
              <a:gd name="connsiteY97" fmla="*/ 908975 h 998033"/>
              <a:gd name="connsiteX98" fmla="*/ 499346 w 735185"/>
              <a:gd name="connsiteY98" fmla="*/ 973935 h 998033"/>
              <a:gd name="connsiteX99" fmla="*/ 523064 w 735185"/>
              <a:gd name="connsiteY99" fmla="*/ 974888 h 998033"/>
              <a:gd name="connsiteX100" fmla="*/ 546971 w 735185"/>
              <a:gd name="connsiteY100" fmla="*/ 998034 h 998033"/>
              <a:gd name="connsiteX101" fmla="*/ 547638 w 735185"/>
              <a:gd name="connsiteY101" fmla="*/ 997557 h 998033"/>
              <a:gd name="connsiteX102" fmla="*/ 573832 w 735185"/>
              <a:gd name="connsiteY102" fmla="*/ 836680 h 998033"/>
              <a:gd name="connsiteX103" fmla="*/ 580690 w 735185"/>
              <a:gd name="connsiteY103" fmla="*/ 822774 h 998033"/>
              <a:gd name="connsiteX104" fmla="*/ 566593 w 735185"/>
              <a:gd name="connsiteY104" fmla="*/ 800485 h 998033"/>
              <a:gd name="connsiteX105" fmla="*/ 563164 w 735185"/>
              <a:gd name="connsiteY105" fmla="*/ 776196 h 998033"/>
              <a:gd name="connsiteX106" fmla="*/ 537446 w 735185"/>
              <a:gd name="connsiteY106" fmla="*/ 756384 h 998033"/>
              <a:gd name="connsiteX107" fmla="*/ 537446 w 735185"/>
              <a:gd name="connsiteY107" fmla="*/ 713141 h 998033"/>
              <a:gd name="connsiteX108" fmla="*/ 568688 w 735185"/>
              <a:gd name="connsiteY108" fmla="*/ 707521 h 998033"/>
              <a:gd name="connsiteX109" fmla="*/ 591834 w 735185"/>
              <a:gd name="connsiteY109" fmla="*/ 716570 h 998033"/>
              <a:gd name="connsiteX110" fmla="*/ 592501 w 735185"/>
              <a:gd name="connsiteY110" fmla="*/ 696853 h 998033"/>
              <a:gd name="connsiteX111" fmla="*/ 581452 w 735185"/>
              <a:gd name="connsiteY111" fmla="*/ 683994 h 998033"/>
              <a:gd name="connsiteX112" fmla="*/ 550686 w 735185"/>
              <a:gd name="connsiteY112" fmla="*/ 683994 h 998033"/>
              <a:gd name="connsiteX113" fmla="*/ 550686 w 735185"/>
              <a:gd name="connsiteY113" fmla="*/ 644847 h 998033"/>
              <a:gd name="connsiteX114" fmla="*/ 642698 w 735185"/>
              <a:gd name="connsiteY114" fmla="*/ 644466 h 998033"/>
              <a:gd name="connsiteX115" fmla="*/ 648603 w 735185"/>
              <a:gd name="connsiteY115" fmla="*/ 630750 h 998033"/>
              <a:gd name="connsiteX116" fmla="*/ 662510 w 735185"/>
              <a:gd name="connsiteY116" fmla="*/ 642370 h 998033"/>
              <a:gd name="connsiteX117" fmla="*/ 675368 w 735185"/>
              <a:gd name="connsiteY117" fmla="*/ 642370 h 998033"/>
              <a:gd name="connsiteX118" fmla="*/ 692513 w 735185"/>
              <a:gd name="connsiteY118" fmla="*/ 622272 h 998033"/>
              <a:gd name="connsiteX119" fmla="*/ 712135 w 735185"/>
              <a:gd name="connsiteY119" fmla="*/ 655515 h 998033"/>
              <a:gd name="connsiteX120" fmla="*/ 712135 w 735185"/>
              <a:gd name="connsiteY120" fmla="*/ 678946 h 998033"/>
              <a:gd name="connsiteX121" fmla="*/ 735185 w 735185"/>
              <a:gd name="connsiteY121" fmla="*/ 675612 h 998033"/>
              <a:gd name="connsiteX122" fmla="*/ 716040 w 735185"/>
              <a:gd name="connsiteY122" fmla="*/ 606842 h 998033"/>
              <a:gd name="connsiteX123" fmla="*/ 691751 w 735185"/>
              <a:gd name="connsiteY123" fmla="*/ 583220 h 99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735185" h="998033">
                <a:moveTo>
                  <a:pt x="691751" y="583125"/>
                </a:moveTo>
                <a:lnTo>
                  <a:pt x="670415" y="579791"/>
                </a:lnTo>
                <a:lnTo>
                  <a:pt x="703467" y="543215"/>
                </a:lnTo>
                <a:lnTo>
                  <a:pt x="682988" y="521784"/>
                </a:lnTo>
                <a:lnTo>
                  <a:pt x="668891" y="487113"/>
                </a:lnTo>
                <a:lnTo>
                  <a:pt x="669558" y="430915"/>
                </a:lnTo>
                <a:lnTo>
                  <a:pt x="684417" y="416056"/>
                </a:lnTo>
                <a:lnTo>
                  <a:pt x="682798" y="402626"/>
                </a:lnTo>
                <a:lnTo>
                  <a:pt x="695847" y="387481"/>
                </a:lnTo>
                <a:lnTo>
                  <a:pt x="687941" y="367288"/>
                </a:lnTo>
                <a:lnTo>
                  <a:pt x="664891" y="366526"/>
                </a:lnTo>
                <a:lnTo>
                  <a:pt x="657557" y="377670"/>
                </a:lnTo>
                <a:lnTo>
                  <a:pt x="598883" y="375003"/>
                </a:lnTo>
                <a:lnTo>
                  <a:pt x="580690" y="386433"/>
                </a:lnTo>
                <a:lnTo>
                  <a:pt x="531160" y="328140"/>
                </a:lnTo>
                <a:lnTo>
                  <a:pt x="522016" y="331569"/>
                </a:lnTo>
                <a:lnTo>
                  <a:pt x="496775" y="320520"/>
                </a:lnTo>
                <a:lnTo>
                  <a:pt x="470581" y="330617"/>
                </a:lnTo>
                <a:lnTo>
                  <a:pt x="421813" y="326997"/>
                </a:lnTo>
                <a:lnTo>
                  <a:pt x="409621" y="304709"/>
                </a:lnTo>
                <a:lnTo>
                  <a:pt x="396381" y="302899"/>
                </a:lnTo>
                <a:lnTo>
                  <a:pt x="394190" y="274324"/>
                </a:lnTo>
                <a:lnTo>
                  <a:pt x="400858" y="262132"/>
                </a:lnTo>
                <a:lnTo>
                  <a:pt x="399239" y="244035"/>
                </a:lnTo>
                <a:lnTo>
                  <a:pt x="382189" y="230604"/>
                </a:lnTo>
                <a:lnTo>
                  <a:pt x="376664" y="199362"/>
                </a:lnTo>
                <a:lnTo>
                  <a:pt x="367044" y="199934"/>
                </a:lnTo>
                <a:lnTo>
                  <a:pt x="363996" y="189552"/>
                </a:lnTo>
                <a:lnTo>
                  <a:pt x="338850" y="195362"/>
                </a:lnTo>
                <a:lnTo>
                  <a:pt x="362282" y="154119"/>
                </a:lnTo>
                <a:lnTo>
                  <a:pt x="366568" y="119543"/>
                </a:lnTo>
                <a:lnTo>
                  <a:pt x="390190" y="79824"/>
                </a:lnTo>
                <a:lnTo>
                  <a:pt x="403715" y="76395"/>
                </a:lnTo>
                <a:lnTo>
                  <a:pt x="419908" y="38390"/>
                </a:lnTo>
                <a:lnTo>
                  <a:pt x="470105" y="28389"/>
                </a:lnTo>
                <a:lnTo>
                  <a:pt x="470105" y="28389"/>
                </a:lnTo>
                <a:cubicBezTo>
                  <a:pt x="473153" y="24102"/>
                  <a:pt x="473915" y="21531"/>
                  <a:pt x="472200" y="18102"/>
                </a:cubicBezTo>
                <a:cubicBezTo>
                  <a:pt x="470771" y="15911"/>
                  <a:pt x="468676" y="7529"/>
                  <a:pt x="461437" y="5433"/>
                </a:cubicBezTo>
                <a:cubicBezTo>
                  <a:pt x="446387" y="1242"/>
                  <a:pt x="439529" y="-1901"/>
                  <a:pt x="433243" y="1338"/>
                </a:cubicBezTo>
                <a:cubicBezTo>
                  <a:pt x="417146" y="9339"/>
                  <a:pt x="411240" y="11053"/>
                  <a:pt x="408764" y="17721"/>
                </a:cubicBezTo>
                <a:cubicBezTo>
                  <a:pt x="405906" y="23531"/>
                  <a:pt x="405239" y="32675"/>
                  <a:pt x="397810" y="36199"/>
                </a:cubicBezTo>
                <a:cubicBezTo>
                  <a:pt x="347708" y="60202"/>
                  <a:pt x="344756" y="72013"/>
                  <a:pt x="332849" y="71156"/>
                </a:cubicBezTo>
                <a:cubicBezTo>
                  <a:pt x="297512" y="68584"/>
                  <a:pt x="292654" y="66584"/>
                  <a:pt x="289796" y="73156"/>
                </a:cubicBezTo>
                <a:cubicBezTo>
                  <a:pt x="276938" y="102017"/>
                  <a:pt x="274461" y="111161"/>
                  <a:pt x="271889" y="104208"/>
                </a:cubicBezTo>
                <a:cubicBezTo>
                  <a:pt x="269127" y="98493"/>
                  <a:pt x="268460" y="88110"/>
                  <a:pt x="260555" y="85634"/>
                </a:cubicBezTo>
                <a:cubicBezTo>
                  <a:pt x="259412" y="85539"/>
                  <a:pt x="252458" y="81633"/>
                  <a:pt x="247220" y="86396"/>
                </a:cubicBezTo>
                <a:cubicBezTo>
                  <a:pt x="211310" y="118686"/>
                  <a:pt x="208643" y="119448"/>
                  <a:pt x="207881" y="126687"/>
                </a:cubicBezTo>
                <a:cubicBezTo>
                  <a:pt x="203024" y="177169"/>
                  <a:pt x="204643" y="180503"/>
                  <a:pt x="197404" y="180979"/>
                </a:cubicBezTo>
                <a:cubicBezTo>
                  <a:pt x="193594" y="181646"/>
                  <a:pt x="184736" y="180027"/>
                  <a:pt x="179973" y="186123"/>
                </a:cubicBezTo>
                <a:cubicBezTo>
                  <a:pt x="170162" y="198696"/>
                  <a:pt x="164924" y="206697"/>
                  <a:pt x="158351" y="210792"/>
                </a:cubicBezTo>
                <a:cubicBezTo>
                  <a:pt x="132158" y="226794"/>
                  <a:pt x="126347" y="228414"/>
                  <a:pt x="129967" y="234510"/>
                </a:cubicBezTo>
                <a:cubicBezTo>
                  <a:pt x="135110" y="243177"/>
                  <a:pt x="139587" y="248797"/>
                  <a:pt x="139397" y="255941"/>
                </a:cubicBezTo>
                <a:cubicBezTo>
                  <a:pt x="138349" y="262132"/>
                  <a:pt x="141683" y="274038"/>
                  <a:pt x="133396" y="274896"/>
                </a:cubicBezTo>
                <a:cubicBezTo>
                  <a:pt x="131681" y="274705"/>
                  <a:pt x="121966" y="278039"/>
                  <a:pt x="122537" y="270609"/>
                </a:cubicBezTo>
                <a:cubicBezTo>
                  <a:pt x="122442" y="266609"/>
                  <a:pt x="125204" y="258894"/>
                  <a:pt x="120156" y="252988"/>
                </a:cubicBezTo>
                <a:cubicBezTo>
                  <a:pt x="110631" y="242034"/>
                  <a:pt x="105392" y="234986"/>
                  <a:pt x="100058" y="231176"/>
                </a:cubicBezTo>
                <a:lnTo>
                  <a:pt x="88057" y="244035"/>
                </a:lnTo>
                <a:lnTo>
                  <a:pt x="104249" y="270419"/>
                </a:lnTo>
                <a:lnTo>
                  <a:pt x="87295" y="294517"/>
                </a:lnTo>
                <a:lnTo>
                  <a:pt x="74912" y="285564"/>
                </a:lnTo>
                <a:lnTo>
                  <a:pt x="62530" y="310043"/>
                </a:lnTo>
                <a:lnTo>
                  <a:pt x="74246" y="320520"/>
                </a:lnTo>
                <a:cubicBezTo>
                  <a:pt x="78722" y="324521"/>
                  <a:pt x="79199" y="332427"/>
                  <a:pt x="79008" y="331474"/>
                </a:cubicBezTo>
                <a:cubicBezTo>
                  <a:pt x="80151" y="343857"/>
                  <a:pt x="102630" y="345666"/>
                  <a:pt x="101011" y="357287"/>
                </a:cubicBezTo>
                <a:lnTo>
                  <a:pt x="99773" y="366050"/>
                </a:lnTo>
                <a:cubicBezTo>
                  <a:pt x="98630" y="373956"/>
                  <a:pt x="89200" y="369098"/>
                  <a:pt x="92534" y="376337"/>
                </a:cubicBezTo>
                <a:cubicBezTo>
                  <a:pt x="99392" y="391101"/>
                  <a:pt x="103487" y="397197"/>
                  <a:pt x="101201" y="403959"/>
                </a:cubicBezTo>
                <a:cubicBezTo>
                  <a:pt x="100535" y="404912"/>
                  <a:pt x="99868" y="411865"/>
                  <a:pt x="93296" y="410246"/>
                </a:cubicBezTo>
                <a:lnTo>
                  <a:pt x="92248" y="409960"/>
                </a:lnTo>
                <a:cubicBezTo>
                  <a:pt x="82818" y="407674"/>
                  <a:pt x="95391" y="423390"/>
                  <a:pt x="96248" y="437392"/>
                </a:cubicBezTo>
                <a:cubicBezTo>
                  <a:pt x="98534" y="473682"/>
                  <a:pt x="100344" y="478064"/>
                  <a:pt x="95105" y="483207"/>
                </a:cubicBezTo>
                <a:cubicBezTo>
                  <a:pt x="91772" y="487589"/>
                  <a:pt x="81294" y="493018"/>
                  <a:pt x="86914" y="498924"/>
                </a:cubicBezTo>
                <a:cubicBezTo>
                  <a:pt x="105392" y="518450"/>
                  <a:pt x="110917" y="521784"/>
                  <a:pt x="107297" y="527975"/>
                </a:cubicBezTo>
                <a:cubicBezTo>
                  <a:pt x="69102" y="593031"/>
                  <a:pt x="70721" y="593221"/>
                  <a:pt x="63482" y="594174"/>
                </a:cubicBezTo>
                <a:cubicBezTo>
                  <a:pt x="33288" y="598460"/>
                  <a:pt x="29573" y="597888"/>
                  <a:pt x="26335" y="603889"/>
                </a:cubicBezTo>
                <a:cubicBezTo>
                  <a:pt x="24335" y="609223"/>
                  <a:pt x="16810" y="616462"/>
                  <a:pt x="21953" y="622749"/>
                </a:cubicBezTo>
                <a:cubicBezTo>
                  <a:pt x="24620" y="627035"/>
                  <a:pt x="32907" y="632464"/>
                  <a:pt x="29669" y="639798"/>
                </a:cubicBezTo>
                <a:lnTo>
                  <a:pt x="29288" y="640656"/>
                </a:lnTo>
                <a:cubicBezTo>
                  <a:pt x="24620" y="651038"/>
                  <a:pt x="10523" y="635798"/>
                  <a:pt x="4142" y="645704"/>
                </a:cubicBezTo>
                <a:cubicBezTo>
                  <a:pt x="3570" y="647323"/>
                  <a:pt x="-3669" y="654086"/>
                  <a:pt x="2427" y="658181"/>
                </a:cubicBezTo>
                <a:cubicBezTo>
                  <a:pt x="2999" y="658848"/>
                  <a:pt x="6523" y="660277"/>
                  <a:pt x="7856" y="663325"/>
                </a:cubicBezTo>
                <a:lnTo>
                  <a:pt x="9571" y="662944"/>
                </a:lnTo>
                <a:lnTo>
                  <a:pt x="89962" y="708283"/>
                </a:lnTo>
                <a:lnTo>
                  <a:pt x="101011" y="728952"/>
                </a:lnTo>
                <a:lnTo>
                  <a:pt x="149588" y="735144"/>
                </a:lnTo>
                <a:lnTo>
                  <a:pt x="161018" y="721428"/>
                </a:lnTo>
                <a:lnTo>
                  <a:pt x="229027" y="750288"/>
                </a:lnTo>
                <a:lnTo>
                  <a:pt x="275318" y="781435"/>
                </a:lnTo>
                <a:lnTo>
                  <a:pt x="284081" y="806962"/>
                </a:lnTo>
                <a:lnTo>
                  <a:pt x="325610" y="828870"/>
                </a:lnTo>
                <a:lnTo>
                  <a:pt x="330087" y="854968"/>
                </a:lnTo>
                <a:lnTo>
                  <a:pt x="349899" y="856968"/>
                </a:lnTo>
                <a:lnTo>
                  <a:pt x="357043" y="891449"/>
                </a:lnTo>
                <a:lnTo>
                  <a:pt x="402287" y="896211"/>
                </a:lnTo>
                <a:lnTo>
                  <a:pt x="436481" y="876780"/>
                </a:lnTo>
                <a:lnTo>
                  <a:pt x="455531" y="889449"/>
                </a:lnTo>
                <a:lnTo>
                  <a:pt x="482201" y="881352"/>
                </a:lnTo>
                <a:lnTo>
                  <a:pt x="534398" y="908975"/>
                </a:lnTo>
                <a:lnTo>
                  <a:pt x="499346" y="973935"/>
                </a:lnTo>
                <a:lnTo>
                  <a:pt x="523064" y="974888"/>
                </a:lnTo>
                <a:lnTo>
                  <a:pt x="546971" y="998034"/>
                </a:lnTo>
                <a:lnTo>
                  <a:pt x="547638" y="997557"/>
                </a:lnTo>
                <a:lnTo>
                  <a:pt x="573832" y="836680"/>
                </a:lnTo>
                <a:lnTo>
                  <a:pt x="580690" y="822774"/>
                </a:lnTo>
                <a:lnTo>
                  <a:pt x="566593" y="800485"/>
                </a:lnTo>
                <a:lnTo>
                  <a:pt x="563164" y="776196"/>
                </a:lnTo>
                <a:lnTo>
                  <a:pt x="537446" y="756384"/>
                </a:lnTo>
                <a:lnTo>
                  <a:pt x="537446" y="713141"/>
                </a:lnTo>
                <a:lnTo>
                  <a:pt x="568688" y="707521"/>
                </a:lnTo>
                <a:lnTo>
                  <a:pt x="591834" y="716570"/>
                </a:lnTo>
                <a:lnTo>
                  <a:pt x="592501" y="696853"/>
                </a:lnTo>
                <a:lnTo>
                  <a:pt x="581452" y="683994"/>
                </a:lnTo>
                <a:lnTo>
                  <a:pt x="550686" y="683994"/>
                </a:lnTo>
                <a:lnTo>
                  <a:pt x="550686" y="644847"/>
                </a:lnTo>
                <a:lnTo>
                  <a:pt x="642698" y="644466"/>
                </a:lnTo>
                <a:lnTo>
                  <a:pt x="648603" y="630750"/>
                </a:lnTo>
                <a:lnTo>
                  <a:pt x="662510" y="642370"/>
                </a:lnTo>
                <a:lnTo>
                  <a:pt x="675368" y="642370"/>
                </a:lnTo>
                <a:lnTo>
                  <a:pt x="692513" y="622272"/>
                </a:lnTo>
                <a:lnTo>
                  <a:pt x="712135" y="655515"/>
                </a:lnTo>
                <a:lnTo>
                  <a:pt x="712135" y="678946"/>
                </a:lnTo>
                <a:lnTo>
                  <a:pt x="735185" y="675612"/>
                </a:lnTo>
                <a:lnTo>
                  <a:pt x="716040" y="606842"/>
                </a:lnTo>
                <a:lnTo>
                  <a:pt x="691751" y="583220"/>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grpSp>
        <p:nvGrpSpPr>
          <p:cNvPr id="21" name="Graphic 34">
            <a:extLst>
              <a:ext uri="{FF2B5EF4-FFF2-40B4-BE49-F238E27FC236}">
                <a16:creationId xmlns:a16="http://schemas.microsoft.com/office/drawing/2014/main" id="{456B2173-3CA5-064F-234D-904F0802D4DC}"/>
              </a:ext>
            </a:extLst>
          </p:cNvPr>
          <p:cNvGrpSpPr/>
          <p:nvPr/>
        </p:nvGrpSpPr>
        <p:grpSpPr>
          <a:xfrm>
            <a:off x="4038179" y="4452447"/>
            <a:ext cx="815625" cy="722947"/>
            <a:chOff x="3459552" y="4903658"/>
            <a:chExt cx="815625" cy="722947"/>
          </a:xfrm>
          <a:solidFill>
            <a:schemeClr val="bg1">
              <a:lumMod val="95000"/>
            </a:schemeClr>
          </a:solidFill>
        </p:grpSpPr>
        <p:sp>
          <p:nvSpPr>
            <p:cNvPr id="22" name="Freeform: Shape 21">
              <a:extLst>
                <a:ext uri="{FF2B5EF4-FFF2-40B4-BE49-F238E27FC236}">
                  <a16:creationId xmlns:a16="http://schemas.microsoft.com/office/drawing/2014/main" id="{C9160AC4-2B9D-7C4C-56EB-AB7EF4A9D177}"/>
                </a:ext>
              </a:extLst>
            </p:cNvPr>
            <p:cNvSpPr/>
            <p:nvPr/>
          </p:nvSpPr>
          <p:spPr>
            <a:xfrm>
              <a:off x="3997072" y="4990649"/>
              <a:ext cx="36309" cy="21181"/>
            </a:xfrm>
            <a:custGeom>
              <a:avLst/>
              <a:gdLst>
                <a:gd name="connsiteX0" fmla="*/ 4452 w 36309"/>
                <a:gd name="connsiteY0" fmla="*/ 17022 h 21181"/>
                <a:gd name="connsiteX1" fmla="*/ 26645 w 36309"/>
                <a:gd name="connsiteY1" fmla="*/ 19404 h 21181"/>
                <a:gd name="connsiteX2" fmla="*/ 35503 w 36309"/>
                <a:gd name="connsiteY2" fmla="*/ 7307 h 21181"/>
                <a:gd name="connsiteX3" fmla="*/ 26074 w 36309"/>
                <a:gd name="connsiteY3" fmla="*/ 1306 h 21181"/>
                <a:gd name="connsiteX4" fmla="*/ 13500 w 36309"/>
                <a:gd name="connsiteY4" fmla="*/ 6450 h 21181"/>
                <a:gd name="connsiteX5" fmla="*/ 356 w 36309"/>
                <a:gd name="connsiteY5" fmla="*/ 8545 h 21181"/>
                <a:gd name="connsiteX6" fmla="*/ 70 w 36309"/>
                <a:gd name="connsiteY6" fmla="*/ 10069 h 21181"/>
                <a:gd name="connsiteX7" fmla="*/ 4357 w 36309"/>
                <a:gd name="connsiteY7" fmla="*/ 16927 h 21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09" h="21181">
                  <a:moveTo>
                    <a:pt x="4452" y="17022"/>
                  </a:moveTo>
                  <a:cubicBezTo>
                    <a:pt x="11405" y="18451"/>
                    <a:pt x="19596" y="23976"/>
                    <a:pt x="26645" y="19404"/>
                  </a:cubicBezTo>
                  <a:cubicBezTo>
                    <a:pt x="29026" y="17213"/>
                    <a:pt x="39218" y="14070"/>
                    <a:pt x="35503" y="7307"/>
                  </a:cubicBezTo>
                  <a:cubicBezTo>
                    <a:pt x="34551" y="6259"/>
                    <a:pt x="31503" y="-3456"/>
                    <a:pt x="26074" y="1306"/>
                  </a:cubicBezTo>
                  <a:cubicBezTo>
                    <a:pt x="25026" y="1973"/>
                    <a:pt x="20358" y="8259"/>
                    <a:pt x="13500" y="6450"/>
                  </a:cubicBezTo>
                  <a:cubicBezTo>
                    <a:pt x="13500" y="6450"/>
                    <a:pt x="1594" y="1116"/>
                    <a:pt x="356" y="8545"/>
                  </a:cubicBezTo>
                  <a:lnTo>
                    <a:pt x="70" y="10069"/>
                  </a:lnTo>
                  <a:cubicBezTo>
                    <a:pt x="-406" y="13022"/>
                    <a:pt x="1594" y="16070"/>
                    <a:pt x="4357" y="16927"/>
                  </a:cubicBezTo>
                  <a:close/>
                </a:path>
              </a:pathLst>
            </a:custGeom>
            <a:grpFill/>
            <a:ln w="9525" cap="flat">
              <a:noFill/>
              <a:prstDash val="solid"/>
              <a:miter/>
            </a:ln>
          </p:spPr>
          <p:txBody>
            <a:bodyPr rtlCol="0" anchor="ctr"/>
            <a:lstStyle/>
            <a:p>
              <a:endParaRPr lang="en-IN"/>
            </a:p>
          </p:txBody>
        </p:sp>
        <p:sp>
          <p:nvSpPr>
            <p:cNvPr id="23" name="Freeform: Shape 22">
              <a:extLst>
                <a:ext uri="{FF2B5EF4-FFF2-40B4-BE49-F238E27FC236}">
                  <a16:creationId xmlns:a16="http://schemas.microsoft.com/office/drawing/2014/main" id="{AC47D3A3-B63D-9124-4136-27FD3F6F95D4}"/>
                </a:ext>
              </a:extLst>
            </p:cNvPr>
            <p:cNvSpPr/>
            <p:nvPr/>
          </p:nvSpPr>
          <p:spPr>
            <a:xfrm>
              <a:off x="3654588" y="4903658"/>
              <a:ext cx="16060" cy="17643"/>
            </a:xfrm>
            <a:custGeom>
              <a:avLst/>
              <a:gdLst>
                <a:gd name="connsiteX0" fmla="*/ 6417 w 16060"/>
                <a:gd name="connsiteY0" fmla="*/ 1048 h 17643"/>
                <a:gd name="connsiteX1" fmla="*/ 988 w 16060"/>
                <a:gd name="connsiteY1" fmla="*/ 2763 h 17643"/>
                <a:gd name="connsiteX2" fmla="*/ 226 w 16060"/>
                <a:gd name="connsiteY2" fmla="*/ 5620 h 17643"/>
                <a:gd name="connsiteX3" fmla="*/ 2893 w 16060"/>
                <a:gd name="connsiteY3" fmla="*/ 14478 h 17643"/>
                <a:gd name="connsiteX4" fmla="*/ 4512 w 16060"/>
                <a:gd name="connsiteY4" fmla="*/ 15907 h 17643"/>
                <a:gd name="connsiteX5" fmla="*/ 14227 w 16060"/>
                <a:gd name="connsiteY5" fmla="*/ 14859 h 17643"/>
                <a:gd name="connsiteX6" fmla="*/ 6322 w 16060"/>
                <a:gd name="connsiteY6" fmla="*/ 1143 h 1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0" h="17643">
                  <a:moveTo>
                    <a:pt x="6417" y="1048"/>
                  </a:moveTo>
                  <a:cubicBezTo>
                    <a:pt x="4131" y="-857"/>
                    <a:pt x="1750" y="-95"/>
                    <a:pt x="988" y="2763"/>
                  </a:cubicBezTo>
                  <a:lnTo>
                    <a:pt x="226" y="5620"/>
                  </a:lnTo>
                  <a:cubicBezTo>
                    <a:pt x="-536" y="8478"/>
                    <a:pt x="702" y="12478"/>
                    <a:pt x="2893" y="14478"/>
                  </a:cubicBezTo>
                  <a:lnTo>
                    <a:pt x="4512" y="15907"/>
                  </a:lnTo>
                  <a:cubicBezTo>
                    <a:pt x="9274" y="20193"/>
                    <a:pt x="13275" y="15240"/>
                    <a:pt x="14227" y="14859"/>
                  </a:cubicBezTo>
                  <a:cubicBezTo>
                    <a:pt x="20419" y="9716"/>
                    <a:pt x="9179" y="4382"/>
                    <a:pt x="6322" y="1143"/>
                  </a:cubicBezTo>
                  <a:close/>
                </a:path>
              </a:pathLst>
            </a:custGeom>
            <a:grpFill/>
            <a:ln w="9525" cap="flat">
              <a:noFill/>
              <a:prstDash val="solid"/>
              <a:miter/>
            </a:ln>
          </p:spPr>
          <p:txBody>
            <a:bodyPr rtlCol="0" anchor="ctr"/>
            <a:lstStyle/>
            <a:p>
              <a:endParaRPr lang="en-IN"/>
            </a:p>
          </p:txBody>
        </p:sp>
        <p:sp>
          <p:nvSpPr>
            <p:cNvPr id="24" name="Freeform: Shape 23">
              <a:extLst>
                <a:ext uri="{FF2B5EF4-FFF2-40B4-BE49-F238E27FC236}">
                  <a16:creationId xmlns:a16="http://schemas.microsoft.com/office/drawing/2014/main" id="{1443A472-7EDD-9177-99AE-493CB2C7D4E7}"/>
                </a:ext>
              </a:extLst>
            </p:cNvPr>
            <p:cNvSpPr/>
            <p:nvPr/>
          </p:nvSpPr>
          <p:spPr>
            <a:xfrm>
              <a:off x="3931787" y="5000526"/>
              <a:ext cx="19874" cy="14945"/>
            </a:xfrm>
            <a:custGeom>
              <a:avLst/>
              <a:gdLst>
                <a:gd name="connsiteX0" fmla="*/ 2586 w 19874"/>
                <a:gd name="connsiteY0" fmla="*/ 8669 h 14945"/>
                <a:gd name="connsiteX1" fmla="*/ 7730 w 19874"/>
                <a:gd name="connsiteY1" fmla="*/ 12955 h 14945"/>
                <a:gd name="connsiteX2" fmla="*/ 16493 w 19874"/>
                <a:gd name="connsiteY2" fmla="*/ 14384 h 14945"/>
                <a:gd name="connsiteX3" fmla="*/ 19255 w 19874"/>
                <a:gd name="connsiteY3" fmla="*/ 5431 h 14945"/>
                <a:gd name="connsiteX4" fmla="*/ 2586 w 19874"/>
                <a:gd name="connsiteY4" fmla="*/ 8669 h 14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4" h="14945">
                  <a:moveTo>
                    <a:pt x="2586" y="8669"/>
                  </a:moveTo>
                  <a:lnTo>
                    <a:pt x="7730" y="12955"/>
                  </a:lnTo>
                  <a:cubicBezTo>
                    <a:pt x="10016" y="14860"/>
                    <a:pt x="13921" y="15527"/>
                    <a:pt x="16493" y="14384"/>
                  </a:cubicBezTo>
                  <a:cubicBezTo>
                    <a:pt x="21827" y="12003"/>
                    <a:pt x="19255" y="6383"/>
                    <a:pt x="19255" y="5431"/>
                  </a:cubicBezTo>
                  <a:cubicBezTo>
                    <a:pt x="16683" y="-3999"/>
                    <a:pt x="-7891" y="1"/>
                    <a:pt x="2586" y="8669"/>
                  </a:cubicBezTo>
                  <a:close/>
                </a:path>
              </a:pathLst>
            </a:custGeom>
            <a:grpFill/>
            <a:ln w="9525" cap="flat">
              <a:noFill/>
              <a:prstDash val="solid"/>
              <a:miter/>
            </a:ln>
          </p:spPr>
          <p:txBody>
            <a:bodyPr rtlCol="0" anchor="ctr"/>
            <a:lstStyle/>
            <a:p>
              <a:endParaRPr lang="en-IN"/>
            </a:p>
          </p:txBody>
        </p:sp>
        <p:sp>
          <p:nvSpPr>
            <p:cNvPr id="25" name="Freeform: Shape 24">
              <a:extLst>
                <a:ext uri="{FF2B5EF4-FFF2-40B4-BE49-F238E27FC236}">
                  <a16:creationId xmlns:a16="http://schemas.microsoft.com/office/drawing/2014/main" id="{920F3577-1E60-6C8B-C6D3-D5D47502C397}"/>
                </a:ext>
              </a:extLst>
            </p:cNvPr>
            <p:cNvSpPr/>
            <p:nvPr/>
          </p:nvSpPr>
          <p:spPr>
            <a:xfrm>
              <a:off x="3459552" y="4933664"/>
              <a:ext cx="815625" cy="692942"/>
            </a:xfrm>
            <a:custGeom>
              <a:avLst/>
              <a:gdLst>
                <a:gd name="connsiteX0" fmla="*/ 736378 w 815625"/>
                <a:gd name="connsiteY0" fmla="*/ 355376 h 692942"/>
                <a:gd name="connsiteX1" fmla="*/ 729520 w 815625"/>
                <a:gd name="connsiteY1" fmla="*/ 337088 h 692942"/>
                <a:gd name="connsiteX2" fmla="*/ 742569 w 815625"/>
                <a:gd name="connsiteY2" fmla="*/ 324515 h 692942"/>
                <a:gd name="connsiteX3" fmla="*/ 774001 w 815625"/>
                <a:gd name="connsiteY3" fmla="*/ 321562 h 692942"/>
                <a:gd name="connsiteX4" fmla="*/ 791242 w 815625"/>
                <a:gd name="connsiteY4" fmla="*/ 300131 h 692942"/>
                <a:gd name="connsiteX5" fmla="*/ 764572 w 815625"/>
                <a:gd name="connsiteY5" fmla="*/ 297464 h 692942"/>
                <a:gd name="connsiteX6" fmla="*/ 761714 w 815625"/>
                <a:gd name="connsiteY6" fmla="*/ 277652 h 692942"/>
                <a:gd name="connsiteX7" fmla="*/ 815626 w 815625"/>
                <a:gd name="connsiteY7" fmla="*/ 228789 h 692942"/>
                <a:gd name="connsiteX8" fmla="*/ 779526 w 815625"/>
                <a:gd name="connsiteY8" fmla="*/ 214787 h 692942"/>
                <a:gd name="connsiteX9" fmla="*/ 768001 w 815625"/>
                <a:gd name="connsiteY9" fmla="*/ 221074 h 692942"/>
                <a:gd name="connsiteX10" fmla="*/ 755713 w 815625"/>
                <a:gd name="connsiteY10" fmla="*/ 211929 h 692942"/>
                <a:gd name="connsiteX11" fmla="*/ 754951 w 815625"/>
                <a:gd name="connsiteY11" fmla="*/ 179354 h 692942"/>
                <a:gd name="connsiteX12" fmla="*/ 736568 w 815625"/>
                <a:gd name="connsiteY12" fmla="*/ 155351 h 692942"/>
                <a:gd name="connsiteX13" fmla="*/ 705517 w 815625"/>
                <a:gd name="connsiteY13" fmla="*/ 142207 h 692942"/>
                <a:gd name="connsiteX14" fmla="*/ 700754 w 815625"/>
                <a:gd name="connsiteY14" fmla="*/ 146588 h 692942"/>
                <a:gd name="connsiteX15" fmla="*/ 695420 w 815625"/>
                <a:gd name="connsiteY15" fmla="*/ 145921 h 692942"/>
                <a:gd name="connsiteX16" fmla="*/ 673798 w 815625"/>
                <a:gd name="connsiteY16" fmla="*/ 133825 h 692942"/>
                <a:gd name="connsiteX17" fmla="*/ 663416 w 815625"/>
                <a:gd name="connsiteY17" fmla="*/ 136015 h 692942"/>
                <a:gd name="connsiteX18" fmla="*/ 656368 w 815625"/>
                <a:gd name="connsiteY18" fmla="*/ 135158 h 692942"/>
                <a:gd name="connsiteX19" fmla="*/ 637222 w 815625"/>
                <a:gd name="connsiteY19" fmla="*/ 99630 h 692942"/>
                <a:gd name="connsiteX20" fmla="*/ 659321 w 815625"/>
                <a:gd name="connsiteY20" fmla="*/ 100392 h 692942"/>
                <a:gd name="connsiteX21" fmla="*/ 681323 w 815625"/>
                <a:gd name="connsiteY21" fmla="*/ 89057 h 692942"/>
                <a:gd name="connsiteX22" fmla="*/ 643033 w 815625"/>
                <a:gd name="connsiteY22" fmla="*/ 85914 h 692942"/>
                <a:gd name="connsiteX23" fmla="*/ 549783 w 815625"/>
                <a:gd name="connsiteY23" fmla="*/ 88581 h 692942"/>
                <a:gd name="connsiteX24" fmla="*/ 548926 w 815625"/>
                <a:gd name="connsiteY24" fmla="*/ 94867 h 692942"/>
                <a:gd name="connsiteX25" fmla="*/ 557593 w 815625"/>
                <a:gd name="connsiteY25" fmla="*/ 99535 h 692942"/>
                <a:gd name="connsiteX26" fmla="*/ 570452 w 815625"/>
                <a:gd name="connsiteY26" fmla="*/ 100392 h 692942"/>
                <a:gd name="connsiteX27" fmla="*/ 575881 w 815625"/>
                <a:gd name="connsiteY27" fmla="*/ 106583 h 692942"/>
                <a:gd name="connsiteX28" fmla="*/ 570452 w 815625"/>
                <a:gd name="connsiteY28" fmla="*/ 111726 h 692942"/>
                <a:gd name="connsiteX29" fmla="*/ 545878 w 815625"/>
                <a:gd name="connsiteY29" fmla="*/ 110488 h 692942"/>
                <a:gd name="connsiteX30" fmla="*/ 531590 w 815625"/>
                <a:gd name="connsiteY30" fmla="*/ 119823 h 692942"/>
                <a:gd name="connsiteX31" fmla="*/ 517208 w 815625"/>
                <a:gd name="connsiteY31" fmla="*/ 124014 h 692942"/>
                <a:gd name="connsiteX32" fmla="*/ 505682 w 815625"/>
                <a:gd name="connsiteY32" fmla="*/ 129443 h 692942"/>
                <a:gd name="connsiteX33" fmla="*/ 454057 w 815625"/>
                <a:gd name="connsiteY33" fmla="*/ 118775 h 692942"/>
                <a:gd name="connsiteX34" fmla="*/ 437293 w 815625"/>
                <a:gd name="connsiteY34" fmla="*/ 101725 h 692942"/>
                <a:gd name="connsiteX35" fmla="*/ 434435 w 815625"/>
                <a:gd name="connsiteY35" fmla="*/ 96772 h 692942"/>
                <a:gd name="connsiteX36" fmla="*/ 396050 w 815625"/>
                <a:gd name="connsiteY36" fmla="*/ 94105 h 692942"/>
                <a:gd name="connsiteX37" fmla="*/ 321278 w 815625"/>
                <a:gd name="connsiteY37" fmla="*/ 100773 h 692942"/>
                <a:gd name="connsiteX38" fmla="*/ 312134 w 815625"/>
                <a:gd name="connsiteY38" fmla="*/ 97439 h 692942"/>
                <a:gd name="connsiteX39" fmla="*/ 306038 w 815625"/>
                <a:gd name="connsiteY39" fmla="*/ 91248 h 692942"/>
                <a:gd name="connsiteX40" fmla="*/ 305752 w 815625"/>
                <a:gd name="connsiteY40" fmla="*/ 74103 h 692942"/>
                <a:gd name="connsiteX41" fmla="*/ 293465 w 815625"/>
                <a:gd name="connsiteY41" fmla="*/ 57720 h 692942"/>
                <a:gd name="connsiteX42" fmla="*/ 266224 w 815625"/>
                <a:gd name="connsiteY42" fmla="*/ 44385 h 692942"/>
                <a:gd name="connsiteX43" fmla="*/ 223552 w 815625"/>
                <a:gd name="connsiteY43" fmla="*/ 38479 h 692942"/>
                <a:gd name="connsiteX44" fmla="*/ 200025 w 815625"/>
                <a:gd name="connsiteY44" fmla="*/ 951 h 692942"/>
                <a:gd name="connsiteX45" fmla="*/ 185547 w 815625"/>
                <a:gd name="connsiteY45" fmla="*/ 15524 h 692942"/>
                <a:gd name="connsiteX46" fmla="*/ 194500 w 815625"/>
                <a:gd name="connsiteY46" fmla="*/ 32669 h 692942"/>
                <a:gd name="connsiteX47" fmla="*/ 209931 w 815625"/>
                <a:gd name="connsiteY47" fmla="*/ 36955 h 692942"/>
                <a:gd name="connsiteX48" fmla="*/ 211074 w 815625"/>
                <a:gd name="connsiteY48" fmla="*/ 50290 h 692942"/>
                <a:gd name="connsiteX49" fmla="*/ 186309 w 815625"/>
                <a:gd name="connsiteY49" fmla="*/ 51909 h 692942"/>
                <a:gd name="connsiteX50" fmla="*/ 113062 w 815625"/>
                <a:gd name="connsiteY50" fmla="*/ 80770 h 692942"/>
                <a:gd name="connsiteX51" fmla="*/ 116681 w 815625"/>
                <a:gd name="connsiteY51" fmla="*/ 107440 h 692942"/>
                <a:gd name="connsiteX52" fmla="*/ 137065 w 815625"/>
                <a:gd name="connsiteY52" fmla="*/ 147540 h 692942"/>
                <a:gd name="connsiteX53" fmla="*/ 133731 w 815625"/>
                <a:gd name="connsiteY53" fmla="*/ 174306 h 692942"/>
                <a:gd name="connsiteX54" fmla="*/ 117634 w 815625"/>
                <a:gd name="connsiteY54" fmla="*/ 186593 h 692942"/>
                <a:gd name="connsiteX55" fmla="*/ 96774 w 815625"/>
                <a:gd name="connsiteY55" fmla="*/ 180307 h 692942"/>
                <a:gd name="connsiteX56" fmla="*/ 93345 w 815625"/>
                <a:gd name="connsiteY56" fmla="*/ 166114 h 692942"/>
                <a:gd name="connsiteX57" fmla="*/ 76676 w 815625"/>
                <a:gd name="connsiteY57" fmla="*/ 138206 h 692942"/>
                <a:gd name="connsiteX58" fmla="*/ 98965 w 815625"/>
                <a:gd name="connsiteY58" fmla="*/ 95629 h 692942"/>
                <a:gd name="connsiteX59" fmla="*/ 96488 w 815625"/>
                <a:gd name="connsiteY59" fmla="*/ 72960 h 692942"/>
                <a:gd name="connsiteX60" fmla="*/ 85820 w 815625"/>
                <a:gd name="connsiteY60" fmla="*/ 43242 h 692942"/>
                <a:gd name="connsiteX61" fmla="*/ 93917 w 815625"/>
                <a:gd name="connsiteY61" fmla="*/ 35336 h 692942"/>
                <a:gd name="connsiteX62" fmla="*/ 119539 w 815625"/>
                <a:gd name="connsiteY62" fmla="*/ 26668 h 692942"/>
                <a:gd name="connsiteX63" fmla="*/ 131254 w 815625"/>
                <a:gd name="connsiteY63" fmla="*/ 12285 h 692942"/>
                <a:gd name="connsiteX64" fmla="*/ 131254 w 815625"/>
                <a:gd name="connsiteY64" fmla="*/ 12285 h 692942"/>
                <a:gd name="connsiteX65" fmla="*/ 81058 w 815625"/>
                <a:gd name="connsiteY65" fmla="*/ 22287 h 692942"/>
                <a:gd name="connsiteX66" fmla="*/ 64865 w 815625"/>
                <a:gd name="connsiteY66" fmla="*/ 60291 h 692942"/>
                <a:gd name="connsiteX67" fmla="*/ 51340 w 815625"/>
                <a:gd name="connsiteY67" fmla="*/ 63720 h 692942"/>
                <a:gd name="connsiteX68" fmla="*/ 27718 w 815625"/>
                <a:gd name="connsiteY68" fmla="*/ 103440 h 692942"/>
                <a:gd name="connsiteX69" fmla="*/ 23431 w 815625"/>
                <a:gd name="connsiteY69" fmla="*/ 138015 h 692942"/>
                <a:gd name="connsiteX70" fmla="*/ 0 w 815625"/>
                <a:gd name="connsiteY70" fmla="*/ 179259 h 692942"/>
                <a:gd name="connsiteX71" fmla="*/ 25146 w 815625"/>
                <a:gd name="connsiteY71" fmla="*/ 173449 h 692942"/>
                <a:gd name="connsiteX72" fmla="*/ 28194 w 815625"/>
                <a:gd name="connsiteY72" fmla="*/ 183831 h 692942"/>
                <a:gd name="connsiteX73" fmla="*/ 37814 w 815625"/>
                <a:gd name="connsiteY73" fmla="*/ 183259 h 692942"/>
                <a:gd name="connsiteX74" fmla="*/ 43339 w 815625"/>
                <a:gd name="connsiteY74" fmla="*/ 214501 h 692942"/>
                <a:gd name="connsiteX75" fmla="*/ 60388 w 815625"/>
                <a:gd name="connsiteY75" fmla="*/ 227932 h 692942"/>
                <a:gd name="connsiteX76" fmla="*/ 62008 w 815625"/>
                <a:gd name="connsiteY76" fmla="*/ 246029 h 692942"/>
                <a:gd name="connsiteX77" fmla="*/ 55340 w 815625"/>
                <a:gd name="connsiteY77" fmla="*/ 258221 h 692942"/>
                <a:gd name="connsiteX78" fmla="*/ 57531 w 815625"/>
                <a:gd name="connsiteY78" fmla="*/ 286796 h 692942"/>
                <a:gd name="connsiteX79" fmla="*/ 70771 w 815625"/>
                <a:gd name="connsiteY79" fmla="*/ 288606 h 692942"/>
                <a:gd name="connsiteX80" fmla="*/ 82963 w 815625"/>
                <a:gd name="connsiteY80" fmla="*/ 310894 h 692942"/>
                <a:gd name="connsiteX81" fmla="*/ 131731 w 815625"/>
                <a:gd name="connsiteY81" fmla="*/ 314514 h 692942"/>
                <a:gd name="connsiteX82" fmla="*/ 157925 w 815625"/>
                <a:gd name="connsiteY82" fmla="*/ 304417 h 692942"/>
                <a:gd name="connsiteX83" fmla="*/ 183166 w 815625"/>
                <a:gd name="connsiteY83" fmla="*/ 315466 h 692942"/>
                <a:gd name="connsiteX84" fmla="*/ 192310 w 815625"/>
                <a:gd name="connsiteY84" fmla="*/ 312037 h 692942"/>
                <a:gd name="connsiteX85" fmla="*/ 241840 w 815625"/>
                <a:gd name="connsiteY85" fmla="*/ 370330 h 692942"/>
                <a:gd name="connsiteX86" fmla="*/ 260033 w 815625"/>
                <a:gd name="connsiteY86" fmla="*/ 358900 h 692942"/>
                <a:gd name="connsiteX87" fmla="*/ 318706 w 815625"/>
                <a:gd name="connsiteY87" fmla="*/ 361567 h 692942"/>
                <a:gd name="connsiteX88" fmla="*/ 326041 w 815625"/>
                <a:gd name="connsiteY88" fmla="*/ 350423 h 692942"/>
                <a:gd name="connsiteX89" fmla="*/ 349091 w 815625"/>
                <a:gd name="connsiteY89" fmla="*/ 351185 h 692942"/>
                <a:gd name="connsiteX90" fmla="*/ 356997 w 815625"/>
                <a:gd name="connsiteY90" fmla="*/ 371378 h 692942"/>
                <a:gd name="connsiteX91" fmla="*/ 343948 w 815625"/>
                <a:gd name="connsiteY91" fmla="*/ 386523 h 692942"/>
                <a:gd name="connsiteX92" fmla="*/ 345567 w 815625"/>
                <a:gd name="connsiteY92" fmla="*/ 399953 h 692942"/>
                <a:gd name="connsiteX93" fmla="*/ 330708 w 815625"/>
                <a:gd name="connsiteY93" fmla="*/ 414812 h 692942"/>
                <a:gd name="connsiteX94" fmla="*/ 330041 w 815625"/>
                <a:gd name="connsiteY94" fmla="*/ 471009 h 692942"/>
                <a:gd name="connsiteX95" fmla="*/ 344138 w 815625"/>
                <a:gd name="connsiteY95" fmla="*/ 505681 h 692942"/>
                <a:gd name="connsiteX96" fmla="*/ 364617 w 815625"/>
                <a:gd name="connsiteY96" fmla="*/ 527112 h 692942"/>
                <a:gd name="connsiteX97" fmla="*/ 331565 w 815625"/>
                <a:gd name="connsiteY97" fmla="*/ 563688 h 692942"/>
                <a:gd name="connsiteX98" fmla="*/ 352901 w 815625"/>
                <a:gd name="connsiteY98" fmla="*/ 567022 h 692942"/>
                <a:gd name="connsiteX99" fmla="*/ 377190 w 815625"/>
                <a:gd name="connsiteY99" fmla="*/ 590644 h 692942"/>
                <a:gd name="connsiteX100" fmla="*/ 396335 w 815625"/>
                <a:gd name="connsiteY100" fmla="*/ 659414 h 692942"/>
                <a:gd name="connsiteX101" fmla="*/ 425958 w 815625"/>
                <a:gd name="connsiteY101" fmla="*/ 688084 h 692942"/>
                <a:gd name="connsiteX102" fmla="*/ 459391 w 815625"/>
                <a:gd name="connsiteY102" fmla="*/ 669511 h 692942"/>
                <a:gd name="connsiteX103" fmla="*/ 471106 w 815625"/>
                <a:gd name="connsiteY103" fmla="*/ 675988 h 692942"/>
                <a:gd name="connsiteX104" fmla="*/ 464630 w 815625"/>
                <a:gd name="connsiteY104" fmla="*/ 690466 h 692942"/>
                <a:gd name="connsiteX105" fmla="*/ 479965 w 815625"/>
                <a:gd name="connsiteY105" fmla="*/ 692942 h 692942"/>
                <a:gd name="connsiteX106" fmla="*/ 500729 w 815625"/>
                <a:gd name="connsiteY106" fmla="*/ 663605 h 692942"/>
                <a:gd name="connsiteX107" fmla="*/ 537591 w 815625"/>
                <a:gd name="connsiteY107" fmla="*/ 642555 h 692942"/>
                <a:gd name="connsiteX108" fmla="*/ 541972 w 815625"/>
                <a:gd name="connsiteY108" fmla="*/ 651508 h 692942"/>
                <a:gd name="connsiteX109" fmla="*/ 556260 w 815625"/>
                <a:gd name="connsiteY109" fmla="*/ 635697 h 692942"/>
                <a:gd name="connsiteX110" fmla="*/ 562165 w 815625"/>
                <a:gd name="connsiteY110" fmla="*/ 615028 h 692942"/>
                <a:gd name="connsiteX111" fmla="*/ 598170 w 815625"/>
                <a:gd name="connsiteY111" fmla="*/ 603407 h 692942"/>
                <a:gd name="connsiteX112" fmla="*/ 601123 w 815625"/>
                <a:gd name="connsiteY112" fmla="*/ 587405 h 692942"/>
                <a:gd name="connsiteX113" fmla="*/ 562261 w 815625"/>
                <a:gd name="connsiteY113" fmla="*/ 583500 h 692942"/>
                <a:gd name="connsiteX114" fmla="*/ 565880 w 815625"/>
                <a:gd name="connsiteY114" fmla="*/ 565593 h 692942"/>
                <a:gd name="connsiteX115" fmla="*/ 549402 w 815625"/>
                <a:gd name="connsiteY115" fmla="*/ 544352 h 692942"/>
                <a:gd name="connsiteX116" fmla="*/ 549878 w 815625"/>
                <a:gd name="connsiteY116" fmla="*/ 521587 h 692942"/>
                <a:gd name="connsiteX117" fmla="*/ 510826 w 815625"/>
                <a:gd name="connsiteY117" fmla="*/ 479677 h 692942"/>
                <a:gd name="connsiteX118" fmla="*/ 527876 w 815625"/>
                <a:gd name="connsiteY118" fmla="*/ 473296 h 692942"/>
                <a:gd name="connsiteX119" fmla="*/ 540163 w 815625"/>
                <a:gd name="connsiteY119" fmla="*/ 483773 h 692942"/>
                <a:gd name="connsiteX120" fmla="*/ 561499 w 815625"/>
                <a:gd name="connsiteY120" fmla="*/ 484440 h 692942"/>
                <a:gd name="connsiteX121" fmla="*/ 569595 w 815625"/>
                <a:gd name="connsiteY121" fmla="*/ 496346 h 692942"/>
                <a:gd name="connsiteX122" fmla="*/ 603504 w 815625"/>
                <a:gd name="connsiteY122" fmla="*/ 494060 h 692942"/>
                <a:gd name="connsiteX123" fmla="*/ 627317 w 815625"/>
                <a:gd name="connsiteY123" fmla="*/ 518158 h 692942"/>
                <a:gd name="connsiteX124" fmla="*/ 637604 w 815625"/>
                <a:gd name="connsiteY124" fmla="*/ 513205 h 692942"/>
                <a:gd name="connsiteX125" fmla="*/ 638080 w 815625"/>
                <a:gd name="connsiteY125" fmla="*/ 491679 h 692942"/>
                <a:gd name="connsiteX126" fmla="*/ 660654 w 815625"/>
                <a:gd name="connsiteY126" fmla="*/ 480344 h 692942"/>
                <a:gd name="connsiteX127" fmla="*/ 675132 w 815625"/>
                <a:gd name="connsiteY127" fmla="*/ 486059 h 692942"/>
                <a:gd name="connsiteX128" fmla="*/ 709898 w 815625"/>
                <a:gd name="connsiteY128" fmla="*/ 475677 h 692942"/>
                <a:gd name="connsiteX129" fmla="*/ 716185 w 815625"/>
                <a:gd name="connsiteY129" fmla="*/ 462056 h 692942"/>
                <a:gd name="connsiteX130" fmla="*/ 742950 w 815625"/>
                <a:gd name="connsiteY130" fmla="*/ 461580 h 692942"/>
                <a:gd name="connsiteX131" fmla="*/ 767048 w 815625"/>
                <a:gd name="connsiteY131" fmla="*/ 436243 h 692942"/>
                <a:gd name="connsiteX132" fmla="*/ 760952 w 815625"/>
                <a:gd name="connsiteY132" fmla="*/ 420241 h 692942"/>
                <a:gd name="connsiteX133" fmla="*/ 719804 w 815625"/>
                <a:gd name="connsiteY133" fmla="*/ 374807 h 692942"/>
                <a:gd name="connsiteX134" fmla="*/ 736759 w 815625"/>
                <a:gd name="connsiteY134" fmla="*/ 355090 h 692942"/>
                <a:gd name="connsiteX135" fmla="*/ 639223 w 815625"/>
                <a:gd name="connsiteY135" fmla="*/ 288225 h 692942"/>
                <a:gd name="connsiteX136" fmla="*/ 630650 w 815625"/>
                <a:gd name="connsiteY136" fmla="*/ 307656 h 692942"/>
                <a:gd name="connsiteX137" fmla="*/ 620744 w 815625"/>
                <a:gd name="connsiteY137" fmla="*/ 296511 h 692942"/>
                <a:gd name="connsiteX138" fmla="*/ 620077 w 815625"/>
                <a:gd name="connsiteY138" fmla="*/ 280319 h 692942"/>
                <a:gd name="connsiteX139" fmla="*/ 620268 w 815625"/>
                <a:gd name="connsiteY139" fmla="*/ 262888 h 692942"/>
                <a:gd name="connsiteX140" fmla="*/ 635508 w 815625"/>
                <a:gd name="connsiteY140" fmla="*/ 270699 h 692942"/>
                <a:gd name="connsiteX141" fmla="*/ 639223 w 815625"/>
                <a:gd name="connsiteY141" fmla="*/ 288225 h 69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815625" h="692942">
                  <a:moveTo>
                    <a:pt x="736378" y="355376"/>
                  </a:moveTo>
                  <a:lnTo>
                    <a:pt x="729520" y="337088"/>
                  </a:lnTo>
                  <a:lnTo>
                    <a:pt x="742569" y="324515"/>
                  </a:lnTo>
                  <a:lnTo>
                    <a:pt x="774001" y="321562"/>
                  </a:lnTo>
                  <a:lnTo>
                    <a:pt x="791242" y="300131"/>
                  </a:lnTo>
                  <a:lnTo>
                    <a:pt x="764572" y="297464"/>
                  </a:lnTo>
                  <a:lnTo>
                    <a:pt x="761714" y="277652"/>
                  </a:lnTo>
                  <a:lnTo>
                    <a:pt x="815626" y="228789"/>
                  </a:lnTo>
                  <a:cubicBezTo>
                    <a:pt x="785622" y="211549"/>
                    <a:pt x="783146" y="210215"/>
                    <a:pt x="779526" y="214787"/>
                  </a:cubicBezTo>
                  <a:cubicBezTo>
                    <a:pt x="778478" y="215644"/>
                    <a:pt x="774859" y="223169"/>
                    <a:pt x="768001" y="221074"/>
                  </a:cubicBezTo>
                  <a:cubicBezTo>
                    <a:pt x="765334" y="219740"/>
                    <a:pt x="755142" y="219550"/>
                    <a:pt x="755713" y="211929"/>
                  </a:cubicBezTo>
                  <a:cubicBezTo>
                    <a:pt x="757238" y="191927"/>
                    <a:pt x="758857" y="185355"/>
                    <a:pt x="754951" y="179354"/>
                  </a:cubicBezTo>
                  <a:cubicBezTo>
                    <a:pt x="745426" y="164590"/>
                    <a:pt x="742759" y="158971"/>
                    <a:pt x="736568" y="155351"/>
                  </a:cubicBezTo>
                  <a:cubicBezTo>
                    <a:pt x="712470" y="141540"/>
                    <a:pt x="704659" y="135253"/>
                    <a:pt x="705517" y="142207"/>
                  </a:cubicBezTo>
                  <a:cubicBezTo>
                    <a:pt x="705802" y="144969"/>
                    <a:pt x="703707" y="146969"/>
                    <a:pt x="700754" y="146588"/>
                  </a:cubicBezTo>
                  <a:lnTo>
                    <a:pt x="695420" y="145921"/>
                  </a:lnTo>
                  <a:cubicBezTo>
                    <a:pt x="687134" y="144969"/>
                    <a:pt x="672846" y="133158"/>
                    <a:pt x="673798" y="133825"/>
                  </a:cubicBezTo>
                  <a:cubicBezTo>
                    <a:pt x="668560" y="130110"/>
                    <a:pt x="662464" y="136491"/>
                    <a:pt x="663416" y="136015"/>
                  </a:cubicBezTo>
                  <a:cubicBezTo>
                    <a:pt x="661226" y="138015"/>
                    <a:pt x="657987" y="137635"/>
                    <a:pt x="656368" y="135158"/>
                  </a:cubicBezTo>
                  <a:cubicBezTo>
                    <a:pt x="635127" y="104297"/>
                    <a:pt x="629888" y="99439"/>
                    <a:pt x="637222" y="99630"/>
                  </a:cubicBezTo>
                  <a:lnTo>
                    <a:pt x="659321" y="100392"/>
                  </a:lnTo>
                  <a:cubicBezTo>
                    <a:pt x="665702" y="100582"/>
                    <a:pt x="690848" y="89819"/>
                    <a:pt x="681323" y="89057"/>
                  </a:cubicBezTo>
                  <a:lnTo>
                    <a:pt x="643033" y="85914"/>
                  </a:lnTo>
                  <a:cubicBezTo>
                    <a:pt x="633698" y="85152"/>
                    <a:pt x="548830" y="88581"/>
                    <a:pt x="549783" y="88581"/>
                  </a:cubicBezTo>
                  <a:cubicBezTo>
                    <a:pt x="543497" y="88771"/>
                    <a:pt x="549307" y="95820"/>
                    <a:pt x="548926" y="94867"/>
                  </a:cubicBezTo>
                  <a:cubicBezTo>
                    <a:pt x="550735" y="97248"/>
                    <a:pt x="554546" y="99344"/>
                    <a:pt x="557593" y="99535"/>
                  </a:cubicBezTo>
                  <a:lnTo>
                    <a:pt x="570452" y="100392"/>
                  </a:lnTo>
                  <a:cubicBezTo>
                    <a:pt x="575977" y="100773"/>
                    <a:pt x="576263" y="107535"/>
                    <a:pt x="575881" y="106583"/>
                  </a:cubicBezTo>
                  <a:cubicBezTo>
                    <a:pt x="575881" y="109536"/>
                    <a:pt x="573500" y="111822"/>
                    <a:pt x="570452" y="111726"/>
                  </a:cubicBezTo>
                  <a:lnTo>
                    <a:pt x="545878" y="110488"/>
                  </a:lnTo>
                  <a:cubicBezTo>
                    <a:pt x="537591" y="110107"/>
                    <a:pt x="539972" y="119632"/>
                    <a:pt x="531590" y="119823"/>
                  </a:cubicBezTo>
                  <a:cubicBezTo>
                    <a:pt x="530066" y="120108"/>
                    <a:pt x="522256" y="118870"/>
                    <a:pt x="517208" y="124014"/>
                  </a:cubicBezTo>
                  <a:cubicBezTo>
                    <a:pt x="516255" y="124680"/>
                    <a:pt x="512540" y="130586"/>
                    <a:pt x="505682" y="129443"/>
                  </a:cubicBezTo>
                  <a:cubicBezTo>
                    <a:pt x="465296" y="122776"/>
                    <a:pt x="460534" y="122966"/>
                    <a:pt x="454057" y="118775"/>
                  </a:cubicBezTo>
                  <a:cubicBezTo>
                    <a:pt x="445960" y="112298"/>
                    <a:pt x="433292" y="108964"/>
                    <a:pt x="437293" y="101725"/>
                  </a:cubicBezTo>
                  <a:cubicBezTo>
                    <a:pt x="438626" y="99249"/>
                    <a:pt x="437293" y="96963"/>
                    <a:pt x="434435" y="96772"/>
                  </a:cubicBezTo>
                  <a:lnTo>
                    <a:pt x="396050" y="94105"/>
                  </a:lnTo>
                  <a:cubicBezTo>
                    <a:pt x="386810" y="93438"/>
                    <a:pt x="320326" y="100868"/>
                    <a:pt x="321278" y="100773"/>
                  </a:cubicBezTo>
                  <a:cubicBezTo>
                    <a:pt x="318325" y="101058"/>
                    <a:pt x="314230" y="99630"/>
                    <a:pt x="312134" y="97439"/>
                  </a:cubicBezTo>
                  <a:lnTo>
                    <a:pt x="306038" y="91248"/>
                  </a:lnTo>
                  <a:cubicBezTo>
                    <a:pt x="300418" y="85533"/>
                    <a:pt x="309753" y="81246"/>
                    <a:pt x="305752" y="74103"/>
                  </a:cubicBezTo>
                  <a:cubicBezTo>
                    <a:pt x="302038" y="67530"/>
                    <a:pt x="299275" y="61244"/>
                    <a:pt x="293465" y="57720"/>
                  </a:cubicBezTo>
                  <a:cubicBezTo>
                    <a:pt x="278225" y="48480"/>
                    <a:pt x="273367" y="44480"/>
                    <a:pt x="266224" y="44385"/>
                  </a:cubicBezTo>
                  <a:cubicBezTo>
                    <a:pt x="229171" y="43527"/>
                    <a:pt x="226504" y="44766"/>
                    <a:pt x="223552" y="38479"/>
                  </a:cubicBezTo>
                  <a:cubicBezTo>
                    <a:pt x="206978" y="2856"/>
                    <a:pt x="206216" y="-2669"/>
                    <a:pt x="200025" y="951"/>
                  </a:cubicBezTo>
                  <a:cubicBezTo>
                    <a:pt x="194881" y="4951"/>
                    <a:pt x="183928" y="7428"/>
                    <a:pt x="185547" y="15524"/>
                  </a:cubicBezTo>
                  <a:cubicBezTo>
                    <a:pt x="187547" y="21239"/>
                    <a:pt x="186214" y="33050"/>
                    <a:pt x="194500" y="32669"/>
                  </a:cubicBezTo>
                  <a:cubicBezTo>
                    <a:pt x="197548" y="33050"/>
                    <a:pt x="206597" y="30097"/>
                    <a:pt x="209931" y="36955"/>
                  </a:cubicBezTo>
                  <a:cubicBezTo>
                    <a:pt x="210979" y="40479"/>
                    <a:pt x="218884" y="50290"/>
                    <a:pt x="211074" y="50290"/>
                  </a:cubicBezTo>
                  <a:cubicBezTo>
                    <a:pt x="200215" y="50290"/>
                    <a:pt x="192976" y="49814"/>
                    <a:pt x="186309" y="51909"/>
                  </a:cubicBezTo>
                  <a:cubicBezTo>
                    <a:pt x="115157" y="74769"/>
                    <a:pt x="112776" y="73245"/>
                    <a:pt x="113062" y="80770"/>
                  </a:cubicBezTo>
                  <a:cubicBezTo>
                    <a:pt x="113538" y="93153"/>
                    <a:pt x="113062" y="101249"/>
                    <a:pt x="116681" y="107440"/>
                  </a:cubicBezTo>
                  <a:cubicBezTo>
                    <a:pt x="133064" y="135349"/>
                    <a:pt x="136969" y="140301"/>
                    <a:pt x="137065" y="147540"/>
                  </a:cubicBezTo>
                  <a:cubicBezTo>
                    <a:pt x="137160" y="164971"/>
                    <a:pt x="138017" y="169258"/>
                    <a:pt x="133731" y="174306"/>
                  </a:cubicBezTo>
                  <a:cubicBezTo>
                    <a:pt x="129540" y="178211"/>
                    <a:pt x="125825" y="186879"/>
                    <a:pt x="117634" y="186593"/>
                  </a:cubicBezTo>
                  <a:cubicBezTo>
                    <a:pt x="109347" y="185260"/>
                    <a:pt x="96774" y="188784"/>
                    <a:pt x="96774" y="180307"/>
                  </a:cubicBezTo>
                  <a:cubicBezTo>
                    <a:pt x="96583" y="178973"/>
                    <a:pt x="97917" y="171639"/>
                    <a:pt x="93345" y="166114"/>
                  </a:cubicBezTo>
                  <a:cubicBezTo>
                    <a:pt x="77438" y="147064"/>
                    <a:pt x="73152" y="144112"/>
                    <a:pt x="76676" y="138206"/>
                  </a:cubicBezTo>
                  <a:cubicBezTo>
                    <a:pt x="94869" y="107726"/>
                    <a:pt x="98965" y="103249"/>
                    <a:pt x="98965" y="95629"/>
                  </a:cubicBezTo>
                  <a:cubicBezTo>
                    <a:pt x="98965" y="86104"/>
                    <a:pt x="99631" y="79151"/>
                    <a:pt x="96488" y="72960"/>
                  </a:cubicBezTo>
                  <a:cubicBezTo>
                    <a:pt x="86296" y="53052"/>
                    <a:pt x="83248" y="49528"/>
                    <a:pt x="85820" y="43242"/>
                  </a:cubicBezTo>
                  <a:cubicBezTo>
                    <a:pt x="86487" y="42289"/>
                    <a:pt x="87630" y="36574"/>
                    <a:pt x="93917" y="35336"/>
                  </a:cubicBezTo>
                  <a:cubicBezTo>
                    <a:pt x="108109" y="32478"/>
                    <a:pt x="114967" y="32193"/>
                    <a:pt x="119539" y="26668"/>
                  </a:cubicBezTo>
                  <a:cubicBezTo>
                    <a:pt x="125063" y="20001"/>
                    <a:pt x="128873" y="15619"/>
                    <a:pt x="131254" y="12285"/>
                  </a:cubicBezTo>
                  <a:lnTo>
                    <a:pt x="131254" y="12285"/>
                  </a:lnTo>
                  <a:lnTo>
                    <a:pt x="81058" y="22287"/>
                  </a:lnTo>
                  <a:lnTo>
                    <a:pt x="64865" y="60291"/>
                  </a:lnTo>
                  <a:lnTo>
                    <a:pt x="51340" y="63720"/>
                  </a:lnTo>
                  <a:lnTo>
                    <a:pt x="27718" y="103440"/>
                  </a:lnTo>
                  <a:lnTo>
                    <a:pt x="23431" y="138015"/>
                  </a:lnTo>
                  <a:lnTo>
                    <a:pt x="0" y="179259"/>
                  </a:lnTo>
                  <a:lnTo>
                    <a:pt x="25146" y="173449"/>
                  </a:lnTo>
                  <a:lnTo>
                    <a:pt x="28194" y="183831"/>
                  </a:lnTo>
                  <a:lnTo>
                    <a:pt x="37814" y="183259"/>
                  </a:lnTo>
                  <a:lnTo>
                    <a:pt x="43339" y="214501"/>
                  </a:lnTo>
                  <a:lnTo>
                    <a:pt x="60388" y="227932"/>
                  </a:lnTo>
                  <a:lnTo>
                    <a:pt x="62008" y="246029"/>
                  </a:lnTo>
                  <a:lnTo>
                    <a:pt x="55340" y="258221"/>
                  </a:lnTo>
                  <a:lnTo>
                    <a:pt x="57531" y="286796"/>
                  </a:lnTo>
                  <a:lnTo>
                    <a:pt x="70771" y="288606"/>
                  </a:lnTo>
                  <a:lnTo>
                    <a:pt x="82963" y="310894"/>
                  </a:lnTo>
                  <a:lnTo>
                    <a:pt x="131731" y="314514"/>
                  </a:lnTo>
                  <a:lnTo>
                    <a:pt x="157925" y="304417"/>
                  </a:lnTo>
                  <a:lnTo>
                    <a:pt x="183166" y="315466"/>
                  </a:lnTo>
                  <a:lnTo>
                    <a:pt x="192310" y="312037"/>
                  </a:lnTo>
                  <a:lnTo>
                    <a:pt x="241840" y="370330"/>
                  </a:lnTo>
                  <a:lnTo>
                    <a:pt x="260033" y="358900"/>
                  </a:lnTo>
                  <a:lnTo>
                    <a:pt x="318706" y="361567"/>
                  </a:lnTo>
                  <a:lnTo>
                    <a:pt x="326041" y="350423"/>
                  </a:lnTo>
                  <a:lnTo>
                    <a:pt x="349091" y="351185"/>
                  </a:lnTo>
                  <a:lnTo>
                    <a:pt x="356997" y="371378"/>
                  </a:lnTo>
                  <a:lnTo>
                    <a:pt x="343948" y="386523"/>
                  </a:lnTo>
                  <a:lnTo>
                    <a:pt x="345567" y="399953"/>
                  </a:lnTo>
                  <a:lnTo>
                    <a:pt x="330708" y="414812"/>
                  </a:lnTo>
                  <a:lnTo>
                    <a:pt x="330041" y="471009"/>
                  </a:lnTo>
                  <a:lnTo>
                    <a:pt x="344138" y="505681"/>
                  </a:lnTo>
                  <a:lnTo>
                    <a:pt x="364617" y="527112"/>
                  </a:lnTo>
                  <a:lnTo>
                    <a:pt x="331565" y="563688"/>
                  </a:lnTo>
                  <a:lnTo>
                    <a:pt x="352901" y="567022"/>
                  </a:lnTo>
                  <a:lnTo>
                    <a:pt x="377190" y="590644"/>
                  </a:lnTo>
                  <a:lnTo>
                    <a:pt x="396335" y="659414"/>
                  </a:lnTo>
                  <a:lnTo>
                    <a:pt x="425958" y="688084"/>
                  </a:lnTo>
                  <a:lnTo>
                    <a:pt x="459391" y="669511"/>
                  </a:lnTo>
                  <a:lnTo>
                    <a:pt x="471106" y="675988"/>
                  </a:lnTo>
                  <a:lnTo>
                    <a:pt x="464630" y="690466"/>
                  </a:lnTo>
                  <a:lnTo>
                    <a:pt x="479965" y="692942"/>
                  </a:lnTo>
                  <a:lnTo>
                    <a:pt x="500729" y="663605"/>
                  </a:lnTo>
                  <a:lnTo>
                    <a:pt x="537591" y="642555"/>
                  </a:lnTo>
                  <a:lnTo>
                    <a:pt x="541972" y="651508"/>
                  </a:lnTo>
                  <a:lnTo>
                    <a:pt x="556260" y="635697"/>
                  </a:lnTo>
                  <a:lnTo>
                    <a:pt x="562165" y="615028"/>
                  </a:lnTo>
                  <a:lnTo>
                    <a:pt x="598170" y="603407"/>
                  </a:lnTo>
                  <a:lnTo>
                    <a:pt x="601123" y="587405"/>
                  </a:lnTo>
                  <a:lnTo>
                    <a:pt x="562261" y="583500"/>
                  </a:lnTo>
                  <a:lnTo>
                    <a:pt x="565880" y="565593"/>
                  </a:lnTo>
                  <a:lnTo>
                    <a:pt x="549402" y="544352"/>
                  </a:lnTo>
                  <a:lnTo>
                    <a:pt x="549878" y="521587"/>
                  </a:lnTo>
                  <a:lnTo>
                    <a:pt x="510826" y="479677"/>
                  </a:lnTo>
                  <a:lnTo>
                    <a:pt x="527876" y="473296"/>
                  </a:lnTo>
                  <a:lnTo>
                    <a:pt x="540163" y="483773"/>
                  </a:lnTo>
                  <a:lnTo>
                    <a:pt x="561499" y="484440"/>
                  </a:lnTo>
                  <a:lnTo>
                    <a:pt x="569595" y="496346"/>
                  </a:lnTo>
                  <a:lnTo>
                    <a:pt x="603504" y="494060"/>
                  </a:lnTo>
                  <a:lnTo>
                    <a:pt x="627317" y="518158"/>
                  </a:lnTo>
                  <a:lnTo>
                    <a:pt x="637604" y="513205"/>
                  </a:lnTo>
                  <a:lnTo>
                    <a:pt x="638080" y="491679"/>
                  </a:lnTo>
                  <a:lnTo>
                    <a:pt x="660654" y="480344"/>
                  </a:lnTo>
                  <a:lnTo>
                    <a:pt x="675132" y="486059"/>
                  </a:lnTo>
                  <a:lnTo>
                    <a:pt x="709898" y="475677"/>
                  </a:lnTo>
                  <a:lnTo>
                    <a:pt x="716185" y="462056"/>
                  </a:lnTo>
                  <a:lnTo>
                    <a:pt x="742950" y="461580"/>
                  </a:lnTo>
                  <a:lnTo>
                    <a:pt x="767048" y="436243"/>
                  </a:lnTo>
                  <a:lnTo>
                    <a:pt x="760952" y="420241"/>
                  </a:lnTo>
                  <a:lnTo>
                    <a:pt x="719804" y="374807"/>
                  </a:lnTo>
                  <a:lnTo>
                    <a:pt x="736759" y="355090"/>
                  </a:lnTo>
                  <a:close/>
                  <a:moveTo>
                    <a:pt x="639223" y="288225"/>
                  </a:moveTo>
                  <a:cubicBezTo>
                    <a:pt x="636746" y="296988"/>
                    <a:pt x="638175" y="311847"/>
                    <a:pt x="630650" y="307656"/>
                  </a:cubicBezTo>
                  <a:cubicBezTo>
                    <a:pt x="628840" y="306227"/>
                    <a:pt x="620268" y="303846"/>
                    <a:pt x="620744" y="296511"/>
                  </a:cubicBezTo>
                  <a:cubicBezTo>
                    <a:pt x="621030" y="292035"/>
                    <a:pt x="621792" y="286510"/>
                    <a:pt x="620077" y="280319"/>
                  </a:cubicBezTo>
                  <a:cubicBezTo>
                    <a:pt x="620077" y="280319"/>
                    <a:pt x="611981" y="261174"/>
                    <a:pt x="620268" y="262888"/>
                  </a:cubicBezTo>
                  <a:cubicBezTo>
                    <a:pt x="623411" y="264031"/>
                    <a:pt x="632746" y="263460"/>
                    <a:pt x="635508" y="270699"/>
                  </a:cubicBezTo>
                  <a:cubicBezTo>
                    <a:pt x="637699" y="276414"/>
                    <a:pt x="640366" y="281843"/>
                    <a:pt x="639223" y="288225"/>
                  </a:cubicBezTo>
                  <a:close/>
                </a:path>
              </a:pathLst>
            </a:custGeom>
            <a:grpFill/>
            <a:ln w="9525" cap="flat">
              <a:noFill/>
              <a:prstDash val="solid"/>
              <a:miter/>
            </a:ln>
          </p:spPr>
          <p:txBody>
            <a:bodyPr rtlCol="0" anchor="ctr"/>
            <a:lstStyle/>
            <a:p>
              <a:endParaRPr lang="en-IN"/>
            </a:p>
          </p:txBody>
        </p:sp>
      </p:grpSp>
      <p:sp>
        <p:nvSpPr>
          <p:cNvPr id="26" name="Freeform: Shape 25">
            <a:extLst>
              <a:ext uri="{FF2B5EF4-FFF2-40B4-BE49-F238E27FC236}">
                <a16:creationId xmlns:a16="http://schemas.microsoft.com/office/drawing/2014/main" id="{CA93E761-ECC5-642E-B0E0-D7912B1A0EED}"/>
              </a:ext>
            </a:extLst>
          </p:cNvPr>
          <p:cNvSpPr/>
          <p:nvPr/>
        </p:nvSpPr>
        <p:spPr>
          <a:xfrm>
            <a:off x="4957246" y="4853998"/>
            <a:ext cx="245268" cy="250245"/>
          </a:xfrm>
          <a:custGeom>
            <a:avLst/>
            <a:gdLst>
              <a:gd name="connsiteX0" fmla="*/ 231077 w 245268"/>
              <a:gd name="connsiteY0" fmla="*/ 194619 h 250245"/>
              <a:gd name="connsiteX1" fmla="*/ 231077 w 245268"/>
              <a:gd name="connsiteY1" fmla="*/ 169473 h 250245"/>
              <a:gd name="connsiteX2" fmla="*/ 245269 w 245268"/>
              <a:gd name="connsiteY2" fmla="*/ 157377 h 250245"/>
              <a:gd name="connsiteX3" fmla="*/ 245269 w 245268"/>
              <a:gd name="connsiteY3" fmla="*/ 143851 h 250245"/>
              <a:gd name="connsiteX4" fmla="*/ 222790 w 245268"/>
              <a:gd name="connsiteY4" fmla="*/ 114609 h 250245"/>
              <a:gd name="connsiteX5" fmla="*/ 216979 w 245268"/>
              <a:gd name="connsiteY5" fmla="*/ 60126 h 250245"/>
              <a:gd name="connsiteX6" fmla="*/ 244983 w 245268"/>
              <a:gd name="connsiteY6" fmla="*/ 17073 h 250245"/>
              <a:gd name="connsiteX7" fmla="*/ 244983 w 245268"/>
              <a:gd name="connsiteY7" fmla="*/ 17073 h 250245"/>
              <a:gd name="connsiteX8" fmla="*/ 188119 w 245268"/>
              <a:gd name="connsiteY8" fmla="*/ 24 h 250245"/>
              <a:gd name="connsiteX9" fmla="*/ 136398 w 245268"/>
              <a:gd name="connsiteY9" fmla="*/ 4024 h 250245"/>
              <a:gd name="connsiteX10" fmla="*/ 116967 w 245268"/>
              <a:gd name="connsiteY10" fmla="*/ 10787 h 250245"/>
              <a:gd name="connsiteX11" fmla="*/ 72581 w 245268"/>
              <a:gd name="connsiteY11" fmla="*/ 3643 h 250245"/>
              <a:gd name="connsiteX12" fmla="*/ 56102 w 245268"/>
              <a:gd name="connsiteY12" fmla="*/ 10977 h 250245"/>
              <a:gd name="connsiteX13" fmla="*/ 45434 w 245268"/>
              <a:gd name="connsiteY13" fmla="*/ 38314 h 250245"/>
              <a:gd name="connsiteX14" fmla="*/ 49435 w 245268"/>
              <a:gd name="connsiteY14" fmla="*/ 51173 h 250245"/>
              <a:gd name="connsiteX15" fmla="*/ 45434 w 245268"/>
              <a:gd name="connsiteY15" fmla="*/ 62889 h 250245"/>
              <a:gd name="connsiteX16" fmla="*/ 22574 w 245268"/>
              <a:gd name="connsiteY16" fmla="*/ 59079 h 250245"/>
              <a:gd name="connsiteX17" fmla="*/ 7715 w 245268"/>
              <a:gd name="connsiteY17" fmla="*/ 73080 h 250245"/>
              <a:gd name="connsiteX18" fmla="*/ 12192 w 245268"/>
              <a:gd name="connsiteY18" fmla="*/ 83748 h 250245"/>
              <a:gd name="connsiteX19" fmla="*/ 0 w 245268"/>
              <a:gd name="connsiteY19" fmla="*/ 117181 h 250245"/>
              <a:gd name="connsiteX20" fmla="*/ 25908 w 245268"/>
              <a:gd name="connsiteY20" fmla="*/ 159472 h 250245"/>
              <a:gd name="connsiteX21" fmla="*/ 46387 w 245268"/>
              <a:gd name="connsiteY21" fmla="*/ 159472 h 250245"/>
              <a:gd name="connsiteX22" fmla="*/ 73914 w 245268"/>
              <a:gd name="connsiteY22" fmla="*/ 227862 h 250245"/>
              <a:gd name="connsiteX23" fmla="*/ 91631 w 245268"/>
              <a:gd name="connsiteY23" fmla="*/ 233577 h 250245"/>
              <a:gd name="connsiteX24" fmla="*/ 102299 w 245268"/>
              <a:gd name="connsiteY24" fmla="*/ 250245 h 250245"/>
              <a:gd name="connsiteX25" fmla="*/ 127730 w 245268"/>
              <a:gd name="connsiteY25" fmla="*/ 250245 h 250245"/>
              <a:gd name="connsiteX26" fmla="*/ 131921 w 245268"/>
              <a:gd name="connsiteY26" fmla="*/ 239577 h 250245"/>
              <a:gd name="connsiteX27" fmla="*/ 116015 w 245268"/>
              <a:gd name="connsiteY27" fmla="*/ 223194 h 250245"/>
              <a:gd name="connsiteX28" fmla="*/ 127730 w 245268"/>
              <a:gd name="connsiteY28" fmla="*/ 209478 h 250245"/>
              <a:gd name="connsiteX29" fmla="*/ 150400 w 245268"/>
              <a:gd name="connsiteY29" fmla="*/ 217289 h 250245"/>
              <a:gd name="connsiteX30" fmla="*/ 186690 w 245268"/>
              <a:gd name="connsiteY30" fmla="*/ 206526 h 250245"/>
              <a:gd name="connsiteX31" fmla="*/ 212122 w 245268"/>
              <a:gd name="connsiteY31" fmla="*/ 221575 h 250245"/>
              <a:gd name="connsiteX32" fmla="*/ 212122 w 245268"/>
              <a:gd name="connsiteY32" fmla="*/ 221385 h 250245"/>
              <a:gd name="connsiteX33" fmla="*/ 231267 w 245268"/>
              <a:gd name="connsiteY33" fmla="*/ 194524 h 250245"/>
              <a:gd name="connsiteX34" fmla="*/ 197072 w 245268"/>
              <a:gd name="connsiteY34" fmla="*/ 70413 h 250245"/>
              <a:gd name="connsiteX35" fmla="*/ 178879 w 245268"/>
              <a:gd name="connsiteY35" fmla="*/ 95369 h 250245"/>
              <a:gd name="connsiteX36" fmla="*/ 163544 w 245268"/>
              <a:gd name="connsiteY36" fmla="*/ 90130 h 250245"/>
              <a:gd name="connsiteX37" fmla="*/ 172212 w 245268"/>
              <a:gd name="connsiteY37" fmla="*/ 67365 h 250245"/>
              <a:gd name="connsiteX38" fmla="*/ 191738 w 245268"/>
              <a:gd name="connsiteY38" fmla="*/ 62889 h 250245"/>
              <a:gd name="connsiteX39" fmla="*/ 197168 w 245268"/>
              <a:gd name="connsiteY39" fmla="*/ 68318 h 250245"/>
              <a:gd name="connsiteX40" fmla="*/ 197168 w 245268"/>
              <a:gd name="connsiteY40" fmla="*/ 70413 h 250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5268" h="250245">
                <a:moveTo>
                  <a:pt x="231077" y="194619"/>
                </a:moveTo>
                <a:lnTo>
                  <a:pt x="231077" y="169473"/>
                </a:lnTo>
                <a:lnTo>
                  <a:pt x="245269" y="157377"/>
                </a:lnTo>
                <a:lnTo>
                  <a:pt x="245269" y="143851"/>
                </a:lnTo>
                <a:lnTo>
                  <a:pt x="222790" y="114609"/>
                </a:lnTo>
                <a:lnTo>
                  <a:pt x="216979" y="60126"/>
                </a:lnTo>
                <a:lnTo>
                  <a:pt x="244983" y="17073"/>
                </a:lnTo>
                <a:lnTo>
                  <a:pt x="244983" y="17073"/>
                </a:lnTo>
                <a:cubicBezTo>
                  <a:pt x="195834" y="405"/>
                  <a:pt x="194405" y="-167"/>
                  <a:pt x="188119" y="24"/>
                </a:cubicBezTo>
                <a:cubicBezTo>
                  <a:pt x="147923" y="1262"/>
                  <a:pt x="142970" y="309"/>
                  <a:pt x="136398" y="4024"/>
                </a:cubicBezTo>
                <a:cubicBezTo>
                  <a:pt x="131636" y="6215"/>
                  <a:pt x="124873" y="12787"/>
                  <a:pt x="116967" y="10787"/>
                </a:cubicBezTo>
                <a:cubicBezTo>
                  <a:pt x="81915" y="2119"/>
                  <a:pt x="78772" y="214"/>
                  <a:pt x="72581" y="3643"/>
                </a:cubicBezTo>
                <a:cubicBezTo>
                  <a:pt x="67247" y="5834"/>
                  <a:pt x="60198" y="12120"/>
                  <a:pt x="56102" y="10977"/>
                </a:cubicBezTo>
                <a:lnTo>
                  <a:pt x="45434" y="38314"/>
                </a:lnTo>
                <a:lnTo>
                  <a:pt x="49435" y="51173"/>
                </a:lnTo>
                <a:lnTo>
                  <a:pt x="45434" y="62889"/>
                </a:lnTo>
                <a:lnTo>
                  <a:pt x="22574" y="59079"/>
                </a:lnTo>
                <a:lnTo>
                  <a:pt x="7715" y="73080"/>
                </a:lnTo>
                <a:lnTo>
                  <a:pt x="12192" y="83748"/>
                </a:lnTo>
                <a:lnTo>
                  <a:pt x="0" y="117181"/>
                </a:lnTo>
                <a:lnTo>
                  <a:pt x="25908" y="159472"/>
                </a:lnTo>
                <a:lnTo>
                  <a:pt x="46387" y="159472"/>
                </a:lnTo>
                <a:lnTo>
                  <a:pt x="73914" y="227862"/>
                </a:lnTo>
                <a:lnTo>
                  <a:pt x="91631" y="233577"/>
                </a:lnTo>
                <a:lnTo>
                  <a:pt x="102299" y="250245"/>
                </a:lnTo>
                <a:lnTo>
                  <a:pt x="127730" y="250245"/>
                </a:lnTo>
                <a:cubicBezTo>
                  <a:pt x="127730" y="250245"/>
                  <a:pt x="131921" y="239577"/>
                  <a:pt x="131921" y="239577"/>
                </a:cubicBezTo>
                <a:lnTo>
                  <a:pt x="116015" y="223194"/>
                </a:lnTo>
                <a:lnTo>
                  <a:pt x="127730" y="209478"/>
                </a:lnTo>
                <a:lnTo>
                  <a:pt x="150400" y="217289"/>
                </a:lnTo>
                <a:lnTo>
                  <a:pt x="186690" y="206526"/>
                </a:lnTo>
                <a:lnTo>
                  <a:pt x="212122" y="221575"/>
                </a:lnTo>
                <a:lnTo>
                  <a:pt x="212122" y="221385"/>
                </a:lnTo>
                <a:cubicBezTo>
                  <a:pt x="212122" y="221385"/>
                  <a:pt x="231267" y="194524"/>
                  <a:pt x="231267" y="194524"/>
                </a:cubicBezTo>
                <a:close/>
                <a:moveTo>
                  <a:pt x="197072" y="70413"/>
                </a:moveTo>
                <a:cubicBezTo>
                  <a:pt x="197072" y="77462"/>
                  <a:pt x="191643" y="81653"/>
                  <a:pt x="178879" y="95369"/>
                </a:cubicBezTo>
                <a:cubicBezTo>
                  <a:pt x="173546" y="101179"/>
                  <a:pt x="167164" y="92130"/>
                  <a:pt x="163544" y="90130"/>
                </a:cubicBezTo>
                <a:cubicBezTo>
                  <a:pt x="156782" y="84796"/>
                  <a:pt x="167259" y="76795"/>
                  <a:pt x="172212" y="67365"/>
                </a:cubicBezTo>
                <a:cubicBezTo>
                  <a:pt x="176689" y="60603"/>
                  <a:pt x="185928" y="63555"/>
                  <a:pt x="191738" y="62889"/>
                </a:cubicBezTo>
                <a:cubicBezTo>
                  <a:pt x="194691" y="62889"/>
                  <a:pt x="197168" y="65270"/>
                  <a:pt x="197168" y="68318"/>
                </a:cubicBezTo>
                <a:lnTo>
                  <a:pt x="197168" y="70413"/>
                </a:lnTo>
                <a:close/>
              </a:path>
            </a:pathLst>
          </a:custGeom>
          <a:solidFill>
            <a:schemeClr val="bg1">
              <a:lumMod val="95000"/>
            </a:schemeClr>
          </a:solidFill>
          <a:ln w="9525" cap="flat">
            <a:noFill/>
            <a:prstDash val="solid"/>
            <a:miter/>
          </a:ln>
        </p:spPr>
        <p:txBody>
          <a:bodyPr rtlCol="0" anchor="ctr"/>
          <a:lstStyle/>
          <a:p>
            <a:endParaRPr lang="en-IN"/>
          </a:p>
        </p:txBody>
      </p:sp>
      <p:sp>
        <p:nvSpPr>
          <p:cNvPr id="27" name="Freeform: Shape 26">
            <a:extLst>
              <a:ext uri="{FF2B5EF4-FFF2-40B4-BE49-F238E27FC236}">
                <a16:creationId xmlns:a16="http://schemas.microsoft.com/office/drawing/2014/main" id="{F7D0A175-4509-CE15-85ED-E586F548C580}"/>
              </a:ext>
            </a:extLst>
          </p:cNvPr>
          <p:cNvSpPr/>
          <p:nvPr/>
        </p:nvSpPr>
        <p:spPr>
          <a:xfrm>
            <a:off x="3562064" y="5216543"/>
            <a:ext cx="757768" cy="1108900"/>
          </a:xfrm>
          <a:custGeom>
            <a:avLst/>
            <a:gdLst>
              <a:gd name="connsiteX0" fmla="*/ 692998 w 757768"/>
              <a:gd name="connsiteY0" fmla="*/ 1091851 h 1108900"/>
              <a:gd name="connsiteX1" fmla="*/ 688236 w 757768"/>
              <a:gd name="connsiteY1" fmla="*/ 1071181 h 1108900"/>
              <a:gd name="connsiteX2" fmla="*/ 710906 w 757768"/>
              <a:gd name="connsiteY2" fmla="*/ 1058894 h 1108900"/>
              <a:gd name="connsiteX3" fmla="*/ 696047 w 757768"/>
              <a:gd name="connsiteY3" fmla="*/ 1046607 h 1108900"/>
              <a:gd name="connsiteX4" fmla="*/ 738719 w 757768"/>
              <a:gd name="connsiteY4" fmla="*/ 1002601 h 1108900"/>
              <a:gd name="connsiteX5" fmla="*/ 738719 w 757768"/>
              <a:gd name="connsiteY5" fmla="*/ 1002601 h 1108900"/>
              <a:gd name="connsiteX6" fmla="*/ 729384 w 757768"/>
              <a:gd name="connsiteY6" fmla="*/ 992124 h 1108900"/>
              <a:gd name="connsiteX7" fmla="*/ 726812 w 757768"/>
              <a:gd name="connsiteY7" fmla="*/ 980504 h 1108900"/>
              <a:gd name="connsiteX8" fmla="*/ 713668 w 757768"/>
              <a:gd name="connsiteY8" fmla="*/ 978884 h 1108900"/>
              <a:gd name="connsiteX9" fmla="*/ 681378 w 757768"/>
              <a:gd name="connsiteY9" fmla="*/ 954214 h 1108900"/>
              <a:gd name="connsiteX10" fmla="*/ 685283 w 757768"/>
              <a:gd name="connsiteY10" fmla="*/ 928306 h 1108900"/>
              <a:gd name="connsiteX11" fmla="*/ 699666 w 757768"/>
              <a:gd name="connsiteY11" fmla="*/ 923258 h 1108900"/>
              <a:gd name="connsiteX12" fmla="*/ 714811 w 757768"/>
              <a:gd name="connsiteY12" fmla="*/ 933736 h 1108900"/>
              <a:gd name="connsiteX13" fmla="*/ 732813 w 757768"/>
              <a:gd name="connsiteY13" fmla="*/ 915638 h 1108900"/>
              <a:gd name="connsiteX14" fmla="*/ 716716 w 757768"/>
              <a:gd name="connsiteY14" fmla="*/ 897160 h 1108900"/>
              <a:gd name="connsiteX15" fmla="*/ 745862 w 757768"/>
              <a:gd name="connsiteY15" fmla="*/ 849154 h 1108900"/>
              <a:gd name="connsiteX16" fmla="*/ 734718 w 757768"/>
              <a:gd name="connsiteY16" fmla="*/ 784384 h 1108900"/>
              <a:gd name="connsiteX17" fmla="*/ 757769 w 757768"/>
              <a:gd name="connsiteY17" fmla="*/ 752856 h 1108900"/>
              <a:gd name="connsiteX18" fmla="*/ 704048 w 757768"/>
              <a:gd name="connsiteY18" fmla="*/ 657130 h 1108900"/>
              <a:gd name="connsiteX19" fmla="*/ 704048 w 757768"/>
              <a:gd name="connsiteY19" fmla="*/ 657130 h 1108900"/>
              <a:gd name="connsiteX20" fmla="*/ 682045 w 757768"/>
              <a:gd name="connsiteY20" fmla="*/ 656082 h 1108900"/>
              <a:gd name="connsiteX21" fmla="*/ 658994 w 757768"/>
              <a:gd name="connsiteY21" fmla="*/ 665988 h 1108900"/>
              <a:gd name="connsiteX22" fmla="*/ 651089 w 757768"/>
              <a:gd name="connsiteY22" fmla="*/ 658082 h 1108900"/>
              <a:gd name="connsiteX23" fmla="*/ 639849 w 757768"/>
              <a:gd name="connsiteY23" fmla="*/ 662559 h 1108900"/>
              <a:gd name="connsiteX24" fmla="*/ 639849 w 757768"/>
              <a:gd name="connsiteY24" fmla="*/ 595408 h 1108900"/>
              <a:gd name="connsiteX25" fmla="*/ 647279 w 757768"/>
              <a:gd name="connsiteY25" fmla="*/ 588550 h 1108900"/>
              <a:gd name="connsiteX26" fmla="*/ 647755 w 757768"/>
              <a:gd name="connsiteY26" fmla="*/ 558737 h 1108900"/>
              <a:gd name="connsiteX27" fmla="*/ 600416 w 757768"/>
              <a:gd name="connsiteY27" fmla="*/ 600837 h 1108900"/>
              <a:gd name="connsiteX28" fmla="*/ 547361 w 757768"/>
              <a:gd name="connsiteY28" fmla="*/ 600837 h 1108900"/>
              <a:gd name="connsiteX29" fmla="*/ 539456 w 757768"/>
              <a:gd name="connsiteY29" fmla="*/ 572167 h 1108900"/>
              <a:gd name="connsiteX30" fmla="*/ 485925 w 757768"/>
              <a:gd name="connsiteY30" fmla="*/ 564451 h 1108900"/>
              <a:gd name="connsiteX31" fmla="*/ 499070 w 757768"/>
              <a:gd name="connsiteY31" fmla="*/ 537877 h 1108900"/>
              <a:gd name="connsiteX32" fmla="*/ 455445 w 757768"/>
              <a:gd name="connsiteY32" fmla="*/ 471202 h 1108900"/>
              <a:gd name="connsiteX33" fmla="*/ 438776 w 757768"/>
              <a:gd name="connsiteY33" fmla="*/ 461677 h 1108900"/>
              <a:gd name="connsiteX34" fmla="*/ 437729 w 757768"/>
              <a:gd name="connsiteY34" fmla="*/ 440341 h 1108900"/>
              <a:gd name="connsiteX35" fmla="*/ 455445 w 757768"/>
              <a:gd name="connsiteY35" fmla="*/ 435483 h 1108900"/>
              <a:gd name="connsiteX36" fmla="*/ 453540 w 757768"/>
              <a:gd name="connsiteY36" fmla="*/ 408242 h 1108900"/>
              <a:gd name="connsiteX37" fmla="*/ 490116 w 757768"/>
              <a:gd name="connsiteY37" fmla="*/ 386525 h 1108900"/>
              <a:gd name="connsiteX38" fmla="*/ 488306 w 757768"/>
              <a:gd name="connsiteY38" fmla="*/ 360331 h 1108900"/>
              <a:gd name="connsiteX39" fmla="*/ 505356 w 757768"/>
              <a:gd name="connsiteY39" fmla="*/ 306038 h 1108900"/>
              <a:gd name="connsiteX40" fmla="*/ 567554 w 757768"/>
              <a:gd name="connsiteY40" fmla="*/ 268319 h 1108900"/>
              <a:gd name="connsiteX41" fmla="*/ 619942 w 757768"/>
              <a:gd name="connsiteY41" fmla="*/ 261461 h 1108900"/>
              <a:gd name="connsiteX42" fmla="*/ 630419 w 757768"/>
              <a:gd name="connsiteY42" fmla="*/ 248507 h 1108900"/>
              <a:gd name="connsiteX43" fmla="*/ 655565 w 757768"/>
              <a:gd name="connsiteY43" fmla="*/ 247174 h 1108900"/>
              <a:gd name="connsiteX44" fmla="*/ 659185 w 757768"/>
              <a:gd name="connsiteY44" fmla="*/ 257556 h 1108900"/>
              <a:gd name="connsiteX45" fmla="*/ 682426 w 757768"/>
              <a:gd name="connsiteY45" fmla="*/ 262890 h 1108900"/>
              <a:gd name="connsiteX46" fmla="*/ 684998 w 757768"/>
              <a:gd name="connsiteY46" fmla="*/ 247269 h 1108900"/>
              <a:gd name="connsiteX47" fmla="*/ 684331 w 757768"/>
              <a:gd name="connsiteY47" fmla="*/ 247745 h 1108900"/>
              <a:gd name="connsiteX48" fmla="*/ 660423 w 757768"/>
              <a:gd name="connsiteY48" fmla="*/ 224600 h 1108900"/>
              <a:gd name="connsiteX49" fmla="*/ 636706 w 757768"/>
              <a:gd name="connsiteY49" fmla="*/ 223647 h 1108900"/>
              <a:gd name="connsiteX50" fmla="*/ 671758 w 757768"/>
              <a:gd name="connsiteY50" fmla="*/ 158686 h 1108900"/>
              <a:gd name="connsiteX51" fmla="*/ 619561 w 757768"/>
              <a:gd name="connsiteY51" fmla="*/ 131064 h 1108900"/>
              <a:gd name="connsiteX52" fmla="*/ 592891 w 757768"/>
              <a:gd name="connsiteY52" fmla="*/ 139160 h 1108900"/>
              <a:gd name="connsiteX53" fmla="*/ 573841 w 757768"/>
              <a:gd name="connsiteY53" fmla="*/ 126492 h 1108900"/>
              <a:gd name="connsiteX54" fmla="*/ 539646 w 757768"/>
              <a:gd name="connsiteY54" fmla="*/ 145923 h 1108900"/>
              <a:gd name="connsiteX55" fmla="*/ 494402 w 757768"/>
              <a:gd name="connsiteY55" fmla="*/ 141161 h 1108900"/>
              <a:gd name="connsiteX56" fmla="*/ 487259 w 757768"/>
              <a:gd name="connsiteY56" fmla="*/ 106680 h 1108900"/>
              <a:gd name="connsiteX57" fmla="*/ 467447 w 757768"/>
              <a:gd name="connsiteY57" fmla="*/ 104680 h 1108900"/>
              <a:gd name="connsiteX58" fmla="*/ 462970 w 757768"/>
              <a:gd name="connsiteY58" fmla="*/ 78581 h 1108900"/>
              <a:gd name="connsiteX59" fmla="*/ 421441 w 757768"/>
              <a:gd name="connsiteY59" fmla="*/ 56674 h 1108900"/>
              <a:gd name="connsiteX60" fmla="*/ 412678 w 757768"/>
              <a:gd name="connsiteY60" fmla="*/ 31147 h 1108900"/>
              <a:gd name="connsiteX61" fmla="*/ 366386 w 757768"/>
              <a:gd name="connsiteY61" fmla="*/ 0 h 1108900"/>
              <a:gd name="connsiteX62" fmla="*/ 343717 w 757768"/>
              <a:gd name="connsiteY62" fmla="*/ 10573 h 1108900"/>
              <a:gd name="connsiteX63" fmla="*/ 364291 w 757768"/>
              <a:gd name="connsiteY63" fmla="*/ 35433 h 1108900"/>
              <a:gd name="connsiteX64" fmla="*/ 364481 w 757768"/>
              <a:gd name="connsiteY64" fmla="*/ 59055 h 1108900"/>
              <a:gd name="connsiteX65" fmla="*/ 351146 w 757768"/>
              <a:gd name="connsiteY65" fmla="*/ 56483 h 1108900"/>
              <a:gd name="connsiteX66" fmla="*/ 342002 w 757768"/>
              <a:gd name="connsiteY66" fmla="*/ 97727 h 1108900"/>
              <a:gd name="connsiteX67" fmla="*/ 279518 w 757768"/>
              <a:gd name="connsiteY67" fmla="*/ 154305 h 1108900"/>
              <a:gd name="connsiteX68" fmla="*/ 201890 w 757768"/>
              <a:gd name="connsiteY68" fmla="*/ 180689 h 1108900"/>
              <a:gd name="connsiteX69" fmla="*/ 187602 w 757768"/>
              <a:gd name="connsiteY69" fmla="*/ 210884 h 1108900"/>
              <a:gd name="connsiteX70" fmla="*/ 178363 w 757768"/>
              <a:gd name="connsiteY70" fmla="*/ 203835 h 1108900"/>
              <a:gd name="connsiteX71" fmla="*/ 160456 w 757768"/>
              <a:gd name="connsiteY71" fmla="*/ 269177 h 1108900"/>
              <a:gd name="connsiteX72" fmla="*/ 142644 w 757768"/>
              <a:gd name="connsiteY72" fmla="*/ 280702 h 1108900"/>
              <a:gd name="connsiteX73" fmla="*/ 136358 w 757768"/>
              <a:gd name="connsiteY73" fmla="*/ 298609 h 1108900"/>
              <a:gd name="connsiteX74" fmla="*/ 117784 w 757768"/>
              <a:gd name="connsiteY74" fmla="*/ 297466 h 1108900"/>
              <a:gd name="connsiteX75" fmla="*/ 105497 w 757768"/>
              <a:gd name="connsiteY75" fmla="*/ 262985 h 1108900"/>
              <a:gd name="connsiteX76" fmla="*/ 87971 w 757768"/>
              <a:gd name="connsiteY76" fmla="*/ 267557 h 1108900"/>
              <a:gd name="connsiteX77" fmla="*/ 72445 w 757768"/>
              <a:gd name="connsiteY77" fmla="*/ 257746 h 1108900"/>
              <a:gd name="connsiteX78" fmla="*/ 55014 w 757768"/>
              <a:gd name="connsiteY78" fmla="*/ 269653 h 1108900"/>
              <a:gd name="connsiteX79" fmla="*/ 46632 w 757768"/>
              <a:gd name="connsiteY79" fmla="*/ 261271 h 1108900"/>
              <a:gd name="connsiteX80" fmla="*/ 52157 w 757768"/>
              <a:gd name="connsiteY80" fmla="*/ 252127 h 1108900"/>
              <a:gd name="connsiteX81" fmla="*/ 49109 w 757768"/>
              <a:gd name="connsiteY81" fmla="*/ 238601 h 1108900"/>
              <a:gd name="connsiteX82" fmla="*/ 70826 w 757768"/>
              <a:gd name="connsiteY82" fmla="*/ 233553 h 1108900"/>
              <a:gd name="connsiteX83" fmla="*/ 63682 w 757768"/>
              <a:gd name="connsiteY83" fmla="*/ 203359 h 1108900"/>
              <a:gd name="connsiteX84" fmla="*/ 63682 w 757768"/>
              <a:gd name="connsiteY84" fmla="*/ 203359 h 1108900"/>
              <a:gd name="connsiteX85" fmla="*/ 27963 w 757768"/>
              <a:gd name="connsiteY85" fmla="*/ 227933 h 1108900"/>
              <a:gd name="connsiteX86" fmla="*/ 912 w 757768"/>
              <a:gd name="connsiteY86" fmla="*/ 264319 h 1108900"/>
              <a:gd name="connsiteX87" fmla="*/ 2912 w 757768"/>
              <a:gd name="connsiteY87" fmla="*/ 284131 h 1108900"/>
              <a:gd name="connsiteX88" fmla="*/ 13199 w 757768"/>
              <a:gd name="connsiteY88" fmla="*/ 304990 h 1108900"/>
              <a:gd name="connsiteX89" fmla="*/ 11580 w 757768"/>
              <a:gd name="connsiteY89" fmla="*/ 306134 h 1108900"/>
              <a:gd name="connsiteX90" fmla="*/ 27487 w 757768"/>
              <a:gd name="connsiteY90" fmla="*/ 340042 h 1108900"/>
              <a:gd name="connsiteX91" fmla="*/ 20724 w 757768"/>
              <a:gd name="connsiteY91" fmla="*/ 349853 h 1108900"/>
              <a:gd name="connsiteX92" fmla="*/ 11675 w 757768"/>
              <a:gd name="connsiteY92" fmla="*/ 352711 h 1108900"/>
              <a:gd name="connsiteX93" fmla="*/ 15485 w 757768"/>
              <a:gd name="connsiteY93" fmla="*/ 369475 h 1108900"/>
              <a:gd name="connsiteX94" fmla="*/ 90923 w 757768"/>
              <a:gd name="connsiteY94" fmla="*/ 417481 h 1108900"/>
              <a:gd name="connsiteX95" fmla="*/ 116831 w 757768"/>
              <a:gd name="connsiteY95" fmla="*/ 473012 h 1108900"/>
              <a:gd name="connsiteX96" fmla="*/ 146645 w 757768"/>
              <a:gd name="connsiteY96" fmla="*/ 510350 h 1108900"/>
              <a:gd name="connsiteX97" fmla="*/ 182840 w 757768"/>
              <a:gd name="connsiteY97" fmla="*/ 594551 h 1108900"/>
              <a:gd name="connsiteX98" fmla="*/ 217320 w 757768"/>
              <a:gd name="connsiteY98" fmla="*/ 661797 h 1108900"/>
              <a:gd name="connsiteX99" fmla="*/ 216558 w 757768"/>
              <a:gd name="connsiteY99" fmla="*/ 677228 h 1108900"/>
              <a:gd name="connsiteX100" fmla="*/ 244466 w 757768"/>
              <a:gd name="connsiteY100" fmla="*/ 707612 h 1108900"/>
              <a:gd name="connsiteX101" fmla="*/ 251801 w 757768"/>
              <a:gd name="connsiteY101" fmla="*/ 733425 h 1108900"/>
              <a:gd name="connsiteX102" fmla="*/ 307712 w 757768"/>
              <a:gd name="connsiteY102" fmla="*/ 814673 h 1108900"/>
              <a:gd name="connsiteX103" fmla="*/ 304093 w 757768"/>
              <a:gd name="connsiteY103" fmla="*/ 853630 h 1108900"/>
              <a:gd name="connsiteX104" fmla="*/ 326572 w 757768"/>
              <a:gd name="connsiteY104" fmla="*/ 889254 h 1108900"/>
              <a:gd name="connsiteX105" fmla="*/ 357338 w 757768"/>
              <a:gd name="connsiteY105" fmla="*/ 908590 h 1108900"/>
              <a:gd name="connsiteX106" fmla="*/ 375435 w 757768"/>
              <a:gd name="connsiteY106" fmla="*/ 934879 h 1108900"/>
              <a:gd name="connsiteX107" fmla="*/ 432871 w 757768"/>
              <a:gd name="connsiteY107" fmla="*/ 958882 h 1108900"/>
              <a:gd name="connsiteX108" fmla="*/ 458874 w 757768"/>
              <a:gd name="connsiteY108" fmla="*/ 982694 h 1108900"/>
              <a:gd name="connsiteX109" fmla="*/ 520120 w 757768"/>
              <a:gd name="connsiteY109" fmla="*/ 1007174 h 1108900"/>
              <a:gd name="connsiteX110" fmla="*/ 567650 w 757768"/>
              <a:gd name="connsiteY110" fmla="*/ 1040321 h 1108900"/>
              <a:gd name="connsiteX111" fmla="*/ 594034 w 757768"/>
              <a:gd name="connsiteY111" fmla="*/ 1055180 h 1108900"/>
              <a:gd name="connsiteX112" fmla="*/ 609845 w 757768"/>
              <a:gd name="connsiteY112" fmla="*/ 1081373 h 1108900"/>
              <a:gd name="connsiteX113" fmla="*/ 642421 w 757768"/>
              <a:gd name="connsiteY113" fmla="*/ 1108901 h 1108900"/>
              <a:gd name="connsiteX114" fmla="*/ 680140 w 757768"/>
              <a:gd name="connsiteY114" fmla="*/ 1106805 h 1108900"/>
              <a:gd name="connsiteX115" fmla="*/ 693094 w 757768"/>
              <a:gd name="connsiteY115" fmla="*/ 1092137 h 110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757768" h="1108900">
                <a:moveTo>
                  <a:pt x="692998" y="1091851"/>
                </a:moveTo>
                <a:lnTo>
                  <a:pt x="688236" y="1071181"/>
                </a:lnTo>
                <a:lnTo>
                  <a:pt x="710906" y="1058894"/>
                </a:lnTo>
                <a:lnTo>
                  <a:pt x="696047" y="1046607"/>
                </a:lnTo>
                <a:lnTo>
                  <a:pt x="738719" y="1002601"/>
                </a:lnTo>
                <a:lnTo>
                  <a:pt x="738719" y="1002601"/>
                </a:lnTo>
                <a:cubicBezTo>
                  <a:pt x="734623" y="1000411"/>
                  <a:pt x="728241" y="998125"/>
                  <a:pt x="729384" y="992124"/>
                </a:cubicBezTo>
                <a:cubicBezTo>
                  <a:pt x="729384" y="989457"/>
                  <a:pt x="733766" y="979837"/>
                  <a:pt x="726812" y="980504"/>
                </a:cubicBezTo>
                <a:cubicBezTo>
                  <a:pt x="725574" y="980504"/>
                  <a:pt x="719097" y="982218"/>
                  <a:pt x="713668" y="978884"/>
                </a:cubicBezTo>
                <a:cubicBezTo>
                  <a:pt x="685569" y="961644"/>
                  <a:pt x="681378" y="960787"/>
                  <a:pt x="681378" y="954214"/>
                </a:cubicBezTo>
                <a:cubicBezTo>
                  <a:pt x="681378" y="954214"/>
                  <a:pt x="680426" y="931926"/>
                  <a:pt x="685283" y="928306"/>
                </a:cubicBezTo>
                <a:cubicBezTo>
                  <a:pt x="688046" y="926783"/>
                  <a:pt x="694046" y="919353"/>
                  <a:pt x="699666" y="923258"/>
                </a:cubicBezTo>
                <a:cubicBezTo>
                  <a:pt x="705286" y="927163"/>
                  <a:pt x="710239" y="930593"/>
                  <a:pt x="714811" y="933736"/>
                </a:cubicBezTo>
                <a:lnTo>
                  <a:pt x="732813" y="915638"/>
                </a:lnTo>
                <a:lnTo>
                  <a:pt x="716716" y="897160"/>
                </a:lnTo>
                <a:lnTo>
                  <a:pt x="745862" y="849154"/>
                </a:lnTo>
                <a:lnTo>
                  <a:pt x="734718" y="784384"/>
                </a:lnTo>
                <a:lnTo>
                  <a:pt x="757769" y="752856"/>
                </a:lnTo>
                <a:lnTo>
                  <a:pt x="704048" y="657130"/>
                </a:lnTo>
                <a:lnTo>
                  <a:pt x="704048" y="657130"/>
                </a:lnTo>
                <a:cubicBezTo>
                  <a:pt x="704048" y="657130"/>
                  <a:pt x="682045" y="656082"/>
                  <a:pt x="682045" y="656082"/>
                </a:cubicBezTo>
                <a:lnTo>
                  <a:pt x="658994" y="665988"/>
                </a:lnTo>
                <a:lnTo>
                  <a:pt x="651089" y="658082"/>
                </a:lnTo>
                <a:lnTo>
                  <a:pt x="639849" y="662559"/>
                </a:lnTo>
                <a:lnTo>
                  <a:pt x="639849" y="595408"/>
                </a:lnTo>
                <a:lnTo>
                  <a:pt x="647279" y="588550"/>
                </a:lnTo>
                <a:lnTo>
                  <a:pt x="647755" y="558737"/>
                </a:lnTo>
                <a:lnTo>
                  <a:pt x="600416" y="600837"/>
                </a:lnTo>
                <a:lnTo>
                  <a:pt x="547361" y="600837"/>
                </a:lnTo>
                <a:lnTo>
                  <a:pt x="539456" y="572167"/>
                </a:lnTo>
                <a:lnTo>
                  <a:pt x="485925" y="564451"/>
                </a:lnTo>
                <a:lnTo>
                  <a:pt x="499070" y="537877"/>
                </a:lnTo>
                <a:lnTo>
                  <a:pt x="455445" y="471202"/>
                </a:lnTo>
                <a:lnTo>
                  <a:pt x="438776" y="461677"/>
                </a:lnTo>
                <a:lnTo>
                  <a:pt x="437729" y="440341"/>
                </a:lnTo>
                <a:lnTo>
                  <a:pt x="455445" y="435483"/>
                </a:lnTo>
                <a:lnTo>
                  <a:pt x="453540" y="408242"/>
                </a:lnTo>
                <a:lnTo>
                  <a:pt x="490116" y="386525"/>
                </a:lnTo>
                <a:lnTo>
                  <a:pt x="488306" y="360331"/>
                </a:lnTo>
                <a:lnTo>
                  <a:pt x="505356" y="306038"/>
                </a:lnTo>
                <a:lnTo>
                  <a:pt x="567554" y="268319"/>
                </a:lnTo>
                <a:lnTo>
                  <a:pt x="619942" y="261461"/>
                </a:lnTo>
                <a:lnTo>
                  <a:pt x="630419" y="248507"/>
                </a:lnTo>
                <a:lnTo>
                  <a:pt x="655565" y="247174"/>
                </a:lnTo>
                <a:lnTo>
                  <a:pt x="659185" y="257556"/>
                </a:lnTo>
                <a:lnTo>
                  <a:pt x="682426" y="262890"/>
                </a:lnTo>
                <a:lnTo>
                  <a:pt x="684998" y="247269"/>
                </a:lnTo>
                <a:lnTo>
                  <a:pt x="684331" y="247745"/>
                </a:lnTo>
                <a:lnTo>
                  <a:pt x="660423" y="224600"/>
                </a:lnTo>
                <a:lnTo>
                  <a:pt x="636706" y="223647"/>
                </a:lnTo>
                <a:lnTo>
                  <a:pt x="671758" y="158686"/>
                </a:lnTo>
                <a:lnTo>
                  <a:pt x="619561" y="131064"/>
                </a:lnTo>
                <a:lnTo>
                  <a:pt x="592891" y="139160"/>
                </a:lnTo>
                <a:lnTo>
                  <a:pt x="573841" y="126492"/>
                </a:lnTo>
                <a:lnTo>
                  <a:pt x="539646" y="145923"/>
                </a:lnTo>
                <a:lnTo>
                  <a:pt x="494402" y="141161"/>
                </a:lnTo>
                <a:lnTo>
                  <a:pt x="487259" y="106680"/>
                </a:lnTo>
                <a:lnTo>
                  <a:pt x="467447" y="104680"/>
                </a:lnTo>
                <a:lnTo>
                  <a:pt x="462970" y="78581"/>
                </a:lnTo>
                <a:lnTo>
                  <a:pt x="421441" y="56674"/>
                </a:lnTo>
                <a:lnTo>
                  <a:pt x="412678" y="31147"/>
                </a:lnTo>
                <a:lnTo>
                  <a:pt x="366386" y="0"/>
                </a:lnTo>
                <a:lnTo>
                  <a:pt x="343717" y="10573"/>
                </a:lnTo>
                <a:lnTo>
                  <a:pt x="364291" y="35433"/>
                </a:lnTo>
                <a:lnTo>
                  <a:pt x="364481" y="59055"/>
                </a:lnTo>
                <a:lnTo>
                  <a:pt x="351146" y="56483"/>
                </a:lnTo>
                <a:lnTo>
                  <a:pt x="342002" y="97727"/>
                </a:lnTo>
                <a:lnTo>
                  <a:pt x="279518" y="154305"/>
                </a:lnTo>
                <a:lnTo>
                  <a:pt x="201890" y="180689"/>
                </a:lnTo>
                <a:lnTo>
                  <a:pt x="187602" y="210884"/>
                </a:lnTo>
                <a:lnTo>
                  <a:pt x="178363" y="203835"/>
                </a:lnTo>
                <a:lnTo>
                  <a:pt x="160456" y="269177"/>
                </a:lnTo>
                <a:lnTo>
                  <a:pt x="142644" y="280702"/>
                </a:lnTo>
                <a:lnTo>
                  <a:pt x="136358" y="298609"/>
                </a:lnTo>
                <a:lnTo>
                  <a:pt x="117784" y="297466"/>
                </a:lnTo>
                <a:lnTo>
                  <a:pt x="105497" y="262985"/>
                </a:lnTo>
                <a:lnTo>
                  <a:pt x="87971" y="267557"/>
                </a:lnTo>
                <a:lnTo>
                  <a:pt x="72445" y="257746"/>
                </a:lnTo>
                <a:lnTo>
                  <a:pt x="55014" y="269653"/>
                </a:lnTo>
                <a:lnTo>
                  <a:pt x="46632" y="261271"/>
                </a:lnTo>
                <a:lnTo>
                  <a:pt x="52157" y="252127"/>
                </a:lnTo>
                <a:lnTo>
                  <a:pt x="49109" y="238601"/>
                </a:lnTo>
                <a:lnTo>
                  <a:pt x="70826" y="233553"/>
                </a:lnTo>
                <a:lnTo>
                  <a:pt x="63682" y="203359"/>
                </a:lnTo>
                <a:lnTo>
                  <a:pt x="63682" y="203359"/>
                </a:lnTo>
                <a:cubicBezTo>
                  <a:pt x="33773" y="222218"/>
                  <a:pt x="32059" y="223171"/>
                  <a:pt x="27963" y="227933"/>
                </a:cubicBezTo>
                <a:cubicBezTo>
                  <a:pt x="6627" y="252889"/>
                  <a:pt x="1579" y="256794"/>
                  <a:pt x="912" y="264319"/>
                </a:cubicBezTo>
                <a:cubicBezTo>
                  <a:pt x="912" y="269177"/>
                  <a:pt x="-2136" y="277940"/>
                  <a:pt x="2912" y="284131"/>
                </a:cubicBezTo>
                <a:cubicBezTo>
                  <a:pt x="8532" y="292703"/>
                  <a:pt x="20248" y="300133"/>
                  <a:pt x="13199" y="304990"/>
                </a:cubicBezTo>
                <a:lnTo>
                  <a:pt x="11580" y="306134"/>
                </a:lnTo>
                <a:cubicBezTo>
                  <a:pt x="1769" y="312896"/>
                  <a:pt x="29392" y="326803"/>
                  <a:pt x="27487" y="340042"/>
                </a:cubicBezTo>
                <a:cubicBezTo>
                  <a:pt x="26915" y="341662"/>
                  <a:pt x="27868" y="351949"/>
                  <a:pt x="20724" y="349853"/>
                </a:cubicBezTo>
                <a:cubicBezTo>
                  <a:pt x="19772" y="349853"/>
                  <a:pt x="12056" y="345853"/>
                  <a:pt x="11675" y="352711"/>
                </a:cubicBezTo>
                <a:cubicBezTo>
                  <a:pt x="11961" y="356425"/>
                  <a:pt x="8818" y="365569"/>
                  <a:pt x="15485" y="369475"/>
                </a:cubicBezTo>
                <a:cubicBezTo>
                  <a:pt x="89209" y="412909"/>
                  <a:pt x="87971" y="410528"/>
                  <a:pt x="90923" y="417481"/>
                </a:cubicBezTo>
                <a:cubicBezTo>
                  <a:pt x="111593" y="464915"/>
                  <a:pt x="112069" y="467487"/>
                  <a:pt x="116831" y="473012"/>
                </a:cubicBezTo>
                <a:cubicBezTo>
                  <a:pt x="141215" y="501491"/>
                  <a:pt x="143882" y="503777"/>
                  <a:pt x="146645" y="510350"/>
                </a:cubicBezTo>
                <a:lnTo>
                  <a:pt x="182840" y="594551"/>
                </a:lnTo>
                <a:cubicBezTo>
                  <a:pt x="186554" y="603123"/>
                  <a:pt x="217796" y="662845"/>
                  <a:pt x="217320" y="661797"/>
                </a:cubicBezTo>
                <a:cubicBezTo>
                  <a:pt x="220654" y="668179"/>
                  <a:pt x="216463" y="678180"/>
                  <a:pt x="216558" y="677228"/>
                </a:cubicBezTo>
                <a:cubicBezTo>
                  <a:pt x="212939" y="689134"/>
                  <a:pt x="241799" y="693801"/>
                  <a:pt x="244466" y="707612"/>
                </a:cubicBezTo>
                <a:cubicBezTo>
                  <a:pt x="246752" y="719614"/>
                  <a:pt x="247419" y="727520"/>
                  <a:pt x="251801" y="733425"/>
                </a:cubicBezTo>
                <a:cubicBezTo>
                  <a:pt x="307236" y="807530"/>
                  <a:pt x="309046" y="807149"/>
                  <a:pt x="307712" y="814673"/>
                </a:cubicBezTo>
                <a:cubicBezTo>
                  <a:pt x="302664" y="842772"/>
                  <a:pt x="300664" y="847249"/>
                  <a:pt x="304093" y="853630"/>
                </a:cubicBezTo>
                <a:cubicBezTo>
                  <a:pt x="316952" y="877824"/>
                  <a:pt x="319714" y="885730"/>
                  <a:pt x="326572" y="889254"/>
                </a:cubicBezTo>
                <a:cubicBezTo>
                  <a:pt x="345146" y="898779"/>
                  <a:pt x="353623" y="901827"/>
                  <a:pt x="357338" y="908590"/>
                </a:cubicBezTo>
                <a:cubicBezTo>
                  <a:pt x="367434" y="927259"/>
                  <a:pt x="368863" y="932117"/>
                  <a:pt x="375435" y="934879"/>
                </a:cubicBezTo>
                <a:lnTo>
                  <a:pt x="432871" y="958882"/>
                </a:lnTo>
                <a:cubicBezTo>
                  <a:pt x="443825" y="963454"/>
                  <a:pt x="448206" y="978408"/>
                  <a:pt x="458874" y="982694"/>
                </a:cubicBezTo>
                <a:lnTo>
                  <a:pt x="520120" y="1007174"/>
                </a:lnTo>
                <a:cubicBezTo>
                  <a:pt x="528692" y="1010603"/>
                  <a:pt x="568602" y="1040987"/>
                  <a:pt x="567650" y="1040321"/>
                </a:cubicBezTo>
                <a:cubicBezTo>
                  <a:pt x="578318" y="1048131"/>
                  <a:pt x="589557" y="1046417"/>
                  <a:pt x="594034" y="1055180"/>
                </a:cubicBezTo>
                <a:cubicBezTo>
                  <a:pt x="602225" y="1071086"/>
                  <a:pt x="604321" y="1076706"/>
                  <a:pt x="609845" y="1081373"/>
                </a:cubicBezTo>
                <a:cubicBezTo>
                  <a:pt x="624800" y="1094137"/>
                  <a:pt x="635182" y="1102709"/>
                  <a:pt x="642421" y="1108901"/>
                </a:cubicBezTo>
                <a:lnTo>
                  <a:pt x="680140" y="1106805"/>
                </a:lnTo>
                <a:lnTo>
                  <a:pt x="693094" y="1092137"/>
                </a:lnTo>
                <a:close/>
              </a:path>
            </a:pathLst>
          </a:custGeom>
          <a:solidFill>
            <a:schemeClr val="bg1">
              <a:lumMod val="95000"/>
            </a:schemeClr>
          </a:solidFill>
          <a:ln w="9525" cap="flat">
            <a:noFill/>
            <a:prstDash val="solid"/>
            <a:miter/>
          </a:ln>
        </p:spPr>
        <p:txBody>
          <a:bodyPr rtlCol="0" anchor="ctr"/>
          <a:lstStyle/>
          <a:p>
            <a:endParaRPr lang="en-IN"/>
          </a:p>
        </p:txBody>
      </p:sp>
      <p:sp>
        <p:nvSpPr>
          <p:cNvPr id="28" name="Freeform: Shape 27">
            <a:extLst>
              <a:ext uri="{FF2B5EF4-FFF2-40B4-BE49-F238E27FC236}">
                <a16:creationId xmlns:a16="http://schemas.microsoft.com/office/drawing/2014/main" id="{D28919CB-18BB-0C9F-FC03-7E3C2BF6414D}"/>
              </a:ext>
            </a:extLst>
          </p:cNvPr>
          <p:cNvSpPr/>
          <p:nvPr/>
        </p:nvSpPr>
        <p:spPr>
          <a:xfrm>
            <a:off x="4757792" y="4711242"/>
            <a:ext cx="301847" cy="432911"/>
          </a:xfrm>
          <a:custGeom>
            <a:avLst/>
            <a:gdLst>
              <a:gd name="connsiteX0" fmla="*/ 291084 w 301847"/>
              <a:gd name="connsiteY0" fmla="*/ 376428 h 432911"/>
              <a:gd name="connsiteX1" fmla="*/ 273367 w 301847"/>
              <a:gd name="connsiteY1" fmla="*/ 370713 h 432911"/>
              <a:gd name="connsiteX2" fmla="*/ 245840 w 301847"/>
              <a:gd name="connsiteY2" fmla="*/ 302324 h 432911"/>
              <a:gd name="connsiteX3" fmla="*/ 225361 w 301847"/>
              <a:gd name="connsiteY3" fmla="*/ 302324 h 432911"/>
              <a:gd name="connsiteX4" fmla="*/ 199453 w 301847"/>
              <a:gd name="connsiteY4" fmla="*/ 260033 h 432911"/>
              <a:gd name="connsiteX5" fmla="*/ 211645 w 301847"/>
              <a:gd name="connsiteY5" fmla="*/ 226600 h 432911"/>
              <a:gd name="connsiteX6" fmla="*/ 207169 w 301847"/>
              <a:gd name="connsiteY6" fmla="*/ 215932 h 432911"/>
              <a:gd name="connsiteX7" fmla="*/ 222028 w 301847"/>
              <a:gd name="connsiteY7" fmla="*/ 201930 h 432911"/>
              <a:gd name="connsiteX8" fmla="*/ 244888 w 301847"/>
              <a:gd name="connsiteY8" fmla="*/ 205740 h 432911"/>
              <a:gd name="connsiteX9" fmla="*/ 248888 w 301847"/>
              <a:gd name="connsiteY9" fmla="*/ 194024 h 432911"/>
              <a:gd name="connsiteX10" fmla="*/ 244888 w 301847"/>
              <a:gd name="connsiteY10" fmla="*/ 181165 h 432911"/>
              <a:gd name="connsiteX11" fmla="*/ 255556 w 301847"/>
              <a:gd name="connsiteY11" fmla="*/ 153829 h 432911"/>
              <a:gd name="connsiteX12" fmla="*/ 252793 w 301847"/>
              <a:gd name="connsiteY12" fmla="*/ 151066 h 432911"/>
              <a:gd name="connsiteX13" fmla="*/ 240220 w 301847"/>
              <a:gd name="connsiteY13" fmla="*/ 124873 h 432911"/>
              <a:gd name="connsiteX14" fmla="*/ 193738 w 301847"/>
              <a:gd name="connsiteY14" fmla="*/ 92869 h 432911"/>
              <a:gd name="connsiteX15" fmla="*/ 173641 w 301847"/>
              <a:gd name="connsiteY15" fmla="*/ 84773 h 432911"/>
              <a:gd name="connsiteX16" fmla="*/ 168497 w 301847"/>
              <a:gd name="connsiteY16" fmla="*/ 57912 h 432911"/>
              <a:gd name="connsiteX17" fmla="*/ 129349 w 301847"/>
              <a:gd name="connsiteY17" fmla="*/ 18859 h 432911"/>
              <a:gd name="connsiteX18" fmla="*/ 96202 w 301847"/>
              <a:gd name="connsiteY18" fmla="*/ 0 h 432911"/>
              <a:gd name="connsiteX19" fmla="*/ 42291 w 301847"/>
              <a:gd name="connsiteY19" fmla="*/ 48863 h 432911"/>
              <a:gd name="connsiteX20" fmla="*/ 45148 w 301847"/>
              <a:gd name="connsiteY20" fmla="*/ 68675 h 432911"/>
              <a:gd name="connsiteX21" fmla="*/ 71818 w 301847"/>
              <a:gd name="connsiteY21" fmla="*/ 71342 h 432911"/>
              <a:gd name="connsiteX22" fmla="*/ 54578 w 301847"/>
              <a:gd name="connsiteY22" fmla="*/ 92774 h 432911"/>
              <a:gd name="connsiteX23" fmla="*/ 23146 w 301847"/>
              <a:gd name="connsiteY23" fmla="*/ 95726 h 432911"/>
              <a:gd name="connsiteX24" fmla="*/ 10096 w 301847"/>
              <a:gd name="connsiteY24" fmla="*/ 108299 h 432911"/>
              <a:gd name="connsiteX25" fmla="*/ 16954 w 301847"/>
              <a:gd name="connsiteY25" fmla="*/ 126587 h 432911"/>
              <a:gd name="connsiteX26" fmla="*/ 0 w 301847"/>
              <a:gd name="connsiteY26" fmla="*/ 146304 h 432911"/>
              <a:gd name="connsiteX27" fmla="*/ 41148 w 301847"/>
              <a:gd name="connsiteY27" fmla="*/ 191738 h 432911"/>
              <a:gd name="connsiteX28" fmla="*/ 74200 w 301847"/>
              <a:gd name="connsiteY28" fmla="*/ 186881 h 432911"/>
              <a:gd name="connsiteX29" fmla="*/ 84010 w 301847"/>
              <a:gd name="connsiteY29" fmla="*/ 200501 h 432911"/>
              <a:gd name="connsiteX30" fmla="*/ 76295 w 301847"/>
              <a:gd name="connsiteY30" fmla="*/ 232886 h 432911"/>
              <a:gd name="connsiteX31" fmla="*/ 99155 w 301847"/>
              <a:gd name="connsiteY31" fmla="*/ 239839 h 432911"/>
              <a:gd name="connsiteX32" fmla="*/ 112490 w 301847"/>
              <a:gd name="connsiteY32" fmla="*/ 270034 h 432911"/>
              <a:gd name="connsiteX33" fmla="*/ 92392 w 301847"/>
              <a:gd name="connsiteY33" fmla="*/ 288703 h 432911"/>
              <a:gd name="connsiteX34" fmla="*/ 83725 w 301847"/>
              <a:gd name="connsiteY34" fmla="*/ 340424 h 432911"/>
              <a:gd name="connsiteX35" fmla="*/ 98298 w 301847"/>
              <a:gd name="connsiteY35" fmla="*/ 366331 h 432911"/>
              <a:gd name="connsiteX36" fmla="*/ 99155 w 301847"/>
              <a:gd name="connsiteY36" fmla="*/ 392906 h 432911"/>
              <a:gd name="connsiteX37" fmla="*/ 151543 w 301847"/>
              <a:gd name="connsiteY37" fmla="*/ 432911 h 432911"/>
              <a:gd name="connsiteX38" fmla="*/ 173545 w 301847"/>
              <a:gd name="connsiteY38" fmla="*/ 426339 h 432911"/>
              <a:gd name="connsiteX39" fmla="*/ 172307 w 301847"/>
              <a:gd name="connsiteY39" fmla="*/ 416528 h 432911"/>
              <a:gd name="connsiteX40" fmla="*/ 187547 w 301847"/>
              <a:gd name="connsiteY40" fmla="*/ 406051 h 432911"/>
              <a:gd name="connsiteX41" fmla="*/ 204978 w 301847"/>
              <a:gd name="connsiteY41" fmla="*/ 410147 h 432911"/>
              <a:gd name="connsiteX42" fmla="*/ 228695 w 301847"/>
              <a:gd name="connsiteY42" fmla="*/ 402146 h 432911"/>
              <a:gd name="connsiteX43" fmla="*/ 235934 w 301847"/>
              <a:gd name="connsiteY43" fmla="*/ 388144 h 432911"/>
              <a:gd name="connsiteX44" fmla="*/ 256794 w 301847"/>
              <a:gd name="connsiteY44" fmla="*/ 383858 h 432911"/>
              <a:gd name="connsiteX45" fmla="*/ 264128 w 301847"/>
              <a:gd name="connsiteY45" fmla="*/ 393192 h 432911"/>
              <a:gd name="connsiteX46" fmla="*/ 301847 w 301847"/>
              <a:gd name="connsiteY46" fmla="*/ 393192 h 432911"/>
              <a:gd name="connsiteX47" fmla="*/ 291179 w 301847"/>
              <a:gd name="connsiteY47" fmla="*/ 376523 h 43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1847" h="432911">
                <a:moveTo>
                  <a:pt x="291084" y="376428"/>
                </a:moveTo>
                <a:lnTo>
                  <a:pt x="273367" y="370713"/>
                </a:lnTo>
                <a:lnTo>
                  <a:pt x="245840" y="302324"/>
                </a:lnTo>
                <a:lnTo>
                  <a:pt x="225361" y="302324"/>
                </a:lnTo>
                <a:lnTo>
                  <a:pt x="199453" y="260033"/>
                </a:lnTo>
                <a:lnTo>
                  <a:pt x="211645" y="226600"/>
                </a:lnTo>
                <a:lnTo>
                  <a:pt x="207169" y="215932"/>
                </a:lnTo>
                <a:lnTo>
                  <a:pt x="222028" y="201930"/>
                </a:lnTo>
                <a:lnTo>
                  <a:pt x="244888" y="205740"/>
                </a:lnTo>
                <a:lnTo>
                  <a:pt x="248888" y="194024"/>
                </a:lnTo>
                <a:lnTo>
                  <a:pt x="244888" y="181165"/>
                </a:lnTo>
                <a:lnTo>
                  <a:pt x="255556" y="153829"/>
                </a:lnTo>
                <a:cubicBezTo>
                  <a:pt x="254413" y="153543"/>
                  <a:pt x="253460" y="152781"/>
                  <a:pt x="252793" y="151066"/>
                </a:cubicBezTo>
                <a:cubicBezTo>
                  <a:pt x="247840" y="137446"/>
                  <a:pt x="246126" y="129350"/>
                  <a:pt x="240220" y="124873"/>
                </a:cubicBezTo>
                <a:cubicBezTo>
                  <a:pt x="202216" y="96107"/>
                  <a:pt x="200882" y="93916"/>
                  <a:pt x="193738" y="92869"/>
                </a:cubicBezTo>
                <a:cubicBezTo>
                  <a:pt x="186118" y="90868"/>
                  <a:pt x="174117" y="93155"/>
                  <a:pt x="173641" y="84773"/>
                </a:cubicBezTo>
                <a:cubicBezTo>
                  <a:pt x="172688" y="70676"/>
                  <a:pt x="173450" y="63151"/>
                  <a:pt x="168497" y="57912"/>
                </a:cubicBezTo>
                <a:cubicBezTo>
                  <a:pt x="139160" y="26956"/>
                  <a:pt x="136112" y="22669"/>
                  <a:pt x="129349" y="18859"/>
                </a:cubicBezTo>
                <a:cubicBezTo>
                  <a:pt x="115538" y="11049"/>
                  <a:pt x="104775" y="4953"/>
                  <a:pt x="96202" y="0"/>
                </a:cubicBezTo>
                <a:lnTo>
                  <a:pt x="42291" y="48863"/>
                </a:lnTo>
                <a:lnTo>
                  <a:pt x="45148" y="68675"/>
                </a:lnTo>
                <a:lnTo>
                  <a:pt x="71818" y="71342"/>
                </a:lnTo>
                <a:lnTo>
                  <a:pt x="54578" y="92774"/>
                </a:lnTo>
                <a:lnTo>
                  <a:pt x="23146" y="95726"/>
                </a:lnTo>
                <a:lnTo>
                  <a:pt x="10096" y="108299"/>
                </a:lnTo>
                <a:lnTo>
                  <a:pt x="16954" y="126587"/>
                </a:lnTo>
                <a:lnTo>
                  <a:pt x="0" y="146304"/>
                </a:lnTo>
                <a:lnTo>
                  <a:pt x="41148" y="191738"/>
                </a:lnTo>
                <a:lnTo>
                  <a:pt x="74200" y="186881"/>
                </a:lnTo>
                <a:lnTo>
                  <a:pt x="84010" y="200501"/>
                </a:lnTo>
                <a:lnTo>
                  <a:pt x="76295" y="232886"/>
                </a:lnTo>
                <a:lnTo>
                  <a:pt x="99155" y="239839"/>
                </a:lnTo>
                <a:lnTo>
                  <a:pt x="112490" y="270034"/>
                </a:lnTo>
                <a:lnTo>
                  <a:pt x="92392" y="288703"/>
                </a:lnTo>
                <a:lnTo>
                  <a:pt x="83725" y="340424"/>
                </a:lnTo>
                <a:lnTo>
                  <a:pt x="98298" y="366331"/>
                </a:lnTo>
                <a:lnTo>
                  <a:pt x="99155" y="392906"/>
                </a:lnTo>
                <a:lnTo>
                  <a:pt x="151543" y="432911"/>
                </a:lnTo>
                <a:lnTo>
                  <a:pt x="173545" y="426339"/>
                </a:lnTo>
                <a:lnTo>
                  <a:pt x="172307" y="416528"/>
                </a:lnTo>
                <a:lnTo>
                  <a:pt x="187547" y="406051"/>
                </a:lnTo>
                <a:lnTo>
                  <a:pt x="204978" y="410147"/>
                </a:lnTo>
                <a:lnTo>
                  <a:pt x="228695" y="402146"/>
                </a:lnTo>
                <a:lnTo>
                  <a:pt x="235934" y="388144"/>
                </a:lnTo>
                <a:lnTo>
                  <a:pt x="256794" y="383858"/>
                </a:lnTo>
                <a:lnTo>
                  <a:pt x="264128" y="393192"/>
                </a:lnTo>
                <a:lnTo>
                  <a:pt x="301847" y="393192"/>
                </a:lnTo>
                <a:cubicBezTo>
                  <a:pt x="301847" y="393192"/>
                  <a:pt x="291179" y="376523"/>
                  <a:pt x="291179" y="376523"/>
                </a:cubicBezTo>
                <a:close/>
              </a:path>
            </a:pathLst>
          </a:custGeom>
          <a:solidFill>
            <a:schemeClr val="bg1">
              <a:lumMod val="95000"/>
            </a:schemeClr>
          </a:solidFill>
          <a:ln w="9525" cap="flat">
            <a:noFill/>
            <a:prstDash val="solid"/>
            <a:miter/>
          </a:ln>
        </p:spPr>
        <p:txBody>
          <a:bodyPr rtlCol="0" anchor="ctr"/>
          <a:lstStyle/>
          <a:p>
            <a:endParaRPr lang="en-IN"/>
          </a:p>
        </p:txBody>
      </p:sp>
      <p:sp>
        <p:nvSpPr>
          <p:cNvPr id="29" name="Freeform: Shape 28">
            <a:extLst>
              <a:ext uri="{FF2B5EF4-FFF2-40B4-BE49-F238E27FC236}">
                <a16:creationId xmlns:a16="http://schemas.microsoft.com/office/drawing/2014/main" id="{47CA8C1F-684B-0572-2E84-3EEC8ADC53C4}"/>
              </a:ext>
            </a:extLst>
          </p:cNvPr>
          <p:cNvSpPr/>
          <p:nvPr/>
        </p:nvSpPr>
        <p:spPr>
          <a:xfrm>
            <a:off x="5169177" y="4871166"/>
            <a:ext cx="169830" cy="217551"/>
          </a:xfrm>
          <a:custGeom>
            <a:avLst/>
            <a:gdLst>
              <a:gd name="connsiteX0" fmla="*/ 46577 w 169830"/>
              <a:gd name="connsiteY0" fmla="*/ 200977 h 217551"/>
              <a:gd name="connsiteX1" fmla="*/ 60389 w 169830"/>
              <a:gd name="connsiteY1" fmla="*/ 208598 h 217551"/>
              <a:gd name="connsiteX2" fmla="*/ 71152 w 169830"/>
              <a:gd name="connsiteY2" fmla="*/ 202121 h 217551"/>
              <a:gd name="connsiteX3" fmla="*/ 92488 w 169830"/>
              <a:gd name="connsiteY3" fmla="*/ 213360 h 217551"/>
              <a:gd name="connsiteX4" fmla="*/ 116300 w 169830"/>
              <a:gd name="connsiteY4" fmla="*/ 194500 h 217551"/>
              <a:gd name="connsiteX5" fmla="*/ 131254 w 169830"/>
              <a:gd name="connsiteY5" fmla="*/ 154496 h 217551"/>
              <a:gd name="connsiteX6" fmla="*/ 169831 w 169830"/>
              <a:gd name="connsiteY6" fmla="*/ 99536 h 217551"/>
              <a:gd name="connsiteX7" fmla="*/ 168021 w 169830"/>
              <a:gd name="connsiteY7" fmla="*/ 97155 h 217551"/>
              <a:gd name="connsiteX8" fmla="*/ 157448 w 169830"/>
              <a:gd name="connsiteY8" fmla="*/ 74390 h 217551"/>
              <a:gd name="connsiteX9" fmla="*/ 71152 w 169830"/>
              <a:gd name="connsiteY9" fmla="*/ 12859 h 217551"/>
              <a:gd name="connsiteX10" fmla="*/ 33052 w 169830"/>
              <a:gd name="connsiteY10" fmla="*/ 0 h 217551"/>
              <a:gd name="connsiteX11" fmla="*/ 33052 w 169830"/>
              <a:gd name="connsiteY11" fmla="*/ 0 h 217551"/>
              <a:gd name="connsiteX12" fmla="*/ 5048 w 169830"/>
              <a:gd name="connsiteY12" fmla="*/ 43148 h 217551"/>
              <a:gd name="connsiteX13" fmla="*/ 10858 w 169830"/>
              <a:gd name="connsiteY13" fmla="*/ 97631 h 217551"/>
              <a:gd name="connsiteX14" fmla="*/ 33338 w 169830"/>
              <a:gd name="connsiteY14" fmla="*/ 126873 h 217551"/>
              <a:gd name="connsiteX15" fmla="*/ 33338 w 169830"/>
              <a:gd name="connsiteY15" fmla="*/ 140399 h 217551"/>
              <a:gd name="connsiteX16" fmla="*/ 19145 w 169830"/>
              <a:gd name="connsiteY16" fmla="*/ 152495 h 217551"/>
              <a:gd name="connsiteX17" fmla="*/ 19145 w 169830"/>
              <a:gd name="connsiteY17" fmla="*/ 177641 h 217551"/>
              <a:gd name="connsiteX18" fmla="*/ 0 w 169830"/>
              <a:gd name="connsiteY18" fmla="*/ 204502 h 217551"/>
              <a:gd name="connsiteX19" fmla="*/ 0 w 169830"/>
              <a:gd name="connsiteY19" fmla="*/ 204692 h 217551"/>
              <a:gd name="connsiteX20" fmla="*/ 21622 w 169830"/>
              <a:gd name="connsiteY20" fmla="*/ 217551 h 217551"/>
              <a:gd name="connsiteX21" fmla="*/ 46482 w 169830"/>
              <a:gd name="connsiteY21" fmla="*/ 201168 h 21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9830" h="217551">
                <a:moveTo>
                  <a:pt x="46577" y="200977"/>
                </a:moveTo>
                <a:lnTo>
                  <a:pt x="60389" y="208598"/>
                </a:lnTo>
                <a:lnTo>
                  <a:pt x="71152" y="202121"/>
                </a:lnTo>
                <a:lnTo>
                  <a:pt x="92488" y="213360"/>
                </a:lnTo>
                <a:lnTo>
                  <a:pt x="116300" y="194500"/>
                </a:lnTo>
                <a:lnTo>
                  <a:pt x="131254" y="154496"/>
                </a:lnTo>
                <a:lnTo>
                  <a:pt x="169831" y="99536"/>
                </a:lnTo>
                <a:cubicBezTo>
                  <a:pt x="169069" y="99441"/>
                  <a:pt x="168497" y="98679"/>
                  <a:pt x="168021" y="97155"/>
                </a:cubicBezTo>
                <a:cubicBezTo>
                  <a:pt x="163259" y="81915"/>
                  <a:pt x="162687" y="78200"/>
                  <a:pt x="157448" y="74390"/>
                </a:cubicBezTo>
                <a:cubicBezTo>
                  <a:pt x="78200" y="15811"/>
                  <a:pt x="78296" y="15240"/>
                  <a:pt x="71152" y="12859"/>
                </a:cubicBezTo>
                <a:cubicBezTo>
                  <a:pt x="55912" y="7715"/>
                  <a:pt x="43434" y="3524"/>
                  <a:pt x="33052" y="0"/>
                </a:cubicBezTo>
                <a:lnTo>
                  <a:pt x="33052" y="0"/>
                </a:lnTo>
                <a:cubicBezTo>
                  <a:pt x="33052" y="0"/>
                  <a:pt x="5048" y="43148"/>
                  <a:pt x="5048" y="43148"/>
                </a:cubicBezTo>
                <a:lnTo>
                  <a:pt x="10858" y="97631"/>
                </a:lnTo>
                <a:lnTo>
                  <a:pt x="33338" y="126873"/>
                </a:lnTo>
                <a:lnTo>
                  <a:pt x="33338" y="140399"/>
                </a:lnTo>
                <a:lnTo>
                  <a:pt x="19145" y="152495"/>
                </a:lnTo>
                <a:lnTo>
                  <a:pt x="19145" y="177641"/>
                </a:lnTo>
                <a:lnTo>
                  <a:pt x="0" y="204502"/>
                </a:lnTo>
                <a:lnTo>
                  <a:pt x="0" y="204692"/>
                </a:lnTo>
                <a:cubicBezTo>
                  <a:pt x="0" y="204692"/>
                  <a:pt x="21622" y="217551"/>
                  <a:pt x="21622" y="217551"/>
                </a:cubicBezTo>
                <a:lnTo>
                  <a:pt x="46482" y="201168"/>
                </a:lnTo>
                <a:close/>
              </a:path>
            </a:pathLst>
          </a:custGeom>
          <a:solidFill>
            <a:schemeClr val="bg1">
              <a:lumMod val="95000"/>
            </a:schemeClr>
          </a:solidFill>
          <a:ln w="9525" cap="flat">
            <a:noFill/>
            <a:prstDash val="solid"/>
            <a:miter/>
          </a:ln>
        </p:spPr>
        <p:txBody>
          <a:bodyPr rtlCol="0" anchor="ctr"/>
          <a:lstStyle/>
          <a:p>
            <a:endParaRPr lang="en-IN"/>
          </a:p>
        </p:txBody>
      </p:sp>
      <p:grpSp>
        <p:nvGrpSpPr>
          <p:cNvPr id="30" name="Graphic 34">
            <a:extLst>
              <a:ext uri="{FF2B5EF4-FFF2-40B4-BE49-F238E27FC236}">
                <a16:creationId xmlns:a16="http://schemas.microsoft.com/office/drawing/2014/main" id="{3F40451F-CBB5-837E-2F04-1CDC6697CC7B}"/>
              </a:ext>
            </a:extLst>
          </p:cNvPr>
          <p:cNvGrpSpPr/>
          <p:nvPr/>
        </p:nvGrpSpPr>
        <p:grpSpPr>
          <a:xfrm>
            <a:off x="2912651" y="5129104"/>
            <a:ext cx="1015608" cy="385952"/>
            <a:chOff x="2334024" y="5580315"/>
            <a:chExt cx="1015608" cy="385952"/>
          </a:xfrm>
          <a:solidFill>
            <a:schemeClr val="bg1">
              <a:lumMod val="95000"/>
            </a:schemeClr>
          </a:solidFill>
        </p:grpSpPr>
        <p:sp>
          <p:nvSpPr>
            <p:cNvPr id="31" name="Freeform: Shape 30">
              <a:extLst>
                <a:ext uri="{FF2B5EF4-FFF2-40B4-BE49-F238E27FC236}">
                  <a16:creationId xmlns:a16="http://schemas.microsoft.com/office/drawing/2014/main" id="{83ACE2D5-CE7C-82DA-1FE1-2C46F0473749}"/>
                </a:ext>
              </a:extLst>
            </p:cNvPr>
            <p:cNvSpPr/>
            <p:nvPr/>
          </p:nvSpPr>
          <p:spPr>
            <a:xfrm>
              <a:off x="3007474" y="5580315"/>
              <a:ext cx="342159" cy="385952"/>
            </a:xfrm>
            <a:custGeom>
              <a:avLst/>
              <a:gdLst>
                <a:gd name="connsiteX0" fmla="*/ 46598 w 342159"/>
                <a:gd name="connsiteY0" fmla="*/ 320897 h 385952"/>
                <a:gd name="connsiteX1" fmla="*/ 24881 w 342159"/>
                <a:gd name="connsiteY1" fmla="*/ 325946 h 385952"/>
                <a:gd name="connsiteX2" fmla="*/ 27929 w 342159"/>
                <a:gd name="connsiteY2" fmla="*/ 339471 h 385952"/>
                <a:gd name="connsiteX3" fmla="*/ 22405 w 342159"/>
                <a:gd name="connsiteY3" fmla="*/ 348615 h 385952"/>
                <a:gd name="connsiteX4" fmla="*/ 30787 w 342159"/>
                <a:gd name="connsiteY4" fmla="*/ 356997 h 385952"/>
                <a:gd name="connsiteX5" fmla="*/ 48218 w 342159"/>
                <a:gd name="connsiteY5" fmla="*/ 345091 h 385952"/>
                <a:gd name="connsiteX6" fmla="*/ 63743 w 342159"/>
                <a:gd name="connsiteY6" fmla="*/ 354902 h 385952"/>
                <a:gd name="connsiteX7" fmla="*/ 81269 w 342159"/>
                <a:gd name="connsiteY7" fmla="*/ 350330 h 385952"/>
                <a:gd name="connsiteX8" fmla="*/ 93557 w 342159"/>
                <a:gd name="connsiteY8" fmla="*/ 384810 h 385952"/>
                <a:gd name="connsiteX9" fmla="*/ 112130 w 342159"/>
                <a:gd name="connsiteY9" fmla="*/ 385953 h 385952"/>
                <a:gd name="connsiteX10" fmla="*/ 118417 w 342159"/>
                <a:gd name="connsiteY10" fmla="*/ 368046 h 385952"/>
                <a:gd name="connsiteX11" fmla="*/ 136229 w 342159"/>
                <a:gd name="connsiteY11" fmla="*/ 356521 h 385952"/>
                <a:gd name="connsiteX12" fmla="*/ 154136 w 342159"/>
                <a:gd name="connsiteY12" fmla="*/ 291179 h 385952"/>
                <a:gd name="connsiteX13" fmla="*/ 163375 w 342159"/>
                <a:gd name="connsiteY13" fmla="*/ 298228 h 385952"/>
                <a:gd name="connsiteX14" fmla="*/ 177662 w 342159"/>
                <a:gd name="connsiteY14" fmla="*/ 268034 h 385952"/>
                <a:gd name="connsiteX15" fmla="*/ 255291 w 342159"/>
                <a:gd name="connsiteY15" fmla="*/ 241649 h 385952"/>
                <a:gd name="connsiteX16" fmla="*/ 317775 w 342159"/>
                <a:gd name="connsiteY16" fmla="*/ 185071 h 385952"/>
                <a:gd name="connsiteX17" fmla="*/ 326919 w 342159"/>
                <a:gd name="connsiteY17" fmla="*/ 143827 h 385952"/>
                <a:gd name="connsiteX18" fmla="*/ 340254 w 342159"/>
                <a:gd name="connsiteY18" fmla="*/ 146399 h 385952"/>
                <a:gd name="connsiteX19" fmla="*/ 340064 w 342159"/>
                <a:gd name="connsiteY19" fmla="*/ 122777 h 385952"/>
                <a:gd name="connsiteX20" fmla="*/ 319490 w 342159"/>
                <a:gd name="connsiteY20" fmla="*/ 97917 h 385952"/>
                <a:gd name="connsiteX21" fmla="*/ 342159 w 342159"/>
                <a:gd name="connsiteY21" fmla="*/ 87344 h 385952"/>
                <a:gd name="connsiteX22" fmla="*/ 274151 w 342159"/>
                <a:gd name="connsiteY22" fmla="*/ 58483 h 385952"/>
                <a:gd name="connsiteX23" fmla="*/ 262721 w 342159"/>
                <a:gd name="connsiteY23" fmla="*/ 72200 h 385952"/>
                <a:gd name="connsiteX24" fmla="*/ 214143 w 342159"/>
                <a:gd name="connsiteY24" fmla="*/ 66008 h 385952"/>
                <a:gd name="connsiteX25" fmla="*/ 203094 w 342159"/>
                <a:gd name="connsiteY25" fmla="*/ 45339 h 385952"/>
                <a:gd name="connsiteX26" fmla="*/ 122703 w 342159"/>
                <a:gd name="connsiteY26" fmla="*/ 0 h 385952"/>
                <a:gd name="connsiteX27" fmla="*/ 120989 w 342159"/>
                <a:gd name="connsiteY27" fmla="*/ 381 h 385952"/>
                <a:gd name="connsiteX28" fmla="*/ 121179 w 342159"/>
                <a:gd name="connsiteY28" fmla="*/ 5239 h 385952"/>
                <a:gd name="connsiteX29" fmla="*/ 111464 w 342159"/>
                <a:gd name="connsiteY29" fmla="*/ 20955 h 385952"/>
                <a:gd name="connsiteX30" fmla="*/ 49932 w 342159"/>
                <a:gd name="connsiteY30" fmla="*/ 39719 h 385952"/>
                <a:gd name="connsiteX31" fmla="*/ 50789 w 342159"/>
                <a:gd name="connsiteY31" fmla="*/ 80010 h 385952"/>
                <a:gd name="connsiteX32" fmla="*/ 25834 w 342159"/>
                <a:gd name="connsiteY32" fmla="*/ 114109 h 385952"/>
                <a:gd name="connsiteX33" fmla="*/ 26024 w 342159"/>
                <a:gd name="connsiteY33" fmla="*/ 128683 h 385952"/>
                <a:gd name="connsiteX34" fmla="*/ 5641 w 342159"/>
                <a:gd name="connsiteY34" fmla="*/ 156686 h 385952"/>
                <a:gd name="connsiteX35" fmla="*/ 7641 w 342159"/>
                <a:gd name="connsiteY35" fmla="*/ 174403 h 385952"/>
                <a:gd name="connsiteX36" fmla="*/ 2879 w 342159"/>
                <a:gd name="connsiteY36" fmla="*/ 188119 h 385952"/>
                <a:gd name="connsiteX37" fmla="*/ 6022 w 342159"/>
                <a:gd name="connsiteY37" fmla="*/ 208883 h 385952"/>
                <a:gd name="connsiteX38" fmla="*/ 2688 w 342159"/>
                <a:gd name="connsiteY38" fmla="*/ 227933 h 385952"/>
                <a:gd name="connsiteX39" fmla="*/ 33263 w 342159"/>
                <a:gd name="connsiteY39" fmla="*/ 253365 h 385952"/>
                <a:gd name="connsiteX40" fmla="*/ 41264 w 342159"/>
                <a:gd name="connsiteY40" fmla="*/ 266033 h 385952"/>
                <a:gd name="connsiteX41" fmla="*/ 50504 w 342159"/>
                <a:gd name="connsiteY41" fmla="*/ 248412 h 385952"/>
                <a:gd name="connsiteX42" fmla="*/ 46027 w 342159"/>
                <a:gd name="connsiteY42" fmla="*/ 236315 h 385952"/>
                <a:gd name="connsiteX43" fmla="*/ 60695 w 342159"/>
                <a:gd name="connsiteY43" fmla="*/ 222980 h 385952"/>
                <a:gd name="connsiteX44" fmla="*/ 68982 w 342159"/>
                <a:gd name="connsiteY44" fmla="*/ 247650 h 385952"/>
                <a:gd name="connsiteX45" fmla="*/ 53647 w 342159"/>
                <a:gd name="connsiteY45" fmla="*/ 281369 h 385952"/>
                <a:gd name="connsiteX46" fmla="*/ 39074 w 342159"/>
                <a:gd name="connsiteY46" fmla="*/ 290608 h 385952"/>
                <a:gd name="connsiteX47" fmla="*/ 39074 w 342159"/>
                <a:gd name="connsiteY47" fmla="*/ 290608 h 385952"/>
                <a:gd name="connsiteX48" fmla="*/ 46217 w 342159"/>
                <a:gd name="connsiteY48" fmla="*/ 320802 h 38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42159" h="385952">
                  <a:moveTo>
                    <a:pt x="46598" y="320897"/>
                  </a:moveTo>
                  <a:lnTo>
                    <a:pt x="24881" y="325946"/>
                  </a:lnTo>
                  <a:lnTo>
                    <a:pt x="27929" y="339471"/>
                  </a:lnTo>
                  <a:lnTo>
                    <a:pt x="22405" y="348615"/>
                  </a:lnTo>
                  <a:lnTo>
                    <a:pt x="30787" y="356997"/>
                  </a:lnTo>
                  <a:lnTo>
                    <a:pt x="48218" y="345091"/>
                  </a:lnTo>
                  <a:lnTo>
                    <a:pt x="63743" y="354902"/>
                  </a:lnTo>
                  <a:lnTo>
                    <a:pt x="81269" y="350330"/>
                  </a:lnTo>
                  <a:lnTo>
                    <a:pt x="93557" y="384810"/>
                  </a:lnTo>
                  <a:lnTo>
                    <a:pt x="112130" y="385953"/>
                  </a:lnTo>
                  <a:lnTo>
                    <a:pt x="118417" y="368046"/>
                  </a:lnTo>
                  <a:lnTo>
                    <a:pt x="136229" y="356521"/>
                  </a:lnTo>
                  <a:lnTo>
                    <a:pt x="154136" y="291179"/>
                  </a:lnTo>
                  <a:lnTo>
                    <a:pt x="163375" y="298228"/>
                  </a:lnTo>
                  <a:lnTo>
                    <a:pt x="177662" y="268034"/>
                  </a:lnTo>
                  <a:lnTo>
                    <a:pt x="255291" y="241649"/>
                  </a:lnTo>
                  <a:lnTo>
                    <a:pt x="317775" y="185071"/>
                  </a:lnTo>
                  <a:lnTo>
                    <a:pt x="326919" y="143827"/>
                  </a:lnTo>
                  <a:lnTo>
                    <a:pt x="340254" y="146399"/>
                  </a:lnTo>
                  <a:lnTo>
                    <a:pt x="340064" y="122777"/>
                  </a:lnTo>
                  <a:lnTo>
                    <a:pt x="319490" y="97917"/>
                  </a:lnTo>
                  <a:lnTo>
                    <a:pt x="342159" y="87344"/>
                  </a:lnTo>
                  <a:lnTo>
                    <a:pt x="274151" y="58483"/>
                  </a:lnTo>
                  <a:lnTo>
                    <a:pt x="262721" y="72200"/>
                  </a:lnTo>
                  <a:lnTo>
                    <a:pt x="214143" y="66008"/>
                  </a:lnTo>
                  <a:lnTo>
                    <a:pt x="203094" y="45339"/>
                  </a:lnTo>
                  <a:lnTo>
                    <a:pt x="122703" y="0"/>
                  </a:lnTo>
                  <a:lnTo>
                    <a:pt x="120989" y="381"/>
                  </a:lnTo>
                  <a:cubicBezTo>
                    <a:pt x="121560" y="1715"/>
                    <a:pt x="121751" y="3238"/>
                    <a:pt x="121179" y="5239"/>
                  </a:cubicBezTo>
                  <a:cubicBezTo>
                    <a:pt x="119179" y="9620"/>
                    <a:pt x="119274" y="19336"/>
                    <a:pt x="111464" y="20955"/>
                  </a:cubicBezTo>
                  <a:cubicBezTo>
                    <a:pt x="51266" y="34004"/>
                    <a:pt x="49075" y="32575"/>
                    <a:pt x="49932" y="39719"/>
                  </a:cubicBezTo>
                  <a:cubicBezTo>
                    <a:pt x="53933" y="71819"/>
                    <a:pt x="55457" y="74962"/>
                    <a:pt x="50789" y="80010"/>
                  </a:cubicBezTo>
                  <a:cubicBezTo>
                    <a:pt x="27644" y="104965"/>
                    <a:pt x="23357" y="107347"/>
                    <a:pt x="25834" y="114109"/>
                  </a:cubicBezTo>
                  <a:cubicBezTo>
                    <a:pt x="26215" y="116110"/>
                    <a:pt x="31263" y="123349"/>
                    <a:pt x="26024" y="128683"/>
                  </a:cubicBezTo>
                  <a:cubicBezTo>
                    <a:pt x="7641" y="147638"/>
                    <a:pt x="3164" y="150209"/>
                    <a:pt x="5641" y="156686"/>
                  </a:cubicBezTo>
                  <a:cubicBezTo>
                    <a:pt x="6593" y="160401"/>
                    <a:pt x="12308" y="168211"/>
                    <a:pt x="7641" y="174403"/>
                  </a:cubicBezTo>
                  <a:cubicBezTo>
                    <a:pt x="6879" y="175831"/>
                    <a:pt x="593" y="181356"/>
                    <a:pt x="2879" y="188119"/>
                  </a:cubicBezTo>
                  <a:cubicBezTo>
                    <a:pt x="4307" y="194024"/>
                    <a:pt x="9546" y="201549"/>
                    <a:pt x="6022" y="208883"/>
                  </a:cubicBezTo>
                  <a:cubicBezTo>
                    <a:pt x="4022" y="214789"/>
                    <a:pt x="-4170" y="223171"/>
                    <a:pt x="2688" y="227933"/>
                  </a:cubicBezTo>
                  <a:cubicBezTo>
                    <a:pt x="27072" y="244697"/>
                    <a:pt x="31454" y="246412"/>
                    <a:pt x="33263" y="253365"/>
                  </a:cubicBezTo>
                  <a:cubicBezTo>
                    <a:pt x="34978" y="257651"/>
                    <a:pt x="35740" y="271939"/>
                    <a:pt x="41264" y="266033"/>
                  </a:cubicBezTo>
                  <a:cubicBezTo>
                    <a:pt x="45360" y="260509"/>
                    <a:pt x="56314" y="254317"/>
                    <a:pt x="50504" y="248412"/>
                  </a:cubicBezTo>
                  <a:cubicBezTo>
                    <a:pt x="49646" y="247079"/>
                    <a:pt x="42026" y="242316"/>
                    <a:pt x="46027" y="236315"/>
                  </a:cubicBezTo>
                  <a:cubicBezTo>
                    <a:pt x="51456" y="229743"/>
                    <a:pt x="56695" y="215265"/>
                    <a:pt x="60695" y="222980"/>
                  </a:cubicBezTo>
                  <a:cubicBezTo>
                    <a:pt x="65839" y="232886"/>
                    <a:pt x="71459" y="240602"/>
                    <a:pt x="68982" y="247650"/>
                  </a:cubicBezTo>
                  <a:cubicBezTo>
                    <a:pt x="60219" y="272606"/>
                    <a:pt x="59648" y="277559"/>
                    <a:pt x="53647" y="281369"/>
                  </a:cubicBezTo>
                  <a:cubicBezTo>
                    <a:pt x="48218" y="284798"/>
                    <a:pt x="43360" y="287846"/>
                    <a:pt x="39074" y="290608"/>
                  </a:cubicBezTo>
                  <a:lnTo>
                    <a:pt x="39074" y="290608"/>
                  </a:lnTo>
                  <a:lnTo>
                    <a:pt x="46217" y="320802"/>
                  </a:lnTo>
                  <a:close/>
                </a:path>
              </a:pathLst>
            </a:custGeom>
            <a:grpFill/>
            <a:ln w="9525"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5FF8B248-9782-004F-50B2-BA50C4CFC4EE}"/>
                </a:ext>
              </a:extLst>
            </p:cNvPr>
            <p:cNvSpPr/>
            <p:nvPr/>
          </p:nvSpPr>
          <p:spPr>
            <a:xfrm>
              <a:off x="2353152" y="5652683"/>
              <a:ext cx="58528" cy="74299"/>
            </a:xfrm>
            <a:custGeom>
              <a:avLst/>
              <a:gdLst>
                <a:gd name="connsiteX0" fmla="*/ 1690 w 58528"/>
                <a:gd name="connsiteY0" fmla="*/ 14500 h 74299"/>
                <a:gd name="connsiteX1" fmla="*/ 15978 w 58528"/>
                <a:gd name="connsiteY1" fmla="*/ 22120 h 74299"/>
                <a:gd name="connsiteX2" fmla="*/ 32932 w 58528"/>
                <a:gd name="connsiteY2" fmla="*/ 44218 h 74299"/>
                <a:gd name="connsiteX3" fmla="*/ 17597 w 58528"/>
                <a:gd name="connsiteY3" fmla="*/ 67078 h 74299"/>
                <a:gd name="connsiteX4" fmla="*/ 39790 w 58528"/>
                <a:gd name="connsiteY4" fmla="*/ 74221 h 74299"/>
                <a:gd name="connsiteX5" fmla="*/ 56649 w 58528"/>
                <a:gd name="connsiteY5" fmla="*/ 61363 h 74299"/>
                <a:gd name="connsiteX6" fmla="*/ 27598 w 58528"/>
                <a:gd name="connsiteY6" fmla="*/ 2498 h 74299"/>
                <a:gd name="connsiteX7" fmla="*/ 1595 w 58528"/>
                <a:gd name="connsiteY7" fmla="*/ 14690 h 7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28" h="74299">
                  <a:moveTo>
                    <a:pt x="1690" y="14500"/>
                  </a:moveTo>
                  <a:cubicBezTo>
                    <a:pt x="-5073" y="19357"/>
                    <a:pt x="10263" y="20119"/>
                    <a:pt x="15978" y="22120"/>
                  </a:cubicBezTo>
                  <a:cubicBezTo>
                    <a:pt x="23217" y="23834"/>
                    <a:pt x="32932" y="44218"/>
                    <a:pt x="32932" y="44218"/>
                  </a:cubicBezTo>
                  <a:cubicBezTo>
                    <a:pt x="37314" y="51933"/>
                    <a:pt x="25407" y="57648"/>
                    <a:pt x="17597" y="67078"/>
                  </a:cubicBezTo>
                  <a:cubicBezTo>
                    <a:pt x="12549" y="72126"/>
                    <a:pt x="21597" y="71935"/>
                    <a:pt x="39790" y="74221"/>
                  </a:cubicBezTo>
                  <a:cubicBezTo>
                    <a:pt x="47982" y="75269"/>
                    <a:pt x="52173" y="65554"/>
                    <a:pt x="56649" y="61363"/>
                  </a:cubicBezTo>
                  <a:cubicBezTo>
                    <a:pt x="61412" y="55743"/>
                    <a:pt x="58935" y="55171"/>
                    <a:pt x="27598" y="2498"/>
                  </a:cubicBezTo>
                  <a:cubicBezTo>
                    <a:pt x="24074" y="-3407"/>
                    <a:pt x="19978" y="1355"/>
                    <a:pt x="1595" y="14690"/>
                  </a:cubicBezTo>
                  <a:close/>
                </a:path>
              </a:pathLst>
            </a:custGeom>
            <a:grpFill/>
            <a:ln w="952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32FE6C3D-202A-BAE2-AEE8-6E477CDA9DAE}"/>
                </a:ext>
              </a:extLst>
            </p:cNvPr>
            <p:cNvSpPr/>
            <p:nvPr/>
          </p:nvSpPr>
          <p:spPr>
            <a:xfrm>
              <a:off x="2334024" y="5687779"/>
              <a:ext cx="25042" cy="17460"/>
            </a:xfrm>
            <a:custGeom>
              <a:avLst/>
              <a:gdLst>
                <a:gd name="connsiteX0" fmla="*/ 21865 w 25042"/>
                <a:gd name="connsiteY0" fmla="*/ 168 h 17460"/>
                <a:gd name="connsiteX1" fmla="*/ 1863 w 25042"/>
                <a:gd name="connsiteY1" fmla="*/ 5407 h 17460"/>
                <a:gd name="connsiteX2" fmla="*/ 4054 w 25042"/>
                <a:gd name="connsiteY2" fmla="*/ 17408 h 17460"/>
                <a:gd name="connsiteX3" fmla="*/ 20627 w 25042"/>
                <a:gd name="connsiteY3" fmla="*/ 12646 h 17460"/>
                <a:gd name="connsiteX4" fmla="*/ 21865 w 25042"/>
                <a:gd name="connsiteY4" fmla="*/ 168 h 17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42" h="17460">
                  <a:moveTo>
                    <a:pt x="21865" y="168"/>
                  </a:moveTo>
                  <a:cubicBezTo>
                    <a:pt x="15293" y="930"/>
                    <a:pt x="4054" y="-2690"/>
                    <a:pt x="1863" y="5407"/>
                  </a:cubicBezTo>
                  <a:cubicBezTo>
                    <a:pt x="1768" y="7502"/>
                    <a:pt x="-3471" y="17408"/>
                    <a:pt x="4054" y="17408"/>
                  </a:cubicBezTo>
                  <a:cubicBezTo>
                    <a:pt x="7768" y="16837"/>
                    <a:pt x="16912" y="19504"/>
                    <a:pt x="20627" y="12646"/>
                  </a:cubicBezTo>
                  <a:cubicBezTo>
                    <a:pt x="20627" y="12646"/>
                    <a:pt x="29676" y="168"/>
                    <a:pt x="21865" y="168"/>
                  </a:cubicBezTo>
                  <a:close/>
                </a:path>
              </a:pathLst>
            </a:custGeom>
            <a:grpFill/>
            <a:ln w="9525" cap="flat">
              <a:noFill/>
              <a:prstDash val="solid"/>
              <a:miter/>
            </a:ln>
          </p:spPr>
          <p:txBody>
            <a:bodyPr rtlCol="0" anchor="ctr"/>
            <a:lstStyle/>
            <a:p>
              <a:endParaRPr lang="en-IN"/>
            </a:p>
          </p:txBody>
        </p:sp>
        <p:sp>
          <p:nvSpPr>
            <p:cNvPr id="49" name="Freeform: Shape 48">
              <a:extLst>
                <a:ext uri="{FF2B5EF4-FFF2-40B4-BE49-F238E27FC236}">
                  <a16:creationId xmlns:a16="http://schemas.microsoft.com/office/drawing/2014/main" id="{7B4BF037-4EF3-10C5-C29C-CF28A4B98E2A}"/>
                </a:ext>
              </a:extLst>
            </p:cNvPr>
            <p:cNvSpPr/>
            <p:nvPr/>
          </p:nvSpPr>
          <p:spPr>
            <a:xfrm>
              <a:off x="2428085" y="5692730"/>
              <a:ext cx="23868" cy="21082"/>
            </a:xfrm>
            <a:custGeom>
              <a:avLst/>
              <a:gdLst>
                <a:gd name="connsiteX0" fmla="*/ 16864 w 23868"/>
                <a:gd name="connsiteY0" fmla="*/ 360 h 21082"/>
                <a:gd name="connsiteX1" fmla="*/ 100 w 23868"/>
                <a:gd name="connsiteY1" fmla="*/ 10743 h 21082"/>
                <a:gd name="connsiteX2" fmla="*/ 5434 w 23868"/>
                <a:gd name="connsiteY2" fmla="*/ 21030 h 21082"/>
                <a:gd name="connsiteX3" fmla="*/ 23817 w 23868"/>
                <a:gd name="connsiteY3" fmla="*/ 13505 h 21082"/>
                <a:gd name="connsiteX4" fmla="*/ 16864 w 23868"/>
                <a:gd name="connsiteY4" fmla="*/ 265 h 2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8" h="21082">
                  <a:moveTo>
                    <a:pt x="16864" y="360"/>
                  </a:moveTo>
                  <a:cubicBezTo>
                    <a:pt x="16864" y="360"/>
                    <a:pt x="100" y="2551"/>
                    <a:pt x="100" y="10743"/>
                  </a:cubicBezTo>
                  <a:cubicBezTo>
                    <a:pt x="385" y="11981"/>
                    <a:pt x="-1805" y="21887"/>
                    <a:pt x="5434" y="21030"/>
                  </a:cubicBezTo>
                  <a:cubicBezTo>
                    <a:pt x="12196" y="19410"/>
                    <a:pt x="24769" y="21792"/>
                    <a:pt x="23817" y="13505"/>
                  </a:cubicBezTo>
                  <a:cubicBezTo>
                    <a:pt x="22864" y="10076"/>
                    <a:pt x="24293" y="-1926"/>
                    <a:pt x="16864" y="265"/>
                  </a:cubicBezTo>
                  <a:close/>
                </a:path>
              </a:pathLst>
            </a:custGeom>
            <a:grpFill/>
            <a:ln w="952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AF4845A5-4006-39C6-CA14-62665ECB6A44}"/>
                </a:ext>
              </a:extLst>
            </p:cNvPr>
            <p:cNvSpPr/>
            <p:nvPr/>
          </p:nvSpPr>
          <p:spPr>
            <a:xfrm>
              <a:off x="2409117" y="5659360"/>
              <a:ext cx="22308" cy="18801"/>
            </a:xfrm>
            <a:custGeom>
              <a:avLst/>
              <a:gdLst>
                <a:gd name="connsiteX0" fmla="*/ 22211 w 22308"/>
                <a:gd name="connsiteY0" fmla="*/ 14109 h 18801"/>
                <a:gd name="connsiteX1" fmla="*/ 14972 w 22308"/>
                <a:gd name="connsiteY1" fmla="*/ 3346 h 18801"/>
                <a:gd name="connsiteX2" fmla="*/ 113 w 22308"/>
                <a:gd name="connsiteY2" fmla="*/ 3632 h 18801"/>
                <a:gd name="connsiteX3" fmla="*/ 5447 w 22308"/>
                <a:gd name="connsiteY3" fmla="*/ 17443 h 18801"/>
                <a:gd name="connsiteX4" fmla="*/ 22115 w 22308"/>
                <a:gd name="connsiteY4" fmla="*/ 14109 h 18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08" h="18801">
                  <a:moveTo>
                    <a:pt x="22211" y="14109"/>
                  </a:moveTo>
                  <a:cubicBezTo>
                    <a:pt x="21639" y="12871"/>
                    <a:pt x="21544" y="5537"/>
                    <a:pt x="14972" y="3346"/>
                  </a:cubicBezTo>
                  <a:cubicBezTo>
                    <a:pt x="14972" y="3346"/>
                    <a:pt x="113" y="-4369"/>
                    <a:pt x="113" y="3632"/>
                  </a:cubicBezTo>
                  <a:cubicBezTo>
                    <a:pt x="589" y="6489"/>
                    <a:pt x="-2173" y="16586"/>
                    <a:pt x="5447" y="17443"/>
                  </a:cubicBezTo>
                  <a:cubicBezTo>
                    <a:pt x="11352" y="17348"/>
                    <a:pt x="24020" y="22205"/>
                    <a:pt x="22115" y="14109"/>
                  </a:cubicBezTo>
                  <a:close/>
                </a:path>
              </a:pathLst>
            </a:custGeom>
            <a:grpFill/>
            <a:ln w="952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3537EDDF-1D6A-1653-C16B-3DA57C8CC56C}"/>
                </a:ext>
              </a:extLst>
            </p:cNvPr>
            <p:cNvSpPr/>
            <p:nvPr/>
          </p:nvSpPr>
          <p:spPr>
            <a:xfrm>
              <a:off x="2482259" y="5703709"/>
              <a:ext cx="21626" cy="24844"/>
            </a:xfrm>
            <a:custGeom>
              <a:avLst/>
              <a:gdLst>
                <a:gd name="connsiteX0" fmla="*/ 10696 w 21626"/>
                <a:gd name="connsiteY0" fmla="*/ 1287 h 24844"/>
                <a:gd name="connsiteX1" fmla="*/ 28 w 21626"/>
                <a:gd name="connsiteY1" fmla="*/ 15956 h 24844"/>
                <a:gd name="connsiteX2" fmla="*/ 5171 w 21626"/>
                <a:gd name="connsiteY2" fmla="*/ 23862 h 24844"/>
                <a:gd name="connsiteX3" fmla="*/ 20602 w 21626"/>
                <a:gd name="connsiteY3" fmla="*/ 6145 h 24844"/>
                <a:gd name="connsiteX4" fmla="*/ 10696 w 21626"/>
                <a:gd name="connsiteY4" fmla="*/ 1287 h 24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26" h="24844">
                  <a:moveTo>
                    <a:pt x="10696" y="1287"/>
                  </a:moveTo>
                  <a:cubicBezTo>
                    <a:pt x="7933" y="4240"/>
                    <a:pt x="-544" y="8241"/>
                    <a:pt x="28" y="15956"/>
                  </a:cubicBezTo>
                  <a:cubicBezTo>
                    <a:pt x="409" y="17099"/>
                    <a:pt x="-734" y="28148"/>
                    <a:pt x="5171" y="23862"/>
                  </a:cubicBezTo>
                  <a:cubicBezTo>
                    <a:pt x="11839" y="17861"/>
                    <a:pt x="25459" y="13194"/>
                    <a:pt x="20602" y="6145"/>
                  </a:cubicBezTo>
                  <a:cubicBezTo>
                    <a:pt x="20602" y="6145"/>
                    <a:pt x="16125" y="-3380"/>
                    <a:pt x="10696" y="1287"/>
                  </a:cubicBezTo>
                  <a:close/>
                </a:path>
              </a:pathLst>
            </a:custGeom>
            <a:grpFill/>
            <a:ln w="9525" cap="flat">
              <a:noFill/>
              <a:prstDash val="solid"/>
              <a:miter/>
            </a:ln>
          </p:spPr>
          <p:txBody>
            <a:bodyPr rtlCol="0" anchor="ctr"/>
            <a:lstStyle/>
            <a:p>
              <a:endParaRPr lang="en-IN"/>
            </a:p>
          </p:txBody>
        </p:sp>
      </p:grpSp>
      <p:grpSp>
        <p:nvGrpSpPr>
          <p:cNvPr id="52" name="Graphic 34">
            <a:extLst>
              <a:ext uri="{FF2B5EF4-FFF2-40B4-BE49-F238E27FC236}">
                <a16:creationId xmlns:a16="http://schemas.microsoft.com/office/drawing/2014/main" id="{356736C2-4531-59D4-F928-0E7540894C91}"/>
              </a:ext>
            </a:extLst>
          </p:cNvPr>
          <p:cNvGrpSpPr/>
          <p:nvPr/>
        </p:nvGrpSpPr>
        <p:grpSpPr>
          <a:xfrm>
            <a:off x="3998555" y="4898027"/>
            <a:ext cx="2354030" cy="2426398"/>
            <a:chOff x="3419928" y="5349238"/>
            <a:chExt cx="2354030" cy="2426398"/>
          </a:xfrm>
          <a:solidFill>
            <a:schemeClr val="bg1">
              <a:lumMod val="95000"/>
            </a:schemeClr>
          </a:solidFill>
        </p:grpSpPr>
        <p:sp>
          <p:nvSpPr>
            <p:cNvPr id="53" name="Freeform: Shape 52">
              <a:extLst>
                <a:ext uri="{FF2B5EF4-FFF2-40B4-BE49-F238E27FC236}">
                  <a16:creationId xmlns:a16="http://schemas.microsoft.com/office/drawing/2014/main" id="{350E0ED7-C0D1-9812-B01A-97DDB2051FD4}"/>
                </a:ext>
              </a:extLst>
            </p:cNvPr>
            <p:cNvSpPr/>
            <p:nvPr/>
          </p:nvSpPr>
          <p:spPr>
            <a:xfrm>
              <a:off x="4881683" y="5652638"/>
              <a:ext cx="23459" cy="18412"/>
            </a:xfrm>
            <a:custGeom>
              <a:avLst/>
              <a:gdLst>
                <a:gd name="connsiteX0" fmla="*/ 19668 w 23459"/>
                <a:gd name="connsiteY0" fmla="*/ 67 h 18412"/>
                <a:gd name="connsiteX1" fmla="*/ 6523 w 23459"/>
                <a:gd name="connsiteY1" fmla="*/ 5782 h 18412"/>
                <a:gd name="connsiteX2" fmla="*/ 3094 w 23459"/>
                <a:gd name="connsiteY2" fmla="*/ 18260 h 18412"/>
                <a:gd name="connsiteX3" fmla="*/ 21096 w 23459"/>
                <a:gd name="connsiteY3" fmla="*/ 10163 h 18412"/>
                <a:gd name="connsiteX4" fmla="*/ 19763 w 23459"/>
                <a:gd name="connsiteY4" fmla="*/ 67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59" h="18412">
                  <a:moveTo>
                    <a:pt x="19668" y="67"/>
                  </a:moveTo>
                  <a:cubicBezTo>
                    <a:pt x="19668" y="67"/>
                    <a:pt x="10428" y="-219"/>
                    <a:pt x="6523" y="5782"/>
                  </a:cubicBezTo>
                  <a:cubicBezTo>
                    <a:pt x="4713" y="9497"/>
                    <a:pt x="-4812" y="19784"/>
                    <a:pt x="3094" y="18260"/>
                  </a:cubicBezTo>
                  <a:cubicBezTo>
                    <a:pt x="8523" y="16545"/>
                    <a:pt x="18239" y="17688"/>
                    <a:pt x="21096" y="10163"/>
                  </a:cubicBezTo>
                  <a:cubicBezTo>
                    <a:pt x="21287" y="8639"/>
                    <a:pt x="27097" y="-886"/>
                    <a:pt x="19763" y="67"/>
                  </a:cubicBezTo>
                  <a:close/>
                </a:path>
              </a:pathLst>
            </a:custGeom>
            <a:grpFill/>
            <a:ln w="9525" cap="flat">
              <a:noFill/>
              <a:prstDash val="solid"/>
              <a:miter/>
            </a:ln>
          </p:spPr>
          <p:txBody>
            <a:bodyPr rtlCol="0" anchor="ctr"/>
            <a:lstStyle/>
            <a:p>
              <a:endParaRPr lang="en-IN"/>
            </a:p>
          </p:txBody>
        </p:sp>
        <p:sp>
          <p:nvSpPr>
            <p:cNvPr id="54" name="Freeform: Shape 53">
              <a:extLst>
                <a:ext uri="{FF2B5EF4-FFF2-40B4-BE49-F238E27FC236}">
                  <a16:creationId xmlns:a16="http://schemas.microsoft.com/office/drawing/2014/main" id="{92E606CE-6E46-27ED-5021-6588BD35C3C2}"/>
                </a:ext>
              </a:extLst>
            </p:cNvPr>
            <p:cNvSpPr/>
            <p:nvPr/>
          </p:nvSpPr>
          <p:spPr>
            <a:xfrm>
              <a:off x="4830376" y="5530310"/>
              <a:ext cx="15711" cy="18450"/>
            </a:xfrm>
            <a:custGeom>
              <a:avLst/>
              <a:gdLst>
                <a:gd name="connsiteX0" fmla="*/ 4871 w 15711"/>
                <a:gd name="connsiteY0" fmla="*/ 1046 h 18450"/>
                <a:gd name="connsiteX1" fmla="*/ 1156 w 15711"/>
                <a:gd name="connsiteY1" fmla="*/ 10190 h 18450"/>
                <a:gd name="connsiteX2" fmla="*/ 11824 w 15711"/>
                <a:gd name="connsiteY2" fmla="*/ 16762 h 18450"/>
                <a:gd name="connsiteX3" fmla="*/ 14491 w 15711"/>
                <a:gd name="connsiteY3" fmla="*/ 5809 h 18450"/>
                <a:gd name="connsiteX4" fmla="*/ 4966 w 15711"/>
                <a:gd name="connsiteY4" fmla="*/ 1046 h 1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1" h="18450">
                  <a:moveTo>
                    <a:pt x="4871" y="1046"/>
                  </a:moveTo>
                  <a:cubicBezTo>
                    <a:pt x="4109" y="1999"/>
                    <a:pt x="-2654" y="4570"/>
                    <a:pt x="1156" y="10190"/>
                  </a:cubicBezTo>
                  <a:cubicBezTo>
                    <a:pt x="2871" y="12000"/>
                    <a:pt x="6871" y="22477"/>
                    <a:pt x="11824" y="16762"/>
                  </a:cubicBezTo>
                  <a:cubicBezTo>
                    <a:pt x="12300" y="15810"/>
                    <a:pt x="18206" y="11524"/>
                    <a:pt x="14491" y="5809"/>
                  </a:cubicBezTo>
                  <a:cubicBezTo>
                    <a:pt x="14491" y="5809"/>
                    <a:pt x="10681" y="-2954"/>
                    <a:pt x="4966" y="1046"/>
                  </a:cubicBezTo>
                  <a:close/>
                </a:path>
              </a:pathLst>
            </a:custGeom>
            <a:grpFill/>
            <a:ln w="9525" cap="flat">
              <a:noFill/>
              <a:prstDash val="solid"/>
              <a:miter/>
            </a:ln>
          </p:spPr>
          <p:txBody>
            <a:bodyPr rtlCol="0" anchor="ctr"/>
            <a:lstStyle/>
            <a:p>
              <a:endParaRPr lang="en-IN"/>
            </a:p>
          </p:txBody>
        </p:sp>
        <p:sp>
          <p:nvSpPr>
            <p:cNvPr id="55" name="Freeform: Shape 54">
              <a:extLst>
                <a:ext uri="{FF2B5EF4-FFF2-40B4-BE49-F238E27FC236}">
                  <a16:creationId xmlns:a16="http://schemas.microsoft.com/office/drawing/2014/main" id="{F6618785-86F7-8B76-92BD-57A9D23683DF}"/>
                </a:ext>
              </a:extLst>
            </p:cNvPr>
            <p:cNvSpPr/>
            <p:nvPr/>
          </p:nvSpPr>
          <p:spPr>
            <a:xfrm>
              <a:off x="5158722" y="5728868"/>
              <a:ext cx="14600" cy="16131"/>
            </a:xfrm>
            <a:custGeom>
              <a:avLst/>
              <a:gdLst>
                <a:gd name="connsiteX0" fmla="*/ 2471 w 14600"/>
                <a:gd name="connsiteY0" fmla="*/ 14038 h 16131"/>
                <a:gd name="connsiteX1" fmla="*/ 12281 w 14600"/>
                <a:gd name="connsiteY1" fmla="*/ 13847 h 16131"/>
                <a:gd name="connsiteX2" fmla="*/ 13615 w 14600"/>
                <a:gd name="connsiteY2" fmla="*/ 6323 h 16131"/>
                <a:gd name="connsiteX3" fmla="*/ 3899 w 14600"/>
                <a:gd name="connsiteY3" fmla="*/ 1751 h 16131"/>
                <a:gd name="connsiteX4" fmla="*/ 1423 w 14600"/>
                <a:gd name="connsiteY4" fmla="*/ 12800 h 16131"/>
                <a:gd name="connsiteX5" fmla="*/ 2471 w 14600"/>
                <a:gd name="connsiteY5" fmla="*/ 14038 h 1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0" h="16131">
                  <a:moveTo>
                    <a:pt x="2471" y="14038"/>
                  </a:moveTo>
                  <a:cubicBezTo>
                    <a:pt x="6471" y="18991"/>
                    <a:pt x="13234" y="13562"/>
                    <a:pt x="12281" y="13847"/>
                  </a:cubicBezTo>
                  <a:cubicBezTo>
                    <a:pt x="14758" y="12133"/>
                    <a:pt x="15330" y="8799"/>
                    <a:pt x="13615" y="6323"/>
                  </a:cubicBezTo>
                  <a:cubicBezTo>
                    <a:pt x="12663" y="5465"/>
                    <a:pt x="8662" y="-3774"/>
                    <a:pt x="3899" y="1751"/>
                  </a:cubicBezTo>
                  <a:cubicBezTo>
                    <a:pt x="3899" y="1751"/>
                    <a:pt x="-2863" y="7370"/>
                    <a:pt x="1423" y="12800"/>
                  </a:cubicBezTo>
                  <a:lnTo>
                    <a:pt x="2471" y="14038"/>
                  </a:lnTo>
                  <a:close/>
                </a:path>
              </a:pathLst>
            </a:custGeom>
            <a:grpFill/>
            <a:ln w="9525" cap="flat">
              <a:noFill/>
              <a:prstDash val="solid"/>
              <a:miter/>
            </a:ln>
          </p:spPr>
          <p:txBody>
            <a:bodyPr rtlCol="0" anchor="ctr"/>
            <a:lstStyle/>
            <a:p>
              <a:endParaRPr lang="en-IN"/>
            </a:p>
          </p:txBody>
        </p:sp>
        <p:sp>
          <p:nvSpPr>
            <p:cNvPr id="56" name="Freeform: Shape 55">
              <a:extLst>
                <a:ext uri="{FF2B5EF4-FFF2-40B4-BE49-F238E27FC236}">
                  <a16:creationId xmlns:a16="http://schemas.microsoft.com/office/drawing/2014/main" id="{AE3770FA-F6BC-B25E-9D84-12921C945EEC}"/>
                </a:ext>
              </a:extLst>
            </p:cNvPr>
            <p:cNvSpPr/>
            <p:nvPr/>
          </p:nvSpPr>
          <p:spPr>
            <a:xfrm>
              <a:off x="5204587" y="7078591"/>
              <a:ext cx="20667" cy="12355"/>
            </a:xfrm>
            <a:custGeom>
              <a:avLst/>
              <a:gdLst>
                <a:gd name="connsiteX0" fmla="*/ 18613 w 20667"/>
                <a:gd name="connsiteY0" fmla="*/ 1149 h 12355"/>
                <a:gd name="connsiteX1" fmla="*/ 2802 w 20667"/>
                <a:gd name="connsiteY1" fmla="*/ 1721 h 12355"/>
                <a:gd name="connsiteX2" fmla="*/ 4612 w 20667"/>
                <a:gd name="connsiteY2" fmla="*/ 10484 h 12355"/>
                <a:gd name="connsiteX3" fmla="*/ 12613 w 20667"/>
                <a:gd name="connsiteY3" fmla="*/ 11246 h 12355"/>
                <a:gd name="connsiteX4" fmla="*/ 18994 w 20667"/>
                <a:gd name="connsiteY4" fmla="*/ 6483 h 12355"/>
                <a:gd name="connsiteX5" fmla="*/ 18613 w 20667"/>
                <a:gd name="connsiteY5" fmla="*/ 1244 h 1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67" h="12355">
                  <a:moveTo>
                    <a:pt x="18613" y="1149"/>
                  </a:moveTo>
                  <a:cubicBezTo>
                    <a:pt x="12136" y="-1613"/>
                    <a:pt x="4802" y="1435"/>
                    <a:pt x="2802" y="1721"/>
                  </a:cubicBezTo>
                  <a:cubicBezTo>
                    <a:pt x="-4152" y="3340"/>
                    <a:pt x="3945" y="9341"/>
                    <a:pt x="4612" y="10484"/>
                  </a:cubicBezTo>
                  <a:cubicBezTo>
                    <a:pt x="6612" y="12674"/>
                    <a:pt x="10231" y="12960"/>
                    <a:pt x="12613" y="11246"/>
                  </a:cubicBezTo>
                  <a:lnTo>
                    <a:pt x="18994" y="6483"/>
                  </a:lnTo>
                  <a:cubicBezTo>
                    <a:pt x="21375" y="4769"/>
                    <a:pt x="21185" y="2387"/>
                    <a:pt x="18613" y="1244"/>
                  </a:cubicBezTo>
                  <a:close/>
                </a:path>
              </a:pathLst>
            </a:custGeom>
            <a:grpFill/>
            <a:ln w="9525" cap="flat">
              <a:noFill/>
              <a:prstDash val="solid"/>
              <a:miter/>
            </a:ln>
          </p:spPr>
          <p:txBody>
            <a:bodyPr rtlCol="0" anchor="ctr"/>
            <a:lstStyle/>
            <a:p>
              <a:endParaRPr lang="en-IN"/>
            </a:p>
          </p:txBody>
        </p:sp>
        <p:sp>
          <p:nvSpPr>
            <p:cNvPr id="57" name="Freeform: Shape 56">
              <a:extLst>
                <a:ext uri="{FF2B5EF4-FFF2-40B4-BE49-F238E27FC236}">
                  <a16:creationId xmlns:a16="http://schemas.microsoft.com/office/drawing/2014/main" id="{4B5A8737-78D7-5261-D0A5-0AE1AD5CB9A9}"/>
                </a:ext>
              </a:extLst>
            </p:cNvPr>
            <p:cNvSpPr/>
            <p:nvPr/>
          </p:nvSpPr>
          <p:spPr>
            <a:xfrm>
              <a:off x="3419928" y="5349238"/>
              <a:ext cx="2354030" cy="2426398"/>
            </a:xfrm>
            <a:custGeom>
              <a:avLst/>
              <a:gdLst>
                <a:gd name="connsiteX0" fmla="*/ 1243393 w 2354030"/>
                <a:gd name="connsiteY0" fmla="*/ 2422779 h 2426398"/>
                <a:gd name="connsiteX1" fmla="*/ 1288828 w 2354030"/>
                <a:gd name="connsiteY1" fmla="*/ 2380869 h 2426398"/>
                <a:gd name="connsiteX2" fmla="*/ 1299210 w 2354030"/>
                <a:gd name="connsiteY2" fmla="*/ 2341340 h 2426398"/>
                <a:gd name="connsiteX3" fmla="*/ 1320451 w 2354030"/>
                <a:gd name="connsiteY3" fmla="*/ 2309908 h 2426398"/>
                <a:gd name="connsiteX4" fmla="*/ 1347788 w 2354030"/>
                <a:gd name="connsiteY4" fmla="*/ 2291524 h 2426398"/>
                <a:gd name="connsiteX5" fmla="*/ 1390936 w 2354030"/>
                <a:gd name="connsiteY5" fmla="*/ 2253520 h 2426398"/>
                <a:gd name="connsiteX6" fmla="*/ 1411605 w 2354030"/>
                <a:gd name="connsiteY6" fmla="*/ 2221421 h 2426398"/>
                <a:gd name="connsiteX7" fmla="*/ 1443704 w 2354030"/>
                <a:gd name="connsiteY7" fmla="*/ 2151983 h 2426398"/>
                <a:gd name="connsiteX8" fmla="*/ 1478661 w 2354030"/>
                <a:gd name="connsiteY8" fmla="*/ 2108549 h 2426398"/>
                <a:gd name="connsiteX9" fmla="*/ 1517618 w 2354030"/>
                <a:gd name="connsiteY9" fmla="*/ 2075688 h 2426398"/>
                <a:gd name="connsiteX10" fmla="*/ 1531239 w 2354030"/>
                <a:gd name="connsiteY10" fmla="*/ 2006156 h 2426398"/>
                <a:gd name="connsiteX11" fmla="*/ 1531048 w 2354030"/>
                <a:gd name="connsiteY11" fmla="*/ 2006156 h 2426398"/>
                <a:gd name="connsiteX12" fmla="*/ 1525524 w 2354030"/>
                <a:gd name="connsiteY12" fmla="*/ 2002441 h 2426398"/>
                <a:gd name="connsiteX13" fmla="*/ 1523905 w 2354030"/>
                <a:gd name="connsiteY13" fmla="*/ 1951863 h 2426398"/>
                <a:gd name="connsiteX14" fmla="*/ 1529048 w 2354030"/>
                <a:gd name="connsiteY14" fmla="*/ 1929860 h 2426398"/>
                <a:gd name="connsiteX15" fmla="*/ 1528096 w 2354030"/>
                <a:gd name="connsiteY15" fmla="*/ 1912430 h 2426398"/>
                <a:gd name="connsiteX16" fmla="*/ 1531715 w 2354030"/>
                <a:gd name="connsiteY16" fmla="*/ 1888141 h 2426398"/>
                <a:gd name="connsiteX17" fmla="*/ 1528572 w 2354030"/>
                <a:gd name="connsiteY17" fmla="*/ 1876901 h 2426398"/>
                <a:gd name="connsiteX18" fmla="*/ 1542669 w 2354030"/>
                <a:gd name="connsiteY18" fmla="*/ 1872329 h 2426398"/>
                <a:gd name="connsiteX19" fmla="*/ 1546765 w 2354030"/>
                <a:gd name="connsiteY19" fmla="*/ 1880521 h 2426398"/>
                <a:gd name="connsiteX20" fmla="*/ 1569434 w 2354030"/>
                <a:gd name="connsiteY20" fmla="*/ 1851279 h 2426398"/>
                <a:gd name="connsiteX21" fmla="*/ 1620774 w 2354030"/>
                <a:gd name="connsiteY21" fmla="*/ 1811655 h 2426398"/>
                <a:gd name="connsiteX22" fmla="*/ 1628108 w 2354030"/>
                <a:gd name="connsiteY22" fmla="*/ 1802702 h 2426398"/>
                <a:gd name="connsiteX23" fmla="*/ 1658874 w 2354030"/>
                <a:gd name="connsiteY23" fmla="*/ 1790129 h 2426398"/>
                <a:gd name="connsiteX24" fmla="*/ 1673733 w 2354030"/>
                <a:gd name="connsiteY24" fmla="*/ 1782128 h 2426398"/>
                <a:gd name="connsiteX25" fmla="*/ 1673733 w 2354030"/>
                <a:gd name="connsiteY25" fmla="*/ 1782128 h 2426398"/>
                <a:gd name="connsiteX26" fmla="*/ 1681353 w 2354030"/>
                <a:gd name="connsiteY26" fmla="*/ 1775841 h 2426398"/>
                <a:gd name="connsiteX27" fmla="*/ 1700308 w 2354030"/>
                <a:gd name="connsiteY27" fmla="*/ 1774031 h 2426398"/>
                <a:gd name="connsiteX28" fmla="*/ 1726121 w 2354030"/>
                <a:gd name="connsiteY28" fmla="*/ 1777746 h 2426398"/>
                <a:gd name="connsiteX29" fmla="*/ 1723549 w 2354030"/>
                <a:gd name="connsiteY29" fmla="*/ 1770126 h 2426398"/>
                <a:gd name="connsiteX30" fmla="*/ 1720501 w 2354030"/>
                <a:gd name="connsiteY30" fmla="*/ 1768126 h 2426398"/>
                <a:gd name="connsiteX31" fmla="*/ 1720596 w 2354030"/>
                <a:gd name="connsiteY31" fmla="*/ 1762411 h 2426398"/>
                <a:gd name="connsiteX32" fmla="*/ 1740122 w 2354030"/>
                <a:gd name="connsiteY32" fmla="*/ 1750695 h 2426398"/>
                <a:gd name="connsiteX33" fmla="*/ 1750123 w 2354030"/>
                <a:gd name="connsiteY33" fmla="*/ 1748409 h 2426398"/>
                <a:gd name="connsiteX34" fmla="*/ 1761839 w 2354030"/>
                <a:gd name="connsiteY34" fmla="*/ 1749552 h 2426398"/>
                <a:gd name="connsiteX35" fmla="*/ 1767459 w 2354030"/>
                <a:gd name="connsiteY35" fmla="*/ 1738027 h 2426398"/>
                <a:gd name="connsiteX36" fmla="*/ 1760696 w 2354030"/>
                <a:gd name="connsiteY36" fmla="*/ 1729454 h 2426398"/>
                <a:gd name="connsiteX37" fmla="*/ 1765364 w 2354030"/>
                <a:gd name="connsiteY37" fmla="*/ 1723930 h 2426398"/>
                <a:gd name="connsiteX38" fmla="*/ 1802130 w 2354030"/>
                <a:gd name="connsiteY38" fmla="*/ 1715643 h 2426398"/>
                <a:gd name="connsiteX39" fmla="*/ 1812036 w 2354030"/>
                <a:gd name="connsiteY39" fmla="*/ 1717167 h 2426398"/>
                <a:gd name="connsiteX40" fmla="*/ 1820989 w 2354030"/>
                <a:gd name="connsiteY40" fmla="*/ 1722406 h 2426398"/>
                <a:gd name="connsiteX41" fmla="*/ 1830991 w 2354030"/>
                <a:gd name="connsiteY41" fmla="*/ 1724406 h 2426398"/>
                <a:gd name="connsiteX42" fmla="*/ 1847088 w 2354030"/>
                <a:gd name="connsiteY42" fmla="*/ 1722215 h 2426398"/>
                <a:gd name="connsiteX43" fmla="*/ 1850612 w 2354030"/>
                <a:gd name="connsiteY43" fmla="*/ 1716405 h 2426398"/>
                <a:gd name="connsiteX44" fmla="*/ 1849374 w 2354030"/>
                <a:gd name="connsiteY44" fmla="*/ 1712976 h 2426398"/>
                <a:gd name="connsiteX45" fmla="*/ 1852803 w 2354030"/>
                <a:gd name="connsiteY45" fmla="*/ 1706404 h 2426398"/>
                <a:gd name="connsiteX46" fmla="*/ 1858899 w 2354030"/>
                <a:gd name="connsiteY46" fmla="*/ 1704689 h 2426398"/>
                <a:gd name="connsiteX47" fmla="*/ 1863852 w 2354030"/>
                <a:gd name="connsiteY47" fmla="*/ 1708595 h 2426398"/>
                <a:gd name="connsiteX48" fmla="*/ 1863566 w 2354030"/>
                <a:gd name="connsiteY48" fmla="*/ 1716119 h 2426398"/>
                <a:gd name="connsiteX49" fmla="*/ 1868710 w 2354030"/>
                <a:gd name="connsiteY49" fmla="*/ 1721549 h 2426398"/>
                <a:gd name="connsiteX50" fmla="*/ 1912811 w 2354030"/>
                <a:gd name="connsiteY50" fmla="*/ 1721549 h 2426398"/>
                <a:gd name="connsiteX51" fmla="*/ 1925288 w 2354030"/>
                <a:gd name="connsiteY51" fmla="*/ 1713262 h 2426398"/>
                <a:gd name="connsiteX52" fmla="*/ 1925860 w 2354030"/>
                <a:gd name="connsiteY52" fmla="*/ 1704594 h 2426398"/>
                <a:gd name="connsiteX53" fmla="*/ 1921193 w 2354030"/>
                <a:gd name="connsiteY53" fmla="*/ 1697450 h 2426398"/>
                <a:gd name="connsiteX54" fmla="*/ 1923098 w 2354030"/>
                <a:gd name="connsiteY54" fmla="*/ 1690497 h 2426398"/>
                <a:gd name="connsiteX55" fmla="*/ 1979676 w 2354030"/>
                <a:gd name="connsiteY55" fmla="*/ 1662494 h 2426398"/>
                <a:gd name="connsiteX56" fmla="*/ 1983581 w 2354030"/>
                <a:gd name="connsiteY56" fmla="*/ 1654778 h 2426398"/>
                <a:gd name="connsiteX57" fmla="*/ 1980057 w 2354030"/>
                <a:gd name="connsiteY57" fmla="*/ 1634204 h 2426398"/>
                <a:gd name="connsiteX58" fmla="*/ 1981390 w 2354030"/>
                <a:gd name="connsiteY58" fmla="*/ 1623917 h 2426398"/>
                <a:gd name="connsiteX59" fmla="*/ 1993868 w 2354030"/>
                <a:gd name="connsiteY59" fmla="*/ 1596009 h 2426398"/>
                <a:gd name="connsiteX60" fmla="*/ 2003679 w 2354030"/>
                <a:gd name="connsiteY60" fmla="*/ 1587151 h 2426398"/>
                <a:gd name="connsiteX61" fmla="*/ 2011299 w 2354030"/>
                <a:gd name="connsiteY61" fmla="*/ 1580007 h 2426398"/>
                <a:gd name="connsiteX62" fmla="*/ 2028539 w 2354030"/>
                <a:gd name="connsiteY62" fmla="*/ 1551527 h 2426398"/>
                <a:gd name="connsiteX63" fmla="*/ 2035302 w 2354030"/>
                <a:gd name="connsiteY63" fmla="*/ 1531334 h 2426398"/>
                <a:gd name="connsiteX64" fmla="*/ 2054447 w 2354030"/>
                <a:gd name="connsiteY64" fmla="*/ 1499330 h 2426398"/>
                <a:gd name="connsiteX65" fmla="*/ 2057972 w 2354030"/>
                <a:gd name="connsiteY65" fmla="*/ 1489424 h 2426398"/>
                <a:gd name="connsiteX66" fmla="*/ 2064068 w 2354030"/>
                <a:gd name="connsiteY66" fmla="*/ 1426178 h 2426398"/>
                <a:gd name="connsiteX67" fmla="*/ 2068449 w 2354030"/>
                <a:gd name="connsiteY67" fmla="*/ 1417034 h 2426398"/>
                <a:gd name="connsiteX68" fmla="*/ 2091404 w 2354030"/>
                <a:gd name="connsiteY68" fmla="*/ 1395127 h 2426398"/>
                <a:gd name="connsiteX69" fmla="*/ 2091976 w 2354030"/>
                <a:gd name="connsiteY69" fmla="*/ 1353026 h 2426398"/>
                <a:gd name="connsiteX70" fmla="*/ 2110359 w 2354030"/>
                <a:gd name="connsiteY70" fmla="*/ 1274064 h 2426398"/>
                <a:gd name="connsiteX71" fmla="*/ 2100167 w 2354030"/>
                <a:gd name="connsiteY71" fmla="*/ 1216628 h 2426398"/>
                <a:gd name="connsiteX72" fmla="*/ 2103691 w 2354030"/>
                <a:gd name="connsiteY72" fmla="*/ 1180529 h 2426398"/>
                <a:gd name="connsiteX73" fmla="*/ 2102453 w 2354030"/>
                <a:gd name="connsiteY73" fmla="*/ 1130808 h 2426398"/>
                <a:gd name="connsiteX74" fmla="*/ 2112836 w 2354030"/>
                <a:gd name="connsiteY74" fmla="*/ 1115854 h 2426398"/>
                <a:gd name="connsiteX75" fmla="*/ 2105692 w 2354030"/>
                <a:gd name="connsiteY75" fmla="*/ 1106043 h 2426398"/>
                <a:gd name="connsiteX76" fmla="*/ 2111502 w 2354030"/>
                <a:gd name="connsiteY76" fmla="*/ 1087660 h 2426398"/>
                <a:gd name="connsiteX77" fmla="*/ 2129123 w 2354030"/>
                <a:gd name="connsiteY77" fmla="*/ 1083088 h 2426398"/>
                <a:gd name="connsiteX78" fmla="*/ 2136839 w 2354030"/>
                <a:gd name="connsiteY78" fmla="*/ 1102614 h 2426398"/>
                <a:gd name="connsiteX79" fmla="*/ 2154841 w 2354030"/>
                <a:gd name="connsiteY79" fmla="*/ 1091851 h 2426398"/>
                <a:gd name="connsiteX80" fmla="*/ 2228088 w 2354030"/>
                <a:gd name="connsiteY80" fmla="*/ 971741 h 2426398"/>
                <a:gd name="connsiteX81" fmla="*/ 2264378 w 2354030"/>
                <a:gd name="connsiteY81" fmla="*/ 943737 h 2426398"/>
                <a:gd name="connsiteX82" fmla="*/ 2332006 w 2354030"/>
                <a:gd name="connsiteY82" fmla="*/ 855821 h 2426398"/>
                <a:gd name="connsiteX83" fmla="*/ 2353247 w 2354030"/>
                <a:gd name="connsiteY83" fmla="*/ 752666 h 2426398"/>
                <a:gd name="connsiteX84" fmla="*/ 2312384 w 2354030"/>
                <a:gd name="connsiteY84" fmla="*/ 629793 h 2426398"/>
                <a:gd name="connsiteX85" fmla="*/ 2279428 w 2354030"/>
                <a:gd name="connsiteY85" fmla="*/ 622459 h 2426398"/>
                <a:gd name="connsiteX86" fmla="*/ 2265616 w 2354030"/>
                <a:gd name="connsiteY86" fmla="*/ 623602 h 2426398"/>
                <a:gd name="connsiteX87" fmla="*/ 2234184 w 2354030"/>
                <a:gd name="connsiteY87" fmla="*/ 618839 h 2426398"/>
                <a:gd name="connsiteX88" fmla="*/ 2225707 w 2354030"/>
                <a:gd name="connsiteY88" fmla="*/ 615029 h 2426398"/>
                <a:gd name="connsiteX89" fmla="*/ 2215896 w 2354030"/>
                <a:gd name="connsiteY89" fmla="*/ 614458 h 2426398"/>
                <a:gd name="connsiteX90" fmla="*/ 2207038 w 2354030"/>
                <a:gd name="connsiteY90" fmla="*/ 607790 h 2426398"/>
                <a:gd name="connsiteX91" fmla="*/ 2199323 w 2354030"/>
                <a:gd name="connsiteY91" fmla="*/ 601313 h 2426398"/>
                <a:gd name="connsiteX92" fmla="*/ 2191607 w 2354030"/>
                <a:gd name="connsiteY92" fmla="*/ 598742 h 2426398"/>
                <a:gd name="connsiteX93" fmla="*/ 2179320 w 2354030"/>
                <a:gd name="connsiteY93" fmla="*/ 586645 h 2426398"/>
                <a:gd name="connsiteX94" fmla="*/ 2162747 w 2354030"/>
                <a:gd name="connsiteY94" fmla="*/ 573024 h 2426398"/>
                <a:gd name="connsiteX95" fmla="*/ 2138458 w 2354030"/>
                <a:gd name="connsiteY95" fmla="*/ 545306 h 2426398"/>
                <a:gd name="connsiteX96" fmla="*/ 2118074 w 2354030"/>
                <a:gd name="connsiteY96" fmla="*/ 535210 h 2426398"/>
                <a:gd name="connsiteX97" fmla="*/ 2083213 w 2354030"/>
                <a:gd name="connsiteY97" fmla="*/ 509492 h 2426398"/>
                <a:gd name="connsiteX98" fmla="*/ 2014061 w 2354030"/>
                <a:gd name="connsiteY98" fmla="*/ 486728 h 2426398"/>
                <a:gd name="connsiteX99" fmla="*/ 1957578 w 2354030"/>
                <a:gd name="connsiteY99" fmla="*/ 492252 h 2426398"/>
                <a:gd name="connsiteX100" fmla="*/ 1933956 w 2354030"/>
                <a:gd name="connsiteY100" fmla="*/ 482727 h 2426398"/>
                <a:gd name="connsiteX101" fmla="*/ 1911953 w 2354030"/>
                <a:gd name="connsiteY101" fmla="*/ 479679 h 2426398"/>
                <a:gd name="connsiteX102" fmla="*/ 1903381 w 2354030"/>
                <a:gd name="connsiteY102" fmla="*/ 486346 h 2426398"/>
                <a:gd name="connsiteX103" fmla="*/ 1874520 w 2354030"/>
                <a:gd name="connsiteY103" fmla="*/ 467773 h 2426398"/>
                <a:gd name="connsiteX104" fmla="*/ 1839563 w 2354030"/>
                <a:gd name="connsiteY104" fmla="*/ 459962 h 2426398"/>
                <a:gd name="connsiteX105" fmla="*/ 1831943 w 2354030"/>
                <a:gd name="connsiteY105" fmla="*/ 468916 h 2426398"/>
                <a:gd name="connsiteX106" fmla="*/ 1829657 w 2354030"/>
                <a:gd name="connsiteY106" fmla="*/ 468916 h 2426398"/>
                <a:gd name="connsiteX107" fmla="*/ 1822799 w 2354030"/>
                <a:gd name="connsiteY107" fmla="*/ 457200 h 2426398"/>
                <a:gd name="connsiteX108" fmla="*/ 1810607 w 2354030"/>
                <a:gd name="connsiteY108" fmla="*/ 468821 h 2426398"/>
                <a:gd name="connsiteX109" fmla="*/ 1805369 w 2354030"/>
                <a:gd name="connsiteY109" fmla="*/ 483203 h 2426398"/>
                <a:gd name="connsiteX110" fmla="*/ 1792796 w 2354030"/>
                <a:gd name="connsiteY110" fmla="*/ 486918 h 2426398"/>
                <a:gd name="connsiteX111" fmla="*/ 1796320 w 2354030"/>
                <a:gd name="connsiteY111" fmla="*/ 476631 h 2426398"/>
                <a:gd name="connsiteX112" fmla="*/ 1796415 w 2354030"/>
                <a:gd name="connsiteY112" fmla="*/ 476631 h 2426398"/>
                <a:gd name="connsiteX113" fmla="*/ 1798606 w 2354030"/>
                <a:gd name="connsiteY113" fmla="*/ 466154 h 2426398"/>
                <a:gd name="connsiteX114" fmla="*/ 1782699 w 2354030"/>
                <a:gd name="connsiteY114" fmla="*/ 475298 h 2426398"/>
                <a:gd name="connsiteX115" fmla="*/ 1768031 w 2354030"/>
                <a:gd name="connsiteY115" fmla="*/ 495014 h 2426398"/>
                <a:gd name="connsiteX116" fmla="*/ 1765364 w 2354030"/>
                <a:gd name="connsiteY116" fmla="*/ 480155 h 2426398"/>
                <a:gd name="connsiteX117" fmla="*/ 1778698 w 2354030"/>
                <a:gd name="connsiteY117" fmla="*/ 454343 h 2426398"/>
                <a:gd name="connsiteX118" fmla="*/ 1772412 w 2354030"/>
                <a:gd name="connsiteY118" fmla="*/ 449199 h 2426398"/>
                <a:gd name="connsiteX119" fmla="*/ 1770888 w 2354030"/>
                <a:gd name="connsiteY119" fmla="*/ 450342 h 2426398"/>
                <a:gd name="connsiteX120" fmla="*/ 1765364 w 2354030"/>
                <a:gd name="connsiteY120" fmla="*/ 441103 h 2426398"/>
                <a:gd name="connsiteX121" fmla="*/ 1769364 w 2354030"/>
                <a:gd name="connsiteY121" fmla="*/ 437864 h 2426398"/>
                <a:gd name="connsiteX122" fmla="*/ 1770793 w 2354030"/>
                <a:gd name="connsiteY122" fmla="*/ 427292 h 2426398"/>
                <a:gd name="connsiteX123" fmla="*/ 1760030 w 2354030"/>
                <a:gd name="connsiteY123" fmla="*/ 415576 h 2426398"/>
                <a:gd name="connsiteX124" fmla="*/ 1756981 w 2354030"/>
                <a:gd name="connsiteY124" fmla="*/ 407098 h 2426398"/>
                <a:gd name="connsiteX125" fmla="*/ 1748123 w 2354030"/>
                <a:gd name="connsiteY125" fmla="*/ 406241 h 2426398"/>
                <a:gd name="connsiteX126" fmla="*/ 1743265 w 2354030"/>
                <a:gd name="connsiteY126" fmla="*/ 408908 h 2426398"/>
                <a:gd name="connsiteX127" fmla="*/ 1731169 w 2354030"/>
                <a:gd name="connsiteY127" fmla="*/ 407956 h 2426398"/>
                <a:gd name="connsiteX128" fmla="*/ 1723549 w 2354030"/>
                <a:gd name="connsiteY128" fmla="*/ 410242 h 2426398"/>
                <a:gd name="connsiteX129" fmla="*/ 1715548 w 2354030"/>
                <a:gd name="connsiteY129" fmla="*/ 398812 h 2426398"/>
                <a:gd name="connsiteX130" fmla="*/ 1714405 w 2354030"/>
                <a:gd name="connsiteY130" fmla="*/ 399479 h 2426398"/>
                <a:gd name="connsiteX131" fmla="*/ 1706499 w 2354030"/>
                <a:gd name="connsiteY131" fmla="*/ 397955 h 2426398"/>
                <a:gd name="connsiteX132" fmla="*/ 1696498 w 2354030"/>
                <a:gd name="connsiteY132" fmla="*/ 389954 h 2426398"/>
                <a:gd name="connsiteX133" fmla="*/ 1677829 w 2354030"/>
                <a:gd name="connsiteY133" fmla="*/ 379857 h 2426398"/>
                <a:gd name="connsiteX134" fmla="*/ 1677638 w 2354030"/>
                <a:gd name="connsiteY134" fmla="*/ 379476 h 2426398"/>
                <a:gd name="connsiteX135" fmla="*/ 1670304 w 2354030"/>
                <a:gd name="connsiteY135" fmla="*/ 375666 h 2426398"/>
                <a:gd name="connsiteX136" fmla="*/ 1658493 w 2354030"/>
                <a:gd name="connsiteY136" fmla="*/ 373380 h 2426398"/>
                <a:gd name="connsiteX137" fmla="*/ 1651635 w 2354030"/>
                <a:gd name="connsiteY137" fmla="*/ 370618 h 2426398"/>
                <a:gd name="connsiteX138" fmla="*/ 1637633 w 2354030"/>
                <a:gd name="connsiteY138" fmla="*/ 369761 h 2426398"/>
                <a:gd name="connsiteX139" fmla="*/ 1628394 w 2354030"/>
                <a:gd name="connsiteY139" fmla="*/ 364236 h 2426398"/>
                <a:gd name="connsiteX140" fmla="*/ 1616393 w 2354030"/>
                <a:gd name="connsiteY140" fmla="*/ 364046 h 2426398"/>
                <a:gd name="connsiteX141" fmla="*/ 1614869 w 2354030"/>
                <a:gd name="connsiteY141" fmla="*/ 360998 h 2426398"/>
                <a:gd name="connsiteX142" fmla="*/ 1605344 w 2354030"/>
                <a:gd name="connsiteY142" fmla="*/ 355187 h 2426398"/>
                <a:gd name="connsiteX143" fmla="*/ 1596009 w 2354030"/>
                <a:gd name="connsiteY143" fmla="*/ 360331 h 2426398"/>
                <a:gd name="connsiteX144" fmla="*/ 1586579 w 2354030"/>
                <a:gd name="connsiteY144" fmla="*/ 363474 h 2426398"/>
                <a:gd name="connsiteX145" fmla="*/ 1576006 w 2354030"/>
                <a:gd name="connsiteY145" fmla="*/ 353187 h 2426398"/>
                <a:gd name="connsiteX146" fmla="*/ 1555528 w 2354030"/>
                <a:gd name="connsiteY146" fmla="*/ 360331 h 2426398"/>
                <a:gd name="connsiteX147" fmla="*/ 1533620 w 2354030"/>
                <a:gd name="connsiteY147" fmla="*/ 392811 h 2426398"/>
                <a:gd name="connsiteX148" fmla="*/ 1528286 w 2354030"/>
                <a:gd name="connsiteY148" fmla="*/ 404336 h 2426398"/>
                <a:gd name="connsiteX149" fmla="*/ 1503712 w 2354030"/>
                <a:gd name="connsiteY149" fmla="*/ 415576 h 2426398"/>
                <a:gd name="connsiteX150" fmla="*/ 1513999 w 2354030"/>
                <a:gd name="connsiteY150" fmla="*/ 389668 h 2426398"/>
                <a:gd name="connsiteX151" fmla="*/ 1529620 w 2354030"/>
                <a:gd name="connsiteY151" fmla="*/ 367094 h 2426398"/>
                <a:gd name="connsiteX152" fmla="*/ 1506474 w 2354030"/>
                <a:gd name="connsiteY152" fmla="*/ 330518 h 2426398"/>
                <a:gd name="connsiteX153" fmla="*/ 1489615 w 2354030"/>
                <a:gd name="connsiteY153" fmla="*/ 328136 h 2426398"/>
                <a:gd name="connsiteX154" fmla="*/ 1456277 w 2354030"/>
                <a:gd name="connsiteY154" fmla="*/ 334613 h 2426398"/>
                <a:gd name="connsiteX155" fmla="*/ 1419130 w 2354030"/>
                <a:gd name="connsiteY155" fmla="*/ 322136 h 2426398"/>
                <a:gd name="connsiteX156" fmla="*/ 1419511 w 2354030"/>
                <a:gd name="connsiteY156" fmla="*/ 321469 h 2426398"/>
                <a:gd name="connsiteX157" fmla="*/ 1427607 w 2354030"/>
                <a:gd name="connsiteY157" fmla="*/ 317468 h 2426398"/>
                <a:gd name="connsiteX158" fmla="*/ 1439799 w 2354030"/>
                <a:gd name="connsiteY158" fmla="*/ 318992 h 2426398"/>
                <a:gd name="connsiteX159" fmla="*/ 1448276 w 2354030"/>
                <a:gd name="connsiteY159" fmla="*/ 315278 h 2426398"/>
                <a:gd name="connsiteX160" fmla="*/ 1458278 w 2354030"/>
                <a:gd name="connsiteY160" fmla="*/ 301371 h 2426398"/>
                <a:gd name="connsiteX161" fmla="*/ 1433131 w 2354030"/>
                <a:gd name="connsiteY161" fmla="*/ 296799 h 2426398"/>
                <a:gd name="connsiteX162" fmla="*/ 1433131 w 2354030"/>
                <a:gd name="connsiteY162" fmla="*/ 284607 h 2426398"/>
                <a:gd name="connsiteX163" fmla="*/ 1419035 w 2354030"/>
                <a:gd name="connsiteY163" fmla="*/ 291560 h 2426398"/>
                <a:gd name="connsiteX164" fmla="*/ 1402937 w 2354030"/>
                <a:gd name="connsiteY164" fmla="*/ 306134 h 2426398"/>
                <a:gd name="connsiteX165" fmla="*/ 1401223 w 2354030"/>
                <a:gd name="connsiteY165" fmla="*/ 305276 h 2426398"/>
                <a:gd name="connsiteX166" fmla="*/ 1399127 w 2354030"/>
                <a:gd name="connsiteY166" fmla="*/ 298228 h 2426398"/>
                <a:gd name="connsiteX167" fmla="*/ 1420273 w 2354030"/>
                <a:gd name="connsiteY167" fmla="*/ 270224 h 2426398"/>
                <a:gd name="connsiteX168" fmla="*/ 1440466 w 2354030"/>
                <a:gd name="connsiteY168" fmla="*/ 260795 h 2426398"/>
                <a:gd name="connsiteX169" fmla="*/ 1446276 w 2354030"/>
                <a:gd name="connsiteY169" fmla="*/ 240887 h 2426398"/>
                <a:gd name="connsiteX170" fmla="*/ 1438942 w 2354030"/>
                <a:gd name="connsiteY170" fmla="*/ 212217 h 2426398"/>
                <a:gd name="connsiteX171" fmla="*/ 1407890 w 2354030"/>
                <a:gd name="connsiteY171" fmla="*/ 208312 h 2426398"/>
                <a:gd name="connsiteX172" fmla="*/ 1393507 w 2354030"/>
                <a:gd name="connsiteY172" fmla="*/ 185166 h 2426398"/>
                <a:gd name="connsiteX173" fmla="*/ 1373791 w 2354030"/>
                <a:gd name="connsiteY173" fmla="*/ 124016 h 2426398"/>
                <a:gd name="connsiteX174" fmla="*/ 1374648 w 2354030"/>
                <a:gd name="connsiteY174" fmla="*/ 79820 h 2426398"/>
                <a:gd name="connsiteX175" fmla="*/ 1351121 w 2354030"/>
                <a:gd name="connsiteY175" fmla="*/ 58769 h 2426398"/>
                <a:gd name="connsiteX176" fmla="*/ 1339596 w 2354030"/>
                <a:gd name="connsiteY176" fmla="*/ 72771 h 2426398"/>
                <a:gd name="connsiteX177" fmla="*/ 1301020 w 2354030"/>
                <a:gd name="connsiteY177" fmla="*/ 127730 h 2426398"/>
                <a:gd name="connsiteX178" fmla="*/ 1286066 w 2354030"/>
                <a:gd name="connsiteY178" fmla="*/ 167735 h 2426398"/>
                <a:gd name="connsiteX179" fmla="*/ 1262253 w 2354030"/>
                <a:gd name="connsiteY179" fmla="*/ 186595 h 2426398"/>
                <a:gd name="connsiteX180" fmla="*/ 1240917 w 2354030"/>
                <a:gd name="connsiteY180" fmla="*/ 175355 h 2426398"/>
                <a:gd name="connsiteX181" fmla="*/ 1230154 w 2354030"/>
                <a:gd name="connsiteY181" fmla="*/ 181832 h 2426398"/>
                <a:gd name="connsiteX182" fmla="*/ 1216343 w 2354030"/>
                <a:gd name="connsiteY182" fmla="*/ 174212 h 2426398"/>
                <a:gd name="connsiteX183" fmla="*/ 1191482 w 2354030"/>
                <a:gd name="connsiteY183" fmla="*/ 190595 h 2426398"/>
                <a:gd name="connsiteX184" fmla="*/ 1144429 w 2354030"/>
                <a:gd name="connsiteY184" fmla="*/ 162687 h 2426398"/>
                <a:gd name="connsiteX185" fmla="*/ 1108139 w 2354030"/>
                <a:gd name="connsiteY185" fmla="*/ 173450 h 2426398"/>
                <a:gd name="connsiteX186" fmla="*/ 1085469 w 2354030"/>
                <a:gd name="connsiteY186" fmla="*/ 165640 h 2426398"/>
                <a:gd name="connsiteX187" fmla="*/ 1073753 w 2354030"/>
                <a:gd name="connsiteY187" fmla="*/ 179356 h 2426398"/>
                <a:gd name="connsiteX188" fmla="*/ 1089660 w 2354030"/>
                <a:gd name="connsiteY188" fmla="*/ 195739 h 2426398"/>
                <a:gd name="connsiteX189" fmla="*/ 1085469 w 2354030"/>
                <a:gd name="connsiteY189" fmla="*/ 206502 h 2426398"/>
                <a:gd name="connsiteX190" fmla="*/ 1022413 w 2354030"/>
                <a:gd name="connsiteY190" fmla="*/ 206312 h 2426398"/>
                <a:gd name="connsiteX191" fmla="*/ 1015079 w 2354030"/>
                <a:gd name="connsiteY191" fmla="*/ 196977 h 2426398"/>
                <a:gd name="connsiteX192" fmla="*/ 994220 w 2354030"/>
                <a:gd name="connsiteY192" fmla="*/ 201263 h 2426398"/>
                <a:gd name="connsiteX193" fmla="*/ 986980 w 2354030"/>
                <a:gd name="connsiteY193" fmla="*/ 215265 h 2426398"/>
                <a:gd name="connsiteX194" fmla="*/ 963263 w 2354030"/>
                <a:gd name="connsiteY194" fmla="*/ 223266 h 2426398"/>
                <a:gd name="connsiteX195" fmla="*/ 945833 w 2354030"/>
                <a:gd name="connsiteY195" fmla="*/ 219170 h 2426398"/>
                <a:gd name="connsiteX196" fmla="*/ 930593 w 2354030"/>
                <a:gd name="connsiteY196" fmla="*/ 229648 h 2426398"/>
                <a:gd name="connsiteX197" fmla="*/ 931831 w 2354030"/>
                <a:gd name="connsiteY197" fmla="*/ 239459 h 2426398"/>
                <a:gd name="connsiteX198" fmla="*/ 909828 w 2354030"/>
                <a:gd name="connsiteY198" fmla="*/ 246031 h 2426398"/>
                <a:gd name="connsiteX199" fmla="*/ 857441 w 2354030"/>
                <a:gd name="connsiteY199" fmla="*/ 206026 h 2426398"/>
                <a:gd name="connsiteX200" fmla="*/ 856583 w 2354030"/>
                <a:gd name="connsiteY200" fmla="*/ 179451 h 2426398"/>
                <a:gd name="connsiteX201" fmla="*/ 842010 w 2354030"/>
                <a:gd name="connsiteY201" fmla="*/ 153543 h 2426398"/>
                <a:gd name="connsiteX202" fmla="*/ 850678 w 2354030"/>
                <a:gd name="connsiteY202" fmla="*/ 101822 h 2426398"/>
                <a:gd name="connsiteX203" fmla="*/ 870776 w 2354030"/>
                <a:gd name="connsiteY203" fmla="*/ 83153 h 2426398"/>
                <a:gd name="connsiteX204" fmla="*/ 857441 w 2354030"/>
                <a:gd name="connsiteY204" fmla="*/ 52959 h 2426398"/>
                <a:gd name="connsiteX205" fmla="*/ 834580 w 2354030"/>
                <a:gd name="connsiteY205" fmla="*/ 46006 h 2426398"/>
                <a:gd name="connsiteX206" fmla="*/ 842296 w 2354030"/>
                <a:gd name="connsiteY206" fmla="*/ 13621 h 2426398"/>
                <a:gd name="connsiteX207" fmla="*/ 832485 w 2354030"/>
                <a:gd name="connsiteY207" fmla="*/ 0 h 2426398"/>
                <a:gd name="connsiteX208" fmla="*/ 799433 w 2354030"/>
                <a:gd name="connsiteY208" fmla="*/ 4858 h 2426398"/>
                <a:gd name="connsiteX209" fmla="*/ 805529 w 2354030"/>
                <a:gd name="connsiteY209" fmla="*/ 20860 h 2426398"/>
                <a:gd name="connsiteX210" fmla="*/ 781431 w 2354030"/>
                <a:gd name="connsiteY210" fmla="*/ 46196 h 2426398"/>
                <a:gd name="connsiteX211" fmla="*/ 754666 w 2354030"/>
                <a:gd name="connsiteY211" fmla="*/ 46673 h 2426398"/>
                <a:gd name="connsiteX212" fmla="*/ 748379 w 2354030"/>
                <a:gd name="connsiteY212" fmla="*/ 60293 h 2426398"/>
                <a:gd name="connsiteX213" fmla="*/ 713613 w 2354030"/>
                <a:gd name="connsiteY213" fmla="*/ 70676 h 2426398"/>
                <a:gd name="connsiteX214" fmla="*/ 699135 w 2354030"/>
                <a:gd name="connsiteY214" fmla="*/ 64960 h 2426398"/>
                <a:gd name="connsiteX215" fmla="*/ 676561 w 2354030"/>
                <a:gd name="connsiteY215" fmla="*/ 76295 h 2426398"/>
                <a:gd name="connsiteX216" fmla="*/ 676084 w 2354030"/>
                <a:gd name="connsiteY216" fmla="*/ 97822 h 2426398"/>
                <a:gd name="connsiteX217" fmla="*/ 665797 w 2354030"/>
                <a:gd name="connsiteY217" fmla="*/ 102775 h 2426398"/>
                <a:gd name="connsiteX218" fmla="*/ 641985 w 2354030"/>
                <a:gd name="connsiteY218" fmla="*/ 78677 h 2426398"/>
                <a:gd name="connsiteX219" fmla="*/ 608076 w 2354030"/>
                <a:gd name="connsiteY219" fmla="*/ 80963 h 2426398"/>
                <a:gd name="connsiteX220" fmla="*/ 599980 w 2354030"/>
                <a:gd name="connsiteY220" fmla="*/ 69056 h 2426398"/>
                <a:gd name="connsiteX221" fmla="*/ 578644 w 2354030"/>
                <a:gd name="connsiteY221" fmla="*/ 68390 h 2426398"/>
                <a:gd name="connsiteX222" fmla="*/ 566357 w 2354030"/>
                <a:gd name="connsiteY222" fmla="*/ 57912 h 2426398"/>
                <a:gd name="connsiteX223" fmla="*/ 549307 w 2354030"/>
                <a:gd name="connsiteY223" fmla="*/ 64294 h 2426398"/>
                <a:gd name="connsiteX224" fmla="*/ 588359 w 2354030"/>
                <a:gd name="connsiteY224" fmla="*/ 106204 h 2426398"/>
                <a:gd name="connsiteX225" fmla="*/ 587883 w 2354030"/>
                <a:gd name="connsiteY225" fmla="*/ 128969 h 2426398"/>
                <a:gd name="connsiteX226" fmla="*/ 604361 w 2354030"/>
                <a:gd name="connsiteY226" fmla="*/ 150209 h 2426398"/>
                <a:gd name="connsiteX227" fmla="*/ 600742 w 2354030"/>
                <a:gd name="connsiteY227" fmla="*/ 168116 h 2426398"/>
                <a:gd name="connsiteX228" fmla="*/ 639604 w 2354030"/>
                <a:gd name="connsiteY228" fmla="*/ 172021 h 2426398"/>
                <a:gd name="connsiteX229" fmla="*/ 636651 w 2354030"/>
                <a:gd name="connsiteY229" fmla="*/ 188023 h 2426398"/>
                <a:gd name="connsiteX230" fmla="*/ 600647 w 2354030"/>
                <a:gd name="connsiteY230" fmla="*/ 199644 h 2426398"/>
                <a:gd name="connsiteX231" fmla="*/ 594741 w 2354030"/>
                <a:gd name="connsiteY231" fmla="*/ 220313 h 2426398"/>
                <a:gd name="connsiteX232" fmla="*/ 580454 w 2354030"/>
                <a:gd name="connsiteY232" fmla="*/ 236125 h 2426398"/>
                <a:gd name="connsiteX233" fmla="*/ 576072 w 2354030"/>
                <a:gd name="connsiteY233" fmla="*/ 227171 h 2426398"/>
                <a:gd name="connsiteX234" fmla="*/ 539210 w 2354030"/>
                <a:gd name="connsiteY234" fmla="*/ 248221 h 2426398"/>
                <a:gd name="connsiteX235" fmla="*/ 518446 w 2354030"/>
                <a:gd name="connsiteY235" fmla="*/ 277559 h 2426398"/>
                <a:gd name="connsiteX236" fmla="*/ 503111 w 2354030"/>
                <a:gd name="connsiteY236" fmla="*/ 275082 h 2426398"/>
                <a:gd name="connsiteX237" fmla="*/ 509588 w 2354030"/>
                <a:gd name="connsiteY237" fmla="*/ 260604 h 2426398"/>
                <a:gd name="connsiteX238" fmla="*/ 497872 w 2354030"/>
                <a:gd name="connsiteY238" fmla="*/ 254127 h 2426398"/>
                <a:gd name="connsiteX239" fmla="*/ 464439 w 2354030"/>
                <a:gd name="connsiteY239" fmla="*/ 272701 h 2426398"/>
                <a:gd name="connsiteX240" fmla="*/ 434816 w 2354030"/>
                <a:gd name="connsiteY240" fmla="*/ 244031 h 2426398"/>
                <a:gd name="connsiteX241" fmla="*/ 411766 w 2354030"/>
                <a:gd name="connsiteY241" fmla="*/ 247364 h 2426398"/>
                <a:gd name="connsiteX242" fmla="*/ 411766 w 2354030"/>
                <a:gd name="connsiteY242" fmla="*/ 223933 h 2426398"/>
                <a:gd name="connsiteX243" fmla="*/ 392144 w 2354030"/>
                <a:gd name="connsiteY243" fmla="*/ 190691 h 2426398"/>
                <a:gd name="connsiteX244" fmla="*/ 374999 w 2354030"/>
                <a:gd name="connsiteY244" fmla="*/ 210788 h 2426398"/>
                <a:gd name="connsiteX245" fmla="*/ 362141 w 2354030"/>
                <a:gd name="connsiteY245" fmla="*/ 210788 h 2426398"/>
                <a:gd name="connsiteX246" fmla="*/ 348234 w 2354030"/>
                <a:gd name="connsiteY246" fmla="*/ 199168 h 2426398"/>
                <a:gd name="connsiteX247" fmla="*/ 342329 w 2354030"/>
                <a:gd name="connsiteY247" fmla="*/ 212884 h 2426398"/>
                <a:gd name="connsiteX248" fmla="*/ 250317 w 2354030"/>
                <a:gd name="connsiteY248" fmla="*/ 213265 h 2426398"/>
                <a:gd name="connsiteX249" fmla="*/ 250317 w 2354030"/>
                <a:gd name="connsiteY249" fmla="*/ 252413 h 2426398"/>
                <a:gd name="connsiteX250" fmla="*/ 281083 w 2354030"/>
                <a:gd name="connsiteY250" fmla="*/ 252413 h 2426398"/>
                <a:gd name="connsiteX251" fmla="*/ 292132 w 2354030"/>
                <a:gd name="connsiteY251" fmla="*/ 265271 h 2426398"/>
                <a:gd name="connsiteX252" fmla="*/ 291465 w 2354030"/>
                <a:gd name="connsiteY252" fmla="*/ 284988 h 2426398"/>
                <a:gd name="connsiteX253" fmla="*/ 268319 w 2354030"/>
                <a:gd name="connsiteY253" fmla="*/ 275939 h 2426398"/>
                <a:gd name="connsiteX254" fmla="*/ 237077 w 2354030"/>
                <a:gd name="connsiteY254" fmla="*/ 281559 h 2426398"/>
                <a:gd name="connsiteX255" fmla="*/ 237077 w 2354030"/>
                <a:gd name="connsiteY255" fmla="*/ 324803 h 2426398"/>
                <a:gd name="connsiteX256" fmla="*/ 262795 w 2354030"/>
                <a:gd name="connsiteY256" fmla="*/ 344615 h 2426398"/>
                <a:gd name="connsiteX257" fmla="*/ 266224 w 2354030"/>
                <a:gd name="connsiteY257" fmla="*/ 368903 h 2426398"/>
                <a:gd name="connsiteX258" fmla="*/ 280321 w 2354030"/>
                <a:gd name="connsiteY258" fmla="*/ 391192 h 2426398"/>
                <a:gd name="connsiteX259" fmla="*/ 273463 w 2354030"/>
                <a:gd name="connsiteY259" fmla="*/ 405098 h 2426398"/>
                <a:gd name="connsiteX260" fmla="*/ 244697 w 2354030"/>
                <a:gd name="connsiteY260" fmla="*/ 581692 h 2426398"/>
                <a:gd name="connsiteX261" fmla="*/ 221456 w 2354030"/>
                <a:gd name="connsiteY261" fmla="*/ 576358 h 2426398"/>
                <a:gd name="connsiteX262" fmla="*/ 217837 w 2354030"/>
                <a:gd name="connsiteY262" fmla="*/ 565976 h 2426398"/>
                <a:gd name="connsiteX263" fmla="*/ 192691 w 2354030"/>
                <a:gd name="connsiteY263" fmla="*/ 567309 h 2426398"/>
                <a:gd name="connsiteX264" fmla="*/ 182213 w 2354030"/>
                <a:gd name="connsiteY264" fmla="*/ 580263 h 2426398"/>
                <a:gd name="connsiteX265" fmla="*/ 129826 w 2354030"/>
                <a:gd name="connsiteY265" fmla="*/ 587121 h 2426398"/>
                <a:gd name="connsiteX266" fmla="*/ 67627 w 2354030"/>
                <a:gd name="connsiteY266" fmla="*/ 624840 h 2426398"/>
                <a:gd name="connsiteX267" fmla="*/ 50578 w 2354030"/>
                <a:gd name="connsiteY267" fmla="*/ 679133 h 2426398"/>
                <a:gd name="connsiteX268" fmla="*/ 52388 w 2354030"/>
                <a:gd name="connsiteY268" fmla="*/ 705326 h 2426398"/>
                <a:gd name="connsiteX269" fmla="*/ 15812 w 2354030"/>
                <a:gd name="connsiteY269" fmla="*/ 727043 h 2426398"/>
                <a:gd name="connsiteX270" fmla="*/ 17717 w 2354030"/>
                <a:gd name="connsiteY270" fmla="*/ 754285 h 2426398"/>
                <a:gd name="connsiteX271" fmla="*/ 0 w 2354030"/>
                <a:gd name="connsiteY271" fmla="*/ 759143 h 2426398"/>
                <a:gd name="connsiteX272" fmla="*/ 1048 w 2354030"/>
                <a:gd name="connsiteY272" fmla="*/ 780479 h 2426398"/>
                <a:gd name="connsiteX273" fmla="*/ 17717 w 2354030"/>
                <a:gd name="connsiteY273" fmla="*/ 790004 h 2426398"/>
                <a:gd name="connsiteX274" fmla="*/ 61341 w 2354030"/>
                <a:gd name="connsiteY274" fmla="*/ 856679 h 2426398"/>
                <a:gd name="connsiteX275" fmla="*/ 48196 w 2354030"/>
                <a:gd name="connsiteY275" fmla="*/ 883253 h 2426398"/>
                <a:gd name="connsiteX276" fmla="*/ 101727 w 2354030"/>
                <a:gd name="connsiteY276" fmla="*/ 890969 h 2426398"/>
                <a:gd name="connsiteX277" fmla="*/ 109633 w 2354030"/>
                <a:gd name="connsiteY277" fmla="*/ 919639 h 2426398"/>
                <a:gd name="connsiteX278" fmla="*/ 162687 w 2354030"/>
                <a:gd name="connsiteY278" fmla="*/ 919639 h 2426398"/>
                <a:gd name="connsiteX279" fmla="*/ 210026 w 2354030"/>
                <a:gd name="connsiteY279" fmla="*/ 877538 h 2426398"/>
                <a:gd name="connsiteX280" fmla="*/ 209550 w 2354030"/>
                <a:gd name="connsiteY280" fmla="*/ 907351 h 2426398"/>
                <a:gd name="connsiteX281" fmla="*/ 202121 w 2354030"/>
                <a:gd name="connsiteY281" fmla="*/ 914209 h 2426398"/>
                <a:gd name="connsiteX282" fmla="*/ 202121 w 2354030"/>
                <a:gd name="connsiteY282" fmla="*/ 981361 h 2426398"/>
                <a:gd name="connsiteX283" fmla="*/ 213360 w 2354030"/>
                <a:gd name="connsiteY283" fmla="*/ 976884 h 2426398"/>
                <a:gd name="connsiteX284" fmla="*/ 221266 w 2354030"/>
                <a:gd name="connsiteY284" fmla="*/ 984790 h 2426398"/>
                <a:gd name="connsiteX285" fmla="*/ 244316 w 2354030"/>
                <a:gd name="connsiteY285" fmla="*/ 974884 h 2426398"/>
                <a:gd name="connsiteX286" fmla="*/ 312611 w 2354030"/>
                <a:gd name="connsiteY286" fmla="*/ 977932 h 2426398"/>
                <a:gd name="connsiteX287" fmla="*/ 315182 w 2354030"/>
                <a:gd name="connsiteY287" fmla="*/ 990886 h 2426398"/>
                <a:gd name="connsiteX288" fmla="*/ 341947 w 2354030"/>
                <a:gd name="connsiteY288" fmla="*/ 983075 h 2426398"/>
                <a:gd name="connsiteX289" fmla="*/ 357188 w 2354030"/>
                <a:gd name="connsiteY289" fmla="*/ 960596 h 2426398"/>
                <a:gd name="connsiteX290" fmla="*/ 378333 w 2354030"/>
                <a:gd name="connsiteY290" fmla="*/ 962025 h 2426398"/>
                <a:gd name="connsiteX291" fmla="*/ 442341 w 2354030"/>
                <a:gd name="connsiteY291" fmla="*/ 914019 h 2426398"/>
                <a:gd name="connsiteX292" fmla="*/ 499491 w 2354030"/>
                <a:gd name="connsiteY292" fmla="*/ 907161 h 2426398"/>
                <a:gd name="connsiteX293" fmla="*/ 511397 w 2354030"/>
                <a:gd name="connsiteY293" fmla="*/ 897065 h 2426398"/>
                <a:gd name="connsiteX294" fmla="*/ 524732 w 2354030"/>
                <a:gd name="connsiteY294" fmla="*/ 905066 h 2426398"/>
                <a:gd name="connsiteX295" fmla="*/ 524732 w 2354030"/>
                <a:gd name="connsiteY295" fmla="*/ 936403 h 2426398"/>
                <a:gd name="connsiteX296" fmla="*/ 513207 w 2354030"/>
                <a:gd name="connsiteY296" fmla="*/ 948309 h 2426398"/>
                <a:gd name="connsiteX297" fmla="*/ 524732 w 2354030"/>
                <a:gd name="connsiteY297" fmla="*/ 982313 h 2426398"/>
                <a:gd name="connsiteX298" fmla="*/ 517493 w 2354030"/>
                <a:gd name="connsiteY298" fmla="*/ 998030 h 2426398"/>
                <a:gd name="connsiteX299" fmla="*/ 538353 w 2354030"/>
                <a:gd name="connsiteY299" fmla="*/ 1040130 h 2426398"/>
                <a:gd name="connsiteX300" fmla="*/ 569595 w 2354030"/>
                <a:gd name="connsiteY300" fmla="*/ 1055465 h 2426398"/>
                <a:gd name="connsiteX301" fmla="*/ 569595 w 2354030"/>
                <a:gd name="connsiteY301" fmla="*/ 1069562 h 2426398"/>
                <a:gd name="connsiteX302" fmla="*/ 600647 w 2354030"/>
                <a:gd name="connsiteY302" fmla="*/ 1076897 h 2426398"/>
                <a:gd name="connsiteX303" fmla="*/ 613029 w 2354030"/>
                <a:gd name="connsiteY303" fmla="*/ 1069848 h 2426398"/>
                <a:gd name="connsiteX304" fmla="*/ 653129 w 2354030"/>
                <a:gd name="connsiteY304" fmla="*/ 1081659 h 2426398"/>
                <a:gd name="connsiteX305" fmla="*/ 673322 w 2354030"/>
                <a:gd name="connsiteY305" fmla="*/ 1104900 h 2426398"/>
                <a:gd name="connsiteX306" fmla="*/ 710946 w 2354030"/>
                <a:gd name="connsiteY306" fmla="*/ 1109567 h 2426398"/>
                <a:gd name="connsiteX307" fmla="*/ 734663 w 2354030"/>
                <a:gd name="connsiteY307" fmla="*/ 1136999 h 2426398"/>
                <a:gd name="connsiteX308" fmla="*/ 776097 w 2354030"/>
                <a:gd name="connsiteY308" fmla="*/ 1131284 h 2426398"/>
                <a:gd name="connsiteX309" fmla="*/ 812197 w 2354030"/>
                <a:gd name="connsiteY309" fmla="*/ 1146524 h 2426398"/>
                <a:gd name="connsiteX310" fmla="*/ 820960 w 2354030"/>
                <a:gd name="connsiteY310" fmla="*/ 1163955 h 2426398"/>
                <a:gd name="connsiteX311" fmla="*/ 813816 w 2354030"/>
                <a:gd name="connsiteY311" fmla="*/ 1177671 h 2426398"/>
                <a:gd name="connsiteX312" fmla="*/ 820674 w 2354030"/>
                <a:gd name="connsiteY312" fmla="*/ 1195102 h 2426398"/>
                <a:gd name="connsiteX313" fmla="*/ 820103 w 2354030"/>
                <a:gd name="connsiteY313" fmla="*/ 1230630 h 2426398"/>
                <a:gd name="connsiteX314" fmla="*/ 812483 w 2354030"/>
                <a:gd name="connsiteY314" fmla="*/ 1237679 h 2426398"/>
                <a:gd name="connsiteX315" fmla="*/ 827437 w 2354030"/>
                <a:gd name="connsiteY315" fmla="*/ 1253681 h 2426398"/>
                <a:gd name="connsiteX316" fmla="*/ 830675 w 2354030"/>
                <a:gd name="connsiteY316" fmla="*/ 1299496 h 2426398"/>
                <a:gd name="connsiteX317" fmla="*/ 941737 w 2354030"/>
                <a:gd name="connsiteY317" fmla="*/ 1299496 h 2426398"/>
                <a:gd name="connsiteX318" fmla="*/ 945451 w 2354030"/>
                <a:gd name="connsiteY318" fmla="*/ 1314736 h 2426398"/>
                <a:gd name="connsiteX319" fmla="*/ 932593 w 2354030"/>
                <a:gd name="connsiteY319" fmla="*/ 1326833 h 2426398"/>
                <a:gd name="connsiteX320" fmla="*/ 935736 w 2354030"/>
                <a:gd name="connsiteY320" fmla="*/ 1363790 h 2426398"/>
                <a:gd name="connsiteX321" fmla="*/ 975074 w 2354030"/>
                <a:gd name="connsiteY321" fmla="*/ 1383506 h 2426398"/>
                <a:gd name="connsiteX322" fmla="*/ 990409 w 2354030"/>
                <a:gd name="connsiteY322" fmla="*/ 1421225 h 2426398"/>
                <a:gd name="connsiteX323" fmla="*/ 976598 w 2354030"/>
                <a:gd name="connsiteY323" fmla="*/ 1460754 h 2426398"/>
                <a:gd name="connsiteX324" fmla="*/ 980408 w 2354030"/>
                <a:gd name="connsiteY324" fmla="*/ 1477613 h 2426398"/>
                <a:gd name="connsiteX325" fmla="*/ 971741 w 2354030"/>
                <a:gd name="connsiteY325" fmla="*/ 1477804 h 2426398"/>
                <a:gd name="connsiteX326" fmla="*/ 957358 w 2354030"/>
                <a:gd name="connsiteY326" fmla="*/ 1511713 h 2426398"/>
                <a:gd name="connsiteX327" fmla="*/ 972407 w 2354030"/>
                <a:gd name="connsiteY327" fmla="*/ 1531144 h 2426398"/>
                <a:gd name="connsiteX328" fmla="*/ 952595 w 2354030"/>
                <a:gd name="connsiteY328" fmla="*/ 1546384 h 2426398"/>
                <a:gd name="connsiteX329" fmla="*/ 970883 w 2354030"/>
                <a:gd name="connsiteY329" fmla="*/ 1597819 h 2426398"/>
                <a:gd name="connsiteX330" fmla="*/ 962501 w 2354030"/>
                <a:gd name="connsiteY330" fmla="*/ 1664303 h 2426398"/>
                <a:gd name="connsiteX331" fmla="*/ 979170 w 2354030"/>
                <a:gd name="connsiteY331" fmla="*/ 1661541 h 2426398"/>
                <a:gd name="connsiteX332" fmla="*/ 991648 w 2354030"/>
                <a:gd name="connsiteY332" fmla="*/ 1674114 h 2426398"/>
                <a:gd name="connsiteX333" fmla="*/ 1034225 w 2354030"/>
                <a:gd name="connsiteY333" fmla="*/ 1678972 h 2426398"/>
                <a:gd name="connsiteX334" fmla="*/ 1058323 w 2354030"/>
                <a:gd name="connsiteY334" fmla="*/ 1663065 h 2426398"/>
                <a:gd name="connsiteX335" fmla="*/ 1066324 w 2354030"/>
                <a:gd name="connsiteY335" fmla="*/ 1676781 h 2426398"/>
                <a:gd name="connsiteX336" fmla="*/ 1090708 w 2354030"/>
                <a:gd name="connsiteY336" fmla="*/ 1677448 h 2426398"/>
                <a:gd name="connsiteX337" fmla="*/ 1103567 w 2354030"/>
                <a:gd name="connsiteY337" fmla="*/ 1700022 h 2426398"/>
                <a:gd name="connsiteX338" fmla="*/ 1105948 w 2354030"/>
                <a:gd name="connsiteY338" fmla="*/ 1750886 h 2426398"/>
                <a:gd name="connsiteX339" fmla="*/ 1114997 w 2354030"/>
                <a:gd name="connsiteY339" fmla="*/ 1769174 h 2426398"/>
                <a:gd name="connsiteX340" fmla="*/ 1116521 w 2354030"/>
                <a:gd name="connsiteY340" fmla="*/ 1784699 h 2426398"/>
                <a:gd name="connsiteX341" fmla="*/ 1135952 w 2354030"/>
                <a:gd name="connsiteY341" fmla="*/ 1788414 h 2426398"/>
                <a:gd name="connsiteX342" fmla="*/ 1162526 w 2354030"/>
                <a:gd name="connsiteY342" fmla="*/ 1773650 h 2426398"/>
                <a:gd name="connsiteX343" fmla="*/ 1184053 w 2354030"/>
                <a:gd name="connsiteY343" fmla="*/ 1788414 h 2426398"/>
                <a:gd name="connsiteX344" fmla="*/ 1163955 w 2354030"/>
                <a:gd name="connsiteY344" fmla="*/ 1891760 h 2426398"/>
                <a:gd name="connsiteX345" fmla="*/ 1179862 w 2354030"/>
                <a:gd name="connsiteY345" fmla="*/ 1894142 h 2426398"/>
                <a:gd name="connsiteX346" fmla="*/ 1190435 w 2354030"/>
                <a:gd name="connsiteY346" fmla="*/ 1882426 h 2426398"/>
                <a:gd name="connsiteX347" fmla="*/ 1207294 w 2354030"/>
                <a:gd name="connsiteY347" fmla="*/ 1890903 h 2426398"/>
                <a:gd name="connsiteX348" fmla="*/ 1221010 w 2354030"/>
                <a:gd name="connsiteY348" fmla="*/ 1927574 h 2426398"/>
                <a:gd name="connsiteX349" fmla="*/ 1213390 w 2354030"/>
                <a:gd name="connsiteY349" fmla="*/ 1958912 h 2426398"/>
                <a:gd name="connsiteX350" fmla="*/ 1222915 w 2354030"/>
                <a:gd name="connsiteY350" fmla="*/ 1969961 h 2426398"/>
                <a:gd name="connsiteX351" fmla="*/ 1216247 w 2354030"/>
                <a:gd name="connsiteY351" fmla="*/ 1987677 h 2426398"/>
                <a:gd name="connsiteX352" fmla="*/ 1150334 w 2354030"/>
                <a:gd name="connsiteY352" fmla="*/ 2012918 h 2426398"/>
                <a:gd name="connsiteX353" fmla="*/ 1146143 w 2354030"/>
                <a:gd name="connsiteY353" fmla="*/ 2026444 h 2426398"/>
                <a:gd name="connsiteX354" fmla="*/ 1102709 w 2354030"/>
                <a:gd name="connsiteY354" fmla="*/ 2053876 h 2426398"/>
                <a:gd name="connsiteX355" fmla="*/ 1100423 w 2354030"/>
                <a:gd name="connsiteY355" fmla="*/ 2066925 h 2426398"/>
                <a:gd name="connsiteX356" fmla="*/ 1086707 w 2354030"/>
                <a:gd name="connsiteY356" fmla="*/ 2068163 h 2426398"/>
                <a:gd name="connsiteX357" fmla="*/ 1025462 w 2354030"/>
                <a:gd name="connsiteY357" fmla="*/ 2151317 h 2426398"/>
                <a:gd name="connsiteX358" fmla="*/ 1005364 w 2354030"/>
                <a:gd name="connsiteY358" fmla="*/ 2158461 h 2426398"/>
                <a:gd name="connsiteX359" fmla="*/ 982694 w 2354030"/>
                <a:gd name="connsiteY359" fmla="*/ 2189988 h 2426398"/>
                <a:gd name="connsiteX360" fmla="*/ 1007364 w 2354030"/>
                <a:gd name="connsiteY360" fmla="*/ 2192274 h 2426398"/>
                <a:gd name="connsiteX361" fmla="*/ 1019366 w 2354030"/>
                <a:gd name="connsiteY361" fmla="*/ 2181416 h 2426398"/>
                <a:gd name="connsiteX362" fmla="*/ 1035653 w 2354030"/>
                <a:gd name="connsiteY362" fmla="*/ 2181416 h 2426398"/>
                <a:gd name="connsiteX363" fmla="*/ 1081088 w 2354030"/>
                <a:gd name="connsiteY363" fmla="*/ 2226564 h 2426398"/>
                <a:gd name="connsiteX364" fmla="*/ 1074801 w 2354030"/>
                <a:gd name="connsiteY364" fmla="*/ 2246186 h 2426398"/>
                <a:gd name="connsiteX365" fmla="*/ 1092613 w 2354030"/>
                <a:gd name="connsiteY365" fmla="*/ 2247710 h 2426398"/>
                <a:gd name="connsiteX366" fmla="*/ 1105186 w 2354030"/>
                <a:gd name="connsiteY366" fmla="*/ 2231803 h 2426398"/>
                <a:gd name="connsiteX367" fmla="*/ 1134332 w 2354030"/>
                <a:gd name="connsiteY367" fmla="*/ 2261616 h 2426398"/>
                <a:gd name="connsiteX368" fmla="*/ 1141476 w 2354030"/>
                <a:gd name="connsiteY368" fmla="*/ 2256854 h 2426398"/>
                <a:gd name="connsiteX369" fmla="*/ 1151763 w 2354030"/>
                <a:gd name="connsiteY369" fmla="*/ 2268379 h 2426398"/>
                <a:gd name="connsiteX370" fmla="*/ 1165765 w 2354030"/>
                <a:gd name="connsiteY370" fmla="*/ 2270189 h 2426398"/>
                <a:gd name="connsiteX371" fmla="*/ 1190625 w 2354030"/>
                <a:gd name="connsiteY371" fmla="*/ 2298573 h 2426398"/>
                <a:gd name="connsiteX372" fmla="*/ 1212437 w 2354030"/>
                <a:gd name="connsiteY372" fmla="*/ 2305622 h 2426398"/>
                <a:gd name="connsiteX373" fmla="*/ 1228916 w 2354030"/>
                <a:gd name="connsiteY373" fmla="*/ 2337245 h 2426398"/>
                <a:gd name="connsiteX374" fmla="*/ 1251585 w 2354030"/>
                <a:gd name="connsiteY374" fmla="*/ 2350580 h 2426398"/>
                <a:gd name="connsiteX375" fmla="*/ 1251585 w 2354030"/>
                <a:gd name="connsiteY375" fmla="*/ 2350770 h 2426398"/>
                <a:gd name="connsiteX376" fmla="*/ 1254919 w 2354030"/>
                <a:gd name="connsiteY376" fmla="*/ 2346293 h 2426398"/>
                <a:gd name="connsiteX377" fmla="*/ 1264444 w 2354030"/>
                <a:gd name="connsiteY377" fmla="*/ 2339340 h 2426398"/>
                <a:gd name="connsiteX378" fmla="*/ 1275493 w 2354030"/>
                <a:gd name="connsiteY378" fmla="*/ 2341055 h 2426398"/>
                <a:gd name="connsiteX379" fmla="*/ 1276922 w 2354030"/>
                <a:gd name="connsiteY379" fmla="*/ 2360962 h 2426398"/>
                <a:gd name="connsiteX380" fmla="*/ 1271207 w 2354030"/>
                <a:gd name="connsiteY380" fmla="*/ 2368011 h 2426398"/>
                <a:gd name="connsiteX381" fmla="*/ 1244060 w 2354030"/>
                <a:gd name="connsiteY381" fmla="*/ 2384393 h 2426398"/>
                <a:gd name="connsiteX382" fmla="*/ 1239203 w 2354030"/>
                <a:gd name="connsiteY382" fmla="*/ 2398109 h 2426398"/>
                <a:gd name="connsiteX383" fmla="*/ 1230059 w 2354030"/>
                <a:gd name="connsiteY383" fmla="*/ 2407444 h 2426398"/>
                <a:gd name="connsiteX384" fmla="*/ 1226249 w 2354030"/>
                <a:gd name="connsiteY384" fmla="*/ 2407349 h 2426398"/>
                <a:gd name="connsiteX385" fmla="*/ 1226249 w 2354030"/>
                <a:gd name="connsiteY385" fmla="*/ 2407349 h 2426398"/>
                <a:gd name="connsiteX386" fmla="*/ 1239107 w 2354030"/>
                <a:gd name="connsiteY386" fmla="*/ 2426399 h 2426398"/>
                <a:gd name="connsiteX387" fmla="*/ 1239203 w 2354030"/>
                <a:gd name="connsiteY387" fmla="*/ 2426399 h 2426398"/>
                <a:gd name="connsiteX388" fmla="*/ 1242155 w 2354030"/>
                <a:gd name="connsiteY388" fmla="*/ 2423636 h 2426398"/>
                <a:gd name="connsiteX389" fmla="*/ 1309497 w 2354030"/>
                <a:gd name="connsiteY389" fmla="*/ 2290382 h 2426398"/>
                <a:gd name="connsiteX390" fmla="*/ 1314641 w 2354030"/>
                <a:gd name="connsiteY390" fmla="*/ 2281142 h 2426398"/>
                <a:gd name="connsiteX391" fmla="*/ 1322642 w 2354030"/>
                <a:gd name="connsiteY391" fmla="*/ 2264759 h 2426398"/>
                <a:gd name="connsiteX392" fmla="*/ 1338167 w 2354030"/>
                <a:gd name="connsiteY392" fmla="*/ 2256092 h 2426398"/>
                <a:gd name="connsiteX393" fmla="*/ 1347597 w 2354030"/>
                <a:gd name="connsiteY393" fmla="*/ 2239804 h 2426398"/>
                <a:gd name="connsiteX394" fmla="*/ 1358170 w 2354030"/>
                <a:gd name="connsiteY394" fmla="*/ 2227898 h 2426398"/>
                <a:gd name="connsiteX395" fmla="*/ 1365218 w 2354030"/>
                <a:gd name="connsiteY395" fmla="*/ 2209038 h 2426398"/>
                <a:gd name="connsiteX396" fmla="*/ 1391126 w 2354030"/>
                <a:gd name="connsiteY396" fmla="*/ 2196370 h 2426398"/>
                <a:gd name="connsiteX397" fmla="*/ 1395508 w 2354030"/>
                <a:gd name="connsiteY397" fmla="*/ 2214086 h 2426398"/>
                <a:gd name="connsiteX398" fmla="*/ 1385888 w 2354030"/>
                <a:gd name="connsiteY398" fmla="*/ 2226945 h 2426398"/>
                <a:gd name="connsiteX399" fmla="*/ 1381697 w 2354030"/>
                <a:gd name="connsiteY399" fmla="*/ 2236089 h 2426398"/>
                <a:gd name="connsiteX400" fmla="*/ 1376363 w 2354030"/>
                <a:gd name="connsiteY400" fmla="*/ 2243899 h 2426398"/>
                <a:gd name="connsiteX401" fmla="*/ 1348454 w 2354030"/>
                <a:gd name="connsiteY401" fmla="*/ 2273808 h 2426398"/>
                <a:gd name="connsiteX402" fmla="*/ 1314736 w 2354030"/>
                <a:gd name="connsiteY402" fmla="*/ 2298192 h 2426398"/>
                <a:gd name="connsiteX403" fmla="*/ 1309402 w 2354030"/>
                <a:gd name="connsiteY403" fmla="*/ 2290477 h 242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2354030" h="2426398">
                  <a:moveTo>
                    <a:pt x="1243393" y="2422779"/>
                  </a:moveTo>
                  <a:cubicBezTo>
                    <a:pt x="1285208" y="2388299"/>
                    <a:pt x="1287304" y="2387918"/>
                    <a:pt x="1288828" y="2380869"/>
                  </a:cubicBezTo>
                  <a:cubicBezTo>
                    <a:pt x="1294257" y="2355914"/>
                    <a:pt x="1295305" y="2348008"/>
                    <a:pt x="1299210" y="2341340"/>
                  </a:cubicBezTo>
                  <a:cubicBezTo>
                    <a:pt x="1310640" y="2321909"/>
                    <a:pt x="1313974" y="2314099"/>
                    <a:pt x="1320451" y="2309908"/>
                  </a:cubicBezTo>
                  <a:cubicBezTo>
                    <a:pt x="1332452" y="2302193"/>
                    <a:pt x="1341596" y="2296763"/>
                    <a:pt x="1347788" y="2291524"/>
                  </a:cubicBezTo>
                  <a:cubicBezTo>
                    <a:pt x="1384840" y="2260473"/>
                    <a:pt x="1386745" y="2259616"/>
                    <a:pt x="1390936" y="2253520"/>
                  </a:cubicBezTo>
                  <a:cubicBezTo>
                    <a:pt x="1403414" y="2235232"/>
                    <a:pt x="1408557" y="2228469"/>
                    <a:pt x="1411605" y="2221421"/>
                  </a:cubicBezTo>
                  <a:cubicBezTo>
                    <a:pt x="1439989" y="2157222"/>
                    <a:pt x="1439418" y="2157603"/>
                    <a:pt x="1443704" y="2151983"/>
                  </a:cubicBezTo>
                  <a:cubicBezTo>
                    <a:pt x="1472851" y="2113788"/>
                    <a:pt x="1473137" y="2112740"/>
                    <a:pt x="1478661" y="2108549"/>
                  </a:cubicBezTo>
                  <a:cubicBezTo>
                    <a:pt x="1511427" y="2084165"/>
                    <a:pt x="1515237" y="2082641"/>
                    <a:pt x="1517618" y="2075688"/>
                  </a:cubicBezTo>
                  <a:cubicBezTo>
                    <a:pt x="1522571" y="2061591"/>
                    <a:pt x="1545527" y="2001584"/>
                    <a:pt x="1531239" y="2006156"/>
                  </a:cubicBezTo>
                  <a:lnTo>
                    <a:pt x="1531048" y="2006156"/>
                  </a:lnTo>
                  <a:cubicBezTo>
                    <a:pt x="1528191" y="2007108"/>
                    <a:pt x="1525714" y="2005489"/>
                    <a:pt x="1525524" y="2002441"/>
                  </a:cubicBezTo>
                  <a:cubicBezTo>
                    <a:pt x="1522381" y="1961960"/>
                    <a:pt x="1521333" y="1958721"/>
                    <a:pt x="1523905" y="1951863"/>
                  </a:cubicBezTo>
                  <a:cubicBezTo>
                    <a:pt x="1527239" y="1943005"/>
                    <a:pt x="1530572" y="1936718"/>
                    <a:pt x="1529048" y="1929860"/>
                  </a:cubicBezTo>
                  <a:cubicBezTo>
                    <a:pt x="1528667" y="1926908"/>
                    <a:pt x="1525524" y="1919478"/>
                    <a:pt x="1528096" y="1912430"/>
                  </a:cubicBezTo>
                  <a:cubicBezTo>
                    <a:pt x="1530477" y="1903095"/>
                    <a:pt x="1537526" y="1894332"/>
                    <a:pt x="1531715" y="1888141"/>
                  </a:cubicBezTo>
                  <a:cubicBezTo>
                    <a:pt x="1530953" y="1886807"/>
                    <a:pt x="1522666" y="1881188"/>
                    <a:pt x="1528572" y="1876901"/>
                  </a:cubicBezTo>
                  <a:cubicBezTo>
                    <a:pt x="1533049" y="1874520"/>
                    <a:pt x="1542002" y="1864233"/>
                    <a:pt x="1542669" y="1872329"/>
                  </a:cubicBezTo>
                  <a:cubicBezTo>
                    <a:pt x="1543145" y="1874234"/>
                    <a:pt x="1542479" y="1886712"/>
                    <a:pt x="1546765" y="1880521"/>
                  </a:cubicBezTo>
                  <a:cubicBezTo>
                    <a:pt x="1558862" y="1863281"/>
                    <a:pt x="1563148" y="1855756"/>
                    <a:pt x="1569434" y="1851279"/>
                  </a:cubicBezTo>
                  <a:cubicBezTo>
                    <a:pt x="1614106" y="1819751"/>
                    <a:pt x="1617916" y="1818799"/>
                    <a:pt x="1620774" y="1811655"/>
                  </a:cubicBezTo>
                  <a:cubicBezTo>
                    <a:pt x="1621346" y="1810703"/>
                    <a:pt x="1622774" y="1805559"/>
                    <a:pt x="1628108" y="1802702"/>
                  </a:cubicBezTo>
                  <a:cubicBezTo>
                    <a:pt x="1649825" y="1791176"/>
                    <a:pt x="1654207" y="1787747"/>
                    <a:pt x="1658874" y="1790129"/>
                  </a:cubicBezTo>
                  <a:cubicBezTo>
                    <a:pt x="1664208" y="1792796"/>
                    <a:pt x="1671066" y="1787462"/>
                    <a:pt x="1673733" y="1782128"/>
                  </a:cubicBezTo>
                  <a:lnTo>
                    <a:pt x="1673733" y="1782128"/>
                  </a:lnTo>
                  <a:cubicBezTo>
                    <a:pt x="1675066" y="1779365"/>
                    <a:pt x="1678496" y="1776603"/>
                    <a:pt x="1681353" y="1775841"/>
                  </a:cubicBezTo>
                  <a:cubicBezTo>
                    <a:pt x="1687830" y="1774127"/>
                    <a:pt x="1694021" y="1771841"/>
                    <a:pt x="1700308" y="1774031"/>
                  </a:cubicBezTo>
                  <a:cubicBezTo>
                    <a:pt x="1718405" y="1780318"/>
                    <a:pt x="1723549" y="1783842"/>
                    <a:pt x="1726121" y="1777746"/>
                  </a:cubicBezTo>
                  <a:cubicBezTo>
                    <a:pt x="1727168" y="1775174"/>
                    <a:pt x="1726025" y="1771745"/>
                    <a:pt x="1723549" y="1770126"/>
                  </a:cubicBezTo>
                  <a:lnTo>
                    <a:pt x="1720501" y="1768126"/>
                  </a:lnTo>
                  <a:cubicBezTo>
                    <a:pt x="1718024" y="1766507"/>
                    <a:pt x="1718024" y="1763935"/>
                    <a:pt x="1720596" y="1762411"/>
                  </a:cubicBezTo>
                  <a:lnTo>
                    <a:pt x="1740122" y="1750695"/>
                  </a:lnTo>
                  <a:cubicBezTo>
                    <a:pt x="1742694" y="1749171"/>
                    <a:pt x="1747171" y="1748123"/>
                    <a:pt x="1750123" y="1748409"/>
                  </a:cubicBezTo>
                  <a:lnTo>
                    <a:pt x="1761839" y="1749552"/>
                  </a:lnTo>
                  <a:cubicBezTo>
                    <a:pt x="1768888" y="1750219"/>
                    <a:pt x="1773364" y="1742027"/>
                    <a:pt x="1767459" y="1738027"/>
                  </a:cubicBezTo>
                  <a:cubicBezTo>
                    <a:pt x="1766506" y="1737074"/>
                    <a:pt x="1761363" y="1734693"/>
                    <a:pt x="1760696" y="1729454"/>
                  </a:cubicBezTo>
                  <a:cubicBezTo>
                    <a:pt x="1760411" y="1727073"/>
                    <a:pt x="1762506" y="1724501"/>
                    <a:pt x="1765364" y="1723930"/>
                  </a:cubicBezTo>
                  <a:lnTo>
                    <a:pt x="1802130" y="1715643"/>
                  </a:lnTo>
                  <a:cubicBezTo>
                    <a:pt x="1804988" y="1714976"/>
                    <a:pt x="1809464" y="1715643"/>
                    <a:pt x="1812036" y="1717167"/>
                  </a:cubicBezTo>
                  <a:lnTo>
                    <a:pt x="1820989" y="1722406"/>
                  </a:lnTo>
                  <a:cubicBezTo>
                    <a:pt x="1823561" y="1723930"/>
                    <a:pt x="1828038" y="1724787"/>
                    <a:pt x="1830991" y="1724406"/>
                  </a:cubicBezTo>
                  <a:lnTo>
                    <a:pt x="1847088" y="1722215"/>
                  </a:lnTo>
                  <a:cubicBezTo>
                    <a:pt x="1850041" y="1721834"/>
                    <a:pt x="1851660" y="1719167"/>
                    <a:pt x="1850612" y="1716405"/>
                  </a:cubicBezTo>
                  <a:lnTo>
                    <a:pt x="1849374" y="1712976"/>
                  </a:lnTo>
                  <a:cubicBezTo>
                    <a:pt x="1848422" y="1710214"/>
                    <a:pt x="1849946" y="1707166"/>
                    <a:pt x="1852803" y="1706404"/>
                  </a:cubicBezTo>
                  <a:lnTo>
                    <a:pt x="1858899" y="1704689"/>
                  </a:lnTo>
                  <a:cubicBezTo>
                    <a:pt x="1861756" y="1703832"/>
                    <a:pt x="1863947" y="1705642"/>
                    <a:pt x="1863852" y="1708595"/>
                  </a:cubicBezTo>
                  <a:lnTo>
                    <a:pt x="1863566" y="1716119"/>
                  </a:lnTo>
                  <a:cubicBezTo>
                    <a:pt x="1863471" y="1719072"/>
                    <a:pt x="1865757" y="1721549"/>
                    <a:pt x="1868710" y="1721549"/>
                  </a:cubicBezTo>
                  <a:lnTo>
                    <a:pt x="1912811" y="1721549"/>
                  </a:lnTo>
                  <a:cubicBezTo>
                    <a:pt x="1919954" y="1721549"/>
                    <a:pt x="1926241" y="1712405"/>
                    <a:pt x="1925288" y="1713262"/>
                  </a:cubicBezTo>
                  <a:cubicBezTo>
                    <a:pt x="1927193" y="1710976"/>
                    <a:pt x="1927479" y="1707071"/>
                    <a:pt x="1925860" y="1704594"/>
                  </a:cubicBezTo>
                  <a:lnTo>
                    <a:pt x="1921193" y="1697450"/>
                  </a:lnTo>
                  <a:cubicBezTo>
                    <a:pt x="1919573" y="1694974"/>
                    <a:pt x="1920431" y="1691831"/>
                    <a:pt x="1923098" y="1690497"/>
                  </a:cubicBezTo>
                  <a:lnTo>
                    <a:pt x="1979676" y="1662494"/>
                  </a:lnTo>
                  <a:cubicBezTo>
                    <a:pt x="1982343" y="1661160"/>
                    <a:pt x="1984153" y="1657731"/>
                    <a:pt x="1983581" y="1654778"/>
                  </a:cubicBezTo>
                  <a:lnTo>
                    <a:pt x="1980057" y="1634204"/>
                  </a:lnTo>
                  <a:cubicBezTo>
                    <a:pt x="1979581" y="1631252"/>
                    <a:pt x="1980057" y="1626680"/>
                    <a:pt x="1981390" y="1623917"/>
                  </a:cubicBezTo>
                  <a:lnTo>
                    <a:pt x="1993868" y="1596009"/>
                  </a:lnTo>
                  <a:cubicBezTo>
                    <a:pt x="1996535" y="1590104"/>
                    <a:pt x="2004631" y="1586484"/>
                    <a:pt x="2003679" y="1587151"/>
                  </a:cubicBezTo>
                  <a:cubicBezTo>
                    <a:pt x="2006346" y="1585817"/>
                    <a:pt x="2009775" y="1582579"/>
                    <a:pt x="2011299" y="1580007"/>
                  </a:cubicBezTo>
                  <a:lnTo>
                    <a:pt x="2028539" y="1551527"/>
                  </a:lnTo>
                  <a:cubicBezTo>
                    <a:pt x="2032730" y="1544574"/>
                    <a:pt x="2035588" y="1530287"/>
                    <a:pt x="2035302" y="1531334"/>
                  </a:cubicBezTo>
                  <a:cubicBezTo>
                    <a:pt x="2037398" y="1522952"/>
                    <a:pt x="2055019" y="1498378"/>
                    <a:pt x="2054447" y="1499330"/>
                  </a:cubicBezTo>
                  <a:cubicBezTo>
                    <a:pt x="2056066" y="1496854"/>
                    <a:pt x="2057686" y="1492377"/>
                    <a:pt x="2057972" y="1489424"/>
                  </a:cubicBezTo>
                  <a:lnTo>
                    <a:pt x="2064068" y="1426178"/>
                  </a:lnTo>
                  <a:cubicBezTo>
                    <a:pt x="2064353" y="1423226"/>
                    <a:pt x="2066354" y="1419130"/>
                    <a:pt x="2068449" y="1417034"/>
                  </a:cubicBezTo>
                  <a:lnTo>
                    <a:pt x="2091404" y="1395127"/>
                  </a:lnTo>
                  <a:cubicBezTo>
                    <a:pt x="2099501" y="1387412"/>
                    <a:pt x="2088166" y="1367504"/>
                    <a:pt x="2091976" y="1353026"/>
                  </a:cubicBezTo>
                  <a:cubicBezTo>
                    <a:pt x="2111026" y="1280255"/>
                    <a:pt x="2111597" y="1281208"/>
                    <a:pt x="2110359" y="1274064"/>
                  </a:cubicBezTo>
                  <a:lnTo>
                    <a:pt x="2100167" y="1216628"/>
                  </a:lnTo>
                  <a:cubicBezTo>
                    <a:pt x="2098643" y="1208151"/>
                    <a:pt x="2103882" y="1179576"/>
                    <a:pt x="2103691" y="1180529"/>
                  </a:cubicBezTo>
                  <a:cubicBezTo>
                    <a:pt x="2106168" y="1163384"/>
                    <a:pt x="2095881" y="1140238"/>
                    <a:pt x="2102453" y="1130808"/>
                  </a:cubicBezTo>
                  <a:lnTo>
                    <a:pt x="2112836" y="1115854"/>
                  </a:lnTo>
                  <a:cubicBezTo>
                    <a:pt x="2117503" y="1109186"/>
                    <a:pt x="2105120" y="1114139"/>
                    <a:pt x="2105692" y="1106043"/>
                  </a:cubicBezTo>
                  <a:cubicBezTo>
                    <a:pt x="2106645" y="1100995"/>
                    <a:pt x="2104644" y="1091756"/>
                    <a:pt x="2111502" y="1087660"/>
                  </a:cubicBezTo>
                  <a:cubicBezTo>
                    <a:pt x="2117503" y="1084993"/>
                    <a:pt x="2127980" y="1074515"/>
                    <a:pt x="2129123" y="1083088"/>
                  </a:cubicBezTo>
                  <a:cubicBezTo>
                    <a:pt x="2131219" y="1091565"/>
                    <a:pt x="2128933" y="1105757"/>
                    <a:pt x="2136839" y="1102614"/>
                  </a:cubicBezTo>
                  <a:cubicBezTo>
                    <a:pt x="2145887" y="1098995"/>
                    <a:pt x="2151507" y="1097471"/>
                    <a:pt x="2154841" y="1091851"/>
                  </a:cubicBezTo>
                  <a:cubicBezTo>
                    <a:pt x="2224659" y="973360"/>
                    <a:pt x="2221802" y="976313"/>
                    <a:pt x="2228088" y="971741"/>
                  </a:cubicBezTo>
                  <a:cubicBezTo>
                    <a:pt x="2254282" y="952881"/>
                    <a:pt x="2259616" y="949643"/>
                    <a:pt x="2264378" y="943737"/>
                  </a:cubicBezTo>
                  <a:cubicBezTo>
                    <a:pt x="2333816" y="857631"/>
                    <a:pt x="2330482" y="862489"/>
                    <a:pt x="2332006" y="855821"/>
                  </a:cubicBezTo>
                  <a:cubicBezTo>
                    <a:pt x="2354390" y="759905"/>
                    <a:pt x="2355437" y="759905"/>
                    <a:pt x="2353247" y="752666"/>
                  </a:cubicBezTo>
                  <a:cubicBezTo>
                    <a:pt x="2317337" y="630555"/>
                    <a:pt x="2319814" y="631984"/>
                    <a:pt x="2312384" y="629793"/>
                  </a:cubicBezTo>
                  <a:cubicBezTo>
                    <a:pt x="2295906" y="624840"/>
                    <a:pt x="2287048" y="621125"/>
                    <a:pt x="2279428" y="622459"/>
                  </a:cubicBezTo>
                  <a:cubicBezTo>
                    <a:pt x="2275237" y="623126"/>
                    <a:pt x="2270665" y="623888"/>
                    <a:pt x="2265616" y="623602"/>
                  </a:cubicBezTo>
                  <a:cubicBezTo>
                    <a:pt x="2245043" y="622649"/>
                    <a:pt x="2238375" y="623602"/>
                    <a:pt x="2234184" y="618839"/>
                  </a:cubicBezTo>
                  <a:cubicBezTo>
                    <a:pt x="2232470" y="616934"/>
                    <a:pt x="2228660" y="615220"/>
                    <a:pt x="2225707" y="615029"/>
                  </a:cubicBezTo>
                  <a:lnTo>
                    <a:pt x="2215896" y="614458"/>
                  </a:lnTo>
                  <a:cubicBezTo>
                    <a:pt x="2209800" y="614172"/>
                    <a:pt x="2206181" y="606838"/>
                    <a:pt x="2207038" y="607790"/>
                  </a:cubicBezTo>
                  <a:cubicBezTo>
                    <a:pt x="2205609" y="605219"/>
                    <a:pt x="2202180" y="602266"/>
                    <a:pt x="2199323" y="601313"/>
                  </a:cubicBezTo>
                  <a:lnTo>
                    <a:pt x="2191607" y="598742"/>
                  </a:lnTo>
                  <a:cubicBezTo>
                    <a:pt x="2184464" y="596360"/>
                    <a:pt x="2178463" y="585692"/>
                    <a:pt x="2179320" y="586645"/>
                  </a:cubicBezTo>
                  <a:cubicBezTo>
                    <a:pt x="2174653" y="579882"/>
                    <a:pt x="2161794" y="572357"/>
                    <a:pt x="2162747" y="573024"/>
                  </a:cubicBezTo>
                  <a:cubicBezTo>
                    <a:pt x="2155698" y="568166"/>
                    <a:pt x="2137696" y="544354"/>
                    <a:pt x="2138458" y="545306"/>
                  </a:cubicBezTo>
                  <a:cubicBezTo>
                    <a:pt x="2133219" y="538734"/>
                    <a:pt x="2117027" y="534829"/>
                    <a:pt x="2118074" y="535210"/>
                  </a:cubicBezTo>
                  <a:cubicBezTo>
                    <a:pt x="2106835" y="531305"/>
                    <a:pt x="2094548" y="513779"/>
                    <a:pt x="2083213" y="509492"/>
                  </a:cubicBezTo>
                  <a:cubicBezTo>
                    <a:pt x="2022157" y="486918"/>
                    <a:pt x="2021014" y="485680"/>
                    <a:pt x="2014061" y="486728"/>
                  </a:cubicBezTo>
                  <a:cubicBezTo>
                    <a:pt x="1966817" y="493586"/>
                    <a:pt x="1964341" y="494919"/>
                    <a:pt x="1957578" y="492252"/>
                  </a:cubicBezTo>
                  <a:lnTo>
                    <a:pt x="1933956" y="482727"/>
                  </a:lnTo>
                  <a:cubicBezTo>
                    <a:pt x="1926336" y="479679"/>
                    <a:pt x="1911001" y="479679"/>
                    <a:pt x="1911953" y="479679"/>
                  </a:cubicBezTo>
                  <a:cubicBezTo>
                    <a:pt x="1903952" y="479203"/>
                    <a:pt x="1910048" y="491014"/>
                    <a:pt x="1903381" y="486346"/>
                  </a:cubicBezTo>
                  <a:cubicBezTo>
                    <a:pt x="1888427" y="475964"/>
                    <a:pt x="1881473" y="470440"/>
                    <a:pt x="1874520" y="467773"/>
                  </a:cubicBezTo>
                  <a:cubicBezTo>
                    <a:pt x="1846516" y="456914"/>
                    <a:pt x="1841373" y="453009"/>
                    <a:pt x="1839563" y="459962"/>
                  </a:cubicBezTo>
                  <a:cubicBezTo>
                    <a:pt x="1839087" y="460915"/>
                    <a:pt x="1838801" y="468535"/>
                    <a:pt x="1831943" y="468916"/>
                  </a:cubicBezTo>
                  <a:lnTo>
                    <a:pt x="1829657" y="468916"/>
                  </a:lnTo>
                  <a:cubicBezTo>
                    <a:pt x="1819751" y="469583"/>
                    <a:pt x="1831848" y="452438"/>
                    <a:pt x="1822799" y="457200"/>
                  </a:cubicBezTo>
                  <a:cubicBezTo>
                    <a:pt x="1820228" y="459105"/>
                    <a:pt x="1811179" y="461200"/>
                    <a:pt x="1810607" y="468821"/>
                  </a:cubicBezTo>
                  <a:cubicBezTo>
                    <a:pt x="1810131" y="470821"/>
                    <a:pt x="1811274" y="478727"/>
                    <a:pt x="1805369" y="483203"/>
                  </a:cubicBezTo>
                  <a:cubicBezTo>
                    <a:pt x="1801844" y="485108"/>
                    <a:pt x="1793081" y="494824"/>
                    <a:pt x="1792796" y="486918"/>
                  </a:cubicBezTo>
                  <a:cubicBezTo>
                    <a:pt x="1792986" y="485966"/>
                    <a:pt x="1792129" y="480822"/>
                    <a:pt x="1796320" y="476631"/>
                  </a:cubicBezTo>
                  <a:lnTo>
                    <a:pt x="1796415" y="476631"/>
                  </a:lnTo>
                  <a:cubicBezTo>
                    <a:pt x="1800606" y="472345"/>
                    <a:pt x="1798606" y="465201"/>
                    <a:pt x="1798606" y="466154"/>
                  </a:cubicBezTo>
                  <a:cubicBezTo>
                    <a:pt x="1796606" y="458153"/>
                    <a:pt x="1785461" y="469678"/>
                    <a:pt x="1782699" y="475298"/>
                  </a:cubicBezTo>
                  <a:cubicBezTo>
                    <a:pt x="1774031" y="492823"/>
                    <a:pt x="1771555" y="501396"/>
                    <a:pt x="1768031" y="495014"/>
                  </a:cubicBezTo>
                  <a:cubicBezTo>
                    <a:pt x="1767173" y="492538"/>
                    <a:pt x="1760982" y="486346"/>
                    <a:pt x="1765364" y="480155"/>
                  </a:cubicBezTo>
                  <a:cubicBezTo>
                    <a:pt x="1774507" y="467201"/>
                    <a:pt x="1780413" y="461486"/>
                    <a:pt x="1778698" y="454343"/>
                  </a:cubicBezTo>
                  <a:cubicBezTo>
                    <a:pt x="1778127" y="453390"/>
                    <a:pt x="1777841" y="445103"/>
                    <a:pt x="1772412" y="449199"/>
                  </a:cubicBezTo>
                  <a:lnTo>
                    <a:pt x="1770888" y="450342"/>
                  </a:lnTo>
                  <a:cubicBezTo>
                    <a:pt x="1765173" y="454628"/>
                    <a:pt x="1759744" y="445580"/>
                    <a:pt x="1765364" y="441103"/>
                  </a:cubicBezTo>
                  <a:lnTo>
                    <a:pt x="1769364" y="437864"/>
                  </a:lnTo>
                  <a:cubicBezTo>
                    <a:pt x="1774222" y="433864"/>
                    <a:pt x="1770602" y="426339"/>
                    <a:pt x="1770793" y="427292"/>
                  </a:cubicBezTo>
                  <a:cubicBezTo>
                    <a:pt x="1767935" y="420053"/>
                    <a:pt x="1758124" y="422339"/>
                    <a:pt x="1760030" y="415576"/>
                  </a:cubicBezTo>
                  <a:cubicBezTo>
                    <a:pt x="1761363" y="410718"/>
                    <a:pt x="1756315" y="406146"/>
                    <a:pt x="1756981" y="407098"/>
                  </a:cubicBezTo>
                  <a:cubicBezTo>
                    <a:pt x="1754696" y="405194"/>
                    <a:pt x="1750695" y="404813"/>
                    <a:pt x="1748123" y="406241"/>
                  </a:cubicBezTo>
                  <a:lnTo>
                    <a:pt x="1743265" y="408908"/>
                  </a:lnTo>
                  <a:cubicBezTo>
                    <a:pt x="1736122" y="412814"/>
                    <a:pt x="1736407" y="401765"/>
                    <a:pt x="1731169" y="407956"/>
                  </a:cubicBezTo>
                  <a:cubicBezTo>
                    <a:pt x="1730216" y="408623"/>
                    <a:pt x="1725168" y="417005"/>
                    <a:pt x="1723549" y="410242"/>
                  </a:cubicBezTo>
                  <a:cubicBezTo>
                    <a:pt x="1722215" y="406908"/>
                    <a:pt x="1722311" y="394811"/>
                    <a:pt x="1715548" y="398812"/>
                  </a:cubicBezTo>
                  <a:lnTo>
                    <a:pt x="1714405" y="399479"/>
                  </a:lnTo>
                  <a:cubicBezTo>
                    <a:pt x="1711833" y="401003"/>
                    <a:pt x="1708309" y="400241"/>
                    <a:pt x="1706499" y="397955"/>
                  </a:cubicBezTo>
                  <a:cubicBezTo>
                    <a:pt x="1705547" y="397002"/>
                    <a:pt x="1702975" y="391954"/>
                    <a:pt x="1696498" y="389954"/>
                  </a:cubicBezTo>
                  <a:cubicBezTo>
                    <a:pt x="1690783" y="387477"/>
                    <a:pt x="1681067" y="387287"/>
                    <a:pt x="1677829" y="379857"/>
                  </a:cubicBezTo>
                  <a:lnTo>
                    <a:pt x="1677638" y="379476"/>
                  </a:lnTo>
                  <a:cubicBezTo>
                    <a:pt x="1676495" y="376714"/>
                    <a:pt x="1673162" y="374999"/>
                    <a:pt x="1670304" y="375666"/>
                  </a:cubicBezTo>
                  <a:cubicBezTo>
                    <a:pt x="1669161" y="375666"/>
                    <a:pt x="1660874" y="379286"/>
                    <a:pt x="1658493" y="373380"/>
                  </a:cubicBezTo>
                  <a:cubicBezTo>
                    <a:pt x="1657540" y="370904"/>
                    <a:pt x="1654397" y="369665"/>
                    <a:pt x="1651635" y="370618"/>
                  </a:cubicBezTo>
                  <a:cubicBezTo>
                    <a:pt x="1649635" y="370904"/>
                    <a:pt x="1641253" y="376333"/>
                    <a:pt x="1637633" y="369761"/>
                  </a:cubicBezTo>
                  <a:cubicBezTo>
                    <a:pt x="1636681" y="368808"/>
                    <a:pt x="1634681" y="361188"/>
                    <a:pt x="1628394" y="364236"/>
                  </a:cubicBezTo>
                  <a:cubicBezTo>
                    <a:pt x="1626965" y="364617"/>
                    <a:pt x="1619726" y="370523"/>
                    <a:pt x="1616393" y="364046"/>
                  </a:cubicBezTo>
                  <a:lnTo>
                    <a:pt x="1614869" y="360998"/>
                  </a:lnTo>
                  <a:cubicBezTo>
                    <a:pt x="1612202" y="355568"/>
                    <a:pt x="1604391" y="354902"/>
                    <a:pt x="1605344" y="355187"/>
                  </a:cubicBezTo>
                  <a:cubicBezTo>
                    <a:pt x="1599343" y="354425"/>
                    <a:pt x="1595056" y="361093"/>
                    <a:pt x="1596009" y="360331"/>
                  </a:cubicBezTo>
                  <a:cubicBezTo>
                    <a:pt x="1592675" y="365189"/>
                    <a:pt x="1585627" y="363569"/>
                    <a:pt x="1586579" y="363474"/>
                  </a:cubicBezTo>
                  <a:cubicBezTo>
                    <a:pt x="1578578" y="361855"/>
                    <a:pt x="1583912" y="351854"/>
                    <a:pt x="1576006" y="353187"/>
                  </a:cubicBezTo>
                  <a:cubicBezTo>
                    <a:pt x="1567910" y="354616"/>
                    <a:pt x="1560005" y="354711"/>
                    <a:pt x="1555528" y="360331"/>
                  </a:cubicBezTo>
                  <a:cubicBezTo>
                    <a:pt x="1537811" y="382715"/>
                    <a:pt x="1534192" y="385667"/>
                    <a:pt x="1533620" y="392811"/>
                  </a:cubicBezTo>
                  <a:cubicBezTo>
                    <a:pt x="1533335" y="393764"/>
                    <a:pt x="1534097" y="400717"/>
                    <a:pt x="1528286" y="404336"/>
                  </a:cubicBezTo>
                  <a:cubicBezTo>
                    <a:pt x="1509141" y="416243"/>
                    <a:pt x="1501521" y="422624"/>
                    <a:pt x="1503712" y="415576"/>
                  </a:cubicBezTo>
                  <a:cubicBezTo>
                    <a:pt x="1507522" y="403574"/>
                    <a:pt x="1509331" y="395288"/>
                    <a:pt x="1513999" y="389668"/>
                  </a:cubicBezTo>
                  <a:cubicBezTo>
                    <a:pt x="1522286" y="379667"/>
                    <a:pt x="1527810" y="374142"/>
                    <a:pt x="1529620" y="367094"/>
                  </a:cubicBezTo>
                  <a:cubicBezTo>
                    <a:pt x="1542193" y="318135"/>
                    <a:pt x="1539240" y="341281"/>
                    <a:pt x="1506474" y="330518"/>
                  </a:cubicBezTo>
                  <a:cubicBezTo>
                    <a:pt x="1503807" y="329946"/>
                    <a:pt x="1496759" y="326136"/>
                    <a:pt x="1489615" y="328136"/>
                  </a:cubicBezTo>
                  <a:cubicBezTo>
                    <a:pt x="1472851" y="332613"/>
                    <a:pt x="1463802" y="336137"/>
                    <a:pt x="1456277" y="334613"/>
                  </a:cubicBezTo>
                  <a:cubicBezTo>
                    <a:pt x="1422273" y="327850"/>
                    <a:pt x="1415320" y="328422"/>
                    <a:pt x="1419130" y="322136"/>
                  </a:cubicBezTo>
                  <a:lnTo>
                    <a:pt x="1419511" y="321469"/>
                  </a:lnTo>
                  <a:cubicBezTo>
                    <a:pt x="1421035" y="318897"/>
                    <a:pt x="1424654" y="317087"/>
                    <a:pt x="1427607" y="317468"/>
                  </a:cubicBezTo>
                  <a:lnTo>
                    <a:pt x="1439799" y="318992"/>
                  </a:lnTo>
                  <a:cubicBezTo>
                    <a:pt x="1442752" y="319373"/>
                    <a:pt x="1446562" y="317659"/>
                    <a:pt x="1448276" y="315278"/>
                  </a:cubicBezTo>
                  <a:lnTo>
                    <a:pt x="1458278" y="301371"/>
                  </a:lnTo>
                  <a:cubicBezTo>
                    <a:pt x="1465898" y="290894"/>
                    <a:pt x="1428655" y="308229"/>
                    <a:pt x="1433131" y="296799"/>
                  </a:cubicBezTo>
                  <a:cubicBezTo>
                    <a:pt x="1433894" y="293561"/>
                    <a:pt x="1440847" y="282893"/>
                    <a:pt x="1433131" y="284607"/>
                  </a:cubicBezTo>
                  <a:cubicBezTo>
                    <a:pt x="1431512" y="285179"/>
                    <a:pt x="1423130" y="285464"/>
                    <a:pt x="1419035" y="291560"/>
                  </a:cubicBezTo>
                  <a:cubicBezTo>
                    <a:pt x="1413796" y="297752"/>
                    <a:pt x="1410462" y="309848"/>
                    <a:pt x="1402937" y="306134"/>
                  </a:cubicBezTo>
                  <a:lnTo>
                    <a:pt x="1401223" y="305276"/>
                  </a:lnTo>
                  <a:cubicBezTo>
                    <a:pt x="1398556" y="303943"/>
                    <a:pt x="1397603" y="300800"/>
                    <a:pt x="1399127" y="298228"/>
                  </a:cubicBezTo>
                  <a:cubicBezTo>
                    <a:pt x="1412177" y="276225"/>
                    <a:pt x="1413510" y="271844"/>
                    <a:pt x="1420273" y="270224"/>
                  </a:cubicBezTo>
                  <a:cubicBezTo>
                    <a:pt x="1426940" y="267843"/>
                    <a:pt x="1437227" y="268510"/>
                    <a:pt x="1440466" y="260795"/>
                  </a:cubicBezTo>
                  <a:cubicBezTo>
                    <a:pt x="1443419" y="253937"/>
                    <a:pt x="1446752" y="247745"/>
                    <a:pt x="1446276" y="240887"/>
                  </a:cubicBezTo>
                  <a:cubicBezTo>
                    <a:pt x="1444657" y="217837"/>
                    <a:pt x="1445895" y="212122"/>
                    <a:pt x="1438942" y="212217"/>
                  </a:cubicBezTo>
                  <a:cubicBezTo>
                    <a:pt x="1416844" y="212598"/>
                    <a:pt x="1411796" y="213931"/>
                    <a:pt x="1407890" y="208312"/>
                  </a:cubicBezTo>
                  <a:cubicBezTo>
                    <a:pt x="1400842" y="198215"/>
                    <a:pt x="1396079" y="192024"/>
                    <a:pt x="1393507" y="185166"/>
                  </a:cubicBezTo>
                  <a:cubicBezTo>
                    <a:pt x="1374934" y="134207"/>
                    <a:pt x="1373029" y="131255"/>
                    <a:pt x="1373791" y="124016"/>
                  </a:cubicBezTo>
                  <a:cubicBezTo>
                    <a:pt x="1377506" y="88773"/>
                    <a:pt x="1379030" y="85344"/>
                    <a:pt x="1374648" y="79820"/>
                  </a:cubicBezTo>
                  <a:cubicBezTo>
                    <a:pt x="1358360" y="59531"/>
                    <a:pt x="1355312" y="52864"/>
                    <a:pt x="1351121" y="58769"/>
                  </a:cubicBezTo>
                  <a:cubicBezTo>
                    <a:pt x="1347692" y="62770"/>
                    <a:pt x="1342739" y="73343"/>
                    <a:pt x="1339596" y="72771"/>
                  </a:cubicBezTo>
                  <a:lnTo>
                    <a:pt x="1301020" y="127730"/>
                  </a:lnTo>
                  <a:lnTo>
                    <a:pt x="1286066" y="167735"/>
                  </a:lnTo>
                  <a:lnTo>
                    <a:pt x="1262253" y="186595"/>
                  </a:lnTo>
                  <a:lnTo>
                    <a:pt x="1240917" y="175355"/>
                  </a:lnTo>
                  <a:lnTo>
                    <a:pt x="1230154" y="181832"/>
                  </a:lnTo>
                  <a:lnTo>
                    <a:pt x="1216343" y="174212"/>
                  </a:lnTo>
                  <a:lnTo>
                    <a:pt x="1191482" y="190595"/>
                  </a:lnTo>
                  <a:lnTo>
                    <a:pt x="1144429" y="162687"/>
                  </a:lnTo>
                  <a:lnTo>
                    <a:pt x="1108139" y="173450"/>
                  </a:lnTo>
                  <a:lnTo>
                    <a:pt x="1085469" y="165640"/>
                  </a:lnTo>
                  <a:lnTo>
                    <a:pt x="1073753" y="179356"/>
                  </a:lnTo>
                  <a:lnTo>
                    <a:pt x="1089660" y="195739"/>
                  </a:lnTo>
                  <a:lnTo>
                    <a:pt x="1085469" y="206502"/>
                  </a:lnTo>
                  <a:lnTo>
                    <a:pt x="1022413" y="206312"/>
                  </a:lnTo>
                  <a:lnTo>
                    <a:pt x="1015079" y="196977"/>
                  </a:lnTo>
                  <a:lnTo>
                    <a:pt x="994220" y="201263"/>
                  </a:lnTo>
                  <a:lnTo>
                    <a:pt x="986980" y="215265"/>
                  </a:lnTo>
                  <a:lnTo>
                    <a:pt x="963263" y="223266"/>
                  </a:lnTo>
                  <a:lnTo>
                    <a:pt x="945833" y="219170"/>
                  </a:lnTo>
                  <a:lnTo>
                    <a:pt x="930593" y="229648"/>
                  </a:lnTo>
                  <a:lnTo>
                    <a:pt x="931831" y="239459"/>
                  </a:lnTo>
                  <a:lnTo>
                    <a:pt x="909828" y="246031"/>
                  </a:lnTo>
                  <a:lnTo>
                    <a:pt x="857441" y="206026"/>
                  </a:lnTo>
                  <a:lnTo>
                    <a:pt x="856583" y="179451"/>
                  </a:lnTo>
                  <a:lnTo>
                    <a:pt x="842010" y="153543"/>
                  </a:lnTo>
                  <a:lnTo>
                    <a:pt x="850678" y="101822"/>
                  </a:lnTo>
                  <a:lnTo>
                    <a:pt x="870776" y="83153"/>
                  </a:lnTo>
                  <a:lnTo>
                    <a:pt x="857441" y="52959"/>
                  </a:lnTo>
                  <a:lnTo>
                    <a:pt x="834580" y="46006"/>
                  </a:lnTo>
                  <a:lnTo>
                    <a:pt x="842296" y="13621"/>
                  </a:lnTo>
                  <a:lnTo>
                    <a:pt x="832485" y="0"/>
                  </a:lnTo>
                  <a:lnTo>
                    <a:pt x="799433" y="4858"/>
                  </a:lnTo>
                  <a:lnTo>
                    <a:pt x="805529" y="20860"/>
                  </a:lnTo>
                  <a:lnTo>
                    <a:pt x="781431" y="46196"/>
                  </a:lnTo>
                  <a:lnTo>
                    <a:pt x="754666" y="46673"/>
                  </a:lnTo>
                  <a:lnTo>
                    <a:pt x="748379" y="60293"/>
                  </a:lnTo>
                  <a:lnTo>
                    <a:pt x="713613" y="70676"/>
                  </a:lnTo>
                  <a:lnTo>
                    <a:pt x="699135" y="64960"/>
                  </a:lnTo>
                  <a:lnTo>
                    <a:pt x="676561" y="76295"/>
                  </a:lnTo>
                  <a:lnTo>
                    <a:pt x="676084" y="97822"/>
                  </a:lnTo>
                  <a:lnTo>
                    <a:pt x="665797" y="102775"/>
                  </a:lnTo>
                  <a:lnTo>
                    <a:pt x="641985" y="78677"/>
                  </a:lnTo>
                  <a:lnTo>
                    <a:pt x="608076" y="80963"/>
                  </a:lnTo>
                  <a:lnTo>
                    <a:pt x="599980" y="69056"/>
                  </a:lnTo>
                  <a:lnTo>
                    <a:pt x="578644" y="68390"/>
                  </a:lnTo>
                  <a:lnTo>
                    <a:pt x="566357" y="57912"/>
                  </a:lnTo>
                  <a:lnTo>
                    <a:pt x="549307" y="64294"/>
                  </a:lnTo>
                  <a:lnTo>
                    <a:pt x="588359" y="106204"/>
                  </a:lnTo>
                  <a:lnTo>
                    <a:pt x="587883" y="128969"/>
                  </a:lnTo>
                  <a:lnTo>
                    <a:pt x="604361" y="150209"/>
                  </a:lnTo>
                  <a:lnTo>
                    <a:pt x="600742" y="168116"/>
                  </a:lnTo>
                  <a:lnTo>
                    <a:pt x="639604" y="172021"/>
                  </a:lnTo>
                  <a:lnTo>
                    <a:pt x="636651" y="188023"/>
                  </a:lnTo>
                  <a:lnTo>
                    <a:pt x="600647" y="199644"/>
                  </a:lnTo>
                  <a:lnTo>
                    <a:pt x="594741" y="220313"/>
                  </a:lnTo>
                  <a:lnTo>
                    <a:pt x="580454" y="236125"/>
                  </a:lnTo>
                  <a:lnTo>
                    <a:pt x="576072" y="227171"/>
                  </a:lnTo>
                  <a:lnTo>
                    <a:pt x="539210" y="248221"/>
                  </a:lnTo>
                  <a:lnTo>
                    <a:pt x="518446" y="277559"/>
                  </a:lnTo>
                  <a:lnTo>
                    <a:pt x="503111" y="275082"/>
                  </a:lnTo>
                  <a:lnTo>
                    <a:pt x="509588" y="260604"/>
                  </a:lnTo>
                  <a:lnTo>
                    <a:pt x="497872" y="254127"/>
                  </a:lnTo>
                  <a:lnTo>
                    <a:pt x="464439" y="272701"/>
                  </a:lnTo>
                  <a:lnTo>
                    <a:pt x="434816" y="244031"/>
                  </a:lnTo>
                  <a:lnTo>
                    <a:pt x="411766" y="247364"/>
                  </a:lnTo>
                  <a:lnTo>
                    <a:pt x="411766" y="223933"/>
                  </a:lnTo>
                  <a:lnTo>
                    <a:pt x="392144" y="190691"/>
                  </a:lnTo>
                  <a:lnTo>
                    <a:pt x="374999" y="210788"/>
                  </a:lnTo>
                  <a:lnTo>
                    <a:pt x="362141" y="210788"/>
                  </a:lnTo>
                  <a:lnTo>
                    <a:pt x="348234" y="199168"/>
                  </a:lnTo>
                  <a:lnTo>
                    <a:pt x="342329" y="212884"/>
                  </a:lnTo>
                  <a:lnTo>
                    <a:pt x="250317" y="213265"/>
                  </a:lnTo>
                  <a:lnTo>
                    <a:pt x="250317" y="252413"/>
                  </a:lnTo>
                  <a:lnTo>
                    <a:pt x="281083" y="252413"/>
                  </a:lnTo>
                  <a:lnTo>
                    <a:pt x="292132" y="265271"/>
                  </a:lnTo>
                  <a:lnTo>
                    <a:pt x="291465" y="284988"/>
                  </a:lnTo>
                  <a:lnTo>
                    <a:pt x="268319" y="275939"/>
                  </a:lnTo>
                  <a:lnTo>
                    <a:pt x="237077" y="281559"/>
                  </a:lnTo>
                  <a:lnTo>
                    <a:pt x="237077" y="324803"/>
                  </a:lnTo>
                  <a:lnTo>
                    <a:pt x="262795" y="344615"/>
                  </a:lnTo>
                  <a:lnTo>
                    <a:pt x="266224" y="368903"/>
                  </a:lnTo>
                  <a:lnTo>
                    <a:pt x="280321" y="391192"/>
                  </a:lnTo>
                  <a:lnTo>
                    <a:pt x="273463" y="405098"/>
                  </a:lnTo>
                  <a:lnTo>
                    <a:pt x="244697" y="581692"/>
                  </a:lnTo>
                  <a:lnTo>
                    <a:pt x="221456" y="576358"/>
                  </a:lnTo>
                  <a:lnTo>
                    <a:pt x="217837" y="565976"/>
                  </a:lnTo>
                  <a:lnTo>
                    <a:pt x="192691" y="567309"/>
                  </a:lnTo>
                  <a:lnTo>
                    <a:pt x="182213" y="580263"/>
                  </a:lnTo>
                  <a:lnTo>
                    <a:pt x="129826" y="587121"/>
                  </a:lnTo>
                  <a:lnTo>
                    <a:pt x="67627" y="624840"/>
                  </a:lnTo>
                  <a:lnTo>
                    <a:pt x="50578" y="679133"/>
                  </a:lnTo>
                  <a:lnTo>
                    <a:pt x="52388" y="705326"/>
                  </a:lnTo>
                  <a:lnTo>
                    <a:pt x="15812" y="727043"/>
                  </a:lnTo>
                  <a:lnTo>
                    <a:pt x="17717" y="754285"/>
                  </a:lnTo>
                  <a:lnTo>
                    <a:pt x="0" y="759143"/>
                  </a:lnTo>
                  <a:lnTo>
                    <a:pt x="1048" y="780479"/>
                  </a:lnTo>
                  <a:lnTo>
                    <a:pt x="17717" y="790004"/>
                  </a:lnTo>
                  <a:lnTo>
                    <a:pt x="61341" y="856679"/>
                  </a:lnTo>
                  <a:lnTo>
                    <a:pt x="48196" y="883253"/>
                  </a:lnTo>
                  <a:lnTo>
                    <a:pt x="101727" y="890969"/>
                  </a:lnTo>
                  <a:lnTo>
                    <a:pt x="109633" y="919639"/>
                  </a:lnTo>
                  <a:lnTo>
                    <a:pt x="162687" y="919639"/>
                  </a:lnTo>
                  <a:lnTo>
                    <a:pt x="210026" y="877538"/>
                  </a:lnTo>
                  <a:lnTo>
                    <a:pt x="209550" y="907351"/>
                  </a:lnTo>
                  <a:lnTo>
                    <a:pt x="202121" y="914209"/>
                  </a:lnTo>
                  <a:lnTo>
                    <a:pt x="202121" y="981361"/>
                  </a:lnTo>
                  <a:lnTo>
                    <a:pt x="213360" y="976884"/>
                  </a:lnTo>
                  <a:lnTo>
                    <a:pt x="221266" y="984790"/>
                  </a:lnTo>
                  <a:lnTo>
                    <a:pt x="244316" y="974884"/>
                  </a:lnTo>
                  <a:lnTo>
                    <a:pt x="312611" y="977932"/>
                  </a:lnTo>
                  <a:lnTo>
                    <a:pt x="315182" y="990886"/>
                  </a:lnTo>
                  <a:lnTo>
                    <a:pt x="341947" y="983075"/>
                  </a:lnTo>
                  <a:lnTo>
                    <a:pt x="357188" y="960596"/>
                  </a:lnTo>
                  <a:lnTo>
                    <a:pt x="378333" y="962025"/>
                  </a:lnTo>
                  <a:lnTo>
                    <a:pt x="442341" y="914019"/>
                  </a:lnTo>
                  <a:lnTo>
                    <a:pt x="499491" y="907161"/>
                  </a:lnTo>
                  <a:lnTo>
                    <a:pt x="511397" y="897065"/>
                  </a:lnTo>
                  <a:lnTo>
                    <a:pt x="524732" y="905066"/>
                  </a:lnTo>
                  <a:lnTo>
                    <a:pt x="524732" y="936403"/>
                  </a:lnTo>
                  <a:lnTo>
                    <a:pt x="513207" y="948309"/>
                  </a:lnTo>
                  <a:lnTo>
                    <a:pt x="524732" y="982313"/>
                  </a:lnTo>
                  <a:lnTo>
                    <a:pt x="517493" y="998030"/>
                  </a:lnTo>
                  <a:lnTo>
                    <a:pt x="538353" y="1040130"/>
                  </a:lnTo>
                  <a:lnTo>
                    <a:pt x="569595" y="1055465"/>
                  </a:lnTo>
                  <a:lnTo>
                    <a:pt x="569595" y="1069562"/>
                  </a:lnTo>
                  <a:lnTo>
                    <a:pt x="600647" y="1076897"/>
                  </a:lnTo>
                  <a:lnTo>
                    <a:pt x="613029" y="1069848"/>
                  </a:lnTo>
                  <a:lnTo>
                    <a:pt x="653129" y="1081659"/>
                  </a:lnTo>
                  <a:lnTo>
                    <a:pt x="673322" y="1104900"/>
                  </a:lnTo>
                  <a:lnTo>
                    <a:pt x="710946" y="1109567"/>
                  </a:lnTo>
                  <a:lnTo>
                    <a:pt x="734663" y="1136999"/>
                  </a:lnTo>
                  <a:lnTo>
                    <a:pt x="776097" y="1131284"/>
                  </a:lnTo>
                  <a:lnTo>
                    <a:pt x="812197" y="1146524"/>
                  </a:lnTo>
                  <a:lnTo>
                    <a:pt x="820960" y="1163955"/>
                  </a:lnTo>
                  <a:lnTo>
                    <a:pt x="813816" y="1177671"/>
                  </a:lnTo>
                  <a:lnTo>
                    <a:pt x="820674" y="1195102"/>
                  </a:lnTo>
                  <a:lnTo>
                    <a:pt x="820103" y="1230630"/>
                  </a:lnTo>
                  <a:lnTo>
                    <a:pt x="812483" y="1237679"/>
                  </a:lnTo>
                  <a:lnTo>
                    <a:pt x="827437" y="1253681"/>
                  </a:lnTo>
                  <a:lnTo>
                    <a:pt x="830675" y="1299496"/>
                  </a:lnTo>
                  <a:lnTo>
                    <a:pt x="941737" y="1299496"/>
                  </a:lnTo>
                  <a:lnTo>
                    <a:pt x="945451" y="1314736"/>
                  </a:lnTo>
                  <a:lnTo>
                    <a:pt x="932593" y="1326833"/>
                  </a:lnTo>
                  <a:lnTo>
                    <a:pt x="935736" y="1363790"/>
                  </a:lnTo>
                  <a:lnTo>
                    <a:pt x="975074" y="1383506"/>
                  </a:lnTo>
                  <a:lnTo>
                    <a:pt x="990409" y="1421225"/>
                  </a:lnTo>
                  <a:lnTo>
                    <a:pt x="976598" y="1460754"/>
                  </a:lnTo>
                  <a:lnTo>
                    <a:pt x="980408" y="1477613"/>
                  </a:lnTo>
                  <a:lnTo>
                    <a:pt x="971741" y="1477804"/>
                  </a:lnTo>
                  <a:lnTo>
                    <a:pt x="957358" y="1511713"/>
                  </a:lnTo>
                  <a:lnTo>
                    <a:pt x="972407" y="1531144"/>
                  </a:lnTo>
                  <a:lnTo>
                    <a:pt x="952595" y="1546384"/>
                  </a:lnTo>
                  <a:lnTo>
                    <a:pt x="970883" y="1597819"/>
                  </a:lnTo>
                  <a:lnTo>
                    <a:pt x="962501" y="1664303"/>
                  </a:lnTo>
                  <a:lnTo>
                    <a:pt x="979170" y="1661541"/>
                  </a:lnTo>
                  <a:lnTo>
                    <a:pt x="991648" y="1674114"/>
                  </a:lnTo>
                  <a:lnTo>
                    <a:pt x="1034225" y="1678972"/>
                  </a:lnTo>
                  <a:lnTo>
                    <a:pt x="1058323" y="1663065"/>
                  </a:lnTo>
                  <a:lnTo>
                    <a:pt x="1066324" y="1676781"/>
                  </a:lnTo>
                  <a:lnTo>
                    <a:pt x="1090708" y="1677448"/>
                  </a:lnTo>
                  <a:lnTo>
                    <a:pt x="1103567" y="1700022"/>
                  </a:lnTo>
                  <a:lnTo>
                    <a:pt x="1105948" y="1750886"/>
                  </a:lnTo>
                  <a:lnTo>
                    <a:pt x="1114997" y="1769174"/>
                  </a:lnTo>
                  <a:lnTo>
                    <a:pt x="1116521" y="1784699"/>
                  </a:lnTo>
                  <a:lnTo>
                    <a:pt x="1135952" y="1788414"/>
                  </a:lnTo>
                  <a:lnTo>
                    <a:pt x="1162526" y="1773650"/>
                  </a:lnTo>
                  <a:lnTo>
                    <a:pt x="1184053" y="1788414"/>
                  </a:lnTo>
                  <a:lnTo>
                    <a:pt x="1163955" y="1891760"/>
                  </a:lnTo>
                  <a:lnTo>
                    <a:pt x="1179862" y="1894142"/>
                  </a:lnTo>
                  <a:lnTo>
                    <a:pt x="1190435" y="1882426"/>
                  </a:lnTo>
                  <a:lnTo>
                    <a:pt x="1207294" y="1890903"/>
                  </a:lnTo>
                  <a:lnTo>
                    <a:pt x="1221010" y="1927574"/>
                  </a:lnTo>
                  <a:lnTo>
                    <a:pt x="1213390" y="1958912"/>
                  </a:lnTo>
                  <a:lnTo>
                    <a:pt x="1222915" y="1969961"/>
                  </a:lnTo>
                  <a:lnTo>
                    <a:pt x="1216247" y="1987677"/>
                  </a:lnTo>
                  <a:lnTo>
                    <a:pt x="1150334" y="2012918"/>
                  </a:lnTo>
                  <a:lnTo>
                    <a:pt x="1146143" y="2026444"/>
                  </a:lnTo>
                  <a:lnTo>
                    <a:pt x="1102709" y="2053876"/>
                  </a:lnTo>
                  <a:lnTo>
                    <a:pt x="1100423" y="2066925"/>
                  </a:lnTo>
                  <a:lnTo>
                    <a:pt x="1086707" y="2068163"/>
                  </a:lnTo>
                  <a:lnTo>
                    <a:pt x="1025462" y="2151317"/>
                  </a:lnTo>
                  <a:lnTo>
                    <a:pt x="1005364" y="2158461"/>
                  </a:lnTo>
                  <a:lnTo>
                    <a:pt x="982694" y="2189988"/>
                  </a:lnTo>
                  <a:lnTo>
                    <a:pt x="1007364" y="2192274"/>
                  </a:lnTo>
                  <a:lnTo>
                    <a:pt x="1019366" y="2181416"/>
                  </a:lnTo>
                  <a:lnTo>
                    <a:pt x="1035653" y="2181416"/>
                  </a:lnTo>
                  <a:cubicBezTo>
                    <a:pt x="1035653" y="2181416"/>
                    <a:pt x="1081088" y="2226564"/>
                    <a:pt x="1081088" y="2226564"/>
                  </a:cubicBezTo>
                  <a:lnTo>
                    <a:pt x="1074801" y="2246186"/>
                  </a:lnTo>
                  <a:lnTo>
                    <a:pt x="1092613" y="2247710"/>
                  </a:lnTo>
                  <a:lnTo>
                    <a:pt x="1105186" y="2231803"/>
                  </a:lnTo>
                  <a:lnTo>
                    <a:pt x="1134332" y="2261616"/>
                  </a:lnTo>
                  <a:lnTo>
                    <a:pt x="1141476" y="2256854"/>
                  </a:lnTo>
                  <a:lnTo>
                    <a:pt x="1151763" y="2268379"/>
                  </a:lnTo>
                  <a:lnTo>
                    <a:pt x="1165765" y="2270189"/>
                  </a:lnTo>
                  <a:lnTo>
                    <a:pt x="1190625" y="2298573"/>
                  </a:lnTo>
                  <a:lnTo>
                    <a:pt x="1212437" y="2305622"/>
                  </a:lnTo>
                  <a:lnTo>
                    <a:pt x="1228916" y="2337245"/>
                  </a:lnTo>
                  <a:lnTo>
                    <a:pt x="1251585" y="2350580"/>
                  </a:lnTo>
                  <a:lnTo>
                    <a:pt x="1251585" y="2350770"/>
                  </a:lnTo>
                  <a:cubicBezTo>
                    <a:pt x="1252823" y="2349437"/>
                    <a:pt x="1254062" y="2347913"/>
                    <a:pt x="1254919" y="2346293"/>
                  </a:cubicBezTo>
                  <a:cubicBezTo>
                    <a:pt x="1254062" y="2347246"/>
                    <a:pt x="1257967" y="2338388"/>
                    <a:pt x="1264444" y="2339340"/>
                  </a:cubicBezTo>
                  <a:lnTo>
                    <a:pt x="1275493" y="2341055"/>
                  </a:lnTo>
                  <a:cubicBezTo>
                    <a:pt x="1283780" y="2342293"/>
                    <a:pt x="1277493" y="2353818"/>
                    <a:pt x="1276922" y="2360962"/>
                  </a:cubicBezTo>
                  <a:cubicBezTo>
                    <a:pt x="1276350" y="2363915"/>
                    <a:pt x="1273778" y="2367058"/>
                    <a:pt x="1271207" y="2368011"/>
                  </a:cubicBezTo>
                  <a:cubicBezTo>
                    <a:pt x="1265015" y="2370296"/>
                    <a:pt x="1260539" y="2373630"/>
                    <a:pt x="1244060" y="2384393"/>
                  </a:cubicBezTo>
                  <a:cubicBezTo>
                    <a:pt x="1237964" y="2388299"/>
                    <a:pt x="1239488" y="2396490"/>
                    <a:pt x="1239203" y="2398109"/>
                  </a:cubicBezTo>
                  <a:cubicBezTo>
                    <a:pt x="1238917" y="2405158"/>
                    <a:pt x="1231011" y="2406777"/>
                    <a:pt x="1230059" y="2407444"/>
                  </a:cubicBezTo>
                  <a:cubicBezTo>
                    <a:pt x="1228344" y="2408206"/>
                    <a:pt x="1227106" y="2408015"/>
                    <a:pt x="1226249" y="2407349"/>
                  </a:cubicBezTo>
                  <a:lnTo>
                    <a:pt x="1226249" y="2407349"/>
                  </a:lnTo>
                  <a:cubicBezTo>
                    <a:pt x="1226249" y="2407349"/>
                    <a:pt x="1239107" y="2426399"/>
                    <a:pt x="1239107" y="2426399"/>
                  </a:cubicBezTo>
                  <a:lnTo>
                    <a:pt x="1239203" y="2426399"/>
                  </a:lnTo>
                  <a:cubicBezTo>
                    <a:pt x="1240155" y="2425446"/>
                    <a:pt x="1241012" y="2424494"/>
                    <a:pt x="1242155" y="2423636"/>
                  </a:cubicBezTo>
                  <a:close/>
                  <a:moveTo>
                    <a:pt x="1309497" y="2290382"/>
                  </a:moveTo>
                  <a:cubicBezTo>
                    <a:pt x="1309021" y="2284381"/>
                    <a:pt x="1313783" y="2282095"/>
                    <a:pt x="1314641" y="2281142"/>
                  </a:cubicBezTo>
                  <a:cubicBezTo>
                    <a:pt x="1321118" y="2276761"/>
                    <a:pt x="1321213" y="2268474"/>
                    <a:pt x="1322642" y="2264759"/>
                  </a:cubicBezTo>
                  <a:cubicBezTo>
                    <a:pt x="1324642" y="2257139"/>
                    <a:pt x="1334262" y="2257616"/>
                    <a:pt x="1338167" y="2256092"/>
                  </a:cubicBezTo>
                  <a:cubicBezTo>
                    <a:pt x="1345883" y="2254187"/>
                    <a:pt x="1345692" y="2244281"/>
                    <a:pt x="1347597" y="2239804"/>
                  </a:cubicBezTo>
                  <a:cubicBezTo>
                    <a:pt x="1349597" y="2232755"/>
                    <a:pt x="1356646" y="2229231"/>
                    <a:pt x="1358170" y="2227898"/>
                  </a:cubicBezTo>
                  <a:cubicBezTo>
                    <a:pt x="1364647" y="2223135"/>
                    <a:pt x="1363980" y="2213801"/>
                    <a:pt x="1365218" y="2209038"/>
                  </a:cubicBezTo>
                  <a:cubicBezTo>
                    <a:pt x="1366361" y="2202275"/>
                    <a:pt x="1371695" y="2202085"/>
                    <a:pt x="1391126" y="2196370"/>
                  </a:cubicBezTo>
                  <a:cubicBezTo>
                    <a:pt x="1399413" y="2193989"/>
                    <a:pt x="1395031" y="2207609"/>
                    <a:pt x="1395508" y="2214086"/>
                  </a:cubicBezTo>
                  <a:cubicBezTo>
                    <a:pt x="1395222" y="2221516"/>
                    <a:pt x="1387507" y="2225231"/>
                    <a:pt x="1385888" y="2226945"/>
                  </a:cubicBezTo>
                  <a:cubicBezTo>
                    <a:pt x="1381697" y="2230279"/>
                    <a:pt x="1381887" y="2235137"/>
                    <a:pt x="1381697" y="2236089"/>
                  </a:cubicBezTo>
                  <a:cubicBezTo>
                    <a:pt x="1381697" y="2241423"/>
                    <a:pt x="1377315" y="2243042"/>
                    <a:pt x="1376363" y="2243899"/>
                  </a:cubicBezTo>
                  <a:cubicBezTo>
                    <a:pt x="1369314" y="2247138"/>
                    <a:pt x="1365409" y="2253424"/>
                    <a:pt x="1348454" y="2273808"/>
                  </a:cubicBezTo>
                  <a:cubicBezTo>
                    <a:pt x="1343406" y="2279904"/>
                    <a:pt x="1335024" y="2284571"/>
                    <a:pt x="1314736" y="2298192"/>
                  </a:cubicBezTo>
                  <a:cubicBezTo>
                    <a:pt x="1308735" y="2302193"/>
                    <a:pt x="1309402" y="2290477"/>
                    <a:pt x="1309402" y="2290477"/>
                  </a:cubicBezTo>
                  <a:close/>
                </a:path>
              </a:pathLst>
            </a:custGeom>
            <a:grpFill/>
            <a:ln w="9525" cap="flat">
              <a:noFill/>
              <a:prstDash val="solid"/>
              <a:miter/>
            </a:ln>
          </p:spPr>
          <p:txBody>
            <a:bodyPr rtlCol="0" anchor="ctr"/>
            <a:lstStyle/>
            <a:p>
              <a:endParaRPr lang="en-IN"/>
            </a:p>
          </p:txBody>
        </p:sp>
      </p:grpSp>
      <p:sp>
        <p:nvSpPr>
          <p:cNvPr id="58" name="Freeform: Shape 57">
            <a:extLst>
              <a:ext uri="{FF2B5EF4-FFF2-40B4-BE49-F238E27FC236}">
                <a16:creationId xmlns:a16="http://schemas.microsoft.com/office/drawing/2014/main" id="{D247C7A4-29E2-E464-D2ED-9C9B19CFF700}"/>
              </a:ext>
            </a:extLst>
          </p:cNvPr>
          <p:cNvSpPr/>
          <p:nvPr/>
        </p:nvSpPr>
        <p:spPr>
          <a:xfrm>
            <a:off x="4258016" y="5794710"/>
            <a:ext cx="1082294" cy="1522717"/>
          </a:xfrm>
          <a:custGeom>
            <a:avLst/>
            <a:gdLst>
              <a:gd name="connsiteX0" fmla="*/ 445484 w 731996"/>
              <a:gd name="connsiteY0" fmla="*/ 672084 h 816006"/>
              <a:gd name="connsiteX1" fmla="*/ 468059 w 731996"/>
              <a:gd name="connsiteY1" fmla="*/ 640747 h 816006"/>
              <a:gd name="connsiteX2" fmla="*/ 477584 w 731996"/>
              <a:gd name="connsiteY2" fmla="*/ 614553 h 816006"/>
              <a:gd name="connsiteX3" fmla="*/ 542639 w 731996"/>
              <a:gd name="connsiteY3" fmla="*/ 603885 h 816006"/>
              <a:gd name="connsiteX4" fmla="*/ 582739 w 731996"/>
              <a:gd name="connsiteY4" fmla="*/ 593122 h 816006"/>
              <a:gd name="connsiteX5" fmla="*/ 636651 w 731996"/>
              <a:gd name="connsiteY5" fmla="*/ 596360 h 816006"/>
              <a:gd name="connsiteX6" fmla="*/ 688657 w 731996"/>
              <a:gd name="connsiteY6" fmla="*/ 628079 h 816006"/>
              <a:gd name="connsiteX7" fmla="*/ 694182 w 731996"/>
              <a:gd name="connsiteY7" fmla="*/ 649319 h 816006"/>
              <a:gd name="connsiteX8" fmla="*/ 713994 w 731996"/>
              <a:gd name="connsiteY8" fmla="*/ 634079 h 816006"/>
              <a:gd name="connsiteX9" fmla="*/ 698944 w 731996"/>
              <a:gd name="connsiteY9" fmla="*/ 614648 h 816006"/>
              <a:gd name="connsiteX10" fmla="*/ 713327 w 731996"/>
              <a:gd name="connsiteY10" fmla="*/ 580739 h 816006"/>
              <a:gd name="connsiteX11" fmla="*/ 721995 w 731996"/>
              <a:gd name="connsiteY11" fmla="*/ 580549 h 816006"/>
              <a:gd name="connsiteX12" fmla="*/ 718185 w 731996"/>
              <a:gd name="connsiteY12" fmla="*/ 563690 h 816006"/>
              <a:gd name="connsiteX13" fmla="*/ 731996 w 731996"/>
              <a:gd name="connsiteY13" fmla="*/ 524161 h 816006"/>
              <a:gd name="connsiteX14" fmla="*/ 716661 w 731996"/>
              <a:gd name="connsiteY14" fmla="*/ 486442 h 816006"/>
              <a:gd name="connsiteX15" fmla="*/ 677323 w 731996"/>
              <a:gd name="connsiteY15" fmla="*/ 466725 h 816006"/>
              <a:gd name="connsiteX16" fmla="*/ 674180 w 731996"/>
              <a:gd name="connsiteY16" fmla="*/ 429768 h 816006"/>
              <a:gd name="connsiteX17" fmla="*/ 687038 w 731996"/>
              <a:gd name="connsiteY17" fmla="*/ 417671 h 816006"/>
              <a:gd name="connsiteX18" fmla="*/ 683323 w 731996"/>
              <a:gd name="connsiteY18" fmla="*/ 402431 h 816006"/>
              <a:gd name="connsiteX19" fmla="*/ 572262 w 731996"/>
              <a:gd name="connsiteY19" fmla="*/ 402431 h 816006"/>
              <a:gd name="connsiteX20" fmla="*/ 569023 w 731996"/>
              <a:gd name="connsiteY20" fmla="*/ 356616 h 816006"/>
              <a:gd name="connsiteX21" fmla="*/ 554069 w 731996"/>
              <a:gd name="connsiteY21" fmla="*/ 340614 h 816006"/>
              <a:gd name="connsiteX22" fmla="*/ 561689 w 731996"/>
              <a:gd name="connsiteY22" fmla="*/ 333566 h 816006"/>
              <a:gd name="connsiteX23" fmla="*/ 562261 w 731996"/>
              <a:gd name="connsiteY23" fmla="*/ 298037 h 816006"/>
              <a:gd name="connsiteX24" fmla="*/ 555403 w 731996"/>
              <a:gd name="connsiteY24" fmla="*/ 280607 h 816006"/>
              <a:gd name="connsiteX25" fmla="*/ 562547 w 731996"/>
              <a:gd name="connsiteY25" fmla="*/ 266891 h 816006"/>
              <a:gd name="connsiteX26" fmla="*/ 553784 w 731996"/>
              <a:gd name="connsiteY26" fmla="*/ 249460 h 816006"/>
              <a:gd name="connsiteX27" fmla="*/ 517684 w 731996"/>
              <a:gd name="connsiteY27" fmla="*/ 234220 h 816006"/>
              <a:gd name="connsiteX28" fmla="*/ 476250 w 731996"/>
              <a:gd name="connsiteY28" fmla="*/ 239935 h 816006"/>
              <a:gd name="connsiteX29" fmla="*/ 452533 w 731996"/>
              <a:gd name="connsiteY29" fmla="*/ 212503 h 816006"/>
              <a:gd name="connsiteX30" fmla="*/ 414909 w 731996"/>
              <a:gd name="connsiteY30" fmla="*/ 207836 h 816006"/>
              <a:gd name="connsiteX31" fmla="*/ 394716 w 731996"/>
              <a:gd name="connsiteY31" fmla="*/ 184595 h 816006"/>
              <a:gd name="connsiteX32" fmla="*/ 354616 w 731996"/>
              <a:gd name="connsiteY32" fmla="*/ 172784 h 816006"/>
              <a:gd name="connsiteX33" fmla="*/ 342233 w 731996"/>
              <a:gd name="connsiteY33" fmla="*/ 179832 h 816006"/>
              <a:gd name="connsiteX34" fmla="*/ 311182 w 731996"/>
              <a:gd name="connsiteY34" fmla="*/ 172498 h 816006"/>
              <a:gd name="connsiteX35" fmla="*/ 311182 w 731996"/>
              <a:gd name="connsiteY35" fmla="*/ 158401 h 816006"/>
              <a:gd name="connsiteX36" fmla="*/ 279940 w 731996"/>
              <a:gd name="connsiteY36" fmla="*/ 143066 h 816006"/>
              <a:gd name="connsiteX37" fmla="*/ 259080 w 731996"/>
              <a:gd name="connsiteY37" fmla="*/ 100965 h 816006"/>
              <a:gd name="connsiteX38" fmla="*/ 266319 w 731996"/>
              <a:gd name="connsiteY38" fmla="*/ 85249 h 816006"/>
              <a:gd name="connsiteX39" fmla="*/ 254794 w 731996"/>
              <a:gd name="connsiteY39" fmla="*/ 51245 h 816006"/>
              <a:gd name="connsiteX40" fmla="*/ 266319 w 731996"/>
              <a:gd name="connsiteY40" fmla="*/ 39338 h 816006"/>
              <a:gd name="connsiteX41" fmla="*/ 266319 w 731996"/>
              <a:gd name="connsiteY41" fmla="*/ 8001 h 816006"/>
              <a:gd name="connsiteX42" fmla="*/ 252984 w 731996"/>
              <a:gd name="connsiteY42" fmla="*/ 0 h 816006"/>
              <a:gd name="connsiteX43" fmla="*/ 241078 w 731996"/>
              <a:gd name="connsiteY43" fmla="*/ 10096 h 816006"/>
              <a:gd name="connsiteX44" fmla="*/ 183928 w 731996"/>
              <a:gd name="connsiteY44" fmla="*/ 16954 h 816006"/>
              <a:gd name="connsiteX45" fmla="*/ 119920 w 731996"/>
              <a:gd name="connsiteY45" fmla="*/ 64961 h 816006"/>
              <a:gd name="connsiteX46" fmla="*/ 98774 w 731996"/>
              <a:gd name="connsiteY46" fmla="*/ 63532 h 816006"/>
              <a:gd name="connsiteX47" fmla="*/ 83534 w 731996"/>
              <a:gd name="connsiteY47" fmla="*/ 86011 h 816006"/>
              <a:gd name="connsiteX48" fmla="*/ 56769 w 731996"/>
              <a:gd name="connsiteY48" fmla="*/ 93821 h 816006"/>
              <a:gd name="connsiteX49" fmla="*/ 54197 w 731996"/>
              <a:gd name="connsiteY49" fmla="*/ 80867 h 816006"/>
              <a:gd name="connsiteX50" fmla="*/ 7906 w 731996"/>
              <a:gd name="connsiteY50" fmla="*/ 78772 h 816006"/>
              <a:gd name="connsiteX51" fmla="*/ 7906 w 731996"/>
              <a:gd name="connsiteY51" fmla="*/ 78772 h 816006"/>
              <a:gd name="connsiteX52" fmla="*/ 61627 w 731996"/>
              <a:gd name="connsiteY52" fmla="*/ 174593 h 816006"/>
              <a:gd name="connsiteX53" fmla="*/ 38576 w 731996"/>
              <a:gd name="connsiteY53" fmla="*/ 206121 h 816006"/>
              <a:gd name="connsiteX54" fmla="*/ 49721 w 731996"/>
              <a:gd name="connsiteY54" fmla="*/ 270891 h 816006"/>
              <a:gd name="connsiteX55" fmla="*/ 20574 w 731996"/>
              <a:gd name="connsiteY55" fmla="*/ 318897 h 816006"/>
              <a:gd name="connsiteX56" fmla="*/ 36671 w 731996"/>
              <a:gd name="connsiteY56" fmla="*/ 337375 h 816006"/>
              <a:gd name="connsiteX57" fmla="*/ 18669 w 731996"/>
              <a:gd name="connsiteY57" fmla="*/ 355473 h 816006"/>
              <a:gd name="connsiteX58" fmla="*/ 56293 w 731996"/>
              <a:gd name="connsiteY58" fmla="*/ 387477 h 816006"/>
              <a:gd name="connsiteX59" fmla="*/ 58102 w 731996"/>
              <a:gd name="connsiteY59" fmla="*/ 396335 h 816006"/>
              <a:gd name="connsiteX60" fmla="*/ 65246 w 731996"/>
              <a:gd name="connsiteY60" fmla="*/ 404622 h 816006"/>
              <a:gd name="connsiteX61" fmla="*/ 44577 w 731996"/>
              <a:gd name="connsiteY61" fmla="*/ 425577 h 816006"/>
              <a:gd name="connsiteX62" fmla="*/ 42672 w 731996"/>
              <a:gd name="connsiteY62" fmla="*/ 424434 h 816006"/>
              <a:gd name="connsiteX63" fmla="*/ 0 w 731996"/>
              <a:gd name="connsiteY63" fmla="*/ 468440 h 816006"/>
              <a:gd name="connsiteX64" fmla="*/ 14859 w 731996"/>
              <a:gd name="connsiteY64" fmla="*/ 480727 h 816006"/>
              <a:gd name="connsiteX65" fmla="*/ 24384 w 731996"/>
              <a:gd name="connsiteY65" fmla="*/ 510445 h 816006"/>
              <a:gd name="connsiteX66" fmla="*/ 37052 w 731996"/>
              <a:gd name="connsiteY66" fmla="*/ 516350 h 816006"/>
              <a:gd name="connsiteX67" fmla="*/ 43339 w 731996"/>
              <a:gd name="connsiteY67" fmla="*/ 571214 h 816006"/>
              <a:gd name="connsiteX68" fmla="*/ 74771 w 731996"/>
              <a:gd name="connsiteY68" fmla="*/ 599408 h 816006"/>
              <a:gd name="connsiteX69" fmla="*/ 60484 w 731996"/>
              <a:gd name="connsiteY69" fmla="*/ 618077 h 816006"/>
              <a:gd name="connsiteX70" fmla="*/ 72771 w 731996"/>
              <a:gd name="connsiteY70" fmla="*/ 628650 h 816006"/>
              <a:gd name="connsiteX71" fmla="*/ 69628 w 731996"/>
              <a:gd name="connsiteY71" fmla="*/ 642557 h 816006"/>
              <a:gd name="connsiteX72" fmla="*/ 55626 w 731996"/>
              <a:gd name="connsiteY72" fmla="*/ 642557 h 816006"/>
              <a:gd name="connsiteX73" fmla="*/ 58198 w 731996"/>
              <a:gd name="connsiteY73" fmla="*/ 665226 h 816006"/>
              <a:gd name="connsiteX74" fmla="*/ 75057 w 731996"/>
              <a:gd name="connsiteY74" fmla="*/ 675513 h 816006"/>
              <a:gd name="connsiteX75" fmla="*/ 69437 w 731996"/>
              <a:gd name="connsiteY75" fmla="*/ 692468 h 816006"/>
              <a:gd name="connsiteX76" fmla="*/ 91916 w 731996"/>
              <a:gd name="connsiteY76" fmla="*/ 719995 h 816006"/>
              <a:gd name="connsiteX77" fmla="*/ 112585 w 731996"/>
              <a:gd name="connsiteY77" fmla="*/ 816007 h 816006"/>
              <a:gd name="connsiteX78" fmla="*/ 150114 w 731996"/>
              <a:gd name="connsiteY78" fmla="*/ 815054 h 816006"/>
              <a:gd name="connsiteX79" fmla="*/ 181546 w 731996"/>
              <a:gd name="connsiteY79" fmla="*/ 774954 h 816006"/>
              <a:gd name="connsiteX80" fmla="*/ 203930 w 731996"/>
              <a:gd name="connsiteY80" fmla="*/ 770763 h 816006"/>
              <a:gd name="connsiteX81" fmla="*/ 207454 w 731996"/>
              <a:gd name="connsiteY81" fmla="*/ 751237 h 816006"/>
              <a:gd name="connsiteX82" fmla="*/ 238792 w 731996"/>
              <a:gd name="connsiteY82" fmla="*/ 768572 h 816006"/>
              <a:gd name="connsiteX83" fmla="*/ 283845 w 731996"/>
              <a:gd name="connsiteY83" fmla="*/ 768572 h 816006"/>
              <a:gd name="connsiteX84" fmla="*/ 308419 w 731996"/>
              <a:gd name="connsiteY84" fmla="*/ 776478 h 816006"/>
              <a:gd name="connsiteX85" fmla="*/ 305086 w 731996"/>
              <a:gd name="connsiteY85" fmla="*/ 788194 h 816006"/>
              <a:gd name="connsiteX86" fmla="*/ 316992 w 731996"/>
              <a:gd name="connsiteY86" fmla="*/ 814769 h 816006"/>
              <a:gd name="connsiteX87" fmla="*/ 330041 w 731996"/>
              <a:gd name="connsiteY87" fmla="*/ 815150 h 816006"/>
              <a:gd name="connsiteX88" fmla="*/ 345091 w 731996"/>
              <a:gd name="connsiteY88" fmla="*/ 763524 h 816006"/>
              <a:gd name="connsiteX89" fmla="*/ 409480 w 731996"/>
              <a:gd name="connsiteY89" fmla="*/ 763524 h 816006"/>
              <a:gd name="connsiteX90" fmla="*/ 411385 w 731996"/>
              <a:gd name="connsiteY90" fmla="*/ 773049 h 816006"/>
              <a:gd name="connsiteX91" fmla="*/ 423863 w 731996"/>
              <a:gd name="connsiteY91" fmla="*/ 780288 h 816006"/>
              <a:gd name="connsiteX92" fmla="*/ 446627 w 731996"/>
              <a:gd name="connsiteY92" fmla="*/ 703612 h 816006"/>
              <a:gd name="connsiteX93" fmla="*/ 445484 w 731996"/>
              <a:gd name="connsiteY93" fmla="*/ 671894 h 816006"/>
              <a:gd name="connsiteX94" fmla="*/ 167354 w 731996"/>
              <a:gd name="connsiteY94" fmla="*/ 590169 h 816006"/>
              <a:gd name="connsiteX95" fmla="*/ 153638 w 731996"/>
              <a:gd name="connsiteY95" fmla="*/ 586359 h 816006"/>
              <a:gd name="connsiteX96" fmla="*/ 149733 w 731996"/>
              <a:gd name="connsiteY96" fmla="*/ 575501 h 816006"/>
              <a:gd name="connsiteX97" fmla="*/ 144589 w 731996"/>
              <a:gd name="connsiteY97" fmla="*/ 555308 h 816006"/>
              <a:gd name="connsiteX98" fmla="*/ 152114 w 731996"/>
              <a:gd name="connsiteY98" fmla="*/ 545783 h 816006"/>
              <a:gd name="connsiteX99" fmla="*/ 175927 w 731996"/>
              <a:gd name="connsiteY99" fmla="*/ 567023 h 816006"/>
              <a:gd name="connsiteX100" fmla="*/ 167354 w 731996"/>
              <a:gd name="connsiteY100" fmla="*/ 590169 h 816006"/>
              <a:gd name="connsiteX0" fmla="*/ 445484 w 731996"/>
              <a:gd name="connsiteY0" fmla="*/ 672084 h 1503211"/>
              <a:gd name="connsiteX1" fmla="*/ 468059 w 731996"/>
              <a:gd name="connsiteY1" fmla="*/ 640747 h 1503211"/>
              <a:gd name="connsiteX2" fmla="*/ 477584 w 731996"/>
              <a:gd name="connsiteY2" fmla="*/ 614553 h 1503211"/>
              <a:gd name="connsiteX3" fmla="*/ 542639 w 731996"/>
              <a:gd name="connsiteY3" fmla="*/ 603885 h 1503211"/>
              <a:gd name="connsiteX4" fmla="*/ 582739 w 731996"/>
              <a:gd name="connsiteY4" fmla="*/ 593122 h 1503211"/>
              <a:gd name="connsiteX5" fmla="*/ 636651 w 731996"/>
              <a:gd name="connsiteY5" fmla="*/ 596360 h 1503211"/>
              <a:gd name="connsiteX6" fmla="*/ 688657 w 731996"/>
              <a:gd name="connsiteY6" fmla="*/ 628079 h 1503211"/>
              <a:gd name="connsiteX7" fmla="*/ 694182 w 731996"/>
              <a:gd name="connsiteY7" fmla="*/ 649319 h 1503211"/>
              <a:gd name="connsiteX8" fmla="*/ 713994 w 731996"/>
              <a:gd name="connsiteY8" fmla="*/ 634079 h 1503211"/>
              <a:gd name="connsiteX9" fmla="*/ 698944 w 731996"/>
              <a:gd name="connsiteY9" fmla="*/ 614648 h 1503211"/>
              <a:gd name="connsiteX10" fmla="*/ 713327 w 731996"/>
              <a:gd name="connsiteY10" fmla="*/ 580739 h 1503211"/>
              <a:gd name="connsiteX11" fmla="*/ 721995 w 731996"/>
              <a:gd name="connsiteY11" fmla="*/ 580549 h 1503211"/>
              <a:gd name="connsiteX12" fmla="*/ 718185 w 731996"/>
              <a:gd name="connsiteY12" fmla="*/ 563690 h 1503211"/>
              <a:gd name="connsiteX13" fmla="*/ 731996 w 731996"/>
              <a:gd name="connsiteY13" fmla="*/ 524161 h 1503211"/>
              <a:gd name="connsiteX14" fmla="*/ 716661 w 731996"/>
              <a:gd name="connsiteY14" fmla="*/ 486442 h 1503211"/>
              <a:gd name="connsiteX15" fmla="*/ 677323 w 731996"/>
              <a:gd name="connsiteY15" fmla="*/ 466725 h 1503211"/>
              <a:gd name="connsiteX16" fmla="*/ 674180 w 731996"/>
              <a:gd name="connsiteY16" fmla="*/ 429768 h 1503211"/>
              <a:gd name="connsiteX17" fmla="*/ 687038 w 731996"/>
              <a:gd name="connsiteY17" fmla="*/ 417671 h 1503211"/>
              <a:gd name="connsiteX18" fmla="*/ 683323 w 731996"/>
              <a:gd name="connsiteY18" fmla="*/ 402431 h 1503211"/>
              <a:gd name="connsiteX19" fmla="*/ 572262 w 731996"/>
              <a:gd name="connsiteY19" fmla="*/ 402431 h 1503211"/>
              <a:gd name="connsiteX20" fmla="*/ 569023 w 731996"/>
              <a:gd name="connsiteY20" fmla="*/ 356616 h 1503211"/>
              <a:gd name="connsiteX21" fmla="*/ 554069 w 731996"/>
              <a:gd name="connsiteY21" fmla="*/ 340614 h 1503211"/>
              <a:gd name="connsiteX22" fmla="*/ 561689 w 731996"/>
              <a:gd name="connsiteY22" fmla="*/ 333566 h 1503211"/>
              <a:gd name="connsiteX23" fmla="*/ 562261 w 731996"/>
              <a:gd name="connsiteY23" fmla="*/ 298037 h 1503211"/>
              <a:gd name="connsiteX24" fmla="*/ 555403 w 731996"/>
              <a:gd name="connsiteY24" fmla="*/ 280607 h 1503211"/>
              <a:gd name="connsiteX25" fmla="*/ 562547 w 731996"/>
              <a:gd name="connsiteY25" fmla="*/ 266891 h 1503211"/>
              <a:gd name="connsiteX26" fmla="*/ 553784 w 731996"/>
              <a:gd name="connsiteY26" fmla="*/ 249460 h 1503211"/>
              <a:gd name="connsiteX27" fmla="*/ 517684 w 731996"/>
              <a:gd name="connsiteY27" fmla="*/ 234220 h 1503211"/>
              <a:gd name="connsiteX28" fmla="*/ 476250 w 731996"/>
              <a:gd name="connsiteY28" fmla="*/ 239935 h 1503211"/>
              <a:gd name="connsiteX29" fmla="*/ 452533 w 731996"/>
              <a:gd name="connsiteY29" fmla="*/ 212503 h 1503211"/>
              <a:gd name="connsiteX30" fmla="*/ 414909 w 731996"/>
              <a:gd name="connsiteY30" fmla="*/ 207836 h 1503211"/>
              <a:gd name="connsiteX31" fmla="*/ 394716 w 731996"/>
              <a:gd name="connsiteY31" fmla="*/ 184595 h 1503211"/>
              <a:gd name="connsiteX32" fmla="*/ 354616 w 731996"/>
              <a:gd name="connsiteY32" fmla="*/ 172784 h 1503211"/>
              <a:gd name="connsiteX33" fmla="*/ 342233 w 731996"/>
              <a:gd name="connsiteY33" fmla="*/ 179832 h 1503211"/>
              <a:gd name="connsiteX34" fmla="*/ 311182 w 731996"/>
              <a:gd name="connsiteY34" fmla="*/ 172498 h 1503211"/>
              <a:gd name="connsiteX35" fmla="*/ 311182 w 731996"/>
              <a:gd name="connsiteY35" fmla="*/ 158401 h 1503211"/>
              <a:gd name="connsiteX36" fmla="*/ 279940 w 731996"/>
              <a:gd name="connsiteY36" fmla="*/ 143066 h 1503211"/>
              <a:gd name="connsiteX37" fmla="*/ 259080 w 731996"/>
              <a:gd name="connsiteY37" fmla="*/ 100965 h 1503211"/>
              <a:gd name="connsiteX38" fmla="*/ 266319 w 731996"/>
              <a:gd name="connsiteY38" fmla="*/ 85249 h 1503211"/>
              <a:gd name="connsiteX39" fmla="*/ 254794 w 731996"/>
              <a:gd name="connsiteY39" fmla="*/ 51245 h 1503211"/>
              <a:gd name="connsiteX40" fmla="*/ 266319 w 731996"/>
              <a:gd name="connsiteY40" fmla="*/ 39338 h 1503211"/>
              <a:gd name="connsiteX41" fmla="*/ 266319 w 731996"/>
              <a:gd name="connsiteY41" fmla="*/ 8001 h 1503211"/>
              <a:gd name="connsiteX42" fmla="*/ 252984 w 731996"/>
              <a:gd name="connsiteY42" fmla="*/ 0 h 1503211"/>
              <a:gd name="connsiteX43" fmla="*/ 241078 w 731996"/>
              <a:gd name="connsiteY43" fmla="*/ 10096 h 1503211"/>
              <a:gd name="connsiteX44" fmla="*/ 183928 w 731996"/>
              <a:gd name="connsiteY44" fmla="*/ 16954 h 1503211"/>
              <a:gd name="connsiteX45" fmla="*/ 119920 w 731996"/>
              <a:gd name="connsiteY45" fmla="*/ 64961 h 1503211"/>
              <a:gd name="connsiteX46" fmla="*/ 98774 w 731996"/>
              <a:gd name="connsiteY46" fmla="*/ 63532 h 1503211"/>
              <a:gd name="connsiteX47" fmla="*/ 83534 w 731996"/>
              <a:gd name="connsiteY47" fmla="*/ 86011 h 1503211"/>
              <a:gd name="connsiteX48" fmla="*/ 56769 w 731996"/>
              <a:gd name="connsiteY48" fmla="*/ 93821 h 1503211"/>
              <a:gd name="connsiteX49" fmla="*/ 54197 w 731996"/>
              <a:gd name="connsiteY49" fmla="*/ 80867 h 1503211"/>
              <a:gd name="connsiteX50" fmla="*/ 7906 w 731996"/>
              <a:gd name="connsiteY50" fmla="*/ 78772 h 1503211"/>
              <a:gd name="connsiteX51" fmla="*/ 7906 w 731996"/>
              <a:gd name="connsiteY51" fmla="*/ 78772 h 1503211"/>
              <a:gd name="connsiteX52" fmla="*/ 61627 w 731996"/>
              <a:gd name="connsiteY52" fmla="*/ 174593 h 1503211"/>
              <a:gd name="connsiteX53" fmla="*/ 38576 w 731996"/>
              <a:gd name="connsiteY53" fmla="*/ 206121 h 1503211"/>
              <a:gd name="connsiteX54" fmla="*/ 49721 w 731996"/>
              <a:gd name="connsiteY54" fmla="*/ 270891 h 1503211"/>
              <a:gd name="connsiteX55" fmla="*/ 20574 w 731996"/>
              <a:gd name="connsiteY55" fmla="*/ 318897 h 1503211"/>
              <a:gd name="connsiteX56" fmla="*/ 36671 w 731996"/>
              <a:gd name="connsiteY56" fmla="*/ 337375 h 1503211"/>
              <a:gd name="connsiteX57" fmla="*/ 18669 w 731996"/>
              <a:gd name="connsiteY57" fmla="*/ 355473 h 1503211"/>
              <a:gd name="connsiteX58" fmla="*/ 56293 w 731996"/>
              <a:gd name="connsiteY58" fmla="*/ 387477 h 1503211"/>
              <a:gd name="connsiteX59" fmla="*/ 58102 w 731996"/>
              <a:gd name="connsiteY59" fmla="*/ 396335 h 1503211"/>
              <a:gd name="connsiteX60" fmla="*/ 65246 w 731996"/>
              <a:gd name="connsiteY60" fmla="*/ 404622 h 1503211"/>
              <a:gd name="connsiteX61" fmla="*/ 44577 w 731996"/>
              <a:gd name="connsiteY61" fmla="*/ 425577 h 1503211"/>
              <a:gd name="connsiteX62" fmla="*/ 42672 w 731996"/>
              <a:gd name="connsiteY62" fmla="*/ 424434 h 1503211"/>
              <a:gd name="connsiteX63" fmla="*/ 0 w 731996"/>
              <a:gd name="connsiteY63" fmla="*/ 468440 h 1503211"/>
              <a:gd name="connsiteX64" fmla="*/ 14859 w 731996"/>
              <a:gd name="connsiteY64" fmla="*/ 480727 h 1503211"/>
              <a:gd name="connsiteX65" fmla="*/ 24384 w 731996"/>
              <a:gd name="connsiteY65" fmla="*/ 510445 h 1503211"/>
              <a:gd name="connsiteX66" fmla="*/ 37052 w 731996"/>
              <a:gd name="connsiteY66" fmla="*/ 516350 h 1503211"/>
              <a:gd name="connsiteX67" fmla="*/ 43339 w 731996"/>
              <a:gd name="connsiteY67" fmla="*/ 571214 h 1503211"/>
              <a:gd name="connsiteX68" fmla="*/ 74771 w 731996"/>
              <a:gd name="connsiteY68" fmla="*/ 599408 h 1503211"/>
              <a:gd name="connsiteX69" fmla="*/ 60484 w 731996"/>
              <a:gd name="connsiteY69" fmla="*/ 618077 h 1503211"/>
              <a:gd name="connsiteX70" fmla="*/ 72771 w 731996"/>
              <a:gd name="connsiteY70" fmla="*/ 628650 h 1503211"/>
              <a:gd name="connsiteX71" fmla="*/ 69628 w 731996"/>
              <a:gd name="connsiteY71" fmla="*/ 642557 h 1503211"/>
              <a:gd name="connsiteX72" fmla="*/ 55626 w 731996"/>
              <a:gd name="connsiteY72" fmla="*/ 642557 h 1503211"/>
              <a:gd name="connsiteX73" fmla="*/ 58198 w 731996"/>
              <a:gd name="connsiteY73" fmla="*/ 665226 h 1503211"/>
              <a:gd name="connsiteX74" fmla="*/ 75057 w 731996"/>
              <a:gd name="connsiteY74" fmla="*/ 675513 h 1503211"/>
              <a:gd name="connsiteX75" fmla="*/ 69437 w 731996"/>
              <a:gd name="connsiteY75" fmla="*/ 692468 h 1503211"/>
              <a:gd name="connsiteX76" fmla="*/ 91916 w 731996"/>
              <a:gd name="connsiteY76" fmla="*/ 719995 h 1503211"/>
              <a:gd name="connsiteX77" fmla="*/ 112585 w 731996"/>
              <a:gd name="connsiteY77" fmla="*/ 816007 h 1503211"/>
              <a:gd name="connsiteX78" fmla="*/ 225529 w 731996"/>
              <a:gd name="connsiteY78" fmla="*/ 1503211 h 1503211"/>
              <a:gd name="connsiteX79" fmla="*/ 181546 w 731996"/>
              <a:gd name="connsiteY79" fmla="*/ 774954 h 1503211"/>
              <a:gd name="connsiteX80" fmla="*/ 203930 w 731996"/>
              <a:gd name="connsiteY80" fmla="*/ 770763 h 1503211"/>
              <a:gd name="connsiteX81" fmla="*/ 207454 w 731996"/>
              <a:gd name="connsiteY81" fmla="*/ 751237 h 1503211"/>
              <a:gd name="connsiteX82" fmla="*/ 238792 w 731996"/>
              <a:gd name="connsiteY82" fmla="*/ 768572 h 1503211"/>
              <a:gd name="connsiteX83" fmla="*/ 283845 w 731996"/>
              <a:gd name="connsiteY83" fmla="*/ 768572 h 1503211"/>
              <a:gd name="connsiteX84" fmla="*/ 308419 w 731996"/>
              <a:gd name="connsiteY84" fmla="*/ 776478 h 1503211"/>
              <a:gd name="connsiteX85" fmla="*/ 305086 w 731996"/>
              <a:gd name="connsiteY85" fmla="*/ 788194 h 1503211"/>
              <a:gd name="connsiteX86" fmla="*/ 316992 w 731996"/>
              <a:gd name="connsiteY86" fmla="*/ 814769 h 1503211"/>
              <a:gd name="connsiteX87" fmla="*/ 330041 w 731996"/>
              <a:gd name="connsiteY87" fmla="*/ 815150 h 1503211"/>
              <a:gd name="connsiteX88" fmla="*/ 345091 w 731996"/>
              <a:gd name="connsiteY88" fmla="*/ 763524 h 1503211"/>
              <a:gd name="connsiteX89" fmla="*/ 409480 w 731996"/>
              <a:gd name="connsiteY89" fmla="*/ 763524 h 1503211"/>
              <a:gd name="connsiteX90" fmla="*/ 411385 w 731996"/>
              <a:gd name="connsiteY90" fmla="*/ 773049 h 1503211"/>
              <a:gd name="connsiteX91" fmla="*/ 423863 w 731996"/>
              <a:gd name="connsiteY91" fmla="*/ 780288 h 1503211"/>
              <a:gd name="connsiteX92" fmla="*/ 446627 w 731996"/>
              <a:gd name="connsiteY92" fmla="*/ 703612 h 1503211"/>
              <a:gd name="connsiteX93" fmla="*/ 445484 w 731996"/>
              <a:gd name="connsiteY93" fmla="*/ 671894 h 1503211"/>
              <a:gd name="connsiteX94" fmla="*/ 445484 w 731996"/>
              <a:gd name="connsiteY94" fmla="*/ 672084 h 1503211"/>
              <a:gd name="connsiteX95" fmla="*/ 167354 w 731996"/>
              <a:gd name="connsiteY95" fmla="*/ 590169 h 1503211"/>
              <a:gd name="connsiteX96" fmla="*/ 153638 w 731996"/>
              <a:gd name="connsiteY96" fmla="*/ 586359 h 1503211"/>
              <a:gd name="connsiteX97" fmla="*/ 149733 w 731996"/>
              <a:gd name="connsiteY97" fmla="*/ 575501 h 1503211"/>
              <a:gd name="connsiteX98" fmla="*/ 144589 w 731996"/>
              <a:gd name="connsiteY98" fmla="*/ 555308 h 1503211"/>
              <a:gd name="connsiteX99" fmla="*/ 152114 w 731996"/>
              <a:gd name="connsiteY99" fmla="*/ 545783 h 1503211"/>
              <a:gd name="connsiteX100" fmla="*/ 175927 w 731996"/>
              <a:gd name="connsiteY100" fmla="*/ 567023 h 1503211"/>
              <a:gd name="connsiteX101" fmla="*/ 167354 w 731996"/>
              <a:gd name="connsiteY101" fmla="*/ 590169 h 1503211"/>
              <a:gd name="connsiteX0" fmla="*/ 445484 w 776120"/>
              <a:gd name="connsiteY0" fmla="*/ 672084 h 1522717"/>
              <a:gd name="connsiteX1" fmla="*/ 468059 w 776120"/>
              <a:gd name="connsiteY1" fmla="*/ 640747 h 1522717"/>
              <a:gd name="connsiteX2" fmla="*/ 477584 w 776120"/>
              <a:gd name="connsiteY2" fmla="*/ 614553 h 1522717"/>
              <a:gd name="connsiteX3" fmla="*/ 542639 w 776120"/>
              <a:gd name="connsiteY3" fmla="*/ 603885 h 1522717"/>
              <a:gd name="connsiteX4" fmla="*/ 582739 w 776120"/>
              <a:gd name="connsiteY4" fmla="*/ 593122 h 1522717"/>
              <a:gd name="connsiteX5" fmla="*/ 636651 w 776120"/>
              <a:gd name="connsiteY5" fmla="*/ 596360 h 1522717"/>
              <a:gd name="connsiteX6" fmla="*/ 688657 w 776120"/>
              <a:gd name="connsiteY6" fmla="*/ 628079 h 1522717"/>
              <a:gd name="connsiteX7" fmla="*/ 694182 w 776120"/>
              <a:gd name="connsiteY7" fmla="*/ 649319 h 1522717"/>
              <a:gd name="connsiteX8" fmla="*/ 713994 w 776120"/>
              <a:gd name="connsiteY8" fmla="*/ 634079 h 1522717"/>
              <a:gd name="connsiteX9" fmla="*/ 698944 w 776120"/>
              <a:gd name="connsiteY9" fmla="*/ 614648 h 1522717"/>
              <a:gd name="connsiteX10" fmla="*/ 713327 w 776120"/>
              <a:gd name="connsiteY10" fmla="*/ 580739 h 1522717"/>
              <a:gd name="connsiteX11" fmla="*/ 721995 w 776120"/>
              <a:gd name="connsiteY11" fmla="*/ 580549 h 1522717"/>
              <a:gd name="connsiteX12" fmla="*/ 718185 w 776120"/>
              <a:gd name="connsiteY12" fmla="*/ 563690 h 1522717"/>
              <a:gd name="connsiteX13" fmla="*/ 731996 w 776120"/>
              <a:gd name="connsiteY13" fmla="*/ 524161 h 1522717"/>
              <a:gd name="connsiteX14" fmla="*/ 716661 w 776120"/>
              <a:gd name="connsiteY14" fmla="*/ 486442 h 1522717"/>
              <a:gd name="connsiteX15" fmla="*/ 677323 w 776120"/>
              <a:gd name="connsiteY15" fmla="*/ 466725 h 1522717"/>
              <a:gd name="connsiteX16" fmla="*/ 674180 w 776120"/>
              <a:gd name="connsiteY16" fmla="*/ 429768 h 1522717"/>
              <a:gd name="connsiteX17" fmla="*/ 687038 w 776120"/>
              <a:gd name="connsiteY17" fmla="*/ 417671 h 1522717"/>
              <a:gd name="connsiteX18" fmla="*/ 683323 w 776120"/>
              <a:gd name="connsiteY18" fmla="*/ 402431 h 1522717"/>
              <a:gd name="connsiteX19" fmla="*/ 572262 w 776120"/>
              <a:gd name="connsiteY19" fmla="*/ 402431 h 1522717"/>
              <a:gd name="connsiteX20" fmla="*/ 569023 w 776120"/>
              <a:gd name="connsiteY20" fmla="*/ 356616 h 1522717"/>
              <a:gd name="connsiteX21" fmla="*/ 554069 w 776120"/>
              <a:gd name="connsiteY21" fmla="*/ 340614 h 1522717"/>
              <a:gd name="connsiteX22" fmla="*/ 561689 w 776120"/>
              <a:gd name="connsiteY22" fmla="*/ 333566 h 1522717"/>
              <a:gd name="connsiteX23" fmla="*/ 562261 w 776120"/>
              <a:gd name="connsiteY23" fmla="*/ 298037 h 1522717"/>
              <a:gd name="connsiteX24" fmla="*/ 555403 w 776120"/>
              <a:gd name="connsiteY24" fmla="*/ 280607 h 1522717"/>
              <a:gd name="connsiteX25" fmla="*/ 562547 w 776120"/>
              <a:gd name="connsiteY25" fmla="*/ 266891 h 1522717"/>
              <a:gd name="connsiteX26" fmla="*/ 553784 w 776120"/>
              <a:gd name="connsiteY26" fmla="*/ 249460 h 1522717"/>
              <a:gd name="connsiteX27" fmla="*/ 517684 w 776120"/>
              <a:gd name="connsiteY27" fmla="*/ 234220 h 1522717"/>
              <a:gd name="connsiteX28" fmla="*/ 476250 w 776120"/>
              <a:gd name="connsiteY28" fmla="*/ 239935 h 1522717"/>
              <a:gd name="connsiteX29" fmla="*/ 452533 w 776120"/>
              <a:gd name="connsiteY29" fmla="*/ 212503 h 1522717"/>
              <a:gd name="connsiteX30" fmla="*/ 414909 w 776120"/>
              <a:gd name="connsiteY30" fmla="*/ 207836 h 1522717"/>
              <a:gd name="connsiteX31" fmla="*/ 394716 w 776120"/>
              <a:gd name="connsiteY31" fmla="*/ 184595 h 1522717"/>
              <a:gd name="connsiteX32" fmla="*/ 354616 w 776120"/>
              <a:gd name="connsiteY32" fmla="*/ 172784 h 1522717"/>
              <a:gd name="connsiteX33" fmla="*/ 342233 w 776120"/>
              <a:gd name="connsiteY33" fmla="*/ 179832 h 1522717"/>
              <a:gd name="connsiteX34" fmla="*/ 311182 w 776120"/>
              <a:gd name="connsiteY34" fmla="*/ 172498 h 1522717"/>
              <a:gd name="connsiteX35" fmla="*/ 311182 w 776120"/>
              <a:gd name="connsiteY35" fmla="*/ 158401 h 1522717"/>
              <a:gd name="connsiteX36" fmla="*/ 279940 w 776120"/>
              <a:gd name="connsiteY36" fmla="*/ 143066 h 1522717"/>
              <a:gd name="connsiteX37" fmla="*/ 259080 w 776120"/>
              <a:gd name="connsiteY37" fmla="*/ 100965 h 1522717"/>
              <a:gd name="connsiteX38" fmla="*/ 266319 w 776120"/>
              <a:gd name="connsiteY38" fmla="*/ 85249 h 1522717"/>
              <a:gd name="connsiteX39" fmla="*/ 254794 w 776120"/>
              <a:gd name="connsiteY39" fmla="*/ 51245 h 1522717"/>
              <a:gd name="connsiteX40" fmla="*/ 266319 w 776120"/>
              <a:gd name="connsiteY40" fmla="*/ 39338 h 1522717"/>
              <a:gd name="connsiteX41" fmla="*/ 266319 w 776120"/>
              <a:gd name="connsiteY41" fmla="*/ 8001 h 1522717"/>
              <a:gd name="connsiteX42" fmla="*/ 252984 w 776120"/>
              <a:gd name="connsiteY42" fmla="*/ 0 h 1522717"/>
              <a:gd name="connsiteX43" fmla="*/ 241078 w 776120"/>
              <a:gd name="connsiteY43" fmla="*/ 10096 h 1522717"/>
              <a:gd name="connsiteX44" fmla="*/ 183928 w 776120"/>
              <a:gd name="connsiteY44" fmla="*/ 16954 h 1522717"/>
              <a:gd name="connsiteX45" fmla="*/ 119920 w 776120"/>
              <a:gd name="connsiteY45" fmla="*/ 64961 h 1522717"/>
              <a:gd name="connsiteX46" fmla="*/ 98774 w 776120"/>
              <a:gd name="connsiteY46" fmla="*/ 63532 h 1522717"/>
              <a:gd name="connsiteX47" fmla="*/ 83534 w 776120"/>
              <a:gd name="connsiteY47" fmla="*/ 86011 h 1522717"/>
              <a:gd name="connsiteX48" fmla="*/ 56769 w 776120"/>
              <a:gd name="connsiteY48" fmla="*/ 93821 h 1522717"/>
              <a:gd name="connsiteX49" fmla="*/ 54197 w 776120"/>
              <a:gd name="connsiteY49" fmla="*/ 80867 h 1522717"/>
              <a:gd name="connsiteX50" fmla="*/ 7906 w 776120"/>
              <a:gd name="connsiteY50" fmla="*/ 78772 h 1522717"/>
              <a:gd name="connsiteX51" fmla="*/ 7906 w 776120"/>
              <a:gd name="connsiteY51" fmla="*/ 78772 h 1522717"/>
              <a:gd name="connsiteX52" fmla="*/ 61627 w 776120"/>
              <a:gd name="connsiteY52" fmla="*/ 174593 h 1522717"/>
              <a:gd name="connsiteX53" fmla="*/ 38576 w 776120"/>
              <a:gd name="connsiteY53" fmla="*/ 206121 h 1522717"/>
              <a:gd name="connsiteX54" fmla="*/ 49721 w 776120"/>
              <a:gd name="connsiteY54" fmla="*/ 270891 h 1522717"/>
              <a:gd name="connsiteX55" fmla="*/ 20574 w 776120"/>
              <a:gd name="connsiteY55" fmla="*/ 318897 h 1522717"/>
              <a:gd name="connsiteX56" fmla="*/ 36671 w 776120"/>
              <a:gd name="connsiteY56" fmla="*/ 337375 h 1522717"/>
              <a:gd name="connsiteX57" fmla="*/ 18669 w 776120"/>
              <a:gd name="connsiteY57" fmla="*/ 355473 h 1522717"/>
              <a:gd name="connsiteX58" fmla="*/ 56293 w 776120"/>
              <a:gd name="connsiteY58" fmla="*/ 387477 h 1522717"/>
              <a:gd name="connsiteX59" fmla="*/ 58102 w 776120"/>
              <a:gd name="connsiteY59" fmla="*/ 396335 h 1522717"/>
              <a:gd name="connsiteX60" fmla="*/ 65246 w 776120"/>
              <a:gd name="connsiteY60" fmla="*/ 404622 h 1522717"/>
              <a:gd name="connsiteX61" fmla="*/ 44577 w 776120"/>
              <a:gd name="connsiteY61" fmla="*/ 425577 h 1522717"/>
              <a:gd name="connsiteX62" fmla="*/ 42672 w 776120"/>
              <a:gd name="connsiteY62" fmla="*/ 424434 h 1522717"/>
              <a:gd name="connsiteX63" fmla="*/ 0 w 776120"/>
              <a:gd name="connsiteY63" fmla="*/ 468440 h 1522717"/>
              <a:gd name="connsiteX64" fmla="*/ 14859 w 776120"/>
              <a:gd name="connsiteY64" fmla="*/ 480727 h 1522717"/>
              <a:gd name="connsiteX65" fmla="*/ 24384 w 776120"/>
              <a:gd name="connsiteY65" fmla="*/ 510445 h 1522717"/>
              <a:gd name="connsiteX66" fmla="*/ 37052 w 776120"/>
              <a:gd name="connsiteY66" fmla="*/ 516350 h 1522717"/>
              <a:gd name="connsiteX67" fmla="*/ 43339 w 776120"/>
              <a:gd name="connsiteY67" fmla="*/ 571214 h 1522717"/>
              <a:gd name="connsiteX68" fmla="*/ 74771 w 776120"/>
              <a:gd name="connsiteY68" fmla="*/ 599408 h 1522717"/>
              <a:gd name="connsiteX69" fmla="*/ 60484 w 776120"/>
              <a:gd name="connsiteY69" fmla="*/ 618077 h 1522717"/>
              <a:gd name="connsiteX70" fmla="*/ 72771 w 776120"/>
              <a:gd name="connsiteY70" fmla="*/ 628650 h 1522717"/>
              <a:gd name="connsiteX71" fmla="*/ 69628 w 776120"/>
              <a:gd name="connsiteY71" fmla="*/ 642557 h 1522717"/>
              <a:gd name="connsiteX72" fmla="*/ 55626 w 776120"/>
              <a:gd name="connsiteY72" fmla="*/ 642557 h 1522717"/>
              <a:gd name="connsiteX73" fmla="*/ 58198 w 776120"/>
              <a:gd name="connsiteY73" fmla="*/ 665226 h 1522717"/>
              <a:gd name="connsiteX74" fmla="*/ 75057 w 776120"/>
              <a:gd name="connsiteY74" fmla="*/ 675513 h 1522717"/>
              <a:gd name="connsiteX75" fmla="*/ 69437 w 776120"/>
              <a:gd name="connsiteY75" fmla="*/ 692468 h 1522717"/>
              <a:gd name="connsiteX76" fmla="*/ 91916 w 776120"/>
              <a:gd name="connsiteY76" fmla="*/ 719995 h 1522717"/>
              <a:gd name="connsiteX77" fmla="*/ 112585 w 776120"/>
              <a:gd name="connsiteY77" fmla="*/ 816007 h 1522717"/>
              <a:gd name="connsiteX78" fmla="*/ 225529 w 776120"/>
              <a:gd name="connsiteY78" fmla="*/ 1503211 h 1522717"/>
              <a:gd name="connsiteX79" fmla="*/ 181546 w 776120"/>
              <a:gd name="connsiteY79" fmla="*/ 774954 h 1522717"/>
              <a:gd name="connsiteX80" fmla="*/ 203930 w 776120"/>
              <a:gd name="connsiteY80" fmla="*/ 770763 h 1522717"/>
              <a:gd name="connsiteX81" fmla="*/ 207454 w 776120"/>
              <a:gd name="connsiteY81" fmla="*/ 751237 h 1522717"/>
              <a:gd name="connsiteX82" fmla="*/ 776120 w 776120"/>
              <a:gd name="connsiteY82" fmla="*/ 1522717 h 1522717"/>
              <a:gd name="connsiteX83" fmla="*/ 283845 w 776120"/>
              <a:gd name="connsiteY83" fmla="*/ 768572 h 1522717"/>
              <a:gd name="connsiteX84" fmla="*/ 308419 w 776120"/>
              <a:gd name="connsiteY84" fmla="*/ 776478 h 1522717"/>
              <a:gd name="connsiteX85" fmla="*/ 305086 w 776120"/>
              <a:gd name="connsiteY85" fmla="*/ 788194 h 1522717"/>
              <a:gd name="connsiteX86" fmla="*/ 316992 w 776120"/>
              <a:gd name="connsiteY86" fmla="*/ 814769 h 1522717"/>
              <a:gd name="connsiteX87" fmla="*/ 330041 w 776120"/>
              <a:gd name="connsiteY87" fmla="*/ 815150 h 1522717"/>
              <a:gd name="connsiteX88" fmla="*/ 345091 w 776120"/>
              <a:gd name="connsiteY88" fmla="*/ 763524 h 1522717"/>
              <a:gd name="connsiteX89" fmla="*/ 409480 w 776120"/>
              <a:gd name="connsiteY89" fmla="*/ 763524 h 1522717"/>
              <a:gd name="connsiteX90" fmla="*/ 411385 w 776120"/>
              <a:gd name="connsiteY90" fmla="*/ 773049 h 1522717"/>
              <a:gd name="connsiteX91" fmla="*/ 423863 w 776120"/>
              <a:gd name="connsiteY91" fmla="*/ 780288 h 1522717"/>
              <a:gd name="connsiteX92" fmla="*/ 446627 w 776120"/>
              <a:gd name="connsiteY92" fmla="*/ 703612 h 1522717"/>
              <a:gd name="connsiteX93" fmla="*/ 445484 w 776120"/>
              <a:gd name="connsiteY93" fmla="*/ 671894 h 1522717"/>
              <a:gd name="connsiteX94" fmla="*/ 445484 w 776120"/>
              <a:gd name="connsiteY94" fmla="*/ 672084 h 1522717"/>
              <a:gd name="connsiteX95" fmla="*/ 167354 w 776120"/>
              <a:gd name="connsiteY95" fmla="*/ 590169 h 1522717"/>
              <a:gd name="connsiteX96" fmla="*/ 153638 w 776120"/>
              <a:gd name="connsiteY96" fmla="*/ 586359 h 1522717"/>
              <a:gd name="connsiteX97" fmla="*/ 149733 w 776120"/>
              <a:gd name="connsiteY97" fmla="*/ 575501 h 1522717"/>
              <a:gd name="connsiteX98" fmla="*/ 144589 w 776120"/>
              <a:gd name="connsiteY98" fmla="*/ 555308 h 1522717"/>
              <a:gd name="connsiteX99" fmla="*/ 152114 w 776120"/>
              <a:gd name="connsiteY99" fmla="*/ 545783 h 1522717"/>
              <a:gd name="connsiteX100" fmla="*/ 175927 w 776120"/>
              <a:gd name="connsiteY100" fmla="*/ 567023 h 1522717"/>
              <a:gd name="connsiteX101" fmla="*/ 167354 w 776120"/>
              <a:gd name="connsiteY101" fmla="*/ 590169 h 1522717"/>
              <a:gd name="connsiteX0" fmla="*/ 445484 w 776120"/>
              <a:gd name="connsiteY0" fmla="*/ 672084 h 1522717"/>
              <a:gd name="connsiteX1" fmla="*/ 468059 w 776120"/>
              <a:gd name="connsiteY1" fmla="*/ 640747 h 1522717"/>
              <a:gd name="connsiteX2" fmla="*/ 477584 w 776120"/>
              <a:gd name="connsiteY2" fmla="*/ 614553 h 1522717"/>
              <a:gd name="connsiteX3" fmla="*/ 542639 w 776120"/>
              <a:gd name="connsiteY3" fmla="*/ 603885 h 1522717"/>
              <a:gd name="connsiteX4" fmla="*/ 582739 w 776120"/>
              <a:gd name="connsiteY4" fmla="*/ 593122 h 1522717"/>
              <a:gd name="connsiteX5" fmla="*/ 636651 w 776120"/>
              <a:gd name="connsiteY5" fmla="*/ 596360 h 1522717"/>
              <a:gd name="connsiteX6" fmla="*/ 688657 w 776120"/>
              <a:gd name="connsiteY6" fmla="*/ 628079 h 1522717"/>
              <a:gd name="connsiteX7" fmla="*/ 694182 w 776120"/>
              <a:gd name="connsiteY7" fmla="*/ 649319 h 1522717"/>
              <a:gd name="connsiteX8" fmla="*/ 713994 w 776120"/>
              <a:gd name="connsiteY8" fmla="*/ 634079 h 1522717"/>
              <a:gd name="connsiteX9" fmla="*/ 698944 w 776120"/>
              <a:gd name="connsiteY9" fmla="*/ 614648 h 1522717"/>
              <a:gd name="connsiteX10" fmla="*/ 713327 w 776120"/>
              <a:gd name="connsiteY10" fmla="*/ 580739 h 1522717"/>
              <a:gd name="connsiteX11" fmla="*/ 721995 w 776120"/>
              <a:gd name="connsiteY11" fmla="*/ 580549 h 1522717"/>
              <a:gd name="connsiteX12" fmla="*/ 718185 w 776120"/>
              <a:gd name="connsiteY12" fmla="*/ 563690 h 1522717"/>
              <a:gd name="connsiteX13" fmla="*/ 731996 w 776120"/>
              <a:gd name="connsiteY13" fmla="*/ 524161 h 1522717"/>
              <a:gd name="connsiteX14" fmla="*/ 716661 w 776120"/>
              <a:gd name="connsiteY14" fmla="*/ 486442 h 1522717"/>
              <a:gd name="connsiteX15" fmla="*/ 677323 w 776120"/>
              <a:gd name="connsiteY15" fmla="*/ 466725 h 1522717"/>
              <a:gd name="connsiteX16" fmla="*/ 674180 w 776120"/>
              <a:gd name="connsiteY16" fmla="*/ 429768 h 1522717"/>
              <a:gd name="connsiteX17" fmla="*/ 687038 w 776120"/>
              <a:gd name="connsiteY17" fmla="*/ 417671 h 1522717"/>
              <a:gd name="connsiteX18" fmla="*/ 683323 w 776120"/>
              <a:gd name="connsiteY18" fmla="*/ 402431 h 1522717"/>
              <a:gd name="connsiteX19" fmla="*/ 572262 w 776120"/>
              <a:gd name="connsiteY19" fmla="*/ 402431 h 1522717"/>
              <a:gd name="connsiteX20" fmla="*/ 569023 w 776120"/>
              <a:gd name="connsiteY20" fmla="*/ 356616 h 1522717"/>
              <a:gd name="connsiteX21" fmla="*/ 554069 w 776120"/>
              <a:gd name="connsiteY21" fmla="*/ 340614 h 1522717"/>
              <a:gd name="connsiteX22" fmla="*/ 561689 w 776120"/>
              <a:gd name="connsiteY22" fmla="*/ 333566 h 1522717"/>
              <a:gd name="connsiteX23" fmla="*/ 562261 w 776120"/>
              <a:gd name="connsiteY23" fmla="*/ 298037 h 1522717"/>
              <a:gd name="connsiteX24" fmla="*/ 555403 w 776120"/>
              <a:gd name="connsiteY24" fmla="*/ 280607 h 1522717"/>
              <a:gd name="connsiteX25" fmla="*/ 562547 w 776120"/>
              <a:gd name="connsiteY25" fmla="*/ 266891 h 1522717"/>
              <a:gd name="connsiteX26" fmla="*/ 553784 w 776120"/>
              <a:gd name="connsiteY26" fmla="*/ 249460 h 1522717"/>
              <a:gd name="connsiteX27" fmla="*/ 517684 w 776120"/>
              <a:gd name="connsiteY27" fmla="*/ 234220 h 1522717"/>
              <a:gd name="connsiteX28" fmla="*/ 476250 w 776120"/>
              <a:gd name="connsiteY28" fmla="*/ 239935 h 1522717"/>
              <a:gd name="connsiteX29" fmla="*/ 452533 w 776120"/>
              <a:gd name="connsiteY29" fmla="*/ 212503 h 1522717"/>
              <a:gd name="connsiteX30" fmla="*/ 414909 w 776120"/>
              <a:gd name="connsiteY30" fmla="*/ 207836 h 1522717"/>
              <a:gd name="connsiteX31" fmla="*/ 394716 w 776120"/>
              <a:gd name="connsiteY31" fmla="*/ 184595 h 1522717"/>
              <a:gd name="connsiteX32" fmla="*/ 354616 w 776120"/>
              <a:gd name="connsiteY32" fmla="*/ 172784 h 1522717"/>
              <a:gd name="connsiteX33" fmla="*/ 342233 w 776120"/>
              <a:gd name="connsiteY33" fmla="*/ 179832 h 1522717"/>
              <a:gd name="connsiteX34" fmla="*/ 311182 w 776120"/>
              <a:gd name="connsiteY34" fmla="*/ 172498 h 1522717"/>
              <a:gd name="connsiteX35" fmla="*/ 311182 w 776120"/>
              <a:gd name="connsiteY35" fmla="*/ 158401 h 1522717"/>
              <a:gd name="connsiteX36" fmla="*/ 279940 w 776120"/>
              <a:gd name="connsiteY36" fmla="*/ 143066 h 1522717"/>
              <a:gd name="connsiteX37" fmla="*/ 259080 w 776120"/>
              <a:gd name="connsiteY37" fmla="*/ 100965 h 1522717"/>
              <a:gd name="connsiteX38" fmla="*/ 266319 w 776120"/>
              <a:gd name="connsiteY38" fmla="*/ 85249 h 1522717"/>
              <a:gd name="connsiteX39" fmla="*/ 254794 w 776120"/>
              <a:gd name="connsiteY39" fmla="*/ 51245 h 1522717"/>
              <a:gd name="connsiteX40" fmla="*/ 266319 w 776120"/>
              <a:gd name="connsiteY40" fmla="*/ 39338 h 1522717"/>
              <a:gd name="connsiteX41" fmla="*/ 266319 w 776120"/>
              <a:gd name="connsiteY41" fmla="*/ 8001 h 1522717"/>
              <a:gd name="connsiteX42" fmla="*/ 252984 w 776120"/>
              <a:gd name="connsiteY42" fmla="*/ 0 h 1522717"/>
              <a:gd name="connsiteX43" fmla="*/ 241078 w 776120"/>
              <a:gd name="connsiteY43" fmla="*/ 10096 h 1522717"/>
              <a:gd name="connsiteX44" fmla="*/ 183928 w 776120"/>
              <a:gd name="connsiteY44" fmla="*/ 16954 h 1522717"/>
              <a:gd name="connsiteX45" fmla="*/ 119920 w 776120"/>
              <a:gd name="connsiteY45" fmla="*/ 64961 h 1522717"/>
              <a:gd name="connsiteX46" fmla="*/ 98774 w 776120"/>
              <a:gd name="connsiteY46" fmla="*/ 63532 h 1522717"/>
              <a:gd name="connsiteX47" fmla="*/ 83534 w 776120"/>
              <a:gd name="connsiteY47" fmla="*/ 86011 h 1522717"/>
              <a:gd name="connsiteX48" fmla="*/ 56769 w 776120"/>
              <a:gd name="connsiteY48" fmla="*/ 93821 h 1522717"/>
              <a:gd name="connsiteX49" fmla="*/ 54197 w 776120"/>
              <a:gd name="connsiteY49" fmla="*/ 80867 h 1522717"/>
              <a:gd name="connsiteX50" fmla="*/ 7906 w 776120"/>
              <a:gd name="connsiteY50" fmla="*/ 78772 h 1522717"/>
              <a:gd name="connsiteX51" fmla="*/ 7906 w 776120"/>
              <a:gd name="connsiteY51" fmla="*/ 78772 h 1522717"/>
              <a:gd name="connsiteX52" fmla="*/ 61627 w 776120"/>
              <a:gd name="connsiteY52" fmla="*/ 174593 h 1522717"/>
              <a:gd name="connsiteX53" fmla="*/ 38576 w 776120"/>
              <a:gd name="connsiteY53" fmla="*/ 206121 h 1522717"/>
              <a:gd name="connsiteX54" fmla="*/ 49721 w 776120"/>
              <a:gd name="connsiteY54" fmla="*/ 270891 h 1522717"/>
              <a:gd name="connsiteX55" fmla="*/ 20574 w 776120"/>
              <a:gd name="connsiteY55" fmla="*/ 318897 h 1522717"/>
              <a:gd name="connsiteX56" fmla="*/ 36671 w 776120"/>
              <a:gd name="connsiteY56" fmla="*/ 337375 h 1522717"/>
              <a:gd name="connsiteX57" fmla="*/ 18669 w 776120"/>
              <a:gd name="connsiteY57" fmla="*/ 355473 h 1522717"/>
              <a:gd name="connsiteX58" fmla="*/ 56293 w 776120"/>
              <a:gd name="connsiteY58" fmla="*/ 387477 h 1522717"/>
              <a:gd name="connsiteX59" fmla="*/ 58102 w 776120"/>
              <a:gd name="connsiteY59" fmla="*/ 396335 h 1522717"/>
              <a:gd name="connsiteX60" fmla="*/ 65246 w 776120"/>
              <a:gd name="connsiteY60" fmla="*/ 404622 h 1522717"/>
              <a:gd name="connsiteX61" fmla="*/ 44577 w 776120"/>
              <a:gd name="connsiteY61" fmla="*/ 425577 h 1522717"/>
              <a:gd name="connsiteX62" fmla="*/ 42672 w 776120"/>
              <a:gd name="connsiteY62" fmla="*/ 424434 h 1522717"/>
              <a:gd name="connsiteX63" fmla="*/ 0 w 776120"/>
              <a:gd name="connsiteY63" fmla="*/ 468440 h 1522717"/>
              <a:gd name="connsiteX64" fmla="*/ 14859 w 776120"/>
              <a:gd name="connsiteY64" fmla="*/ 480727 h 1522717"/>
              <a:gd name="connsiteX65" fmla="*/ 24384 w 776120"/>
              <a:gd name="connsiteY65" fmla="*/ 510445 h 1522717"/>
              <a:gd name="connsiteX66" fmla="*/ 37052 w 776120"/>
              <a:gd name="connsiteY66" fmla="*/ 516350 h 1522717"/>
              <a:gd name="connsiteX67" fmla="*/ 43339 w 776120"/>
              <a:gd name="connsiteY67" fmla="*/ 571214 h 1522717"/>
              <a:gd name="connsiteX68" fmla="*/ 74771 w 776120"/>
              <a:gd name="connsiteY68" fmla="*/ 599408 h 1522717"/>
              <a:gd name="connsiteX69" fmla="*/ 60484 w 776120"/>
              <a:gd name="connsiteY69" fmla="*/ 618077 h 1522717"/>
              <a:gd name="connsiteX70" fmla="*/ 72771 w 776120"/>
              <a:gd name="connsiteY70" fmla="*/ 628650 h 1522717"/>
              <a:gd name="connsiteX71" fmla="*/ 69628 w 776120"/>
              <a:gd name="connsiteY71" fmla="*/ 642557 h 1522717"/>
              <a:gd name="connsiteX72" fmla="*/ 55626 w 776120"/>
              <a:gd name="connsiteY72" fmla="*/ 642557 h 1522717"/>
              <a:gd name="connsiteX73" fmla="*/ 58198 w 776120"/>
              <a:gd name="connsiteY73" fmla="*/ 665226 h 1522717"/>
              <a:gd name="connsiteX74" fmla="*/ 75057 w 776120"/>
              <a:gd name="connsiteY74" fmla="*/ 675513 h 1522717"/>
              <a:gd name="connsiteX75" fmla="*/ 69437 w 776120"/>
              <a:gd name="connsiteY75" fmla="*/ 692468 h 1522717"/>
              <a:gd name="connsiteX76" fmla="*/ 91916 w 776120"/>
              <a:gd name="connsiteY76" fmla="*/ 719995 h 1522717"/>
              <a:gd name="connsiteX77" fmla="*/ 112585 w 776120"/>
              <a:gd name="connsiteY77" fmla="*/ 816007 h 1522717"/>
              <a:gd name="connsiteX78" fmla="*/ 225529 w 776120"/>
              <a:gd name="connsiteY78" fmla="*/ 1503211 h 1522717"/>
              <a:gd name="connsiteX79" fmla="*/ 181546 w 776120"/>
              <a:gd name="connsiteY79" fmla="*/ 774954 h 1522717"/>
              <a:gd name="connsiteX80" fmla="*/ 203930 w 776120"/>
              <a:gd name="connsiteY80" fmla="*/ 770763 h 1522717"/>
              <a:gd name="connsiteX81" fmla="*/ 776120 w 776120"/>
              <a:gd name="connsiteY81" fmla="*/ 1522717 h 1522717"/>
              <a:gd name="connsiteX82" fmla="*/ 283845 w 776120"/>
              <a:gd name="connsiteY82" fmla="*/ 768572 h 1522717"/>
              <a:gd name="connsiteX83" fmla="*/ 308419 w 776120"/>
              <a:gd name="connsiteY83" fmla="*/ 776478 h 1522717"/>
              <a:gd name="connsiteX84" fmla="*/ 305086 w 776120"/>
              <a:gd name="connsiteY84" fmla="*/ 788194 h 1522717"/>
              <a:gd name="connsiteX85" fmla="*/ 316992 w 776120"/>
              <a:gd name="connsiteY85" fmla="*/ 814769 h 1522717"/>
              <a:gd name="connsiteX86" fmla="*/ 330041 w 776120"/>
              <a:gd name="connsiteY86" fmla="*/ 815150 h 1522717"/>
              <a:gd name="connsiteX87" fmla="*/ 345091 w 776120"/>
              <a:gd name="connsiteY87" fmla="*/ 763524 h 1522717"/>
              <a:gd name="connsiteX88" fmla="*/ 409480 w 776120"/>
              <a:gd name="connsiteY88" fmla="*/ 763524 h 1522717"/>
              <a:gd name="connsiteX89" fmla="*/ 411385 w 776120"/>
              <a:gd name="connsiteY89" fmla="*/ 773049 h 1522717"/>
              <a:gd name="connsiteX90" fmla="*/ 423863 w 776120"/>
              <a:gd name="connsiteY90" fmla="*/ 780288 h 1522717"/>
              <a:gd name="connsiteX91" fmla="*/ 446627 w 776120"/>
              <a:gd name="connsiteY91" fmla="*/ 703612 h 1522717"/>
              <a:gd name="connsiteX92" fmla="*/ 445484 w 776120"/>
              <a:gd name="connsiteY92" fmla="*/ 671894 h 1522717"/>
              <a:gd name="connsiteX93" fmla="*/ 445484 w 776120"/>
              <a:gd name="connsiteY93" fmla="*/ 672084 h 1522717"/>
              <a:gd name="connsiteX94" fmla="*/ 167354 w 776120"/>
              <a:gd name="connsiteY94" fmla="*/ 590169 h 1522717"/>
              <a:gd name="connsiteX95" fmla="*/ 153638 w 776120"/>
              <a:gd name="connsiteY95" fmla="*/ 586359 h 1522717"/>
              <a:gd name="connsiteX96" fmla="*/ 149733 w 776120"/>
              <a:gd name="connsiteY96" fmla="*/ 575501 h 1522717"/>
              <a:gd name="connsiteX97" fmla="*/ 144589 w 776120"/>
              <a:gd name="connsiteY97" fmla="*/ 555308 h 1522717"/>
              <a:gd name="connsiteX98" fmla="*/ 152114 w 776120"/>
              <a:gd name="connsiteY98" fmla="*/ 545783 h 1522717"/>
              <a:gd name="connsiteX99" fmla="*/ 175927 w 776120"/>
              <a:gd name="connsiteY99" fmla="*/ 567023 h 1522717"/>
              <a:gd name="connsiteX100" fmla="*/ 167354 w 776120"/>
              <a:gd name="connsiteY100" fmla="*/ 590169 h 1522717"/>
              <a:gd name="connsiteX0" fmla="*/ 445484 w 776120"/>
              <a:gd name="connsiteY0" fmla="*/ 672084 h 1522717"/>
              <a:gd name="connsiteX1" fmla="*/ 468059 w 776120"/>
              <a:gd name="connsiteY1" fmla="*/ 640747 h 1522717"/>
              <a:gd name="connsiteX2" fmla="*/ 477584 w 776120"/>
              <a:gd name="connsiteY2" fmla="*/ 614553 h 1522717"/>
              <a:gd name="connsiteX3" fmla="*/ 542639 w 776120"/>
              <a:gd name="connsiteY3" fmla="*/ 603885 h 1522717"/>
              <a:gd name="connsiteX4" fmla="*/ 582739 w 776120"/>
              <a:gd name="connsiteY4" fmla="*/ 593122 h 1522717"/>
              <a:gd name="connsiteX5" fmla="*/ 636651 w 776120"/>
              <a:gd name="connsiteY5" fmla="*/ 596360 h 1522717"/>
              <a:gd name="connsiteX6" fmla="*/ 688657 w 776120"/>
              <a:gd name="connsiteY6" fmla="*/ 628079 h 1522717"/>
              <a:gd name="connsiteX7" fmla="*/ 694182 w 776120"/>
              <a:gd name="connsiteY7" fmla="*/ 649319 h 1522717"/>
              <a:gd name="connsiteX8" fmla="*/ 713994 w 776120"/>
              <a:gd name="connsiteY8" fmla="*/ 634079 h 1522717"/>
              <a:gd name="connsiteX9" fmla="*/ 698944 w 776120"/>
              <a:gd name="connsiteY9" fmla="*/ 614648 h 1522717"/>
              <a:gd name="connsiteX10" fmla="*/ 713327 w 776120"/>
              <a:gd name="connsiteY10" fmla="*/ 580739 h 1522717"/>
              <a:gd name="connsiteX11" fmla="*/ 721995 w 776120"/>
              <a:gd name="connsiteY11" fmla="*/ 580549 h 1522717"/>
              <a:gd name="connsiteX12" fmla="*/ 718185 w 776120"/>
              <a:gd name="connsiteY12" fmla="*/ 563690 h 1522717"/>
              <a:gd name="connsiteX13" fmla="*/ 731996 w 776120"/>
              <a:gd name="connsiteY13" fmla="*/ 524161 h 1522717"/>
              <a:gd name="connsiteX14" fmla="*/ 716661 w 776120"/>
              <a:gd name="connsiteY14" fmla="*/ 486442 h 1522717"/>
              <a:gd name="connsiteX15" fmla="*/ 677323 w 776120"/>
              <a:gd name="connsiteY15" fmla="*/ 466725 h 1522717"/>
              <a:gd name="connsiteX16" fmla="*/ 674180 w 776120"/>
              <a:gd name="connsiteY16" fmla="*/ 429768 h 1522717"/>
              <a:gd name="connsiteX17" fmla="*/ 687038 w 776120"/>
              <a:gd name="connsiteY17" fmla="*/ 417671 h 1522717"/>
              <a:gd name="connsiteX18" fmla="*/ 683323 w 776120"/>
              <a:gd name="connsiteY18" fmla="*/ 402431 h 1522717"/>
              <a:gd name="connsiteX19" fmla="*/ 572262 w 776120"/>
              <a:gd name="connsiteY19" fmla="*/ 402431 h 1522717"/>
              <a:gd name="connsiteX20" fmla="*/ 569023 w 776120"/>
              <a:gd name="connsiteY20" fmla="*/ 356616 h 1522717"/>
              <a:gd name="connsiteX21" fmla="*/ 554069 w 776120"/>
              <a:gd name="connsiteY21" fmla="*/ 340614 h 1522717"/>
              <a:gd name="connsiteX22" fmla="*/ 561689 w 776120"/>
              <a:gd name="connsiteY22" fmla="*/ 333566 h 1522717"/>
              <a:gd name="connsiteX23" fmla="*/ 562261 w 776120"/>
              <a:gd name="connsiteY23" fmla="*/ 298037 h 1522717"/>
              <a:gd name="connsiteX24" fmla="*/ 555403 w 776120"/>
              <a:gd name="connsiteY24" fmla="*/ 280607 h 1522717"/>
              <a:gd name="connsiteX25" fmla="*/ 562547 w 776120"/>
              <a:gd name="connsiteY25" fmla="*/ 266891 h 1522717"/>
              <a:gd name="connsiteX26" fmla="*/ 553784 w 776120"/>
              <a:gd name="connsiteY26" fmla="*/ 249460 h 1522717"/>
              <a:gd name="connsiteX27" fmla="*/ 517684 w 776120"/>
              <a:gd name="connsiteY27" fmla="*/ 234220 h 1522717"/>
              <a:gd name="connsiteX28" fmla="*/ 476250 w 776120"/>
              <a:gd name="connsiteY28" fmla="*/ 239935 h 1522717"/>
              <a:gd name="connsiteX29" fmla="*/ 452533 w 776120"/>
              <a:gd name="connsiteY29" fmla="*/ 212503 h 1522717"/>
              <a:gd name="connsiteX30" fmla="*/ 414909 w 776120"/>
              <a:gd name="connsiteY30" fmla="*/ 207836 h 1522717"/>
              <a:gd name="connsiteX31" fmla="*/ 394716 w 776120"/>
              <a:gd name="connsiteY31" fmla="*/ 184595 h 1522717"/>
              <a:gd name="connsiteX32" fmla="*/ 354616 w 776120"/>
              <a:gd name="connsiteY32" fmla="*/ 172784 h 1522717"/>
              <a:gd name="connsiteX33" fmla="*/ 342233 w 776120"/>
              <a:gd name="connsiteY33" fmla="*/ 179832 h 1522717"/>
              <a:gd name="connsiteX34" fmla="*/ 311182 w 776120"/>
              <a:gd name="connsiteY34" fmla="*/ 172498 h 1522717"/>
              <a:gd name="connsiteX35" fmla="*/ 311182 w 776120"/>
              <a:gd name="connsiteY35" fmla="*/ 158401 h 1522717"/>
              <a:gd name="connsiteX36" fmla="*/ 279940 w 776120"/>
              <a:gd name="connsiteY36" fmla="*/ 143066 h 1522717"/>
              <a:gd name="connsiteX37" fmla="*/ 259080 w 776120"/>
              <a:gd name="connsiteY37" fmla="*/ 100965 h 1522717"/>
              <a:gd name="connsiteX38" fmla="*/ 266319 w 776120"/>
              <a:gd name="connsiteY38" fmla="*/ 85249 h 1522717"/>
              <a:gd name="connsiteX39" fmla="*/ 254794 w 776120"/>
              <a:gd name="connsiteY39" fmla="*/ 51245 h 1522717"/>
              <a:gd name="connsiteX40" fmla="*/ 266319 w 776120"/>
              <a:gd name="connsiteY40" fmla="*/ 39338 h 1522717"/>
              <a:gd name="connsiteX41" fmla="*/ 266319 w 776120"/>
              <a:gd name="connsiteY41" fmla="*/ 8001 h 1522717"/>
              <a:gd name="connsiteX42" fmla="*/ 252984 w 776120"/>
              <a:gd name="connsiteY42" fmla="*/ 0 h 1522717"/>
              <a:gd name="connsiteX43" fmla="*/ 241078 w 776120"/>
              <a:gd name="connsiteY43" fmla="*/ 10096 h 1522717"/>
              <a:gd name="connsiteX44" fmla="*/ 183928 w 776120"/>
              <a:gd name="connsiteY44" fmla="*/ 16954 h 1522717"/>
              <a:gd name="connsiteX45" fmla="*/ 119920 w 776120"/>
              <a:gd name="connsiteY45" fmla="*/ 64961 h 1522717"/>
              <a:gd name="connsiteX46" fmla="*/ 98774 w 776120"/>
              <a:gd name="connsiteY46" fmla="*/ 63532 h 1522717"/>
              <a:gd name="connsiteX47" fmla="*/ 83534 w 776120"/>
              <a:gd name="connsiteY47" fmla="*/ 86011 h 1522717"/>
              <a:gd name="connsiteX48" fmla="*/ 56769 w 776120"/>
              <a:gd name="connsiteY48" fmla="*/ 93821 h 1522717"/>
              <a:gd name="connsiteX49" fmla="*/ 54197 w 776120"/>
              <a:gd name="connsiteY49" fmla="*/ 80867 h 1522717"/>
              <a:gd name="connsiteX50" fmla="*/ 7906 w 776120"/>
              <a:gd name="connsiteY50" fmla="*/ 78772 h 1522717"/>
              <a:gd name="connsiteX51" fmla="*/ 7906 w 776120"/>
              <a:gd name="connsiteY51" fmla="*/ 78772 h 1522717"/>
              <a:gd name="connsiteX52" fmla="*/ 61627 w 776120"/>
              <a:gd name="connsiteY52" fmla="*/ 174593 h 1522717"/>
              <a:gd name="connsiteX53" fmla="*/ 38576 w 776120"/>
              <a:gd name="connsiteY53" fmla="*/ 206121 h 1522717"/>
              <a:gd name="connsiteX54" fmla="*/ 49721 w 776120"/>
              <a:gd name="connsiteY54" fmla="*/ 270891 h 1522717"/>
              <a:gd name="connsiteX55" fmla="*/ 20574 w 776120"/>
              <a:gd name="connsiteY55" fmla="*/ 318897 h 1522717"/>
              <a:gd name="connsiteX56" fmla="*/ 36671 w 776120"/>
              <a:gd name="connsiteY56" fmla="*/ 337375 h 1522717"/>
              <a:gd name="connsiteX57" fmla="*/ 18669 w 776120"/>
              <a:gd name="connsiteY57" fmla="*/ 355473 h 1522717"/>
              <a:gd name="connsiteX58" fmla="*/ 56293 w 776120"/>
              <a:gd name="connsiteY58" fmla="*/ 387477 h 1522717"/>
              <a:gd name="connsiteX59" fmla="*/ 58102 w 776120"/>
              <a:gd name="connsiteY59" fmla="*/ 396335 h 1522717"/>
              <a:gd name="connsiteX60" fmla="*/ 65246 w 776120"/>
              <a:gd name="connsiteY60" fmla="*/ 404622 h 1522717"/>
              <a:gd name="connsiteX61" fmla="*/ 44577 w 776120"/>
              <a:gd name="connsiteY61" fmla="*/ 425577 h 1522717"/>
              <a:gd name="connsiteX62" fmla="*/ 42672 w 776120"/>
              <a:gd name="connsiteY62" fmla="*/ 424434 h 1522717"/>
              <a:gd name="connsiteX63" fmla="*/ 0 w 776120"/>
              <a:gd name="connsiteY63" fmla="*/ 468440 h 1522717"/>
              <a:gd name="connsiteX64" fmla="*/ 14859 w 776120"/>
              <a:gd name="connsiteY64" fmla="*/ 480727 h 1522717"/>
              <a:gd name="connsiteX65" fmla="*/ 24384 w 776120"/>
              <a:gd name="connsiteY65" fmla="*/ 510445 h 1522717"/>
              <a:gd name="connsiteX66" fmla="*/ 37052 w 776120"/>
              <a:gd name="connsiteY66" fmla="*/ 516350 h 1522717"/>
              <a:gd name="connsiteX67" fmla="*/ 43339 w 776120"/>
              <a:gd name="connsiteY67" fmla="*/ 571214 h 1522717"/>
              <a:gd name="connsiteX68" fmla="*/ 74771 w 776120"/>
              <a:gd name="connsiteY68" fmla="*/ 599408 h 1522717"/>
              <a:gd name="connsiteX69" fmla="*/ 60484 w 776120"/>
              <a:gd name="connsiteY69" fmla="*/ 618077 h 1522717"/>
              <a:gd name="connsiteX70" fmla="*/ 72771 w 776120"/>
              <a:gd name="connsiteY70" fmla="*/ 628650 h 1522717"/>
              <a:gd name="connsiteX71" fmla="*/ 69628 w 776120"/>
              <a:gd name="connsiteY71" fmla="*/ 642557 h 1522717"/>
              <a:gd name="connsiteX72" fmla="*/ 55626 w 776120"/>
              <a:gd name="connsiteY72" fmla="*/ 642557 h 1522717"/>
              <a:gd name="connsiteX73" fmla="*/ 58198 w 776120"/>
              <a:gd name="connsiteY73" fmla="*/ 665226 h 1522717"/>
              <a:gd name="connsiteX74" fmla="*/ 75057 w 776120"/>
              <a:gd name="connsiteY74" fmla="*/ 675513 h 1522717"/>
              <a:gd name="connsiteX75" fmla="*/ 69437 w 776120"/>
              <a:gd name="connsiteY75" fmla="*/ 692468 h 1522717"/>
              <a:gd name="connsiteX76" fmla="*/ 91916 w 776120"/>
              <a:gd name="connsiteY76" fmla="*/ 719995 h 1522717"/>
              <a:gd name="connsiteX77" fmla="*/ 112585 w 776120"/>
              <a:gd name="connsiteY77" fmla="*/ 816007 h 1522717"/>
              <a:gd name="connsiteX78" fmla="*/ 225529 w 776120"/>
              <a:gd name="connsiteY78" fmla="*/ 1503211 h 1522717"/>
              <a:gd name="connsiteX79" fmla="*/ 181546 w 776120"/>
              <a:gd name="connsiteY79" fmla="*/ 774954 h 1522717"/>
              <a:gd name="connsiteX80" fmla="*/ 776120 w 776120"/>
              <a:gd name="connsiteY80" fmla="*/ 1522717 h 1522717"/>
              <a:gd name="connsiteX81" fmla="*/ 283845 w 776120"/>
              <a:gd name="connsiteY81" fmla="*/ 768572 h 1522717"/>
              <a:gd name="connsiteX82" fmla="*/ 308419 w 776120"/>
              <a:gd name="connsiteY82" fmla="*/ 776478 h 1522717"/>
              <a:gd name="connsiteX83" fmla="*/ 305086 w 776120"/>
              <a:gd name="connsiteY83" fmla="*/ 788194 h 1522717"/>
              <a:gd name="connsiteX84" fmla="*/ 316992 w 776120"/>
              <a:gd name="connsiteY84" fmla="*/ 814769 h 1522717"/>
              <a:gd name="connsiteX85" fmla="*/ 330041 w 776120"/>
              <a:gd name="connsiteY85" fmla="*/ 815150 h 1522717"/>
              <a:gd name="connsiteX86" fmla="*/ 345091 w 776120"/>
              <a:gd name="connsiteY86" fmla="*/ 763524 h 1522717"/>
              <a:gd name="connsiteX87" fmla="*/ 409480 w 776120"/>
              <a:gd name="connsiteY87" fmla="*/ 763524 h 1522717"/>
              <a:gd name="connsiteX88" fmla="*/ 411385 w 776120"/>
              <a:gd name="connsiteY88" fmla="*/ 773049 h 1522717"/>
              <a:gd name="connsiteX89" fmla="*/ 423863 w 776120"/>
              <a:gd name="connsiteY89" fmla="*/ 780288 h 1522717"/>
              <a:gd name="connsiteX90" fmla="*/ 446627 w 776120"/>
              <a:gd name="connsiteY90" fmla="*/ 703612 h 1522717"/>
              <a:gd name="connsiteX91" fmla="*/ 445484 w 776120"/>
              <a:gd name="connsiteY91" fmla="*/ 671894 h 1522717"/>
              <a:gd name="connsiteX92" fmla="*/ 445484 w 776120"/>
              <a:gd name="connsiteY92" fmla="*/ 672084 h 1522717"/>
              <a:gd name="connsiteX93" fmla="*/ 167354 w 776120"/>
              <a:gd name="connsiteY93" fmla="*/ 590169 h 1522717"/>
              <a:gd name="connsiteX94" fmla="*/ 153638 w 776120"/>
              <a:gd name="connsiteY94" fmla="*/ 586359 h 1522717"/>
              <a:gd name="connsiteX95" fmla="*/ 149733 w 776120"/>
              <a:gd name="connsiteY95" fmla="*/ 575501 h 1522717"/>
              <a:gd name="connsiteX96" fmla="*/ 144589 w 776120"/>
              <a:gd name="connsiteY96" fmla="*/ 555308 h 1522717"/>
              <a:gd name="connsiteX97" fmla="*/ 152114 w 776120"/>
              <a:gd name="connsiteY97" fmla="*/ 545783 h 1522717"/>
              <a:gd name="connsiteX98" fmla="*/ 175927 w 776120"/>
              <a:gd name="connsiteY98" fmla="*/ 567023 h 1522717"/>
              <a:gd name="connsiteX99" fmla="*/ 167354 w 776120"/>
              <a:gd name="connsiteY99" fmla="*/ 590169 h 1522717"/>
              <a:gd name="connsiteX0" fmla="*/ 445484 w 776120"/>
              <a:gd name="connsiteY0" fmla="*/ 672084 h 1522717"/>
              <a:gd name="connsiteX1" fmla="*/ 468059 w 776120"/>
              <a:gd name="connsiteY1" fmla="*/ 640747 h 1522717"/>
              <a:gd name="connsiteX2" fmla="*/ 477584 w 776120"/>
              <a:gd name="connsiteY2" fmla="*/ 614553 h 1522717"/>
              <a:gd name="connsiteX3" fmla="*/ 542639 w 776120"/>
              <a:gd name="connsiteY3" fmla="*/ 603885 h 1522717"/>
              <a:gd name="connsiteX4" fmla="*/ 582739 w 776120"/>
              <a:gd name="connsiteY4" fmla="*/ 593122 h 1522717"/>
              <a:gd name="connsiteX5" fmla="*/ 636651 w 776120"/>
              <a:gd name="connsiteY5" fmla="*/ 596360 h 1522717"/>
              <a:gd name="connsiteX6" fmla="*/ 688657 w 776120"/>
              <a:gd name="connsiteY6" fmla="*/ 628079 h 1522717"/>
              <a:gd name="connsiteX7" fmla="*/ 694182 w 776120"/>
              <a:gd name="connsiteY7" fmla="*/ 649319 h 1522717"/>
              <a:gd name="connsiteX8" fmla="*/ 713994 w 776120"/>
              <a:gd name="connsiteY8" fmla="*/ 634079 h 1522717"/>
              <a:gd name="connsiteX9" fmla="*/ 698944 w 776120"/>
              <a:gd name="connsiteY9" fmla="*/ 614648 h 1522717"/>
              <a:gd name="connsiteX10" fmla="*/ 713327 w 776120"/>
              <a:gd name="connsiteY10" fmla="*/ 580739 h 1522717"/>
              <a:gd name="connsiteX11" fmla="*/ 721995 w 776120"/>
              <a:gd name="connsiteY11" fmla="*/ 580549 h 1522717"/>
              <a:gd name="connsiteX12" fmla="*/ 718185 w 776120"/>
              <a:gd name="connsiteY12" fmla="*/ 563690 h 1522717"/>
              <a:gd name="connsiteX13" fmla="*/ 731996 w 776120"/>
              <a:gd name="connsiteY13" fmla="*/ 524161 h 1522717"/>
              <a:gd name="connsiteX14" fmla="*/ 716661 w 776120"/>
              <a:gd name="connsiteY14" fmla="*/ 486442 h 1522717"/>
              <a:gd name="connsiteX15" fmla="*/ 677323 w 776120"/>
              <a:gd name="connsiteY15" fmla="*/ 466725 h 1522717"/>
              <a:gd name="connsiteX16" fmla="*/ 674180 w 776120"/>
              <a:gd name="connsiteY16" fmla="*/ 429768 h 1522717"/>
              <a:gd name="connsiteX17" fmla="*/ 687038 w 776120"/>
              <a:gd name="connsiteY17" fmla="*/ 417671 h 1522717"/>
              <a:gd name="connsiteX18" fmla="*/ 683323 w 776120"/>
              <a:gd name="connsiteY18" fmla="*/ 402431 h 1522717"/>
              <a:gd name="connsiteX19" fmla="*/ 572262 w 776120"/>
              <a:gd name="connsiteY19" fmla="*/ 402431 h 1522717"/>
              <a:gd name="connsiteX20" fmla="*/ 569023 w 776120"/>
              <a:gd name="connsiteY20" fmla="*/ 356616 h 1522717"/>
              <a:gd name="connsiteX21" fmla="*/ 554069 w 776120"/>
              <a:gd name="connsiteY21" fmla="*/ 340614 h 1522717"/>
              <a:gd name="connsiteX22" fmla="*/ 561689 w 776120"/>
              <a:gd name="connsiteY22" fmla="*/ 333566 h 1522717"/>
              <a:gd name="connsiteX23" fmla="*/ 562261 w 776120"/>
              <a:gd name="connsiteY23" fmla="*/ 298037 h 1522717"/>
              <a:gd name="connsiteX24" fmla="*/ 555403 w 776120"/>
              <a:gd name="connsiteY24" fmla="*/ 280607 h 1522717"/>
              <a:gd name="connsiteX25" fmla="*/ 562547 w 776120"/>
              <a:gd name="connsiteY25" fmla="*/ 266891 h 1522717"/>
              <a:gd name="connsiteX26" fmla="*/ 553784 w 776120"/>
              <a:gd name="connsiteY26" fmla="*/ 249460 h 1522717"/>
              <a:gd name="connsiteX27" fmla="*/ 517684 w 776120"/>
              <a:gd name="connsiteY27" fmla="*/ 234220 h 1522717"/>
              <a:gd name="connsiteX28" fmla="*/ 476250 w 776120"/>
              <a:gd name="connsiteY28" fmla="*/ 239935 h 1522717"/>
              <a:gd name="connsiteX29" fmla="*/ 452533 w 776120"/>
              <a:gd name="connsiteY29" fmla="*/ 212503 h 1522717"/>
              <a:gd name="connsiteX30" fmla="*/ 414909 w 776120"/>
              <a:gd name="connsiteY30" fmla="*/ 207836 h 1522717"/>
              <a:gd name="connsiteX31" fmla="*/ 394716 w 776120"/>
              <a:gd name="connsiteY31" fmla="*/ 184595 h 1522717"/>
              <a:gd name="connsiteX32" fmla="*/ 354616 w 776120"/>
              <a:gd name="connsiteY32" fmla="*/ 172784 h 1522717"/>
              <a:gd name="connsiteX33" fmla="*/ 342233 w 776120"/>
              <a:gd name="connsiteY33" fmla="*/ 179832 h 1522717"/>
              <a:gd name="connsiteX34" fmla="*/ 311182 w 776120"/>
              <a:gd name="connsiteY34" fmla="*/ 172498 h 1522717"/>
              <a:gd name="connsiteX35" fmla="*/ 311182 w 776120"/>
              <a:gd name="connsiteY35" fmla="*/ 158401 h 1522717"/>
              <a:gd name="connsiteX36" fmla="*/ 279940 w 776120"/>
              <a:gd name="connsiteY36" fmla="*/ 143066 h 1522717"/>
              <a:gd name="connsiteX37" fmla="*/ 259080 w 776120"/>
              <a:gd name="connsiteY37" fmla="*/ 100965 h 1522717"/>
              <a:gd name="connsiteX38" fmla="*/ 266319 w 776120"/>
              <a:gd name="connsiteY38" fmla="*/ 85249 h 1522717"/>
              <a:gd name="connsiteX39" fmla="*/ 254794 w 776120"/>
              <a:gd name="connsiteY39" fmla="*/ 51245 h 1522717"/>
              <a:gd name="connsiteX40" fmla="*/ 266319 w 776120"/>
              <a:gd name="connsiteY40" fmla="*/ 39338 h 1522717"/>
              <a:gd name="connsiteX41" fmla="*/ 266319 w 776120"/>
              <a:gd name="connsiteY41" fmla="*/ 8001 h 1522717"/>
              <a:gd name="connsiteX42" fmla="*/ 252984 w 776120"/>
              <a:gd name="connsiteY42" fmla="*/ 0 h 1522717"/>
              <a:gd name="connsiteX43" fmla="*/ 241078 w 776120"/>
              <a:gd name="connsiteY43" fmla="*/ 10096 h 1522717"/>
              <a:gd name="connsiteX44" fmla="*/ 183928 w 776120"/>
              <a:gd name="connsiteY44" fmla="*/ 16954 h 1522717"/>
              <a:gd name="connsiteX45" fmla="*/ 119920 w 776120"/>
              <a:gd name="connsiteY45" fmla="*/ 64961 h 1522717"/>
              <a:gd name="connsiteX46" fmla="*/ 98774 w 776120"/>
              <a:gd name="connsiteY46" fmla="*/ 63532 h 1522717"/>
              <a:gd name="connsiteX47" fmla="*/ 83534 w 776120"/>
              <a:gd name="connsiteY47" fmla="*/ 86011 h 1522717"/>
              <a:gd name="connsiteX48" fmla="*/ 56769 w 776120"/>
              <a:gd name="connsiteY48" fmla="*/ 93821 h 1522717"/>
              <a:gd name="connsiteX49" fmla="*/ 54197 w 776120"/>
              <a:gd name="connsiteY49" fmla="*/ 80867 h 1522717"/>
              <a:gd name="connsiteX50" fmla="*/ 7906 w 776120"/>
              <a:gd name="connsiteY50" fmla="*/ 78772 h 1522717"/>
              <a:gd name="connsiteX51" fmla="*/ 7906 w 776120"/>
              <a:gd name="connsiteY51" fmla="*/ 78772 h 1522717"/>
              <a:gd name="connsiteX52" fmla="*/ 61627 w 776120"/>
              <a:gd name="connsiteY52" fmla="*/ 174593 h 1522717"/>
              <a:gd name="connsiteX53" fmla="*/ 38576 w 776120"/>
              <a:gd name="connsiteY53" fmla="*/ 206121 h 1522717"/>
              <a:gd name="connsiteX54" fmla="*/ 49721 w 776120"/>
              <a:gd name="connsiteY54" fmla="*/ 270891 h 1522717"/>
              <a:gd name="connsiteX55" fmla="*/ 20574 w 776120"/>
              <a:gd name="connsiteY55" fmla="*/ 318897 h 1522717"/>
              <a:gd name="connsiteX56" fmla="*/ 36671 w 776120"/>
              <a:gd name="connsiteY56" fmla="*/ 337375 h 1522717"/>
              <a:gd name="connsiteX57" fmla="*/ 18669 w 776120"/>
              <a:gd name="connsiteY57" fmla="*/ 355473 h 1522717"/>
              <a:gd name="connsiteX58" fmla="*/ 56293 w 776120"/>
              <a:gd name="connsiteY58" fmla="*/ 387477 h 1522717"/>
              <a:gd name="connsiteX59" fmla="*/ 58102 w 776120"/>
              <a:gd name="connsiteY59" fmla="*/ 396335 h 1522717"/>
              <a:gd name="connsiteX60" fmla="*/ 65246 w 776120"/>
              <a:gd name="connsiteY60" fmla="*/ 404622 h 1522717"/>
              <a:gd name="connsiteX61" fmla="*/ 44577 w 776120"/>
              <a:gd name="connsiteY61" fmla="*/ 425577 h 1522717"/>
              <a:gd name="connsiteX62" fmla="*/ 42672 w 776120"/>
              <a:gd name="connsiteY62" fmla="*/ 424434 h 1522717"/>
              <a:gd name="connsiteX63" fmla="*/ 0 w 776120"/>
              <a:gd name="connsiteY63" fmla="*/ 468440 h 1522717"/>
              <a:gd name="connsiteX64" fmla="*/ 14859 w 776120"/>
              <a:gd name="connsiteY64" fmla="*/ 480727 h 1522717"/>
              <a:gd name="connsiteX65" fmla="*/ 24384 w 776120"/>
              <a:gd name="connsiteY65" fmla="*/ 510445 h 1522717"/>
              <a:gd name="connsiteX66" fmla="*/ 37052 w 776120"/>
              <a:gd name="connsiteY66" fmla="*/ 516350 h 1522717"/>
              <a:gd name="connsiteX67" fmla="*/ 43339 w 776120"/>
              <a:gd name="connsiteY67" fmla="*/ 571214 h 1522717"/>
              <a:gd name="connsiteX68" fmla="*/ 74771 w 776120"/>
              <a:gd name="connsiteY68" fmla="*/ 599408 h 1522717"/>
              <a:gd name="connsiteX69" fmla="*/ 60484 w 776120"/>
              <a:gd name="connsiteY69" fmla="*/ 618077 h 1522717"/>
              <a:gd name="connsiteX70" fmla="*/ 72771 w 776120"/>
              <a:gd name="connsiteY70" fmla="*/ 628650 h 1522717"/>
              <a:gd name="connsiteX71" fmla="*/ 69628 w 776120"/>
              <a:gd name="connsiteY71" fmla="*/ 642557 h 1522717"/>
              <a:gd name="connsiteX72" fmla="*/ 55626 w 776120"/>
              <a:gd name="connsiteY72" fmla="*/ 642557 h 1522717"/>
              <a:gd name="connsiteX73" fmla="*/ 58198 w 776120"/>
              <a:gd name="connsiteY73" fmla="*/ 665226 h 1522717"/>
              <a:gd name="connsiteX74" fmla="*/ 75057 w 776120"/>
              <a:gd name="connsiteY74" fmla="*/ 675513 h 1522717"/>
              <a:gd name="connsiteX75" fmla="*/ 69437 w 776120"/>
              <a:gd name="connsiteY75" fmla="*/ 692468 h 1522717"/>
              <a:gd name="connsiteX76" fmla="*/ 91916 w 776120"/>
              <a:gd name="connsiteY76" fmla="*/ 719995 h 1522717"/>
              <a:gd name="connsiteX77" fmla="*/ 112585 w 776120"/>
              <a:gd name="connsiteY77" fmla="*/ 816007 h 1522717"/>
              <a:gd name="connsiteX78" fmla="*/ 225529 w 776120"/>
              <a:gd name="connsiteY78" fmla="*/ 1503211 h 1522717"/>
              <a:gd name="connsiteX79" fmla="*/ 776120 w 776120"/>
              <a:gd name="connsiteY79" fmla="*/ 1522717 h 1522717"/>
              <a:gd name="connsiteX80" fmla="*/ 283845 w 776120"/>
              <a:gd name="connsiteY80" fmla="*/ 768572 h 1522717"/>
              <a:gd name="connsiteX81" fmla="*/ 308419 w 776120"/>
              <a:gd name="connsiteY81" fmla="*/ 776478 h 1522717"/>
              <a:gd name="connsiteX82" fmla="*/ 305086 w 776120"/>
              <a:gd name="connsiteY82" fmla="*/ 788194 h 1522717"/>
              <a:gd name="connsiteX83" fmla="*/ 316992 w 776120"/>
              <a:gd name="connsiteY83" fmla="*/ 814769 h 1522717"/>
              <a:gd name="connsiteX84" fmla="*/ 330041 w 776120"/>
              <a:gd name="connsiteY84" fmla="*/ 815150 h 1522717"/>
              <a:gd name="connsiteX85" fmla="*/ 345091 w 776120"/>
              <a:gd name="connsiteY85" fmla="*/ 763524 h 1522717"/>
              <a:gd name="connsiteX86" fmla="*/ 409480 w 776120"/>
              <a:gd name="connsiteY86" fmla="*/ 763524 h 1522717"/>
              <a:gd name="connsiteX87" fmla="*/ 411385 w 776120"/>
              <a:gd name="connsiteY87" fmla="*/ 773049 h 1522717"/>
              <a:gd name="connsiteX88" fmla="*/ 423863 w 776120"/>
              <a:gd name="connsiteY88" fmla="*/ 780288 h 1522717"/>
              <a:gd name="connsiteX89" fmla="*/ 446627 w 776120"/>
              <a:gd name="connsiteY89" fmla="*/ 703612 h 1522717"/>
              <a:gd name="connsiteX90" fmla="*/ 445484 w 776120"/>
              <a:gd name="connsiteY90" fmla="*/ 671894 h 1522717"/>
              <a:gd name="connsiteX91" fmla="*/ 445484 w 776120"/>
              <a:gd name="connsiteY91" fmla="*/ 672084 h 1522717"/>
              <a:gd name="connsiteX92" fmla="*/ 167354 w 776120"/>
              <a:gd name="connsiteY92" fmla="*/ 590169 h 1522717"/>
              <a:gd name="connsiteX93" fmla="*/ 153638 w 776120"/>
              <a:gd name="connsiteY93" fmla="*/ 586359 h 1522717"/>
              <a:gd name="connsiteX94" fmla="*/ 149733 w 776120"/>
              <a:gd name="connsiteY94" fmla="*/ 575501 h 1522717"/>
              <a:gd name="connsiteX95" fmla="*/ 144589 w 776120"/>
              <a:gd name="connsiteY95" fmla="*/ 555308 h 1522717"/>
              <a:gd name="connsiteX96" fmla="*/ 152114 w 776120"/>
              <a:gd name="connsiteY96" fmla="*/ 545783 h 1522717"/>
              <a:gd name="connsiteX97" fmla="*/ 175927 w 776120"/>
              <a:gd name="connsiteY97" fmla="*/ 567023 h 1522717"/>
              <a:gd name="connsiteX98" fmla="*/ 167354 w 776120"/>
              <a:gd name="connsiteY98" fmla="*/ 590169 h 1522717"/>
              <a:gd name="connsiteX0" fmla="*/ 445484 w 776120"/>
              <a:gd name="connsiteY0" fmla="*/ 672084 h 1522717"/>
              <a:gd name="connsiteX1" fmla="*/ 468059 w 776120"/>
              <a:gd name="connsiteY1" fmla="*/ 640747 h 1522717"/>
              <a:gd name="connsiteX2" fmla="*/ 477584 w 776120"/>
              <a:gd name="connsiteY2" fmla="*/ 614553 h 1522717"/>
              <a:gd name="connsiteX3" fmla="*/ 542639 w 776120"/>
              <a:gd name="connsiteY3" fmla="*/ 603885 h 1522717"/>
              <a:gd name="connsiteX4" fmla="*/ 582739 w 776120"/>
              <a:gd name="connsiteY4" fmla="*/ 593122 h 1522717"/>
              <a:gd name="connsiteX5" fmla="*/ 636651 w 776120"/>
              <a:gd name="connsiteY5" fmla="*/ 596360 h 1522717"/>
              <a:gd name="connsiteX6" fmla="*/ 688657 w 776120"/>
              <a:gd name="connsiteY6" fmla="*/ 628079 h 1522717"/>
              <a:gd name="connsiteX7" fmla="*/ 694182 w 776120"/>
              <a:gd name="connsiteY7" fmla="*/ 649319 h 1522717"/>
              <a:gd name="connsiteX8" fmla="*/ 713994 w 776120"/>
              <a:gd name="connsiteY8" fmla="*/ 634079 h 1522717"/>
              <a:gd name="connsiteX9" fmla="*/ 698944 w 776120"/>
              <a:gd name="connsiteY9" fmla="*/ 614648 h 1522717"/>
              <a:gd name="connsiteX10" fmla="*/ 713327 w 776120"/>
              <a:gd name="connsiteY10" fmla="*/ 580739 h 1522717"/>
              <a:gd name="connsiteX11" fmla="*/ 721995 w 776120"/>
              <a:gd name="connsiteY11" fmla="*/ 580549 h 1522717"/>
              <a:gd name="connsiteX12" fmla="*/ 718185 w 776120"/>
              <a:gd name="connsiteY12" fmla="*/ 563690 h 1522717"/>
              <a:gd name="connsiteX13" fmla="*/ 731996 w 776120"/>
              <a:gd name="connsiteY13" fmla="*/ 524161 h 1522717"/>
              <a:gd name="connsiteX14" fmla="*/ 716661 w 776120"/>
              <a:gd name="connsiteY14" fmla="*/ 486442 h 1522717"/>
              <a:gd name="connsiteX15" fmla="*/ 677323 w 776120"/>
              <a:gd name="connsiteY15" fmla="*/ 466725 h 1522717"/>
              <a:gd name="connsiteX16" fmla="*/ 674180 w 776120"/>
              <a:gd name="connsiteY16" fmla="*/ 429768 h 1522717"/>
              <a:gd name="connsiteX17" fmla="*/ 687038 w 776120"/>
              <a:gd name="connsiteY17" fmla="*/ 417671 h 1522717"/>
              <a:gd name="connsiteX18" fmla="*/ 683323 w 776120"/>
              <a:gd name="connsiteY18" fmla="*/ 402431 h 1522717"/>
              <a:gd name="connsiteX19" fmla="*/ 572262 w 776120"/>
              <a:gd name="connsiteY19" fmla="*/ 402431 h 1522717"/>
              <a:gd name="connsiteX20" fmla="*/ 569023 w 776120"/>
              <a:gd name="connsiteY20" fmla="*/ 356616 h 1522717"/>
              <a:gd name="connsiteX21" fmla="*/ 554069 w 776120"/>
              <a:gd name="connsiteY21" fmla="*/ 340614 h 1522717"/>
              <a:gd name="connsiteX22" fmla="*/ 561689 w 776120"/>
              <a:gd name="connsiteY22" fmla="*/ 333566 h 1522717"/>
              <a:gd name="connsiteX23" fmla="*/ 562261 w 776120"/>
              <a:gd name="connsiteY23" fmla="*/ 298037 h 1522717"/>
              <a:gd name="connsiteX24" fmla="*/ 555403 w 776120"/>
              <a:gd name="connsiteY24" fmla="*/ 280607 h 1522717"/>
              <a:gd name="connsiteX25" fmla="*/ 562547 w 776120"/>
              <a:gd name="connsiteY25" fmla="*/ 266891 h 1522717"/>
              <a:gd name="connsiteX26" fmla="*/ 553784 w 776120"/>
              <a:gd name="connsiteY26" fmla="*/ 249460 h 1522717"/>
              <a:gd name="connsiteX27" fmla="*/ 517684 w 776120"/>
              <a:gd name="connsiteY27" fmla="*/ 234220 h 1522717"/>
              <a:gd name="connsiteX28" fmla="*/ 476250 w 776120"/>
              <a:gd name="connsiteY28" fmla="*/ 239935 h 1522717"/>
              <a:gd name="connsiteX29" fmla="*/ 452533 w 776120"/>
              <a:gd name="connsiteY29" fmla="*/ 212503 h 1522717"/>
              <a:gd name="connsiteX30" fmla="*/ 414909 w 776120"/>
              <a:gd name="connsiteY30" fmla="*/ 207836 h 1522717"/>
              <a:gd name="connsiteX31" fmla="*/ 394716 w 776120"/>
              <a:gd name="connsiteY31" fmla="*/ 184595 h 1522717"/>
              <a:gd name="connsiteX32" fmla="*/ 354616 w 776120"/>
              <a:gd name="connsiteY32" fmla="*/ 172784 h 1522717"/>
              <a:gd name="connsiteX33" fmla="*/ 342233 w 776120"/>
              <a:gd name="connsiteY33" fmla="*/ 179832 h 1522717"/>
              <a:gd name="connsiteX34" fmla="*/ 311182 w 776120"/>
              <a:gd name="connsiteY34" fmla="*/ 172498 h 1522717"/>
              <a:gd name="connsiteX35" fmla="*/ 311182 w 776120"/>
              <a:gd name="connsiteY35" fmla="*/ 158401 h 1522717"/>
              <a:gd name="connsiteX36" fmla="*/ 279940 w 776120"/>
              <a:gd name="connsiteY36" fmla="*/ 143066 h 1522717"/>
              <a:gd name="connsiteX37" fmla="*/ 259080 w 776120"/>
              <a:gd name="connsiteY37" fmla="*/ 100965 h 1522717"/>
              <a:gd name="connsiteX38" fmla="*/ 266319 w 776120"/>
              <a:gd name="connsiteY38" fmla="*/ 85249 h 1522717"/>
              <a:gd name="connsiteX39" fmla="*/ 254794 w 776120"/>
              <a:gd name="connsiteY39" fmla="*/ 51245 h 1522717"/>
              <a:gd name="connsiteX40" fmla="*/ 266319 w 776120"/>
              <a:gd name="connsiteY40" fmla="*/ 39338 h 1522717"/>
              <a:gd name="connsiteX41" fmla="*/ 266319 w 776120"/>
              <a:gd name="connsiteY41" fmla="*/ 8001 h 1522717"/>
              <a:gd name="connsiteX42" fmla="*/ 252984 w 776120"/>
              <a:gd name="connsiteY42" fmla="*/ 0 h 1522717"/>
              <a:gd name="connsiteX43" fmla="*/ 241078 w 776120"/>
              <a:gd name="connsiteY43" fmla="*/ 10096 h 1522717"/>
              <a:gd name="connsiteX44" fmla="*/ 183928 w 776120"/>
              <a:gd name="connsiteY44" fmla="*/ 16954 h 1522717"/>
              <a:gd name="connsiteX45" fmla="*/ 119920 w 776120"/>
              <a:gd name="connsiteY45" fmla="*/ 64961 h 1522717"/>
              <a:gd name="connsiteX46" fmla="*/ 98774 w 776120"/>
              <a:gd name="connsiteY46" fmla="*/ 63532 h 1522717"/>
              <a:gd name="connsiteX47" fmla="*/ 83534 w 776120"/>
              <a:gd name="connsiteY47" fmla="*/ 86011 h 1522717"/>
              <a:gd name="connsiteX48" fmla="*/ 56769 w 776120"/>
              <a:gd name="connsiteY48" fmla="*/ 93821 h 1522717"/>
              <a:gd name="connsiteX49" fmla="*/ 54197 w 776120"/>
              <a:gd name="connsiteY49" fmla="*/ 80867 h 1522717"/>
              <a:gd name="connsiteX50" fmla="*/ 7906 w 776120"/>
              <a:gd name="connsiteY50" fmla="*/ 78772 h 1522717"/>
              <a:gd name="connsiteX51" fmla="*/ 7906 w 776120"/>
              <a:gd name="connsiteY51" fmla="*/ 78772 h 1522717"/>
              <a:gd name="connsiteX52" fmla="*/ 61627 w 776120"/>
              <a:gd name="connsiteY52" fmla="*/ 174593 h 1522717"/>
              <a:gd name="connsiteX53" fmla="*/ 38576 w 776120"/>
              <a:gd name="connsiteY53" fmla="*/ 206121 h 1522717"/>
              <a:gd name="connsiteX54" fmla="*/ 49721 w 776120"/>
              <a:gd name="connsiteY54" fmla="*/ 270891 h 1522717"/>
              <a:gd name="connsiteX55" fmla="*/ 20574 w 776120"/>
              <a:gd name="connsiteY55" fmla="*/ 318897 h 1522717"/>
              <a:gd name="connsiteX56" fmla="*/ 36671 w 776120"/>
              <a:gd name="connsiteY56" fmla="*/ 337375 h 1522717"/>
              <a:gd name="connsiteX57" fmla="*/ 18669 w 776120"/>
              <a:gd name="connsiteY57" fmla="*/ 355473 h 1522717"/>
              <a:gd name="connsiteX58" fmla="*/ 56293 w 776120"/>
              <a:gd name="connsiteY58" fmla="*/ 387477 h 1522717"/>
              <a:gd name="connsiteX59" fmla="*/ 58102 w 776120"/>
              <a:gd name="connsiteY59" fmla="*/ 396335 h 1522717"/>
              <a:gd name="connsiteX60" fmla="*/ 65246 w 776120"/>
              <a:gd name="connsiteY60" fmla="*/ 404622 h 1522717"/>
              <a:gd name="connsiteX61" fmla="*/ 44577 w 776120"/>
              <a:gd name="connsiteY61" fmla="*/ 425577 h 1522717"/>
              <a:gd name="connsiteX62" fmla="*/ 42672 w 776120"/>
              <a:gd name="connsiteY62" fmla="*/ 424434 h 1522717"/>
              <a:gd name="connsiteX63" fmla="*/ 0 w 776120"/>
              <a:gd name="connsiteY63" fmla="*/ 468440 h 1522717"/>
              <a:gd name="connsiteX64" fmla="*/ 14859 w 776120"/>
              <a:gd name="connsiteY64" fmla="*/ 480727 h 1522717"/>
              <a:gd name="connsiteX65" fmla="*/ 24384 w 776120"/>
              <a:gd name="connsiteY65" fmla="*/ 510445 h 1522717"/>
              <a:gd name="connsiteX66" fmla="*/ 37052 w 776120"/>
              <a:gd name="connsiteY66" fmla="*/ 516350 h 1522717"/>
              <a:gd name="connsiteX67" fmla="*/ 43339 w 776120"/>
              <a:gd name="connsiteY67" fmla="*/ 571214 h 1522717"/>
              <a:gd name="connsiteX68" fmla="*/ 74771 w 776120"/>
              <a:gd name="connsiteY68" fmla="*/ 599408 h 1522717"/>
              <a:gd name="connsiteX69" fmla="*/ 60484 w 776120"/>
              <a:gd name="connsiteY69" fmla="*/ 618077 h 1522717"/>
              <a:gd name="connsiteX70" fmla="*/ 72771 w 776120"/>
              <a:gd name="connsiteY70" fmla="*/ 628650 h 1522717"/>
              <a:gd name="connsiteX71" fmla="*/ 69628 w 776120"/>
              <a:gd name="connsiteY71" fmla="*/ 642557 h 1522717"/>
              <a:gd name="connsiteX72" fmla="*/ 55626 w 776120"/>
              <a:gd name="connsiteY72" fmla="*/ 642557 h 1522717"/>
              <a:gd name="connsiteX73" fmla="*/ 58198 w 776120"/>
              <a:gd name="connsiteY73" fmla="*/ 665226 h 1522717"/>
              <a:gd name="connsiteX74" fmla="*/ 75057 w 776120"/>
              <a:gd name="connsiteY74" fmla="*/ 675513 h 1522717"/>
              <a:gd name="connsiteX75" fmla="*/ 69437 w 776120"/>
              <a:gd name="connsiteY75" fmla="*/ 692468 h 1522717"/>
              <a:gd name="connsiteX76" fmla="*/ 91916 w 776120"/>
              <a:gd name="connsiteY76" fmla="*/ 719995 h 1522717"/>
              <a:gd name="connsiteX77" fmla="*/ 112585 w 776120"/>
              <a:gd name="connsiteY77" fmla="*/ 816007 h 1522717"/>
              <a:gd name="connsiteX78" fmla="*/ 225529 w 776120"/>
              <a:gd name="connsiteY78" fmla="*/ 1503211 h 1522717"/>
              <a:gd name="connsiteX79" fmla="*/ 776120 w 776120"/>
              <a:gd name="connsiteY79" fmla="*/ 1522717 h 1522717"/>
              <a:gd name="connsiteX80" fmla="*/ 283845 w 776120"/>
              <a:gd name="connsiteY80" fmla="*/ 768572 h 1522717"/>
              <a:gd name="connsiteX81" fmla="*/ 308419 w 776120"/>
              <a:gd name="connsiteY81" fmla="*/ 776478 h 1522717"/>
              <a:gd name="connsiteX82" fmla="*/ 305086 w 776120"/>
              <a:gd name="connsiteY82" fmla="*/ 788194 h 1522717"/>
              <a:gd name="connsiteX83" fmla="*/ 316992 w 776120"/>
              <a:gd name="connsiteY83" fmla="*/ 814769 h 1522717"/>
              <a:gd name="connsiteX84" fmla="*/ 345091 w 776120"/>
              <a:gd name="connsiteY84" fmla="*/ 763524 h 1522717"/>
              <a:gd name="connsiteX85" fmla="*/ 409480 w 776120"/>
              <a:gd name="connsiteY85" fmla="*/ 763524 h 1522717"/>
              <a:gd name="connsiteX86" fmla="*/ 411385 w 776120"/>
              <a:gd name="connsiteY86" fmla="*/ 773049 h 1522717"/>
              <a:gd name="connsiteX87" fmla="*/ 423863 w 776120"/>
              <a:gd name="connsiteY87" fmla="*/ 780288 h 1522717"/>
              <a:gd name="connsiteX88" fmla="*/ 446627 w 776120"/>
              <a:gd name="connsiteY88" fmla="*/ 703612 h 1522717"/>
              <a:gd name="connsiteX89" fmla="*/ 445484 w 776120"/>
              <a:gd name="connsiteY89" fmla="*/ 671894 h 1522717"/>
              <a:gd name="connsiteX90" fmla="*/ 445484 w 776120"/>
              <a:gd name="connsiteY90" fmla="*/ 672084 h 1522717"/>
              <a:gd name="connsiteX91" fmla="*/ 167354 w 776120"/>
              <a:gd name="connsiteY91" fmla="*/ 590169 h 1522717"/>
              <a:gd name="connsiteX92" fmla="*/ 153638 w 776120"/>
              <a:gd name="connsiteY92" fmla="*/ 586359 h 1522717"/>
              <a:gd name="connsiteX93" fmla="*/ 149733 w 776120"/>
              <a:gd name="connsiteY93" fmla="*/ 575501 h 1522717"/>
              <a:gd name="connsiteX94" fmla="*/ 144589 w 776120"/>
              <a:gd name="connsiteY94" fmla="*/ 555308 h 1522717"/>
              <a:gd name="connsiteX95" fmla="*/ 152114 w 776120"/>
              <a:gd name="connsiteY95" fmla="*/ 545783 h 1522717"/>
              <a:gd name="connsiteX96" fmla="*/ 175927 w 776120"/>
              <a:gd name="connsiteY96" fmla="*/ 567023 h 1522717"/>
              <a:gd name="connsiteX97" fmla="*/ 167354 w 776120"/>
              <a:gd name="connsiteY97" fmla="*/ 590169 h 1522717"/>
              <a:gd name="connsiteX0" fmla="*/ 445484 w 964692"/>
              <a:gd name="connsiteY0" fmla="*/ 672084 h 1522717"/>
              <a:gd name="connsiteX1" fmla="*/ 468059 w 964692"/>
              <a:gd name="connsiteY1" fmla="*/ 640747 h 1522717"/>
              <a:gd name="connsiteX2" fmla="*/ 477584 w 964692"/>
              <a:gd name="connsiteY2" fmla="*/ 614553 h 1522717"/>
              <a:gd name="connsiteX3" fmla="*/ 542639 w 964692"/>
              <a:gd name="connsiteY3" fmla="*/ 603885 h 1522717"/>
              <a:gd name="connsiteX4" fmla="*/ 582739 w 964692"/>
              <a:gd name="connsiteY4" fmla="*/ 593122 h 1522717"/>
              <a:gd name="connsiteX5" fmla="*/ 636651 w 964692"/>
              <a:gd name="connsiteY5" fmla="*/ 596360 h 1522717"/>
              <a:gd name="connsiteX6" fmla="*/ 688657 w 964692"/>
              <a:gd name="connsiteY6" fmla="*/ 628079 h 1522717"/>
              <a:gd name="connsiteX7" fmla="*/ 694182 w 964692"/>
              <a:gd name="connsiteY7" fmla="*/ 649319 h 1522717"/>
              <a:gd name="connsiteX8" fmla="*/ 713994 w 964692"/>
              <a:gd name="connsiteY8" fmla="*/ 634079 h 1522717"/>
              <a:gd name="connsiteX9" fmla="*/ 698944 w 964692"/>
              <a:gd name="connsiteY9" fmla="*/ 614648 h 1522717"/>
              <a:gd name="connsiteX10" fmla="*/ 713327 w 964692"/>
              <a:gd name="connsiteY10" fmla="*/ 580739 h 1522717"/>
              <a:gd name="connsiteX11" fmla="*/ 721995 w 964692"/>
              <a:gd name="connsiteY11" fmla="*/ 580549 h 1522717"/>
              <a:gd name="connsiteX12" fmla="*/ 718185 w 964692"/>
              <a:gd name="connsiteY12" fmla="*/ 563690 h 1522717"/>
              <a:gd name="connsiteX13" fmla="*/ 731996 w 964692"/>
              <a:gd name="connsiteY13" fmla="*/ 524161 h 1522717"/>
              <a:gd name="connsiteX14" fmla="*/ 716661 w 964692"/>
              <a:gd name="connsiteY14" fmla="*/ 486442 h 1522717"/>
              <a:gd name="connsiteX15" fmla="*/ 677323 w 964692"/>
              <a:gd name="connsiteY15" fmla="*/ 466725 h 1522717"/>
              <a:gd name="connsiteX16" fmla="*/ 674180 w 964692"/>
              <a:gd name="connsiteY16" fmla="*/ 429768 h 1522717"/>
              <a:gd name="connsiteX17" fmla="*/ 687038 w 964692"/>
              <a:gd name="connsiteY17" fmla="*/ 417671 h 1522717"/>
              <a:gd name="connsiteX18" fmla="*/ 683323 w 964692"/>
              <a:gd name="connsiteY18" fmla="*/ 402431 h 1522717"/>
              <a:gd name="connsiteX19" fmla="*/ 572262 w 964692"/>
              <a:gd name="connsiteY19" fmla="*/ 402431 h 1522717"/>
              <a:gd name="connsiteX20" fmla="*/ 569023 w 964692"/>
              <a:gd name="connsiteY20" fmla="*/ 356616 h 1522717"/>
              <a:gd name="connsiteX21" fmla="*/ 554069 w 964692"/>
              <a:gd name="connsiteY21" fmla="*/ 340614 h 1522717"/>
              <a:gd name="connsiteX22" fmla="*/ 561689 w 964692"/>
              <a:gd name="connsiteY22" fmla="*/ 333566 h 1522717"/>
              <a:gd name="connsiteX23" fmla="*/ 562261 w 964692"/>
              <a:gd name="connsiteY23" fmla="*/ 298037 h 1522717"/>
              <a:gd name="connsiteX24" fmla="*/ 555403 w 964692"/>
              <a:gd name="connsiteY24" fmla="*/ 280607 h 1522717"/>
              <a:gd name="connsiteX25" fmla="*/ 562547 w 964692"/>
              <a:gd name="connsiteY25" fmla="*/ 266891 h 1522717"/>
              <a:gd name="connsiteX26" fmla="*/ 553784 w 964692"/>
              <a:gd name="connsiteY26" fmla="*/ 249460 h 1522717"/>
              <a:gd name="connsiteX27" fmla="*/ 517684 w 964692"/>
              <a:gd name="connsiteY27" fmla="*/ 234220 h 1522717"/>
              <a:gd name="connsiteX28" fmla="*/ 476250 w 964692"/>
              <a:gd name="connsiteY28" fmla="*/ 239935 h 1522717"/>
              <a:gd name="connsiteX29" fmla="*/ 452533 w 964692"/>
              <a:gd name="connsiteY29" fmla="*/ 212503 h 1522717"/>
              <a:gd name="connsiteX30" fmla="*/ 414909 w 964692"/>
              <a:gd name="connsiteY30" fmla="*/ 207836 h 1522717"/>
              <a:gd name="connsiteX31" fmla="*/ 394716 w 964692"/>
              <a:gd name="connsiteY31" fmla="*/ 184595 h 1522717"/>
              <a:gd name="connsiteX32" fmla="*/ 354616 w 964692"/>
              <a:gd name="connsiteY32" fmla="*/ 172784 h 1522717"/>
              <a:gd name="connsiteX33" fmla="*/ 342233 w 964692"/>
              <a:gd name="connsiteY33" fmla="*/ 179832 h 1522717"/>
              <a:gd name="connsiteX34" fmla="*/ 311182 w 964692"/>
              <a:gd name="connsiteY34" fmla="*/ 172498 h 1522717"/>
              <a:gd name="connsiteX35" fmla="*/ 311182 w 964692"/>
              <a:gd name="connsiteY35" fmla="*/ 158401 h 1522717"/>
              <a:gd name="connsiteX36" fmla="*/ 279940 w 964692"/>
              <a:gd name="connsiteY36" fmla="*/ 143066 h 1522717"/>
              <a:gd name="connsiteX37" fmla="*/ 259080 w 964692"/>
              <a:gd name="connsiteY37" fmla="*/ 100965 h 1522717"/>
              <a:gd name="connsiteX38" fmla="*/ 266319 w 964692"/>
              <a:gd name="connsiteY38" fmla="*/ 85249 h 1522717"/>
              <a:gd name="connsiteX39" fmla="*/ 254794 w 964692"/>
              <a:gd name="connsiteY39" fmla="*/ 51245 h 1522717"/>
              <a:gd name="connsiteX40" fmla="*/ 266319 w 964692"/>
              <a:gd name="connsiteY40" fmla="*/ 39338 h 1522717"/>
              <a:gd name="connsiteX41" fmla="*/ 266319 w 964692"/>
              <a:gd name="connsiteY41" fmla="*/ 8001 h 1522717"/>
              <a:gd name="connsiteX42" fmla="*/ 252984 w 964692"/>
              <a:gd name="connsiteY42" fmla="*/ 0 h 1522717"/>
              <a:gd name="connsiteX43" fmla="*/ 241078 w 964692"/>
              <a:gd name="connsiteY43" fmla="*/ 10096 h 1522717"/>
              <a:gd name="connsiteX44" fmla="*/ 183928 w 964692"/>
              <a:gd name="connsiteY44" fmla="*/ 16954 h 1522717"/>
              <a:gd name="connsiteX45" fmla="*/ 119920 w 964692"/>
              <a:gd name="connsiteY45" fmla="*/ 64961 h 1522717"/>
              <a:gd name="connsiteX46" fmla="*/ 98774 w 964692"/>
              <a:gd name="connsiteY46" fmla="*/ 63532 h 1522717"/>
              <a:gd name="connsiteX47" fmla="*/ 83534 w 964692"/>
              <a:gd name="connsiteY47" fmla="*/ 86011 h 1522717"/>
              <a:gd name="connsiteX48" fmla="*/ 56769 w 964692"/>
              <a:gd name="connsiteY48" fmla="*/ 93821 h 1522717"/>
              <a:gd name="connsiteX49" fmla="*/ 54197 w 964692"/>
              <a:gd name="connsiteY49" fmla="*/ 80867 h 1522717"/>
              <a:gd name="connsiteX50" fmla="*/ 7906 w 964692"/>
              <a:gd name="connsiteY50" fmla="*/ 78772 h 1522717"/>
              <a:gd name="connsiteX51" fmla="*/ 7906 w 964692"/>
              <a:gd name="connsiteY51" fmla="*/ 78772 h 1522717"/>
              <a:gd name="connsiteX52" fmla="*/ 61627 w 964692"/>
              <a:gd name="connsiteY52" fmla="*/ 174593 h 1522717"/>
              <a:gd name="connsiteX53" fmla="*/ 38576 w 964692"/>
              <a:gd name="connsiteY53" fmla="*/ 206121 h 1522717"/>
              <a:gd name="connsiteX54" fmla="*/ 49721 w 964692"/>
              <a:gd name="connsiteY54" fmla="*/ 270891 h 1522717"/>
              <a:gd name="connsiteX55" fmla="*/ 20574 w 964692"/>
              <a:gd name="connsiteY55" fmla="*/ 318897 h 1522717"/>
              <a:gd name="connsiteX56" fmla="*/ 36671 w 964692"/>
              <a:gd name="connsiteY56" fmla="*/ 337375 h 1522717"/>
              <a:gd name="connsiteX57" fmla="*/ 18669 w 964692"/>
              <a:gd name="connsiteY57" fmla="*/ 355473 h 1522717"/>
              <a:gd name="connsiteX58" fmla="*/ 56293 w 964692"/>
              <a:gd name="connsiteY58" fmla="*/ 387477 h 1522717"/>
              <a:gd name="connsiteX59" fmla="*/ 58102 w 964692"/>
              <a:gd name="connsiteY59" fmla="*/ 396335 h 1522717"/>
              <a:gd name="connsiteX60" fmla="*/ 65246 w 964692"/>
              <a:gd name="connsiteY60" fmla="*/ 404622 h 1522717"/>
              <a:gd name="connsiteX61" fmla="*/ 44577 w 964692"/>
              <a:gd name="connsiteY61" fmla="*/ 425577 h 1522717"/>
              <a:gd name="connsiteX62" fmla="*/ 42672 w 964692"/>
              <a:gd name="connsiteY62" fmla="*/ 424434 h 1522717"/>
              <a:gd name="connsiteX63" fmla="*/ 0 w 964692"/>
              <a:gd name="connsiteY63" fmla="*/ 468440 h 1522717"/>
              <a:gd name="connsiteX64" fmla="*/ 14859 w 964692"/>
              <a:gd name="connsiteY64" fmla="*/ 480727 h 1522717"/>
              <a:gd name="connsiteX65" fmla="*/ 24384 w 964692"/>
              <a:gd name="connsiteY65" fmla="*/ 510445 h 1522717"/>
              <a:gd name="connsiteX66" fmla="*/ 37052 w 964692"/>
              <a:gd name="connsiteY66" fmla="*/ 516350 h 1522717"/>
              <a:gd name="connsiteX67" fmla="*/ 43339 w 964692"/>
              <a:gd name="connsiteY67" fmla="*/ 571214 h 1522717"/>
              <a:gd name="connsiteX68" fmla="*/ 74771 w 964692"/>
              <a:gd name="connsiteY68" fmla="*/ 599408 h 1522717"/>
              <a:gd name="connsiteX69" fmla="*/ 60484 w 964692"/>
              <a:gd name="connsiteY69" fmla="*/ 618077 h 1522717"/>
              <a:gd name="connsiteX70" fmla="*/ 72771 w 964692"/>
              <a:gd name="connsiteY70" fmla="*/ 628650 h 1522717"/>
              <a:gd name="connsiteX71" fmla="*/ 69628 w 964692"/>
              <a:gd name="connsiteY71" fmla="*/ 642557 h 1522717"/>
              <a:gd name="connsiteX72" fmla="*/ 55626 w 964692"/>
              <a:gd name="connsiteY72" fmla="*/ 642557 h 1522717"/>
              <a:gd name="connsiteX73" fmla="*/ 58198 w 964692"/>
              <a:gd name="connsiteY73" fmla="*/ 665226 h 1522717"/>
              <a:gd name="connsiteX74" fmla="*/ 75057 w 964692"/>
              <a:gd name="connsiteY74" fmla="*/ 675513 h 1522717"/>
              <a:gd name="connsiteX75" fmla="*/ 69437 w 964692"/>
              <a:gd name="connsiteY75" fmla="*/ 692468 h 1522717"/>
              <a:gd name="connsiteX76" fmla="*/ 91916 w 964692"/>
              <a:gd name="connsiteY76" fmla="*/ 719995 h 1522717"/>
              <a:gd name="connsiteX77" fmla="*/ 112585 w 964692"/>
              <a:gd name="connsiteY77" fmla="*/ 816007 h 1522717"/>
              <a:gd name="connsiteX78" fmla="*/ 225529 w 964692"/>
              <a:gd name="connsiteY78" fmla="*/ 1503211 h 1522717"/>
              <a:gd name="connsiteX79" fmla="*/ 776120 w 964692"/>
              <a:gd name="connsiteY79" fmla="*/ 1522717 h 1522717"/>
              <a:gd name="connsiteX80" fmla="*/ 283845 w 964692"/>
              <a:gd name="connsiteY80" fmla="*/ 768572 h 1522717"/>
              <a:gd name="connsiteX81" fmla="*/ 308419 w 964692"/>
              <a:gd name="connsiteY81" fmla="*/ 776478 h 1522717"/>
              <a:gd name="connsiteX82" fmla="*/ 305086 w 964692"/>
              <a:gd name="connsiteY82" fmla="*/ 788194 h 1522717"/>
              <a:gd name="connsiteX83" fmla="*/ 964692 w 964692"/>
              <a:gd name="connsiteY83" fmla="*/ 1138619 h 1522717"/>
              <a:gd name="connsiteX84" fmla="*/ 345091 w 964692"/>
              <a:gd name="connsiteY84" fmla="*/ 763524 h 1522717"/>
              <a:gd name="connsiteX85" fmla="*/ 409480 w 964692"/>
              <a:gd name="connsiteY85" fmla="*/ 763524 h 1522717"/>
              <a:gd name="connsiteX86" fmla="*/ 411385 w 964692"/>
              <a:gd name="connsiteY86" fmla="*/ 773049 h 1522717"/>
              <a:gd name="connsiteX87" fmla="*/ 423863 w 964692"/>
              <a:gd name="connsiteY87" fmla="*/ 780288 h 1522717"/>
              <a:gd name="connsiteX88" fmla="*/ 446627 w 964692"/>
              <a:gd name="connsiteY88" fmla="*/ 703612 h 1522717"/>
              <a:gd name="connsiteX89" fmla="*/ 445484 w 964692"/>
              <a:gd name="connsiteY89" fmla="*/ 671894 h 1522717"/>
              <a:gd name="connsiteX90" fmla="*/ 445484 w 964692"/>
              <a:gd name="connsiteY90" fmla="*/ 672084 h 1522717"/>
              <a:gd name="connsiteX91" fmla="*/ 167354 w 964692"/>
              <a:gd name="connsiteY91" fmla="*/ 590169 h 1522717"/>
              <a:gd name="connsiteX92" fmla="*/ 153638 w 964692"/>
              <a:gd name="connsiteY92" fmla="*/ 586359 h 1522717"/>
              <a:gd name="connsiteX93" fmla="*/ 149733 w 964692"/>
              <a:gd name="connsiteY93" fmla="*/ 575501 h 1522717"/>
              <a:gd name="connsiteX94" fmla="*/ 144589 w 964692"/>
              <a:gd name="connsiteY94" fmla="*/ 555308 h 1522717"/>
              <a:gd name="connsiteX95" fmla="*/ 152114 w 964692"/>
              <a:gd name="connsiteY95" fmla="*/ 545783 h 1522717"/>
              <a:gd name="connsiteX96" fmla="*/ 175927 w 964692"/>
              <a:gd name="connsiteY96" fmla="*/ 567023 h 1522717"/>
              <a:gd name="connsiteX97" fmla="*/ 167354 w 964692"/>
              <a:gd name="connsiteY97" fmla="*/ 590169 h 1522717"/>
              <a:gd name="connsiteX0" fmla="*/ 445484 w 776120"/>
              <a:gd name="connsiteY0" fmla="*/ 672084 h 1522717"/>
              <a:gd name="connsiteX1" fmla="*/ 468059 w 776120"/>
              <a:gd name="connsiteY1" fmla="*/ 640747 h 1522717"/>
              <a:gd name="connsiteX2" fmla="*/ 477584 w 776120"/>
              <a:gd name="connsiteY2" fmla="*/ 614553 h 1522717"/>
              <a:gd name="connsiteX3" fmla="*/ 542639 w 776120"/>
              <a:gd name="connsiteY3" fmla="*/ 603885 h 1522717"/>
              <a:gd name="connsiteX4" fmla="*/ 582739 w 776120"/>
              <a:gd name="connsiteY4" fmla="*/ 593122 h 1522717"/>
              <a:gd name="connsiteX5" fmla="*/ 636651 w 776120"/>
              <a:gd name="connsiteY5" fmla="*/ 596360 h 1522717"/>
              <a:gd name="connsiteX6" fmla="*/ 688657 w 776120"/>
              <a:gd name="connsiteY6" fmla="*/ 628079 h 1522717"/>
              <a:gd name="connsiteX7" fmla="*/ 694182 w 776120"/>
              <a:gd name="connsiteY7" fmla="*/ 649319 h 1522717"/>
              <a:gd name="connsiteX8" fmla="*/ 713994 w 776120"/>
              <a:gd name="connsiteY8" fmla="*/ 634079 h 1522717"/>
              <a:gd name="connsiteX9" fmla="*/ 698944 w 776120"/>
              <a:gd name="connsiteY9" fmla="*/ 614648 h 1522717"/>
              <a:gd name="connsiteX10" fmla="*/ 713327 w 776120"/>
              <a:gd name="connsiteY10" fmla="*/ 580739 h 1522717"/>
              <a:gd name="connsiteX11" fmla="*/ 721995 w 776120"/>
              <a:gd name="connsiteY11" fmla="*/ 580549 h 1522717"/>
              <a:gd name="connsiteX12" fmla="*/ 718185 w 776120"/>
              <a:gd name="connsiteY12" fmla="*/ 563690 h 1522717"/>
              <a:gd name="connsiteX13" fmla="*/ 731996 w 776120"/>
              <a:gd name="connsiteY13" fmla="*/ 524161 h 1522717"/>
              <a:gd name="connsiteX14" fmla="*/ 716661 w 776120"/>
              <a:gd name="connsiteY14" fmla="*/ 486442 h 1522717"/>
              <a:gd name="connsiteX15" fmla="*/ 677323 w 776120"/>
              <a:gd name="connsiteY15" fmla="*/ 466725 h 1522717"/>
              <a:gd name="connsiteX16" fmla="*/ 674180 w 776120"/>
              <a:gd name="connsiteY16" fmla="*/ 429768 h 1522717"/>
              <a:gd name="connsiteX17" fmla="*/ 687038 w 776120"/>
              <a:gd name="connsiteY17" fmla="*/ 417671 h 1522717"/>
              <a:gd name="connsiteX18" fmla="*/ 683323 w 776120"/>
              <a:gd name="connsiteY18" fmla="*/ 402431 h 1522717"/>
              <a:gd name="connsiteX19" fmla="*/ 572262 w 776120"/>
              <a:gd name="connsiteY19" fmla="*/ 402431 h 1522717"/>
              <a:gd name="connsiteX20" fmla="*/ 569023 w 776120"/>
              <a:gd name="connsiteY20" fmla="*/ 356616 h 1522717"/>
              <a:gd name="connsiteX21" fmla="*/ 554069 w 776120"/>
              <a:gd name="connsiteY21" fmla="*/ 340614 h 1522717"/>
              <a:gd name="connsiteX22" fmla="*/ 561689 w 776120"/>
              <a:gd name="connsiteY22" fmla="*/ 333566 h 1522717"/>
              <a:gd name="connsiteX23" fmla="*/ 562261 w 776120"/>
              <a:gd name="connsiteY23" fmla="*/ 298037 h 1522717"/>
              <a:gd name="connsiteX24" fmla="*/ 555403 w 776120"/>
              <a:gd name="connsiteY24" fmla="*/ 280607 h 1522717"/>
              <a:gd name="connsiteX25" fmla="*/ 562547 w 776120"/>
              <a:gd name="connsiteY25" fmla="*/ 266891 h 1522717"/>
              <a:gd name="connsiteX26" fmla="*/ 553784 w 776120"/>
              <a:gd name="connsiteY26" fmla="*/ 249460 h 1522717"/>
              <a:gd name="connsiteX27" fmla="*/ 517684 w 776120"/>
              <a:gd name="connsiteY27" fmla="*/ 234220 h 1522717"/>
              <a:gd name="connsiteX28" fmla="*/ 476250 w 776120"/>
              <a:gd name="connsiteY28" fmla="*/ 239935 h 1522717"/>
              <a:gd name="connsiteX29" fmla="*/ 452533 w 776120"/>
              <a:gd name="connsiteY29" fmla="*/ 212503 h 1522717"/>
              <a:gd name="connsiteX30" fmla="*/ 414909 w 776120"/>
              <a:gd name="connsiteY30" fmla="*/ 207836 h 1522717"/>
              <a:gd name="connsiteX31" fmla="*/ 394716 w 776120"/>
              <a:gd name="connsiteY31" fmla="*/ 184595 h 1522717"/>
              <a:gd name="connsiteX32" fmla="*/ 354616 w 776120"/>
              <a:gd name="connsiteY32" fmla="*/ 172784 h 1522717"/>
              <a:gd name="connsiteX33" fmla="*/ 342233 w 776120"/>
              <a:gd name="connsiteY33" fmla="*/ 179832 h 1522717"/>
              <a:gd name="connsiteX34" fmla="*/ 311182 w 776120"/>
              <a:gd name="connsiteY34" fmla="*/ 172498 h 1522717"/>
              <a:gd name="connsiteX35" fmla="*/ 311182 w 776120"/>
              <a:gd name="connsiteY35" fmla="*/ 158401 h 1522717"/>
              <a:gd name="connsiteX36" fmla="*/ 279940 w 776120"/>
              <a:gd name="connsiteY36" fmla="*/ 143066 h 1522717"/>
              <a:gd name="connsiteX37" fmla="*/ 259080 w 776120"/>
              <a:gd name="connsiteY37" fmla="*/ 100965 h 1522717"/>
              <a:gd name="connsiteX38" fmla="*/ 266319 w 776120"/>
              <a:gd name="connsiteY38" fmla="*/ 85249 h 1522717"/>
              <a:gd name="connsiteX39" fmla="*/ 254794 w 776120"/>
              <a:gd name="connsiteY39" fmla="*/ 51245 h 1522717"/>
              <a:gd name="connsiteX40" fmla="*/ 266319 w 776120"/>
              <a:gd name="connsiteY40" fmla="*/ 39338 h 1522717"/>
              <a:gd name="connsiteX41" fmla="*/ 266319 w 776120"/>
              <a:gd name="connsiteY41" fmla="*/ 8001 h 1522717"/>
              <a:gd name="connsiteX42" fmla="*/ 252984 w 776120"/>
              <a:gd name="connsiteY42" fmla="*/ 0 h 1522717"/>
              <a:gd name="connsiteX43" fmla="*/ 241078 w 776120"/>
              <a:gd name="connsiteY43" fmla="*/ 10096 h 1522717"/>
              <a:gd name="connsiteX44" fmla="*/ 183928 w 776120"/>
              <a:gd name="connsiteY44" fmla="*/ 16954 h 1522717"/>
              <a:gd name="connsiteX45" fmla="*/ 119920 w 776120"/>
              <a:gd name="connsiteY45" fmla="*/ 64961 h 1522717"/>
              <a:gd name="connsiteX46" fmla="*/ 98774 w 776120"/>
              <a:gd name="connsiteY46" fmla="*/ 63532 h 1522717"/>
              <a:gd name="connsiteX47" fmla="*/ 83534 w 776120"/>
              <a:gd name="connsiteY47" fmla="*/ 86011 h 1522717"/>
              <a:gd name="connsiteX48" fmla="*/ 56769 w 776120"/>
              <a:gd name="connsiteY48" fmla="*/ 93821 h 1522717"/>
              <a:gd name="connsiteX49" fmla="*/ 54197 w 776120"/>
              <a:gd name="connsiteY49" fmla="*/ 80867 h 1522717"/>
              <a:gd name="connsiteX50" fmla="*/ 7906 w 776120"/>
              <a:gd name="connsiteY50" fmla="*/ 78772 h 1522717"/>
              <a:gd name="connsiteX51" fmla="*/ 7906 w 776120"/>
              <a:gd name="connsiteY51" fmla="*/ 78772 h 1522717"/>
              <a:gd name="connsiteX52" fmla="*/ 61627 w 776120"/>
              <a:gd name="connsiteY52" fmla="*/ 174593 h 1522717"/>
              <a:gd name="connsiteX53" fmla="*/ 38576 w 776120"/>
              <a:gd name="connsiteY53" fmla="*/ 206121 h 1522717"/>
              <a:gd name="connsiteX54" fmla="*/ 49721 w 776120"/>
              <a:gd name="connsiteY54" fmla="*/ 270891 h 1522717"/>
              <a:gd name="connsiteX55" fmla="*/ 20574 w 776120"/>
              <a:gd name="connsiteY55" fmla="*/ 318897 h 1522717"/>
              <a:gd name="connsiteX56" fmla="*/ 36671 w 776120"/>
              <a:gd name="connsiteY56" fmla="*/ 337375 h 1522717"/>
              <a:gd name="connsiteX57" fmla="*/ 18669 w 776120"/>
              <a:gd name="connsiteY57" fmla="*/ 355473 h 1522717"/>
              <a:gd name="connsiteX58" fmla="*/ 56293 w 776120"/>
              <a:gd name="connsiteY58" fmla="*/ 387477 h 1522717"/>
              <a:gd name="connsiteX59" fmla="*/ 58102 w 776120"/>
              <a:gd name="connsiteY59" fmla="*/ 396335 h 1522717"/>
              <a:gd name="connsiteX60" fmla="*/ 65246 w 776120"/>
              <a:gd name="connsiteY60" fmla="*/ 404622 h 1522717"/>
              <a:gd name="connsiteX61" fmla="*/ 44577 w 776120"/>
              <a:gd name="connsiteY61" fmla="*/ 425577 h 1522717"/>
              <a:gd name="connsiteX62" fmla="*/ 42672 w 776120"/>
              <a:gd name="connsiteY62" fmla="*/ 424434 h 1522717"/>
              <a:gd name="connsiteX63" fmla="*/ 0 w 776120"/>
              <a:gd name="connsiteY63" fmla="*/ 468440 h 1522717"/>
              <a:gd name="connsiteX64" fmla="*/ 14859 w 776120"/>
              <a:gd name="connsiteY64" fmla="*/ 480727 h 1522717"/>
              <a:gd name="connsiteX65" fmla="*/ 24384 w 776120"/>
              <a:gd name="connsiteY65" fmla="*/ 510445 h 1522717"/>
              <a:gd name="connsiteX66" fmla="*/ 37052 w 776120"/>
              <a:gd name="connsiteY66" fmla="*/ 516350 h 1522717"/>
              <a:gd name="connsiteX67" fmla="*/ 43339 w 776120"/>
              <a:gd name="connsiteY67" fmla="*/ 571214 h 1522717"/>
              <a:gd name="connsiteX68" fmla="*/ 74771 w 776120"/>
              <a:gd name="connsiteY68" fmla="*/ 599408 h 1522717"/>
              <a:gd name="connsiteX69" fmla="*/ 60484 w 776120"/>
              <a:gd name="connsiteY69" fmla="*/ 618077 h 1522717"/>
              <a:gd name="connsiteX70" fmla="*/ 72771 w 776120"/>
              <a:gd name="connsiteY70" fmla="*/ 628650 h 1522717"/>
              <a:gd name="connsiteX71" fmla="*/ 69628 w 776120"/>
              <a:gd name="connsiteY71" fmla="*/ 642557 h 1522717"/>
              <a:gd name="connsiteX72" fmla="*/ 55626 w 776120"/>
              <a:gd name="connsiteY72" fmla="*/ 642557 h 1522717"/>
              <a:gd name="connsiteX73" fmla="*/ 58198 w 776120"/>
              <a:gd name="connsiteY73" fmla="*/ 665226 h 1522717"/>
              <a:gd name="connsiteX74" fmla="*/ 75057 w 776120"/>
              <a:gd name="connsiteY74" fmla="*/ 675513 h 1522717"/>
              <a:gd name="connsiteX75" fmla="*/ 69437 w 776120"/>
              <a:gd name="connsiteY75" fmla="*/ 692468 h 1522717"/>
              <a:gd name="connsiteX76" fmla="*/ 91916 w 776120"/>
              <a:gd name="connsiteY76" fmla="*/ 719995 h 1522717"/>
              <a:gd name="connsiteX77" fmla="*/ 112585 w 776120"/>
              <a:gd name="connsiteY77" fmla="*/ 816007 h 1522717"/>
              <a:gd name="connsiteX78" fmla="*/ 225529 w 776120"/>
              <a:gd name="connsiteY78" fmla="*/ 1503211 h 1522717"/>
              <a:gd name="connsiteX79" fmla="*/ 776120 w 776120"/>
              <a:gd name="connsiteY79" fmla="*/ 1522717 h 1522717"/>
              <a:gd name="connsiteX80" fmla="*/ 283845 w 776120"/>
              <a:gd name="connsiteY80" fmla="*/ 768572 h 1522717"/>
              <a:gd name="connsiteX81" fmla="*/ 308419 w 776120"/>
              <a:gd name="connsiteY81" fmla="*/ 776478 h 1522717"/>
              <a:gd name="connsiteX82" fmla="*/ 305086 w 776120"/>
              <a:gd name="connsiteY82" fmla="*/ 788194 h 1522717"/>
              <a:gd name="connsiteX83" fmla="*/ 345091 w 776120"/>
              <a:gd name="connsiteY83" fmla="*/ 763524 h 1522717"/>
              <a:gd name="connsiteX84" fmla="*/ 409480 w 776120"/>
              <a:gd name="connsiteY84" fmla="*/ 763524 h 1522717"/>
              <a:gd name="connsiteX85" fmla="*/ 411385 w 776120"/>
              <a:gd name="connsiteY85" fmla="*/ 773049 h 1522717"/>
              <a:gd name="connsiteX86" fmla="*/ 423863 w 776120"/>
              <a:gd name="connsiteY86" fmla="*/ 780288 h 1522717"/>
              <a:gd name="connsiteX87" fmla="*/ 446627 w 776120"/>
              <a:gd name="connsiteY87" fmla="*/ 703612 h 1522717"/>
              <a:gd name="connsiteX88" fmla="*/ 445484 w 776120"/>
              <a:gd name="connsiteY88" fmla="*/ 671894 h 1522717"/>
              <a:gd name="connsiteX89" fmla="*/ 445484 w 776120"/>
              <a:gd name="connsiteY89" fmla="*/ 672084 h 1522717"/>
              <a:gd name="connsiteX90" fmla="*/ 167354 w 776120"/>
              <a:gd name="connsiteY90" fmla="*/ 590169 h 1522717"/>
              <a:gd name="connsiteX91" fmla="*/ 153638 w 776120"/>
              <a:gd name="connsiteY91" fmla="*/ 586359 h 1522717"/>
              <a:gd name="connsiteX92" fmla="*/ 149733 w 776120"/>
              <a:gd name="connsiteY92" fmla="*/ 575501 h 1522717"/>
              <a:gd name="connsiteX93" fmla="*/ 144589 w 776120"/>
              <a:gd name="connsiteY93" fmla="*/ 555308 h 1522717"/>
              <a:gd name="connsiteX94" fmla="*/ 152114 w 776120"/>
              <a:gd name="connsiteY94" fmla="*/ 545783 h 1522717"/>
              <a:gd name="connsiteX95" fmla="*/ 175927 w 776120"/>
              <a:gd name="connsiteY95" fmla="*/ 567023 h 1522717"/>
              <a:gd name="connsiteX96" fmla="*/ 167354 w 776120"/>
              <a:gd name="connsiteY96" fmla="*/ 590169 h 1522717"/>
              <a:gd name="connsiteX0" fmla="*/ 445484 w 1082294"/>
              <a:gd name="connsiteY0" fmla="*/ 672084 h 1522717"/>
              <a:gd name="connsiteX1" fmla="*/ 468059 w 1082294"/>
              <a:gd name="connsiteY1" fmla="*/ 640747 h 1522717"/>
              <a:gd name="connsiteX2" fmla="*/ 477584 w 1082294"/>
              <a:gd name="connsiteY2" fmla="*/ 614553 h 1522717"/>
              <a:gd name="connsiteX3" fmla="*/ 542639 w 1082294"/>
              <a:gd name="connsiteY3" fmla="*/ 603885 h 1522717"/>
              <a:gd name="connsiteX4" fmla="*/ 582739 w 1082294"/>
              <a:gd name="connsiteY4" fmla="*/ 593122 h 1522717"/>
              <a:gd name="connsiteX5" fmla="*/ 636651 w 1082294"/>
              <a:gd name="connsiteY5" fmla="*/ 596360 h 1522717"/>
              <a:gd name="connsiteX6" fmla="*/ 688657 w 1082294"/>
              <a:gd name="connsiteY6" fmla="*/ 628079 h 1522717"/>
              <a:gd name="connsiteX7" fmla="*/ 694182 w 1082294"/>
              <a:gd name="connsiteY7" fmla="*/ 649319 h 1522717"/>
              <a:gd name="connsiteX8" fmla="*/ 1082294 w 1082294"/>
              <a:gd name="connsiteY8" fmla="*/ 1186529 h 1522717"/>
              <a:gd name="connsiteX9" fmla="*/ 698944 w 1082294"/>
              <a:gd name="connsiteY9" fmla="*/ 614648 h 1522717"/>
              <a:gd name="connsiteX10" fmla="*/ 713327 w 1082294"/>
              <a:gd name="connsiteY10" fmla="*/ 580739 h 1522717"/>
              <a:gd name="connsiteX11" fmla="*/ 721995 w 1082294"/>
              <a:gd name="connsiteY11" fmla="*/ 580549 h 1522717"/>
              <a:gd name="connsiteX12" fmla="*/ 718185 w 1082294"/>
              <a:gd name="connsiteY12" fmla="*/ 563690 h 1522717"/>
              <a:gd name="connsiteX13" fmla="*/ 731996 w 1082294"/>
              <a:gd name="connsiteY13" fmla="*/ 524161 h 1522717"/>
              <a:gd name="connsiteX14" fmla="*/ 716661 w 1082294"/>
              <a:gd name="connsiteY14" fmla="*/ 486442 h 1522717"/>
              <a:gd name="connsiteX15" fmla="*/ 677323 w 1082294"/>
              <a:gd name="connsiteY15" fmla="*/ 466725 h 1522717"/>
              <a:gd name="connsiteX16" fmla="*/ 674180 w 1082294"/>
              <a:gd name="connsiteY16" fmla="*/ 429768 h 1522717"/>
              <a:gd name="connsiteX17" fmla="*/ 687038 w 1082294"/>
              <a:gd name="connsiteY17" fmla="*/ 417671 h 1522717"/>
              <a:gd name="connsiteX18" fmla="*/ 683323 w 1082294"/>
              <a:gd name="connsiteY18" fmla="*/ 402431 h 1522717"/>
              <a:gd name="connsiteX19" fmla="*/ 572262 w 1082294"/>
              <a:gd name="connsiteY19" fmla="*/ 402431 h 1522717"/>
              <a:gd name="connsiteX20" fmla="*/ 569023 w 1082294"/>
              <a:gd name="connsiteY20" fmla="*/ 356616 h 1522717"/>
              <a:gd name="connsiteX21" fmla="*/ 554069 w 1082294"/>
              <a:gd name="connsiteY21" fmla="*/ 340614 h 1522717"/>
              <a:gd name="connsiteX22" fmla="*/ 561689 w 1082294"/>
              <a:gd name="connsiteY22" fmla="*/ 333566 h 1522717"/>
              <a:gd name="connsiteX23" fmla="*/ 562261 w 1082294"/>
              <a:gd name="connsiteY23" fmla="*/ 298037 h 1522717"/>
              <a:gd name="connsiteX24" fmla="*/ 555403 w 1082294"/>
              <a:gd name="connsiteY24" fmla="*/ 280607 h 1522717"/>
              <a:gd name="connsiteX25" fmla="*/ 562547 w 1082294"/>
              <a:gd name="connsiteY25" fmla="*/ 266891 h 1522717"/>
              <a:gd name="connsiteX26" fmla="*/ 553784 w 1082294"/>
              <a:gd name="connsiteY26" fmla="*/ 249460 h 1522717"/>
              <a:gd name="connsiteX27" fmla="*/ 517684 w 1082294"/>
              <a:gd name="connsiteY27" fmla="*/ 234220 h 1522717"/>
              <a:gd name="connsiteX28" fmla="*/ 476250 w 1082294"/>
              <a:gd name="connsiteY28" fmla="*/ 239935 h 1522717"/>
              <a:gd name="connsiteX29" fmla="*/ 452533 w 1082294"/>
              <a:gd name="connsiteY29" fmla="*/ 212503 h 1522717"/>
              <a:gd name="connsiteX30" fmla="*/ 414909 w 1082294"/>
              <a:gd name="connsiteY30" fmla="*/ 207836 h 1522717"/>
              <a:gd name="connsiteX31" fmla="*/ 394716 w 1082294"/>
              <a:gd name="connsiteY31" fmla="*/ 184595 h 1522717"/>
              <a:gd name="connsiteX32" fmla="*/ 354616 w 1082294"/>
              <a:gd name="connsiteY32" fmla="*/ 172784 h 1522717"/>
              <a:gd name="connsiteX33" fmla="*/ 342233 w 1082294"/>
              <a:gd name="connsiteY33" fmla="*/ 179832 h 1522717"/>
              <a:gd name="connsiteX34" fmla="*/ 311182 w 1082294"/>
              <a:gd name="connsiteY34" fmla="*/ 172498 h 1522717"/>
              <a:gd name="connsiteX35" fmla="*/ 311182 w 1082294"/>
              <a:gd name="connsiteY35" fmla="*/ 158401 h 1522717"/>
              <a:gd name="connsiteX36" fmla="*/ 279940 w 1082294"/>
              <a:gd name="connsiteY36" fmla="*/ 143066 h 1522717"/>
              <a:gd name="connsiteX37" fmla="*/ 259080 w 1082294"/>
              <a:gd name="connsiteY37" fmla="*/ 100965 h 1522717"/>
              <a:gd name="connsiteX38" fmla="*/ 266319 w 1082294"/>
              <a:gd name="connsiteY38" fmla="*/ 85249 h 1522717"/>
              <a:gd name="connsiteX39" fmla="*/ 254794 w 1082294"/>
              <a:gd name="connsiteY39" fmla="*/ 51245 h 1522717"/>
              <a:gd name="connsiteX40" fmla="*/ 266319 w 1082294"/>
              <a:gd name="connsiteY40" fmla="*/ 39338 h 1522717"/>
              <a:gd name="connsiteX41" fmla="*/ 266319 w 1082294"/>
              <a:gd name="connsiteY41" fmla="*/ 8001 h 1522717"/>
              <a:gd name="connsiteX42" fmla="*/ 252984 w 1082294"/>
              <a:gd name="connsiteY42" fmla="*/ 0 h 1522717"/>
              <a:gd name="connsiteX43" fmla="*/ 241078 w 1082294"/>
              <a:gd name="connsiteY43" fmla="*/ 10096 h 1522717"/>
              <a:gd name="connsiteX44" fmla="*/ 183928 w 1082294"/>
              <a:gd name="connsiteY44" fmla="*/ 16954 h 1522717"/>
              <a:gd name="connsiteX45" fmla="*/ 119920 w 1082294"/>
              <a:gd name="connsiteY45" fmla="*/ 64961 h 1522717"/>
              <a:gd name="connsiteX46" fmla="*/ 98774 w 1082294"/>
              <a:gd name="connsiteY46" fmla="*/ 63532 h 1522717"/>
              <a:gd name="connsiteX47" fmla="*/ 83534 w 1082294"/>
              <a:gd name="connsiteY47" fmla="*/ 86011 h 1522717"/>
              <a:gd name="connsiteX48" fmla="*/ 56769 w 1082294"/>
              <a:gd name="connsiteY48" fmla="*/ 93821 h 1522717"/>
              <a:gd name="connsiteX49" fmla="*/ 54197 w 1082294"/>
              <a:gd name="connsiteY49" fmla="*/ 80867 h 1522717"/>
              <a:gd name="connsiteX50" fmla="*/ 7906 w 1082294"/>
              <a:gd name="connsiteY50" fmla="*/ 78772 h 1522717"/>
              <a:gd name="connsiteX51" fmla="*/ 7906 w 1082294"/>
              <a:gd name="connsiteY51" fmla="*/ 78772 h 1522717"/>
              <a:gd name="connsiteX52" fmla="*/ 61627 w 1082294"/>
              <a:gd name="connsiteY52" fmla="*/ 174593 h 1522717"/>
              <a:gd name="connsiteX53" fmla="*/ 38576 w 1082294"/>
              <a:gd name="connsiteY53" fmla="*/ 206121 h 1522717"/>
              <a:gd name="connsiteX54" fmla="*/ 49721 w 1082294"/>
              <a:gd name="connsiteY54" fmla="*/ 270891 h 1522717"/>
              <a:gd name="connsiteX55" fmla="*/ 20574 w 1082294"/>
              <a:gd name="connsiteY55" fmla="*/ 318897 h 1522717"/>
              <a:gd name="connsiteX56" fmla="*/ 36671 w 1082294"/>
              <a:gd name="connsiteY56" fmla="*/ 337375 h 1522717"/>
              <a:gd name="connsiteX57" fmla="*/ 18669 w 1082294"/>
              <a:gd name="connsiteY57" fmla="*/ 355473 h 1522717"/>
              <a:gd name="connsiteX58" fmla="*/ 56293 w 1082294"/>
              <a:gd name="connsiteY58" fmla="*/ 387477 h 1522717"/>
              <a:gd name="connsiteX59" fmla="*/ 58102 w 1082294"/>
              <a:gd name="connsiteY59" fmla="*/ 396335 h 1522717"/>
              <a:gd name="connsiteX60" fmla="*/ 65246 w 1082294"/>
              <a:gd name="connsiteY60" fmla="*/ 404622 h 1522717"/>
              <a:gd name="connsiteX61" fmla="*/ 44577 w 1082294"/>
              <a:gd name="connsiteY61" fmla="*/ 425577 h 1522717"/>
              <a:gd name="connsiteX62" fmla="*/ 42672 w 1082294"/>
              <a:gd name="connsiteY62" fmla="*/ 424434 h 1522717"/>
              <a:gd name="connsiteX63" fmla="*/ 0 w 1082294"/>
              <a:gd name="connsiteY63" fmla="*/ 468440 h 1522717"/>
              <a:gd name="connsiteX64" fmla="*/ 14859 w 1082294"/>
              <a:gd name="connsiteY64" fmla="*/ 480727 h 1522717"/>
              <a:gd name="connsiteX65" fmla="*/ 24384 w 1082294"/>
              <a:gd name="connsiteY65" fmla="*/ 510445 h 1522717"/>
              <a:gd name="connsiteX66" fmla="*/ 37052 w 1082294"/>
              <a:gd name="connsiteY66" fmla="*/ 516350 h 1522717"/>
              <a:gd name="connsiteX67" fmla="*/ 43339 w 1082294"/>
              <a:gd name="connsiteY67" fmla="*/ 571214 h 1522717"/>
              <a:gd name="connsiteX68" fmla="*/ 74771 w 1082294"/>
              <a:gd name="connsiteY68" fmla="*/ 599408 h 1522717"/>
              <a:gd name="connsiteX69" fmla="*/ 60484 w 1082294"/>
              <a:gd name="connsiteY69" fmla="*/ 618077 h 1522717"/>
              <a:gd name="connsiteX70" fmla="*/ 72771 w 1082294"/>
              <a:gd name="connsiteY70" fmla="*/ 628650 h 1522717"/>
              <a:gd name="connsiteX71" fmla="*/ 69628 w 1082294"/>
              <a:gd name="connsiteY71" fmla="*/ 642557 h 1522717"/>
              <a:gd name="connsiteX72" fmla="*/ 55626 w 1082294"/>
              <a:gd name="connsiteY72" fmla="*/ 642557 h 1522717"/>
              <a:gd name="connsiteX73" fmla="*/ 58198 w 1082294"/>
              <a:gd name="connsiteY73" fmla="*/ 665226 h 1522717"/>
              <a:gd name="connsiteX74" fmla="*/ 75057 w 1082294"/>
              <a:gd name="connsiteY74" fmla="*/ 675513 h 1522717"/>
              <a:gd name="connsiteX75" fmla="*/ 69437 w 1082294"/>
              <a:gd name="connsiteY75" fmla="*/ 692468 h 1522717"/>
              <a:gd name="connsiteX76" fmla="*/ 91916 w 1082294"/>
              <a:gd name="connsiteY76" fmla="*/ 719995 h 1522717"/>
              <a:gd name="connsiteX77" fmla="*/ 112585 w 1082294"/>
              <a:gd name="connsiteY77" fmla="*/ 816007 h 1522717"/>
              <a:gd name="connsiteX78" fmla="*/ 225529 w 1082294"/>
              <a:gd name="connsiteY78" fmla="*/ 1503211 h 1522717"/>
              <a:gd name="connsiteX79" fmla="*/ 776120 w 1082294"/>
              <a:gd name="connsiteY79" fmla="*/ 1522717 h 1522717"/>
              <a:gd name="connsiteX80" fmla="*/ 283845 w 1082294"/>
              <a:gd name="connsiteY80" fmla="*/ 768572 h 1522717"/>
              <a:gd name="connsiteX81" fmla="*/ 308419 w 1082294"/>
              <a:gd name="connsiteY81" fmla="*/ 776478 h 1522717"/>
              <a:gd name="connsiteX82" fmla="*/ 305086 w 1082294"/>
              <a:gd name="connsiteY82" fmla="*/ 788194 h 1522717"/>
              <a:gd name="connsiteX83" fmla="*/ 345091 w 1082294"/>
              <a:gd name="connsiteY83" fmla="*/ 763524 h 1522717"/>
              <a:gd name="connsiteX84" fmla="*/ 409480 w 1082294"/>
              <a:gd name="connsiteY84" fmla="*/ 763524 h 1522717"/>
              <a:gd name="connsiteX85" fmla="*/ 411385 w 1082294"/>
              <a:gd name="connsiteY85" fmla="*/ 773049 h 1522717"/>
              <a:gd name="connsiteX86" fmla="*/ 423863 w 1082294"/>
              <a:gd name="connsiteY86" fmla="*/ 780288 h 1522717"/>
              <a:gd name="connsiteX87" fmla="*/ 446627 w 1082294"/>
              <a:gd name="connsiteY87" fmla="*/ 703612 h 1522717"/>
              <a:gd name="connsiteX88" fmla="*/ 445484 w 1082294"/>
              <a:gd name="connsiteY88" fmla="*/ 671894 h 1522717"/>
              <a:gd name="connsiteX89" fmla="*/ 445484 w 1082294"/>
              <a:gd name="connsiteY89" fmla="*/ 672084 h 1522717"/>
              <a:gd name="connsiteX90" fmla="*/ 167354 w 1082294"/>
              <a:gd name="connsiteY90" fmla="*/ 590169 h 1522717"/>
              <a:gd name="connsiteX91" fmla="*/ 153638 w 1082294"/>
              <a:gd name="connsiteY91" fmla="*/ 586359 h 1522717"/>
              <a:gd name="connsiteX92" fmla="*/ 149733 w 1082294"/>
              <a:gd name="connsiteY92" fmla="*/ 575501 h 1522717"/>
              <a:gd name="connsiteX93" fmla="*/ 144589 w 1082294"/>
              <a:gd name="connsiteY93" fmla="*/ 555308 h 1522717"/>
              <a:gd name="connsiteX94" fmla="*/ 152114 w 1082294"/>
              <a:gd name="connsiteY94" fmla="*/ 545783 h 1522717"/>
              <a:gd name="connsiteX95" fmla="*/ 175927 w 1082294"/>
              <a:gd name="connsiteY95" fmla="*/ 567023 h 1522717"/>
              <a:gd name="connsiteX96" fmla="*/ 167354 w 1082294"/>
              <a:gd name="connsiteY96" fmla="*/ 590169 h 1522717"/>
              <a:gd name="connsiteX0" fmla="*/ 445484 w 1082294"/>
              <a:gd name="connsiteY0" fmla="*/ 672084 h 1522717"/>
              <a:gd name="connsiteX1" fmla="*/ 468059 w 1082294"/>
              <a:gd name="connsiteY1" fmla="*/ 640747 h 1522717"/>
              <a:gd name="connsiteX2" fmla="*/ 477584 w 1082294"/>
              <a:gd name="connsiteY2" fmla="*/ 614553 h 1522717"/>
              <a:gd name="connsiteX3" fmla="*/ 542639 w 1082294"/>
              <a:gd name="connsiteY3" fmla="*/ 603885 h 1522717"/>
              <a:gd name="connsiteX4" fmla="*/ 582739 w 1082294"/>
              <a:gd name="connsiteY4" fmla="*/ 593122 h 1522717"/>
              <a:gd name="connsiteX5" fmla="*/ 636651 w 1082294"/>
              <a:gd name="connsiteY5" fmla="*/ 596360 h 1522717"/>
              <a:gd name="connsiteX6" fmla="*/ 688657 w 1082294"/>
              <a:gd name="connsiteY6" fmla="*/ 628079 h 1522717"/>
              <a:gd name="connsiteX7" fmla="*/ 694182 w 1082294"/>
              <a:gd name="connsiteY7" fmla="*/ 649319 h 1522717"/>
              <a:gd name="connsiteX8" fmla="*/ 1082294 w 1082294"/>
              <a:gd name="connsiteY8" fmla="*/ 1186529 h 1522717"/>
              <a:gd name="connsiteX9" fmla="*/ 698944 w 1082294"/>
              <a:gd name="connsiteY9" fmla="*/ 614648 h 1522717"/>
              <a:gd name="connsiteX10" fmla="*/ 713327 w 1082294"/>
              <a:gd name="connsiteY10" fmla="*/ 580739 h 1522717"/>
              <a:gd name="connsiteX11" fmla="*/ 721995 w 1082294"/>
              <a:gd name="connsiteY11" fmla="*/ 580549 h 1522717"/>
              <a:gd name="connsiteX12" fmla="*/ 718185 w 1082294"/>
              <a:gd name="connsiteY12" fmla="*/ 563690 h 1522717"/>
              <a:gd name="connsiteX13" fmla="*/ 731996 w 1082294"/>
              <a:gd name="connsiteY13" fmla="*/ 524161 h 1522717"/>
              <a:gd name="connsiteX14" fmla="*/ 716661 w 1082294"/>
              <a:gd name="connsiteY14" fmla="*/ 486442 h 1522717"/>
              <a:gd name="connsiteX15" fmla="*/ 677323 w 1082294"/>
              <a:gd name="connsiteY15" fmla="*/ 466725 h 1522717"/>
              <a:gd name="connsiteX16" fmla="*/ 674180 w 1082294"/>
              <a:gd name="connsiteY16" fmla="*/ 429768 h 1522717"/>
              <a:gd name="connsiteX17" fmla="*/ 687038 w 1082294"/>
              <a:gd name="connsiteY17" fmla="*/ 417671 h 1522717"/>
              <a:gd name="connsiteX18" fmla="*/ 683323 w 1082294"/>
              <a:gd name="connsiteY18" fmla="*/ 402431 h 1522717"/>
              <a:gd name="connsiteX19" fmla="*/ 572262 w 1082294"/>
              <a:gd name="connsiteY19" fmla="*/ 402431 h 1522717"/>
              <a:gd name="connsiteX20" fmla="*/ 569023 w 1082294"/>
              <a:gd name="connsiteY20" fmla="*/ 356616 h 1522717"/>
              <a:gd name="connsiteX21" fmla="*/ 554069 w 1082294"/>
              <a:gd name="connsiteY21" fmla="*/ 340614 h 1522717"/>
              <a:gd name="connsiteX22" fmla="*/ 561689 w 1082294"/>
              <a:gd name="connsiteY22" fmla="*/ 333566 h 1522717"/>
              <a:gd name="connsiteX23" fmla="*/ 562261 w 1082294"/>
              <a:gd name="connsiteY23" fmla="*/ 298037 h 1522717"/>
              <a:gd name="connsiteX24" fmla="*/ 555403 w 1082294"/>
              <a:gd name="connsiteY24" fmla="*/ 280607 h 1522717"/>
              <a:gd name="connsiteX25" fmla="*/ 562547 w 1082294"/>
              <a:gd name="connsiteY25" fmla="*/ 266891 h 1522717"/>
              <a:gd name="connsiteX26" fmla="*/ 553784 w 1082294"/>
              <a:gd name="connsiteY26" fmla="*/ 249460 h 1522717"/>
              <a:gd name="connsiteX27" fmla="*/ 517684 w 1082294"/>
              <a:gd name="connsiteY27" fmla="*/ 234220 h 1522717"/>
              <a:gd name="connsiteX28" fmla="*/ 476250 w 1082294"/>
              <a:gd name="connsiteY28" fmla="*/ 239935 h 1522717"/>
              <a:gd name="connsiteX29" fmla="*/ 452533 w 1082294"/>
              <a:gd name="connsiteY29" fmla="*/ 212503 h 1522717"/>
              <a:gd name="connsiteX30" fmla="*/ 414909 w 1082294"/>
              <a:gd name="connsiteY30" fmla="*/ 207836 h 1522717"/>
              <a:gd name="connsiteX31" fmla="*/ 394716 w 1082294"/>
              <a:gd name="connsiteY31" fmla="*/ 184595 h 1522717"/>
              <a:gd name="connsiteX32" fmla="*/ 354616 w 1082294"/>
              <a:gd name="connsiteY32" fmla="*/ 172784 h 1522717"/>
              <a:gd name="connsiteX33" fmla="*/ 342233 w 1082294"/>
              <a:gd name="connsiteY33" fmla="*/ 179832 h 1522717"/>
              <a:gd name="connsiteX34" fmla="*/ 311182 w 1082294"/>
              <a:gd name="connsiteY34" fmla="*/ 172498 h 1522717"/>
              <a:gd name="connsiteX35" fmla="*/ 311182 w 1082294"/>
              <a:gd name="connsiteY35" fmla="*/ 158401 h 1522717"/>
              <a:gd name="connsiteX36" fmla="*/ 279940 w 1082294"/>
              <a:gd name="connsiteY36" fmla="*/ 143066 h 1522717"/>
              <a:gd name="connsiteX37" fmla="*/ 259080 w 1082294"/>
              <a:gd name="connsiteY37" fmla="*/ 100965 h 1522717"/>
              <a:gd name="connsiteX38" fmla="*/ 266319 w 1082294"/>
              <a:gd name="connsiteY38" fmla="*/ 85249 h 1522717"/>
              <a:gd name="connsiteX39" fmla="*/ 254794 w 1082294"/>
              <a:gd name="connsiteY39" fmla="*/ 51245 h 1522717"/>
              <a:gd name="connsiteX40" fmla="*/ 266319 w 1082294"/>
              <a:gd name="connsiteY40" fmla="*/ 39338 h 1522717"/>
              <a:gd name="connsiteX41" fmla="*/ 266319 w 1082294"/>
              <a:gd name="connsiteY41" fmla="*/ 8001 h 1522717"/>
              <a:gd name="connsiteX42" fmla="*/ 252984 w 1082294"/>
              <a:gd name="connsiteY42" fmla="*/ 0 h 1522717"/>
              <a:gd name="connsiteX43" fmla="*/ 241078 w 1082294"/>
              <a:gd name="connsiteY43" fmla="*/ 10096 h 1522717"/>
              <a:gd name="connsiteX44" fmla="*/ 183928 w 1082294"/>
              <a:gd name="connsiteY44" fmla="*/ 16954 h 1522717"/>
              <a:gd name="connsiteX45" fmla="*/ 119920 w 1082294"/>
              <a:gd name="connsiteY45" fmla="*/ 64961 h 1522717"/>
              <a:gd name="connsiteX46" fmla="*/ 98774 w 1082294"/>
              <a:gd name="connsiteY46" fmla="*/ 63532 h 1522717"/>
              <a:gd name="connsiteX47" fmla="*/ 83534 w 1082294"/>
              <a:gd name="connsiteY47" fmla="*/ 86011 h 1522717"/>
              <a:gd name="connsiteX48" fmla="*/ 56769 w 1082294"/>
              <a:gd name="connsiteY48" fmla="*/ 93821 h 1522717"/>
              <a:gd name="connsiteX49" fmla="*/ 54197 w 1082294"/>
              <a:gd name="connsiteY49" fmla="*/ 80867 h 1522717"/>
              <a:gd name="connsiteX50" fmla="*/ 7906 w 1082294"/>
              <a:gd name="connsiteY50" fmla="*/ 78772 h 1522717"/>
              <a:gd name="connsiteX51" fmla="*/ 7906 w 1082294"/>
              <a:gd name="connsiteY51" fmla="*/ 78772 h 1522717"/>
              <a:gd name="connsiteX52" fmla="*/ 61627 w 1082294"/>
              <a:gd name="connsiteY52" fmla="*/ 174593 h 1522717"/>
              <a:gd name="connsiteX53" fmla="*/ 38576 w 1082294"/>
              <a:gd name="connsiteY53" fmla="*/ 206121 h 1522717"/>
              <a:gd name="connsiteX54" fmla="*/ 49721 w 1082294"/>
              <a:gd name="connsiteY54" fmla="*/ 270891 h 1522717"/>
              <a:gd name="connsiteX55" fmla="*/ 20574 w 1082294"/>
              <a:gd name="connsiteY55" fmla="*/ 318897 h 1522717"/>
              <a:gd name="connsiteX56" fmla="*/ 36671 w 1082294"/>
              <a:gd name="connsiteY56" fmla="*/ 337375 h 1522717"/>
              <a:gd name="connsiteX57" fmla="*/ 18669 w 1082294"/>
              <a:gd name="connsiteY57" fmla="*/ 355473 h 1522717"/>
              <a:gd name="connsiteX58" fmla="*/ 56293 w 1082294"/>
              <a:gd name="connsiteY58" fmla="*/ 387477 h 1522717"/>
              <a:gd name="connsiteX59" fmla="*/ 58102 w 1082294"/>
              <a:gd name="connsiteY59" fmla="*/ 396335 h 1522717"/>
              <a:gd name="connsiteX60" fmla="*/ 65246 w 1082294"/>
              <a:gd name="connsiteY60" fmla="*/ 404622 h 1522717"/>
              <a:gd name="connsiteX61" fmla="*/ 44577 w 1082294"/>
              <a:gd name="connsiteY61" fmla="*/ 425577 h 1522717"/>
              <a:gd name="connsiteX62" fmla="*/ 42672 w 1082294"/>
              <a:gd name="connsiteY62" fmla="*/ 424434 h 1522717"/>
              <a:gd name="connsiteX63" fmla="*/ 0 w 1082294"/>
              <a:gd name="connsiteY63" fmla="*/ 468440 h 1522717"/>
              <a:gd name="connsiteX64" fmla="*/ 14859 w 1082294"/>
              <a:gd name="connsiteY64" fmla="*/ 480727 h 1522717"/>
              <a:gd name="connsiteX65" fmla="*/ 24384 w 1082294"/>
              <a:gd name="connsiteY65" fmla="*/ 510445 h 1522717"/>
              <a:gd name="connsiteX66" fmla="*/ 37052 w 1082294"/>
              <a:gd name="connsiteY66" fmla="*/ 516350 h 1522717"/>
              <a:gd name="connsiteX67" fmla="*/ 43339 w 1082294"/>
              <a:gd name="connsiteY67" fmla="*/ 571214 h 1522717"/>
              <a:gd name="connsiteX68" fmla="*/ 74771 w 1082294"/>
              <a:gd name="connsiteY68" fmla="*/ 599408 h 1522717"/>
              <a:gd name="connsiteX69" fmla="*/ 60484 w 1082294"/>
              <a:gd name="connsiteY69" fmla="*/ 618077 h 1522717"/>
              <a:gd name="connsiteX70" fmla="*/ 72771 w 1082294"/>
              <a:gd name="connsiteY70" fmla="*/ 628650 h 1522717"/>
              <a:gd name="connsiteX71" fmla="*/ 69628 w 1082294"/>
              <a:gd name="connsiteY71" fmla="*/ 642557 h 1522717"/>
              <a:gd name="connsiteX72" fmla="*/ 55626 w 1082294"/>
              <a:gd name="connsiteY72" fmla="*/ 642557 h 1522717"/>
              <a:gd name="connsiteX73" fmla="*/ 58198 w 1082294"/>
              <a:gd name="connsiteY73" fmla="*/ 665226 h 1522717"/>
              <a:gd name="connsiteX74" fmla="*/ 75057 w 1082294"/>
              <a:gd name="connsiteY74" fmla="*/ 675513 h 1522717"/>
              <a:gd name="connsiteX75" fmla="*/ 69437 w 1082294"/>
              <a:gd name="connsiteY75" fmla="*/ 692468 h 1522717"/>
              <a:gd name="connsiteX76" fmla="*/ 91916 w 1082294"/>
              <a:gd name="connsiteY76" fmla="*/ 719995 h 1522717"/>
              <a:gd name="connsiteX77" fmla="*/ 112585 w 1082294"/>
              <a:gd name="connsiteY77" fmla="*/ 816007 h 1522717"/>
              <a:gd name="connsiteX78" fmla="*/ 225529 w 1082294"/>
              <a:gd name="connsiteY78" fmla="*/ 1503211 h 1522717"/>
              <a:gd name="connsiteX79" fmla="*/ 776120 w 1082294"/>
              <a:gd name="connsiteY79" fmla="*/ 1522717 h 1522717"/>
              <a:gd name="connsiteX80" fmla="*/ 283845 w 1082294"/>
              <a:gd name="connsiteY80" fmla="*/ 768572 h 1522717"/>
              <a:gd name="connsiteX81" fmla="*/ 308419 w 1082294"/>
              <a:gd name="connsiteY81" fmla="*/ 776478 h 1522717"/>
              <a:gd name="connsiteX82" fmla="*/ 305086 w 1082294"/>
              <a:gd name="connsiteY82" fmla="*/ 788194 h 1522717"/>
              <a:gd name="connsiteX83" fmla="*/ 345091 w 1082294"/>
              <a:gd name="connsiteY83" fmla="*/ 763524 h 1522717"/>
              <a:gd name="connsiteX84" fmla="*/ 409480 w 1082294"/>
              <a:gd name="connsiteY84" fmla="*/ 763524 h 1522717"/>
              <a:gd name="connsiteX85" fmla="*/ 411385 w 1082294"/>
              <a:gd name="connsiteY85" fmla="*/ 773049 h 1522717"/>
              <a:gd name="connsiteX86" fmla="*/ 893763 w 1082294"/>
              <a:gd name="connsiteY86" fmla="*/ 1243838 h 1522717"/>
              <a:gd name="connsiteX87" fmla="*/ 446627 w 1082294"/>
              <a:gd name="connsiteY87" fmla="*/ 703612 h 1522717"/>
              <a:gd name="connsiteX88" fmla="*/ 445484 w 1082294"/>
              <a:gd name="connsiteY88" fmla="*/ 671894 h 1522717"/>
              <a:gd name="connsiteX89" fmla="*/ 445484 w 1082294"/>
              <a:gd name="connsiteY89" fmla="*/ 672084 h 1522717"/>
              <a:gd name="connsiteX90" fmla="*/ 167354 w 1082294"/>
              <a:gd name="connsiteY90" fmla="*/ 590169 h 1522717"/>
              <a:gd name="connsiteX91" fmla="*/ 153638 w 1082294"/>
              <a:gd name="connsiteY91" fmla="*/ 586359 h 1522717"/>
              <a:gd name="connsiteX92" fmla="*/ 149733 w 1082294"/>
              <a:gd name="connsiteY92" fmla="*/ 575501 h 1522717"/>
              <a:gd name="connsiteX93" fmla="*/ 144589 w 1082294"/>
              <a:gd name="connsiteY93" fmla="*/ 555308 h 1522717"/>
              <a:gd name="connsiteX94" fmla="*/ 152114 w 1082294"/>
              <a:gd name="connsiteY94" fmla="*/ 545783 h 1522717"/>
              <a:gd name="connsiteX95" fmla="*/ 175927 w 1082294"/>
              <a:gd name="connsiteY95" fmla="*/ 567023 h 1522717"/>
              <a:gd name="connsiteX96" fmla="*/ 167354 w 1082294"/>
              <a:gd name="connsiteY96" fmla="*/ 590169 h 15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082294" h="1522717">
                <a:moveTo>
                  <a:pt x="445484" y="672084"/>
                </a:moveTo>
                <a:lnTo>
                  <a:pt x="468059" y="640747"/>
                </a:lnTo>
                <a:lnTo>
                  <a:pt x="477584" y="614553"/>
                </a:lnTo>
                <a:lnTo>
                  <a:pt x="542639" y="603885"/>
                </a:lnTo>
                <a:lnTo>
                  <a:pt x="582739" y="593122"/>
                </a:lnTo>
                <a:lnTo>
                  <a:pt x="636651" y="596360"/>
                </a:lnTo>
                <a:lnTo>
                  <a:pt x="688657" y="628079"/>
                </a:lnTo>
                <a:lnTo>
                  <a:pt x="694182" y="649319"/>
                </a:lnTo>
                <a:lnTo>
                  <a:pt x="1082294" y="1186529"/>
                </a:lnTo>
                <a:lnTo>
                  <a:pt x="698944" y="614648"/>
                </a:lnTo>
                <a:lnTo>
                  <a:pt x="713327" y="580739"/>
                </a:lnTo>
                <a:lnTo>
                  <a:pt x="721995" y="580549"/>
                </a:lnTo>
                <a:lnTo>
                  <a:pt x="718185" y="563690"/>
                </a:lnTo>
                <a:lnTo>
                  <a:pt x="731996" y="524161"/>
                </a:lnTo>
                <a:lnTo>
                  <a:pt x="716661" y="486442"/>
                </a:lnTo>
                <a:lnTo>
                  <a:pt x="677323" y="466725"/>
                </a:lnTo>
                <a:lnTo>
                  <a:pt x="674180" y="429768"/>
                </a:lnTo>
                <a:lnTo>
                  <a:pt x="687038" y="417671"/>
                </a:lnTo>
                <a:lnTo>
                  <a:pt x="683323" y="402431"/>
                </a:lnTo>
                <a:lnTo>
                  <a:pt x="572262" y="402431"/>
                </a:lnTo>
                <a:lnTo>
                  <a:pt x="569023" y="356616"/>
                </a:lnTo>
                <a:lnTo>
                  <a:pt x="554069" y="340614"/>
                </a:lnTo>
                <a:lnTo>
                  <a:pt x="561689" y="333566"/>
                </a:lnTo>
                <a:cubicBezTo>
                  <a:pt x="561880" y="321723"/>
                  <a:pt x="562070" y="309880"/>
                  <a:pt x="562261" y="298037"/>
                </a:cubicBezTo>
                <a:lnTo>
                  <a:pt x="555403" y="280607"/>
                </a:lnTo>
                <a:lnTo>
                  <a:pt x="562547" y="266891"/>
                </a:lnTo>
                <a:lnTo>
                  <a:pt x="553784" y="249460"/>
                </a:lnTo>
                <a:lnTo>
                  <a:pt x="517684" y="234220"/>
                </a:lnTo>
                <a:lnTo>
                  <a:pt x="476250" y="239935"/>
                </a:lnTo>
                <a:lnTo>
                  <a:pt x="452533" y="212503"/>
                </a:lnTo>
                <a:lnTo>
                  <a:pt x="414909" y="207836"/>
                </a:lnTo>
                <a:lnTo>
                  <a:pt x="394716" y="184595"/>
                </a:lnTo>
                <a:lnTo>
                  <a:pt x="354616" y="172784"/>
                </a:lnTo>
                <a:lnTo>
                  <a:pt x="342233" y="179832"/>
                </a:lnTo>
                <a:lnTo>
                  <a:pt x="311182" y="172498"/>
                </a:lnTo>
                <a:lnTo>
                  <a:pt x="311182" y="158401"/>
                </a:lnTo>
                <a:lnTo>
                  <a:pt x="279940" y="143066"/>
                </a:lnTo>
                <a:lnTo>
                  <a:pt x="259080" y="100965"/>
                </a:lnTo>
                <a:lnTo>
                  <a:pt x="266319" y="85249"/>
                </a:lnTo>
                <a:lnTo>
                  <a:pt x="254794" y="51245"/>
                </a:lnTo>
                <a:lnTo>
                  <a:pt x="266319" y="39338"/>
                </a:lnTo>
                <a:lnTo>
                  <a:pt x="266319" y="8001"/>
                </a:lnTo>
                <a:lnTo>
                  <a:pt x="252984" y="0"/>
                </a:lnTo>
                <a:lnTo>
                  <a:pt x="241078" y="10096"/>
                </a:lnTo>
                <a:lnTo>
                  <a:pt x="183928" y="16954"/>
                </a:lnTo>
                <a:lnTo>
                  <a:pt x="119920" y="64961"/>
                </a:lnTo>
                <a:lnTo>
                  <a:pt x="98774" y="63532"/>
                </a:lnTo>
                <a:lnTo>
                  <a:pt x="83534" y="86011"/>
                </a:lnTo>
                <a:lnTo>
                  <a:pt x="56769" y="93821"/>
                </a:lnTo>
                <a:lnTo>
                  <a:pt x="54197" y="80867"/>
                </a:lnTo>
                <a:lnTo>
                  <a:pt x="7906" y="78772"/>
                </a:lnTo>
                <a:lnTo>
                  <a:pt x="7906" y="78772"/>
                </a:lnTo>
                <a:lnTo>
                  <a:pt x="61627" y="174593"/>
                </a:lnTo>
                <a:lnTo>
                  <a:pt x="38576" y="206121"/>
                </a:lnTo>
                <a:lnTo>
                  <a:pt x="49721" y="270891"/>
                </a:lnTo>
                <a:lnTo>
                  <a:pt x="20574" y="318897"/>
                </a:lnTo>
                <a:lnTo>
                  <a:pt x="36671" y="337375"/>
                </a:lnTo>
                <a:lnTo>
                  <a:pt x="18669" y="355473"/>
                </a:lnTo>
                <a:cubicBezTo>
                  <a:pt x="57340" y="382143"/>
                  <a:pt x="58483" y="381857"/>
                  <a:pt x="56293" y="387477"/>
                </a:cubicBezTo>
                <a:cubicBezTo>
                  <a:pt x="56293" y="388334"/>
                  <a:pt x="52483" y="393859"/>
                  <a:pt x="58102" y="396335"/>
                </a:cubicBezTo>
                <a:cubicBezTo>
                  <a:pt x="59626" y="397383"/>
                  <a:pt x="69151" y="399193"/>
                  <a:pt x="65246" y="404622"/>
                </a:cubicBezTo>
                <a:cubicBezTo>
                  <a:pt x="51816" y="423577"/>
                  <a:pt x="50006" y="428720"/>
                  <a:pt x="44577" y="425577"/>
                </a:cubicBezTo>
                <a:cubicBezTo>
                  <a:pt x="44005" y="425196"/>
                  <a:pt x="43339" y="424815"/>
                  <a:pt x="42672" y="424434"/>
                </a:cubicBezTo>
                <a:lnTo>
                  <a:pt x="0" y="468440"/>
                </a:lnTo>
                <a:lnTo>
                  <a:pt x="14859" y="480727"/>
                </a:lnTo>
                <a:lnTo>
                  <a:pt x="24384" y="510445"/>
                </a:lnTo>
                <a:lnTo>
                  <a:pt x="37052" y="516350"/>
                </a:lnTo>
                <a:lnTo>
                  <a:pt x="43339" y="571214"/>
                </a:lnTo>
                <a:lnTo>
                  <a:pt x="74771" y="599408"/>
                </a:lnTo>
                <a:lnTo>
                  <a:pt x="60484" y="618077"/>
                </a:lnTo>
                <a:lnTo>
                  <a:pt x="72771" y="628650"/>
                </a:lnTo>
                <a:lnTo>
                  <a:pt x="69628" y="642557"/>
                </a:lnTo>
                <a:lnTo>
                  <a:pt x="55626" y="642557"/>
                </a:lnTo>
                <a:lnTo>
                  <a:pt x="58198" y="665226"/>
                </a:lnTo>
                <a:lnTo>
                  <a:pt x="75057" y="675513"/>
                </a:lnTo>
                <a:lnTo>
                  <a:pt x="69437" y="692468"/>
                </a:lnTo>
                <a:lnTo>
                  <a:pt x="91916" y="719995"/>
                </a:lnTo>
                <a:lnTo>
                  <a:pt x="112585" y="816007"/>
                </a:lnTo>
                <a:lnTo>
                  <a:pt x="225529" y="1503211"/>
                </a:lnTo>
                <a:lnTo>
                  <a:pt x="776120" y="1522717"/>
                </a:lnTo>
                <a:lnTo>
                  <a:pt x="283845" y="768572"/>
                </a:lnTo>
                <a:lnTo>
                  <a:pt x="308419" y="776478"/>
                </a:lnTo>
                <a:lnTo>
                  <a:pt x="305086" y="788194"/>
                </a:lnTo>
                <a:lnTo>
                  <a:pt x="345091" y="763524"/>
                </a:lnTo>
                <a:lnTo>
                  <a:pt x="409480" y="763524"/>
                </a:lnTo>
                <a:lnTo>
                  <a:pt x="411385" y="773049"/>
                </a:lnTo>
                <a:lnTo>
                  <a:pt x="893763" y="1243838"/>
                </a:lnTo>
                <a:lnTo>
                  <a:pt x="446627" y="703612"/>
                </a:lnTo>
                <a:lnTo>
                  <a:pt x="445484" y="671894"/>
                </a:lnTo>
                <a:lnTo>
                  <a:pt x="445484" y="672084"/>
                </a:lnTo>
                <a:close/>
                <a:moveTo>
                  <a:pt x="167354" y="590169"/>
                </a:moveTo>
                <a:cubicBezTo>
                  <a:pt x="163639" y="596265"/>
                  <a:pt x="156972" y="587978"/>
                  <a:pt x="153638" y="586359"/>
                </a:cubicBezTo>
                <a:cubicBezTo>
                  <a:pt x="148590" y="582835"/>
                  <a:pt x="149828" y="576358"/>
                  <a:pt x="149733" y="575501"/>
                </a:cubicBezTo>
                <a:cubicBezTo>
                  <a:pt x="149733" y="569119"/>
                  <a:pt x="147352" y="563404"/>
                  <a:pt x="144589" y="555308"/>
                </a:cubicBezTo>
                <a:cubicBezTo>
                  <a:pt x="142494" y="549021"/>
                  <a:pt x="150781" y="546830"/>
                  <a:pt x="152114" y="545783"/>
                </a:cubicBezTo>
                <a:cubicBezTo>
                  <a:pt x="157543" y="542830"/>
                  <a:pt x="175927" y="567023"/>
                  <a:pt x="175927" y="567023"/>
                </a:cubicBezTo>
                <a:cubicBezTo>
                  <a:pt x="180975" y="573119"/>
                  <a:pt x="172307" y="580073"/>
                  <a:pt x="167354" y="590169"/>
                </a:cubicBezTo>
                <a:close/>
              </a:path>
            </a:pathLst>
          </a:custGeom>
          <a:solidFill>
            <a:schemeClr val="bg1">
              <a:lumMod val="95000"/>
            </a:schemeClr>
          </a:solidFill>
          <a:ln w="9525" cap="flat">
            <a:noFill/>
            <a:prstDash val="solid"/>
            <a:miter/>
          </a:ln>
        </p:spPr>
        <p:txBody>
          <a:bodyPr rtlCol="0" anchor="ctr"/>
          <a:lstStyle/>
          <a:p>
            <a:endParaRPr lang="en-IN"/>
          </a:p>
        </p:txBody>
      </p:sp>
      <p:grpSp>
        <p:nvGrpSpPr>
          <p:cNvPr id="59" name="Graphic 36">
            <a:extLst>
              <a:ext uri="{FF2B5EF4-FFF2-40B4-BE49-F238E27FC236}">
                <a16:creationId xmlns:a16="http://schemas.microsoft.com/office/drawing/2014/main" id="{BD851B5B-3643-A104-BD68-156BC04E0913}"/>
              </a:ext>
            </a:extLst>
          </p:cNvPr>
          <p:cNvGrpSpPr/>
          <p:nvPr/>
        </p:nvGrpSpPr>
        <p:grpSpPr>
          <a:xfrm>
            <a:off x="6028068" y="5705702"/>
            <a:ext cx="21763" cy="16178"/>
            <a:chOff x="5449441" y="6156913"/>
            <a:chExt cx="21763" cy="16178"/>
          </a:xfrm>
          <a:solidFill>
            <a:schemeClr val="bg1">
              <a:lumMod val="95000"/>
            </a:schemeClr>
          </a:solidFill>
        </p:grpSpPr>
        <p:sp>
          <p:nvSpPr>
            <p:cNvPr id="60" name="Freeform: Shape 59">
              <a:extLst>
                <a:ext uri="{FF2B5EF4-FFF2-40B4-BE49-F238E27FC236}">
                  <a16:creationId xmlns:a16="http://schemas.microsoft.com/office/drawing/2014/main" id="{CFB37D9E-EF9F-FF80-83F0-123C974D0288}"/>
                </a:ext>
              </a:extLst>
            </p:cNvPr>
            <p:cNvSpPr/>
            <p:nvPr/>
          </p:nvSpPr>
          <p:spPr>
            <a:xfrm>
              <a:off x="5461183" y="6156913"/>
              <a:ext cx="10020" cy="10008"/>
            </a:xfrm>
            <a:custGeom>
              <a:avLst/>
              <a:gdLst>
                <a:gd name="connsiteX0" fmla="*/ 2550 w 10020"/>
                <a:gd name="connsiteY0" fmla="*/ 804 h 10008"/>
                <a:gd name="connsiteX1" fmla="*/ 839 w 10020"/>
                <a:gd name="connsiteY1" fmla="*/ 6215 h 10008"/>
                <a:gd name="connsiteX2" fmla="*/ 7406 w 10020"/>
                <a:gd name="connsiteY2" fmla="*/ 9083 h 10008"/>
                <a:gd name="connsiteX3" fmla="*/ 9118 w 10020"/>
                <a:gd name="connsiteY3" fmla="*/ 3209 h 10008"/>
                <a:gd name="connsiteX4" fmla="*/ 2504 w 10020"/>
                <a:gd name="connsiteY4" fmla="*/ 758 h 1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0" h="10008">
                  <a:moveTo>
                    <a:pt x="2550" y="804"/>
                  </a:moveTo>
                  <a:cubicBezTo>
                    <a:pt x="2180" y="1452"/>
                    <a:pt x="-1659" y="3718"/>
                    <a:pt x="839" y="6215"/>
                  </a:cubicBezTo>
                  <a:cubicBezTo>
                    <a:pt x="2226" y="7187"/>
                    <a:pt x="4863" y="11997"/>
                    <a:pt x="7406" y="9083"/>
                  </a:cubicBezTo>
                  <a:cubicBezTo>
                    <a:pt x="7823" y="8389"/>
                    <a:pt x="11754" y="5614"/>
                    <a:pt x="9118" y="3209"/>
                  </a:cubicBezTo>
                  <a:cubicBezTo>
                    <a:pt x="9118" y="3209"/>
                    <a:pt x="5140" y="-1878"/>
                    <a:pt x="2504" y="758"/>
                  </a:cubicBezTo>
                  <a:close/>
                </a:path>
              </a:pathLst>
            </a:custGeom>
            <a:grpFill/>
            <a:ln w="4609" cap="flat">
              <a:noFill/>
              <a:prstDash val="solid"/>
              <a:miter/>
            </a:ln>
          </p:spPr>
          <p:txBody>
            <a:bodyPr rtlCol="0" anchor="ctr"/>
            <a:lstStyle/>
            <a:p>
              <a:endParaRPr lang="en-IN"/>
            </a:p>
          </p:txBody>
        </p:sp>
        <p:sp>
          <p:nvSpPr>
            <p:cNvPr id="61" name="Freeform: Shape 60">
              <a:extLst>
                <a:ext uri="{FF2B5EF4-FFF2-40B4-BE49-F238E27FC236}">
                  <a16:creationId xmlns:a16="http://schemas.microsoft.com/office/drawing/2014/main" id="{14EB39E5-73A9-3815-2618-31655EDD7073}"/>
                </a:ext>
              </a:extLst>
            </p:cNvPr>
            <p:cNvSpPr/>
            <p:nvPr/>
          </p:nvSpPr>
          <p:spPr>
            <a:xfrm>
              <a:off x="5449441" y="6164655"/>
              <a:ext cx="6962" cy="8435"/>
            </a:xfrm>
            <a:custGeom>
              <a:avLst/>
              <a:gdLst>
                <a:gd name="connsiteX0" fmla="*/ 2823 w 6962"/>
                <a:gd name="connsiteY0" fmla="*/ 184 h 8435"/>
                <a:gd name="connsiteX1" fmla="*/ 1 w 6962"/>
                <a:gd name="connsiteY1" fmla="*/ 5456 h 8435"/>
                <a:gd name="connsiteX2" fmla="*/ 2499 w 6962"/>
                <a:gd name="connsiteY2" fmla="*/ 8324 h 8435"/>
                <a:gd name="connsiteX3" fmla="*/ 3655 w 6962"/>
                <a:gd name="connsiteY3" fmla="*/ 8416 h 8435"/>
                <a:gd name="connsiteX4" fmla="*/ 6939 w 6962"/>
                <a:gd name="connsiteY4" fmla="*/ 2358 h 8435"/>
                <a:gd name="connsiteX5" fmla="*/ 2823 w 6962"/>
                <a:gd name="connsiteY5" fmla="*/ 138 h 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2" h="8435">
                  <a:moveTo>
                    <a:pt x="2823" y="184"/>
                  </a:moveTo>
                  <a:cubicBezTo>
                    <a:pt x="-692" y="508"/>
                    <a:pt x="186" y="4716"/>
                    <a:pt x="1" y="5456"/>
                  </a:cubicBezTo>
                  <a:cubicBezTo>
                    <a:pt x="-45" y="6890"/>
                    <a:pt x="1065" y="8185"/>
                    <a:pt x="2499" y="8324"/>
                  </a:cubicBezTo>
                  <a:lnTo>
                    <a:pt x="3655" y="8416"/>
                  </a:lnTo>
                  <a:cubicBezTo>
                    <a:pt x="7355" y="8786"/>
                    <a:pt x="6569" y="3653"/>
                    <a:pt x="6939" y="2358"/>
                  </a:cubicBezTo>
                  <a:cubicBezTo>
                    <a:pt x="7309" y="-972"/>
                    <a:pt x="3285" y="230"/>
                    <a:pt x="2823" y="138"/>
                  </a:cubicBezTo>
                  <a:close/>
                </a:path>
              </a:pathLst>
            </a:custGeom>
            <a:grpFill/>
            <a:ln w="4609" cap="flat">
              <a:noFill/>
              <a:prstDash val="solid"/>
              <a:miter/>
            </a:ln>
          </p:spPr>
          <p:txBody>
            <a:bodyPr rtlCol="0" anchor="ctr"/>
            <a:lstStyle/>
            <a:p>
              <a:endParaRPr lang="en-IN"/>
            </a:p>
          </p:txBody>
        </p:sp>
      </p:grpSp>
      <p:grpSp>
        <p:nvGrpSpPr>
          <p:cNvPr id="62" name="Graphic 36">
            <a:extLst>
              <a:ext uri="{FF2B5EF4-FFF2-40B4-BE49-F238E27FC236}">
                <a16:creationId xmlns:a16="http://schemas.microsoft.com/office/drawing/2014/main" id="{2DDCDC8E-D3C8-F322-4F69-124080BA8907}"/>
              </a:ext>
            </a:extLst>
          </p:cNvPr>
          <p:cNvGrpSpPr/>
          <p:nvPr/>
        </p:nvGrpSpPr>
        <p:grpSpPr>
          <a:xfrm>
            <a:off x="8071990" y="5153698"/>
            <a:ext cx="182940" cy="31255"/>
            <a:chOff x="7493363" y="5604909"/>
            <a:chExt cx="182940" cy="31255"/>
          </a:xfrm>
          <a:solidFill>
            <a:schemeClr val="bg1">
              <a:lumMod val="85000"/>
            </a:schemeClr>
          </a:solidFill>
        </p:grpSpPr>
        <p:sp>
          <p:nvSpPr>
            <p:cNvPr id="63" name="Freeform: Shape 62">
              <a:extLst>
                <a:ext uri="{FF2B5EF4-FFF2-40B4-BE49-F238E27FC236}">
                  <a16:creationId xmlns:a16="http://schemas.microsoft.com/office/drawing/2014/main" id="{BDC54D1F-9787-3EEC-0E3D-C936A3595D36}"/>
                </a:ext>
              </a:extLst>
            </p:cNvPr>
            <p:cNvSpPr/>
            <p:nvPr/>
          </p:nvSpPr>
          <p:spPr>
            <a:xfrm>
              <a:off x="7493363" y="5616488"/>
              <a:ext cx="17340" cy="19676"/>
            </a:xfrm>
            <a:custGeom>
              <a:avLst/>
              <a:gdLst>
                <a:gd name="connsiteX0" fmla="*/ 11648 w 17340"/>
                <a:gd name="connsiteY0" fmla="*/ 939 h 19676"/>
                <a:gd name="connsiteX1" fmla="*/ 5636 w 17340"/>
                <a:gd name="connsiteY1" fmla="*/ 1679 h 19676"/>
                <a:gd name="connsiteX2" fmla="*/ 1704 w 17340"/>
                <a:gd name="connsiteY2" fmla="*/ 18098 h 19676"/>
                <a:gd name="connsiteX3" fmla="*/ 14562 w 17340"/>
                <a:gd name="connsiteY3" fmla="*/ 17821 h 19676"/>
                <a:gd name="connsiteX4" fmla="*/ 16967 w 17340"/>
                <a:gd name="connsiteY4" fmla="*/ 8941 h 19676"/>
                <a:gd name="connsiteX5" fmla="*/ 11694 w 17340"/>
                <a:gd name="connsiteY5" fmla="*/ 939 h 1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40" h="19676">
                  <a:moveTo>
                    <a:pt x="11648" y="939"/>
                  </a:moveTo>
                  <a:cubicBezTo>
                    <a:pt x="11648" y="939"/>
                    <a:pt x="6977" y="-1604"/>
                    <a:pt x="5636" y="1679"/>
                  </a:cubicBezTo>
                  <a:cubicBezTo>
                    <a:pt x="409" y="14444"/>
                    <a:pt x="-1810" y="17497"/>
                    <a:pt x="1704" y="18098"/>
                  </a:cubicBezTo>
                  <a:cubicBezTo>
                    <a:pt x="7254" y="18561"/>
                    <a:pt x="12573" y="21567"/>
                    <a:pt x="14562" y="17821"/>
                  </a:cubicBezTo>
                  <a:cubicBezTo>
                    <a:pt x="15302" y="15971"/>
                    <a:pt x="18401" y="12502"/>
                    <a:pt x="16967" y="8941"/>
                  </a:cubicBezTo>
                  <a:cubicBezTo>
                    <a:pt x="15811" y="6675"/>
                    <a:pt x="15348" y="2142"/>
                    <a:pt x="11694" y="939"/>
                  </a:cubicBezTo>
                  <a:close/>
                </a:path>
              </a:pathLst>
            </a:custGeom>
            <a:grpFill/>
            <a:ln w="4609" cap="flat">
              <a:noFill/>
              <a:prstDash val="solid"/>
              <a:miter/>
            </a:ln>
          </p:spPr>
          <p:txBody>
            <a:bodyPr rtlCol="0" anchor="ctr"/>
            <a:lstStyle/>
            <a:p>
              <a:endParaRPr lang="en-IN"/>
            </a:p>
          </p:txBody>
        </p:sp>
        <p:sp>
          <p:nvSpPr>
            <p:cNvPr id="64" name="Freeform: Shape 63">
              <a:extLst>
                <a:ext uri="{FF2B5EF4-FFF2-40B4-BE49-F238E27FC236}">
                  <a16:creationId xmlns:a16="http://schemas.microsoft.com/office/drawing/2014/main" id="{CADA9072-33BB-A5F1-6723-2480A0E123AE}"/>
                </a:ext>
              </a:extLst>
            </p:cNvPr>
            <p:cNvSpPr/>
            <p:nvPr/>
          </p:nvSpPr>
          <p:spPr>
            <a:xfrm>
              <a:off x="7667289" y="5604909"/>
              <a:ext cx="9014" cy="8709"/>
            </a:xfrm>
            <a:custGeom>
              <a:avLst/>
              <a:gdLst>
                <a:gd name="connsiteX0" fmla="*/ 3249 w 9014"/>
                <a:gd name="connsiteY0" fmla="*/ 910 h 8709"/>
                <a:gd name="connsiteX1" fmla="*/ 1492 w 9014"/>
                <a:gd name="connsiteY1" fmla="*/ 7801 h 8709"/>
                <a:gd name="connsiteX2" fmla="*/ 8707 w 9014"/>
                <a:gd name="connsiteY2" fmla="*/ 6784 h 8709"/>
                <a:gd name="connsiteX3" fmla="*/ 3203 w 9014"/>
                <a:gd name="connsiteY3" fmla="*/ 910 h 8709"/>
              </a:gdLst>
              <a:ahLst/>
              <a:cxnLst>
                <a:cxn ang="0">
                  <a:pos x="connsiteX0" y="connsiteY0"/>
                </a:cxn>
                <a:cxn ang="0">
                  <a:pos x="connsiteX1" y="connsiteY1"/>
                </a:cxn>
                <a:cxn ang="0">
                  <a:pos x="connsiteX2" y="connsiteY2"/>
                </a:cxn>
                <a:cxn ang="0">
                  <a:pos x="connsiteX3" y="connsiteY3"/>
                </a:cxn>
              </a:cxnLst>
              <a:rect l="l" t="t" r="r" b="b"/>
              <a:pathLst>
                <a:path w="9014" h="8709">
                  <a:moveTo>
                    <a:pt x="3249" y="910"/>
                  </a:moveTo>
                  <a:cubicBezTo>
                    <a:pt x="2325" y="2852"/>
                    <a:pt x="-2347" y="7200"/>
                    <a:pt x="1492" y="7801"/>
                  </a:cubicBezTo>
                  <a:cubicBezTo>
                    <a:pt x="3897" y="7894"/>
                    <a:pt x="10511" y="10345"/>
                    <a:pt x="8707" y="6784"/>
                  </a:cubicBezTo>
                  <a:cubicBezTo>
                    <a:pt x="7181" y="4471"/>
                    <a:pt x="5470" y="-2466"/>
                    <a:pt x="3203" y="910"/>
                  </a:cubicBezTo>
                  <a:close/>
                </a:path>
              </a:pathLst>
            </a:custGeom>
            <a:grpFill/>
            <a:ln w="4609" cap="flat">
              <a:noFill/>
              <a:prstDash val="solid"/>
              <a:miter/>
            </a:ln>
          </p:spPr>
          <p:txBody>
            <a:bodyPr rtlCol="0" anchor="ctr"/>
            <a:lstStyle/>
            <a:p>
              <a:endParaRPr lang="en-IN"/>
            </a:p>
          </p:txBody>
        </p:sp>
      </p:grpSp>
      <p:sp>
        <p:nvSpPr>
          <p:cNvPr id="65" name="Freeform: Shape 64">
            <a:extLst>
              <a:ext uri="{FF2B5EF4-FFF2-40B4-BE49-F238E27FC236}">
                <a16:creationId xmlns:a16="http://schemas.microsoft.com/office/drawing/2014/main" id="{6E059260-1CBC-3078-F425-860BA84D8C1C}"/>
              </a:ext>
            </a:extLst>
          </p:cNvPr>
          <p:cNvSpPr/>
          <p:nvPr/>
        </p:nvSpPr>
        <p:spPr>
          <a:xfrm>
            <a:off x="6108216" y="5812675"/>
            <a:ext cx="8914" cy="14325"/>
          </a:xfrm>
          <a:custGeom>
            <a:avLst/>
            <a:gdLst>
              <a:gd name="connsiteX0" fmla="*/ 560 w 8914"/>
              <a:gd name="connsiteY0" fmla="*/ 1176 h 14325"/>
              <a:gd name="connsiteX1" fmla="*/ 1114 w 8914"/>
              <a:gd name="connsiteY1" fmla="*/ 7697 h 14325"/>
              <a:gd name="connsiteX2" fmla="*/ 8098 w 8914"/>
              <a:gd name="connsiteY2" fmla="*/ 13062 h 14325"/>
              <a:gd name="connsiteX3" fmla="*/ 7404 w 8914"/>
              <a:gd name="connsiteY3" fmla="*/ 4275 h 14325"/>
              <a:gd name="connsiteX4" fmla="*/ 513 w 8914"/>
              <a:gd name="connsiteY4" fmla="*/ 1176 h 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4" h="14325">
                <a:moveTo>
                  <a:pt x="560" y="1176"/>
                </a:moveTo>
                <a:cubicBezTo>
                  <a:pt x="560" y="1731"/>
                  <a:pt x="-1013" y="5108"/>
                  <a:pt x="1114" y="7697"/>
                </a:cubicBezTo>
                <a:cubicBezTo>
                  <a:pt x="3704" y="10287"/>
                  <a:pt x="7404" y="17132"/>
                  <a:pt x="8098" y="13062"/>
                </a:cubicBezTo>
                <a:cubicBezTo>
                  <a:pt x="8191" y="10981"/>
                  <a:pt x="10272" y="6865"/>
                  <a:pt x="7404" y="4275"/>
                </a:cubicBezTo>
                <a:cubicBezTo>
                  <a:pt x="7404" y="4275"/>
                  <a:pt x="1484" y="-2709"/>
                  <a:pt x="513" y="1176"/>
                </a:cubicBezTo>
                <a:close/>
              </a:path>
            </a:pathLst>
          </a:custGeom>
          <a:solidFill>
            <a:schemeClr val="bg1">
              <a:lumMod val="95000"/>
            </a:schemeClr>
          </a:solidFill>
          <a:ln w="4609" cap="flat">
            <a:noFill/>
            <a:prstDash val="solid"/>
            <a:miter/>
          </a:ln>
        </p:spPr>
        <p:txBody>
          <a:bodyPr rtlCol="0" anchor="ctr"/>
          <a:lstStyle/>
          <a:p>
            <a:endParaRPr lang="en-IN"/>
          </a:p>
        </p:txBody>
      </p:sp>
      <p:grpSp>
        <p:nvGrpSpPr>
          <p:cNvPr id="66" name="Group 65">
            <a:extLst>
              <a:ext uri="{FF2B5EF4-FFF2-40B4-BE49-F238E27FC236}">
                <a16:creationId xmlns:a16="http://schemas.microsoft.com/office/drawing/2014/main" id="{3663EA93-6077-2A76-5F7C-1F40FF1638E0}"/>
              </a:ext>
            </a:extLst>
          </p:cNvPr>
          <p:cNvGrpSpPr/>
          <p:nvPr/>
        </p:nvGrpSpPr>
        <p:grpSpPr>
          <a:xfrm>
            <a:off x="5889678" y="3432070"/>
            <a:ext cx="2165707" cy="2198344"/>
            <a:chOff x="5311051" y="3883281"/>
            <a:chExt cx="2165707" cy="2198344"/>
          </a:xfrm>
          <a:solidFill>
            <a:schemeClr val="bg1">
              <a:lumMod val="95000"/>
            </a:schemeClr>
          </a:solidFill>
        </p:grpSpPr>
        <p:sp>
          <p:nvSpPr>
            <p:cNvPr id="67" name="Freeform: Shape 66">
              <a:extLst>
                <a:ext uri="{FF2B5EF4-FFF2-40B4-BE49-F238E27FC236}">
                  <a16:creationId xmlns:a16="http://schemas.microsoft.com/office/drawing/2014/main" id="{058888E0-15CF-0503-211C-624F5F68235E}"/>
                </a:ext>
              </a:extLst>
            </p:cNvPr>
            <p:cNvSpPr/>
            <p:nvPr/>
          </p:nvSpPr>
          <p:spPr>
            <a:xfrm>
              <a:off x="6559112" y="5488807"/>
              <a:ext cx="228566" cy="202943"/>
            </a:xfrm>
            <a:custGeom>
              <a:avLst/>
              <a:gdLst>
                <a:gd name="connsiteX0" fmla="*/ 127372 w 228566"/>
                <a:gd name="connsiteY0" fmla="*/ 0 h 202943"/>
                <a:gd name="connsiteX1" fmla="*/ 108224 w 228566"/>
                <a:gd name="connsiteY1" fmla="*/ 11655 h 202943"/>
                <a:gd name="connsiteX2" fmla="*/ 102351 w 228566"/>
                <a:gd name="connsiteY2" fmla="*/ 33346 h 202943"/>
                <a:gd name="connsiteX3" fmla="*/ 80382 w 228566"/>
                <a:gd name="connsiteY3" fmla="*/ 36815 h 202943"/>
                <a:gd name="connsiteX4" fmla="*/ 45695 w 228566"/>
                <a:gd name="connsiteY4" fmla="*/ 74370 h 202943"/>
                <a:gd name="connsiteX5" fmla="*/ 20257 w 228566"/>
                <a:gd name="connsiteY5" fmla="*/ 65721 h 202943"/>
                <a:gd name="connsiteX6" fmla="*/ 0 w 228566"/>
                <a:gd name="connsiteY6" fmla="*/ 65721 h 202943"/>
                <a:gd name="connsiteX7" fmla="*/ 21599 w 228566"/>
                <a:gd name="connsiteY7" fmla="*/ 99252 h 202943"/>
                <a:gd name="connsiteX8" fmla="*/ 25854 w 228566"/>
                <a:gd name="connsiteY8" fmla="*/ 117382 h 202943"/>
                <a:gd name="connsiteX9" fmla="*/ 57442 w 228566"/>
                <a:gd name="connsiteY9" fmla="*/ 133939 h 202943"/>
                <a:gd name="connsiteX10" fmla="*/ 60125 w 228566"/>
                <a:gd name="connsiteY10" fmla="*/ 145132 h 202943"/>
                <a:gd name="connsiteX11" fmla="*/ 71687 w 228566"/>
                <a:gd name="connsiteY11" fmla="*/ 147028 h 202943"/>
                <a:gd name="connsiteX12" fmla="*/ 72103 w 228566"/>
                <a:gd name="connsiteY12" fmla="*/ 164372 h 202943"/>
                <a:gd name="connsiteX13" fmla="*/ 82509 w 228566"/>
                <a:gd name="connsiteY13" fmla="*/ 179819 h 202943"/>
                <a:gd name="connsiteX14" fmla="*/ 109473 w 228566"/>
                <a:gd name="connsiteY14" fmla="*/ 184814 h 202943"/>
                <a:gd name="connsiteX15" fmla="*/ 119093 w 228566"/>
                <a:gd name="connsiteY15" fmla="*/ 196376 h 202943"/>
                <a:gd name="connsiteX16" fmla="*/ 119463 w 228566"/>
                <a:gd name="connsiteY16" fmla="*/ 196885 h 202943"/>
                <a:gd name="connsiteX17" fmla="*/ 131904 w 228566"/>
                <a:gd name="connsiteY17" fmla="*/ 195035 h 202943"/>
                <a:gd name="connsiteX18" fmla="*/ 149155 w 228566"/>
                <a:gd name="connsiteY18" fmla="*/ 202944 h 202943"/>
                <a:gd name="connsiteX19" fmla="*/ 175379 w 228566"/>
                <a:gd name="connsiteY19" fmla="*/ 202157 h 202943"/>
                <a:gd name="connsiteX20" fmla="*/ 212749 w 228566"/>
                <a:gd name="connsiteY20" fmla="*/ 170569 h 202943"/>
                <a:gd name="connsiteX21" fmla="*/ 210066 w 228566"/>
                <a:gd name="connsiteY21" fmla="*/ 149340 h 202943"/>
                <a:gd name="connsiteX22" fmla="*/ 219316 w 228566"/>
                <a:gd name="connsiteY22" fmla="*/ 145872 h 202943"/>
                <a:gd name="connsiteX23" fmla="*/ 228566 w 228566"/>
                <a:gd name="connsiteY23" fmla="*/ 125845 h 202943"/>
                <a:gd name="connsiteX24" fmla="*/ 219316 w 228566"/>
                <a:gd name="connsiteY24" fmla="*/ 116966 h 202943"/>
                <a:gd name="connsiteX25" fmla="*/ 222785 w 228566"/>
                <a:gd name="connsiteY25" fmla="*/ 105033 h 202943"/>
                <a:gd name="connsiteX26" fmla="*/ 216634 w 228566"/>
                <a:gd name="connsiteY26" fmla="*/ 97309 h 202943"/>
                <a:gd name="connsiteX27" fmla="*/ 226254 w 228566"/>
                <a:gd name="connsiteY27" fmla="*/ 89216 h 202943"/>
                <a:gd name="connsiteX28" fmla="*/ 224727 w 228566"/>
                <a:gd name="connsiteY28" fmla="*/ 31820 h 202943"/>
                <a:gd name="connsiteX29" fmla="*/ 195821 w 228566"/>
                <a:gd name="connsiteY29" fmla="*/ 24096 h 202943"/>
                <a:gd name="connsiteX30" fmla="*/ 183843 w 228566"/>
                <a:gd name="connsiteY30" fmla="*/ 13320 h 202943"/>
                <a:gd name="connsiteX31" fmla="*/ 152254 w 228566"/>
                <a:gd name="connsiteY31" fmla="*/ 10591 h 202943"/>
                <a:gd name="connsiteX32" fmla="*/ 149988 w 228566"/>
                <a:gd name="connsiteY32" fmla="*/ 370 h 202943"/>
                <a:gd name="connsiteX33" fmla="*/ 149757 w 228566"/>
                <a:gd name="connsiteY33" fmla="*/ 370 h 202943"/>
                <a:gd name="connsiteX34" fmla="*/ 127372 w 228566"/>
                <a:gd name="connsiteY34" fmla="*/ 0 h 202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8566" h="202943">
                  <a:moveTo>
                    <a:pt x="127372" y="0"/>
                  </a:moveTo>
                  <a:lnTo>
                    <a:pt x="108224" y="11655"/>
                  </a:lnTo>
                  <a:lnTo>
                    <a:pt x="102351" y="33346"/>
                  </a:lnTo>
                  <a:lnTo>
                    <a:pt x="80382" y="36815"/>
                  </a:lnTo>
                  <a:lnTo>
                    <a:pt x="45695" y="74370"/>
                  </a:lnTo>
                  <a:lnTo>
                    <a:pt x="20257" y="65721"/>
                  </a:lnTo>
                  <a:lnTo>
                    <a:pt x="0" y="65721"/>
                  </a:lnTo>
                  <a:lnTo>
                    <a:pt x="21599" y="99252"/>
                  </a:lnTo>
                  <a:lnTo>
                    <a:pt x="25854" y="117382"/>
                  </a:lnTo>
                  <a:lnTo>
                    <a:pt x="57442" y="133939"/>
                  </a:lnTo>
                  <a:lnTo>
                    <a:pt x="60125" y="145132"/>
                  </a:lnTo>
                  <a:lnTo>
                    <a:pt x="71687" y="147028"/>
                  </a:lnTo>
                  <a:lnTo>
                    <a:pt x="72103" y="164372"/>
                  </a:lnTo>
                  <a:lnTo>
                    <a:pt x="82509" y="179819"/>
                  </a:lnTo>
                  <a:lnTo>
                    <a:pt x="109473" y="184814"/>
                  </a:lnTo>
                  <a:lnTo>
                    <a:pt x="119093" y="196376"/>
                  </a:lnTo>
                  <a:lnTo>
                    <a:pt x="119463" y="196885"/>
                  </a:lnTo>
                  <a:lnTo>
                    <a:pt x="131904" y="195035"/>
                  </a:lnTo>
                  <a:lnTo>
                    <a:pt x="149155" y="202944"/>
                  </a:lnTo>
                  <a:lnTo>
                    <a:pt x="175379" y="202157"/>
                  </a:lnTo>
                  <a:lnTo>
                    <a:pt x="212749" y="170569"/>
                  </a:lnTo>
                  <a:lnTo>
                    <a:pt x="210066" y="149340"/>
                  </a:lnTo>
                  <a:lnTo>
                    <a:pt x="219316" y="145872"/>
                  </a:lnTo>
                  <a:lnTo>
                    <a:pt x="228566" y="125845"/>
                  </a:lnTo>
                  <a:lnTo>
                    <a:pt x="219316" y="116966"/>
                  </a:lnTo>
                  <a:lnTo>
                    <a:pt x="222785" y="105033"/>
                  </a:lnTo>
                  <a:lnTo>
                    <a:pt x="216634" y="97309"/>
                  </a:lnTo>
                  <a:lnTo>
                    <a:pt x="226254" y="89216"/>
                  </a:lnTo>
                  <a:lnTo>
                    <a:pt x="224727" y="31820"/>
                  </a:lnTo>
                  <a:lnTo>
                    <a:pt x="195821" y="24096"/>
                  </a:lnTo>
                  <a:lnTo>
                    <a:pt x="183843" y="13320"/>
                  </a:lnTo>
                  <a:lnTo>
                    <a:pt x="152254" y="10591"/>
                  </a:lnTo>
                  <a:lnTo>
                    <a:pt x="149988" y="370"/>
                  </a:lnTo>
                  <a:lnTo>
                    <a:pt x="149757" y="370"/>
                  </a:lnTo>
                  <a:lnTo>
                    <a:pt x="127372" y="0"/>
                  </a:lnTo>
                  <a:close/>
                </a:path>
              </a:pathLst>
            </a:custGeom>
            <a:grpFill/>
            <a:ln w="4609" cap="flat">
              <a:noFill/>
              <a:prstDash val="solid"/>
              <a:miter/>
            </a:ln>
          </p:spPr>
          <p:txBody>
            <a:bodyPr rtlCol="0" anchor="ctr"/>
            <a:lstStyle/>
            <a:p>
              <a:endParaRPr lang="en-IN"/>
            </a:p>
          </p:txBody>
        </p:sp>
        <p:sp>
          <p:nvSpPr>
            <p:cNvPr id="68" name="Freeform: Shape 67">
              <a:extLst>
                <a:ext uri="{FF2B5EF4-FFF2-40B4-BE49-F238E27FC236}">
                  <a16:creationId xmlns:a16="http://schemas.microsoft.com/office/drawing/2014/main" id="{4BA87B53-8F9E-3611-B0BF-BBCBCD67C14D}"/>
                </a:ext>
              </a:extLst>
            </p:cNvPr>
            <p:cNvSpPr/>
            <p:nvPr/>
          </p:nvSpPr>
          <p:spPr>
            <a:xfrm>
              <a:off x="6465410" y="5270509"/>
              <a:ext cx="341137" cy="292714"/>
            </a:xfrm>
            <a:custGeom>
              <a:avLst/>
              <a:gdLst>
                <a:gd name="connsiteX0" fmla="*/ 318013 w 341137"/>
                <a:gd name="connsiteY0" fmla="*/ 166360 h 292714"/>
                <a:gd name="connsiteX1" fmla="*/ 311631 w 341137"/>
                <a:gd name="connsiteY1" fmla="*/ 156232 h 292714"/>
                <a:gd name="connsiteX2" fmla="*/ 319123 w 341137"/>
                <a:gd name="connsiteY2" fmla="*/ 149849 h 292714"/>
                <a:gd name="connsiteX3" fmla="*/ 321436 w 341137"/>
                <a:gd name="connsiteY3" fmla="*/ 138842 h 292714"/>
                <a:gd name="connsiteX4" fmla="*/ 318753 w 341137"/>
                <a:gd name="connsiteY4" fmla="*/ 134402 h 292714"/>
                <a:gd name="connsiteX5" fmla="*/ 322037 w 341137"/>
                <a:gd name="connsiteY5" fmla="*/ 127649 h 292714"/>
                <a:gd name="connsiteX6" fmla="*/ 331102 w 341137"/>
                <a:gd name="connsiteY6" fmla="*/ 126863 h 292714"/>
                <a:gd name="connsiteX7" fmla="*/ 337669 w 341137"/>
                <a:gd name="connsiteY7" fmla="*/ 119139 h 292714"/>
                <a:gd name="connsiteX8" fmla="*/ 331102 w 341137"/>
                <a:gd name="connsiteY8" fmla="*/ 118584 h 292714"/>
                <a:gd name="connsiteX9" fmla="*/ 327633 w 341137"/>
                <a:gd name="connsiteY9" fmla="*/ 112572 h 292714"/>
                <a:gd name="connsiteX10" fmla="*/ 330778 w 341137"/>
                <a:gd name="connsiteY10" fmla="*/ 107993 h 292714"/>
                <a:gd name="connsiteX11" fmla="*/ 328049 w 341137"/>
                <a:gd name="connsiteY11" fmla="*/ 94627 h 292714"/>
                <a:gd name="connsiteX12" fmla="*/ 332304 w 341137"/>
                <a:gd name="connsiteY12" fmla="*/ 85562 h 292714"/>
                <a:gd name="connsiteX13" fmla="*/ 328049 w 341137"/>
                <a:gd name="connsiteY13" fmla="*/ 77607 h 292714"/>
                <a:gd name="connsiteX14" fmla="*/ 341138 w 341137"/>
                <a:gd name="connsiteY14" fmla="*/ 69004 h 292714"/>
                <a:gd name="connsiteX15" fmla="*/ 336790 w 341137"/>
                <a:gd name="connsiteY15" fmla="*/ 57165 h 292714"/>
                <a:gd name="connsiteX16" fmla="*/ 330269 w 341137"/>
                <a:gd name="connsiteY16" fmla="*/ 52401 h 292714"/>
                <a:gd name="connsiteX17" fmla="*/ 330593 w 341137"/>
                <a:gd name="connsiteY17" fmla="*/ 46666 h 292714"/>
                <a:gd name="connsiteX18" fmla="*/ 320094 w 341137"/>
                <a:gd name="connsiteY18" fmla="*/ 40977 h 292714"/>
                <a:gd name="connsiteX19" fmla="*/ 318661 w 341137"/>
                <a:gd name="connsiteY19" fmla="*/ 31912 h 292714"/>
                <a:gd name="connsiteX20" fmla="*/ 286193 w 341137"/>
                <a:gd name="connsiteY20" fmla="*/ 21737 h 292714"/>
                <a:gd name="connsiteX21" fmla="*/ 279256 w 341137"/>
                <a:gd name="connsiteY21" fmla="*/ 11609 h 292714"/>
                <a:gd name="connsiteX22" fmla="*/ 267740 w 341137"/>
                <a:gd name="connsiteY22" fmla="*/ 11054 h 292714"/>
                <a:gd name="connsiteX23" fmla="*/ 265797 w 341137"/>
                <a:gd name="connsiteY23" fmla="*/ 12580 h 292714"/>
                <a:gd name="connsiteX24" fmla="*/ 261450 w 341137"/>
                <a:gd name="connsiteY24" fmla="*/ 12025 h 292714"/>
                <a:gd name="connsiteX25" fmla="*/ 255576 w 341137"/>
                <a:gd name="connsiteY25" fmla="*/ 6984 h 292714"/>
                <a:gd name="connsiteX26" fmla="*/ 249286 w 341137"/>
                <a:gd name="connsiteY26" fmla="*/ 5504 h 292714"/>
                <a:gd name="connsiteX27" fmla="*/ 246465 w 341137"/>
                <a:gd name="connsiteY27" fmla="*/ 2497 h 292714"/>
                <a:gd name="connsiteX28" fmla="*/ 247066 w 341137"/>
                <a:gd name="connsiteY28" fmla="*/ 0 h 292714"/>
                <a:gd name="connsiteX29" fmla="*/ 200493 w 341137"/>
                <a:gd name="connsiteY29" fmla="*/ 6660 h 292714"/>
                <a:gd name="connsiteX30" fmla="*/ 200493 w 341137"/>
                <a:gd name="connsiteY30" fmla="*/ 6799 h 292714"/>
                <a:gd name="connsiteX31" fmla="*/ 205904 w 341137"/>
                <a:gd name="connsiteY31" fmla="*/ 9342 h 292714"/>
                <a:gd name="connsiteX32" fmla="*/ 205950 w 341137"/>
                <a:gd name="connsiteY32" fmla="*/ 16696 h 292714"/>
                <a:gd name="connsiteX33" fmla="*/ 198458 w 341137"/>
                <a:gd name="connsiteY33" fmla="*/ 25622 h 292714"/>
                <a:gd name="connsiteX34" fmla="*/ 193231 w 341137"/>
                <a:gd name="connsiteY34" fmla="*/ 31034 h 292714"/>
                <a:gd name="connsiteX35" fmla="*/ 192815 w 341137"/>
                <a:gd name="connsiteY35" fmla="*/ 30941 h 292714"/>
                <a:gd name="connsiteX36" fmla="*/ 190549 w 341137"/>
                <a:gd name="connsiteY36" fmla="*/ 31080 h 292714"/>
                <a:gd name="connsiteX37" fmla="*/ 190549 w 341137"/>
                <a:gd name="connsiteY37" fmla="*/ 31080 h 292714"/>
                <a:gd name="connsiteX38" fmla="*/ 195729 w 341137"/>
                <a:gd name="connsiteY38" fmla="*/ 43105 h 292714"/>
                <a:gd name="connsiteX39" fmla="*/ 191983 w 341137"/>
                <a:gd name="connsiteY39" fmla="*/ 55222 h 292714"/>
                <a:gd name="connsiteX40" fmla="*/ 194573 w 341137"/>
                <a:gd name="connsiteY40" fmla="*/ 70531 h 292714"/>
                <a:gd name="connsiteX41" fmla="*/ 184768 w 341137"/>
                <a:gd name="connsiteY41" fmla="*/ 94211 h 292714"/>
                <a:gd name="connsiteX42" fmla="*/ 188838 w 341137"/>
                <a:gd name="connsiteY42" fmla="*/ 105773 h 292714"/>
                <a:gd name="connsiteX43" fmla="*/ 197532 w 341137"/>
                <a:gd name="connsiteY43" fmla="*/ 109843 h 292714"/>
                <a:gd name="connsiteX44" fmla="*/ 205534 w 341137"/>
                <a:gd name="connsiteY44" fmla="*/ 121220 h 292714"/>
                <a:gd name="connsiteX45" fmla="*/ 217466 w 341137"/>
                <a:gd name="connsiteY45" fmla="*/ 123163 h 292714"/>
                <a:gd name="connsiteX46" fmla="*/ 217096 w 341137"/>
                <a:gd name="connsiteY46" fmla="*/ 115855 h 292714"/>
                <a:gd name="connsiteX47" fmla="*/ 228289 w 341137"/>
                <a:gd name="connsiteY47" fmla="*/ 113173 h 292714"/>
                <a:gd name="connsiteX48" fmla="*/ 228289 w 341137"/>
                <a:gd name="connsiteY48" fmla="*/ 152855 h 292714"/>
                <a:gd name="connsiteX49" fmla="*/ 219409 w 341137"/>
                <a:gd name="connsiteY49" fmla="*/ 153225 h 292714"/>
                <a:gd name="connsiteX50" fmla="*/ 220195 w 341137"/>
                <a:gd name="connsiteY50" fmla="*/ 145918 h 292714"/>
                <a:gd name="connsiteX51" fmla="*/ 206227 w 341137"/>
                <a:gd name="connsiteY51" fmla="*/ 153318 h 292714"/>
                <a:gd name="connsiteX52" fmla="*/ 198643 w 341137"/>
                <a:gd name="connsiteY52" fmla="*/ 138980 h 292714"/>
                <a:gd name="connsiteX53" fmla="*/ 185138 w 341137"/>
                <a:gd name="connsiteY53" fmla="*/ 122423 h 292714"/>
                <a:gd name="connsiteX54" fmla="*/ 164325 w 341137"/>
                <a:gd name="connsiteY54" fmla="*/ 118584 h 292714"/>
                <a:gd name="connsiteX55" fmla="*/ 160857 w 341137"/>
                <a:gd name="connsiteY55" fmla="*/ 109334 h 292714"/>
                <a:gd name="connsiteX56" fmla="*/ 153919 w 341137"/>
                <a:gd name="connsiteY56" fmla="*/ 105079 h 292714"/>
                <a:gd name="connsiteX57" fmla="*/ 153133 w 341137"/>
                <a:gd name="connsiteY57" fmla="*/ 97356 h 292714"/>
                <a:gd name="connsiteX58" fmla="*/ 145039 w 341137"/>
                <a:gd name="connsiteY58" fmla="*/ 96986 h 292714"/>
                <a:gd name="connsiteX59" fmla="*/ 143513 w 341137"/>
                <a:gd name="connsiteY59" fmla="*/ 107022 h 292714"/>
                <a:gd name="connsiteX60" fmla="*/ 136205 w 341137"/>
                <a:gd name="connsiteY60" fmla="*/ 110490 h 292714"/>
                <a:gd name="connsiteX61" fmla="*/ 102304 w 341137"/>
                <a:gd name="connsiteY61" fmla="*/ 103183 h 292714"/>
                <a:gd name="connsiteX62" fmla="*/ 95367 w 341137"/>
                <a:gd name="connsiteY62" fmla="*/ 94719 h 292714"/>
                <a:gd name="connsiteX63" fmla="*/ 97309 w 341137"/>
                <a:gd name="connsiteY63" fmla="*/ 86626 h 292714"/>
                <a:gd name="connsiteX64" fmla="*/ 81908 w 341137"/>
                <a:gd name="connsiteY64" fmla="*/ 87782 h 292714"/>
                <a:gd name="connsiteX65" fmla="*/ 74185 w 341137"/>
                <a:gd name="connsiteY65" fmla="*/ 95089 h 292714"/>
                <a:gd name="connsiteX66" fmla="*/ 66091 w 341137"/>
                <a:gd name="connsiteY66" fmla="*/ 93563 h 292714"/>
                <a:gd name="connsiteX67" fmla="*/ 71086 w 341137"/>
                <a:gd name="connsiteY67" fmla="*/ 82787 h 292714"/>
                <a:gd name="connsiteX68" fmla="*/ 56841 w 341137"/>
                <a:gd name="connsiteY68" fmla="*/ 75479 h 292714"/>
                <a:gd name="connsiteX69" fmla="*/ 56841 w 341137"/>
                <a:gd name="connsiteY69" fmla="*/ 114006 h 292714"/>
                <a:gd name="connsiteX70" fmla="*/ 60911 w 341137"/>
                <a:gd name="connsiteY70" fmla="*/ 120203 h 292714"/>
                <a:gd name="connsiteX71" fmla="*/ 55315 w 341137"/>
                <a:gd name="connsiteY71" fmla="*/ 131442 h 292714"/>
                <a:gd name="connsiteX72" fmla="*/ 58876 w 341137"/>
                <a:gd name="connsiteY72" fmla="*/ 140322 h 292714"/>
                <a:gd name="connsiteX73" fmla="*/ 0 w 341137"/>
                <a:gd name="connsiteY73" fmla="*/ 140322 h 292714"/>
                <a:gd name="connsiteX74" fmla="*/ 0 w 341137"/>
                <a:gd name="connsiteY74" fmla="*/ 232359 h 292714"/>
                <a:gd name="connsiteX75" fmla="*/ 5273 w 341137"/>
                <a:gd name="connsiteY75" fmla="*/ 237631 h 292714"/>
                <a:gd name="connsiteX76" fmla="*/ 5273 w 341137"/>
                <a:gd name="connsiteY76" fmla="*/ 246233 h 292714"/>
                <a:gd name="connsiteX77" fmla="*/ 35335 w 341137"/>
                <a:gd name="connsiteY77" fmla="*/ 276249 h 292714"/>
                <a:gd name="connsiteX78" fmla="*/ 35335 w 341137"/>
                <a:gd name="connsiteY78" fmla="*/ 276249 h 292714"/>
                <a:gd name="connsiteX79" fmla="*/ 62576 w 341137"/>
                <a:gd name="connsiteY79" fmla="*/ 270700 h 292714"/>
                <a:gd name="connsiteX80" fmla="*/ 81446 w 341137"/>
                <a:gd name="connsiteY80" fmla="*/ 272457 h 292714"/>
                <a:gd name="connsiteX81" fmla="*/ 93794 w 341137"/>
                <a:gd name="connsiteY81" fmla="*/ 284019 h 292714"/>
                <a:gd name="connsiteX82" fmla="*/ 114052 w 341137"/>
                <a:gd name="connsiteY82" fmla="*/ 284019 h 292714"/>
                <a:gd name="connsiteX83" fmla="*/ 139489 w 341137"/>
                <a:gd name="connsiteY83" fmla="*/ 292714 h 292714"/>
                <a:gd name="connsiteX84" fmla="*/ 174176 w 341137"/>
                <a:gd name="connsiteY84" fmla="*/ 255160 h 292714"/>
                <a:gd name="connsiteX85" fmla="*/ 196145 w 341137"/>
                <a:gd name="connsiteY85" fmla="*/ 251691 h 292714"/>
                <a:gd name="connsiteX86" fmla="*/ 202019 w 341137"/>
                <a:gd name="connsiteY86" fmla="*/ 230000 h 292714"/>
                <a:gd name="connsiteX87" fmla="*/ 221166 w 341137"/>
                <a:gd name="connsiteY87" fmla="*/ 218345 h 292714"/>
                <a:gd name="connsiteX88" fmla="*/ 243551 w 341137"/>
                <a:gd name="connsiteY88" fmla="*/ 218761 h 292714"/>
                <a:gd name="connsiteX89" fmla="*/ 243782 w 341137"/>
                <a:gd name="connsiteY89" fmla="*/ 218761 h 292714"/>
                <a:gd name="connsiteX90" fmla="*/ 239481 w 341137"/>
                <a:gd name="connsiteY90" fmla="*/ 199382 h 292714"/>
                <a:gd name="connsiteX91" fmla="*/ 327910 w 341137"/>
                <a:gd name="connsiteY91" fmla="*/ 170754 h 292714"/>
                <a:gd name="connsiteX92" fmla="*/ 323840 w 341137"/>
                <a:gd name="connsiteY92" fmla="*/ 165250 h 292714"/>
                <a:gd name="connsiteX93" fmla="*/ 318059 w 341137"/>
                <a:gd name="connsiteY93" fmla="*/ 166406 h 29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41137" h="292714">
                  <a:moveTo>
                    <a:pt x="318013" y="166360"/>
                  </a:moveTo>
                  <a:lnTo>
                    <a:pt x="311631" y="156232"/>
                  </a:lnTo>
                  <a:lnTo>
                    <a:pt x="319123" y="149849"/>
                  </a:lnTo>
                  <a:lnTo>
                    <a:pt x="321436" y="138842"/>
                  </a:lnTo>
                  <a:lnTo>
                    <a:pt x="318753" y="134402"/>
                  </a:lnTo>
                  <a:lnTo>
                    <a:pt x="322037" y="127649"/>
                  </a:lnTo>
                  <a:lnTo>
                    <a:pt x="331102" y="126863"/>
                  </a:lnTo>
                  <a:lnTo>
                    <a:pt x="337669" y="119139"/>
                  </a:lnTo>
                  <a:lnTo>
                    <a:pt x="331102" y="118584"/>
                  </a:lnTo>
                  <a:lnTo>
                    <a:pt x="327633" y="112572"/>
                  </a:lnTo>
                  <a:lnTo>
                    <a:pt x="330778" y="107993"/>
                  </a:lnTo>
                  <a:lnTo>
                    <a:pt x="328049" y="94627"/>
                  </a:lnTo>
                  <a:lnTo>
                    <a:pt x="332304" y="85562"/>
                  </a:lnTo>
                  <a:lnTo>
                    <a:pt x="328049" y="77607"/>
                  </a:lnTo>
                  <a:lnTo>
                    <a:pt x="341138" y="69004"/>
                  </a:lnTo>
                  <a:lnTo>
                    <a:pt x="336790" y="57165"/>
                  </a:lnTo>
                  <a:lnTo>
                    <a:pt x="330269" y="52401"/>
                  </a:lnTo>
                  <a:lnTo>
                    <a:pt x="330593" y="46666"/>
                  </a:lnTo>
                  <a:lnTo>
                    <a:pt x="320094" y="40977"/>
                  </a:lnTo>
                  <a:lnTo>
                    <a:pt x="318661" y="31912"/>
                  </a:lnTo>
                  <a:lnTo>
                    <a:pt x="286193" y="21737"/>
                  </a:lnTo>
                  <a:lnTo>
                    <a:pt x="279256" y="11609"/>
                  </a:lnTo>
                  <a:lnTo>
                    <a:pt x="267740" y="11054"/>
                  </a:lnTo>
                  <a:cubicBezTo>
                    <a:pt x="266861" y="12256"/>
                    <a:pt x="265473" y="12857"/>
                    <a:pt x="265797" y="12580"/>
                  </a:cubicBezTo>
                  <a:cubicBezTo>
                    <a:pt x="264502" y="13227"/>
                    <a:pt x="262560" y="12996"/>
                    <a:pt x="261450" y="12025"/>
                  </a:cubicBezTo>
                  <a:lnTo>
                    <a:pt x="255576" y="6984"/>
                  </a:lnTo>
                  <a:cubicBezTo>
                    <a:pt x="253125" y="4856"/>
                    <a:pt x="248824" y="5457"/>
                    <a:pt x="249286" y="5504"/>
                  </a:cubicBezTo>
                  <a:cubicBezTo>
                    <a:pt x="246465" y="5642"/>
                    <a:pt x="246233" y="2035"/>
                    <a:pt x="246465" y="2497"/>
                  </a:cubicBezTo>
                  <a:cubicBezTo>
                    <a:pt x="246418" y="1480"/>
                    <a:pt x="246650" y="694"/>
                    <a:pt x="247066" y="0"/>
                  </a:cubicBezTo>
                  <a:lnTo>
                    <a:pt x="200493" y="6660"/>
                  </a:lnTo>
                  <a:lnTo>
                    <a:pt x="200493" y="6799"/>
                  </a:lnTo>
                  <a:cubicBezTo>
                    <a:pt x="202666" y="6521"/>
                    <a:pt x="204932" y="8926"/>
                    <a:pt x="205904" y="9342"/>
                  </a:cubicBezTo>
                  <a:cubicBezTo>
                    <a:pt x="209002" y="11377"/>
                    <a:pt x="206181" y="15447"/>
                    <a:pt x="205950" y="16696"/>
                  </a:cubicBezTo>
                  <a:cubicBezTo>
                    <a:pt x="204747" y="19980"/>
                    <a:pt x="202065" y="22107"/>
                    <a:pt x="198458" y="25622"/>
                  </a:cubicBezTo>
                  <a:cubicBezTo>
                    <a:pt x="195497" y="28490"/>
                    <a:pt x="196793" y="31681"/>
                    <a:pt x="193231" y="31034"/>
                  </a:cubicBezTo>
                  <a:lnTo>
                    <a:pt x="192815" y="30941"/>
                  </a:lnTo>
                  <a:cubicBezTo>
                    <a:pt x="191936" y="30802"/>
                    <a:pt x="191196" y="30895"/>
                    <a:pt x="190549" y="31080"/>
                  </a:cubicBezTo>
                  <a:lnTo>
                    <a:pt x="190549" y="31080"/>
                  </a:lnTo>
                  <a:cubicBezTo>
                    <a:pt x="190549" y="31080"/>
                    <a:pt x="195729" y="43105"/>
                    <a:pt x="195729" y="43105"/>
                  </a:cubicBezTo>
                  <a:lnTo>
                    <a:pt x="191983" y="55222"/>
                  </a:lnTo>
                  <a:lnTo>
                    <a:pt x="194573" y="70531"/>
                  </a:lnTo>
                  <a:lnTo>
                    <a:pt x="184768" y="94211"/>
                  </a:lnTo>
                  <a:lnTo>
                    <a:pt x="188838" y="105773"/>
                  </a:lnTo>
                  <a:lnTo>
                    <a:pt x="197532" y="109843"/>
                  </a:lnTo>
                  <a:lnTo>
                    <a:pt x="205534" y="121220"/>
                  </a:lnTo>
                  <a:lnTo>
                    <a:pt x="217466" y="123163"/>
                  </a:lnTo>
                  <a:lnTo>
                    <a:pt x="217096" y="115855"/>
                  </a:lnTo>
                  <a:lnTo>
                    <a:pt x="228289" y="113173"/>
                  </a:lnTo>
                  <a:lnTo>
                    <a:pt x="228289" y="152855"/>
                  </a:lnTo>
                  <a:lnTo>
                    <a:pt x="219409" y="153225"/>
                  </a:lnTo>
                  <a:lnTo>
                    <a:pt x="220195" y="145918"/>
                  </a:lnTo>
                  <a:lnTo>
                    <a:pt x="206227" y="153318"/>
                  </a:lnTo>
                  <a:lnTo>
                    <a:pt x="198643" y="138980"/>
                  </a:lnTo>
                  <a:lnTo>
                    <a:pt x="185138" y="122423"/>
                  </a:lnTo>
                  <a:lnTo>
                    <a:pt x="164325" y="118584"/>
                  </a:lnTo>
                  <a:lnTo>
                    <a:pt x="160857" y="109334"/>
                  </a:lnTo>
                  <a:lnTo>
                    <a:pt x="153919" y="105079"/>
                  </a:lnTo>
                  <a:lnTo>
                    <a:pt x="153133" y="97356"/>
                  </a:lnTo>
                  <a:lnTo>
                    <a:pt x="145039" y="96986"/>
                  </a:lnTo>
                  <a:lnTo>
                    <a:pt x="143513" y="107022"/>
                  </a:lnTo>
                  <a:lnTo>
                    <a:pt x="136205" y="110490"/>
                  </a:lnTo>
                  <a:lnTo>
                    <a:pt x="102304" y="103183"/>
                  </a:lnTo>
                  <a:lnTo>
                    <a:pt x="95367" y="94719"/>
                  </a:lnTo>
                  <a:lnTo>
                    <a:pt x="97309" y="86626"/>
                  </a:lnTo>
                  <a:lnTo>
                    <a:pt x="81908" y="87782"/>
                  </a:lnTo>
                  <a:lnTo>
                    <a:pt x="74185" y="95089"/>
                  </a:lnTo>
                  <a:lnTo>
                    <a:pt x="66091" y="93563"/>
                  </a:lnTo>
                  <a:lnTo>
                    <a:pt x="71086" y="82787"/>
                  </a:lnTo>
                  <a:lnTo>
                    <a:pt x="56841" y="75479"/>
                  </a:lnTo>
                  <a:lnTo>
                    <a:pt x="56841" y="114006"/>
                  </a:lnTo>
                  <a:lnTo>
                    <a:pt x="60911" y="120203"/>
                  </a:lnTo>
                  <a:lnTo>
                    <a:pt x="55315" y="131442"/>
                  </a:lnTo>
                  <a:lnTo>
                    <a:pt x="58876" y="140322"/>
                  </a:lnTo>
                  <a:lnTo>
                    <a:pt x="0" y="140322"/>
                  </a:lnTo>
                  <a:lnTo>
                    <a:pt x="0" y="232359"/>
                  </a:lnTo>
                  <a:lnTo>
                    <a:pt x="5273" y="237631"/>
                  </a:lnTo>
                  <a:lnTo>
                    <a:pt x="5273" y="246233"/>
                  </a:lnTo>
                  <a:lnTo>
                    <a:pt x="35335" y="276249"/>
                  </a:lnTo>
                  <a:lnTo>
                    <a:pt x="35335" y="276249"/>
                  </a:lnTo>
                  <a:cubicBezTo>
                    <a:pt x="35335" y="276249"/>
                    <a:pt x="62576" y="270700"/>
                    <a:pt x="62576" y="270700"/>
                  </a:cubicBezTo>
                  <a:lnTo>
                    <a:pt x="81446" y="272457"/>
                  </a:lnTo>
                  <a:lnTo>
                    <a:pt x="93794" y="284019"/>
                  </a:lnTo>
                  <a:lnTo>
                    <a:pt x="114052" y="284019"/>
                  </a:lnTo>
                  <a:lnTo>
                    <a:pt x="139489" y="292714"/>
                  </a:lnTo>
                  <a:lnTo>
                    <a:pt x="174176" y="255160"/>
                  </a:lnTo>
                  <a:lnTo>
                    <a:pt x="196145" y="251691"/>
                  </a:lnTo>
                  <a:lnTo>
                    <a:pt x="202019" y="230000"/>
                  </a:lnTo>
                  <a:lnTo>
                    <a:pt x="221166" y="218345"/>
                  </a:lnTo>
                  <a:lnTo>
                    <a:pt x="243551" y="218761"/>
                  </a:lnTo>
                  <a:lnTo>
                    <a:pt x="243782" y="218761"/>
                  </a:lnTo>
                  <a:cubicBezTo>
                    <a:pt x="243782" y="218761"/>
                    <a:pt x="239481" y="199382"/>
                    <a:pt x="239481" y="199382"/>
                  </a:cubicBezTo>
                  <a:lnTo>
                    <a:pt x="327910" y="170754"/>
                  </a:lnTo>
                  <a:lnTo>
                    <a:pt x="323840" y="165250"/>
                  </a:lnTo>
                  <a:lnTo>
                    <a:pt x="318059" y="166406"/>
                  </a:lnTo>
                  <a:close/>
                </a:path>
              </a:pathLst>
            </a:custGeom>
            <a:grpFill/>
            <a:ln w="4609" cap="flat">
              <a:noFill/>
              <a:prstDash val="solid"/>
              <a:miter/>
            </a:ln>
          </p:spPr>
          <p:txBody>
            <a:bodyPr rtlCol="0" anchor="ctr"/>
            <a:lstStyle/>
            <a:p>
              <a:endParaRPr lang="en-IN"/>
            </a:p>
          </p:txBody>
        </p:sp>
        <p:sp>
          <p:nvSpPr>
            <p:cNvPr id="69" name="Freeform: Shape 68">
              <a:extLst>
                <a:ext uri="{FF2B5EF4-FFF2-40B4-BE49-F238E27FC236}">
                  <a16:creationId xmlns:a16="http://schemas.microsoft.com/office/drawing/2014/main" id="{ECC62486-E0DB-908C-0857-ACC389435682}"/>
                </a:ext>
              </a:extLst>
            </p:cNvPr>
            <p:cNvSpPr/>
            <p:nvPr/>
          </p:nvSpPr>
          <p:spPr>
            <a:xfrm>
              <a:off x="5323790" y="4201539"/>
              <a:ext cx="247381" cy="203849"/>
            </a:xfrm>
            <a:custGeom>
              <a:avLst/>
              <a:gdLst>
                <a:gd name="connsiteX0" fmla="*/ 114414 w 247381"/>
                <a:gd name="connsiteY0" fmla="*/ 0 h 203849"/>
                <a:gd name="connsiteX1" fmla="*/ 113951 w 247381"/>
                <a:gd name="connsiteY1" fmla="*/ 92 h 203849"/>
                <a:gd name="connsiteX2" fmla="*/ 99984 w 247381"/>
                <a:gd name="connsiteY2" fmla="*/ 23911 h 203849"/>
                <a:gd name="connsiteX3" fmla="*/ 80281 w 247381"/>
                <a:gd name="connsiteY3" fmla="*/ 37277 h 203849"/>
                <a:gd name="connsiteX4" fmla="*/ 68719 w 247381"/>
                <a:gd name="connsiteY4" fmla="*/ 61096 h 203849"/>
                <a:gd name="connsiteX5" fmla="*/ 65528 w 247381"/>
                <a:gd name="connsiteY5" fmla="*/ 83203 h 203849"/>
                <a:gd name="connsiteX6" fmla="*/ 63262 w 247381"/>
                <a:gd name="connsiteY6" fmla="*/ 87504 h 203849"/>
                <a:gd name="connsiteX7" fmla="*/ 38287 w 247381"/>
                <a:gd name="connsiteY7" fmla="*/ 111046 h 203849"/>
                <a:gd name="connsiteX8" fmla="*/ 27603 w 247381"/>
                <a:gd name="connsiteY8" fmla="*/ 135697 h 203849"/>
                <a:gd name="connsiteX9" fmla="*/ 27788 w 247381"/>
                <a:gd name="connsiteY9" fmla="*/ 136159 h 203849"/>
                <a:gd name="connsiteX10" fmla="*/ 21221 w 247381"/>
                <a:gd name="connsiteY10" fmla="*/ 144160 h 203849"/>
                <a:gd name="connsiteX11" fmla="*/ 16827 w 247381"/>
                <a:gd name="connsiteY11" fmla="*/ 156555 h 203849"/>
                <a:gd name="connsiteX12" fmla="*/ 11924 w 247381"/>
                <a:gd name="connsiteY12" fmla="*/ 159978 h 203849"/>
                <a:gd name="connsiteX13" fmla="*/ 38 w 247381"/>
                <a:gd name="connsiteY13" fmla="*/ 202666 h 203849"/>
                <a:gd name="connsiteX14" fmla="*/ 1102 w 247381"/>
                <a:gd name="connsiteY14" fmla="*/ 203036 h 203849"/>
                <a:gd name="connsiteX15" fmla="*/ 5588 w 247381"/>
                <a:gd name="connsiteY15" fmla="*/ 197024 h 203849"/>
                <a:gd name="connsiteX16" fmla="*/ 5588 w 247381"/>
                <a:gd name="connsiteY16" fmla="*/ 197024 h 203849"/>
                <a:gd name="connsiteX17" fmla="*/ 120842 w 247381"/>
                <a:gd name="connsiteY17" fmla="*/ 197024 h 203849"/>
                <a:gd name="connsiteX18" fmla="*/ 117882 w 247381"/>
                <a:gd name="connsiteY18" fmla="*/ 149433 h 203849"/>
                <a:gd name="connsiteX19" fmla="*/ 150812 w 247381"/>
                <a:gd name="connsiteY19" fmla="*/ 131488 h 203849"/>
                <a:gd name="connsiteX20" fmla="*/ 150812 w 247381"/>
                <a:gd name="connsiteY20" fmla="*/ 52308 h 203849"/>
                <a:gd name="connsiteX21" fmla="*/ 247382 w 247381"/>
                <a:gd name="connsiteY21" fmla="*/ 52308 h 203849"/>
                <a:gd name="connsiteX22" fmla="*/ 247382 w 247381"/>
                <a:gd name="connsiteY22" fmla="*/ 46 h 203849"/>
                <a:gd name="connsiteX23" fmla="*/ 247243 w 247381"/>
                <a:gd name="connsiteY23" fmla="*/ 46 h 203849"/>
                <a:gd name="connsiteX24" fmla="*/ 114506 w 247381"/>
                <a:gd name="connsiteY24" fmla="*/ 46 h 20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7381" h="203849">
                  <a:moveTo>
                    <a:pt x="114414" y="0"/>
                  </a:moveTo>
                  <a:lnTo>
                    <a:pt x="113951" y="92"/>
                  </a:lnTo>
                  <a:cubicBezTo>
                    <a:pt x="102389" y="22431"/>
                    <a:pt x="102620" y="22339"/>
                    <a:pt x="99984" y="23911"/>
                  </a:cubicBezTo>
                  <a:cubicBezTo>
                    <a:pt x="84398" y="33161"/>
                    <a:pt x="81900" y="33947"/>
                    <a:pt x="80281" y="37277"/>
                  </a:cubicBezTo>
                  <a:lnTo>
                    <a:pt x="68719" y="61096"/>
                  </a:lnTo>
                  <a:cubicBezTo>
                    <a:pt x="66823" y="65027"/>
                    <a:pt x="65482" y="83666"/>
                    <a:pt x="65528" y="83203"/>
                  </a:cubicBezTo>
                  <a:cubicBezTo>
                    <a:pt x="65389" y="84637"/>
                    <a:pt x="64372" y="86579"/>
                    <a:pt x="63262" y="87504"/>
                  </a:cubicBezTo>
                  <a:cubicBezTo>
                    <a:pt x="38055" y="109057"/>
                    <a:pt x="34957" y="110768"/>
                    <a:pt x="38287" y="111046"/>
                  </a:cubicBezTo>
                  <a:cubicBezTo>
                    <a:pt x="44392" y="111554"/>
                    <a:pt x="25291" y="129175"/>
                    <a:pt x="27603" y="135697"/>
                  </a:cubicBezTo>
                  <a:lnTo>
                    <a:pt x="27788" y="136159"/>
                  </a:lnTo>
                  <a:cubicBezTo>
                    <a:pt x="29314" y="140460"/>
                    <a:pt x="22978" y="139350"/>
                    <a:pt x="21221" y="144160"/>
                  </a:cubicBezTo>
                  <a:lnTo>
                    <a:pt x="16827" y="156555"/>
                  </a:lnTo>
                  <a:cubicBezTo>
                    <a:pt x="15763" y="159515"/>
                    <a:pt x="11462" y="160163"/>
                    <a:pt x="11924" y="159978"/>
                  </a:cubicBezTo>
                  <a:cubicBezTo>
                    <a:pt x="2212" y="162244"/>
                    <a:pt x="-286" y="205534"/>
                    <a:pt x="38" y="202666"/>
                  </a:cubicBezTo>
                  <a:cubicBezTo>
                    <a:pt x="-147" y="204100"/>
                    <a:pt x="362" y="204239"/>
                    <a:pt x="1102" y="203036"/>
                  </a:cubicBezTo>
                  <a:cubicBezTo>
                    <a:pt x="2397" y="201371"/>
                    <a:pt x="4016" y="196978"/>
                    <a:pt x="5588" y="197024"/>
                  </a:cubicBezTo>
                  <a:lnTo>
                    <a:pt x="5588" y="197024"/>
                  </a:lnTo>
                  <a:cubicBezTo>
                    <a:pt x="5588" y="197024"/>
                    <a:pt x="120842" y="197024"/>
                    <a:pt x="120842" y="197024"/>
                  </a:cubicBezTo>
                  <a:lnTo>
                    <a:pt x="117882" y="149433"/>
                  </a:lnTo>
                  <a:lnTo>
                    <a:pt x="150812" y="131488"/>
                  </a:lnTo>
                  <a:lnTo>
                    <a:pt x="150812" y="52308"/>
                  </a:lnTo>
                  <a:lnTo>
                    <a:pt x="247382" y="52308"/>
                  </a:lnTo>
                  <a:lnTo>
                    <a:pt x="247382" y="46"/>
                  </a:lnTo>
                  <a:lnTo>
                    <a:pt x="247243" y="46"/>
                  </a:lnTo>
                  <a:cubicBezTo>
                    <a:pt x="247243" y="46"/>
                    <a:pt x="114506" y="46"/>
                    <a:pt x="114506" y="46"/>
                  </a:cubicBezTo>
                  <a:close/>
                </a:path>
              </a:pathLst>
            </a:custGeom>
            <a:grpFill/>
            <a:ln w="4609" cap="flat">
              <a:noFill/>
              <a:prstDash val="solid"/>
              <a:miter/>
            </a:ln>
          </p:spPr>
          <p:txBody>
            <a:bodyPr rtlCol="0" anchor="ctr"/>
            <a:lstStyle/>
            <a:p>
              <a:endParaRPr lang="en-IN"/>
            </a:p>
          </p:txBody>
        </p:sp>
        <p:grpSp>
          <p:nvGrpSpPr>
            <p:cNvPr id="70" name="Graphic 36">
              <a:extLst>
                <a:ext uri="{FF2B5EF4-FFF2-40B4-BE49-F238E27FC236}">
                  <a16:creationId xmlns:a16="http://schemas.microsoft.com/office/drawing/2014/main" id="{F5E183EA-21BD-87EB-BD50-6A48ACCC837F}"/>
                </a:ext>
              </a:extLst>
            </p:cNvPr>
            <p:cNvGrpSpPr/>
            <p:nvPr/>
          </p:nvGrpSpPr>
          <p:grpSpPr>
            <a:xfrm>
              <a:off x="6684772" y="4906246"/>
              <a:ext cx="160209" cy="165065"/>
              <a:chOff x="6684772" y="4906246"/>
              <a:chExt cx="160209" cy="165065"/>
            </a:xfrm>
            <a:grpFill/>
          </p:grpSpPr>
          <p:sp>
            <p:nvSpPr>
              <p:cNvPr id="176" name="Freeform: Shape 175">
                <a:extLst>
                  <a:ext uri="{FF2B5EF4-FFF2-40B4-BE49-F238E27FC236}">
                    <a16:creationId xmlns:a16="http://schemas.microsoft.com/office/drawing/2014/main" id="{FD3839F9-7326-A237-8B3B-4E122838CF24}"/>
                  </a:ext>
                </a:extLst>
              </p:cNvPr>
              <p:cNvSpPr/>
              <p:nvPr/>
            </p:nvSpPr>
            <p:spPr>
              <a:xfrm>
                <a:off x="6761407" y="5033282"/>
                <a:ext cx="6346" cy="7086"/>
              </a:xfrm>
              <a:custGeom>
                <a:avLst/>
                <a:gdLst>
                  <a:gd name="connsiteX0" fmla="*/ 463 w 6346"/>
                  <a:gd name="connsiteY0" fmla="*/ 2787 h 7086"/>
                  <a:gd name="connsiteX1" fmla="*/ 2036 w 6346"/>
                  <a:gd name="connsiteY1" fmla="*/ 6949 h 7086"/>
                  <a:gd name="connsiteX2" fmla="*/ 6337 w 6346"/>
                  <a:gd name="connsiteY2" fmla="*/ 2972 h 7086"/>
                  <a:gd name="connsiteX3" fmla="*/ 6337 w 6346"/>
                  <a:gd name="connsiteY3" fmla="*/ 2370 h 7086"/>
                  <a:gd name="connsiteX4" fmla="*/ 463 w 6346"/>
                  <a:gd name="connsiteY4" fmla="*/ 2787 h 7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6" h="7086">
                    <a:moveTo>
                      <a:pt x="463" y="2787"/>
                    </a:moveTo>
                    <a:cubicBezTo>
                      <a:pt x="463" y="3434"/>
                      <a:pt x="-1294" y="7920"/>
                      <a:pt x="2036" y="6949"/>
                    </a:cubicBezTo>
                    <a:cubicBezTo>
                      <a:pt x="2498" y="6672"/>
                      <a:pt x="6568" y="6394"/>
                      <a:pt x="6337" y="2972"/>
                    </a:cubicBezTo>
                    <a:lnTo>
                      <a:pt x="6337" y="2370"/>
                    </a:lnTo>
                    <a:cubicBezTo>
                      <a:pt x="6013" y="-1098"/>
                      <a:pt x="1111" y="-590"/>
                      <a:pt x="463" y="2787"/>
                    </a:cubicBezTo>
                    <a:close/>
                  </a:path>
                </a:pathLst>
              </a:custGeom>
              <a:grpFill/>
              <a:ln w="4609" cap="flat">
                <a:noFill/>
                <a:prstDash val="solid"/>
                <a:miter/>
              </a:ln>
            </p:spPr>
            <p:txBody>
              <a:bodyPr rtlCol="0" anchor="ctr"/>
              <a:lstStyle/>
              <a:p>
                <a:endParaRPr lang="en-IN"/>
              </a:p>
            </p:txBody>
          </p:sp>
          <p:sp>
            <p:nvSpPr>
              <p:cNvPr id="177" name="Freeform: Shape 176">
                <a:extLst>
                  <a:ext uri="{FF2B5EF4-FFF2-40B4-BE49-F238E27FC236}">
                    <a16:creationId xmlns:a16="http://schemas.microsoft.com/office/drawing/2014/main" id="{8B99BEF9-0689-5295-12ED-18D295869E15}"/>
                  </a:ext>
                </a:extLst>
              </p:cNvPr>
              <p:cNvSpPr/>
              <p:nvPr/>
            </p:nvSpPr>
            <p:spPr>
              <a:xfrm>
                <a:off x="6684772" y="4906246"/>
                <a:ext cx="160209" cy="165065"/>
              </a:xfrm>
              <a:custGeom>
                <a:avLst/>
                <a:gdLst>
                  <a:gd name="connsiteX0" fmla="*/ 134494 w 160209"/>
                  <a:gd name="connsiteY0" fmla="*/ 105311 h 165065"/>
                  <a:gd name="connsiteX1" fmla="*/ 139073 w 160209"/>
                  <a:gd name="connsiteY1" fmla="*/ 103599 h 165065"/>
                  <a:gd name="connsiteX2" fmla="*/ 143837 w 160209"/>
                  <a:gd name="connsiteY2" fmla="*/ 96801 h 165065"/>
                  <a:gd name="connsiteX3" fmla="*/ 144530 w 160209"/>
                  <a:gd name="connsiteY3" fmla="*/ 91019 h 165065"/>
                  <a:gd name="connsiteX4" fmla="*/ 154382 w 160209"/>
                  <a:gd name="connsiteY4" fmla="*/ 86949 h 165065"/>
                  <a:gd name="connsiteX5" fmla="*/ 153688 w 160209"/>
                  <a:gd name="connsiteY5" fmla="*/ 80844 h 165065"/>
                  <a:gd name="connsiteX6" fmla="*/ 159330 w 160209"/>
                  <a:gd name="connsiteY6" fmla="*/ 76266 h 165065"/>
                  <a:gd name="connsiteX7" fmla="*/ 160209 w 160209"/>
                  <a:gd name="connsiteY7" fmla="*/ 66461 h 165065"/>
                  <a:gd name="connsiteX8" fmla="*/ 154335 w 160209"/>
                  <a:gd name="connsiteY8" fmla="*/ 55176 h 165065"/>
                  <a:gd name="connsiteX9" fmla="*/ 157897 w 160209"/>
                  <a:gd name="connsiteY9" fmla="*/ 49996 h 165065"/>
                  <a:gd name="connsiteX10" fmla="*/ 153549 w 160209"/>
                  <a:gd name="connsiteY10" fmla="*/ 41301 h 165065"/>
                  <a:gd name="connsiteX11" fmla="*/ 146195 w 160209"/>
                  <a:gd name="connsiteY11" fmla="*/ 35242 h 165065"/>
                  <a:gd name="connsiteX12" fmla="*/ 142172 w 160209"/>
                  <a:gd name="connsiteY12" fmla="*/ 23402 h 165065"/>
                  <a:gd name="connsiteX13" fmla="*/ 145270 w 160209"/>
                  <a:gd name="connsiteY13" fmla="*/ 20535 h 165065"/>
                  <a:gd name="connsiteX14" fmla="*/ 144114 w 160209"/>
                  <a:gd name="connsiteY14" fmla="*/ 14569 h 165065"/>
                  <a:gd name="connsiteX15" fmla="*/ 135049 w 160209"/>
                  <a:gd name="connsiteY15" fmla="*/ 12626 h 165065"/>
                  <a:gd name="connsiteX16" fmla="*/ 130286 w 160209"/>
                  <a:gd name="connsiteY16" fmla="*/ 0 h 165065"/>
                  <a:gd name="connsiteX17" fmla="*/ 130286 w 160209"/>
                  <a:gd name="connsiteY17" fmla="*/ 0 h 165065"/>
                  <a:gd name="connsiteX18" fmla="*/ 115994 w 160209"/>
                  <a:gd name="connsiteY18" fmla="*/ 13597 h 165065"/>
                  <a:gd name="connsiteX19" fmla="*/ 107531 w 160209"/>
                  <a:gd name="connsiteY19" fmla="*/ 13227 h 165065"/>
                  <a:gd name="connsiteX20" fmla="*/ 101564 w 160209"/>
                  <a:gd name="connsiteY20" fmla="*/ 10129 h 165065"/>
                  <a:gd name="connsiteX21" fmla="*/ 96754 w 160209"/>
                  <a:gd name="connsiteY21" fmla="*/ 13227 h 165065"/>
                  <a:gd name="connsiteX22" fmla="*/ 79041 w 160209"/>
                  <a:gd name="connsiteY22" fmla="*/ 16511 h 165065"/>
                  <a:gd name="connsiteX23" fmla="*/ 78301 w 160209"/>
                  <a:gd name="connsiteY23" fmla="*/ 21229 h 165065"/>
                  <a:gd name="connsiteX24" fmla="*/ 70485 w 160209"/>
                  <a:gd name="connsiteY24" fmla="*/ 18731 h 165065"/>
                  <a:gd name="connsiteX25" fmla="*/ 70115 w 160209"/>
                  <a:gd name="connsiteY25" fmla="*/ 13042 h 165065"/>
                  <a:gd name="connsiteX26" fmla="*/ 64426 w 160209"/>
                  <a:gd name="connsiteY26" fmla="*/ 10915 h 165065"/>
                  <a:gd name="connsiteX27" fmla="*/ 59801 w 160209"/>
                  <a:gd name="connsiteY27" fmla="*/ 16604 h 165065"/>
                  <a:gd name="connsiteX28" fmla="*/ 47730 w 160209"/>
                  <a:gd name="connsiteY28" fmla="*/ 11609 h 165065"/>
                  <a:gd name="connsiteX29" fmla="*/ 40099 w 160209"/>
                  <a:gd name="connsiteY29" fmla="*/ 20812 h 165065"/>
                  <a:gd name="connsiteX30" fmla="*/ 35751 w 160209"/>
                  <a:gd name="connsiteY30" fmla="*/ 50042 h 165065"/>
                  <a:gd name="connsiteX31" fmla="*/ 49395 w 160209"/>
                  <a:gd name="connsiteY31" fmla="*/ 58552 h 165065"/>
                  <a:gd name="connsiteX32" fmla="*/ 51245 w 160209"/>
                  <a:gd name="connsiteY32" fmla="*/ 56517 h 165065"/>
                  <a:gd name="connsiteX33" fmla="*/ 54066 w 160209"/>
                  <a:gd name="connsiteY33" fmla="*/ 55500 h 165065"/>
                  <a:gd name="connsiteX34" fmla="*/ 53465 w 160209"/>
                  <a:gd name="connsiteY34" fmla="*/ 67617 h 165065"/>
                  <a:gd name="connsiteX35" fmla="*/ 45232 w 160209"/>
                  <a:gd name="connsiteY35" fmla="*/ 74462 h 165065"/>
                  <a:gd name="connsiteX36" fmla="*/ 41116 w 160209"/>
                  <a:gd name="connsiteY36" fmla="*/ 76590 h 165065"/>
                  <a:gd name="connsiteX37" fmla="*/ 33161 w 160209"/>
                  <a:gd name="connsiteY37" fmla="*/ 87921 h 165065"/>
                  <a:gd name="connsiteX38" fmla="*/ 27935 w 160209"/>
                  <a:gd name="connsiteY38" fmla="*/ 88753 h 165065"/>
                  <a:gd name="connsiteX39" fmla="*/ 27935 w 160209"/>
                  <a:gd name="connsiteY39" fmla="*/ 88753 h 165065"/>
                  <a:gd name="connsiteX40" fmla="*/ 12811 w 160209"/>
                  <a:gd name="connsiteY40" fmla="*/ 99113 h 165065"/>
                  <a:gd name="connsiteX41" fmla="*/ 6753 w 160209"/>
                  <a:gd name="connsiteY41" fmla="*/ 122885 h 165065"/>
                  <a:gd name="connsiteX42" fmla="*/ 9111 w 160209"/>
                  <a:gd name="connsiteY42" fmla="*/ 123579 h 165065"/>
                  <a:gd name="connsiteX43" fmla="*/ 9805 w 160209"/>
                  <a:gd name="connsiteY43" fmla="*/ 123995 h 165065"/>
                  <a:gd name="connsiteX44" fmla="*/ 6660 w 160209"/>
                  <a:gd name="connsiteY44" fmla="*/ 132875 h 165065"/>
                  <a:gd name="connsiteX45" fmla="*/ 2266 w 160209"/>
                  <a:gd name="connsiteY45" fmla="*/ 136113 h 165065"/>
                  <a:gd name="connsiteX46" fmla="*/ 0 w 160209"/>
                  <a:gd name="connsiteY46" fmla="*/ 139304 h 165065"/>
                  <a:gd name="connsiteX47" fmla="*/ 2544 w 160209"/>
                  <a:gd name="connsiteY47" fmla="*/ 162753 h 165065"/>
                  <a:gd name="connsiteX48" fmla="*/ 9019 w 160209"/>
                  <a:gd name="connsiteY48" fmla="*/ 157573 h 165065"/>
                  <a:gd name="connsiteX49" fmla="*/ 13829 w 160209"/>
                  <a:gd name="connsiteY49" fmla="*/ 165065 h 165065"/>
                  <a:gd name="connsiteX50" fmla="*/ 25391 w 160209"/>
                  <a:gd name="connsiteY50" fmla="*/ 152948 h 165065"/>
                  <a:gd name="connsiteX51" fmla="*/ 68635 w 160209"/>
                  <a:gd name="connsiteY51" fmla="*/ 153133 h 165065"/>
                  <a:gd name="connsiteX52" fmla="*/ 68635 w 160209"/>
                  <a:gd name="connsiteY52" fmla="*/ 153133 h 165065"/>
                  <a:gd name="connsiteX53" fmla="*/ 68033 w 160209"/>
                  <a:gd name="connsiteY53" fmla="*/ 150959 h 165065"/>
                  <a:gd name="connsiteX54" fmla="*/ 64888 w 160209"/>
                  <a:gd name="connsiteY54" fmla="*/ 141848 h 165065"/>
                  <a:gd name="connsiteX55" fmla="*/ 71780 w 160209"/>
                  <a:gd name="connsiteY55" fmla="*/ 126539 h 165065"/>
                  <a:gd name="connsiteX56" fmla="*/ 72936 w 160209"/>
                  <a:gd name="connsiteY56" fmla="*/ 122978 h 165065"/>
                  <a:gd name="connsiteX57" fmla="*/ 93008 w 160209"/>
                  <a:gd name="connsiteY57" fmla="*/ 114792 h 165065"/>
                  <a:gd name="connsiteX58" fmla="*/ 101703 w 160209"/>
                  <a:gd name="connsiteY58" fmla="*/ 116318 h 165065"/>
                  <a:gd name="connsiteX59" fmla="*/ 106837 w 160209"/>
                  <a:gd name="connsiteY59" fmla="*/ 109519 h 165065"/>
                  <a:gd name="connsiteX60" fmla="*/ 113774 w 160209"/>
                  <a:gd name="connsiteY60" fmla="*/ 109473 h 165065"/>
                  <a:gd name="connsiteX61" fmla="*/ 116411 w 160209"/>
                  <a:gd name="connsiteY61" fmla="*/ 114376 h 165065"/>
                  <a:gd name="connsiteX62" fmla="*/ 123764 w 160209"/>
                  <a:gd name="connsiteY62" fmla="*/ 112757 h 165065"/>
                  <a:gd name="connsiteX63" fmla="*/ 124273 w 160209"/>
                  <a:gd name="connsiteY63" fmla="*/ 113265 h 165065"/>
                  <a:gd name="connsiteX64" fmla="*/ 128528 w 160209"/>
                  <a:gd name="connsiteY64" fmla="*/ 114052 h 165065"/>
                  <a:gd name="connsiteX65" fmla="*/ 130286 w 160209"/>
                  <a:gd name="connsiteY65" fmla="*/ 114191 h 165065"/>
                  <a:gd name="connsiteX66" fmla="*/ 130286 w 160209"/>
                  <a:gd name="connsiteY66" fmla="*/ 114098 h 165065"/>
                  <a:gd name="connsiteX67" fmla="*/ 134587 w 160209"/>
                  <a:gd name="connsiteY67" fmla="*/ 105357 h 16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0209" h="165065">
                    <a:moveTo>
                      <a:pt x="134494" y="105311"/>
                    </a:moveTo>
                    <a:lnTo>
                      <a:pt x="139073" y="103599"/>
                    </a:lnTo>
                    <a:lnTo>
                      <a:pt x="143837" y="96801"/>
                    </a:lnTo>
                    <a:lnTo>
                      <a:pt x="144530" y="91019"/>
                    </a:lnTo>
                    <a:lnTo>
                      <a:pt x="154382" y="86949"/>
                    </a:lnTo>
                    <a:lnTo>
                      <a:pt x="153688" y="80844"/>
                    </a:lnTo>
                    <a:lnTo>
                      <a:pt x="159330" y="76266"/>
                    </a:lnTo>
                    <a:lnTo>
                      <a:pt x="160209" y="66461"/>
                    </a:lnTo>
                    <a:lnTo>
                      <a:pt x="154335" y="55176"/>
                    </a:lnTo>
                    <a:lnTo>
                      <a:pt x="157897" y="49996"/>
                    </a:lnTo>
                    <a:lnTo>
                      <a:pt x="153549" y="41301"/>
                    </a:lnTo>
                    <a:lnTo>
                      <a:pt x="146195" y="35242"/>
                    </a:lnTo>
                    <a:lnTo>
                      <a:pt x="142172" y="23402"/>
                    </a:lnTo>
                    <a:lnTo>
                      <a:pt x="145270" y="20535"/>
                    </a:lnTo>
                    <a:lnTo>
                      <a:pt x="144114" y="14569"/>
                    </a:lnTo>
                    <a:lnTo>
                      <a:pt x="135049" y="12626"/>
                    </a:lnTo>
                    <a:lnTo>
                      <a:pt x="130286" y="0"/>
                    </a:lnTo>
                    <a:lnTo>
                      <a:pt x="130286" y="0"/>
                    </a:lnTo>
                    <a:cubicBezTo>
                      <a:pt x="130286" y="0"/>
                      <a:pt x="115994" y="13597"/>
                      <a:pt x="115994" y="13597"/>
                    </a:cubicBezTo>
                    <a:lnTo>
                      <a:pt x="107531" y="13227"/>
                    </a:lnTo>
                    <a:lnTo>
                      <a:pt x="101564" y="10129"/>
                    </a:lnTo>
                    <a:lnTo>
                      <a:pt x="96754" y="13227"/>
                    </a:lnTo>
                    <a:lnTo>
                      <a:pt x="79041" y="16511"/>
                    </a:lnTo>
                    <a:lnTo>
                      <a:pt x="78301" y="21229"/>
                    </a:lnTo>
                    <a:lnTo>
                      <a:pt x="70485" y="18731"/>
                    </a:lnTo>
                    <a:lnTo>
                      <a:pt x="70115" y="13042"/>
                    </a:lnTo>
                    <a:lnTo>
                      <a:pt x="64426" y="10915"/>
                    </a:lnTo>
                    <a:lnTo>
                      <a:pt x="59801" y="16604"/>
                    </a:lnTo>
                    <a:lnTo>
                      <a:pt x="47730" y="11609"/>
                    </a:lnTo>
                    <a:lnTo>
                      <a:pt x="40099" y="20812"/>
                    </a:lnTo>
                    <a:lnTo>
                      <a:pt x="35751" y="50042"/>
                    </a:lnTo>
                    <a:lnTo>
                      <a:pt x="49395" y="58552"/>
                    </a:lnTo>
                    <a:cubicBezTo>
                      <a:pt x="50089" y="57951"/>
                      <a:pt x="50690" y="57303"/>
                      <a:pt x="51245" y="56517"/>
                    </a:cubicBezTo>
                    <a:cubicBezTo>
                      <a:pt x="51245" y="56517"/>
                      <a:pt x="53696" y="52170"/>
                      <a:pt x="54066" y="55500"/>
                    </a:cubicBezTo>
                    <a:cubicBezTo>
                      <a:pt x="54852" y="62900"/>
                      <a:pt x="55500" y="65212"/>
                      <a:pt x="53465" y="67617"/>
                    </a:cubicBezTo>
                    <a:cubicBezTo>
                      <a:pt x="51106" y="69976"/>
                      <a:pt x="49210" y="74462"/>
                      <a:pt x="45232" y="74462"/>
                    </a:cubicBezTo>
                    <a:cubicBezTo>
                      <a:pt x="43798" y="74462"/>
                      <a:pt x="41949" y="75433"/>
                      <a:pt x="41116" y="76590"/>
                    </a:cubicBezTo>
                    <a:lnTo>
                      <a:pt x="33161" y="87921"/>
                    </a:lnTo>
                    <a:cubicBezTo>
                      <a:pt x="31357" y="90464"/>
                      <a:pt x="29369" y="90233"/>
                      <a:pt x="27935" y="88753"/>
                    </a:cubicBezTo>
                    <a:lnTo>
                      <a:pt x="27935" y="88753"/>
                    </a:lnTo>
                    <a:cubicBezTo>
                      <a:pt x="27935" y="88753"/>
                      <a:pt x="12811" y="99113"/>
                      <a:pt x="12811" y="99113"/>
                    </a:cubicBezTo>
                    <a:lnTo>
                      <a:pt x="6753" y="122885"/>
                    </a:lnTo>
                    <a:cubicBezTo>
                      <a:pt x="7539" y="122885"/>
                      <a:pt x="8325" y="123117"/>
                      <a:pt x="9111" y="123579"/>
                    </a:cubicBezTo>
                    <a:lnTo>
                      <a:pt x="9805" y="123995"/>
                    </a:lnTo>
                    <a:cubicBezTo>
                      <a:pt x="12996" y="125892"/>
                      <a:pt x="10036" y="131812"/>
                      <a:pt x="6660" y="132875"/>
                    </a:cubicBezTo>
                    <a:cubicBezTo>
                      <a:pt x="6197" y="133107"/>
                      <a:pt x="3746" y="133569"/>
                      <a:pt x="2266" y="136113"/>
                    </a:cubicBezTo>
                    <a:cubicBezTo>
                      <a:pt x="1989" y="136437"/>
                      <a:pt x="1064" y="138564"/>
                      <a:pt x="0" y="139304"/>
                    </a:cubicBezTo>
                    <a:lnTo>
                      <a:pt x="2544" y="162753"/>
                    </a:lnTo>
                    <a:lnTo>
                      <a:pt x="9019" y="157573"/>
                    </a:lnTo>
                    <a:lnTo>
                      <a:pt x="13829" y="165065"/>
                    </a:lnTo>
                    <a:lnTo>
                      <a:pt x="25391" y="152948"/>
                    </a:lnTo>
                    <a:lnTo>
                      <a:pt x="68635" y="153133"/>
                    </a:lnTo>
                    <a:lnTo>
                      <a:pt x="68635" y="153133"/>
                    </a:lnTo>
                    <a:cubicBezTo>
                      <a:pt x="68588" y="152254"/>
                      <a:pt x="68403" y="151514"/>
                      <a:pt x="68033" y="150959"/>
                    </a:cubicBezTo>
                    <a:cubicBezTo>
                      <a:pt x="66692" y="148277"/>
                      <a:pt x="62807" y="145224"/>
                      <a:pt x="64888" y="141848"/>
                    </a:cubicBezTo>
                    <a:cubicBezTo>
                      <a:pt x="71178" y="131719"/>
                      <a:pt x="73352" y="129638"/>
                      <a:pt x="71780" y="126539"/>
                    </a:cubicBezTo>
                    <a:cubicBezTo>
                      <a:pt x="71132" y="125290"/>
                      <a:pt x="71687" y="123672"/>
                      <a:pt x="72936" y="122978"/>
                    </a:cubicBezTo>
                    <a:cubicBezTo>
                      <a:pt x="88430" y="114792"/>
                      <a:pt x="89909" y="113219"/>
                      <a:pt x="93008" y="114792"/>
                    </a:cubicBezTo>
                    <a:cubicBezTo>
                      <a:pt x="95506" y="115671"/>
                      <a:pt x="99344" y="119463"/>
                      <a:pt x="101703" y="116318"/>
                    </a:cubicBezTo>
                    <a:lnTo>
                      <a:pt x="106837" y="109519"/>
                    </a:lnTo>
                    <a:cubicBezTo>
                      <a:pt x="108872" y="106837"/>
                      <a:pt x="113589" y="105958"/>
                      <a:pt x="113774" y="109473"/>
                    </a:cubicBezTo>
                    <a:cubicBezTo>
                      <a:pt x="113913" y="109936"/>
                      <a:pt x="113358" y="113636"/>
                      <a:pt x="116411" y="114376"/>
                    </a:cubicBezTo>
                    <a:cubicBezTo>
                      <a:pt x="120111" y="115254"/>
                      <a:pt x="121036" y="110028"/>
                      <a:pt x="123764" y="112757"/>
                    </a:cubicBezTo>
                    <a:lnTo>
                      <a:pt x="124273" y="113265"/>
                    </a:lnTo>
                    <a:cubicBezTo>
                      <a:pt x="126077" y="115069"/>
                      <a:pt x="128991" y="114006"/>
                      <a:pt x="128528" y="114052"/>
                    </a:cubicBezTo>
                    <a:cubicBezTo>
                      <a:pt x="129268" y="113728"/>
                      <a:pt x="129869" y="113821"/>
                      <a:pt x="130286" y="114191"/>
                    </a:cubicBezTo>
                    <a:lnTo>
                      <a:pt x="130286" y="114098"/>
                    </a:lnTo>
                    <a:cubicBezTo>
                      <a:pt x="130286" y="114098"/>
                      <a:pt x="134587" y="105357"/>
                      <a:pt x="134587" y="105357"/>
                    </a:cubicBezTo>
                    <a:close/>
                  </a:path>
                </a:pathLst>
              </a:custGeom>
              <a:grpFill/>
              <a:ln w="4609" cap="flat">
                <a:noFill/>
                <a:prstDash val="solid"/>
                <a:miter/>
              </a:ln>
            </p:spPr>
            <p:txBody>
              <a:bodyPr rtlCol="0" anchor="ctr"/>
              <a:lstStyle/>
              <a:p>
                <a:endParaRPr lang="en-IN"/>
              </a:p>
            </p:txBody>
          </p:sp>
        </p:grpSp>
        <p:grpSp>
          <p:nvGrpSpPr>
            <p:cNvPr id="71" name="Graphic 36">
              <a:extLst>
                <a:ext uri="{FF2B5EF4-FFF2-40B4-BE49-F238E27FC236}">
                  <a16:creationId xmlns:a16="http://schemas.microsoft.com/office/drawing/2014/main" id="{5040F150-043E-FCDC-290C-D0127D71E48B}"/>
                </a:ext>
              </a:extLst>
            </p:cNvPr>
            <p:cNvGrpSpPr/>
            <p:nvPr/>
          </p:nvGrpSpPr>
          <p:grpSpPr>
            <a:xfrm>
              <a:off x="6043057" y="3883281"/>
              <a:ext cx="118075" cy="239448"/>
              <a:chOff x="6043057" y="3883281"/>
              <a:chExt cx="118075" cy="239448"/>
            </a:xfrm>
            <a:grpFill/>
          </p:grpSpPr>
          <p:sp>
            <p:nvSpPr>
              <p:cNvPr id="174" name="Freeform: Shape 173">
                <a:extLst>
                  <a:ext uri="{FF2B5EF4-FFF2-40B4-BE49-F238E27FC236}">
                    <a16:creationId xmlns:a16="http://schemas.microsoft.com/office/drawing/2014/main" id="{4DC5AE6C-E354-AFA5-AF17-BCAAE628C28D}"/>
                  </a:ext>
                </a:extLst>
              </p:cNvPr>
              <p:cNvSpPr/>
              <p:nvPr/>
            </p:nvSpPr>
            <p:spPr>
              <a:xfrm>
                <a:off x="6043057" y="3883281"/>
                <a:ext cx="118075" cy="239448"/>
              </a:xfrm>
              <a:custGeom>
                <a:avLst/>
                <a:gdLst>
                  <a:gd name="connsiteX0" fmla="*/ 21969 w 118075"/>
                  <a:gd name="connsiteY0" fmla="*/ 32435 h 239448"/>
                  <a:gd name="connsiteX1" fmla="*/ 25807 w 118075"/>
                  <a:gd name="connsiteY1" fmla="*/ 89461 h 239448"/>
                  <a:gd name="connsiteX2" fmla="*/ 0 w 118075"/>
                  <a:gd name="connsiteY2" fmla="*/ 110274 h 239448"/>
                  <a:gd name="connsiteX3" fmla="*/ 4995 w 118075"/>
                  <a:gd name="connsiteY3" fmla="*/ 138023 h 239448"/>
                  <a:gd name="connsiteX4" fmla="*/ 21182 w 118075"/>
                  <a:gd name="connsiteY4" fmla="*/ 145747 h 239448"/>
                  <a:gd name="connsiteX5" fmla="*/ 24281 w 118075"/>
                  <a:gd name="connsiteY5" fmla="*/ 162721 h 239448"/>
                  <a:gd name="connsiteX6" fmla="*/ 44307 w 118075"/>
                  <a:gd name="connsiteY6" fmla="*/ 178122 h 239448"/>
                  <a:gd name="connsiteX7" fmla="*/ 58876 w 118075"/>
                  <a:gd name="connsiteY7" fmla="*/ 239449 h 239448"/>
                  <a:gd name="connsiteX8" fmla="*/ 70531 w 118075"/>
                  <a:gd name="connsiteY8" fmla="*/ 235148 h 239448"/>
                  <a:gd name="connsiteX9" fmla="*/ 80844 w 118075"/>
                  <a:gd name="connsiteY9" fmla="*/ 216278 h 239448"/>
                  <a:gd name="connsiteX10" fmla="*/ 75156 w 118075"/>
                  <a:gd name="connsiteY10" fmla="*/ 197778 h 239448"/>
                  <a:gd name="connsiteX11" fmla="*/ 80336 w 118075"/>
                  <a:gd name="connsiteY11" fmla="*/ 189684 h 239448"/>
                  <a:gd name="connsiteX12" fmla="*/ 88244 w 118075"/>
                  <a:gd name="connsiteY12" fmla="*/ 188112 h 239448"/>
                  <a:gd name="connsiteX13" fmla="*/ 93286 w 118075"/>
                  <a:gd name="connsiteY13" fmla="*/ 179648 h 239448"/>
                  <a:gd name="connsiteX14" fmla="*/ 118076 w 118075"/>
                  <a:gd name="connsiteY14" fmla="*/ 166097 h 239448"/>
                  <a:gd name="connsiteX15" fmla="*/ 116411 w 118075"/>
                  <a:gd name="connsiteY15" fmla="*/ 137283 h 239448"/>
                  <a:gd name="connsiteX16" fmla="*/ 117289 w 118075"/>
                  <a:gd name="connsiteY16" fmla="*/ 136728 h 239448"/>
                  <a:gd name="connsiteX17" fmla="*/ 105264 w 118075"/>
                  <a:gd name="connsiteY17" fmla="*/ 131595 h 239448"/>
                  <a:gd name="connsiteX18" fmla="*/ 102119 w 118075"/>
                  <a:gd name="connsiteY18" fmla="*/ 122437 h 239448"/>
                  <a:gd name="connsiteX19" fmla="*/ 96199 w 118075"/>
                  <a:gd name="connsiteY19" fmla="*/ 126091 h 239448"/>
                  <a:gd name="connsiteX20" fmla="*/ 94673 w 118075"/>
                  <a:gd name="connsiteY20" fmla="*/ 120402 h 239448"/>
                  <a:gd name="connsiteX21" fmla="*/ 100362 w 118075"/>
                  <a:gd name="connsiteY21" fmla="*/ 114020 h 239448"/>
                  <a:gd name="connsiteX22" fmla="*/ 92777 w 118075"/>
                  <a:gd name="connsiteY22" fmla="*/ 111939 h 239448"/>
                  <a:gd name="connsiteX23" fmla="*/ 78995 w 118075"/>
                  <a:gd name="connsiteY23" fmla="*/ 116147 h 239448"/>
                  <a:gd name="connsiteX24" fmla="*/ 82463 w 118075"/>
                  <a:gd name="connsiteY24" fmla="*/ 94780 h 239448"/>
                  <a:gd name="connsiteX25" fmla="*/ 104663 w 118075"/>
                  <a:gd name="connsiteY25" fmla="*/ 66151 h 239448"/>
                  <a:gd name="connsiteX26" fmla="*/ 101102 w 118075"/>
                  <a:gd name="connsiteY26" fmla="*/ 55838 h 239448"/>
                  <a:gd name="connsiteX27" fmla="*/ 93239 w 118075"/>
                  <a:gd name="connsiteY27" fmla="*/ 50796 h 239448"/>
                  <a:gd name="connsiteX28" fmla="*/ 86857 w 118075"/>
                  <a:gd name="connsiteY28" fmla="*/ 39881 h 239448"/>
                  <a:gd name="connsiteX29" fmla="*/ 90881 w 118075"/>
                  <a:gd name="connsiteY29" fmla="*/ 31325 h 239448"/>
                  <a:gd name="connsiteX30" fmla="*/ 97726 w 118075"/>
                  <a:gd name="connsiteY30" fmla="*/ 27579 h 239448"/>
                  <a:gd name="connsiteX31" fmla="*/ 105403 w 118075"/>
                  <a:gd name="connsiteY31" fmla="*/ 13380 h 239448"/>
                  <a:gd name="connsiteX32" fmla="*/ 101518 w 118075"/>
                  <a:gd name="connsiteY32" fmla="*/ 9680 h 239448"/>
                  <a:gd name="connsiteX33" fmla="*/ 88291 w 118075"/>
                  <a:gd name="connsiteY33" fmla="*/ 18329 h 239448"/>
                  <a:gd name="connsiteX34" fmla="*/ 87967 w 118075"/>
                  <a:gd name="connsiteY34" fmla="*/ 18838 h 239448"/>
                  <a:gd name="connsiteX35" fmla="*/ 80474 w 118075"/>
                  <a:gd name="connsiteY35" fmla="*/ 16572 h 239448"/>
                  <a:gd name="connsiteX36" fmla="*/ 75248 w 118075"/>
                  <a:gd name="connsiteY36" fmla="*/ 3113 h 239448"/>
                  <a:gd name="connsiteX37" fmla="*/ 65490 w 118075"/>
                  <a:gd name="connsiteY37" fmla="*/ 199 h 239448"/>
                  <a:gd name="connsiteX38" fmla="*/ 47776 w 118075"/>
                  <a:gd name="connsiteY38" fmla="*/ 4778 h 239448"/>
                  <a:gd name="connsiteX39" fmla="*/ 39821 w 118075"/>
                  <a:gd name="connsiteY39" fmla="*/ 11068 h 239448"/>
                  <a:gd name="connsiteX40" fmla="*/ 38850 w 118075"/>
                  <a:gd name="connsiteY40" fmla="*/ 11715 h 239448"/>
                  <a:gd name="connsiteX41" fmla="*/ 38942 w 118075"/>
                  <a:gd name="connsiteY41" fmla="*/ 11900 h 239448"/>
                  <a:gd name="connsiteX42" fmla="*/ 22061 w 118075"/>
                  <a:gd name="connsiteY42" fmla="*/ 32528 h 23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8075" h="239448">
                    <a:moveTo>
                      <a:pt x="21969" y="32435"/>
                    </a:moveTo>
                    <a:lnTo>
                      <a:pt x="25807" y="89461"/>
                    </a:lnTo>
                    <a:lnTo>
                      <a:pt x="0" y="110274"/>
                    </a:lnTo>
                    <a:lnTo>
                      <a:pt x="4995" y="138023"/>
                    </a:lnTo>
                    <a:lnTo>
                      <a:pt x="21182" y="145747"/>
                    </a:lnTo>
                    <a:lnTo>
                      <a:pt x="24281" y="162721"/>
                    </a:lnTo>
                    <a:lnTo>
                      <a:pt x="44307" y="178122"/>
                    </a:lnTo>
                    <a:lnTo>
                      <a:pt x="58876" y="239449"/>
                    </a:lnTo>
                    <a:lnTo>
                      <a:pt x="70531" y="235148"/>
                    </a:lnTo>
                    <a:lnTo>
                      <a:pt x="80844" y="216278"/>
                    </a:lnTo>
                    <a:lnTo>
                      <a:pt x="75156" y="197778"/>
                    </a:lnTo>
                    <a:lnTo>
                      <a:pt x="80336" y="189684"/>
                    </a:lnTo>
                    <a:lnTo>
                      <a:pt x="88244" y="188112"/>
                    </a:lnTo>
                    <a:lnTo>
                      <a:pt x="93286" y="179648"/>
                    </a:lnTo>
                    <a:lnTo>
                      <a:pt x="118076" y="166097"/>
                    </a:lnTo>
                    <a:lnTo>
                      <a:pt x="116411" y="137283"/>
                    </a:lnTo>
                    <a:lnTo>
                      <a:pt x="117289" y="136728"/>
                    </a:lnTo>
                    <a:cubicBezTo>
                      <a:pt x="107438" y="134740"/>
                      <a:pt x="105681" y="134462"/>
                      <a:pt x="105264" y="131595"/>
                    </a:cubicBezTo>
                    <a:cubicBezTo>
                      <a:pt x="104247" y="124287"/>
                      <a:pt x="104247" y="119616"/>
                      <a:pt x="102119" y="122437"/>
                    </a:cubicBezTo>
                    <a:cubicBezTo>
                      <a:pt x="100963" y="123547"/>
                      <a:pt x="98651" y="128912"/>
                      <a:pt x="96199" y="126091"/>
                    </a:cubicBezTo>
                    <a:cubicBezTo>
                      <a:pt x="95783" y="125305"/>
                      <a:pt x="91713" y="122483"/>
                      <a:pt x="94673" y="120402"/>
                    </a:cubicBezTo>
                    <a:cubicBezTo>
                      <a:pt x="97263" y="118182"/>
                      <a:pt x="104478" y="114945"/>
                      <a:pt x="100362" y="114020"/>
                    </a:cubicBezTo>
                    <a:lnTo>
                      <a:pt x="92777" y="111939"/>
                    </a:lnTo>
                    <a:cubicBezTo>
                      <a:pt x="90094" y="121975"/>
                      <a:pt x="84036" y="119616"/>
                      <a:pt x="78995" y="116147"/>
                    </a:cubicBezTo>
                    <a:cubicBezTo>
                      <a:pt x="70438" y="110227"/>
                      <a:pt x="72335" y="99960"/>
                      <a:pt x="82463" y="94780"/>
                    </a:cubicBezTo>
                    <a:cubicBezTo>
                      <a:pt x="90511" y="90617"/>
                      <a:pt x="105681" y="73690"/>
                      <a:pt x="104663" y="66151"/>
                    </a:cubicBezTo>
                    <a:cubicBezTo>
                      <a:pt x="103831" y="62683"/>
                      <a:pt x="104756" y="57641"/>
                      <a:pt x="101102" y="55838"/>
                    </a:cubicBezTo>
                    <a:cubicBezTo>
                      <a:pt x="98188" y="54404"/>
                      <a:pt x="95321" y="53294"/>
                      <a:pt x="93239" y="50796"/>
                    </a:cubicBezTo>
                    <a:cubicBezTo>
                      <a:pt x="87551" y="43905"/>
                      <a:pt x="86256" y="42980"/>
                      <a:pt x="86857" y="39881"/>
                    </a:cubicBezTo>
                    <a:cubicBezTo>
                      <a:pt x="87689" y="37292"/>
                      <a:pt x="87134" y="32482"/>
                      <a:pt x="90881" y="31325"/>
                    </a:cubicBezTo>
                    <a:cubicBezTo>
                      <a:pt x="91806" y="30909"/>
                      <a:pt x="95644" y="30493"/>
                      <a:pt x="97726" y="27579"/>
                    </a:cubicBezTo>
                    <a:cubicBezTo>
                      <a:pt x="104663" y="18005"/>
                      <a:pt x="106421" y="16525"/>
                      <a:pt x="105403" y="13380"/>
                    </a:cubicBezTo>
                    <a:cubicBezTo>
                      <a:pt x="105079" y="12825"/>
                      <a:pt x="104617" y="8015"/>
                      <a:pt x="101518" y="9680"/>
                    </a:cubicBezTo>
                    <a:cubicBezTo>
                      <a:pt x="94719" y="13380"/>
                      <a:pt x="90326" y="15184"/>
                      <a:pt x="88291" y="18329"/>
                    </a:cubicBezTo>
                    <a:lnTo>
                      <a:pt x="87967" y="18838"/>
                    </a:lnTo>
                    <a:cubicBezTo>
                      <a:pt x="85978" y="21937"/>
                      <a:pt x="79688" y="19532"/>
                      <a:pt x="80474" y="16572"/>
                    </a:cubicBezTo>
                    <a:cubicBezTo>
                      <a:pt x="81214" y="13797"/>
                      <a:pt x="79087" y="5009"/>
                      <a:pt x="75248" y="3113"/>
                    </a:cubicBezTo>
                    <a:cubicBezTo>
                      <a:pt x="72011" y="1540"/>
                      <a:pt x="68866" y="-679"/>
                      <a:pt x="65490" y="199"/>
                    </a:cubicBezTo>
                    <a:lnTo>
                      <a:pt x="47776" y="4778"/>
                    </a:lnTo>
                    <a:cubicBezTo>
                      <a:pt x="43891" y="5795"/>
                      <a:pt x="39405" y="11530"/>
                      <a:pt x="39821" y="11068"/>
                    </a:cubicBezTo>
                    <a:cubicBezTo>
                      <a:pt x="39544" y="11345"/>
                      <a:pt x="39174" y="11484"/>
                      <a:pt x="38850" y="11715"/>
                    </a:cubicBezTo>
                    <a:lnTo>
                      <a:pt x="38942" y="11900"/>
                    </a:lnTo>
                    <a:lnTo>
                      <a:pt x="22061" y="32528"/>
                    </a:lnTo>
                    <a:close/>
                  </a:path>
                </a:pathLst>
              </a:custGeom>
              <a:grpFill/>
              <a:ln w="4609" cap="flat">
                <a:noFill/>
                <a:prstDash val="solid"/>
                <a:miter/>
              </a:ln>
            </p:spPr>
            <p:txBody>
              <a:bodyPr rtlCol="0" anchor="ctr"/>
              <a:lstStyle/>
              <a:p>
                <a:endParaRPr lang="en-IN"/>
              </a:p>
            </p:txBody>
          </p:sp>
          <p:sp>
            <p:nvSpPr>
              <p:cNvPr id="175" name="Freeform: Shape 174">
                <a:extLst>
                  <a:ext uri="{FF2B5EF4-FFF2-40B4-BE49-F238E27FC236}">
                    <a16:creationId xmlns:a16="http://schemas.microsoft.com/office/drawing/2014/main" id="{BC294130-4702-35B6-EADC-954370D7176E}"/>
                  </a:ext>
                </a:extLst>
              </p:cNvPr>
              <p:cNvSpPr/>
              <p:nvPr/>
            </p:nvSpPr>
            <p:spPr>
              <a:xfrm>
                <a:off x="6149297" y="3963355"/>
                <a:ext cx="6576" cy="5261"/>
              </a:xfrm>
              <a:custGeom>
                <a:avLst/>
                <a:gdLst>
                  <a:gd name="connsiteX0" fmla="*/ 2077 w 6576"/>
                  <a:gd name="connsiteY0" fmla="*/ 5224 h 5261"/>
                  <a:gd name="connsiteX1" fmla="*/ 5731 w 6576"/>
                  <a:gd name="connsiteY1" fmla="*/ 2218 h 5261"/>
                  <a:gd name="connsiteX2" fmla="*/ 3927 w 6576"/>
                  <a:gd name="connsiteY2" fmla="*/ 599 h 5261"/>
                  <a:gd name="connsiteX3" fmla="*/ 2077 w 6576"/>
                  <a:gd name="connsiteY3" fmla="*/ 5224 h 5261"/>
                </a:gdLst>
                <a:ahLst/>
                <a:cxnLst>
                  <a:cxn ang="0">
                    <a:pos x="connsiteX0" y="connsiteY0"/>
                  </a:cxn>
                  <a:cxn ang="0">
                    <a:pos x="connsiteX1" y="connsiteY1"/>
                  </a:cxn>
                  <a:cxn ang="0">
                    <a:pos x="connsiteX2" y="connsiteY2"/>
                  </a:cxn>
                  <a:cxn ang="0">
                    <a:pos x="connsiteX3" y="connsiteY3"/>
                  </a:cxn>
                </a:cxnLst>
                <a:rect l="l" t="t" r="r" b="b"/>
                <a:pathLst>
                  <a:path w="6576" h="5261">
                    <a:moveTo>
                      <a:pt x="2077" y="5224"/>
                    </a:moveTo>
                    <a:cubicBezTo>
                      <a:pt x="2632" y="4993"/>
                      <a:pt x="8784" y="4993"/>
                      <a:pt x="5731" y="2218"/>
                    </a:cubicBezTo>
                    <a:lnTo>
                      <a:pt x="3927" y="599"/>
                    </a:lnTo>
                    <a:cubicBezTo>
                      <a:pt x="782" y="-2222"/>
                      <a:pt x="-2085" y="5872"/>
                      <a:pt x="2077" y="5224"/>
                    </a:cubicBezTo>
                    <a:close/>
                  </a:path>
                </a:pathLst>
              </a:custGeom>
              <a:grpFill/>
              <a:ln w="4609" cap="flat">
                <a:noFill/>
                <a:prstDash val="solid"/>
                <a:miter/>
              </a:ln>
            </p:spPr>
            <p:txBody>
              <a:bodyPr rtlCol="0" anchor="ctr"/>
              <a:lstStyle/>
              <a:p>
                <a:endParaRPr lang="en-IN"/>
              </a:p>
            </p:txBody>
          </p:sp>
        </p:grpSp>
        <p:sp>
          <p:nvSpPr>
            <p:cNvPr id="72" name="Freeform: Shape 71">
              <a:extLst>
                <a:ext uri="{FF2B5EF4-FFF2-40B4-BE49-F238E27FC236}">
                  <a16:creationId xmlns:a16="http://schemas.microsoft.com/office/drawing/2014/main" id="{848A3474-BE0C-55CF-FE3F-70B1CE415FB4}"/>
                </a:ext>
              </a:extLst>
            </p:cNvPr>
            <p:cNvSpPr/>
            <p:nvPr/>
          </p:nvSpPr>
          <p:spPr>
            <a:xfrm>
              <a:off x="7422033" y="5487879"/>
              <a:ext cx="6019" cy="5914"/>
            </a:xfrm>
            <a:custGeom>
              <a:avLst/>
              <a:gdLst>
                <a:gd name="connsiteX0" fmla="*/ 376 w 6019"/>
                <a:gd name="connsiteY0" fmla="*/ 2871 h 5914"/>
                <a:gd name="connsiteX1" fmla="*/ 145 w 6019"/>
                <a:gd name="connsiteY1" fmla="*/ 3565 h 5914"/>
                <a:gd name="connsiteX2" fmla="*/ 3845 w 6019"/>
                <a:gd name="connsiteY2" fmla="*/ 5831 h 5914"/>
                <a:gd name="connsiteX3" fmla="*/ 5973 w 6019"/>
                <a:gd name="connsiteY3" fmla="*/ 3102 h 5914"/>
                <a:gd name="connsiteX4" fmla="*/ 5787 w 6019"/>
                <a:gd name="connsiteY4" fmla="*/ 2177 h 5914"/>
                <a:gd name="connsiteX5" fmla="*/ 376 w 6019"/>
                <a:gd name="connsiteY5" fmla="*/ 2917 h 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9" h="5914">
                  <a:moveTo>
                    <a:pt x="376" y="2871"/>
                  </a:moveTo>
                  <a:lnTo>
                    <a:pt x="145" y="3565"/>
                  </a:lnTo>
                  <a:cubicBezTo>
                    <a:pt x="-826" y="6756"/>
                    <a:pt x="3383" y="5738"/>
                    <a:pt x="3845" y="5831"/>
                  </a:cubicBezTo>
                  <a:cubicBezTo>
                    <a:pt x="5279" y="5738"/>
                    <a:pt x="6250" y="4536"/>
                    <a:pt x="5973" y="3102"/>
                  </a:cubicBezTo>
                  <a:lnTo>
                    <a:pt x="5787" y="2177"/>
                  </a:lnTo>
                  <a:cubicBezTo>
                    <a:pt x="5140" y="-1199"/>
                    <a:pt x="1394" y="-413"/>
                    <a:pt x="376" y="2917"/>
                  </a:cubicBezTo>
                  <a:close/>
                </a:path>
              </a:pathLst>
            </a:custGeom>
            <a:grpFill/>
            <a:ln w="4609" cap="flat">
              <a:noFill/>
              <a:prstDash val="solid"/>
              <a:miter/>
            </a:ln>
          </p:spPr>
          <p:txBody>
            <a:bodyPr rtlCol="0" anchor="ctr"/>
            <a:lstStyle/>
            <a:p>
              <a:endParaRPr lang="en-IN"/>
            </a:p>
          </p:txBody>
        </p:sp>
        <p:sp>
          <p:nvSpPr>
            <p:cNvPr id="73" name="Freeform: Shape 72">
              <a:extLst>
                <a:ext uri="{FF2B5EF4-FFF2-40B4-BE49-F238E27FC236}">
                  <a16:creationId xmlns:a16="http://schemas.microsoft.com/office/drawing/2014/main" id="{85A56DC1-B9FB-ED9B-249F-853F5899A9E8}"/>
                </a:ext>
              </a:extLst>
            </p:cNvPr>
            <p:cNvSpPr/>
            <p:nvPr/>
          </p:nvSpPr>
          <p:spPr>
            <a:xfrm>
              <a:off x="5822261" y="4704412"/>
              <a:ext cx="50735" cy="144992"/>
            </a:xfrm>
            <a:custGeom>
              <a:avLst/>
              <a:gdLst>
                <a:gd name="connsiteX0" fmla="*/ 40792 w 50735"/>
                <a:gd name="connsiteY0" fmla="*/ 49395 h 144992"/>
                <a:gd name="connsiteX1" fmla="*/ 41949 w 50735"/>
                <a:gd name="connsiteY1" fmla="*/ 33022 h 144992"/>
                <a:gd name="connsiteX2" fmla="*/ 28027 w 50735"/>
                <a:gd name="connsiteY2" fmla="*/ 24281 h 144992"/>
                <a:gd name="connsiteX3" fmla="*/ 28814 w 50735"/>
                <a:gd name="connsiteY3" fmla="*/ 2960 h 144992"/>
                <a:gd name="connsiteX4" fmla="*/ 28814 w 50735"/>
                <a:gd name="connsiteY4" fmla="*/ 2682 h 144992"/>
                <a:gd name="connsiteX5" fmla="*/ 17945 w 50735"/>
                <a:gd name="connsiteY5" fmla="*/ 3469 h 144992"/>
                <a:gd name="connsiteX6" fmla="*/ 1758 w 50735"/>
                <a:gd name="connsiteY6" fmla="*/ 0 h 144992"/>
                <a:gd name="connsiteX7" fmla="*/ 1758 w 50735"/>
                <a:gd name="connsiteY7" fmla="*/ 277 h 144992"/>
                <a:gd name="connsiteX8" fmla="*/ 0 w 50735"/>
                <a:gd name="connsiteY8" fmla="*/ 14707 h 144992"/>
                <a:gd name="connsiteX9" fmla="*/ 10684 w 50735"/>
                <a:gd name="connsiteY9" fmla="*/ 25299 h 144992"/>
                <a:gd name="connsiteX10" fmla="*/ 11239 w 50735"/>
                <a:gd name="connsiteY10" fmla="*/ 70762 h 144992"/>
                <a:gd name="connsiteX11" fmla="*/ 21044 w 50735"/>
                <a:gd name="connsiteY11" fmla="*/ 82047 h 144992"/>
                <a:gd name="connsiteX12" fmla="*/ 17297 w 50735"/>
                <a:gd name="connsiteY12" fmla="*/ 122793 h 144992"/>
                <a:gd name="connsiteX13" fmla="*/ 31912 w 50735"/>
                <a:gd name="connsiteY13" fmla="*/ 144993 h 144992"/>
                <a:gd name="connsiteX14" fmla="*/ 31912 w 50735"/>
                <a:gd name="connsiteY14" fmla="*/ 144993 h 144992"/>
                <a:gd name="connsiteX15" fmla="*/ 34040 w 50735"/>
                <a:gd name="connsiteY15" fmla="*/ 143790 h 144992"/>
                <a:gd name="connsiteX16" fmla="*/ 50736 w 50735"/>
                <a:gd name="connsiteY16" fmla="*/ 139767 h 144992"/>
                <a:gd name="connsiteX17" fmla="*/ 49996 w 50735"/>
                <a:gd name="connsiteY17" fmla="*/ 60356 h 144992"/>
                <a:gd name="connsiteX18" fmla="*/ 40746 w 50735"/>
                <a:gd name="connsiteY18" fmla="*/ 49348 h 144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735" h="144992">
                  <a:moveTo>
                    <a:pt x="40792" y="49395"/>
                  </a:moveTo>
                  <a:lnTo>
                    <a:pt x="41949" y="33022"/>
                  </a:lnTo>
                  <a:lnTo>
                    <a:pt x="28027" y="24281"/>
                  </a:lnTo>
                  <a:lnTo>
                    <a:pt x="28814" y="2960"/>
                  </a:lnTo>
                  <a:lnTo>
                    <a:pt x="28814" y="2682"/>
                  </a:lnTo>
                  <a:cubicBezTo>
                    <a:pt x="28814" y="2682"/>
                    <a:pt x="17945" y="3469"/>
                    <a:pt x="17945" y="3469"/>
                  </a:cubicBezTo>
                  <a:lnTo>
                    <a:pt x="1758" y="0"/>
                  </a:lnTo>
                  <a:cubicBezTo>
                    <a:pt x="1758" y="0"/>
                    <a:pt x="1758" y="277"/>
                    <a:pt x="1758" y="277"/>
                  </a:cubicBezTo>
                  <a:lnTo>
                    <a:pt x="0" y="14707"/>
                  </a:lnTo>
                  <a:lnTo>
                    <a:pt x="10684" y="25299"/>
                  </a:lnTo>
                  <a:lnTo>
                    <a:pt x="11239" y="70762"/>
                  </a:lnTo>
                  <a:lnTo>
                    <a:pt x="21044" y="82047"/>
                  </a:lnTo>
                  <a:lnTo>
                    <a:pt x="17297" y="122793"/>
                  </a:lnTo>
                  <a:lnTo>
                    <a:pt x="31912" y="144993"/>
                  </a:lnTo>
                  <a:lnTo>
                    <a:pt x="31912" y="144993"/>
                  </a:lnTo>
                  <a:cubicBezTo>
                    <a:pt x="32560" y="144438"/>
                    <a:pt x="33300" y="143975"/>
                    <a:pt x="34040" y="143790"/>
                  </a:cubicBezTo>
                  <a:cubicBezTo>
                    <a:pt x="41023" y="142125"/>
                    <a:pt x="46388" y="140830"/>
                    <a:pt x="50736" y="139767"/>
                  </a:cubicBezTo>
                  <a:lnTo>
                    <a:pt x="49996" y="60356"/>
                  </a:lnTo>
                  <a:lnTo>
                    <a:pt x="40746" y="49348"/>
                  </a:lnTo>
                  <a:close/>
                </a:path>
              </a:pathLst>
            </a:custGeom>
            <a:grpFill/>
            <a:ln w="4609" cap="flat">
              <a:noFill/>
              <a:prstDash val="solid"/>
              <a:miter/>
            </a:ln>
          </p:spPr>
          <p:txBody>
            <a:bodyPr rtlCol="0" anchor="ctr"/>
            <a:lstStyle/>
            <a:p>
              <a:endParaRPr lang="en-IN"/>
            </a:p>
          </p:txBody>
        </p:sp>
        <p:grpSp>
          <p:nvGrpSpPr>
            <p:cNvPr id="74" name="Graphic 36">
              <a:extLst>
                <a:ext uri="{FF2B5EF4-FFF2-40B4-BE49-F238E27FC236}">
                  <a16:creationId xmlns:a16="http://schemas.microsoft.com/office/drawing/2014/main" id="{30715B3A-74BA-EA7C-B69B-29308491DCE7}"/>
                </a:ext>
              </a:extLst>
            </p:cNvPr>
            <p:cNvGrpSpPr/>
            <p:nvPr/>
          </p:nvGrpSpPr>
          <p:grpSpPr>
            <a:xfrm>
              <a:off x="6687704" y="5058315"/>
              <a:ext cx="314156" cy="315746"/>
              <a:chOff x="6687704" y="5058315"/>
              <a:chExt cx="314156" cy="315746"/>
            </a:xfrm>
            <a:grpFill/>
          </p:grpSpPr>
          <p:sp>
            <p:nvSpPr>
              <p:cNvPr id="169" name="Freeform: Shape 168">
                <a:extLst>
                  <a:ext uri="{FF2B5EF4-FFF2-40B4-BE49-F238E27FC236}">
                    <a16:creationId xmlns:a16="http://schemas.microsoft.com/office/drawing/2014/main" id="{17BEBE93-E11F-08F7-4CE3-B58730713FA4}"/>
                  </a:ext>
                </a:extLst>
              </p:cNvPr>
              <p:cNvSpPr/>
              <p:nvPr/>
            </p:nvSpPr>
            <p:spPr>
              <a:xfrm>
                <a:off x="6979685" y="5169866"/>
                <a:ext cx="7257" cy="16039"/>
              </a:xfrm>
              <a:custGeom>
                <a:avLst/>
                <a:gdLst>
                  <a:gd name="connsiteX0" fmla="*/ 531 w 7257"/>
                  <a:gd name="connsiteY0" fmla="*/ 11750 h 16039"/>
                  <a:gd name="connsiteX1" fmla="*/ 1132 w 7257"/>
                  <a:gd name="connsiteY1" fmla="*/ 15543 h 16039"/>
                  <a:gd name="connsiteX2" fmla="*/ 4092 w 7257"/>
                  <a:gd name="connsiteY2" fmla="*/ 234 h 16039"/>
                  <a:gd name="connsiteX3" fmla="*/ 3444 w 7257"/>
                  <a:gd name="connsiteY3" fmla="*/ 95 h 16039"/>
                  <a:gd name="connsiteX4" fmla="*/ 1039 w 7257"/>
                  <a:gd name="connsiteY4" fmla="*/ 10964 h 16039"/>
                  <a:gd name="connsiteX5" fmla="*/ 484 w 7257"/>
                  <a:gd name="connsiteY5" fmla="*/ 11750 h 1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57" h="16039">
                    <a:moveTo>
                      <a:pt x="531" y="11750"/>
                    </a:moveTo>
                    <a:cubicBezTo>
                      <a:pt x="-1042" y="13878"/>
                      <a:pt x="1409" y="16005"/>
                      <a:pt x="1132" y="15543"/>
                    </a:cubicBezTo>
                    <a:cubicBezTo>
                      <a:pt x="5849" y="19197"/>
                      <a:pt x="10567" y="1529"/>
                      <a:pt x="4092" y="234"/>
                    </a:cubicBezTo>
                    <a:lnTo>
                      <a:pt x="3444" y="95"/>
                    </a:lnTo>
                    <a:cubicBezTo>
                      <a:pt x="-1504" y="-922"/>
                      <a:pt x="4369" y="6432"/>
                      <a:pt x="1039" y="10964"/>
                    </a:cubicBezTo>
                    <a:lnTo>
                      <a:pt x="484" y="11750"/>
                    </a:lnTo>
                    <a:close/>
                  </a:path>
                </a:pathLst>
              </a:custGeom>
              <a:grpFill/>
              <a:ln w="4609"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A54B414E-29EF-7862-ACE8-97C19ED62818}"/>
                  </a:ext>
                </a:extLst>
              </p:cNvPr>
              <p:cNvSpPr/>
              <p:nvPr/>
            </p:nvSpPr>
            <p:spPr>
              <a:xfrm>
                <a:off x="6967373" y="5195356"/>
                <a:ext cx="11014" cy="20389"/>
              </a:xfrm>
              <a:custGeom>
                <a:avLst/>
                <a:gdLst>
                  <a:gd name="connsiteX0" fmla="*/ 7801 w 11014"/>
                  <a:gd name="connsiteY0" fmla="*/ 10496 h 20389"/>
                  <a:gd name="connsiteX1" fmla="*/ 5674 w 11014"/>
                  <a:gd name="connsiteY1" fmla="*/ 8646 h 20389"/>
                  <a:gd name="connsiteX2" fmla="*/ 1557 w 11014"/>
                  <a:gd name="connsiteY2" fmla="*/ 1015 h 20389"/>
                  <a:gd name="connsiteX3" fmla="*/ 31 w 11014"/>
                  <a:gd name="connsiteY3" fmla="*/ 7998 h 20389"/>
                  <a:gd name="connsiteX4" fmla="*/ 1927 w 11014"/>
                  <a:gd name="connsiteY4" fmla="*/ 14427 h 20389"/>
                  <a:gd name="connsiteX5" fmla="*/ 4610 w 11014"/>
                  <a:gd name="connsiteY5" fmla="*/ 15074 h 20389"/>
                  <a:gd name="connsiteX6" fmla="*/ 7431 w 11014"/>
                  <a:gd name="connsiteY6" fmla="*/ 19283 h 20389"/>
                  <a:gd name="connsiteX7" fmla="*/ 10807 w 11014"/>
                  <a:gd name="connsiteY7" fmla="*/ 15583 h 20389"/>
                  <a:gd name="connsiteX8" fmla="*/ 7847 w 11014"/>
                  <a:gd name="connsiteY8" fmla="*/ 10542 h 2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14" h="20389">
                    <a:moveTo>
                      <a:pt x="7801" y="10496"/>
                    </a:moveTo>
                    <a:cubicBezTo>
                      <a:pt x="7061" y="10866"/>
                      <a:pt x="6090" y="10033"/>
                      <a:pt x="5674" y="8646"/>
                    </a:cubicBezTo>
                    <a:cubicBezTo>
                      <a:pt x="3870" y="2818"/>
                      <a:pt x="2852" y="-2223"/>
                      <a:pt x="1557" y="1015"/>
                    </a:cubicBezTo>
                    <a:cubicBezTo>
                      <a:pt x="1419" y="1523"/>
                      <a:pt x="-246" y="4715"/>
                      <a:pt x="31" y="7998"/>
                    </a:cubicBezTo>
                    <a:cubicBezTo>
                      <a:pt x="401" y="12577"/>
                      <a:pt x="401" y="16277"/>
                      <a:pt x="1927" y="14427"/>
                    </a:cubicBezTo>
                    <a:cubicBezTo>
                      <a:pt x="2621" y="13595"/>
                      <a:pt x="3824" y="13872"/>
                      <a:pt x="4610" y="15074"/>
                    </a:cubicBezTo>
                    <a:lnTo>
                      <a:pt x="7431" y="19283"/>
                    </a:lnTo>
                    <a:cubicBezTo>
                      <a:pt x="9374" y="22151"/>
                      <a:pt x="11732" y="18913"/>
                      <a:pt x="10807" y="15583"/>
                    </a:cubicBezTo>
                    <a:cubicBezTo>
                      <a:pt x="10484" y="14751"/>
                      <a:pt x="9744" y="9617"/>
                      <a:pt x="7847" y="10542"/>
                    </a:cubicBezTo>
                    <a:close/>
                  </a:path>
                </a:pathLst>
              </a:custGeom>
              <a:grpFill/>
              <a:ln w="4609" cap="flat">
                <a:noFill/>
                <a:prstDash val="solid"/>
                <a:miter/>
              </a:ln>
            </p:spPr>
            <p:txBody>
              <a:bodyPr rtlCol="0" anchor="ctr"/>
              <a:lstStyle/>
              <a:p>
                <a:endParaRPr lang="en-IN"/>
              </a:p>
            </p:txBody>
          </p:sp>
          <p:sp>
            <p:nvSpPr>
              <p:cNvPr id="171" name="Freeform: Shape 170">
                <a:extLst>
                  <a:ext uri="{FF2B5EF4-FFF2-40B4-BE49-F238E27FC236}">
                    <a16:creationId xmlns:a16="http://schemas.microsoft.com/office/drawing/2014/main" id="{FC2BA953-882E-7731-5083-BD1DA98E3DCA}"/>
                  </a:ext>
                </a:extLst>
              </p:cNvPr>
              <p:cNvSpPr/>
              <p:nvPr/>
            </p:nvSpPr>
            <p:spPr>
              <a:xfrm>
                <a:off x="6979695" y="5249844"/>
                <a:ext cx="7615" cy="10439"/>
              </a:xfrm>
              <a:custGeom>
                <a:avLst/>
                <a:gdLst>
                  <a:gd name="connsiteX0" fmla="*/ 1214 w 7615"/>
                  <a:gd name="connsiteY0" fmla="*/ 9934 h 10439"/>
                  <a:gd name="connsiteX1" fmla="*/ 1770 w 7615"/>
                  <a:gd name="connsiteY1" fmla="*/ 10166 h 10439"/>
                  <a:gd name="connsiteX2" fmla="*/ 7366 w 7615"/>
                  <a:gd name="connsiteY2" fmla="*/ 3506 h 10439"/>
                  <a:gd name="connsiteX3" fmla="*/ 6163 w 7615"/>
                  <a:gd name="connsiteY3" fmla="*/ 685 h 10439"/>
                  <a:gd name="connsiteX4" fmla="*/ 1214 w 7615"/>
                  <a:gd name="connsiteY4" fmla="*/ 9934 h 10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5" h="10439">
                    <a:moveTo>
                      <a:pt x="1214" y="9934"/>
                    </a:moveTo>
                    <a:lnTo>
                      <a:pt x="1770" y="10166"/>
                    </a:lnTo>
                    <a:cubicBezTo>
                      <a:pt x="5007" y="11646"/>
                      <a:pt x="6996" y="6790"/>
                      <a:pt x="7366" y="3506"/>
                    </a:cubicBezTo>
                    <a:cubicBezTo>
                      <a:pt x="7366" y="3506"/>
                      <a:pt x="8429" y="-1859"/>
                      <a:pt x="6163" y="685"/>
                    </a:cubicBezTo>
                    <a:cubicBezTo>
                      <a:pt x="3481" y="4384"/>
                      <a:pt x="-2578" y="8223"/>
                      <a:pt x="1214" y="9934"/>
                    </a:cubicBezTo>
                    <a:close/>
                  </a:path>
                </a:pathLst>
              </a:custGeom>
              <a:grpFill/>
              <a:ln w="4609" cap="flat">
                <a:noFill/>
                <a:prstDash val="solid"/>
                <a:miter/>
              </a:ln>
            </p:spPr>
            <p:txBody>
              <a:bodyPr rtlCol="0" anchor="ctr"/>
              <a:lstStyle/>
              <a:p>
                <a:endParaRPr lang="en-IN"/>
              </a:p>
            </p:txBody>
          </p:sp>
          <p:sp>
            <p:nvSpPr>
              <p:cNvPr id="172" name="Freeform: Shape 171">
                <a:extLst>
                  <a:ext uri="{FF2B5EF4-FFF2-40B4-BE49-F238E27FC236}">
                    <a16:creationId xmlns:a16="http://schemas.microsoft.com/office/drawing/2014/main" id="{94FF7C30-A87C-A4B2-C8BF-BA5E6BB4E7E6}"/>
                  </a:ext>
                </a:extLst>
              </p:cNvPr>
              <p:cNvSpPr/>
              <p:nvPr/>
            </p:nvSpPr>
            <p:spPr>
              <a:xfrm>
                <a:off x="6781207" y="5082472"/>
                <a:ext cx="8984" cy="6251"/>
              </a:xfrm>
              <a:custGeom>
                <a:avLst/>
                <a:gdLst>
                  <a:gd name="connsiteX0" fmla="*/ 1383 w 8984"/>
                  <a:gd name="connsiteY0" fmla="*/ 217 h 6251"/>
                  <a:gd name="connsiteX1" fmla="*/ 88 w 8984"/>
                  <a:gd name="connsiteY1" fmla="*/ 1743 h 6251"/>
                  <a:gd name="connsiteX2" fmla="*/ 227 w 8984"/>
                  <a:gd name="connsiteY2" fmla="*/ 2391 h 6251"/>
                  <a:gd name="connsiteX3" fmla="*/ 7210 w 8984"/>
                  <a:gd name="connsiteY3" fmla="*/ 6183 h 6251"/>
                  <a:gd name="connsiteX4" fmla="*/ 8228 w 8984"/>
                  <a:gd name="connsiteY4" fmla="*/ 2761 h 6251"/>
                  <a:gd name="connsiteX5" fmla="*/ 1383 w 8984"/>
                  <a:gd name="connsiteY5" fmla="*/ 217 h 6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84" h="6251">
                    <a:moveTo>
                      <a:pt x="1383" y="217"/>
                    </a:moveTo>
                    <a:cubicBezTo>
                      <a:pt x="365" y="-384"/>
                      <a:pt x="-236" y="309"/>
                      <a:pt x="88" y="1743"/>
                    </a:cubicBezTo>
                    <a:lnTo>
                      <a:pt x="227" y="2391"/>
                    </a:lnTo>
                    <a:cubicBezTo>
                      <a:pt x="967" y="5998"/>
                      <a:pt x="5823" y="5674"/>
                      <a:pt x="7210" y="6183"/>
                    </a:cubicBezTo>
                    <a:cubicBezTo>
                      <a:pt x="10448" y="6784"/>
                      <a:pt x="8274" y="3223"/>
                      <a:pt x="8228" y="2761"/>
                    </a:cubicBezTo>
                    <a:cubicBezTo>
                      <a:pt x="6840" y="-708"/>
                      <a:pt x="4389" y="1974"/>
                      <a:pt x="1383" y="217"/>
                    </a:cubicBezTo>
                    <a:close/>
                  </a:path>
                </a:pathLst>
              </a:custGeom>
              <a:grpFill/>
              <a:ln w="4609" cap="flat">
                <a:noFill/>
                <a:prstDash val="solid"/>
                <a:miter/>
              </a:ln>
            </p:spPr>
            <p:txBody>
              <a:bodyPr rtlCol="0" anchor="ctr"/>
              <a:lstStyle/>
              <a:p>
                <a:endParaRPr lang="en-IN"/>
              </a:p>
            </p:txBody>
          </p:sp>
          <p:sp>
            <p:nvSpPr>
              <p:cNvPr id="173" name="Freeform: Shape 172">
                <a:extLst>
                  <a:ext uri="{FF2B5EF4-FFF2-40B4-BE49-F238E27FC236}">
                    <a16:creationId xmlns:a16="http://schemas.microsoft.com/office/drawing/2014/main" id="{5EB7EDF9-C678-E852-7546-0CB18FCDA7FA}"/>
                  </a:ext>
                </a:extLst>
              </p:cNvPr>
              <p:cNvSpPr/>
              <p:nvPr/>
            </p:nvSpPr>
            <p:spPr>
              <a:xfrm>
                <a:off x="6687704" y="5058315"/>
                <a:ext cx="314156" cy="315746"/>
              </a:xfrm>
              <a:custGeom>
                <a:avLst/>
                <a:gdLst>
                  <a:gd name="connsiteX0" fmla="*/ 231231 w 314156"/>
                  <a:gd name="connsiteY0" fmla="*/ 72612 h 315746"/>
                  <a:gd name="connsiteX1" fmla="*/ 235486 w 314156"/>
                  <a:gd name="connsiteY1" fmla="*/ 67016 h 315746"/>
                  <a:gd name="connsiteX2" fmla="*/ 234375 w 314156"/>
                  <a:gd name="connsiteY2" fmla="*/ 59662 h 315746"/>
                  <a:gd name="connsiteX3" fmla="*/ 128186 w 314156"/>
                  <a:gd name="connsiteY3" fmla="*/ 0 h 315746"/>
                  <a:gd name="connsiteX4" fmla="*/ 128001 w 314156"/>
                  <a:gd name="connsiteY4" fmla="*/ 0 h 315746"/>
                  <a:gd name="connsiteX5" fmla="*/ 124486 w 314156"/>
                  <a:gd name="connsiteY5" fmla="*/ 4717 h 315746"/>
                  <a:gd name="connsiteX6" fmla="*/ 120971 w 314156"/>
                  <a:gd name="connsiteY6" fmla="*/ 11516 h 315746"/>
                  <a:gd name="connsiteX7" fmla="*/ 118104 w 314156"/>
                  <a:gd name="connsiteY7" fmla="*/ 14615 h 315746"/>
                  <a:gd name="connsiteX8" fmla="*/ 115514 w 314156"/>
                  <a:gd name="connsiteY8" fmla="*/ 18639 h 315746"/>
                  <a:gd name="connsiteX9" fmla="*/ 110149 w 314156"/>
                  <a:gd name="connsiteY9" fmla="*/ 22061 h 315746"/>
                  <a:gd name="connsiteX10" fmla="*/ 110426 w 314156"/>
                  <a:gd name="connsiteY10" fmla="*/ 24605 h 315746"/>
                  <a:gd name="connsiteX11" fmla="*/ 110750 w 314156"/>
                  <a:gd name="connsiteY11" fmla="*/ 27472 h 315746"/>
                  <a:gd name="connsiteX12" fmla="*/ 111259 w 314156"/>
                  <a:gd name="connsiteY12" fmla="*/ 29970 h 315746"/>
                  <a:gd name="connsiteX13" fmla="*/ 118612 w 314156"/>
                  <a:gd name="connsiteY13" fmla="*/ 29970 h 315746"/>
                  <a:gd name="connsiteX14" fmla="*/ 118797 w 314156"/>
                  <a:gd name="connsiteY14" fmla="*/ 29831 h 315746"/>
                  <a:gd name="connsiteX15" fmla="*/ 122266 w 314156"/>
                  <a:gd name="connsiteY15" fmla="*/ 30848 h 315746"/>
                  <a:gd name="connsiteX16" fmla="*/ 113109 w 314156"/>
                  <a:gd name="connsiteY16" fmla="*/ 40098 h 315746"/>
                  <a:gd name="connsiteX17" fmla="*/ 109548 w 314156"/>
                  <a:gd name="connsiteY17" fmla="*/ 42180 h 315746"/>
                  <a:gd name="connsiteX18" fmla="*/ 106865 w 314156"/>
                  <a:gd name="connsiteY18" fmla="*/ 41902 h 315746"/>
                  <a:gd name="connsiteX19" fmla="*/ 99835 w 314156"/>
                  <a:gd name="connsiteY19" fmla="*/ 37231 h 315746"/>
                  <a:gd name="connsiteX20" fmla="*/ 95765 w 314156"/>
                  <a:gd name="connsiteY20" fmla="*/ 39590 h 315746"/>
                  <a:gd name="connsiteX21" fmla="*/ 91880 w 314156"/>
                  <a:gd name="connsiteY21" fmla="*/ 41255 h 315746"/>
                  <a:gd name="connsiteX22" fmla="*/ 85035 w 314156"/>
                  <a:gd name="connsiteY22" fmla="*/ 39728 h 315746"/>
                  <a:gd name="connsiteX23" fmla="*/ 81289 w 314156"/>
                  <a:gd name="connsiteY23" fmla="*/ 34733 h 315746"/>
                  <a:gd name="connsiteX24" fmla="*/ 73241 w 314156"/>
                  <a:gd name="connsiteY24" fmla="*/ 39266 h 315746"/>
                  <a:gd name="connsiteX25" fmla="*/ 73241 w 314156"/>
                  <a:gd name="connsiteY25" fmla="*/ 39451 h 315746"/>
                  <a:gd name="connsiteX26" fmla="*/ 71530 w 314156"/>
                  <a:gd name="connsiteY26" fmla="*/ 41856 h 315746"/>
                  <a:gd name="connsiteX27" fmla="*/ 69310 w 314156"/>
                  <a:gd name="connsiteY27" fmla="*/ 44816 h 315746"/>
                  <a:gd name="connsiteX28" fmla="*/ 66443 w 314156"/>
                  <a:gd name="connsiteY28" fmla="*/ 47822 h 315746"/>
                  <a:gd name="connsiteX29" fmla="*/ 62465 w 314156"/>
                  <a:gd name="connsiteY29" fmla="*/ 44677 h 315746"/>
                  <a:gd name="connsiteX30" fmla="*/ 64177 w 314156"/>
                  <a:gd name="connsiteY30" fmla="*/ 39590 h 315746"/>
                  <a:gd name="connsiteX31" fmla="*/ 62003 w 314156"/>
                  <a:gd name="connsiteY31" fmla="*/ 35289 h 315746"/>
                  <a:gd name="connsiteX32" fmla="*/ 62003 w 314156"/>
                  <a:gd name="connsiteY32" fmla="*/ 35289 h 315746"/>
                  <a:gd name="connsiteX33" fmla="*/ 59505 w 314156"/>
                  <a:gd name="connsiteY33" fmla="*/ 27287 h 315746"/>
                  <a:gd name="connsiteX34" fmla="*/ 65657 w 314156"/>
                  <a:gd name="connsiteY34" fmla="*/ 971 h 315746"/>
                  <a:gd name="connsiteX35" fmla="*/ 65657 w 314156"/>
                  <a:gd name="connsiteY35" fmla="*/ 971 h 315746"/>
                  <a:gd name="connsiteX36" fmla="*/ 22413 w 314156"/>
                  <a:gd name="connsiteY36" fmla="*/ 786 h 315746"/>
                  <a:gd name="connsiteX37" fmla="*/ 34530 w 314156"/>
                  <a:gd name="connsiteY37" fmla="*/ 14384 h 315746"/>
                  <a:gd name="connsiteX38" fmla="*/ 37120 w 314156"/>
                  <a:gd name="connsiteY38" fmla="*/ 39266 h 315746"/>
                  <a:gd name="connsiteX39" fmla="*/ 27316 w 314156"/>
                  <a:gd name="connsiteY39" fmla="*/ 41578 h 315746"/>
                  <a:gd name="connsiteX40" fmla="*/ 24124 w 314156"/>
                  <a:gd name="connsiteY40" fmla="*/ 55176 h 315746"/>
                  <a:gd name="connsiteX41" fmla="*/ 36242 w 314156"/>
                  <a:gd name="connsiteY41" fmla="*/ 58645 h 315746"/>
                  <a:gd name="connsiteX42" fmla="*/ 35964 w 314156"/>
                  <a:gd name="connsiteY42" fmla="*/ 66738 h 315746"/>
                  <a:gd name="connsiteX43" fmla="*/ 13996 w 314156"/>
                  <a:gd name="connsiteY43" fmla="*/ 95043 h 315746"/>
                  <a:gd name="connsiteX44" fmla="*/ 1323 w 314156"/>
                  <a:gd name="connsiteY44" fmla="*/ 97263 h 315746"/>
                  <a:gd name="connsiteX45" fmla="*/ 1323 w 314156"/>
                  <a:gd name="connsiteY45" fmla="*/ 99714 h 315746"/>
                  <a:gd name="connsiteX46" fmla="*/ 75 w 314156"/>
                  <a:gd name="connsiteY46" fmla="*/ 107253 h 315746"/>
                  <a:gd name="connsiteX47" fmla="*/ 6087 w 314156"/>
                  <a:gd name="connsiteY47" fmla="*/ 121359 h 315746"/>
                  <a:gd name="connsiteX48" fmla="*/ 5301 w 314156"/>
                  <a:gd name="connsiteY48" fmla="*/ 128990 h 315746"/>
                  <a:gd name="connsiteX49" fmla="*/ 7983 w 314156"/>
                  <a:gd name="connsiteY49" fmla="*/ 141339 h 315746"/>
                  <a:gd name="connsiteX50" fmla="*/ 3728 w 314156"/>
                  <a:gd name="connsiteY50" fmla="*/ 147675 h 315746"/>
                  <a:gd name="connsiteX51" fmla="*/ 6179 w 314156"/>
                  <a:gd name="connsiteY51" fmla="*/ 153734 h 315746"/>
                  <a:gd name="connsiteX52" fmla="*/ 12146 w 314156"/>
                  <a:gd name="connsiteY52" fmla="*/ 156232 h 315746"/>
                  <a:gd name="connsiteX53" fmla="*/ 16123 w 314156"/>
                  <a:gd name="connsiteY53" fmla="*/ 157480 h 315746"/>
                  <a:gd name="connsiteX54" fmla="*/ 26113 w 314156"/>
                  <a:gd name="connsiteY54" fmla="*/ 169783 h 315746"/>
                  <a:gd name="connsiteX55" fmla="*/ 26992 w 314156"/>
                  <a:gd name="connsiteY55" fmla="*/ 175055 h 315746"/>
                  <a:gd name="connsiteX56" fmla="*/ 28241 w 314156"/>
                  <a:gd name="connsiteY56" fmla="*/ 181068 h 315746"/>
                  <a:gd name="connsiteX57" fmla="*/ 29351 w 314156"/>
                  <a:gd name="connsiteY57" fmla="*/ 186941 h 315746"/>
                  <a:gd name="connsiteX58" fmla="*/ 30460 w 314156"/>
                  <a:gd name="connsiteY58" fmla="*/ 191890 h 315746"/>
                  <a:gd name="connsiteX59" fmla="*/ 38832 w 314156"/>
                  <a:gd name="connsiteY59" fmla="*/ 208031 h 315746"/>
                  <a:gd name="connsiteX60" fmla="*/ 42624 w 314156"/>
                  <a:gd name="connsiteY60" fmla="*/ 211916 h 315746"/>
                  <a:gd name="connsiteX61" fmla="*/ 45307 w 314156"/>
                  <a:gd name="connsiteY61" fmla="*/ 215847 h 315746"/>
                  <a:gd name="connsiteX62" fmla="*/ 46139 w 314156"/>
                  <a:gd name="connsiteY62" fmla="*/ 220704 h 315746"/>
                  <a:gd name="connsiteX63" fmla="*/ 45492 w 314156"/>
                  <a:gd name="connsiteY63" fmla="*/ 223294 h 315746"/>
                  <a:gd name="connsiteX64" fmla="*/ 57008 w 314156"/>
                  <a:gd name="connsiteY64" fmla="*/ 223849 h 315746"/>
                  <a:gd name="connsiteX65" fmla="*/ 63945 w 314156"/>
                  <a:gd name="connsiteY65" fmla="*/ 233977 h 315746"/>
                  <a:gd name="connsiteX66" fmla="*/ 125550 w 314156"/>
                  <a:gd name="connsiteY66" fmla="*/ 253263 h 315746"/>
                  <a:gd name="connsiteX67" fmla="*/ 126382 w 314156"/>
                  <a:gd name="connsiteY67" fmla="*/ 246141 h 315746"/>
                  <a:gd name="connsiteX68" fmla="*/ 141367 w 314156"/>
                  <a:gd name="connsiteY68" fmla="*/ 259507 h 315746"/>
                  <a:gd name="connsiteX69" fmla="*/ 145483 w 314156"/>
                  <a:gd name="connsiteY69" fmla="*/ 278793 h 315746"/>
                  <a:gd name="connsiteX70" fmla="*/ 147380 w 314156"/>
                  <a:gd name="connsiteY70" fmla="*/ 285962 h 315746"/>
                  <a:gd name="connsiteX71" fmla="*/ 146732 w 314156"/>
                  <a:gd name="connsiteY71" fmla="*/ 290309 h 315746"/>
                  <a:gd name="connsiteX72" fmla="*/ 153623 w 314156"/>
                  <a:gd name="connsiteY72" fmla="*/ 301594 h 315746"/>
                  <a:gd name="connsiteX73" fmla="*/ 155011 w 314156"/>
                  <a:gd name="connsiteY73" fmla="*/ 310844 h 315746"/>
                  <a:gd name="connsiteX74" fmla="*/ 173788 w 314156"/>
                  <a:gd name="connsiteY74" fmla="*/ 311122 h 315746"/>
                  <a:gd name="connsiteX75" fmla="*/ 182483 w 314156"/>
                  <a:gd name="connsiteY75" fmla="*/ 304739 h 315746"/>
                  <a:gd name="connsiteX76" fmla="*/ 199226 w 314156"/>
                  <a:gd name="connsiteY76" fmla="*/ 315747 h 315746"/>
                  <a:gd name="connsiteX77" fmla="*/ 210788 w 314156"/>
                  <a:gd name="connsiteY77" fmla="*/ 308809 h 315746"/>
                  <a:gd name="connsiteX78" fmla="*/ 228409 w 314156"/>
                  <a:gd name="connsiteY78" fmla="*/ 315192 h 315746"/>
                  <a:gd name="connsiteX79" fmla="*/ 244042 w 314156"/>
                  <a:gd name="connsiteY79" fmla="*/ 300438 h 315746"/>
                  <a:gd name="connsiteX80" fmla="*/ 261478 w 314156"/>
                  <a:gd name="connsiteY80" fmla="*/ 305757 h 315746"/>
                  <a:gd name="connsiteX81" fmla="*/ 314156 w 314156"/>
                  <a:gd name="connsiteY81" fmla="*/ 276111 h 315746"/>
                  <a:gd name="connsiteX82" fmla="*/ 313786 w 314156"/>
                  <a:gd name="connsiteY82" fmla="*/ 274446 h 315746"/>
                  <a:gd name="connsiteX83" fmla="*/ 312029 w 314156"/>
                  <a:gd name="connsiteY83" fmla="*/ 269913 h 315746"/>
                  <a:gd name="connsiteX84" fmla="*/ 295888 w 314156"/>
                  <a:gd name="connsiteY84" fmla="*/ 257981 h 315746"/>
                  <a:gd name="connsiteX85" fmla="*/ 289783 w 314156"/>
                  <a:gd name="connsiteY85" fmla="*/ 234856 h 315746"/>
                  <a:gd name="connsiteX86" fmla="*/ 289598 w 314156"/>
                  <a:gd name="connsiteY86" fmla="*/ 235087 h 315746"/>
                  <a:gd name="connsiteX87" fmla="*/ 287285 w 314156"/>
                  <a:gd name="connsiteY87" fmla="*/ 234625 h 315746"/>
                  <a:gd name="connsiteX88" fmla="*/ 287100 w 314156"/>
                  <a:gd name="connsiteY88" fmla="*/ 227919 h 315746"/>
                  <a:gd name="connsiteX89" fmla="*/ 282706 w 314156"/>
                  <a:gd name="connsiteY89" fmla="*/ 210344 h 315746"/>
                  <a:gd name="connsiteX90" fmla="*/ 286406 w 314156"/>
                  <a:gd name="connsiteY90" fmla="*/ 199660 h 315746"/>
                  <a:gd name="connsiteX91" fmla="*/ 283308 w 314156"/>
                  <a:gd name="connsiteY91" fmla="*/ 196052 h 315746"/>
                  <a:gd name="connsiteX92" fmla="*/ 282938 w 314156"/>
                  <a:gd name="connsiteY92" fmla="*/ 196145 h 315746"/>
                  <a:gd name="connsiteX93" fmla="*/ 281088 w 314156"/>
                  <a:gd name="connsiteY93" fmla="*/ 194202 h 315746"/>
                  <a:gd name="connsiteX94" fmla="*/ 287516 w 314156"/>
                  <a:gd name="connsiteY94" fmla="*/ 177460 h 315746"/>
                  <a:gd name="connsiteX95" fmla="*/ 288580 w 314156"/>
                  <a:gd name="connsiteY95" fmla="*/ 171679 h 315746"/>
                  <a:gd name="connsiteX96" fmla="*/ 284834 w 314156"/>
                  <a:gd name="connsiteY96" fmla="*/ 168071 h 315746"/>
                  <a:gd name="connsiteX97" fmla="*/ 280764 w 314156"/>
                  <a:gd name="connsiteY97" fmla="*/ 165250 h 315746"/>
                  <a:gd name="connsiteX98" fmla="*/ 277388 w 314156"/>
                  <a:gd name="connsiteY98" fmla="*/ 160671 h 315746"/>
                  <a:gd name="connsiteX99" fmla="*/ 272393 w 314156"/>
                  <a:gd name="connsiteY99" fmla="*/ 156833 h 315746"/>
                  <a:gd name="connsiteX100" fmla="*/ 269572 w 314156"/>
                  <a:gd name="connsiteY100" fmla="*/ 153087 h 315746"/>
                  <a:gd name="connsiteX101" fmla="*/ 268462 w 314156"/>
                  <a:gd name="connsiteY101" fmla="*/ 139073 h 315746"/>
                  <a:gd name="connsiteX102" fmla="*/ 274705 w 314156"/>
                  <a:gd name="connsiteY102" fmla="*/ 124134 h 315746"/>
                  <a:gd name="connsiteX103" fmla="*/ 279145 w 314156"/>
                  <a:gd name="connsiteY103" fmla="*/ 107253 h 315746"/>
                  <a:gd name="connsiteX104" fmla="*/ 279099 w 314156"/>
                  <a:gd name="connsiteY104" fmla="*/ 107253 h 315746"/>
                  <a:gd name="connsiteX105" fmla="*/ 231277 w 314156"/>
                  <a:gd name="connsiteY105" fmla="*/ 72566 h 315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14156" h="315746">
                    <a:moveTo>
                      <a:pt x="231231" y="72612"/>
                    </a:moveTo>
                    <a:lnTo>
                      <a:pt x="235486" y="67016"/>
                    </a:lnTo>
                    <a:lnTo>
                      <a:pt x="234375" y="59662"/>
                    </a:lnTo>
                    <a:lnTo>
                      <a:pt x="128186" y="0"/>
                    </a:lnTo>
                    <a:lnTo>
                      <a:pt x="128001" y="0"/>
                    </a:lnTo>
                    <a:cubicBezTo>
                      <a:pt x="128001" y="0"/>
                      <a:pt x="124486" y="4717"/>
                      <a:pt x="124486" y="4717"/>
                    </a:cubicBezTo>
                    <a:cubicBezTo>
                      <a:pt x="122081" y="7909"/>
                      <a:pt x="124532" y="10822"/>
                      <a:pt x="120971" y="11516"/>
                    </a:cubicBezTo>
                    <a:cubicBezTo>
                      <a:pt x="119584" y="11794"/>
                      <a:pt x="118289" y="13181"/>
                      <a:pt x="118104" y="14615"/>
                    </a:cubicBezTo>
                    <a:cubicBezTo>
                      <a:pt x="117919" y="16049"/>
                      <a:pt x="116716" y="17852"/>
                      <a:pt x="115514" y="18639"/>
                    </a:cubicBezTo>
                    <a:lnTo>
                      <a:pt x="110149" y="22061"/>
                    </a:lnTo>
                    <a:cubicBezTo>
                      <a:pt x="107883" y="23495"/>
                      <a:pt x="110796" y="25067"/>
                      <a:pt x="110426" y="24605"/>
                    </a:cubicBezTo>
                    <a:cubicBezTo>
                      <a:pt x="112785" y="25669"/>
                      <a:pt x="110565" y="27935"/>
                      <a:pt x="110750" y="27472"/>
                    </a:cubicBezTo>
                    <a:cubicBezTo>
                      <a:pt x="109640" y="28397"/>
                      <a:pt x="109871" y="29553"/>
                      <a:pt x="111259" y="29970"/>
                    </a:cubicBezTo>
                    <a:cubicBezTo>
                      <a:pt x="112184" y="30108"/>
                      <a:pt x="115838" y="32282"/>
                      <a:pt x="118612" y="29970"/>
                    </a:cubicBezTo>
                    <a:lnTo>
                      <a:pt x="118797" y="29831"/>
                    </a:lnTo>
                    <a:cubicBezTo>
                      <a:pt x="120971" y="28074"/>
                      <a:pt x="122729" y="31265"/>
                      <a:pt x="122266" y="30848"/>
                    </a:cubicBezTo>
                    <a:cubicBezTo>
                      <a:pt x="124625" y="35289"/>
                      <a:pt x="115329" y="34780"/>
                      <a:pt x="113109" y="40098"/>
                    </a:cubicBezTo>
                    <a:cubicBezTo>
                      <a:pt x="112600" y="41393"/>
                      <a:pt x="110981" y="42318"/>
                      <a:pt x="109548" y="42180"/>
                    </a:cubicBezTo>
                    <a:lnTo>
                      <a:pt x="106865" y="41902"/>
                    </a:lnTo>
                    <a:cubicBezTo>
                      <a:pt x="102980" y="41532"/>
                      <a:pt x="103581" y="37508"/>
                      <a:pt x="99835" y="37231"/>
                    </a:cubicBezTo>
                    <a:cubicBezTo>
                      <a:pt x="97199" y="37046"/>
                      <a:pt x="95303" y="40052"/>
                      <a:pt x="95765" y="39590"/>
                    </a:cubicBezTo>
                    <a:cubicBezTo>
                      <a:pt x="95025" y="40838"/>
                      <a:pt x="93268" y="41578"/>
                      <a:pt x="91880" y="41255"/>
                    </a:cubicBezTo>
                    <a:lnTo>
                      <a:pt x="85035" y="39728"/>
                    </a:lnTo>
                    <a:cubicBezTo>
                      <a:pt x="81196" y="38850"/>
                      <a:pt x="85128" y="33855"/>
                      <a:pt x="81289" y="34733"/>
                    </a:cubicBezTo>
                    <a:cubicBezTo>
                      <a:pt x="78468" y="35797"/>
                      <a:pt x="72686" y="35289"/>
                      <a:pt x="73241" y="39266"/>
                    </a:cubicBezTo>
                    <a:lnTo>
                      <a:pt x="73241" y="39451"/>
                    </a:lnTo>
                    <a:cubicBezTo>
                      <a:pt x="73473" y="40885"/>
                      <a:pt x="72686" y="41949"/>
                      <a:pt x="71530" y="41856"/>
                    </a:cubicBezTo>
                    <a:cubicBezTo>
                      <a:pt x="69218" y="41671"/>
                      <a:pt x="69125" y="45278"/>
                      <a:pt x="69310" y="44816"/>
                    </a:cubicBezTo>
                    <a:cubicBezTo>
                      <a:pt x="69218" y="47498"/>
                      <a:pt x="65980" y="48100"/>
                      <a:pt x="66443" y="47822"/>
                    </a:cubicBezTo>
                    <a:cubicBezTo>
                      <a:pt x="63390" y="48238"/>
                      <a:pt x="62142" y="44215"/>
                      <a:pt x="62465" y="44677"/>
                    </a:cubicBezTo>
                    <a:cubicBezTo>
                      <a:pt x="61355" y="41810"/>
                      <a:pt x="64454" y="39127"/>
                      <a:pt x="64177" y="39590"/>
                    </a:cubicBezTo>
                    <a:cubicBezTo>
                      <a:pt x="66628" y="37185"/>
                      <a:pt x="65379" y="34780"/>
                      <a:pt x="62003" y="35289"/>
                    </a:cubicBezTo>
                    <a:lnTo>
                      <a:pt x="62003" y="35289"/>
                    </a:lnTo>
                    <a:cubicBezTo>
                      <a:pt x="57147" y="36028"/>
                      <a:pt x="62373" y="29276"/>
                      <a:pt x="59505" y="27287"/>
                    </a:cubicBezTo>
                    <a:cubicBezTo>
                      <a:pt x="56360" y="25114"/>
                      <a:pt x="66119" y="8325"/>
                      <a:pt x="65657" y="971"/>
                    </a:cubicBezTo>
                    <a:lnTo>
                      <a:pt x="65657" y="971"/>
                    </a:lnTo>
                    <a:cubicBezTo>
                      <a:pt x="65657" y="971"/>
                      <a:pt x="22413" y="786"/>
                      <a:pt x="22413" y="786"/>
                    </a:cubicBezTo>
                    <a:lnTo>
                      <a:pt x="34530" y="14384"/>
                    </a:lnTo>
                    <a:lnTo>
                      <a:pt x="37120" y="39266"/>
                    </a:lnTo>
                    <a:lnTo>
                      <a:pt x="27316" y="41578"/>
                    </a:lnTo>
                    <a:lnTo>
                      <a:pt x="24124" y="55176"/>
                    </a:lnTo>
                    <a:lnTo>
                      <a:pt x="36242" y="58645"/>
                    </a:lnTo>
                    <a:lnTo>
                      <a:pt x="35964" y="66738"/>
                    </a:lnTo>
                    <a:lnTo>
                      <a:pt x="13996" y="95043"/>
                    </a:lnTo>
                    <a:lnTo>
                      <a:pt x="1323" y="97263"/>
                    </a:lnTo>
                    <a:cubicBezTo>
                      <a:pt x="1508" y="98096"/>
                      <a:pt x="1462" y="98882"/>
                      <a:pt x="1323" y="99714"/>
                    </a:cubicBezTo>
                    <a:lnTo>
                      <a:pt x="75" y="107253"/>
                    </a:lnTo>
                    <a:cubicBezTo>
                      <a:pt x="-897" y="113173"/>
                      <a:pt x="7983" y="115994"/>
                      <a:pt x="6087" y="121359"/>
                    </a:cubicBezTo>
                    <a:cubicBezTo>
                      <a:pt x="5856" y="122330"/>
                      <a:pt x="3867" y="125753"/>
                      <a:pt x="5301" y="128990"/>
                    </a:cubicBezTo>
                    <a:cubicBezTo>
                      <a:pt x="7012" y="134170"/>
                      <a:pt x="11267" y="138657"/>
                      <a:pt x="7983" y="141339"/>
                    </a:cubicBezTo>
                    <a:cubicBezTo>
                      <a:pt x="7151" y="142264"/>
                      <a:pt x="3358" y="144114"/>
                      <a:pt x="3728" y="147675"/>
                    </a:cubicBezTo>
                    <a:cubicBezTo>
                      <a:pt x="3913" y="148415"/>
                      <a:pt x="3682" y="151514"/>
                      <a:pt x="6179" y="153734"/>
                    </a:cubicBezTo>
                    <a:cubicBezTo>
                      <a:pt x="6642" y="154011"/>
                      <a:pt x="9093" y="157249"/>
                      <a:pt x="12146" y="156232"/>
                    </a:cubicBezTo>
                    <a:cubicBezTo>
                      <a:pt x="13441" y="155815"/>
                      <a:pt x="15198" y="156370"/>
                      <a:pt x="16123" y="157480"/>
                    </a:cubicBezTo>
                    <a:lnTo>
                      <a:pt x="26113" y="169783"/>
                    </a:lnTo>
                    <a:cubicBezTo>
                      <a:pt x="27917" y="172049"/>
                      <a:pt x="26992" y="175518"/>
                      <a:pt x="26992" y="175055"/>
                    </a:cubicBezTo>
                    <a:cubicBezTo>
                      <a:pt x="26298" y="178061"/>
                      <a:pt x="28379" y="181530"/>
                      <a:pt x="28241" y="181068"/>
                    </a:cubicBezTo>
                    <a:cubicBezTo>
                      <a:pt x="29628" y="183658"/>
                      <a:pt x="29397" y="187404"/>
                      <a:pt x="29351" y="186941"/>
                    </a:cubicBezTo>
                    <a:cubicBezTo>
                      <a:pt x="29351" y="188375"/>
                      <a:pt x="29813" y="190595"/>
                      <a:pt x="30460" y="191890"/>
                    </a:cubicBezTo>
                    <a:lnTo>
                      <a:pt x="38832" y="208031"/>
                    </a:lnTo>
                    <a:cubicBezTo>
                      <a:pt x="40080" y="210482"/>
                      <a:pt x="43087" y="212286"/>
                      <a:pt x="42624" y="211916"/>
                    </a:cubicBezTo>
                    <a:cubicBezTo>
                      <a:pt x="43873" y="212656"/>
                      <a:pt x="45075" y="214414"/>
                      <a:pt x="45307" y="215847"/>
                    </a:cubicBezTo>
                    <a:lnTo>
                      <a:pt x="46139" y="220704"/>
                    </a:lnTo>
                    <a:cubicBezTo>
                      <a:pt x="46324" y="221721"/>
                      <a:pt x="45954" y="222600"/>
                      <a:pt x="45492" y="223294"/>
                    </a:cubicBezTo>
                    <a:lnTo>
                      <a:pt x="57008" y="223849"/>
                    </a:lnTo>
                    <a:lnTo>
                      <a:pt x="63945" y="233977"/>
                    </a:lnTo>
                    <a:lnTo>
                      <a:pt x="125550" y="253263"/>
                    </a:lnTo>
                    <a:cubicBezTo>
                      <a:pt x="125781" y="251321"/>
                      <a:pt x="126059" y="249055"/>
                      <a:pt x="126382" y="246141"/>
                    </a:cubicBezTo>
                    <a:cubicBezTo>
                      <a:pt x="126752" y="242534"/>
                      <a:pt x="129065" y="246141"/>
                      <a:pt x="141367" y="259507"/>
                    </a:cubicBezTo>
                    <a:cubicBezTo>
                      <a:pt x="144975" y="263438"/>
                      <a:pt x="142662" y="273243"/>
                      <a:pt x="145483" y="278793"/>
                    </a:cubicBezTo>
                    <a:cubicBezTo>
                      <a:pt x="145299" y="278331"/>
                      <a:pt x="147889" y="282632"/>
                      <a:pt x="147380" y="285962"/>
                    </a:cubicBezTo>
                    <a:lnTo>
                      <a:pt x="146732" y="290309"/>
                    </a:lnTo>
                    <a:cubicBezTo>
                      <a:pt x="146177" y="293871"/>
                      <a:pt x="149507" y="296646"/>
                      <a:pt x="153623" y="301594"/>
                    </a:cubicBezTo>
                    <a:cubicBezTo>
                      <a:pt x="155196" y="303491"/>
                      <a:pt x="155335" y="305294"/>
                      <a:pt x="155011" y="310844"/>
                    </a:cubicBezTo>
                    <a:lnTo>
                      <a:pt x="173788" y="311122"/>
                    </a:lnTo>
                    <a:lnTo>
                      <a:pt x="182483" y="304739"/>
                    </a:lnTo>
                    <a:lnTo>
                      <a:pt x="199226" y="315747"/>
                    </a:lnTo>
                    <a:lnTo>
                      <a:pt x="210788" y="308809"/>
                    </a:lnTo>
                    <a:lnTo>
                      <a:pt x="228409" y="315192"/>
                    </a:lnTo>
                    <a:lnTo>
                      <a:pt x="244042" y="300438"/>
                    </a:lnTo>
                    <a:lnTo>
                      <a:pt x="261478" y="305757"/>
                    </a:lnTo>
                    <a:lnTo>
                      <a:pt x="314156" y="276111"/>
                    </a:lnTo>
                    <a:cubicBezTo>
                      <a:pt x="313833" y="275880"/>
                      <a:pt x="313648" y="275417"/>
                      <a:pt x="313786" y="274446"/>
                    </a:cubicBezTo>
                    <a:cubicBezTo>
                      <a:pt x="313740" y="273983"/>
                      <a:pt x="314526" y="271393"/>
                      <a:pt x="312029" y="269913"/>
                    </a:cubicBezTo>
                    <a:cubicBezTo>
                      <a:pt x="298755" y="261958"/>
                      <a:pt x="296489" y="261450"/>
                      <a:pt x="295888" y="257981"/>
                    </a:cubicBezTo>
                    <a:cubicBezTo>
                      <a:pt x="292049" y="236012"/>
                      <a:pt x="292049" y="232035"/>
                      <a:pt x="289783" y="234856"/>
                    </a:cubicBezTo>
                    <a:lnTo>
                      <a:pt x="289598" y="235087"/>
                    </a:lnTo>
                    <a:cubicBezTo>
                      <a:pt x="288673" y="236197"/>
                      <a:pt x="287655" y="236012"/>
                      <a:pt x="287285" y="234625"/>
                    </a:cubicBezTo>
                    <a:cubicBezTo>
                      <a:pt x="287100" y="233330"/>
                      <a:pt x="285111" y="229121"/>
                      <a:pt x="287100" y="227919"/>
                    </a:cubicBezTo>
                    <a:cubicBezTo>
                      <a:pt x="290615" y="225791"/>
                      <a:pt x="280024" y="215616"/>
                      <a:pt x="282706" y="210344"/>
                    </a:cubicBezTo>
                    <a:cubicBezTo>
                      <a:pt x="284880" y="205996"/>
                      <a:pt x="286823" y="203129"/>
                      <a:pt x="286406" y="199660"/>
                    </a:cubicBezTo>
                    <a:cubicBezTo>
                      <a:pt x="286221" y="199198"/>
                      <a:pt x="286591" y="195359"/>
                      <a:pt x="283308" y="196052"/>
                    </a:cubicBezTo>
                    <a:lnTo>
                      <a:pt x="282938" y="196145"/>
                    </a:lnTo>
                    <a:cubicBezTo>
                      <a:pt x="281550" y="196469"/>
                      <a:pt x="280718" y="195590"/>
                      <a:pt x="281088" y="194202"/>
                    </a:cubicBezTo>
                    <a:cubicBezTo>
                      <a:pt x="285158" y="179819"/>
                      <a:pt x="285435" y="177090"/>
                      <a:pt x="287516" y="177460"/>
                    </a:cubicBezTo>
                    <a:cubicBezTo>
                      <a:pt x="289736" y="177876"/>
                      <a:pt x="288626" y="171216"/>
                      <a:pt x="288580" y="171679"/>
                    </a:cubicBezTo>
                    <a:cubicBezTo>
                      <a:pt x="288349" y="168626"/>
                      <a:pt x="284372" y="167794"/>
                      <a:pt x="284834" y="168071"/>
                    </a:cubicBezTo>
                    <a:cubicBezTo>
                      <a:pt x="283446" y="167655"/>
                      <a:pt x="281597" y="166406"/>
                      <a:pt x="280764" y="165250"/>
                    </a:cubicBezTo>
                    <a:lnTo>
                      <a:pt x="277388" y="160671"/>
                    </a:lnTo>
                    <a:cubicBezTo>
                      <a:pt x="275584" y="158220"/>
                      <a:pt x="271930" y="156555"/>
                      <a:pt x="272393" y="156833"/>
                    </a:cubicBezTo>
                    <a:cubicBezTo>
                      <a:pt x="271098" y="156185"/>
                      <a:pt x="269849" y="154520"/>
                      <a:pt x="269572" y="153087"/>
                    </a:cubicBezTo>
                    <a:cubicBezTo>
                      <a:pt x="268323" y="146334"/>
                      <a:pt x="267074" y="142357"/>
                      <a:pt x="268462" y="139073"/>
                    </a:cubicBezTo>
                    <a:lnTo>
                      <a:pt x="274705" y="124134"/>
                    </a:lnTo>
                    <a:cubicBezTo>
                      <a:pt x="275908" y="121313"/>
                      <a:pt x="278081" y="111971"/>
                      <a:pt x="279145" y="107253"/>
                    </a:cubicBezTo>
                    <a:lnTo>
                      <a:pt x="279099" y="107253"/>
                    </a:lnTo>
                    <a:cubicBezTo>
                      <a:pt x="279099" y="107253"/>
                      <a:pt x="231277" y="72566"/>
                      <a:pt x="231277" y="72566"/>
                    </a:cubicBezTo>
                    <a:close/>
                  </a:path>
                </a:pathLst>
              </a:custGeom>
              <a:grpFill/>
              <a:ln w="4609" cap="flat">
                <a:noFill/>
                <a:prstDash val="solid"/>
                <a:miter/>
              </a:ln>
            </p:spPr>
            <p:txBody>
              <a:bodyPr rtlCol="0" anchor="ctr"/>
              <a:lstStyle/>
              <a:p>
                <a:endParaRPr lang="en-IN"/>
              </a:p>
            </p:txBody>
          </p:sp>
        </p:grpSp>
        <p:sp>
          <p:nvSpPr>
            <p:cNvPr id="75" name="Freeform: Shape 74">
              <a:extLst>
                <a:ext uri="{FF2B5EF4-FFF2-40B4-BE49-F238E27FC236}">
                  <a16:creationId xmlns:a16="http://schemas.microsoft.com/office/drawing/2014/main" id="{E667EC5D-31E1-E328-96CA-2AB076774261}"/>
                </a:ext>
              </a:extLst>
            </p:cNvPr>
            <p:cNvSpPr/>
            <p:nvPr/>
          </p:nvSpPr>
          <p:spPr>
            <a:xfrm>
              <a:off x="6722558" y="5796183"/>
              <a:ext cx="34271" cy="48932"/>
            </a:xfrm>
            <a:custGeom>
              <a:avLst/>
              <a:gdLst>
                <a:gd name="connsiteX0" fmla="*/ 15401 w 34271"/>
                <a:gd name="connsiteY0" fmla="*/ 0 h 48932"/>
                <a:gd name="connsiteX1" fmla="*/ 0 w 34271"/>
                <a:gd name="connsiteY1" fmla="*/ 20442 h 48932"/>
                <a:gd name="connsiteX2" fmla="*/ 10406 w 34271"/>
                <a:gd name="connsiteY2" fmla="*/ 46620 h 48932"/>
                <a:gd name="connsiteX3" fmla="*/ 34271 w 34271"/>
                <a:gd name="connsiteY3" fmla="*/ 48932 h 48932"/>
                <a:gd name="connsiteX4" fmla="*/ 34271 w 34271"/>
                <a:gd name="connsiteY4" fmla="*/ 7724 h 48932"/>
                <a:gd name="connsiteX5" fmla="*/ 15401 w 34271"/>
                <a:gd name="connsiteY5" fmla="*/ 0 h 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71" h="48932">
                  <a:moveTo>
                    <a:pt x="15401" y="0"/>
                  </a:moveTo>
                  <a:lnTo>
                    <a:pt x="0" y="20442"/>
                  </a:lnTo>
                  <a:lnTo>
                    <a:pt x="10406" y="46620"/>
                  </a:lnTo>
                  <a:lnTo>
                    <a:pt x="34271" y="48932"/>
                  </a:lnTo>
                  <a:lnTo>
                    <a:pt x="34271" y="7724"/>
                  </a:lnTo>
                  <a:lnTo>
                    <a:pt x="15401" y="0"/>
                  </a:lnTo>
                  <a:close/>
                </a:path>
              </a:pathLst>
            </a:custGeom>
            <a:grpFill/>
            <a:ln w="4609" cap="flat">
              <a:noFill/>
              <a:prstDash val="solid"/>
              <a:miter/>
            </a:ln>
          </p:spPr>
          <p:txBody>
            <a:bodyPr rtlCol="0" anchor="ctr"/>
            <a:lstStyle/>
            <a:p>
              <a:endParaRPr lang="en-IN"/>
            </a:p>
          </p:txBody>
        </p:sp>
        <p:sp>
          <p:nvSpPr>
            <p:cNvPr id="76" name="Freeform: Shape 75">
              <a:extLst>
                <a:ext uri="{FF2B5EF4-FFF2-40B4-BE49-F238E27FC236}">
                  <a16:creationId xmlns:a16="http://schemas.microsoft.com/office/drawing/2014/main" id="{FD1EE89D-F4A5-9A0C-5807-A8DEF0791554}"/>
                </a:ext>
              </a:extLst>
            </p:cNvPr>
            <p:cNvSpPr/>
            <p:nvPr/>
          </p:nvSpPr>
          <p:spPr>
            <a:xfrm>
              <a:off x="6461525" y="4338669"/>
              <a:ext cx="488489" cy="421334"/>
            </a:xfrm>
            <a:custGeom>
              <a:avLst/>
              <a:gdLst>
                <a:gd name="connsiteX0" fmla="*/ 480026 w 488489"/>
                <a:gd name="connsiteY0" fmla="*/ 148462 h 421334"/>
                <a:gd name="connsiteX1" fmla="*/ 474245 w 488489"/>
                <a:gd name="connsiteY1" fmla="*/ 144854 h 421334"/>
                <a:gd name="connsiteX2" fmla="*/ 472163 w 488489"/>
                <a:gd name="connsiteY2" fmla="*/ 140090 h 421334"/>
                <a:gd name="connsiteX3" fmla="*/ 460601 w 488489"/>
                <a:gd name="connsiteY3" fmla="*/ 132829 h 421334"/>
                <a:gd name="connsiteX4" fmla="*/ 455282 w 488489"/>
                <a:gd name="connsiteY4" fmla="*/ 129962 h 421334"/>
                <a:gd name="connsiteX5" fmla="*/ 449177 w 488489"/>
                <a:gd name="connsiteY5" fmla="*/ 104108 h 421334"/>
                <a:gd name="connsiteX6" fmla="*/ 447512 w 488489"/>
                <a:gd name="connsiteY6" fmla="*/ 84267 h 421334"/>
                <a:gd name="connsiteX7" fmla="*/ 448206 w 488489"/>
                <a:gd name="connsiteY7" fmla="*/ 75341 h 421334"/>
                <a:gd name="connsiteX8" fmla="*/ 445339 w 488489"/>
                <a:gd name="connsiteY8" fmla="*/ 59107 h 421334"/>
                <a:gd name="connsiteX9" fmla="*/ 448669 w 488489"/>
                <a:gd name="connsiteY9" fmla="*/ 61466 h 421334"/>
                <a:gd name="connsiteX10" fmla="*/ 450657 w 488489"/>
                <a:gd name="connsiteY10" fmla="*/ 57396 h 421334"/>
                <a:gd name="connsiteX11" fmla="*/ 439049 w 488489"/>
                <a:gd name="connsiteY11" fmla="*/ 40237 h 421334"/>
                <a:gd name="connsiteX12" fmla="*/ 436644 w 488489"/>
                <a:gd name="connsiteY12" fmla="*/ 26871 h 421334"/>
                <a:gd name="connsiteX13" fmla="*/ 425729 w 488489"/>
                <a:gd name="connsiteY13" fmla="*/ 19471 h 421334"/>
                <a:gd name="connsiteX14" fmla="*/ 417080 w 488489"/>
                <a:gd name="connsiteY14" fmla="*/ 10545 h 421334"/>
                <a:gd name="connsiteX15" fmla="*/ 406628 w 488489"/>
                <a:gd name="connsiteY15" fmla="*/ 4717 h 421334"/>
                <a:gd name="connsiteX16" fmla="*/ 404454 w 488489"/>
                <a:gd name="connsiteY16" fmla="*/ 0 h 421334"/>
                <a:gd name="connsiteX17" fmla="*/ 404361 w 488489"/>
                <a:gd name="connsiteY17" fmla="*/ 0 h 421334"/>
                <a:gd name="connsiteX18" fmla="*/ 389654 w 488489"/>
                <a:gd name="connsiteY18" fmla="*/ 15401 h 421334"/>
                <a:gd name="connsiteX19" fmla="*/ 381468 w 488489"/>
                <a:gd name="connsiteY19" fmla="*/ 13366 h 421334"/>
                <a:gd name="connsiteX20" fmla="*/ 373929 w 488489"/>
                <a:gd name="connsiteY20" fmla="*/ 30479 h 421334"/>
                <a:gd name="connsiteX21" fmla="*/ 358528 w 488489"/>
                <a:gd name="connsiteY21" fmla="*/ 32884 h 421334"/>
                <a:gd name="connsiteX22" fmla="*/ 354088 w 488489"/>
                <a:gd name="connsiteY22" fmla="*/ 46203 h 421334"/>
                <a:gd name="connsiteX23" fmla="*/ 341785 w 488489"/>
                <a:gd name="connsiteY23" fmla="*/ 47915 h 421334"/>
                <a:gd name="connsiteX24" fmla="*/ 329483 w 488489"/>
                <a:gd name="connsiteY24" fmla="*/ 39035 h 421334"/>
                <a:gd name="connsiteX25" fmla="*/ 280875 w 488489"/>
                <a:gd name="connsiteY25" fmla="*/ 39035 h 421334"/>
                <a:gd name="connsiteX26" fmla="*/ 282910 w 488489"/>
                <a:gd name="connsiteY26" fmla="*/ 32560 h 421334"/>
                <a:gd name="connsiteX27" fmla="*/ 275463 w 488489"/>
                <a:gd name="connsiteY27" fmla="*/ 32560 h 421334"/>
                <a:gd name="connsiteX28" fmla="*/ 271023 w 488489"/>
                <a:gd name="connsiteY28" fmla="*/ 39312 h 421334"/>
                <a:gd name="connsiteX29" fmla="*/ 91204 w 488489"/>
                <a:gd name="connsiteY29" fmla="*/ 39312 h 421334"/>
                <a:gd name="connsiteX30" fmla="*/ 91204 w 488489"/>
                <a:gd name="connsiteY30" fmla="*/ 100038 h 421334"/>
                <a:gd name="connsiteX31" fmla="*/ 61003 w 488489"/>
                <a:gd name="connsiteY31" fmla="*/ 100038 h 421334"/>
                <a:gd name="connsiteX32" fmla="*/ 61003 w 488489"/>
                <a:gd name="connsiteY32" fmla="*/ 227271 h 421334"/>
                <a:gd name="connsiteX33" fmla="*/ 36491 w 488489"/>
                <a:gd name="connsiteY33" fmla="*/ 227271 h 421334"/>
                <a:gd name="connsiteX34" fmla="*/ 28397 w 488489"/>
                <a:gd name="connsiteY34" fmla="*/ 234116 h 421334"/>
                <a:gd name="connsiteX35" fmla="*/ 33300 w 488489"/>
                <a:gd name="connsiteY35" fmla="*/ 242210 h 421334"/>
                <a:gd name="connsiteX36" fmla="*/ 23171 w 488489"/>
                <a:gd name="connsiteY36" fmla="*/ 258397 h 421334"/>
                <a:gd name="connsiteX37" fmla="*/ 15077 w 488489"/>
                <a:gd name="connsiteY37" fmla="*/ 262467 h 421334"/>
                <a:gd name="connsiteX38" fmla="*/ 19702 w 488489"/>
                <a:gd name="connsiteY38" fmla="*/ 275186 h 421334"/>
                <a:gd name="connsiteX39" fmla="*/ 6382 w 488489"/>
                <a:gd name="connsiteY39" fmla="*/ 284713 h 421334"/>
                <a:gd name="connsiteX40" fmla="*/ 11285 w 488489"/>
                <a:gd name="connsiteY40" fmla="*/ 299744 h 421334"/>
                <a:gd name="connsiteX41" fmla="*/ 0 w 488489"/>
                <a:gd name="connsiteY41" fmla="*/ 308717 h 421334"/>
                <a:gd name="connsiteX42" fmla="*/ 555 w 488489"/>
                <a:gd name="connsiteY42" fmla="*/ 321436 h 421334"/>
                <a:gd name="connsiteX43" fmla="*/ 9527 w 488489"/>
                <a:gd name="connsiteY43" fmla="*/ 317366 h 421334"/>
                <a:gd name="connsiteX44" fmla="*/ 16465 w 488489"/>
                <a:gd name="connsiteY44" fmla="*/ 320557 h 421334"/>
                <a:gd name="connsiteX45" fmla="*/ 17344 w 488489"/>
                <a:gd name="connsiteY45" fmla="*/ 335310 h 421334"/>
                <a:gd name="connsiteX46" fmla="*/ 23125 w 488489"/>
                <a:gd name="connsiteY46" fmla="*/ 337068 h 421334"/>
                <a:gd name="connsiteX47" fmla="*/ 19934 w 488489"/>
                <a:gd name="connsiteY47" fmla="*/ 351498 h 421334"/>
                <a:gd name="connsiteX48" fmla="*/ 32051 w 488489"/>
                <a:gd name="connsiteY48" fmla="*/ 357880 h 421334"/>
                <a:gd name="connsiteX49" fmla="*/ 29924 w 488489"/>
                <a:gd name="connsiteY49" fmla="*/ 370876 h 421334"/>
                <a:gd name="connsiteX50" fmla="*/ 52262 w 488489"/>
                <a:gd name="connsiteY50" fmla="*/ 400153 h 421334"/>
                <a:gd name="connsiteX51" fmla="*/ 50736 w 488489"/>
                <a:gd name="connsiteY51" fmla="*/ 412085 h 421334"/>
                <a:gd name="connsiteX52" fmla="*/ 88106 w 488489"/>
                <a:gd name="connsiteY52" fmla="*/ 408616 h 421334"/>
                <a:gd name="connsiteX53" fmla="*/ 95043 w 488489"/>
                <a:gd name="connsiteY53" fmla="*/ 393215 h 421334"/>
                <a:gd name="connsiteX54" fmla="*/ 116226 w 488489"/>
                <a:gd name="connsiteY54" fmla="*/ 390533 h 421334"/>
                <a:gd name="connsiteX55" fmla="*/ 132783 w 488489"/>
                <a:gd name="connsiteY55" fmla="*/ 416340 h 421334"/>
                <a:gd name="connsiteX56" fmla="*/ 149757 w 488489"/>
                <a:gd name="connsiteY56" fmla="*/ 412501 h 421334"/>
                <a:gd name="connsiteX57" fmla="*/ 175564 w 488489"/>
                <a:gd name="connsiteY57" fmla="*/ 414027 h 421334"/>
                <a:gd name="connsiteX58" fmla="*/ 180189 w 488489"/>
                <a:gd name="connsiteY58" fmla="*/ 421335 h 421334"/>
                <a:gd name="connsiteX59" fmla="*/ 199475 w 488489"/>
                <a:gd name="connsiteY59" fmla="*/ 421335 h 421334"/>
                <a:gd name="connsiteX60" fmla="*/ 207939 w 488489"/>
                <a:gd name="connsiteY60" fmla="*/ 410559 h 421334"/>
                <a:gd name="connsiteX61" fmla="*/ 222970 w 488489"/>
                <a:gd name="connsiteY61" fmla="*/ 409772 h 421334"/>
                <a:gd name="connsiteX62" fmla="*/ 222184 w 488489"/>
                <a:gd name="connsiteY62" fmla="*/ 401309 h 421334"/>
                <a:gd name="connsiteX63" fmla="*/ 236059 w 488489"/>
                <a:gd name="connsiteY63" fmla="*/ 394371 h 421334"/>
                <a:gd name="connsiteX64" fmla="*/ 258027 w 488489"/>
                <a:gd name="connsiteY64" fmla="*/ 409772 h 421334"/>
                <a:gd name="connsiteX65" fmla="*/ 274215 w 488489"/>
                <a:gd name="connsiteY65" fmla="*/ 409772 h 421334"/>
                <a:gd name="connsiteX66" fmla="*/ 305433 w 488489"/>
                <a:gd name="connsiteY66" fmla="*/ 373559 h 421334"/>
                <a:gd name="connsiteX67" fmla="*/ 305433 w 488489"/>
                <a:gd name="connsiteY67" fmla="*/ 357002 h 421334"/>
                <a:gd name="connsiteX68" fmla="*/ 296969 w 488489"/>
                <a:gd name="connsiteY68" fmla="*/ 347752 h 421334"/>
                <a:gd name="connsiteX69" fmla="*/ 314313 w 488489"/>
                <a:gd name="connsiteY69" fmla="*/ 347752 h 421334"/>
                <a:gd name="connsiteX70" fmla="*/ 314313 w 488489"/>
                <a:gd name="connsiteY70" fmla="*/ 340028 h 421334"/>
                <a:gd name="connsiteX71" fmla="*/ 330871 w 488489"/>
                <a:gd name="connsiteY71" fmla="*/ 340028 h 421334"/>
                <a:gd name="connsiteX72" fmla="*/ 326246 w 488489"/>
                <a:gd name="connsiteY72" fmla="*/ 356400 h 421334"/>
                <a:gd name="connsiteX73" fmla="*/ 329113 w 488489"/>
                <a:gd name="connsiteY73" fmla="*/ 380681 h 421334"/>
                <a:gd name="connsiteX74" fmla="*/ 347613 w 488489"/>
                <a:gd name="connsiteY74" fmla="*/ 395713 h 421334"/>
                <a:gd name="connsiteX75" fmla="*/ 345300 w 488489"/>
                <a:gd name="connsiteY75" fmla="*/ 414212 h 421334"/>
                <a:gd name="connsiteX76" fmla="*/ 357418 w 488489"/>
                <a:gd name="connsiteY76" fmla="*/ 417080 h 421334"/>
                <a:gd name="connsiteX77" fmla="*/ 361488 w 488489"/>
                <a:gd name="connsiteY77" fmla="*/ 382948 h 421334"/>
                <a:gd name="connsiteX78" fmla="*/ 369581 w 488489"/>
                <a:gd name="connsiteY78" fmla="*/ 371940 h 421334"/>
                <a:gd name="connsiteX79" fmla="*/ 380589 w 488489"/>
                <a:gd name="connsiteY79" fmla="*/ 377721 h 421334"/>
                <a:gd name="connsiteX80" fmla="*/ 385214 w 488489"/>
                <a:gd name="connsiteY80" fmla="*/ 344190 h 421334"/>
                <a:gd name="connsiteX81" fmla="*/ 401401 w 488489"/>
                <a:gd name="connsiteY81" fmla="*/ 320511 h 421334"/>
                <a:gd name="connsiteX82" fmla="*/ 417034 w 488489"/>
                <a:gd name="connsiteY82" fmla="*/ 317643 h 421334"/>
                <a:gd name="connsiteX83" fmla="*/ 426885 w 488489"/>
                <a:gd name="connsiteY83" fmla="*/ 272180 h 421334"/>
                <a:gd name="connsiteX84" fmla="*/ 424572 w 488489"/>
                <a:gd name="connsiteY84" fmla="*/ 244800 h 421334"/>
                <a:gd name="connsiteX85" fmla="*/ 439234 w 488489"/>
                <a:gd name="connsiteY85" fmla="*/ 212425 h 421334"/>
                <a:gd name="connsiteX86" fmla="*/ 440020 w 488489"/>
                <a:gd name="connsiteY86" fmla="*/ 189670 h 421334"/>
                <a:gd name="connsiteX87" fmla="*/ 453895 w 488489"/>
                <a:gd name="connsiteY87" fmla="*/ 189300 h 421334"/>
                <a:gd name="connsiteX88" fmla="*/ 458150 w 488489"/>
                <a:gd name="connsiteY88" fmla="*/ 177738 h 421334"/>
                <a:gd name="connsiteX89" fmla="*/ 477020 w 488489"/>
                <a:gd name="connsiteY89" fmla="*/ 174639 h 421334"/>
                <a:gd name="connsiteX90" fmla="*/ 488489 w 488489"/>
                <a:gd name="connsiteY90" fmla="*/ 157850 h 421334"/>
                <a:gd name="connsiteX91" fmla="*/ 479841 w 488489"/>
                <a:gd name="connsiteY91" fmla="*/ 148647 h 4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88489" h="421334">
                  <a:moveTo>
                    <a:pt x="480026" y="148462"/>
                  </a:moveTo>
                  <a:cubicBezTo>
                    <a:pt x="479008" y="148092"/>
                    <a:pt x="474245" y="148462"/>
                    <a:pt x="474245" y="144854"/>
                  </a:cubicBezTo>
                  <a:cubicBezTo>
                    <a:pt x="474152" y="144392"/>
                    <a:pt x="474430" y="141848"/>
                    <a:pt x="472163" y="140090"/>
                  </a:cubicBezTo>
                  <a:cubicBezTo>
                    <a:pt x="467353" y="136298"/>
                    <a:pt x="464255" y="133107"/>
                    <a:pt x="460601" y="132829"/>
                  </a:cubicBezTo>
                  <a:cubicBezTo>
                    <a:pt x="460138" y="132690"/>
                    <a:pt x="456207" y="133199"/>
                    <a:pt x="455282" y="129962"/>
                  </a:cubicBezTo>
                  <a:cubicBezTo>
                    <a:pt x="449224" y="108594"/>
                    <a:pt x="448484" y="107531"/>
                    <a:pt x="449177" y="104108"/>
                  </a:cubicBezTo>
                  <a:cubicBezTo>
                    <a:pt x="451397" y="93008"/>
                    <a:pt x="446079" y="91852"/>
                    <a:pt x="447512" y="84267"/>
                  </a:cubicBezTo>
                  <a:cubicBezTo>
                    <a:pt x="448114" y="81214"/>
                    <a:pt x="448853" y="78440"/>
                    <a:pt x="448206" y="75341"/>
                  </a:cubicBezTo>
                  <a:cubicBezTo>
                    <a:pt x="445708" y="64102"/>
                    <a:pt x="444922" y="61420"/>
                    <a:pt x="445339" y="59107"/>
                  </a:cubicBezTo>
                  <a:cubicBezTo>
                    <a:pt x="445801" y="56795"/>
                    <a:pt x="449131" y="61928"/>
                    <a:pt x="448669" y="61466"/>
                  </a:cubicBezTo>
                  <a:cubicBezTo>
                    <a:pt x="450704" y="64241"/>
                    <a:pt x="452831" y="60125"/>
                    <a:pt x="450657" y="57396"/>
                  </a:cubicBezTo>
                  <a:cubicBezTo>
                    <a:pt x="440806" y="44955"/>
                    <a:pt x="439095" y="43752"/>
                    <a:pt x="439049" y="40237"/>
                  </a:cubicBezTo>
                  <a:cubicBezTo>
                    <a:pt x="438956" y="31034"/>
                    <a:pt x="439465" y="28490"/>
                    <a:pt x="436644" y="26871"/>
                  </a:cubicBezTo>
                  <a:cubicBezTo>
                    <a:pt x="431464" y="23865"/>
                    <a:pt x="427902" y="22246"/>
                    <a:pt x="425729" y="19471"/>
                  </a:cubicBezTo>
                  <a:cubicBezTo>
                    <a:pt x="422399" y="15170"/>
                    <a:pt x="420410" y="11747"/>
                    <a:pt x="417080" y="10545"/>
                  </a:cubicBezTo>
                  <a:cubicBezTo>
                    <a:pt x="410281" y="8047"/>
                    <a:pt x="407969" y="7677"/>
                    <a:pt x="406628" y="4717"/>
                  </a:cubicBezTo>
                  <a:cubicBezTo>
                    <a:pt x="405841" y="2960"/>
                    <a:pt x="405148" y="1434"/>
                    <a:pt x="404454" y="0"/>
                  </a:cubicBezTo>
                  <a:lnTo>
                    <a:pt x="404361" y="0"/>
                  </a:lnTo>
                  <a:cubicBezTo>
                    <a:pt x="404361" y="0"/>
                    <a:pt x="389654" y="15401"/>
                    <a:pt x="389654" y="15401"/>
                  </a:cubicBezTo>
                  <a:lnTo>
                    <a:pt x="381468" y="13366"/>
                  </a:lnTo>
                  <a:lnTo>
                    <a:pt x="373929" y="30479"/>
                  </a:lnTo>
                  <a:lnTo>
                    <a:pt x="358528" y="32884"/>
                  </a:lnTo>
                  <a:lnTo>
                    <a:pt x="354088" y="46203"/>
                  </a:lnTo>
                  <a:lnTo>
                    <a:pt x="341785" y="47915"/>
                  </a:lnTo>
                  <a:lnTo>
                    <a:pt x="329483" y="39035"/>
                  </a:lnTo>
                  <a:lnTo>
                    <a:pt x="280875" y="39035"/>
                  </a:lnTo>
                  <a:lnTo>
                    <a:pt x="282910" y="32560"/>
                  </a:lnTo>
                  <a:lnTo>
                    <a:pt x="275463" y="32560"/>
                  </a:lnTo>
                  <a:lnTo>
                    <a:pt x="271023" y="39312"/>
                  </a:lnTo>
                  <a:lnTo>
                    <a:pt x="91204" y="39312"/>
                  </a:lnTo>
                  <a:lnTo>
                    <a:pt x="91204" y="100038"/>
                  </a:lnTo>
                  <a:lnTo>
                    <a:pt x="61003" y="100038"/>
                  </a:lnTo>
                  <a:lnTo>
                    <a:pt x="61003" y="227271"/>
                  </a:lnTo>
                  <a:lnTo>
                    <a:pt x="36491" y="227271"/>
                  </a:lnTo>
                  <a:lnTo>
                    <a:pt x="28397" y="234116"/>
                  </a:lnTo>
                  <a:lnTo>
                    <a:pt x="33300" y="242210"/>
                  </a:lnTo>
                  <a:lnTo>
                    <a:pt x="23171" y="258397"/>
                  </a:lnTo>
                  <a:lnTo>
                    <a:pt x="15077" y="262467"/>
                  </a:lnTo>
                  <a:lnTo>
                    <a:pt x="19702" y="275186"/>
                  </a:lnTo>
                  <a:lnTo>
                    <a:pt x="6382" y="284713"/>
                  </a:lnTo>
                  <a:lnTo>
                    <a:pt x="11285" y="299744"/>
                  </a:lnTo>
                  <a:lnTo>
                    <a:pt x="0" y="308717"/>
                  </a:lnTo>
                  <a:lnTo>
                    <a:pt x="555" y="321436"/>
                  </a:lnTo>
                  <a:lnTo>
                    <a:pt x="9527" y="317366"/>
                  </a:lnTo>
                  <a:lnTo>
                    <a:pt x="16465" y="320557"/>
                  </a:lnTo>
                  <a:lnTo>
                    <a:pt x="17344" y="335310"/>
                  </a:lnTo>
                  <a:lnTo>
                    <a:pt x="23125" y="337068"/>
                  </a:lnTo>
                  <a:lnTo>
                    <a:pt x="19934" y="351498"/>
                  </a:lnTo>
                  <a:lnTo>
                    <a:pt x="32051" y="357880"/>
                  </a:lnTo>
                  <a:lnTo>
                    <a:pt x="29924" y="370876"/>
                  </a:lnTo>
                  <a:lnTo>
                    <a:pt x="52262" y="400153"/>
                  </a:lnTo>
                  <a:lnTo>
                    <a:pt x="50736" y="412085"/>
                  </a:lnTo>
                  <a:lnTo>
                    <a:pt x="88106" y="408616"/>
                  </a:lnTo>
                  <a:lnTo>
                    <a:pt x="95043" y="393215"/>
                  </a:lnTo>
                  <a:lnTo>
                    <a:pt x="116226" y="390533"/>
                  </a:lnTo>
                  <a:lnTo>
                    <a:pt x="132783" y="416340"/>
                  </a:lnTo>
                  <a:lnTo>
                    <a:pt x="149757" y="412501"/>
                  </a:lnTo>
                  <a:lnTo>
                    <a:pt x="175564" y="414027"/>
                  </a:lnTo>
                  <a:lnTo>
                    <a:pt x="180189" y="421335"/>
                  </a:lnTo>
                  <a:lnTo>
                    <a:pt x="199475" y="421335"/>
                  </a:lnTo>
                  <a:lnTo>
                    <a:pt x="207939" y="410559"/>
                  </a:lnTo>
                  <a:lnTo>
                    <a:pt x="222970" y="409772"/>
                  </a:lnTo>
                  <a:lnTo>
                    <a:pt x="222184" y="401309"/>
                  </a:lnTo>
                  <a:lnTo>
                    <a:pt x="236059" y="394371"/>
                  </a:lnTo>
                  <a:lnTo>
                    <a:pt x="258027" y="409772"/>
                  </a:lnTo>
                  <a:lnTo>
                    <a:pt x="274215" y="409772"/>
                  </a:lnTo>
                  <a:lnTo>
                    <a:pt x="305433" y="373559"/>
                  </a:lnTo>
                  <a:lnTo>
                    <a:pt x="305433" y="357002"/>
                  </a:lnTo>
                  <a:lnTo>
                    <a:pt x="296969" y="347752"/>
                  </a:lnTo>
                  <a:lnTo>
                    <a:pt x="314313" y="347752"/>
                  </a:lnTo>
                  <a:lnTo>
                    <a:pt x="314313" y="340028"/>
                  </a:lnTo>
                  <a:lnTo>
                    <a:pt x="330871" y="340028"/>
                  </a:lnTo>
                  <a:lnTo>
                    <a:pt x="326246" y="356400"/>
                  </a:lnTo>
                  <a:lnTo>
                    <a:pt x="329113" y="380681"/>
                  </a:lnTo>
                  <a:lnTo>
                    <a:pt x="347613" y="395713"/>
                  </a:lnTo>
                  <a:lnTo>
                    <a:pt x="345300" y="414212"/>
                  </a:lnTo>
                  <a:lnTo>
                    <a:pt x="357418" y="417080"/>
                  </a:lnTo>
                  <a:lnTo>
                    <a:pt x="361488" y="382948"/>
                  </a:lnTo>
                  <a:lnTo>
                    <a:pt x="369581" y="371940"/>
                  </a:lnTo>
                  <a:lnTo>
                    <a:pt x="380589" y="377721"/>
                  </a:lnTo>
                  <a:lnTo>
                    <a:pt x="385214" y="344190"/>
                  </a:lnTo>
                  <a:lnTo>
                    <a:pt x="401401" y="320511"/>
                  </a:lnTo>
                  <a:lnTo>
                    <a:pt x="417034" y="317643"/>
                  </a:lnTo>
                  <a:lnTo>
                    <a:pt x="426885" y="272180"/>
                  </a:lnTo>
                  <a:lnTo>
                    <a:pt x="424572" y="244800"/>
                  </a:lnTo>
                  <a:lnTo>
                    <a:pt x="439234" y="212425"/>
                  </a:lnTo>
                  <a:lnTo>
                    <a:pt x="440020" y="189670"/>
                  </a:lnTo>
                  <a:lnTo>
                    <a:pt x="453895" y="189300"/>
                  </a:lnTo>
                  <a:lnTo>
                    <a:pt x="458150" y="177738"/>
                  </a:lnTo>
                  <a:lnTo>
                    <a:pt x="477020" y="174639"/>
                  </a:lnTo>
                  <a:lnTo>
                    <a:pt x="488489" y="157850"/>
                  </a:lnTo>
                  <a:cubicBezTo>
                    <a:pt x="483171" y="149988"/>
                    <a:pt x="482384" y="149109"/>
                    <a:pt x="479841" y="148647"/>
                  </a:cubicBezTo>
                  <a:close/>
                </a:path>
              </a:pathLst>
            </a:custGeom>
            <a:grpFill/>
            <a:ln w="4609" cap="flat">
              <a:noFill/>
              <a:prstDash val="solid"/>
              <a:miter/>
            </a:ln>
          </p:spPr>
          <p:txBody>
            <a:bodyPr rtlCol="0" anchor="ctr"/>
            <a:lstStyle/>
            <a:p>
              <a:endParaRPr lang="en-IN"/>
            </a:p>
          </p:txBody>
        </p:sp>
        <p:sp>
          <p:nvSpPr>
            <p:cNvPr id="77" name="Freeform: Shape 76">
              <a:extLst>
                <a:ext uri="{FF2B5EF4-FFF2-40B4-BE49-F238E27FC236}">
                  <a16:creationId xmlns:a16="http://schemas.microsoft.com/office/drawing/2014/main" id="{36B255CA-B014-1FB9-59B2-F28A7815CC57}"/>
                </a:ext>
              </a:extLst>
            </p:cNvPr>
            <p:cNvSpPr/>
            <p:nvPr/>
          </p:nvSpPr>
          <p:spPr>
            <a:xfrm>
              <a:off x="6507312" y="4678559"/>
              <a:ext cx="367823" cy="248869"/>
            </a:xfrm>
            <a:custGeom>
              <a:avLst/>
              <a:gdLst>
                <a:gd name="connsiteX0" fmla="*/ 360239 w 367823"/>
                <a:gd name="connsiteY0" fmla="*/ 195497 h 248869"/>
                <a:gd name="connsiteX1" fmla="*/ 350527 w 367823"/>
                <a:gd name="connsiteY1" fmla="*/ 190318 h 248869"/>
                <a:gd name="connsiteX2" fmla="*/ 344653 w 367823"/>
                <a:gd name="connsiteY2" fmla="*/ 194943 h 248869"/>
                <a:gd name="connsiteX3" fmla="*/ 329344 w 367823"/>
                <a:gd name="connsiteY3" fmla="*/ 155630 h 248869"/>
                <a:gd name="connsiteX4" fmla="*/ 312787 w 367823"/>
                <a:gd name="connsiteY4" fmla="*/ 144068 h 248869"/>
                <a:gd name="connsiteX5" fmla="*/ 306636 w 367823"/>
                <a:gd name="connsiteY5" fmla="*/ 131349 h 248869"/>
                <a:gd name="connsiteX6" fmla="*/ 279672 w 367823"/>
                <a:gd name="connsiteY6" fmla="*/ 124042 h 248869"/>
                <a:gd name="connsiteX7" fmla="*/ 276990 w 367823"/>
                <a:gd name="connsiteY7" fmla="*/ 119417 h 248869"/>
                <a:gd name="connsiteX8" fmla="*/ 283927 w 367823"/>
                <a:gd name="connsiteY8" fmla="*/ 112109 h 248869"/>
                <a:gd name="connsiteX9" fmla="*/ 283557 w 367823"/>
                <a:gd name="connsiteY9" fmla="*/ 104802 h 248869"/>
                <a:gd name="connsiteX10" fmla="*/ 312463 w 367823"/>
                <a:gd name="connsiteY10" fmla="*/ 102119 h 248869"/>
                <a:gd name="connsiteX11" fmla="*/ 312093 w 367823"/>
                <a:gd name="connsiteY11" fmla="*/ 77052 h 248869"/>
                <a:gd name="connsiteX12" fmla="*/ 299976 w 367823"/>
                <a:gd name="connsiteY12" fmla="*/ 74185 h 248869"/>
                <a:gd name="connsiteX13" fmla="*/ 302288 w 367823"/>
                <a:gd name="connsiteY13" fmla="*/ 55685 h 248869"/>
                <a:gd name="connsiteX14" fmla="*/ 283788 w 367823"/>
                <a:gd name="connsiteY14" fmla="*/ 40653 h 248869"/>
                <a:gd name="connsiteX15" fmla="*/ 280921 w 367823"/>
                <a:gd name="connsiteY15" fmla="*/ 16372 h 248869"/>
                <a:gd name="connsiteX16" fmla="*/ 285546 w 367823"/>
                <a:gd name="connsiteY16" fmla="*/ 0 h 248869"/>
                <a:gd name="connsiteX17" fmla="*/ 268988 w 367823"/>
                <a:gd name="connsiteY17" fmla="*/ 0 h 248869"/>
                <a:gd name="connsiteX18" fmla="*/ 268988 w 367823"/>
                <a:gd name="connsiteY18" fmla="*/ 7724 h 248869"/>
                <a:gd name="connsiteX19" fmla="*/ 251645 w 367823"/>
                <a:gd name="connsiteY19" fmla="*/ 7724 h 248869"/>
                <a:gd name="connsiteX20" fmla="*/ 260108 w 367823"/>
                <a:gd name="connsiteY20" fmla="*/ 16974 h 248869"/>
                <a:gd name="connsiteX21" fmla="*/ 260108 w 367823"/>
                <a:gd name="connsiteY21" fmla="*/ 33531 h 248869"/>
                <a:gd name="connsiteX22" fmla="*/ 228890 w 367823"/>
                <a:gd name="connsiteY22" fmla="*/ 69745 h 248869"/>
                <a:gd name="connsiteX23" fmla="*/ 212703 w 367823"/>
                <a:gd name="connsiteY23" fmla="*/ 69745 h 248869"/>
                <a:gd name="connsiteX24" fmla="*/ 190734 w 367823"/>
                <a:gd name="connsiteY24" fmla="*/ 54343 h 248869"/>
                <a:gd name="connsiteX25" fmla="*/ 176859 w 367823"/>
                <a:gd name="connsiteY25" fmla="*/ 61281 h 248869"/>
                <a:gd name="connsiteX26" fmla="*/ 177645 w 367823"/>
                <a:gd name="connsiteY26" fmla="*/ 69745 h 248869"/>
                <a:gd name="connsiteX27" fmla="*/ 162614 w 367823"/>
                <a:gd name="connsiteY27" fmla="*/ 70531 h 248869"/>
                <a:gd name="connsiteX28" fmla="*/ 154150 w 367823"/>
                <a:gd name="connsiteY28" fmla="*/ 81307 h 248869"/>
                <a:gd name="connsiteX29" fmla="*/ 134864 w 367823"/>
                <a:gd name="connsiteY29" fmla="*/ 81307 h 248869"/>
                <a:gd name="connsiteX30" fmla="*/ 130239 w 367823"/>
                <a:gd name="connsiteY30" fmla="*/ 74000 h 248869"/>
                <a:gd name="connsiteX31" fmla="*/ 104432 w 367823"/>
                <a:gd name="connsiteY31" fmla="*/ 72473 h 248869"/>
                <a:gd name="connsiteX32" fmla="*/ 87458 w 367823"/>
                <a:gd name="connsiteY32" fmla="*/ 76312 h 248869"/>
                <a:gd name="connsiteX33" fmla="*/ 70901 w 367823"/>
                <a:gd name="connsiteY33" fmla="*/ 50505 h 248869"/>
                <a:gd name="connsiteX34" fmla="*/ 49718 w 367823"/>
                <a:gd name="connsiteY34" fmla="*/ 53187 h 248869"/>
                <a:gd name="connsiteX35" fmla="*/ 42781 w 367823"/>
                <a:gd name="connsiteY35" fmla="*/ 68588 h 248869"/>
                <a:gd name="connsiteX36" fmla="*/ 5411 w 367823"/>
                <a:gd name="connsiteY36" fmla="*/ 72057 h 248869"/>
                <a:gd name="connsiteX37" fmla="*/ 0 w 367823"/>
                <a:gd name="connsiteY37" fmla="*/ 95552 h 248869"/>
                <a:gd name="connsiteX38" fmla="*/ 23911 w 367823"/>
                <a:gd name="connsiteY38" fmla="*/ 96708 h 248869"/>
                <a:gd name="connsiteX39" fmla="*/ 20812 w 367823"/>
                <a:gd name="connsiteY39" fmla="*/ 106744 h 248869"/>
                <a:gd name="connsiteX40" fmla="*/ 41625 w 367823"/>
                <a:gd name="connsiteY40" fmla="*/ 112525 h 248869"/>
                <a:gd name="connsiteX41" fmla="*/ 54713 w 367823"/>
                <a:gd name="connsiteY41" fmla="*/ 126030 h 248869"/>
                <a:gd name="connsiteX42" fmla="*/ 50875 w 367823"/>
                <a:gd name="connsiteY42" fmla="*/ 131025 h 248869"/>
                <a:gd name="connsiteX43" fmla="*/ 86348 w 367823"/>
                <a:gd name="connsiteY43" fmla="*/ 154520 h 248869"/>
                <a:gd name="connsiteX44" fmla="*/ 83249 w 367823"/>
                <a:gd name="connsiteY44" fmla="*/ 163770 h 248869"/>
                <a:gd name="connsiteX45" fmla="*/ 91343 w 367823"/>
                <a:gd name="connsiteY45" fmla="*/ 174546 h 248869"/>
                <a:gd name="connsiteX46" fmla="*/ 109057 w 367823"/>
                <a:gd name="connsiteY46" fmla="*/ 181484 h 248869"/>
                <a:gd name="connsiteX47" fmla="*/ 115301 w 367823"/>
                <a:gd name="connsiteY47" fmla="*/ 201001 h 248869"/>
                <a:gd name="connsiteX48" fmla="*/ 144207 w 367823"/>
                <a:gd name="connsiteY48" fmla="*/ 225884 h 248869"/>
                <a:gd name="connsiteX49" fmla="*/ 154474 w 367823"/>
                <a:gd name="connsiteY49" fmla="*/ 217605 h 248869"/>
                <a:gd name="connsiteX50" fmla="*/ 167933 w 367823"/>
                <a:gd name="connsiteY50" fmla="*/ 223941 h 248869"/>
                <a:gd name="connsiteX51" fmla="*/ 176211 w 367823"/>
                <a:gd name="connsiteY51" fmla="*/ 214460 h 248869"/>
                <a:gd name="connsiteX52" fmla="*/ 184906 w 367823"/>
                <a:gd name="connsiteY52" fmla="*/ 217235 h 248869"/>
                <a:gd name="connsiteX53" fmla="*/ 193971 w 367823"/>
                <a:gd name="connsiteY53" fmla="*/ 233839 h 248869"/>
                <a:gd name="connsiteX54" fmla="*/ 217697 w 367823"/>
                <a:gd name="connsiteY54" fmla="*/ 248453 h 248869"/>
                <a:gd name="connsiteX55" fmla="*/ 225329 w 367823"/>
                <a:gd name="connsiteY55" fmla="*/ 239250 h 248869"/>
                <a:gd name="connsiteX56" fmla="*/ 237400 w 367823"/>
                <a:gd name="connsiteY56" fmla="*/ 244245 h 248869"/>
                <a:gd name="connsiteX57" fmla="*/ 242025 w 367823"/>
                <a:gd name="connsiteY57" fmla="*/ 238556 h 248869"/>
                <a:gd name="connsiteX58" fmla="*/ 247713 w 367823"/>
                <a:gd name="connsiteY58" fmla="*/ 240683 h 248869"/>
                <a:gd name="connsiteX59" fmla="*/ 248084 w 367823"/>
                <a:gd name="connsiteY59" fmla="*/ 246372 h 248869"/>
                <a:gd name="connsiteX60" fmla="*/ 255900 w 367823"/>
                <a:gd name="connsiteY60" fmla="*/ 248870 h 248869"/>
                <a:gd name="connsiteX61" fmla="*/ 256640 w 367823"/>
                <a:gd name="connsiteY61" fmla="*/ 244152 h 248869"/>
                <a:gd name="connsiteX62" fmla="*/ 274353 w 367823"/>
                <a:gd name="connsiteY62" fmla="*/ 240868 h 248869"/>
                <a:gd name="connsiteX63" fmla="*/ 279163 w 367823"/>
                <a:gd name="connsiteY63" fmla="*/ 237770 h 248869"/>
                <a:gd name="connsiteX64" fmla="*/ 285129 w 367823"/>
                <a:gd name="connsiteY64" fmla="*/ 240868 h 248869"/>
                <a:gd name="connsiteX65" fmla="*/ 293593 w 367823"/>
                <a:gd name="connsiteY65" fmla="*/ 241238 h 248869"/>
                <a:gd name="connsiteX66" fmla="*/ 318846 w 367823"/>
                <a:gd name="connsiteY66" fmla="*/ 216957 h 248869"/>
                <a:gd name="connsiteX67" fmla="*/ 365003 w 367823"/>
                <a:gd name="connsiteY67" fmla="*/ 216957 h 248869"/>
                <a:gd name="connsiteX68" fmla="*/ 367824 w 367823"/>
                <a:gd name="connsiteY68" fmla="*/ 212841 h 248869"/>
                <a:gd name="connsiteX69" fmla="*/ 360378 w 367823"/>
                <a:gd name="connsiteY69" fmla="*/ 208262 h 248869"/>
                <a:gd name="connsiteX70" fmla="*/ 360378 w 367823"/>
                <a:gd name="connsiteY70" fmla="*/ 195544 h 24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67823" h="248869">
                  <a:moveTo>
                    <a:pt x="360239" y="195497"/>
                  </a:moveTo>
                  <a:lnTo>
                    <a:pt x="350527" y="190318"/>
                  </a:lnTo>
                  <a:lnTo>
                    <a:pt x="344653" y="194943"/>
                  </a:lnTo>
                  <a:lnTo>
                    <a:pt x="329344" y="155630"/>
                  </a:lnTo>
                  <a:lnTo>
                    <a:pt x="312787" y="144068"/>
                  </a:lnTo>
                  <a:lnTo>
                    <a:pt x="306636" y="131349"/>
                  </a:lnTo>
                  <a:lnTo>
                    <a:pt x="279672" y="124042"/>
                  </a:lnTo>
                  <a:lnTo>
                    <a:pt x="276990" y="119417"/>
                  </a:lnTo>
                  <a:lnTo>
                    <a:pt x="283927" y="112109"/>
                  </a:lnTo>
                  <a:lnTo>
                    <a:pt x="283557" y="104802"/>
                  </a:lnTo>
                  <a:lnTo>
                    <a:pt x="312463" y="102119"/>
                  </a:lnTo>
                  <a:lnTo>
                    <a:pt x="312093" y="77052"/>
                  </a:lnTo>
                  <a:lnTo>
                    <a:pt x="299976" y="74185"/>
                  </a:lnTo>
                  <a:lnTo>
                    <a:pt x="302288" y="55685"/>
                  </a:lnTo>
                  <a:lnTo>
                    <a:pt x="283788" y="40653"/>
                  </a:lnTo>
                  <a:lnTo>
                    <a:pt x="280921" y="16372"/>
                  </a:lnTo>
                  <a:lnTo>
                    <a:pt x="285546" y="0"/>
                  </a:lnTo>
                  <a:lnTo>
                    <a:pt x="268988" y="0"/>
                  </a:lnTo>
                  <a:lnTo>
                    <a:pt x="268988" y="7724"/>
                  </a:lnTo>
                  <a:lnTo>
                    <a:pt x="251645" y="7724"/>
                  </a:lnTo>
                  <a:lnTo>
                    <a:pt x="260108" y="16974"/>
                  </a:lnTo>
                  <a:lnTo>
                    <a:pt x="260108" y="33531"/>
                  </a:lnTo>
                  <a:lnTo>
                    <a:pt x="228890" y="69745"/>
                  </a:lnTo>
                  <a:lnTo>
                    <a:pt x="212703" y="69745"/>
                  </a:lnTo>
                  <a:lnTo>
                    <a:pt x="190734" y="54343"/>
                  </a:lnTo>
                  <a:lnTo>
                    <a:pt x="176859" y="61281"/>
                  </a:lnTo>
                  <a:lnTo>
                    <a:pt x="177645" y="69745"/>
                  </a:lnTo>
                  <a:lnTo>
                    <a:pt x="162614" y="70531"/>
                  </a:lnTo>
                  <a:lnTo>
                    <a:pt x="154150" y="81307"/>
                  </a:lnTo>
                  <a:lnTo>
                    <a:pt x="134864" y="81307"/>
                  </a:lnTo>
                  <a:lnTo>
                    <a:pt x="130239" y="74000"/>
                  </a:lnTo>
                  <a:lnTo>
                    <a:pt x="104432" y="72473"/>
                  </a:lnTo>
                  <a:lnTo>
                    <a:pt x="87458" y="76312"/>
                  </a:lnTo>
                  <a:lnTo>
                    <a:pt x="70901" y="50505"/>
                  </a:lnTo>
                  <a:lnTo>
                    <a:pt x="49718" y="53187"/>
                  </a:lnTo>
                  <a:lnTo>
                    <a:pt x="42781" y="68588"/>
                  </a:lnTo>
                  <a:lnTo>
                    <a:pt x="5411" y="72057"/>
                  </a:lnTo>
                  <a:lnTo>
                    <a:pt x="0" y="95552"/>
                  </a:lnTo>
                  <a:lnTo>
                    <a:pt x="23911" y="96708"/>
                  </a:lnTo>
                  <a:lnTo>
                    <a:pt x="20812" y="106744"/>
                  </a:lnTo>
                  <a:lnTo>
                    <a:pt x="41625" y="112525"/>
                  </a:lnTo>
                  <a:lnTo>
                    <a:pt x="54713" y="126030"/>
                  </a:lnTo>
                  <a:lnTo>
                    <a:pt x="50875" y="131025"/>
                  </a:lnTo>
                  <a:lnTo>
                    <a:pt x="86348" y="154520"/>
                  </a:lnTo>
                  <a:lnTo>
                    <a:pt x="83249" y="163770"/>
                  </a:lnTo>
                  <a:lnTo>
                    <a:pt x="91343" y="174546"/>
                  </a:lnTo>
                  <a:lnTo>
                    <a:pt x="109057" y="181484"/>
                  </a:lnTo>
                  <a:lnTo>
                    <a:pt x="115301" y="201001"/>
                  </a:lnTo>
                  <a:lnTo>
                    <a:pt x="144207" y="225884"/>
                  </a:lnTo>
                  <a:lnTo>
                    <a:pt x="154474" y="217605"/>
                  </a:lnTo>
                  <a:lnTo>
                    <a:pt x="167933" y="223941"/>
                  </a:lnTo>
                  <a:lnTo>
                    <a:pt x="176211" y="214460"/>
                  </a:lnTo>
                  <a:lnTo>
                    <a:pt x="184906" y="217235"/>
                  </a:lnTo>
                  <a:lnTo>
                    <a:pt x="193971" y="233839"/>
                  </a:lnTo>
                  <a:lnTo>
                    <a:pt x="217697" y="248453"/>
                  </a:lnTo>
                  <a:lnTo>
                    <a:pt x="225329" y="239250"/>
                  </a:lnTo>
                  <a:lnTo>
                    <a:pt x="237400" y="244245"/>
                  </a:lnTo>
                  <a:lnTo>
                    <a:pt x="242025" y="238556"/>
                  </a:lnTo>
                  <a:lnTo>
                    <a:pt x="247713" y="240683"/>
                  </a:lnTo>
                  <a:lnTo>
                    <a:pt x="248084" y="246372"/>
                  </a:lnTo>
                  <a:lnTo>
                    <a:pt x="255900" y="248870"/>
                  </a:lnTo>
                  <a:lnTo>
                    <a:pt x="256640" y="244152"/>
                  </a:lnTo>
                  <a:lnTo>
                    <a:pt x="274353" y="240868"/>
                  </a:lnTo>
                  <a:lnTo>
                    <a:pt x="279163" y="237770"/>
                  </a:lnTo>
                  <a:lnTo>
                    <a:pt x="285129" y="240868"/>
                  </a:lnTo>
                  <a:lnTo>
                    <a:pt x="293593" y="241238"/>
                  </a:lnTo>
                  <a:lnTo>
                    <a:pt x="318846" y="216957"/>
                  </a:lnTo>
                  <a:lnTo>
                    <a:pt x="365003" y="216957"/>
                  </a:lnTo>
                  <a:cubicBezTo>
                    <a:pt x="365604" y="214460"/>
                    <a:pt x="366344" y="213211"/>
                    <a:pt x="367824" y="212841"/>
                  </a:cubicBezTo>
                  <a:lnTo>
                    <a:pt x="360378" y="208262"/>
                  </a:lnTo>
                  <a:lnTo>
                    <a:pt x="360378" y="195544"/>
                  </a:lnTo>
                  <a:close/>
                </a:path>
              </a:pathLst>
            </a:custGeom>
            <a:grpFill/>
            <a:ln w="4609" cap="flat">
              <a:noFill/>
              <a:prstDash val="solid"/>
              <a:miter/>
            </a:ln>
          </p:spPr>
          <p:txBody>
            <a:bodyPr rtlCol="0" anchor="ctr"/>
            <a:lstStyle/>
            <a:p>
              <a:endParaRPr lang="en-IN"/>
            </a:p>
          </p:txBody>
        </p:sp>
        <p:sp>
          <p:nvSpPr>
            <p:cNvPr id="78" name="Freeform: Shape 77">
              <a:extLst>
                <a:ext uri="{FF2B5EF4-FFF2-40B4-BE49-F238E27FC236}">
                  <a16:creationId xmlns:a16="http://schemas.microsoft.com/office/drawing/2014/main" id="{6EA95D35-E897-0BC2-25FA-4B85F2CE9E4A}"/>
                </a:ext>
              </a:extLst>
            </p:cNvPr>
            <p:cNvSpPr/>
            <p:nvPr/>
          </p:nvSpPr>
          <p:spPr>
            <a:xfrm>
              <a:off x="6305108" y="5683796"/>
              <a:ext cx="477019" cy="397829"/>
            </a:xfrm>
            <a:custGeom>
              <a:avLst/>
              <a:gdLst>
                <a:gd name="connsiteX0" fmla="*/ 451721 w 477019"/>
                <a:gd name="connsiteY0" fmla="*/ 147444 h 397829"/>
                <a:gd name="connsiteX1" fmla="*/ 451721 w 477019"/>
                <a:gd name="connsiteY1" fmla="*/ 161319 h 397829"/>
                <a:gd name="connsiteX2" fmla="*/ 427810 w 477019"/>
                <a:gd name="connsiteY2" fmla="*/ 159007 h 397829"/>
                <a:gd name="connsiteX3" fmla="*/ 417404 w 477019"/>
                <a:gd name="connsiteY3" fmla="*/ 132783 h 397829"/>
                <a:gd name="connsiteX4" fmla="*/ 432805 w 477019"/>
                <a:gd name="connsiteY4" fmla="*/ 112341 h 397829"/>
                <a:gd name="connsiteX5" fmla="*/ 451675 w 477019"/>
                <a:gd name="connsiteY5" fmla="*/ 120064 h 397829"/>
                <a:gd name="connsiteX6" fmla="*/ 451675 w 477019"/>
                <a:gd name="connsiteY6" fmla="*/ 71872 h 397829"/>
                <a:gd name="connsiteX7" fmla="*/ 437430 w 477019"/>
                <a:gd name="connsiteY7" fmla="*/ 42966 h 397829"/>
                <a:gd name="connsiteX8" fmla="*/ 438586 w 477019"/>
                <a:gd name="connsiteY8" fmla="*/ 31774 h 397829"/>
                <a:gd name="connsiteX9" fmla="*/ 429336 w 477019"/>
                <a:gd name="connsiteY9" fmla="*/ 7122 h 397829"/>
                <a:gd name="connsiteX10" fmla="*/ 403113 w 477019"/>
                <a:gd name="connsiteY10" fmla="*/ 7909 h 397829"/>
                <a:gd name="connsiteX11" fmla="*/ 385861 w 477019"/>
                <a:gd name="connsiteY11" fmla="*/ 0 h 397829"/>
                <a:gd name="connsiteX12" fmla="*/ 365188 w 477019"/>
                <a:gd name="connsiteY12" fmla="*/ 3052 h 397829"/>
                <a:gd name="connsiteX13" fmla="*/ 361349 w 477019"/>
                <a:gd name="connsiteY13" fmla="*/ 12626 h 397829"/>
                <a:gd name="connsiteX14" fmla="*/ 342017 w 477019"/>
                <a:gd name="connsiteY14" fmla="*/ 17899 h 397829"/>
                <a:gd name="connsiteX15" fmla="*/ 308486 w 477019"/>
                <a:gd name="connsiteY15" fmla="*/ 46203 h 397829"/>
                <a:gd name="connsiteX16" fmla="*/ 300808 w 477019"/>
                <a:gd name="connsiteY16" fmla="*/ 66045 h 397829"/>
                <a:gd name="connsiteX17" fmla="*/ 274215 w 477019"/>
                <a:gd name="connsiteY17" fmla="*/ 82232 h 397829"/>
                <a:gd name="connsiteX18" fmla="*/ 264965 w 477019"/>
                <a:gd name="connsiteY18" fmla="*/ 109982 h 397829"/>
                <a:gd name="connsiteX19" fmla="*/ 245309 w 477019"/>
                <a:gd name="connsiteY19" fmla="*/ 115162 h 397829"/>
                <a:gd name="connsiteX20" fmla="*/ 217559 w 477019"/>
                <a:gd name="connsiteY20" fmla="*/ 109982 h 397829"/>
                <a:gd name="connsiteX21" fmla="*/ 203684 w 477019"/>
                <a:gd name="connsiteY21" fmla="*/ 98419 h 397829"/>
                <a:gd name="connsiteX22" fmla="*/ 187496 w 477019"/>
                <a:gd name="connsiteY22" fmla="*/ 98974 h 397829"/>
                <a:gd name="connsiteX23" fmla="*/ 180559 w 477019"/>
                <a:gd name="connsiteY23" fmla="*/ 121544 h 397829"/>
                <a:gd name="connsiteX24" fmla="*/ 153364 w 477019"/>
                <a:gd name="connsiteY24" fmla="*/ 147537 h 397829"/>
                <a:gd name="connsiteX25" fmla="*/ 120989 w 477019"/>
                <a:gd name="connsiteY25" fmla="*/ 149294 h 397829"/>
                <a:gd name="connsiteX26" fmla="*/ 118677 w 477019"/>
                <a:gd name="connsiteY26" fmla="*/ 135419 h 397829"/>
                <a:gd name="connsiteX27" fmla="*/ 127372 w 477019"/>
                <a:gd name="connsiteY27" fmla="*/ 120989 h 397829"/>
                <a:gd name="connsiteX28" fmla="*/ 101379 w 477019"/>
                <a:gd name="connsiteY28" fmla="*/ 83435 h 397829"/>
                <a:gd name="connsiteX29" fmla="*/ 101934 w 477019"/>
                <a:gd name="connsiteY29" fmla="*/ 196746 h 397829"/>
                <a:gd name="connsiteX30" fmla="*/ 80567 w 477019"/>
                <a:gd name="connsiteY30" fmla="*/ 212379 h 397829"/>
                <a:gd name="connsiteX31" fmla="*/ 32560 w 477019"/>
                <a:gd name="connsiteY31" fmla="*/ 207199 h 397829"/>
                <a:gd name="connsiteX32" fmla="*/ 16927 w 477019"/>
                <a:gd name="connsiteY32" fmla="*/ 184074 h 397829"/>
                <a:gd name="connsiteX33" fmla="*/ 0 w 477019"/>
                <a:gd name="connsiteY33" fmla="*/ 203360 h 397829"/>
                <a:gd name="connsiteX34" fmla="*/ 0 w 477019"/>
                <a:gd name="connsiteY34" fmla="*/ 203545 h 397829"/>
                <a:gd name="connsiteX35" fmla="*/ 3099 w 477019"/>
                <a:gd name="connsiteY35" fmla="*/ 207615 h 397829"/>
                <a:gd name="connsiteX36" fmla="*/ 13597 w 477019"/>
                <a:gd name="connsiteY36" fmla="*/ 228566 h 397829"/>
                <a:gd name="connsiteX37" fmla="*/ 26316 w 477019"/>
                <a:gd name="connsiteY37" fmla="*/ 262282 h 397829"/>
                <a:gd name="connsiteX38" fmla="*/ 50458 w 477019"/>
                <a:gd name="connsiteY38" fmla="*/ 303444 h 397829"/>
                <a:gd name="connsiteX39" fmla="*/ 52262 w 477019"/>
                <a:gd name="connsiteY39" fmla="*/ 325875 h 397829"/>
                <a:gd name="connsiteX40" fmla="*/ 45695 w 477019"/>
                <a:gd name="connsiteY40" fmla="*/ 332258 h 397829"/>
                <a:gd name="connsiteX41" fmla="*/ 40145 w 477019"/>
                <a:gd name="connsiteY41" fmla="*/ 332767 h 397829"/>
                <a:gd name="connsiteX42" fmla="*/ 41763 w 477019"/>
                <a:gd name="connsiteY42" fmla="*/ 341924 h 397829"/>
                <a:gd name="connsiteX43" fmla="*/ 45232 w 477019"/>
                <a:gd name="connsiteY43" fmla="*/ 344560 h 397829"/>
                <a:gd name="connsiteX44" fmla="*/ 46990 w 477019"/>
                <a:gd name="connsiteY44" fmla="*/ 348954 h 397829"/>
                <a:gd name="connsiteX45" fmla="*/ 56425 w 477019"/>
                <a:gd name="connsiteY45" fmla="*/ 365511 h 397829"/>
                <a:gd name="connsiteX46" fmla="*/ 53326 w 477019"/>
                <a:gd name="connsiteY46" fmla="*/ 373281 h 397829"/>
                <a:gd name="connsiteX47" fmla="*/ 54528 w 477019"/>
                <a:gd name="connsiteY47" fmla="*/ 379710 h 397829"/>
                <a:gd name="connsiteX48" fmla="*/ 57303 w 477019"/>
                <a:gd name="connsiteY48" fmla="*/ 380589 h 397829"/>
                <a:gd name="connsiteX49" fmla="*/ 60171 w 477019"/>
                <a:gd name="connsiteY49" fmla="*/ 374299 h 397829"/>
                <a:gd name="connsiteX50" fmla="*/ 66137 w 477019"/>
                <a:gd name="connsiteY50" fmla="*/ 375131 h 397829"/>
                <a:gd name="connsiteX51" fmla="*/ 66923 w 477019"/>
                <a:gd name="connsiteY51" fmla="*/ 381236 h 397829"/>
                <a:gd name="connsiteX52" fmla="*/ 68958 w 477019"/>
                <a:gd name="connsiteY52" fmla="*/ 383133 h 397829"/>
                <a:gd name="connsiteX53" fmla="*/ 72566 w 477019"/>
                <a:gd name="connsiteY53" fmla="*/ 382161 h 397829"/>
                <a:gd name="connsiteX54" fmla="*/ 79272 w 477019"/>
                <a:gd name="connsiteY54" fmla="*/ 385260 h 397829"/>
                <a:gd name="connsiteX55" fmla="*/ 79642 w 477019"/>
                <a:gd name="connsiteY55" fmla="*/ 385260 h 397829"/>
                <a:gd name="connsiteX56" fmla="*/ 81677 w 477019"/>
                <a:gd name="connsiteY56" fmla="*/ 388544 h 397829"/>
                <a:gd name="connsiteX57" fmla="*/ 83388 w 477019"/>
                <a:gd name="connsiteY57" fmla="*/ 391226 h 397829"/>
                <a:gd name="connsiteX58" fmla="*/ 89909 w 477019"/>
                <a:gd name="connsiteY58" fmla="*/ 394279 h 397829"/>
                <a:gd name="connsiteX59" fmla="*/ 100223 w 477019"/>
                <a:gd name="connsiteY59" fmla="*/ 397748 h 397829"/>
                <a:gd name="connsiteX60" fmla="*/ 103784 w 477019"/>
                <a:gd name="connsiteY60" fmla="*/ 395898 h 397829"/>
                <a:gd name="connsiteX61" fmla="*/ 106976 w 477019"/>
                <a:gd name="connsiteY61" fmla="*/ 392059 h 397829"/>
                <a:gd name="connsiteX62" fmla="*/ 114699 w 477019"/>
                <a:gd name="connsiteY62" fmla="*/ 387110 h 397829"/>
                <a:gd name="connsiteX63" fmla="*/ 123024 w 477019"/>
                <a:gd name="connsiteY63" fmla="*/ 386925 h 397829"/>
                <a:gd name="connsiteX64" fmla="*/ 129915 w 477019"/>
                <a:gd name="connsiteY64" fmla="*/ 383780 h 397829"/>
                <a:gd name="connsiteX65" fmla="*/ 142357 w 477019"/>
                <a:gd name="connsiteY65" fmla="*/ 383965 h 397829"/>
                <a:gd name="connsiteX66" fmla="*/ 146982 w 477019"/>
                <a:gd name="connsiteY66" fmla="*/ 382670 h 397829"/>
                <a:gd name="connsiteX67" fmla="*/ 152717 w 477019"/>
                <a:gd name="connsiteY67" fmla="*/ 382994 h 397829"/>
                <a:gd name="connsiteX68" fmla="*/ 156833 w 477019"/>
                <a:gd name="connsiteY68" fmla="*/ 380728 h 397829"/>
                <a:gd name="connsiteX69" fmla="*/ 164140 w 477019"/>
                <a:gd name="connsiteY69" fmla="*/ 376195 h 397829"/>
                <a:gd name="connsiteX70" fmla="*/ 167424 w 477019"/>
                <a:gd name="connsiteY70" fmla="*/ 373374 h 397829"/>
                <a:gd name="connsiteX71" fmla="*/ 180420 w 477019"/>
                <a:gd name="connsiteY71" fmla="*/ 371802 h 397829"/>
                <a:gd name="connsiteX72" fmla="*/ 201140 w 477019"/>
                <a:gd name="connsiteY72" fmla="*/ 374206 h 397829"/>
                <a:gd name="connsiteX73" fmla="*/ 209604 w 477019"/>
                <a:gd name="connsiteY73" fmla="*/ 370969 h 397829"/>
                <a:gd name="connsiteX74" fmla="*/ 239759 w 477019"/>
                <a:gd name="connsiteY74" fmla="*/ 377398 h 397829"/>
                <a:gd name="connsiteX75" fmla="*/ 244846 w 477019"/>
                <a:gd name="connsiteY75" fmla="*/ 374299 h 397829"/>
                <a:gd name="connsiteX76" fmla="*/ 266722 w 477019"/>
                <a:gd name="connsiteY76" fmla="*/ 370645 h 397829"/>
                <a:gd name="connsiteX77" fmla="*/ 265890 w 477019"/>
                <a:gd name="connsiteY77" fmla="*/ 369581 h 397829"/>
                <a:gd name="connsiteX78" fmla="*/ 266491 w 477019"/>
                <a:gd name="connsiteY78" fmla="*/ 366113 h 397829"/>
                <a:gd name="connsiteX79" fmla="*/ 276111 w 477019"/>
                <a:gd name="connsiteY79" fmla="*/ 362089 h 397829"/>
                <a:gd name="connsiteX80" fmla="*/ 292113 w 477019"/>
                <a:gd name="connsiteY80" fmla="*/ 362968 h 397829"/>
                <a:gd name="connsiteX81" fmla="*/ 316117 w 477019"/>
                <a:gd name="connsiteY81" fmla="*/ 351498 h 397829"/>
                <a:gd name="connsiteX82" fmla="*/ 343635 w 477019"/>
                <a:gd name="connsiteY82" fmla="*/ 330408 h 397829"/>
                <a:gd name="connsiteX83" fmla="*/ 371709 w 477019"/>
                <a:gd name="connsiteY83" fmla="*/ 302334 h 397829"/>
                <a:gd name="connsiteX84" fmla="*/ 388775 w 477019"/>
                <a:gd name="connsiteY84" fmla="*/ 289292 h 397829"/>
                <a:gd name="connsiteX85" fmla="*/ 424249 w 477019"/>
                <a:gd name="connsiteY85" fmla="*/ 238787 h 397829"/>
                <a:gd name="connsiteX86" fmla="*/ 445061 w 477019"/>
                <a:gd name="connsiteY86" fmla="*/ 211639 h 397829"/>
                <a:gd name="connsiteX87" fmla="*/ 463746 w 477019"/>
                <a:gd name="connsiteY87" fmla="*/ 196145 h 397829"/>
                <a:gd name="connsiteX88" fmla="*/ 468972 w 477019"/>
                <a:gd name="connsiteY88" fmla="*/ 172373 h 397829"/>
                <a:gd name="connsiteX89" fmla="*/ 475401 w 477019"/>
                <a:gd name="connsiteY89" fmla="*/ 156602 h 397829"/>
                <a:gd name="connsiteX90" fmla="*/ 477020 w 477019"/>
                <a:gd name="connsiteY90" fmla="*/ 147675 h 397829"/>
                <a:gd name="connsiteX91" fmla="*/ 451628 w 477019"/>
                <a:gd name="connsiteY91" fmla="*/ 147675 h 397829"/>
                <a:gd name="connsiteX92" fmla="*/ 368472 w 477019"/>
                <a:gd name="connsiteY92" fmla="*/ 243042 h 397829"/>
                <a:gd name="connsiteX93" fmla="*/ 341277 w 477019"/>
                <a:gd name="connsiteY93" fmla="*/ 254605 h 397829"/>
                <a:gd name="connsiteX94" fmla="*/ 338409 w 477019"/>
                <a:gd name="connsiteY94" fmla="*/ 266167 h 397829"/>
                <a:gd name="connsiteX95" fmla="*/ 326292 w 477019"/>
                <a:gd name="connsiteY95" fmla="*/ 266167 h 397829"/>
                <a:gd name="connsiteX96" fmla="*/ 307237 w 477019"/>
                <a:gd name="connsiteY96" fmla="*/ 234948 h 397829"/>
                <a:gd name="connsiteX97" fmla="*/ 318799 w 477019"/>
                <a:gd name="connsiteY97" fmla="*/ 228011 h 397829"/>
                <a:gd name="connsiteX98" fmla="*/ 326292 w 477019"/>
                <a:gd name="connsiteY98" fmla="*/ 212379 h 397829"/>
                <a:gd name="connsiteX99" fmla="*/ 354042 w 477019"/>
                <a:gd name="connsiteY99" fmla="*/ 201973 h 397829"/>
                <a:gd name="connsiteX100" fmla="*/ 376611 w 477019"/>
                <a:gd name="connsiteY100" fmla="*/ 221027 h 397829"/>
                <a:gd name="connsiteX101" fmla="*/ 368518 w 477019"/>
                <a:gd name="connsiteY101" fmla="*/ 242996 h 39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77019" h="397829">
                  <a:moveTo>
                    <a:pt x="451721" y="147444"/>
                  </a:moveTo>
                  <a:lnTo>
                    <a:pt x="451721" y="161319"/>
                  </a:lnTo>
                  <a:lnTo>
                    <a:pt x="427810" y="159007"/>
                  </a:lnTo>
                  <a:lnTo>
                    <a:pt x="417404" y="132783"/>
                  </a:lnTo>
                  <a:lnTo>
                    <a:pt x="432805" y="112341"/>
                  </a:lnTo>
                  <a:lnTo>
                    <a:pt x="451675" y="120064"/>
                  </a:lnTo>
                  <a:lnTo>
                    <a:pt x="451675" y="71872"/>
                  </a:lnTo>
                  <a:lnTo>
                    <a:pt x="437430" y="42966"/>
                  </a:lnTo>
                  <a:lnTo>
                    <a:pt x="438586" y="31774"/>
                  </a:lnTo>
                  <a:lnTo>
                    <a:pt x="429336" y="7122"/>
                  </a:lnTo>
                  <a:lnTo>
                    <a:pt x="403113" y="7909"/>
                  </a:lnTo>
                  <a:lnTo>
                    <a:pt x="385861" y="0"/>
                  </a:lnTo>
                  <a:lnTo>
                    <a:pt x="365188" y="3052"/>
                  </a:lnTo>
                  <a:lnTo>
                    <a:pt x="361349" y="12626"/>
                  </a:lnTo>
                  <a:lnTo>
                    <a:pt x="342017" y="17899"/>
                  </a:lnTo>
                  <a:lnTo>
                    <a:pt x="308486" y="46203"/>
                  </a:lnTo>
                  <a:lnTo>
                    <a:pt x="300808" y="66045"/>
                  </a:lnTo>
                  <a:lnTo>
                    <a:pt x="274215" y="82232"/>
                  </a:lnTo>
                  <a:lnTo>
                    <a:pt x="264965" y="109982"/>
                  </a:lnTo>
                  <a:lnTo>
                    <a:pt x="245309" y="115162"/>
                  </a:lnTo>
                  <a:lnTo>
                    <a:pt x="217559" y="109982"/>
                  </a:lnTo>
                  <a:lnTo>
                    <a:pt x="203684" y="98419"/>
                  </a:lnTo>
                  <a:lnTo>
                    <a:pt x="187496" y="98974"/>
                  </a:lnTo>
                  <a:lnTo>
                    <a:pt x="180559" y="121544"/>
                  </a:lnTo>
                  <a:lnTo>
                    <a:pt x="153364" y="147537"/>
                  </a:lnTo>
                  <a:lnTo>
                    <a:pt x="120989" y="149294"/>
                  </a:lnTo>
                  <a:lnTo>
                    <a:pt x="118677" y="135419"/>
                  </a:lnTo>
                  <a:lnTo>
                    <a:pt x="127372" y="120989"/>
                  </a:lnTo>
                  <a:lnTo>
                    <a:pt x="101379" y="83435"/>
                  </a:lnTo>
                  <a:lnTo>
                    <a:pt x="101934" y="196746"/>
                  </a:lnTo>
                  <a:lnTo>
                    <a:pt x="80567" y="212379"/>
                  </a:lnTo>
                  <a:lnTo>
                    <a:pt x="32560" y="207199"/>
                  </a:lnTo>
                  <a:lnTo>
                    <a:pt x="16927" y="184074"/>
                  </a:lnTo>
                  <a:lnTo>
                    <a:pt x="0" y="203360"/>
                  </a:lnTo>
                  <a:lnTo>
                    <a:pt x="0" y="203545"/>
                  </a:lnTo>
                  <a:cubicBezTo>
                    <a:pt x="1943" y="205534"/>
                    <a:pt x="2451" y="206320"/>
                    <a:pt x="3099" y="207615"/>
                  </a:cubicBezTo>
                  <a:cubicBezTo>
                    <a:pt x="10915" y="222692"/>
                    <a:pt x="12349" y="225097"/>
                    <a:pt x="13597" y="228566"/>
                  </a:cubicBezTo>
                  <a:cubicBezTo>
                    <a:pt x="25160" y="260386"/>
                    <a:pt x="24651" y="259368"/>
                    <a:pt x="26316" y="262282"/>
                  </a:cubicBezTo>
                  <a:cubicBezTo>
                    <a:pt x="47499" y="299744"/>
                    <a:pt x="49626" y="297987"/>
                    <a:pt x="50458" y="303444"/>
                  </a:cubicBezTo>
                  <a:cubicBezTo>
                    <a:pt x="52678" y="318013"/>
                    <a:pt x="54112" y="322499"/>
                    <a:pt x="52262" y="325875"/>
                  </a:cubicBezTo>
                  <a:cubicBezTo>
                    <a:pt x="50551" y="328095"/>
                    <a:pt x="49395" y="333738"/>
                    <a:pt x="45695" y="332258"/>
                  </a:cubicBezTo>
                  <a:cubicBezTo>
                    <a:pt x="44816" y="332119"/>
                    <a:pt x="40515" y="329159"/>
                    <a:pt x="40145" y="332767"/>
                  </a:cubicBezTo>
                  <a:cubicBezTo>
                    <a:pt x="40237" y="335819"/>
                    <a:pt x="37879" y="341600"/>
                    <a:pt x="41763" y="341924"/>
                  </a:cubicBezTo>
                  <a:cubicBezTo>
                    <a:pt x="43151" y="342017"/>
                    <a:pt x="44724" y="343219"/>
                    <a:pt x="45232" y="344560"/>
                  </a:cubicBezTo>
                  <a:lnTo>
                    <a:pt x="46990" y="348954"/>
                  </a:lnTo>
                  <a:cubicBezTo>
                    <a:pt x="48516" y="352885"/>
                    <a:pt x="56702" y="365974"/>
                    <a:pt x="56425" y="365511"/>
                  </a:cubicBezTo>
                  <a:cubicBezTo>
                    <a:pt x="58367" y="368749"/>
                    <a:pt x="53650" y="369350"/>
                    <a:pt x="53326" y="373281"/>
                  </a:cubicBezTo>
                  <a:cubicBezTo>
                    <a:pt x="53372" y="374068"/>
                    <a:pt x="52540" y="377028"/>
                    <a:pt x="54528" y="379710"/>
                  </a:cubicBezTo>
                  <a:cubicBezTo>
                    <a:pt x="54991" y="380126"/>
                    <a:pt x="57165" y="383919"/>
                    <a:pt x="57303" y="380589"/>
                  </a:cubicBezTo>
                  <a:cubicBezTo>
                    <a:pt x="57535" y="379571"/>
                    <a:pt x="56563" y="374900"/>
                    <a:pt x="60171" y="374299"/>
                  </a:cubicBezTo>
                  <a:cubicBezTo>
                    <a:pt x="60633" y="374299"/>
                    <a:pt x="64102" y="373189"/>
                    <a:pt x="66137" y="375131"/>
                  </a:cubicBezTo>
                  <a:cubicBezTo>
                    <a:pt x="68218" y="377074"/>
                    <a:pt x="66877" y="381699"/>
                    <a:pt x="66923" y="381236"/>
                  </a:cubicBezTo>
                  <a:cubicBezTo>
                    <a:pt x="66646" y="382670"/>
                    <a:pt x="67571" y="383503"/>
                    <a:pt x="68958" y="383133"/>
                  </a:cubicBezTo>
                  <a:lnTo>
                    <a:pt x="72566" y="382161"/>
                  </a:lnTo>
                  <a:cubicBezTo>
                    <a:pt x="76405" y="381144"/>
                    <a:pt x="75295" y="385676"/>
                    <a:pt x="79272" y="385260"/>
                  </a:cubicBezTo>
                  <a:lnTo>
                    <a:pt x="79642" y="385260"/>
                  </a:lnTo>
                  <a:cubicBezTo>
                    <a:pt x="82695" y="384890"/>
                    <a:pt x="81769" y="389006"/>
                    <a:pt x="81677" y="388544"/>
                  </a:cubicBezTo>
                  <a:cubicBezTo>
                    <a:pt x="81446" y="389978"/>
                    <a:pt x="82232" y="391180"/>
                    <a:pt x="83388" y="391226"/>
                  </a:cubicBezTo>
                  <a:cubicBezTo>
                    <a:pt x="86256" y="391365"/>
                    <a:pt x="90372" y="394603"/>
                    <a:pt x="89909" y="394279"/>
                  </a:cubicBezTo>
                  <a:cubicBezTo>
                    <a:pt x="93239" y="396545"/>
                    <a:pt x="100686" y="397840"/>
                    <a:pt x="100223" y="397748"/>
                  </a:cubicBezTo>
                  <a:cubicBezTo>
                    <a:pt x="102767" y="398349"/>
                    <a:pt x="104247" y="395435"/>
                    <a:pt x="103784" y="395898"/>
                  </a:cubicBezTo>
                  <a:cubicBezTo>
                    <a:pt x="104339" y="394556"/>
                    <a:pt x="105773" y="392845"/>
                    <a:pt x="106976" y="392059"/>
                  </a:cubicBezTo>
                  <a:lnTo>
                    <a:pt x="114699" y="387110"/>
                  </a:lnTo>
                  <a:cubicBezTo>
                    <a:pt x="117798" y="385121"/>
                    <a:pt x="123487" y="386925"/>
                    <a:pt x="123024" y="386925"/>
                  </a:cubicBezTo>
                  <a:cubicBezTo>
                    <a:pt x="126956" y="387711"/>
                    <a:pt x="125938" y="383179"/>
                    <a:pt x="129915" y="383780"/>
                  </a:cubicBezTo>
                  <a:cubicBezTo>
                    <a:pt x="137824" y="385029"/>
                    <a:pt x="139905" y="385676"/>
                    <a:pt x="142357" y="383965"/>
                  </a:cubicBezTo>
                  <a:cubicBezTo>
                    <a:pt x="143467" y="383179"/>
                    <a:pt x="145548" y="382578"/>
                    <a:pt x="146982" y="382670"/>
                  </a:cubicBezTo>
                  <a:lnTo>
                    <a:pt x="152717" y="382994"/>
                  </a:lnTo>
                  <a:cubicBezTo>
                    <a:pt x="155399" y="383133"/>
                    <a:pt x="157295" y="380311"/>
                    <a:pt x="156833" y="380728"/>
                  </a:cubicBezTo>
                  <a:cubicBezTo>
                    <a:pt x="158822" y="377583"/>
                    <a:pt x="163123" y="379433"/>
                    <a:pt x="164140" y="376195"/>
                  </a:cubicBezTo>
                  <a:cubicBezTo>
                    <a:pt x="164557" y="374900"/>
                    <a:pt x="166036" y="373651"/>
                    <a:pt x="167424" y="373374"/>
                  </a:cubicBezTo>
                  <a:cubicBezTo>
                    <a:pt x="173159" y="372218"/>
                    <a:pt x="176998" y="371108"/>
                    <a:pt x="180420" y="371802"/>
                  </a:cubicBezTo>
                  <a:cubicBezTo>
                    <a:pt x="196654" y="375131"/>
                    <a:pt x="198273" y="376056"/>
                    <a:pt x="201140" y="374206"/>
                  </a:cubicBezTo>
                  <a:cubicBezTo>
                    <a:pt x="202990" y="373281"/>
                    <a:pt x="205858" y="370183"/>
                    <a:pt x="209604" y="370969"/>
                  </a:cubicBezTo>
                  <a:lnTo>
                    <a:pt x="239759" y="377398"/>
                  </a:lnTo>
                  <a:cubicBezTo>
                    <a:pt x="242950" y="378091"/>
                    <a:pt x="245355" y="373883"/>
                    <a:pt x="244846" y="374299"/>
                  </a:cubicBezTo>
                  <a:cubicBezTo>
                    <a:pt x="248685" y="368795"/>
                    <a:pt x="270838" y="375964"/>
                    <a:pt x="266722" y="370645"/>
                  </a:cubicBezTo>
                  <a:lnTo>
                    <a:pt x="265890" y="369581"/>
                  </a:lnTo>
                  <a:cubicBezTo>
                    <a:pt x="265011" y="368425"/>
                    <a:pt x="265288" y="366899"/>
                    <a:pt x="266491" y="366113"/>
                  </a:cubicBezTo>
                  <a:cubicBezTo>
                    <a:pt x="269451" y="364263"/>
                    <a:pt x="272642" y="361580"/>
                    <a:pt x="276111" y="362089"/>
                  </a:cubicBezTo>
                  <a:cubicBezTo>
                    <a:pt x="286286" y="363523"/>
                    <a:pt x="288922" y="364402"/>
                    <a:pt x="292113" y="362968"/>
                  </a:cubicBezTo>
                  <a:cubicBezTo>
                    <a:pt x="309087" y="355337"/>
                    <a:pt x="313157" y="353718"/>
                    <a:pt x="316117" y="351498"/>
                  </a:cubicBezTo>
                  <a:cubicBezTo>
                    <a:pt x="340259" y="333414"/>
                    <a:pt x="341230" y="332813"/>
                    <a:pt x="343635" y="330408"/>
                  </a:cubicBezTo>
                  <a:lnTo>
                    <a:pt x="371709" y="302334"/>
                  </a:lnTo>
                  <a:cubicBezTo>
                    <a:pt x="374761" y="299282"/>
                    <a:pt x="389238" y="288968"/>
                    <a:pt x="388775" y="289292"/>
                  </a:cubicBezTo>
                  <a:cubicBezTo>
                    <a:pt x="402280" y="279348"/>
                    <a:pt x="417866" y="247528"/>
                    <a:pt x="424249" y="238787"/>
                  </a:cubicBezTo>
                  <a:cubicBezTo>
                    <a:pt x="442194" y="214136"/>
                    <a:pt x="442194" y="213674"/>
                    <a:pt x="445061" y="211639"/>
                  </a:cubicBezTo>
                  <a:cubicBezTo>
                    <a:pt x="461803" y="199706"/>
                    <a:pt x="463006" y="199429"/>
                    <a:pt x="463746" y="196145"/>
                  </a:cubicBezTo>
                  <a:lnTo>
                    <a:pt x="468972" y="172373"/>
                  </a:lnTo>
                  <a:cubicBezTo>
                    <a:pt x="469851" y="168349"/>
                    <a:pt x="475632" y="156139"/>
                    <a:pt x="475401" y="156602"/>
                  </a:cubicBezTo>
                  <a:cubicBezTo>
                    <a:pt x="475910" y="155445"/>
                    <a:pt x="476465" y="151977"/>
                    <a:pt x="477020" y="147675"/>
                  </a:cubicBezTo>
                  <a:lnTo>
                    <a:pt x="451628" y="147675"/>
                  </a:lnTo>
                  <a:close/>
                  <a:moveTo>
                    <a:pt x="368472" y="243042"/>
                  </a:moveTo>
                  <a:lnTo>
                    <a:pt x="341277" y="254605"/>
                  </a:lnTo>
                  <a:lnTo>
                    <a:pt x="338409" y="266167"/>
                  </a:lnTo>
                  <a:lnTo>
                    <a:pt x="326292" y="266167"/>
                  </a:lnTo>
                  <a:lnTo>
                    <a:pt x="307237" y="234948"/>
                  </a:lnTo>
                  <a:lnTo>
                    <a:pt x="318799" y="228011"/>
                  </a:lnTo>
                  <a:lnTo>
                    <a:pt x="326292" y="212379"/>
                  </a:lnTo>
                  <a:lnTo>
                    <a:pt x="354042" y="201973"/>
                  </a:lnTo>
                  <a:lnTo>
                    <a:pt x="376611" y="221027"/>
                  </a:lnTo>
                  <a:lnTo>
                    <a:pt x="368518" y="242996"/>
                  </a:lnTo>
                  <a:close/>
                </a:path>
              </a:pathLst>
            </a:custGeom>
            <a:grpFill/>
            <a:ln w="4609" cap="flat">
              <a:noFill/>
              <a:prstDash val="solid"/>
              <a:miter/>
            </a:ln>
          </p:spPr>
          <p:txBody>
            <a:bodyPr rtlCol="0" anchor="ctr"/>
            <a:lstStyle/>
            <a:p>
              <a:endParaRPr lang="en-IN"/>
            </a:p>
          </p:txBody>
        </p:sp>
        <p:grpSp>
          <p:nvGrpSpPr>
            <p:cNvPr id="79" name="Graphic 36">
              <a:extLst>
                <a:ext uri="{FF2B5EF4-FFF2-40B4-BE49-F238E27FC236}">
                  <a16:creationId xmlns:a16="http://schemas.microsoft.com/office/drawing/2014/main" id="{B8F756C1-B56F-67FD-B27F-0BBF00901E0C}"/>
                </a:ext>
              </a:extLst>
            </p:cNvPr>
            <p:cNvGrpSpPr/>
            <p:nvPr/>
          </p:nvGrpSpPr>
          <p:grpSpPr>
            <a:xfrm>
              <a:off x="7018001" y="4677800"/>
              <a:ext cx="306723" cy="396656"/>
              <a:chOff x="7018001" y="4677800"/>
              <a:chExt cx="306723" cy="396656"/>
            </a:xfrm>
            <a:grpFill/>
          </p:grpSpPr>
          <p:sp>
            <p:nvSpPr>
              <p:cNvPr id="167" name="Freeform: Shape 166">
                <a:extLst>
                  <a:ext uri="{FF2B5EF4-FFF2-40B4-BE49-F238E27FC236}">
                    <a16:creationId xmlns:a16="http://schemas.microsoft.com/office/drawing/2014/main" id="{B42C5B9F-C250-D7D1-E1B4-C1F3403D9519}"/>
                  </a:ext>
                </a:extLst>
              </p:cNvPr>
              <p:cNvSpPr/>
              <p:nvPr/>
            </p:nvSpPr>
            <p:spPr>
              <a:xfrm>
                <a:off x="7018001" y="4677800"/>
                <a:ext cx="301186" cy="396656"/>
              </a:xfrm>
              <a:custGeom>
                <a:avLst/>
                <a:gdLst>
                  <a:gd name="connsiteX0" fmla="*/ 139 w 301186"/>
                  <a:gd name="connsiteY0" fmla="*/ 377231 h 396656"/>
                  <a:gd name="connsiteX1" fmla="*/ 17251 w 301186"/>
                  <a:gd name="connsiteY1" fmla="*/ 396656 h 396656"/>
                  <a:gd name="connsiteX2" fmla="*/ 17251 w 301186"/>
                  <a:gd name="connsiteY2" fmla="*/ 396656 h 396656"/>
                  <a:gd name="connsiteX3" fmla="*/ 36537 w 301186"/>
                  <a:gd name="connsiteY3" fmla="*/ 369877 h 396656"/>
                  <a:gd name="connsiteX4" fmla="*/ 97864 w 301186"/>
                  <a:gd name="connsiteY4" fmla="*/ 309198 h 396656"/>
                  <a:gd name="connsiteX5" fmla="*/ 124088 w 301186"/>
                  <a:gd name="connsiteY5" fmla="*/ 290420 h 396656"/>
                  <a:gd name="connsiteX6" fmla="*/ 150728 w 301186"/>
                  <a:gd name="connsiteY6" fmla="*/ 275297 h 396656"/>
                  <a:gd name="connsiteX7" fmla="*/ 203499 w 301186"/>
                  <a:gd name="connsiteY7" fmla="*/ 218733 h 396656"/>
                  <a:gd name="connsiteX8" fmla="*/ 236983 w 301186"/>
                  <a:gd name="connsiteY8" fmla="*/ 165407 h 396656"/>
                  <a:gd name="connsiteX9" fmla="*/ 239944 w 301186"/>
                  <a:gd name="connsiteY9" fmla="*/ 154539 h 396656"/>
                  <a:gd name="connsiteX10" fmla="*/ 258582 w 301186"/>
                  <a:gd name="connsiteY10" fmla="*/ 121424 h 396656"/>
                  <a:gd name="connsiteX11" fmla="*/ 260987 w 301186"/>
                  <a:gd name="connsiteY11" fmla="*/ 115920 h 396656"/>
                  <a:gd name="connsiteX12" fmla="*/ 269220 w 301186"/>
                  <a:gd name="connsiteY12" fmla="*/ 107503 h 396656"/>
                  <a:gd name="connsiteX13" fmla="*/ 274353 w 301186"/>
                  <a:gd name="connsiteY13" fmla="*/ 97420 h 396656"/>
                  <a:gd name="connsiteX14" fmla="*/ 278423 w 301186"/>
                  <a:gd name="connsiteY14" fmla="*/ 88263 h 396656"/>
                  <a:gd name="connsiteX15" fmla="*/ 283511 w 301186"/>
                  <a:gd name="connsiteY15" fmla="*/ 81927 h 396656"/>
                  <a:gd name="connsiteX16" fmla="*/ 288644 w 301186"/>
                  <a:gd name="connsiteY16" fmla="*/ 73278 h 396656"/>
                  <a:gd name="connsiteX17" fmla="*/ 287858 w 301186"/>
                  <a:gd name="connsiteY17" fmla="*/ 68237 h 396656"/>
                  <a:gd name="connsiteX18" fmla="*/ 292437 w 301186"/>
                  <a:gd name="connsiteY18" fmla="*/ 46268 h 396656"/>
                  <a:gd name="connsiteX19" fmla="*/ 295813 w 301186"/>
                  <a:gd name="connsiteY19" fmla="*/ 41643 h 396656"/>
                  <a:gd name="connsiteX20" fmla="*/ 297108 w 301186"/>
                  <a:gd name="connsiteY20" fmla="*/ 21478 h 396656"/>
                  <a:gd name="connsiteX21" fmla="*/ 296461 w 301186"/>
                  <a:gd name="connsiteY21" fmla="*/ 15697 h 396656"/>
                  <a:gd name="connsiteX22" fmla="*/ 299467 w 301186"/>
                  <a:gd name="connsiteY22" fmla="*/ 1961 h 396656"/>
                  <a:gd name="connsiteX23" fmla="*/ 280874 w 301186"/>
                  <a:gd name="connsiteY23" fmla="*/ 1868 h 396656"/>
                  <a:gd name="connsiteX24" fmla="*/ 275880 w 301186"/>
                  <a:gd name="connsiteY24" fmla="*/ 8020 h 396656"/>
                  <a:gd name="connsiteX25" fmla="*/ 265751 w 301186"/>
                  <a:gd name="connsiteY25" fmla="*/ 13385 h 396656"/>
                  <a:gd name="connsiteX26" fmla="*/ 250951 w 301186"/>
                  <a:gd name="connsiteY26" fmla="*/ 14726 h 396656"/>
                  <a:gd name="connsiteX27" fmla="*/ 236845 w 301186"/>
                  <a:gd name="connsiteY27" fmla="*/ 20322 h 396656"/>
                  <a:gd name="connsiteX28" fmla="*/ 230462 w 301186"/>
                  <a:gd name="connsiteY28" fmla="*/ 18796 h 396656"/>
                  <a:gd name="connsiteX29" fmla="*/ 225652 w 301186"/>
                  <a:gd name="connsiteY29" fmla="*/ 17732 h 396656"/>
                  <a:gd name="connsiteX30" fmla="*/ 219686 w 301186"/>
                  <a:gd name="connsiteY30" fmla="*/ 18472 h 396656"/>
                  <a:gd name="connsiteX31" fmla="*/ 212379 w 301186"/>
                  <a:gd name="connsiteY31" fmla="*/ 22681 h 396656"/>
                  <a:gd name="connsiteX32" fmla="*/ 207754 w 301186"/>
                  <a:gd name="connsiteY32" fmla="*/ 24485 h 396656"/>
                  <a:gd name="connsiteX33" fmla="*/ 199614 w 301186"/>
                  <a:gd name="connsiteY33" fmla="*/ 24808 h 396656"/>
                  <a:gd name="connsiteX34" fmla="*/ 186340 w 301186"/>
                  <a:gd name="connsiteY34" fmla="*/ 23143 h 396656"/>
                  <a:gd name="connsiteX35" fmla="*/ 159839 w 301186"/>
                  <a:gd name="connsiteY35" fmla="*/ 36140 h 396656"/>
                  <a:gd name="connsiteX36" fmla="*/ 138333 w 301186"/>
                  <a:gd name="connsiteY36" fmla="*/ 33411 h 396656"/>
                  <a:gd name="connsiteX37" fmla="*/ 112618 w 301186"/>
                  <a:gd name="connsiteY37" fmla="*/ 45436 h 396656"/>
                  <a:gd name="connsiteX38" fmla="*/ 97957 w 301186"/>
                  <a:gd name="connsiteY38" fmla="*/ 44465 h 396656"/>
                  <a:gd name="connsiteX39" fmla="*/ 75850 w 301186"/>
                  <a:gd name="connsiteY39" fmla="*/ 23976 h 396656"/>
                  <a:gd name="connsiteX40" fmla="*/ 74416 w 301186"/>
                  <a:gd name="connsiteY40" fmla="*/ 19166 h 396656"/>
                  <a:gd name="connsiteX41" fmla="*/ 72520 w 301186"/>
                  <a:gd name="connsiteY41" fmla="*/ 15281 h 396656"/>
                  <a:gd name="connsiteX42" fmla="*/ 67802 w 301186"/>
                  <a:gd name="connsiteY42" fmla="*/ 12598 h 396656"/>
                  <a:gd name="connsiteX43" fmla="*/ 67802 w 301186"/>
                  <a:gd name="connsiteY43" fmla="*/ 12598 h 396656"/>
                  <a:gd name="connsiteX44" fmla="*/ 49302 w 301186"/>
                  <a:gd name="connsiteY44" fmla="*/ 41181 h 396656"/>
                  <a:gd name="connsiteX45" fmla="*/ 55870 w 301186"/>
                  <a:gd name="connsiteY45" fmla="*/ 55379 h 396656"/>
                  <a:gd name="connsiteX46" fmla="*/ 66183 w 301186"/>
                  <a:gd name="connsiteY46" fmla="*/ 61068 h 396656"/>
                  <a:gd name="connsiteX47" fmla="*/ 68773 w 301186"/>
                  <a:gd name="connsiteY47" fmla="*/ 71659 h 396656"/>
                  <a:gd name="connsiteX48" fmla="*/ 85146 w 301186"/>
                  <a:gd name="connsiteY48" fmla="*/ 86690 h 396656"/>
                  <a:gd name="connsiteX49" fmla="*/ 178801 w 301186"/>
                  <a:gd name="connsiteY49" fmla="*/ 118279 h 396656"/>
                  <a:gd name="connsiteX50" fmla="*/ 203869 w 301186"/>
                  <a:gd name="connsiteY50" fmla="*/ 118279 h 396656"/>
                  <a:gd name="connsiteX51" fmla="*/ 115994 w 301186"/>
                  <a:gd name="connsiteY51" fmla="*/ 208836 h 396656"/>
                  <a:gd name="connsiteX52" fmla="*/ 83619 w 301186"/>
                  <a:gd name="connsiteY52" fmla="*/ 206523 h 396656"/>
                  <a:gd name="connsiteX53" fmla="*/ 58968 w 301186"/>
                  <a:gd name="connsiteY53" fmla="*/ 216143 h 396656"/>
                  <a:gd name="connsiteX54" fmla="*/ 56656 w 301186"/>
                  <a:gd name="connsiteY54" fmla="*/ 224607 h 396656"/>
                  <a:gd name="connsiteX55" fmla="*/ 32005 w 301186"/>
                  <a:gd name="connsiteY55" fmla="*/ 228076 h 396656"/>
                  <a:gd name="connsiteX56" fmla="*/ 25437 w 301186"/>
                  <a:gd name="connsiteY56" fmla="*/ 236540 h 396656"/>
                  <a:gd name="connsiteX57" fmla="*/ 0 w 301186"/>
                  <a:gd name="connsiteY57" fmla="*/ 269701 h 396656"/>
                  <a:gd name="connsiteX58" fmla="*/ 0 w 301186"/>
                  <a:gd name="connsiteY58" fmla="*/ 377231 h 39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01186" h="396656">
                    <a:moveTo>
                      <a:pt x="139" y="377231"/>
                    </a:moveTo>
                    <a:lnTo>
                      <a:pt x="17251" y="396656"/>
                    </a:lnTo>
                    <a:lnTo>
                      <a:pt x="17251" y="396656"/>
                    </a:lnTo>
                    <a:cubicBezTo>
                      <a:pt x="32005" y="375612"/>
                      <a:pt x="34317" y="372375"/>
                      <a:pt x="36537" y="369877"/>
                    </a:cubicBezTo>
                    <a:cubicBezTo>
                      <a:pt x="54621" y="349805"/>
                      <a:pt x="74184" y="326588"/>
                      <a:pt x="97864" y="309198"/>
                    </a:cubicBezTo>
                    <a:cubicBezTo>
                      <a:pt x="118769" y="293797"/>
                      <a:pt x="120943" y="292132"/>
                      <a:pt x="124088" y="290420"/>
                    </a:cubicBezTo>
                    <a:cubicBezTo>
                      <a:pt x="147352" y="278026"/>
                      <a:pt x="148230" y="277979"/>
                      <a:pt x="150728" y="275297"/>
                    </a:cubicBezTo>
                    <a:lnTo>
                      <a:pt x="203499" y="218733"/>
                    </a:lnTo>
                    <a:cubicBezTo>
                      <a:pt x="206320" y="215727"/>
                      <a:pt x="236151" y="169894"/>
                      <a:pt x="236983" y="165407"/>
                    </a:cubicBezTo>
                    <a:cubicBezTo>
                      <a:pt x="237862" y="160736"/>
                      <a:pt x="238186" y="157499"/>
                      <a:pt x="239944" y="154539"/>
                    </a:cubicBezTo>
                    <a:cubicBezTo>
                      <a:pt x="258073" y="124477"/>
                      <a:pt x="258166" y="124846"/>
                      <a:pt x="258582" y="121424"/>
                    </a:cubicBezTo>
                    <a:cubicBezTo>
                      <a:pt x="258721" y="120962"/>
                      <a:pt x="258582" y="118048"/>
                      <a:pt x="260987" y="115920"/>
                    </a:cubicBezTo>
                    <a:cubicBezTo>
                      <a:pt x="264780" y="112590"/>
                      <a:pt x="267555" y="110370"/>
                      <a:pt x="269220" y="107503"/>
                    </a:cubicBezTo>
                    <a:cubicBezTo>
                      <a:pt x="271440" y="103710"/>
                      <a:pt x="273428" y="100843"/>
                      <a:pt x="274353" y="97420"/>
                    </a:cubicBezTo>
                    <a:cubicBezTo>
                      <a:pt x="275325" y="93905"/>
                      <a:pt x="275787" y="90390"/>
                      <a:pt x="278423" y="88263"/>
                    </a:cubicBezTo>
                    <a:cubicBezTo>
                      <a:pt x="279348" y="87292"/>
                      <a:pt x="283511" y="84933"/>
                      <a:pt x="283511" y="81927"/>
                    </a:cubicBezTo>
                    <a:cubicBezTo>
                      <a:pt x="283511" y="78504"/>
                      <a:pt x="289014" y="72816"/>
                      <a:pt x="288644" y="73278"/>
                    </a:cubicBezTo>
                    <a:cubicBezTo>
                      <a:pt x="291049" y="70272"/>
                      <a:pt x="287442" y="72168"/>
                      <a:pt x="287858" y="68237"/>
                    </a:cubicBezTo>
                    <a:cubicBezTo>
                      <a:pt x="289939" y="50292"/>
                      <a:pt x="289523" y="48211"/>
                      <a:pt x="292437" y="46268"/>
                    </a:cubicBezTo>
                    <a:cubicBezTo>
                      <a:pt x="292899" y="45806"/>
                      <a:pt x="295397" y="44742"/>
                      <a:pt x="295813" y="41643"/>
                    </a:cubicBezTo>
                    <a:cubicBezTo>
                      <a:pt x="297617" y="28786"/>
                      <a:pt x="298819" y="24808"/>
                      <a:pt x="297108" y="21478"/>
                    </a:cubicBezTo>
                    <a:cubicBezTo>
                      <a:pt x="296969" y="21016"/>
                      <a:pt x="295212" y="18703"/>
                      <a:pt x="296461" y="15697"/>
                    </a:cubicBezTo>
                    <a:cubicBezTo>
                      <a:pt x="300762" y="5476"/>
                      <a:pt x="302936" y="2424"/>
                      <a:pt x="299467" y="1961"/>
                    </a:cubicBezTo>
                    <a:cubicBezTo>
                      <a:pt x="284713" y="-74"/>
                      <a:pt x="282540" y="-1138"/>
                      <a:pt x="280874" y="1868"/>
                    </a:cubicBezTo>
                    <a:cubicBezTo>
                      <a:pt x="280319" y="2701"/>
                      <a:pt x="279071" y="6355"/>
                      <a:pt x="275880" y="8020"/>
                    </a:cubicBezTo>
                    <a:lnTo>
                      <a:pt x="265751" y="13385"/>
                    </a:lnTo>
                    <a:cubicBezTo>
                      <a:pt x="261080" y="15836"/>
                      <a:pt x="256131" y="12691"/>
                      <a:pt x="250951" y="14726"/>
                    </a:cubicBezTo>
                    <a:lnTo>
                      <a:pt x="236845" y="20322"/>
                    </a:lnTo>
                    <a:cubicBezTo>
                      <a:pt x="233746" y="21525"/>
                      <a:pt x="230000" y="18611"/>
                      <a:pt x="230462" y="18796"/>
                    </a:cubicBezTo>
                    <a:cubicBezTo>
                      <a:pt x="229260" y="18010"/>
                      <a:pt x="227086" y="17547"/>
                      <a:pt x="225652" y="17732"/>
                    </a:cubicBezTo>
                    <a:lnTo>
                      <a:pt x="219686" y="18472"/>
                    </a:lnTo>
                    <a:cubicBezTo>
                      <a:pt x="216032" y="18935"/>
                      <a:pt x="211916" y="23005"/>
                      <a:pt x="212379" y="22681"/>
                    </a:cubicBezTo>
                    <a:cubicBezTo>
                      <a:pt x="211269" y="23606"/>
                      <a:pt x="209187" y="24392"/>
                      <a:pt x="207754" y="24485"/>
                    </a:cubicBezTo>
                    <a:lnTo>
                      <a:pt x="199614" y="24808"/>
                    </a:lnTo>
                    <a:cubicBezTo>
                      <a:pt x="193694" y="25040"/>
                      <a:pt x="190410" y="20831"/>
                      <a:pt x="186340" y="23143"/>
                    </a:cubicBezTo>
                    <a:cubicBezTo>
                      <a:pt x="163539" y="35908"/>
                      <a:pt x="163308" y="36833"/>
                      <a:pt x="159839" y="36140"/>
                    </a:cubicBezTo>
                    <a:cubicBezTo>
                      <a:pt x="142819" y="32671"/>
                      <a:pt x="141385" y="31838"/>
                      <a:pt x="138333" y="33411"/>
                    </a:cubicBezTo>
                    <a:cubicBezTo>
                      <a:pt x="116688" y="44835"/>
                      <a:pt x="116087" y="45621"/>
                      <a:pt x="112618" y="45436"/>
                    </a:cubicBezTo>
                    <a:cubicBezTo>
                      <a:pt x="112618" y="45436"/>
                      <a:pt x="99344" y="44742"/>
                      <a:pt x="97957" y="44465"/>
                    </a:cubicBezTo>
                    <a:cubicBezTo>
                      <a:pt x="96569" y="44187"/>
                      <a:pt x="75850" y="23976"/>
                      <a:pt x="75850" y="23976"/>
                    </a:cubicBezTo>
                    <a:cubicBezTo>
                      <a:pt x="73861" y="22033"/>
                      <a:pt x="74369" y="18703"/>
                      <a:pt x="74416" y="19166"/>
                    </a:cubicBezTo>
                    <a:cubicBezTo>
                      <a:pt x="74647" y="17732"/>
                      <a:pt x="73768" y="15975"/>
                      <a:pt x="72520" y="15281"/>
                    </a:cubicBezTo>
                    <a:cubicBezTo>
                      <a:pt x="70670" y="14217"/>
                      <a:pt x="69143" y="13338"/>
                      <a:pt x="67802" y="12598"/>
                    </a:cubicBezTo>
                    <a:lnTo>
                      <a:pt x="67802" y="12598"/>
                    </a:lnTo>
                    <a:cubicBezTo>
                      <a:pt x="67802" y="12598"/>
                      <a:pt x="49302" y="41181"/>
                      <a:pt x="49302" y="41181"/>
                    </a:cubicBezTo>
                    <a:lnTo>
                      <a:pt x="55870" y="55379"/>
                    </a:lnTo>
                    <a:lnTo>
                      <a:pt x="66183" y="61068"/>
                    </a:lnTo>
                    <a:lnTo>
                      <a:pt x="68773" y="71659"/>
                    </a:lnTo>
                    <a:lnTo>
                      <a:pt x="85146" y="86690"/>
                    </a:lnTo>
                    <a:lnTo>
                      <a:pt x="178801" y="118279"/>
                    </a:lnTo>
                    <a:lnTo>
                      <a:pt x="203869" y="118279"/>
                    </a:lnTo>
                    <a:lnTo>
                      <a:pt x="115994" y="208836"/>
                    </a:lnTo>
                    <a:lnTo>
                      <a:pt x="83619" y="206523"/>
                    </a:lnTo>
                    <a:lnTo>
                      <a:pt x="58968" y="216143"/>
                    </a:lnTo>
                    <a:lnTo>
                      <a:pt x="56656" y="224607"/>
                    </a:lnTo>
                    <a:lnTo>
                      <a:pt x="32005" y="228076"/>
                    </a:lnTo>
                    <a:lnTo>
                      <a:pt x="25437" y="236540"/>
                    </a:lnTo>
                    <a:lnTo>
                      <a:pt x="0" y="269701"/>
                    </a:lnTo>
                    <a:lnTo>
                      <a:pt x="0" y="377231"/>
                    </a:lnTo>
                    <a:close/>
                  </a:path>
                </a:pathLst>
              </a:custGeom>
              <a:grpFill/>
              <a:ln w="4609"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AC7FC707-A82B-FD06-10A0-F0273F2D189F}"/>
                  </a:ext>
                </a:extLst>
              </p:cNvPr>
              <p:cNvSpPr/>
              <p:nvPr/>
            </p:nvSpPr>
            <p:spPr>
              <a:xfrm>
                <a:off x="7316534" y="4719179"/>
                <a:ext cx="8191" cy="5438"/>
              </a:xfrm>
              <a:custGeom>
                <a:avLst/>
                <a:gdLst>
                  <a:gd name="connsiteX0" fmla="*/ 6901 w 8191"/>
                  <a:gd name="connsiteY0" fmla="*/ 681 h 5438"/>
                  <a:gd name="connsiteX1" fmla="*/ 287 w 8191"/>
                  <a:gd name="connsiteY1" fmla="*/ 1929 h 5438"/>
                  <a:gd name="connsiteX2" fmla="*/ 4912 w 8191"/>
                  <a:gd name="connsiteY2" fmla="*/ 4843 h 5438"/>
                  <a:gd name="connsiteX3" fmla="*/ 6901 w 8191"/>
                  <a:gd name="connsiteY3" fmla="*/ 681 h 5438"/>
                </a:gdLst>
                <a:ahLst/>
                <a:cxnLst>
                  <a:cxn ang="0">
                    <a:pos x="connsiteX0" y="connsiteY0"/>
                  </a:cxn>
                  <a:cxn ang="0">
                    <a:pos x="connsiteX1" y="connsiteY1"/>
                  </a:cxn>
                  <a:cxn ang="0">
                    <a:pos x="connsiteX2" y="connsiteY2"/>
                  </a:cxn>
                  <a:cxn ang="0">
                    <a:pos x="connsiteX3" y="connsiteY3"/>
                  </a:cxn>
                </a:cxnLst>
                <a:rect l="l" t="t" r="r" b="b"/>
                <a:pathLst>
                  <a:path w="8191" h="5438">
                    <a:moveTo>
                      <a:pt x="6901" y="681"/>
                    </a:moveTo>
                    <a:cubicBezTo>
                      <a:pt x="6901" y="681"/>
                      <a:pt x="-1655" y="-1493"/>
                      <a:pt x="287" y="1929"/>
                    </a:cubicBezTo>
                    <a:cubicBezTo>
                      <a:pt x="703" y="2392"/>
                      <a:pt x="2183" y="7063"/>
                      <a:pt x="4912" y="4843"/>
                    </a:cubicBezTo>
                    <a:cubicBezTo>
                      <a:pt x="5467" y="4149"/>
                      <a:pt x="10508" y="1189"/>
                      <a:pt x="6901" y="681"/>
                    </a:cubicBezTo>
                    <a:close/>
                  </a:path>
                </a:pathLst>
              </a:custGeom>
              <a:grpFill/>
              <a:ln w="4609" cap="flat">
                <a:noFill/>
                <a:prstDash val="solid"/>
                <a:miter/>
              </a:ln>
            </p:spPr>
            <p:txBody>
              <a:bodyPr rtlCol="0" anchor="ctr"/>
              <a:lstStyle/>
              <a:p>
                <a:endParaRPr lang="en-IN"/>
              </a:p>
            </p:txBody>
          </p:sp>
        </p:grpSp>
        <p:grpSp>
          <p:nvGrpSpPr>
            <p:cNvPr id="80" name="Graphic 36">
              <a:extLst>
                <a:ext uri="{FF2B5EF4-FFF2-40B4-BE49-F238E27FC236}">
                  <a16:creationId xmlns:a16="http://schemas.microsoft.com/office/drawing/2014/main" id="{81BD0373-1EAD-2392-B2E7-0F98319C37D9}"/>
                </a:ext>
              </a:extLst>
            </p:cNvPr>
            <p:cNvGrpSpPr/>
            <p:nvPr/>
          </p:nvGrpSpPr>
          <p:grpSpPr>
            <a:xfrm>
              <a:off x="5435012" y="4736232"/>
              <a:ext cx="90557" cy="89539"/>
              <a:chOff x="5435012" y="4736232"/>
              <a:chExt cx="90557" cy="89539"/>
            </a:xfrm>
            <a:grpFill/>
          </p:grpSpPr>
          <p:sp>
            <p:nvSpPr>
              <p:cNvPr id="165" name="Freeform: Shape 164">
                <a:extLst>
                  <a:ext uri="{FF2B5EF4-FFF2-40B4-BE49-F238E27FC236}">
                    <a16:creationId xmlns:a16="http://schemas.microsoft.com/office/drawing/2014/main" id="{B0D48CAE-0B83-2FA6-8536-94A60D803D3D}"/>
                  </a:ext>
                </a:extLst>
              </p:cNvPr>
              <p:cNvSpPr/>
              <p:nvPr/>
            </p:nvSpPr>
            <p:spPr>
              <a:xfrm>
                <a:off x="5445759" y="4803819"/>
                <a:ext cx="10192" cy="6364"/>
              </a:xfrm>
              <a:custGeom>
                <a:avLst/>
                <a:gdLst>
                  <a:gd name="connsiteX0" fmla="*/ 2481 w 10192"/>
                  <a:gd name="connsiteY0" fmla="*/ 76 h 6364"/>
                  <a:gd name="connsiteX1" fmla="*/ 2481 w 10192"/>
                  <a:gd name="connsiteY1" fmla="*/ 4239 h 6364"/>
                  <a:gd name="connsiteX2" fmla="*/ 8077 w 10192"/>
                  <a:gd name="connsiteY2" fmla="*/ 6228 h 6364"/>
                  <a:gd name="connsiteX3" fmla="*/ 10158 w 10192"/>
                  <a:gd name="connsiteY3" fmla="*/ 4516 h 6364"/>
                  <a:gd name="connsiteX4" fmla="*/ 10066 w 10192"/>
                  <a:gd name="connsiteY4" fmla="*/ 4054 h 6364"/>
                  <a:gd name="connsiteX5" fmla="*/ 2435 w 10192"/>
                  <a:gd name="connsiteY5" fmla="*/ 76 h 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2" h="6364">
                    <a:moveTo>
                      <a:pt x="2481" y="76"/>
                    </a:moveTo>
                    <a:cubicBezTo>
                      <a:pt x="-942" y="-571"/>
                      <a:pt x="-710" y="3083"/>
                      <a:pt x="2481" y="4239"/>
                    </a:cubicBezTo>
                    <a:lnTo>
                      <a:pt x="8077" y="6228"/>
                    </a:lnTo>
                    <a:cubicBezTo>
                      <a:pt x="9418" y="6690"/>
                      <a:pt x="10390" y="5950"/>
                      <a:pt x="10158" y="4516"/>
                    </a:cubicBezTo>
                    <a:lnTo>
                      <a:pt x="10066" y="4054"/>
                    </a:lnTo>
                    <a:cubicBezTo>
                      <a:pt x="9465" y="123"/>
                      <a:pt x="4423" y="770"/>
                      <a:pt x="2435" y="76"/>
                    </a:cubicBezTo>
                    <a:close/>
                  </a:path>
                </a:pathLst>
              </a:custGeom>
              <a:grpFill/>
              <a:ln w="4609" cap="flat">
                <a:noFill/>
                <a:prstDash val="solid"/>
                <a:miter/>
              </a:ln>
            </p:spPr>
            <p:txBody>
              <a:bodyPr rtlCol="0" anchor="ctr"/>
              <a:lstStyle/>
              <a:p>
                <a:endParaRPr lang="en-IN"/>
              </a:p>
            </p:txBody>
          </p:sp>
          <p:sp>
            <p:nvSpPr>
              <p:cNvPr id="166" name="Freeform: Shape 165">
                <a:extLst>
                  <a:ext uri="{FF2B5EF4-FFF2-40B4-BE49-F238E27FC236}">
                    <a16:creationId xmlns:a16="http://schemas.microsoft.com/office/drawing/2014/main" id="{037B3D0C-5015-99B1-945E-62761FFB22A7}"/>
                  </a:ext>
                </a:extLst>
              </p:cNvPr>
              <p:cNvSpPr/>
              <p:nvPr/>
            </p:nvSpPr>
            <p:spPr>
              <a:xfrm>
                <a:off x="5435012" y="4736232"/>
                <a:ext cx="90557" cy="89539"/>
              </a:xfrm>
              <a:custGeom>
                <a:avLst/>
                <a:gdLst>
                  <a:gd name="connsiteX0" fmla="*/ 80614 w 90557"/>
                  <a:gd name="connsiteY0" fmla="*/ 65860 h 89539"/>
                  <a:gd name="connsiteX1" fmla="*/ 80845 w 90557"/>
                  <a:gd name="connsiteY1" fmla="*/ 59616 h 89539"/>
                  <a:gd name="connsiteX2" fmla="*/ 89447 w 90557"/>
                  <a:gd name="connsiteY2" fmla="*/ 55176 h 89539"/>
                  <a:gd name="connsiteX3" fmla="*/ 90465 w 90557"/>
                  <a:gd name="connsiteY3" fmla="*/ 43891 h 89539"/>
                  <a:gd name="connsiteX4" fmla="*/ 90557 w 90557"/>
                  <a:gd name="connsiteY4" fmla="*/ 43798 h 89539"/>
                  <a:gd name="connsiteX5" fmla="*/ 86071 w 90557"/>
                  <a:gd name="connsiteY5" fmla="*/ 43798 h 89539"/>
                  <a:gd name="connsiteX6" fmla="*/ 81076 w 90557"/>
                  <a:gd name="connsiteY6" fmla="*/ 49163 h 89539"/>
                  <a:gd name="connsiteX7" fmla="*/ 74601 w 90557"/>
                  <a:gd name="connsiteY7" fmla="*/ 45972 h 89539"/>
                  <a:gd name="connsiteX8" fmla="*/ 82325 w 90557"/>
                  <a:gd name="connsiteY8" fmla="*/ 35381 h 89539"/>
                  <a:gd name="connsiteX9" fmla="*/ 80290 w 90557"/>
                  <a:gd name="connsiteY9" fmla="*/ 27750 h 89539"/>
                  <a:gd name="connsiteX10" fmla="*/ 74694 w 90557"/>
                  <a:gd name="connsiteY10" fmla="*/ 26594 h 89539"/>
                  <a:gd name="connsiteX11" fmla="*/ 76405 w 90557"/>
                  <a:gd name="connsiteY11" fmla="*/ 17714 h 89539"/>
                  <a:gd name="connsiteX12" fmla="*/ 61189 w 90557"/>
                  <a:gd name="connsiteY12" fmla="*/ 0 h 89539"/>
                  <a:gd name="connsiteX13" fmla="*/ 27288 w 90557"/>
                  <a:gd name="connsiteY13" fmla="*/ 3099 h 89539"/>
                  <a:gd name="connsiteX14" fmla="*/ 9158 w 90557"/>
                  <a:gd name="connsiteY14" fmla="*/ 29322 h 89539"/>
                  <a:gd name="connsiteX15" fmla="*/ 2452 w 90557"/>
                  <a:gd name="connsiteY15" fmla="*/ 30155 h 89539"/>
                  <a:gd name="connsiteX16" fmla="*/ 2313 w 90557"/>
                  <a:gd name="connsiteY16" fmla="*/ 30155 h 89539"/>
                  <a:gd name="connsiteX17" fmla="*/ 2359 w 90557"/>
                  <a:gd name="connsiteY17" fmla="*/ 32514 h 89539"/>
                  <a:gd name="connsiteX18" fmla="*/ 1943 w 90557"/>
                  <a:gd name="connsiteY18" fmla="*/ 33855 h 89539"/>
                  <a:gd name="connsiteX19" fmla="*/ 4209 w 90557"/>
                  <a:gd name="connsiteY19" fmla="*/ 38572 h 89539"/>
                  <a:gd name="connsiteX20" fmla="*/ 5458 w 90557"/>
                  <a:gd name="connsiteY20" fmla="*/ 41856 h 89539"/>
                  <a:gd name="connsiteX21" fmla="*/ 1665 w 90557"/>
                  <a:gd name="connsiteY21" fmla="*/ 42966 h 89539"/>
                  <a:gd name="connsiteX22" fmla="*/ 232 w 90557"/>
                  <a:gd name="connsiteY22" fmla="*/ 44770 h 89539"/>
                  <a:gd name="connsiteX23" fmla="*/ 1989 w 90557"/>
                  <a:gd name="connsiteY23" fmla="*/ 48423 h 89539"/>
                  <a:gd name="connsiteX24" fmla="*/ 6383 w 90557"/>
                  <a:gd name="connsiteY24" fmla="*/ 49811 h 89539"/>
                  <a:gd name="connsiteX25" fmla="*/ 13228 w 90557"/>
                  <a:gd name="connsiteY25" fmla="*/ 61558 h 89539"/>
                  <a:gd name="connsiteX26" fmla="*/ 24790 w 90557"/>
                  <a:gd name="connsiteY26" fmla="*/ 70438 h 89539"/>
                  <a:gd name="connsiteX27" fmla="*/ 27149 w 90557"/>
                  <a:gd name="connsiteY27" fmla="*/ 75896 h 89539"/>
                  <a:gd name="connsiteX28" fmla="*/ 54159 w 90557"/>
                  <a:gd name="connsiteY28" fmla="*/ 89539 h 89539"/>
                  <a:gd name="connsiteX29" fmla="*/ 54159 w 90557"/>
                  <a:gd name="connsiteY29" fmla="*/ 89447 h 89539"/>
                  <a:gd name="connsiteX30" fmla="*/ 80521 w 90557"/>
                  <a:gd name="connsiteY30" fmla="*/ 65813 h 89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557" h="89539">
                    <a:moveTo>
                      <a:pt x="80614" y="65860"/>
                    </a:moveTo>
                    <a:lnTo>
                      <a:pt x="80845" y="59616"/>
                    </a:lnTo>
                    <a:lnTo>
                      <a:pt x="89447" y="55176"/>
                    </a:lnTo>
                    <a:lnTo>
                      <a:pt x="90465" y="43891"/>
                    </a:lnTo>
                    <a:lnTo>
                      <a:pt x="90557" y="43798"/>
                    </a:lnTo>
                    <a:lnTo>
                      <a:pt x="86071" y="43798"/>
                    </a:lnTo>
                    <a:cubicBezTo>
                      <a:pt x="86071" y="43798"/>
                      <a:pt x="81076" y="49163"/>
                      <a:pt x="81076" y="49163"/>
                    </a:cubicBezTo>
                    <a:lnTo>
                      <a:pt x="74601" y="45972"/>
                    </a:lnTo>
                    <a:lnTo>
                      <a:pt x="82325" y="35381"/>
                    </a:lnTo>
                    <a:lnTo>
                      <a:pt x="80290" y="27750"/>
                    </a:lnTo>
                    <a:lnTo>
                      <a:pt x="74694" y="26594"/>
                    </a:lnTo>
                    <a:lnTo>
                      <a:pt x="76405" y="17714"/>
                    </a:lnTo>
                    <a:lnTo>
                      <a:pt x="61189" y="0"/>
                    </a:lnTo>
                    <a:lnTo>
                      <a:pt x="27288" y="3099"/>
                    </a:lnTo>
                    <a:lnTo>
                      <a:pt x="9158" y="29322"/>
                    </a:lnTo>
                    <a:lnTo>
                      <a:pt x="2452" y="30155"/>
                    </a:lnTo>
                    <a:lnTo>
                      <a:pt x="2313" y="30155"/>
                    </a:lnTo>
                    <a:cubicBezTo>
                      <a:pt x="2590" y="30802"/>
                      <a:pt x="2683" y="31542"/>
                      <a:pt x="2359" y="32514"/>
                    </a:cubicBezTo>
                    <a:lnTo>
                      <a:pt x="1943" y="33855"/>
                    </a:lnTo>
                    <a:cubicBezTo>
                      <a:pt x="1018" y="36769"/>
                      <a:pt x="4625" y="39035"/>
                      <a:pt x="4209" y="38572"/>
                    </a:cubicBezTo>
                    <a:cubicBezTo>
                      <a:pt x="5365" y="39405"/>
                      <a:pt x="5967" y="40885"/>
                      <a:pt x="5458" y="41856"/>
                    </a:cubicBezTo>
                    <a:cubicBezTo>
                      <a:pt x="4533" y="43660"/>
                      <a:pt x="1203" y="43012"/>
                      <a:pt x="1665" y="42966"/>
                    </a:cubicBezTo>
                    <a:cubicBezTo>
                      <a:pt x="232" y="42689"/>
                      <a:pt x="-370" y="43475"/>
                      <a:pt x="232" y="44770"/>
                    </a:cubicBezTo>
                    <a:lnTo>
                      <a:pt x="1989" y="48423"/>
                    </a:lnTo>
                    <a:cubicBezTo>
                      <a:pt x="3238" y="51060"/>
                      <a:pt x="6845" y="49811"/>
                      <a:pt x="6383" y="49811"/>
                    </a:cubicBezTo>
                    <a:cubicBezTo>
                      <a:pt x="11655" y="48238"/>
                      <a:pt x="7909" y="58691"/>
                      <a:pt x="13228" y="61558"/>
                    </a:cubicBezTo>
                    <a:cubicBezTo>
                      <a:pt x="22200" y="66415"/>
                      <a:pt x="24790" y="67155"/>
                      <a:pt x="24790" y="70438"/>
                    </a:cubicBezTo>
                    <a:cubicBezTo>
                      <a:pt x="24883" y="70901"/>
                      <a:pt x="24189" y="74462"/>
                      <a:pt x="27149" y="75896"/>
                    </a:cubicBezTo>
                    <a:cubicBezTo>
                      <a:pt x="46944" y="85423"/>
                      <a:pt x="52355" y="87505"/>
                      <a:pt x="54159" y="89539"/>
                    </a:cubicBezTo>
                    <a:cubicBezTo>
                      <a:pt x="54159" y="89539"/>
                      <a:pt x="54159" y="89447"/>
                      <a:pt x="54159" y="89447"/>
                    </a:cubicBezTo>
                    <a:lnTo>
                      <a:pt x="80521" y="65813"/>
                    </a:lnTo>
                    <a:close/>
                  </a:path>
                </a:pathLst>
              </a:custGeom>
              <a:grpFill/>
              <a:ln w="4609" cap="flat">
                <a:noFill/>
                <a:prstDash val="solid"/>
                <a:miter/>
              </a:ln>
            </p:spPr>
            <p:txBody>
              <a:bodyPr rtlCol="0" anchor="ctr"/>
              <a:lstStyle/>
              <a:p>
                <a:endParaRPr lang="en-IN"/>
              </a:p>
            </p:txBody>
          </p:sp>
        </p:grpSp>
        <p:sp>
          <p:nvSpPr>
            <p:cNvPr id="81" name="Freeform: Shape 80">
              <a:extLst>
                <a:ext uri="{FF2B5EF4-FFF2-40B4-BE49-F238E27FC236}">
                  <a16:creationId xmlns:a16="http://schemas.microsoft.com/office/drawing/2014/main" id="{31D337BE-E271-876D-4C30-8C3C4069883E}"/>
                </a:ext>
              </a:extLst>
            </p:cNvPr>
            <p:cNvSpPr/>
            <p:nvPr/>
          </p:nvSpPr>
          <p:spPr>
            <a:xfrm>
              <a:off x="5311051" y="4539301"/>
              <a:ext cx="180756" cy="129869"/>
            </a:xfrm>
            <a:custGeom>
              <a:avLst/>
              <a:gdLst>
                <a:gd name="connsiteX0" fmla="*/ 172755 w 180756"/>
                <a:gd name="connsiteY0" fmla="*/ 97171 h 129869"/>
                <a:gd name="connsiteX1" fmla="*/ 166604 w 180756"/>
                <a:gd name="connsiteY1" fmla="*/ 99483 h 129869"/>
                <a:gd name="connsiteX2" fmla="*/ 158880 w 180756"/>
                <a:gd name="connsiteY2" fmla="*/ 89077 h 129869"/>
                <a:gd name="connsiteX3" fmla="*/ 163875 w 180756"/>
                <a:gd name="connsiteY3" fmla="*/ 83666 h 129869"/>
                <a:gd name="connsiteX4" fmla="*/ 163505 w 180756"/>
                <a:gd name="connsiteY4" fmla="*/ 72103 h 129869"/>
                <a:gd name="connsiteX5" fmla="*/ 156197 w 180756"/>
                <a:gd name="connsiteY5" fmla="*/ 65952 h 129869"/>
                <a:gd name="connsiteX6" fmla="*/ 158880 w 180756"/>
                <a:gd name="connsiteY6" fmla="*/ 59385 h 129869"/>
                <a:gd name="connsiteX7" fmla="*/ 149630 w 180756"/>
                <a:gd name="connsiteY7" fmla="*/ 49348 h 129869"/>
                <a:gd name="connsiteX8" fmla="*/ 135385 w 180756"/>
                <a:gd name="connsiteY8" fmla="*/ 42411 h 129869"/>
                <a:gd name="connsiteX9" fmla="*/ 120354 w 180756"/>
                <a:gd name="connsiteY9" fmla="*/ 15031 h 129869"/>
                <a:gd name="connsiteX10" fmla="*/ 106849 w 180756"/>
                <a:gd name="connsiteY10" fmla="*/ 15031 h 129869"/>
                <a:gd name="connsiteX11" fmla="*/ 92095 w 180756"/>
                <a:gd name="connsiteY11" fmla="*/ 0 h 129869"/>
                <a:gd name="connsiteX12" fmla="*/ 40943 w 180756"/>
                <a:gd name="connsiteY12" fmla="*/ 4070 h 129869"/>
                <a:gd name="connsiteX13" fmla="*/ 34283 w 180756"/>
                <a:gd name="connsiteY13" fmla="*/ 19980 h 129869"/>
                <a:gd name="connsiteX14" fmla="*/ 29381 w 180756"/>
                <a:gd name="connsiteY14" fmla="*/ 21229 h 129869"/>
                <a:gd name="connsiteX15" fmla="*/ 28918 w 180756"/>
                <a:gd name="connsiteY15" fmla="*/ 21229 h 129869"/>
                <a:gd name="connsiteX16" fmla="*/ 27901 w 180756"/>
                <a:gd name="connsiteY16" fmla="*/ 23402 h 129869"/>
                <a:gd name="connsiteX17" fmla="*/ 7828 w 180756"/>
                <a:gd name="connsiteY17" fmla="*/ 50690 h 129869"/>
                <a:gd name="connsiteX18" fmla="*/ 1446 w 180756"/>
                <a:gd name="connsiteY18" fmla="*/ 53141 h 129869"/>
                <a:gd name="connsiteX19" fmla="*/ 613 w 180756"/>
                <a:gd name="connsiteY19" fmla="*/ 56980 h 129869"/>
                <a:gd name="connsiteX20" fmla="*/ 7875 w 180756"/>
                <a:gd name="connsiteY20" fmla="*/ 56471 h 129869"/>
                <a:gd name="connsiteX21" fmla="*/ 11482 w 180756"/>
                <a:gd name="connsiteY21" fmla="*/ 59755 h 129869"/>
                <a:gd name="connsiteX22" fmla="*/ 26374 w 180756"/>
                <a:gd name="connsiteY22" fmla="*/ 88152 h 129869"/>
                <a:gd name="connsiteX23" fmla="*/ 59767 w 180756"/>
                <a:gd name="connsiteY23" fmla="*/ 88152 h 129869"/>
                <a:gd name="connsiteX24" fmla="*/ 73827 w 180756"/>
                <a:gd name="connsiteY24" fmla="*/ 79781 h 129869"/>
                <a:gd name="connsiteX25" fmla="*/ 95194 w 180756"/>
                <a:gd name="connsiteY25" fmla="*/ 89308 h 129869"/>
                <a:gd name="connsiteX26" fmla="*/ 102872 w 180756"/>
                <a:gd name="connsiteY26" fmla="*/ 86117 h 129869"/>
                <a:gd name="connsiteX27" fmla="*/ 111474 w 180756"/>
                <a:gd name="connsiteY27" fmla="*/ 97263 h 129869"/>
                <a:gd name="connsiteX28" fmla="*/ 95379 w 180756"/>
                <a:gd name="connsiteY28" fmla="*/ 105357 h 129869"/>
                <a:gd name="connsiteX29" fmla="*/ 74567 w 180756"/>
                <a:gd name="connsiteY29" fmla="*/ 94904 h 129869"/>
                <a:gd name="connsiteX30" fmla="*/ 52043 w 180756"/>
                <a:gd name="connsiteY30" fmla="*/ 106883 h 129869"/>
                <a:gd name="connsiteX31" fmla="*/ 20917 w 180756"/>
                <a:gd name="connsiteY31" fmla="*/ 106883 h 129869"/>
                <a:gd name="connsiteX32" fmla="*/ 23692 w 180756"/>
                <a:gd name="connsiteY32" fmla="*/ 125429 h 129869"/>
                <a:gd name="connsiteX33" fmla="*/ 29057 w 180756"/>
                <a:gd name="connsiteY33" fmla="*/ 128990 h 129869"/>
                <a:gd name="connsiteX34" fmla="*/ 34931 w 180756"/>
                <a:gd name="connsiteY34" fmla="*/ 129175 h 129869"/>
                <a:gd name="connsiteX35" fmla="*/ 35717 w 180756"/>
                <a:gd name="connsiteY35" fmla="*/ 129037 h 129869"/>
                <a:gd name="connsiteX36" fmla="*/ 35717 w 180756"/>
                <a:gd name="connsiteY36" fmla="*/ 129037 h 129869"/>
                <a:gd name="connsiteX37" fmla="*/ 35763 w 180756"/>
                <a:gd name="connsiteY37" fmla="*/ 129037 h 129869"/>
                <a:gd name="connsiteX38" fmla="*/ 52922 w 180756"/>
                <a:gd name="connsiteY38" fmla="*/ 129037 h 129869"/>
                <a:gd name="connsiteX39" fmla="*/ 69479 w 180756"/>
                <a:gd name="connsiteY39" fmla="*/ 118307 h 129869"/>
                <a:gd name="connsiteX40" fmla="*/ 132194 w 180756"/>
                <a:gd name="connsiteY40" fmla="*/ 118307 h 129869"/>
                <a:gd name="connsiteX41" fmla="*/ 153792 w 180756"/>
                <a:gd name="connsiteY41" fmla="*/ 129869 h 129869"/>
                <a:gd name="connsiteX42" fmla="*/ 180756 w 180756"/>
                <a:gd name="connsiteY42" fmla="*/ 125614 h 129869"/>
                <a:gd name="connsiteX43" fmla="*/ 180756 w 180756"/>
                <a:gd name="connsiteY43" fmla="*/ 109797 h 129869"/>
                <a:gd name="connsiteX44" fmla="*/ 172662 w 180756"/>
                <a:gd name="connsiteY44" fmla="*/ 97078 h 12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80756" h="129869">
                  <a:moveTo>
                    <a:pt x="172755" y="97171"/>
                  </a:moveTo>
                  <a:lnTo>
                    <a:pt x="166604" y="99483"/>
                  </a:lnTo>
                  <a:lnTo>
                    <a:pt x="158880" y="89077"/>
                  </a:lnTo>
                  <a:lnTo>
                    <a:pt x="163875" y="83666"/>
                  </a:lnTo>
                  <a:lnTo>
                    <a:pt x="163505" y="72103"/>
                  </a:lnTo>
                  <a:lnTo>
                    <a:pt x="156197" y="65952"/>
                  </a:lnTo>
                  <a:lnTo>
                    <a:pt x="158880" y="59385"/>
                  </a:lnTo>
                  <a:lnTo>
                    <a:pt x="149630" y="49348"/>
                  </a:lnTo>
                  <a:lnTo>
                    <a:pt x="135385" y="42411"/>
                  </a:lnTo>
                  <a:lnTo>
                    <a:pt x="120354" y="15031"/>
                  </a:lnTo>
                  <a:lnTo>
                    <a:pt x="106849" y="15031"/>
                  </a:lnTo>
                  <a:lnTo>
                    <a:pt x="92095" y="0"/>
                  </a:lnTo>
                  <a:lnTo>
                    <a:pt x="40943" y="4070"/>
                  </a:lnTo>
                  <a:lnTo>
                    <a:pt x="34283" y="19980"/>
                  </a:lnTo>
                  <a:lnTo>
                    <a:pt x="29381" y="21229"/>
                  </a:lnTo>
                  <a:lnTo>
                    <a:pt x="28918" y="21229"/>
                  </a:lnTo>
                  <a:cubicBezTo>
                    <a:pt x="28687" y="22015"/>
                    <a:pt x="28363" y="22709"/>
                    <a:pt x="27901" y="23402"/>
                  </a:cubicBezTo>
                  <a:cubicBezTo>
                    <a:pt x="10742" y="48978"/>
                    <a:pt x="11158" y="49395"/>
                    <a:pt x="7828" y="50690"/>
                  </a:cubicBezTo>
                  <a:lnTo>
                    <a:pt x="1446" y="53141"/>
                  </a:lnTo>
                  <a:cubicBezTo>
                    <a:pt x="-1283" y="54205"/>
                    <a:pt x="706" y="57442"/>
                    <a:pt x="613" y="56980"/>
                  </a:cubicBezTo>
                  <a:cubicBezTo>
                    <a:pt x="2463" y="60310"/>
                    <a:pt x="4313" y="55037"/>
                    <a:pt x="7875" y="56471"/>
                  </a:cubicBezTo>
                  <a:cubicBezTo>
                    <a:pt x="9216" y="56980"/>
                    <a:pt x="10835" y="58460"/>
                    <a:pt x="11482" y="59755"/>
                  </a:cubicBezTo>
                  <a:lnTo>
                    <a:pt x="26374" y="88152"/>
                  </a:lnTo>
                  <a:lnTo>
                    <a:pt x="59767" y="88152"/>
                  </a:lnTo>
                  <a:lnTo>
                    <a:pt x="73827" y="79781"/>
                  </a:lnTo>
                  <a:lnTo>
                    <a:pt x="95194" y="89308"/>
                  </a:lnTo>
                  <a:lnTo>
                    <a:pt x="102872" y="86117"/>
                  </a:lnTo>
                  <a:lnTo>
                    <a:pt x="111474" y="97263"/>
                  </a:lnTo>
                  <a:lnTo>
                    <a:pt x="95379" y="105357"/>
                  </a:lnTo>
                  <a:lnTo>
                    <a:pt x="74567" y="94904"/>
                  </a:lnTo>
                  <a:lnTo>
                    <a:pt x="52043" y="106883"/>
                  </a:lnTo>
                  <a:lnTo>
                    <a:pt x="20917" y="106883"/>
                  </a:lnTo>
                  <a:cubicBezTo>
                    <a:pt x="21333" y="122145"/>
                    <a:pt x="21056" y="123718"/>
                    <a:pt x="23692" y="125429"/>
                  </a:cubicBezTo>
                  <a:lnTo>
                    <a:pt x="29057" y="128990"/>
                  </a:lnTo>
                  <a:cubicBezTo>
                    <a:pt x="31647" y="130702"/>
                    <a:pt x="35393" y="129129"/>
                    <a:pt x="34931" y="129175"/>
                  </a:cubicBezTo>
                  <a:cubicBezTo>
                    <a:pt x="35254" y="129083"/>
                    <a:pt x="35486" y="129037"/>
                    <a:pt x="35717" y="129037"/>
                  </a:cubicBezTo>
                  <a:lnTo>
                    <a:pt x="35717" y="129037"/>
                  </a:lnTo>
                  <a:cubicBezTo>
                    <a:pt x="35717" y="129037"/>
                    <a:pt x="35763" y="129037"/>
                    <a:pt x="35763" y="129037"/>
                  </a:cubicBezTo>
                  <a:lnTo>
                    <a:pt x="52922" y="129037"/>
                  </a:lnTo>
                  <a:lnTo>
                    <a:pt x="69479" y="118307"/>
                  </a:lnTo>
                  <a:lnTo>
                    <a:pt x="132194" y="118307"/>
                  </a:lnTo>
                  <a:lnTo>
                    <a:pt x="153792" y="129869"/>
                  </a:lnTo>
                  <a:lnTo>
                    <a:pt x="180756" y="125614"/>
                  </a:lnTo>
                  <a:lnTo>
                    <a:pt x="180756" y="109797"/>
                  </a:lnTo>
                  <a:lnTo>
                    <a:pt x="172662" y="97078"/>
                  </a:lnTo>
                  <a:close/>
                </a:path>
              </a:pathLst>
            </a:custGeom>
            <a:grpFill/>
            <a:ln w="4609" cap="flat">
              <a:noFill/>
              <a:prstDash val="solid"/>
              <a:miter/>
            </a:ln>
          </p:spPr>
          <p:txBody>
            <a:bodyPr rtlCol="0" anchor="ctr"/>
            <a:lstStyle/>
            <a:p>
              <a:endParaRPr lang="en-IN"/>
            </a:p>
          </p:txBody>
        </p:sp>
        <p:grpSp>
          <p:nvGrpSpPr>
            <p:cNvPr id="82" name="Graphic 36">
              <a:extLst>
                <a:ext uri="{FF2B5EF4-FFF2-40B4-BE49-F238E27FC236}">
                  <a16:creationId xmlns:a16="http://schemas.microsoft.com/office/drawing/2014/main" id="{4C7CBDE7-2D6C-B99C-EC58-CF62755274B9}"/>
                </a:ext>
              </a:extLst>
            </p:cNvPr>
            <p:cNvGrpSpPr/>
            <p:nvPr/>
          </p:nvGrpSpPr>
          <p:grpSpPr>
            <a:xfrm>
              <a:off x="7170819" y="5151998"/>
              <a:ext cx="305939" cy="184612"/>
              <a:chOff x="7170819" y="5151998"/>
              <a:chExt cx="305939" cy="184612"/>
            </a:xfrm>
            <a:grpFill/>
          </p:grpSpPr>
          <p:sp>
            <p:nvSpPr>
              <p:cNvPr id="158" name="Freeform: Shape 157">
                <a:extLst>
                  <a:ext uri="{FF2B5EF4-FFF2-40B4-BE49-F238E27FC236}">
                    <a16:creationId xmlns:a16="http://schemas.microsoft.com/office/drawing/2014/main" id="{F0B7C09B-A8AE-32BE-E388-6849AD01DE8A}"/>
                  </a:ext>
                </a:extLst>
              </p:cNvPr>
              <p:cNvSpPr/>
              <p:nvPr/>
            </p:nvSpPr>
            <p:spPr>
              <a:xfrm>
                <a:off x="7170819" y="5298212"/>
                <a:ext cx="10431" cy="5630"/>
              </a:xfrm>
              <a:custGeom>
                <a:avLst/>
                <a:gdLst>
                  <a:gd name="connsiteX0" fmla="*/ 7160 w 10431"/>
                  <a:gd name="connsiteY0" fmla="*/ 0 h 5630"/>
                  <a:gd name="connsiteX1" fmla="*/ 38 w 10431"/>
                  <a:gd name="connsiteY1" fmla="*/ 2821 h 5630"/>
                  <a:gd name="connsiteX2" fmla="*/ 131 w 10431"/>
                  <a:gd name="connsiteY2" fmla="*/ 3422 h 5630"/>
                  <a:gd name="connsiteX3" fmla="*/ 3090 w 10431"/>
                  <a:gd name="connsiteY3" fmla="*/ 5596 h 5630"/>
                  <a:gd name="connsiteX4" fmla="*/ 10352 w 10431"/>
                  <a:gd name="connsiteY4" fmla="*/ 2127 h 5630"/>
                  <a:gd name="connsiteX5" fmla="*/ 7160 w 10431"/>
                  <a:gd name="connsiteY5" fmla="*/ 46 h 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31" h="5630">
                    <a:moveTo>
                      <a:pt x="7160" y="0"/>
                    </a:moveTo>
                    <a:cubicBezTo>
                      <a:pt x="5172" y="370"/>
                      <a:pt x="-517" y="-1017"/>
                      <a:pt x="38" y="2821"/>
                    </a:cubicBezTo>
                    <a:lnTo>
                      <a:pt x="131" y="3422"/>
                    </a:lnTo>
                    <a:cubicBezTo>
                      <a:pt x="362" y="4856"/>
                      <a:pt x="1703" y="5828"/>
                      <a:pt x="3090" y="5596"/>
                    </a:cubicBezTo>
                    <a:cubicBezTo>
                      <a:pt x="5310" y="4902"/>
                      <a:pt x="11184" y="5365"/>
                      <a:pt x="10352" y="2127"/>
                    </a:cubicBezTo>
                    <a:cubicBezTo>
                      <a:pt x="10028" y="925"/>
                      <a:pt x="8594" y="0"/>
                      <a:pt x="7160" y="46"/>
                    </a:cubicBezTo>
                    <a:close/>
                  </a:path>
                </a:pathLst>
              </a:custGeom>
              <a:grpFill/>
              <a:ln w="4609" cap="flat">
                <a:noFill/>
                <a:prstDash val="solid"/>
                <a:miter/>
              </a:ln>
            </p:spPr>
            <p:txBody>
              <a:bodyPr rtlCol="0" anchor="ctr"/>
              <a:lstStyle/>
              <a:p>
                <a:endParaRPr lang="en-IN"/>
              </a:p>
            </p:txBody>
          </p:sp>
          <p:sp>
            <p:nvSpPr>
              <p:cNvPr id="159" name="Freeform: Shape 158">
                <a:extLst>
                  <a:ext uri="{FF2B5EF4-FFF2-40B4-BE49-F238E27FC236}">
                    <a16:creationId xmlns:a16="http://schemas.microsoft.com/office/drawing/2014/main" id="{78B34352-9D0B-C30A-EBC0-316AF899E0D1}"/>
                  </a:ext>
                </a:extLst>
              </p:cNvPr>
              <p:cNvSpPr/>
              <p:nvPr/>
            </p:nvSpPr>
            <p:spPr>
              <a:xfrm>
                <a:off x="7436796" y="5160798"/>
                <a:ext cx="7945" cy="10662"/>
              </a:xfrm>
              <a:custGeom>
                <a:avLst/>
                <a:gdLst>
                  <a:gd name="connsiteX0" fmla="*/ 7304 w 7945"/>
                  <a:gd name="connsiteY0" fmla="*/ 9904 h 10662"/>
                  <a:gd name="connsiteX1" fmla="*/ 7304 w 7945"/>
                  <a:gd name="connsiteY1" fmla="*/ 5279 h 10662"/>
                  <a:gd name="connsiteX2" fmla="*/ 1338 w 7945"/>
                  <a:gd name="connsiteY2" fmla="*/ 1024 h 10662"/>
                  <a:gd name="connsiteX3" fmla="*/ 783 w 7945"/>
                  <a:gd name="connsiteY3" fmla="*/ 1671 h 10662"/>
                  <a:gd name="connsiteX4" fmla="*/ 921 w 7945"/>
                  <a:gd name="connsiteY4" fmla="*/ 6481 h 10662"/>
                  <a:gd name="connsiteX5" fmla="*/ 7350 w 7945"/>
                  <a:gd name="connsiteY5" fmla="*/ 9904 h 1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5" h="10662">
                    <a:moveTo>
                      <a:pt x="7304" y="9904"/>
                    </a:moveTo>
                    <a:cubicBezTo>
                      <a:pt x="8183" y="8840"/>
                      <a:pt x="8136" y="6759"/>
                      <a:pt x="7304" y="5279"/>
                    </a:cubicBezTo>
                    <a:cubicBezTo>
                      <a:pt x="6286" y="4076"/>
                      <a:pt x="4159" y="-2491"/>
                      <a:pt x="1338" y="1024"/>
                    </a:cubicBezTo>
                    <a:lnTo>
                      <a:pt x="783" y="1671"/>
                    </a:lnTo>
                    <a:cubicBezTo>
                      <a:pt x="-327" y="3012"/>
                      <a:pt x="-235" y="5186"/>
                      <a:pt x="921" y="6481"/>
                    </a:cubicBezTo>
                    <a:cubicBezTo>
                      <a:pt x="2031" y="7360"/>
                      <a:pt x="5176" y="12586"/>
                      <a:pt x="7350" y="9904"/>
                    </a:cubicBezTo>
                    <a:close/>
                  </a:path>
                </a:pathLst>
              </a:custGeom>
              <a:grpFill/>
              <a:ln w="4609" cap="flat">
                <a:noFill/>
                <a:prstDash val="solid"/>
                <a:miter/>
              </a:ln>
            </p:spPr>
            <p:txBody>
              <a:bodyPr rtlCol="0" anchor="ctr"/>
              <a:lstStyle/>
              <a:p>
                <a:endParaRPr lang="en-IN"/>
              </a:p>
            </p:txBody>
          </p:sp>
          <p:sp>
            <p:nvSpPr>
              <p:cNvPr id="160" name="Freeform: Shape 159">
                <a:extLst>
                  <a:ext uri="{FF2B5EF4-FFF2-40B4-BE49-F238E27FC236}">
                    <a16:creationId xmlns:a16="http://schemas.microsoft.com/office/drawing/2014/main" id="{3688FE68-D0AF-A624-2C0C-B5616C04AE82}"/>
                  </a:ext>
                </a:extLst>
              </p:cNvPr>
              <p:cNvSpPr/>
              <p:nvPr/>
            </p:nvSpPr>
            <p:spPr>
              <a:xfrm>
                <a:off x="7445483" y="5151998"/>
                <a:ext cx="10298" cy="7202"/>
              </a:xfrm>
              <a:custGeom>
                <a:avLst/>
                <a:gdLst>
                  <a:gd name="connsiteX0" fmla="*/ 10180 w 10298"/>
                  <a:gd name="connsiteY0" fmla="*/ 3627 h 7202"/>
                  <a:gd name="connsiteX1" fmla="*/ 7173 w 10298"/>
                  <a:gd name="connsiteY1" fmla="*/ 250 h 7202"/>
                  <a:gd name="connsiteX2" fmla="*/ 5 w 10298"/>
                  <a:gd name="connsiteY2" fmla="*/ 1869 h 7202"/>
                  <a:gd name="connsiteX3" fmla="*/ 2780 w 10298"/>
                  <a:gd name="connsiteY3" fmla="*/ 5199 h 7202"/>
                  <a:gd name="connsiteX4" fmla="*/ 7081 w 10298"/>
                  <a:gd name="connsiteY4" fmla="*/ 6957 h 7202"/>
                  <a:gd name="connsiteX5" fmla="*/ 10226 w 10298"/>
                  <a:gd name="connsiteY5" fmla="*/ 3673 h 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98" h="7202">
                    <a:moveTo>
                      <a:pt x="10180" y="3627"/>
                    </a:moveTo>
                    <a:cubicBezTo>
                      <a:pt x="10272" y="1869"/>
                      <a:pt x="8885" y="343"/>
                      <a:pt x="7173" y="250"/>
                    </a:cubicBezTo>
                    <a:cubicBezTo>
                      <a:pt x="6017" y="343"/>
                      <a:pt x="282" y="-1045"/>
                      <a:pt x="5" y="1869"/>
                    </a:cubicBezTo>
                    <a:cubicBezTo>
                      <a:pt x="-88" y="3025"/>
                      <a:pt x="1161" y="4505"/>
                      <a:pt x="2780" y="5199"/>
                    </a:cubicBezTo>
                    <a:lnTo>
                      <a:pt x="7081" y="6957"/>
                    </a:lnTo>
                    <a:cubicBezTo>
                      <a:pt x="10504" y="8390"/>
                      <a:pt x="10411" y="3072"/>
                      <a:pt x="10226" y="3673"/>
                    </a:cubicBezTo>
                    <a:close/>
                  </a:path>
                </a:pathLst>
              </a:custGeom>
              <a:grpFill/>
              <a:ln w="4609" cap="flat">
                <a:noFill/>
                <a:prstDash val="solid"/>
                <a:miter/>
              </a:ln>
            </p:spPr>
            <p:txBody>
              <a:bodyPr rtlCol="0" anchor="ctr"/>
              <a:lstStyle/>
              <a:p>
                <a:endParaRPr lang="en-IN"/>
              </a:p>
            </p:txBody>
          </p:sp>
          <p:sp>
            <p:nvSpPr>
              <p:cNvPr id="161" name="Freeform: Shape 160">
                <a:extLst>
                  <a:ext uri="{FF2B5EF4-FFF2-40B4-BE49-F238E27FC236}">
                    <a16:creationId xmlns:a16="http://schemas.microsoft.com/office/drawing/2014/main" id="{F9E47D02-85A8-5B6B-F0C9-A0F0C39D7CFD}"/>
                  </a:ext>
                </a:extLst>
              </p:cNvPr>
              <p:cNvSpPr/>
              <p:nvPr/>
            </p:nvSpPr>
            <p:spPr>
              <a:xfrm>
                <a:off x="7435618" y="5198132"/>
                <a:ext cx="8371" cy="5500"/>
              </a:xfrm>
              <a:custGeom>
                <a:avLst/>
                <a:gdLst>
                  <a:gd name="connsiteX0" fmla="*/ 1729 w 8371"/>
                  <a:gd name="connsiteY0" fmla="*/ 4806 h 5500"/>
                  <a:gd name="connsiteX1" fmla="*/ 7788 w 8371"/>
                  <a:gd name="connsiteY1" fmla="*/ 3418 h 5500"/>
                  <a:gd name="connsiteX2" fmla="*/ 2053 w 8371"/>
                  <a:gd name="connsiteY2" fmla="*/ 874 h 5500"/>
                  <a:gd name="connsiteX3" fmla="*/ 1683 w 8371"/>
                  <a:gd name="connsiteY3" fmla="*/ 4852 h 5500"/>
                </a:gdLst>
                <a:ahLst/>
                <a:cxnLst>
                  <a:cxn ang="0">
                    <a:pos x="connsiteX0" y="connsiteY0"/>
                  </a:cxn>
                  <a:cxn ang="0">
                    <a:pos x="connsiteX1" y="connsiteY1"/>
                  </a:cxn>
                  <a:cxn ang="0">
                    <a:pos x="connsiteX2" y="connsiteY2"/>
                  </a:cxn>
                  <a:cxn ang="0">
                    <a:pos x="connsiteX3" y="connsiteY3"/>
                  </a:cxn>
                </a:cxnLst>
                <a:rect l="l" t="t" r="r" b="b"/>
                <a:pathLst>
                  <a:path w="8371" h="5500">
                    <a:moveTo>
                      <a:pt x="1729" y="4806"/>
                    </a:moveTo>
                    <a:cubicBezTo>
                      <a:pt x="3117" y="4806"/>
                      <a:pt x="10470" y="7072"/>
                      <a:pt x="7788" y="3418"/>
                    </a:cubicBezTo>
                    <a:cubicBezTo>
                      <a:pt x="7788" y="3418"/>
                      <a:pt x="5059" y="-2085"/>
                      <a:pt x="2053" y="874"/>
                    </a:cubicBezTo>
                    <a:cubicBezTo>
                      <a:pt x="1729" y="1429"/>
                      <a:pt x="-2156" y="4251"/>
                      <a:pt x="1683" y="4852"/>
                    </a:cubicBezTo>
                    <a:close/>
                  </a:path>
                </a:pathLst>
              </a:custGeom>
              <a:grpFill/>
              <a:ln w="4609" cap="flat">
                <a:noFill/>
                <a:prstDash val="solid"/>
                <a:miter/>
              </a:ln>
            </p:spPr>
            <p:txBody>
              <a:bodyPr rtlCol="0" anchor="ctr"/>
              <a:lstStyle/>
              <a:p>
                <a:endParaRPr lang="en-IN"/>
              </a:p>
            </p:txBody>
          </p:sp>
          <p:sp>
            <p:nvSpPr>
              <p:cNvPr id="162" name="Freeform: Shape 161">
                <a:extLst>
                  <a:ext uri="{FF2B5EF4-FFF2-40B4-BE49-F238E27FC236}">
                    <a16:creationId xmlns:a16="http://schemas.microsoft.com/office/drawing/2014/main" id="{7FAFD1E6-6620-76A9-E229-02267E86A8FA}"/>
                  </a:ext>
                </a:extLst>
              </p:cNvPr>
              <p:cNvSpPr/>
              <p:nvPr/>
            </p:nvSpPr>
            <p:spPr>
              <a:xfrm>
                <a:off x="7461508" y="5234506"/>
                <a:ext cx="5691" cy="6588"/>
              </a:xfrm>
              <a:custGeom>
                <a:avLst/>
                <a:gdLst>
                  <a:gd name="connsiteX0" fmla="*/ 722 w 5691"/>
                  <a:gd name="connsiteY0" fmla="*/ 1824 h 6588"/>
                  <a:gd name="connsiteX1" fmla="*/ 167 w 5691"/>
                  <a:gd name="connsiteY1" fmla="*/ 3582 h 6588"/>
                  <a:gd name="connsiteX2" fmla="*/ 2109 w 5691"/>
                  <a:gd name="connsiteY2" fmla="*/ 6588 h 6588"/>
                  <a:gd name="connsiteX3" fmla="*/ 5624 w 5691"/>
                  <a:gd name="connsiteY3" fmla="*/ 3073 h 6588"/>
                  <a:gd name="connsiteX4" fmla="*/ 722 w 5691"/>
                  <a:gd name="connsiteY4" fmla="*/ 1824 h 6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1" h="6588">
                    <a:moveTo>
                      <a:pt x="722" y="1824"/>
                    </a:moveTo>
                    <a:lnTo>
                      <a:pt x="167" y="3582"/>
                    </a:lnTo>
                    <a:cubicBezTo>
                      <a:pt x="-388" y="5247"/>
                      <a:pt x="490" y="6588"/>
                      <a:pt x="2109" y="6588"/>
                    </a:cubicBezTo>
                    <a:cubicBezTo>
                      <a:pt x="5162" y="6588"/>
                      <a:pt x="5948" y="2472"/>
                      <a:pt x="5624" y="3073"/>
                    </a:cubicBezTo>
                    <a:cubicBezTo>
                      <a:pt x="5901" y="1362"/>
                      <a:pt x="2017" y="-2153"/>
                      <a:pt x="722" y="1824"/>
                    </a:cubicBezTo>
                    <a:close/>
                  </a:path>
                </a:pathLst>
              </a:custGeom>
              <a:grpFill/>
              <a:ln w="4609" cap="flat">
                <a:noFill/>
                <a:prstDash val="solid"/>
                <a:miter/>
              </a:ln>
            </p:spPr>
            <p:txBody>
              <a:bodyPr rtlCol="0" anchor="ctr"/>
              <a:lstStyle/>
              <a:p>
                <a:endParaRPr lang="en-IN"/>
              </a:p>
            </p:txBody>
          </p:sp>
          <p:sp>
            <p:nvSpPr>
              <p:cNvPr id="163" name="Freeform: Shape 162">
                <a:extLst>
                  <a:ext uri="{FF2B5EF4-FFF2-40B4-BE49-F238E27FC236}">
                    <a16:creationId xmlns:a16="http://schemas.microsoft.com/office/drawing/2014/main" id="{791E9EF9-F097-D756-2701-1F74E4A8EEE4}"/>
                  </a:ext>
                </a:extLst>
              </p:cNvPr>
              <p:cNvSpPr/>
              <p:nvPr/>
            </p:nvSpPr>
            <p:spPr>
              <a:xfrm>
                <a:off x="7470805" y="5329303"/>
                <a:ext cx="5953" cy="7306"/>
              </a:xfrm>
              <a:custGeom>
                <a:avLst/>
                <a:gdLst>
                  <a:gd name="connsiteX0" fmla="*/ 28 w 5953"/>
                  <a:gd name="connsiteY0" fmla="*/ 4428 h 7306"/>
                  <a:gd name="connsiteX1" fmla="*/ 2803 w 5953"/>
                  <a:gd name="connsiteY1" fmla="*/ 7296 h 7306"/>
                  <a:gd name="connsiteX2" fmla="*/ 4190 w 5953"/>
                  <a:gd name="connsiteY2" fmla="*/ 7157 h 7306"/>
                  <a:gd name="connsiteX3" fmla="*/ 2756 w 5953"/>
                  <a:gd name="connsiteY3" fmla="*/ 960 h 7306"/>
                  <a:gd name="connsiteX4" fmla="*/ 28 w 5953"/>
                  <a:gd name="connsiteY4" fmla="*/ 4382 h 7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3" h="7306">
                    <a:moveTo>
                      <a:pt x="28" y="4428"/>
                    </a:moveTo>
                    <a:cubicBezTo>
                      <a:pt x="-204" y="6186"/>
                      <a:pt x="1045" y="7435"/>
                      <a:pt x="2803" y="7296"/>
                    </a:cubicBezTo>
                    <a:lnTo>
                      <a:pt x="4190" y="7157"/>
                    </a:lnTo>
                    <a:cubicBezTo>
                      <a:pt x="8630" y="6741"/>
                      <a:pt x="3358" y="2070"/>
                      <a:pt x="2756" y="960"/>
                    </a:cubicBezTo>
                    <a:cubicBezTo>
                      <a:pt x="213" y="-2324"/>
                      <a:pt x="259" y="3827"/>
                      <a:pt x="28" y="4382"/>
                    </a:cubicBezTo>
                    <a:close/>
                  </a:path>
                </a:pathLst>
              </a:custGeom>
              <a:grpFill/>
              <a:ln w="4609" cap="flat">
                <a:noFill/>
                <a:prstDash val="solid"/>
                <a:miter/>
              </a:ln>
            </p:spPr>
            <p:txBody>
              <a:bodyPr rtlCol="0" anchor="ctr"/>
              <a:lstStyle/>
              <a:p>
                <a:endParaRPr lang="en-IN"/>
              </a:p>
            </p:txBody>
          </p:sp>
          <p:sp>
            <p:nvSpPr>
              <p:cNvPr id="164" name="Freeform: Shape 163">
                <a:extLst>
                  <a:ext uri="{FF2B5EF4-FFF2-40B4-BE49-F238E27FC236}">
                    <a16:creationId xmlns:a16="http://schemas.microsoft.com/office/drawing/2014/main" id="{B6A31482-7E8C-D471-1EC5-B7B39205A023}"/>
                  </a:ext>
                </a:extLst>
              </p:cNvPr>
              <p:cNvSpPr/>
              <p:nvPr/>
            </p:nvSpPr>
            <p:spPr>
              <a:xfrm>
                <a:off x="7213412" y="5320704"/>
                <a:ext cx="5777" cy="7507"/>
              </a:xfrm>
              <a:custGeom>
                <a:avLst/>
                <a:gdLst>
                  <a:gd name="connsiteX0" fmla="*/ 2492 w 5777"/>
                  <a:gd name="connsiteY0" fmla="*/ 726 h 7507"/>
                  <a:gd name="connsiteX1" fmla="*/ 1429 w 5777"/>
                  <a:gd name="connsiteY1" fmla="*/ 6692 h 7507"/>
                  <a:gd name="connsiteX2" fmla="*/ 5683 w 5777"/>
                  <a:gd name="connsiteY2" fmla="*/ 5675 h 7507"/>
                  <a:gd name="connsiteX3" fmla="*/ 2492 w 5777"/>
                  <a:gd name="connsiteY3" fmla="*/ 726 h 7507"/>
                </a:gdLst>
                <a:ahLst/>
                <a:cxnLst>
                  <a:cxn ang="0">
                    <a:pos x="connsiteX0" y="connsiteY0"/>
                  </a:cxn>
                  <a:cxn ang="0">
                    <a:pos x="connsiteX1" y="connsiteY1"/>
                  </a:cxn>
                  <a:cxn ang="0">
                    <a:pos x="connsiteX2" y="connsiteY2"/>
                  </a:cxn>
                  <a:cxn ang="0">
                    <a:pos x="connsiteX3" y="connsiteY3"/>
                  </a:cxn>
                </a:cxnLst>
                <a:rect l="l" t="t" r="r" b="b"/>
                <a:pathLst>
                  <a:path w="5777" h="7507">
                    <a:moveTo>
                      <a:pt x="2492" y="726"/>
                    </a:moveTo>
                    <a:cubicBezTo>
                      <a:pt x="2030" y="1790"/>
                      <a:pt x="-2133" y="5582"/>
                      <a:pt x="1429" y="6692"/>
                    </a:cubicBezTo>
                    <a:cubicBezTo>
                      <a:pt x="2076" y="6738"/>
                      <a:pt x="6470" y="9051"/>
                      <a:pt x="5683" y="5675"/>
                    </a:cubicBezTo>
                    <a:cubicBezTo>
                      <a:pt x="5683" y="5675"/>
                      <a:pt x="4712" y="-2419"/>
                      <a:pt x="2492" y="726"/>
                    </a:cubicBezTo>
                    <a:close/>
                  </a:path>
                </a:pathLst>
              </a:custGeom>
              <a:grpFill/>
              <a:ln w="4609" cap="flat">
                <a:noFill/>
                <a:prstDash val="solid"/>
                <a:miter/>
              </a:ln>
            </p:spPr>
            <p:txBody>
              <a:bodyPr rtlCol="0" anchor="ctr"/>
              <a:lstStyle/>
              <a:p>
                <a:endParaRPr lang="en-IN"/>
              </a:p>
            </p:txBody>
          </p:sp>
        </p:grpSp>
        <p:grpSp>
          <p:nvGrpSpPr>
            <p:cNvPr id="83" name="Graphic 36">
              <a:extLst>
                <a:ext uri="{FF2B5EF4-FFF2-40B4-BE49-F238E27FC236}">
                  <a16:creationId xmlns:a16="http://schemas.microsoft.com/office/drawing/2014/main" id="{760BF03D-AF36-3D21-A5B1-75F828BC2556}"/>
                </a:ext>
              </a:extLst>
            </p:cNvPr>
            <p:cNvGrpSpPr/>
            <p:nvPr/>
          </p:nvGrpSpPr>
          <p:grpSpPr>
            <a:xfrm>
              <a:off x="6011359" y="4974751"/>
              <a:ext cx="32011" cy="50942"/>
              <a:chOff x="6011359" y="4974751"/>
              <a:chExt cx="32011" cy="50942"/>
            </a:xfrm>
            <a:grpFill/>
          </p:grpSpPr>
          <p:sp>
            <p:nvSpPr>
              <p:cNvPr id="156" name="Freeform: Shape 155">
                <a:extLst>
                  <a:ext uri="{FF2B5EF4-FFF2-40B4-BE49-F238E27FC236}">
                    <a16:creationId xmlns:a16="http://schemas.microsoft.com/office/drawing/2014/main" id="{BA367BE7-6651-B1BC-8F39-83F500FECB28}"/>
                  </a:ext>
                </a:extLst>
              </p:cNvPr>
              <p:cNvSpPr/>
              <p:nvPr/>
            </p:nvSpPr>
            <p:spPr>
              <a:xfrm>
                <a:off x="6035857" y="4974751"/>
                <a:ext cx="7514" cy="6330"/>
              </a:xfrm>
              <a:custGeom>
                <a:avLst/>
                <a:gdLst>
                  <a:gd name="connsiteX0" fmla="*/ 5582 w 7514"/>
                  <a:gd name="connsiteY0" fmla="*/ 176 h 6330"/>
                  <a:gd name="connsiteX1" fmla="*/ 4796 w 7514"/>
                  <a:gd name="connsiteY1" fmla="*/ 37 h 6330"/>
                  <a:gd name="connsiteX2" fmla="*/ 1096 w 7514"/>
                  <a:gd name="connsiteY2" fmla="*/ 1979 h 6330"/>
                  <a:gd name="connsiteX3" fmla="*/ 217 w 7514"/>
                  <a:gd name="connsiteY3" fmla="*/ 3876 h 6330"/>
                  <a:gd name="connsiteX4" fmla="*/ 1743 w 7514"/>
                  <a:gd name="connsiteY4" fmla="*/ 6327 h 6330"/>
                  <a:gd name="connsiteX5" fmla="*/ 3639 w 7514"/>
                  <a:gd name="connsiteY5" fmla="*/ 6327 h 6330"/>
                  <a:gd name="connsiteX6" fmla="*/ 7386 w 7514"/>
                  <a:gd name="connsiteY6" fmla="*/ 3043 h 6330"/>
                  <a:gd name="connsiteX7" fmla="*/ 5628 w 7514"/>
                  <a:gd name="connsiteY7" fmla="*/ 129 h 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14" h="6330">
                    <a:moveTo>
                      <a:pt x="5582" y="176"/>
                    </a:moveTo>
                    <a:lnTo>
                      <a:pt x="4796" y="37"/>
                    </a:lnTo>
                    <a:cubicBezTo>
                      <a:pt x="3362" y="-194"/>
                      <a:pt x="1697" y="684"/>
                      <a:pt x="1096" y="1979"/>
                    </a:cubicBezTo>
                    <a:lnTo>
                      <a:pt x="217" y="3876"/>
                    </a:lnTo>
                    <a:cubicBezTo>
                      <a:pt x="-384" y="5171"/>
                      <a:pt x="309" y="6281"/>
                      <a:pt x="1743" y="6327"/>
                    </a:cubicBezTo>
                    <a:lnTo>
                      <a:pt x="3639" y="6327"/>
                    </a:lnTo>
                    <a:cubicBezTo>
                      <a:pt x="6646" y="6466"/>
                      <a:pt x="7709" y="2581"/>
                      <a:pt x="7386" y="3043"/>
                    </a:cubicBezTo>
                    <a:cubicBezTo>
                      <a:pt x="7848" y="1656"/>
                      <a:pt x="7016" y="361"/>
                      <a:pt x="5628" y="129"/>
                    </a:cubicBezTo>
                    <a:close/>
                  </a:path>
                </a:pathLst>
              </a:custGeom>
              <a:grpFill/>
              <a:ln w="4609" cap="flat">
                <a:noFill/>
                <a:prstDash val="solid"/>
                <a:miter/>
              </a:ln>
            </p:spPr>
            <p:txBody>
              <a:bodyPr rtlCol="0" anchor="ctr"/>
              <a:lstStyle/>
              <a:p>
                <a:endParaRPr lang="en-IN"/>
              </a:p>
            </p:txBody>
          </p:sp>
          <p:sp>
            <p:nvSpPr>
              <p:cNvPr id="157" name="Freeform: Shape 156">
                <a:extLst>
                  <a:ext uri="{FF2B5EF4-FFF2-40B4-BE49-F238E27FC236}">
                    <a16:creationId xmlns:a16="http://schemas.microsoft.com/office/drawing/2014/main" id="{8DDAF8E0-FFB1-A4FE-100A-D58F5D3BB17B}"/>
                  </a:ext>
                </a:extLst>
              </p:cNvPr>
              <p:cNvSpPr/>
              <p:nvPr/>
            </p:nvSpPr>
            <p:spPr>
              <a:xfrm>
                <a:off x="6011359" y="5014635"/>
                <a:ext cx="8553" cy="11058"/>
              </a:xfrm>
              <a:custGeom>
                <a:avLst/>
                <a:gdLst>
                  <a:gd name="connsiteX0" fmla="*/ 1359 w 8553"/>
                  <a:gd name="connsiteY0" fmla="*/ 2888 h 11058"/>
                  <a:gd name="connsiteX1" fmla="*/ 1035 w 8553"/>
                  <a:gd name="connsiteY1" fmla="*/ 9779 h 11058"/>
                  <a:gd name="connsiteX2" fmla="*/ 7464 w 8553"/>
                  <a:gd name="connsiteY2" fmla="*/ 6773 h 11058"/>
                  <a:gd name="connsiteX3" fmla="*/ 7464 w 8553"/>
                  <a:gd name="connsiteY3" fmla="*/ 1130 h 11058"/>
                  <a:gd name="connsiteX4" fmla="*/ 1359 w 8553"/>
                  <a:gd name="connsiteY4" fmla="*/ 2888 h 11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 h="11058">
                    <a:moveTo>
                      <a:pt x="1359" y="2888"/>
                    </a:moveTo>
                    <a:cubicBezTo>
                      <a:pt x="-1416" y="5200"/>
                      <a:pt x="896" y="8808"/>
                      <a:pt x="1035" y="9779"/>
                    </a:cubicBezTo>
                    <a:cubicBezTo>
                      <a:pt x="2237" y="13479"/>
                      <a:pt x="5660" y="8114"/>
                      <a:pt x="7464" y="6773"/>
                    </a:cubicBezTo>
                    <a:cubicBezTo>
                      <a:pt x="9869" y="4460"/>
                      <a:pt x="7556" y="1593"/>
                      <a:pt x="7464" y="1130"/>
                    </a:cubicBezTo>
                    <a:cubicBezTo>
                      <a:pt x="5799" y="-2200"/>
                      <a:pt x="1359" y="2888"/>
                      <a:pt x="1359" y="2888"/>
                    </a:cubicBezTo>
                    <a:close/>
                  </a:path>
                </a:pathLst>
              </a:custGeom>
              <a:grpFill/>
              <a:ln w="4609" cap="flat">
                <a:noFill/>
                <a:prstDash val="solid"/>
                <a:miter/>
              </a:ln>
            </p:spPr>
            <p:txBody>
              <a:bodyPr rtlCol="0" anchor="ctr"/>
              <a:lstStyle/>
              <a:p>
                <a:endParaRPr lang="en-IN"/>
              </a:p>
            </p:txBody>
          </p:sp>
        </p:grpSp>
        <p:sp>
          <p:nvSpPr>
            <p:cNvPr id="84" name="Freeform: Shape 83">
              <a:extLst>
                <a:ext uri="{FF2B5EF4-FFF2-40B4-BE49-F238E27FC236}">
                  <a16:creationId xmlns:a16="http://schemas.microsoft.com/office/drawing/2014/main" id="{202216DA-D839-1D18-0279-B3E57D8675C1}"/>
                </a:ext>
              </a:extLst>
            </p:cNvPr>
            <p:cNvSpPr/>
            <p:nvPr/>
          </p:nvSpPr>
          <p:spPr>
            <a:xfrm>
              <a:off x="5653273" y="5493478"/>
              <a:ext cx="10431" cy="5630"/>
            </a:xfrm>
            <a:custGeom>
              <a:avLst/>
              <a:gdLst>
                <a:gd name="connsiteX0" fmla="*/ 7160 w 10431"/>
                <a:gd name="connsiteY0" fmla="*/ 0 h 5630"/>
                <a:gd name="connsiteX1" fmla="*/ 38 w 10431"/>
                <a:gd name="connsiteY1" fmla="*/ 2821 h 5630"/>
                <a:gd name="connsiteX2" fmla="*/ 130 w 10431"/>
                <a:gd name="connsiteY2" fmla="*/ 3422 h 5630"/>
                <a:gd name="connsiteX3" fmla="*/ 3090 w 10431"/>
                <a:gd name="connsiteY3" fmla="*/ 5596 h 5630"/>
                <a:gd name="connsiteX4" fmla="*/ 10352 w 10431"/>
                <a:gd name="connsiteY4" fmla="*/ 2127 h 5630"/>
                <a:gd name="connsiteX5" fmla="*/ 7160 w 10431"/>
                <a:gd name="connsiteY5" fmla="*/ 46 h 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31" h="5630">
                  <a:moveTo>
                    <a:pt x="7160" y="0"/>
                  </a:moveTo>
                  <a:cubicBezTo>
                    <a:pt x="5172" y="370"/>
                    <a:pt x="-517" y="-1017"/>
                    <a:pt x="38" y="2821"/>
                  </a:cubicBezTo>
                  <a:lnTo>
                    <a:pt x="130" y="3422"/>
                  </a:lnTo>
                  <a:cubicBezTo>
                    <a:pt x="362" y="4856"/>
                    <a:pt x="1703" y="5828"/>
                    <a:pt x="3090" y="5596"/>
                  </a:cubicBezTo>
                  <a:cubicBezTo>
                    <a:pt x="5310" y="4902"/>
                    <a:pt x="11184" y="5365"/>
                    <a:pt x="10352" y="2127"/>
                  </a:cubicBezTo>
                  <a:cubicBezTo>
                    <a:pt x="10028" y="925"/>
                    <a:pt x="8594" y="0"/>
                    <a:pt x="7160" y="46"/>
                  </a:cubicBezTo>
                  <a:close/>
                </a:path>
              </a:pathLst>
            </a:custGeom>
            <a:grpFill/>
            <a:ln w="4609" cap="flat">
              <a:noFill/>
              <a:prstDash val="solid"/>
              <a:miter/>
            </a:ln>
          </p:spPr>
          <p:txBody>
            <a:bodyPr rtlCol="0" anchor="ctr"/>
            <a:lstStyle/>
            <a:p>
              <a:endParaRPr lang="en-IN"/>
            </a:p>
          </p:txBody>
        </p:sp>
        <p:sp>
          <p:nvSpPr>
            <p:cNvPr id="85" name="Freeform: Shape 84">
              <a:extLst>
                <a:ext uri="{FF2B5EF4-FFF2-40B4-BE49-F238E27FC236}">
                  <a16:creationId xmlns:a16="http://schemas.microsoft.com/office/drawing/2014/main" id="{6708F883-5D9A-B8CE-F2E2-322344B759D2}"/>
                </a:ext>
              </a:extLst>
            </p:cNvPr>
            <p:cNvSpPr/>
            <p:nvPr/>
          </p:nvSpPr>
          <p:spPr>
            <a:xfrm>
              <a:off x="6664977" y="5059009"/>
              <a:ext cx="59800" cy="51707"/>
            </a:xfrm>
            <a:custGeom>
              <a:avLst/>
              <a:gdLst>
                <a:gd name="connsiteX0" fmla="*/ 28675 w 59800"/>
                <a:gd name="connsiteY0" fmla="*/ 4671 h 51707"/>
                <a:gd name="connsiteX1" fmla="*/ 22200 w 59800"/>
                <a:gd name="connsiteY1" fmla="*/ 9851 h 51707"/>
                <a:gd name="connsiteX2" fmla="*/ 12534 w 59800"/>
                <a:gd name="connsiteY2" fmla="*/ 17852 h 51707"/>
                <a:gd name="connsiteX3" fmla="*/ 12487 w 59800"/>
                <a:gd name="connsiteY3" fmla="*/ 17852 h 51707"/>
                <a:gd name="connsiteX4" fmla="*/ 12996 w 59800"/>
                <a:gd name="connsiteY4" fmla="*/ 19980 h 51707"/>
                <a:gd name="connsiteX5" fmla="*/ 12996 w 59800"/>
                <a:gd name="connsiteY5" fmla="*/ 20350 h 51707"/>
                <a:gd name="connsiteX6" fmla="*/ 14569 w 59800"/>
                <a:gd name="connsiteY6" fmla="*/ 25484 h 51707"/>
                <a:gd name="connsiteX7" fmla="*/ 14245 w 59800"/>
                <a:gd name="connsiteY7" fmla="*/ 29600 h 51707"/>
                <a:gd name="connsiteX8" fmla="*/ 8926 w 59800"/>
                <a:gd name="connsiteY8" fmla="*/ 35381 h 51707"/>
                <a:gd name="connsiteX9" fmla="*/ 3330 w 59800"/>
                <a:gd name="connsiteY9" fmla="*/ 37740 h 51707"/>
                <a:gd name="connsiteX10" fmla="*/ 2867 w 59800"/>
                <a:gd name="connsiteY10" fmla="*/ 38295 h 51707"/>
                <a:gd name="connsiteX11" fmla="*/ 0 w 59800"/>
                <a:gd name="connsiteY11" fmla="*/ 39127 h 51707"/>
                <a:gd name="connsiteX12" fmla="*/ 5226 w 59800"/>
                <a:gd name="connsiteY12" fmla="*/ 47868 h 51707"/>
                <a:gd name="connsiteX13" fmla="*/ 5365 w 59800"/>
                <a:gd name="connsiteY13" fmla="*/ 47730 h 51707"/>
                <a:gd name="connsiteX14" fmla="*/ 12765 w 59800"/>
                <a:gd name="connsiteY14" fmla="*/ 45093 h 51707"/>
                <a:gd name="connsiteX15" fmla="*/ 17159 w 59800"/>
                <a:gd name="connsiteY15" fmla="*/ 51707 h 51707"/>
                <a:gd name="connsiteX16" fmla="*/ 29877 w 59800"/>
                <a:gd name="connsiteY16" fmla="*/ 50597 h 51707"/>
                <a:gd name="connsiteX17" fmla="*/ 32282 w 59800"/>
                <a:gd name="connsiteY17" fmla="*/ 38248 h 51707"/>
                <a:gd name="connsiteX18" fmla="*/ 38156 w 59800"/>
                <a:gd name="connsiteY18" fmla="*/ 41209 h 51707"/>
                <a:gd name="connsiteX19" fmla="*/ 43660 w 59800"/>
                <a:gd name="connsiteY19" fmla="*/ 36769 h 51707"/>
                <a:gd name="connsiteX20" fmla="*/ 49996 w 59800"/>
                <a:gd name="connsiteY20" fmla="*/ 40792 h 51707"/>
                <a:gd name="connsiteX21" fmla="*/ 59801 w 59800"/>
                <a:gd name="connsiteY21" fmla="*/ 38480 h 51707"/>
                <a:gd name="connsiteX22" fmla="*/ 57211 w 59800"/>
                <a:gd name="connsiteY22" fmla="*/ 13597 h 51707"/>
                <a:gd name="connsiteX23" fmla="*/ 45093 w 59800"/>
                <a:gd name="connsiteY23" fmla="*/ 0 h 51707"/>
                <a:gd name="connsiteX24" fmla="*/ 33531 w 59800"/>
                <a:gd name="connsiteY24" fmla="*/ 12117 h 51707"/>
                <a:gd name="connsiteX25" fmla="*/ 28721 w 59800"/>
                <a:gd name="connsiteY25" fmla="*/ 4625 h 5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800" h="51707">
                  <a:moveTo>
                    <a:pt x="28675" y="4671"/>
                  </a:moveTo>
                  <a:lnTo>
                    <a:pt x="22200" y="9851"/>
                  </a:lnTo>
                  <a:lnTo>
                    <a:pt x="12534" y="17852"/>
                  </a:lnTo>
                  <a:lnTo>
                    <a:pt x="12487" y="17852"/>
                  </a:lnTo>
                  <a:cubicBezTo>
                    <a:pt x="12811" y="18454"/>
                    <a:pt x="12996" y="19147"/>
                    <a:pt x="12996" y="19980"/>
                  </a:cubicBezTo>
                  <a:lnTo>
                    <a:pt x="12996" y="20350"/>
                  </a:lnTo>
                  <a:cubicBezTo>
                    <a:pt x="12904" y="23079"/>
                    <a:pt x="14754" y="25946"/>
                    <a:pt x="14569" y="25484"/>
                  </a:cubicBezTo>
                  <a:cubicBezTo>
                    <a:pt x="15355" y="26686"/>
                    <a:pt x="15216" y="28536"/>
                    <a:pt x="14245" y="29600"/>
                  </a:cubicBezTo>
                  <a:lnTo>
                    <a:pt x="8926" y="35381"/>
                  </a:lnTo>
                  <a:cubicBezTo>
                    <a:pt x="6151" y="38387"/>
                    <a:pt x="5966" y="34687"/>
                    <a:pt x="3330" y="37740"/>
                  </a:cubicBezTo>
                  <a:lnTo>
                    <a:pt x="2867" y="38295"/>
                  </a:lnTo>
                  <a:cubicBezTo>
                    <a:pt x="1943" y="39405"/>
                    <a:pt x="648" y="39775"/>
                    <a:pt x="0" y="39127"/>
                  </a:cubicBezTo>
                  <a:lnTo>
                    <a:pt x="5226" y="47868"/>
                  </a:lnTo>
                  <a:lnTo>
                    <a:pt x="5365" y="47730"/>
                  </a:lnTo>
                  <a:lnTo>
                    <a:pt x="12765" y="45093"/>
                  </a:lnTo>
                  <a:lnTo>
                    <a:pt x="17159" y="51707"/>
                  </a:lnTo>
                  <a:lnTo>
                    <a:pt x="29877" y="50597"/>
                  </a:lnTo>
                  <a:lnTo>
                    <a:pt x="32282" y="38248"/>
                  </a:lnTo>
                  <a:lnTo>
                    <a:pt x="38156" y="41209"/>
                  </a:lnTo>
                  <a:lnTo>
                    <a:pt x="43660" y="36769"/>
                  </a:lnTo>
                  <a:lnTo>
                    <a:pt x="49996" y="40792"/>
                  </a:lnTo>
                  <a:lnTo>
                    <a:pt x="59801" y="38480"/>
                  </a:lnTo>
                  <a:lnTo>
                    <a:pt x="57211" y="13597"/>
                  </a:lnTo>
                  <a:lnTo>
                    <a:pt x="45093" y="0"/>
                  </a:lnTo>
                  <a:lnTo>
                    <a:pt x="33531" y="12117"/>
                  </a:lnTo>
                  <a:lnTo>
                    <a:pt x="28721" y="4625"/>
                  </a:lnTo>
                  <a:close/>
                </a:path>
              </a:pathLst>
            </a:custGeom>
            <a:grpFill/>
            <a:ln w="4609" cap="flat">
              <a:noFill/>
              <a:prstDash val="solid"/>
              <a:miter/>
            </a:ln>
          </p:spPr>
          <p:txBody>
            <a:bodyPr rtlCol="0" anchor="ctr"/>
            <a:lstStyle/>
            <a:p>
              <a:endParaRPr lang="en-IN"/>
            </a:p>
          </p:txBody>
        </p:sp>
        <p:sp>
          <p:nvSpPr>
            <p:cNvPr id="86" name="Freeform: Shape 85">
              <a:extLst>
                <a:ext uri="{FF2B5EF4-FFF2-40B4-BE49-F238E27FC236}">
                  <a16:creationId xmlns:a16="http://schemas.microsoft.com/office/drawing/2014/main" id="{663ADEF0-F1C7-BF7C-4E5B-4C2FBEE34664}"/>
                </a:ext>
              </a:extLst>
            </p:cNvPr>
            <p:cNvSpPr/>
            <p:nvPr/>
          </p:nvSpPr>
          <p:spPr>
            <a:xfrm>
              <a:off x="7432962" y="5645905"/>
              <a:ext cx="20986" cy="17661"/>
            </a:xfrm>
            <a:custGeom>
              <a:avLst/>
              <a:gdLst>
                <a:gd name="connsiteX0" fmla="*/ 1796 w 20986"/>
                <a:gd name="connsiteY0" fmla="*/ 2510 h 17661"/>
                <a:gd name="connsiteX1" fmla="*/ 1426 w 20986"/>
                <a:gd name="connsiteY1" fmla="*/ 9956 h 17661"/>
                <a:gd name="connsiteX2" fmla="*/ 11971 w 20986"/>
                <a:gd name="connsiteY2" fmla="*/ 17171 h 17661"/>
                <a:gd name="connsiteX3" fmla="*/ 19510 w 20986"/>
                <a:gd name="connsiteY3" fmla="*/ 15737 h 17661"/>
                <a:gd name="connsiteX4" fmla="*/ 15810 w 20986"/>
                <a:gd name="connsiteY4" fmla="*/ 1076 h 17661"/>
                <a:gd name="connsiteX5" fmla="*/ 1796 w 20986"/>
                <a:gd name="connsiteY5" fmla="*/ 2556 h 1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86" h="17661">
                  <a:moveTo>
                    <a:pt x="1796" y="2510"/>
                  </a:moveTo>
                  <a:cubicBezTo>
                    <a:pt x="-1858" y="3574"/>
                    <a:pt x="1148" y="8152"/>
                    <a:pt x="1426" y="9956"/>
                  </a:cubicBezTo>
                  <a:cubicBezTo>
                    <a:pt x="2536" y="13379"/>
                    <a:pt x="6930" y="14766"/>
                    <a:pt x="11971" y="17171"/>
                  </a:cubicBezTo>
                  <a:cubicBezTo>
                    <a:pt x="15208" y="18744"/>
                    <a:pt x="18446" y="16061"/>
                    <a:pt x="19510" y="15737"/>
                  </a:cubicBezTo>
                  <a:cubicBezTo>
                    <a:pt x="22562" y="14211"/>
                    <a:pt x="20666" y="11899"/>
                    <a:pt x="15810" y="1076"/>
                  </a:cubicBezTo>
                  <a:cubicBezTo>
                    <a:pt x="14422" y="-2023"/>
                    <a:pt x="1796" y="2556"/>
                    <a:pt x="1796" y="2556"/>
                  </a:cubicBezTo>
                  <a:close/>
                </a:path>
              </a:pathLst>
            </a:custGeom>
            <a:grpFill/>
            <a:ln w="4609" cap="flat">
              <a:noFill/>
              <a:prstDash val="solid"/>
              <a:miter/>
            </a:ln>
          </p:spPr>
          <p:txBody>
            <a:bodyPr rtlCol="0" anchor="ctr"/>
            <a:lstStyle/>
            <a:p>
              <a:endParaRPr lang="en-IN"/>
            </a:p>
          </p:txBody>
        </p:sp>
        <p:sp>
          <p:nvSpPr>
            <p:cNvPr id="87" name="Freeform: Shape 86">
              <a:extLst>
                <a:ext uri="{FF2B5EF4-FFF2-40B4-BE49-F238E27FC236}">
                  <a16:creationId xmlns:a16="http://schemas.microsoft.com/office/drawing/2014/main" id="{8C2577B3-C19E-96E5-0530-12E370CCCEA8}"/>
                </a:ext>
              </a:extLst>
            </p:cNvPr>
            <p:cNvSpPr/>
            <p:nvPr/>
          </p:nvSpPr>
          <p:spPr>
            <a:xfrm>
              <a:off x="5904771" y="4620469"/>
              <a:ext cx="342756" cy="279440"/>
            </a:xfrm>
            <a:custGeom>
              <a:avLst/>
              <a:gdLst>
                <a:gd name="connsiteX0" fmla="*/ 176258 w 342756"/>
                <a:gd name="connsiteY0" fmla="*/ 238001 h 279440"/>
                <a:gd name="connsiteX1" fmla="*/ 210390 w 342756"/>
                <a:gd name="connsiteY1" fmla="*/ 205071 h 279440"/>
                <a:gd name="connsiteX2" fmla="*/ 220611 w 342756"/>
                <a:gd name="connsiteY2" fmla="*/ 209696 h 279440"/>
                <a:gd name="connsiteX3" fmla="*/ 228890 w 342756"/>
                <a:gd name="connsiteY3" fmla="*/ 201418 h 279440"/>
                <a:gd name="connsiteX4" fmla="*/ 239897 w 342756"/>
                <a:gd name="connsiteY4" fmla="*/ 209141 h 279440"/>
                <a:gd name="connsiteX5" fmla="*/ 242765 w 342756"/>
                <a:gd name="connsiteY5" fmla="*/ 222646 h 279440"/>
                <a:gd name="connsiteX6" fmla="*/ 255853 w 342756"/>
                <a:gd name="connsiteY6" fmla="*/ 217235 h 279440"/>
                <a:gd name="connsiteX7" fmla="*/ 275325 w 342756"/>
                <a:gd name="connsiteY7" fmla="*/ 164048 h 279440"/>
                <a:gd name="connsiteX8" fmla="*/ 293639 w 342756"/>
                <a:gd name="connsiteY8" fmla="*/ 151329 h 279440"/>
                <a:gd name="connsiteX9" fmla="*/ 296507 w 342756"/>
                <a:gd name="connsiteY9" fmla="*/ 131673 h 279440"/>
                <a:gd name="connsiteX10" fmla="*/ 308624 w 342756"/>
                <a:gd name="connsiteY10" fmla="*/ 120111 h 279440"/>
                <a:gd name="connsiteX11" fmla="*/ 322129 w 342756"/>
                <a:gd name="connsiteY11" fmla="*/ 80012 h 279440"/>
                <a:gd name="connsiteX12" fmla="*/ 341415 w 342756"/>
                <a:gd name="connsiteY12" fmla="*/ 73861 h 279440"/>
                <a:gd name="connsiteX13" fmla="*/ 342757 w 342756"/>
                <a:gd name="connsiteY13" fmla="*/ 53048 h 279440"/>
                <a:gd name="connsiteX14" fmla="*/ 330639 w 342756"/>
                <a:gd name="connsiteY14" fmla="*/ 46111 h 279440"/>
                <a:gd name="connsiteX15" fmla="*/ 328882 w 342756"/>
                <a:gd name="connsiteY15" fmla="*/ 24142 h 279440"/>
                <a:gd name="connsiteX16" fmla="*/ 316348 w 342756"/>
                <a:gd name="connsiteY16" fmla="*/ 6799 h 279440"/>
                <a:gd name="connsiteX17" fmla="*/ 307098 w 342756"/>
                <a:gd name="connsiteY17" fmla="*/ 6012 h 279440"/>
                <a:gd name="connsiteX18" fmla="*/ 302843 w 342756"/>
                <a:gd name="connsiteY18" fmla="*/ 13736 h 279440"/>
                <a:gd name="connsiteX19" fmla="*/ 293223 w 342756"/>
                <a:gd name="connsiteY19" fmla="*/ 13366 h 279440"/>
                <a:gd name="connsiteX20" fmla="*/ 284760 w 342756"/>
                <a:gd name="connsiteY20" fmla="*/ 25715 h 279440"/>
                <a:gd name="connsiteX21" fmla="*/ 270098 w 342756"/>
                <a:gd name="connsiteY21" fmla="*/ 25345 h 279440"/>
                <a:gd name="connsiteX22" fmla="*/ 251598 w 342756"/>
                <a:gd name="connsiteY22" fmla="*/ 14569 h 279440"/>
                <a:gd name="connsiteX23" fmla="*/ 210945 w 342756"/>
                <a:gd name="connsiteY23" fmla="*/ 20442 h 279440"/>
                <a:gd name="connsiteX24" fmla="*/ 198828 w 342756"/>
                <a:gd name="connsiteY24" fmla="*/ 34040 h 279440"/>
                <a:gd name="connsiteX25" fmla="*/ 173945 w 342756"/>
                <a:gd name="connsiteY25" fmla="*/ 30849 h 279440"/>
                <a:gd name="connsiteX26" fmla="*/ 169598 w 342756"/>
                <a:gd name="connsiteY26" fmla="*/ 25669 h 279440"/>
                <a:gd name="connsiteX27" fmla="*/ 163539 w 342756"/>
                <a:gd name="connsiteY27" fmla="*/ 26224 h 279440"/>
                <a:gd name="connsiteX28" fmla="*/ 156602 w 342756"/>
                <a:gd name="connsiteY28" fmla="*/ 17852 h 279440"/>
                <a:gd name="connsiteX29" fmla="*/ 145918 w 342756"/>
                <a:gd name="connsiteY29" fmla="*/ 16696 h 279440"/>
                <a:gd name="connsiteX30" fmla="*/ 136390 w 342756"/>
                <a:gd name="connsiteY30" fmla="*/ 24189 h 279440"/>
                <a:gd name="connsiteX31" fmla="*/ 130609 w 342756"/>
                <a:gd name="connsiteY31" fmla="*/ 23032 h 279440"/>
                <a:gd name="connsiteX32" fmla="*/ 126539 w 342756"/>
                <a:gd name="connsiteY32" fmla="*/ 28212 h 279440"/>
                <a:gd name="connsiteX33" fmla="*/ 119879 w 342756"/>
                <a:gd name="connsiteY33" fmla="*/ 27334 h 279440"/>
                <a:gd name="connsiteX34" fmla="*/ 103414 w 342756"/>
                <a:gd name="connsiteY34" fmla="*/ 6521 h 279440"/>
                <a:gd name="connsiteX35" fmla="*/ 97032 w 342756"/>
                <a:gd name="connsiteY35" fmla="*/ 8279 h 279440"/>
                <a:gd name="connsiteX36" fmla="*/ 79411 w 342756"/>
                <a:gd name="connsiteY36" fmla="*/ 0 h 279440"/>
                <a:gd name="connsiteX37" fmla="*/ 71548 w 342756"/>
                <a:gd name="connsiteY37" fmla="*/ 5689 h 279440"/>
                <a:gd name="connsiteX38" fmla="*/ 54066 w 342756"/>
                <a:gd name="connsiteY38" fmla="*/ 5272 h 279440"/>
                <a:gd name="connsiteX39" fmla="*/ 39636 w 342756"/>
                <a:gd name="connsiteY39" fmla="*/ 15355 h 279440"/>
                <a:gd name="connsiteX40" fmla="*/ 36954 w 342756"/>
                <a:gd name="connsiteY40" fmla="*/ 32329 h 279440"/>
                <a:gd name="connsiteX41" fmla="*/ 25669 w 342756"/>
                <a:gd name="connsiteY41" fmla="*/ 40700 h 279440"/>
                <a:gd name="connsiteX42" fmla="*/ 27704 w 342756"/>
                <a:gd name="connsiteY42" fmla="*/ 62668 h 279440"/>
                <a:gd name="connsiteX43" fmla="*/ 22524 w 342756"/>
                <a:gd name="connsiteY43" fmla="*/ 66738 h 279440"/>
                <a:gd name="connsiteX44" fmla="*/ 19656 w 342756"/>
                <a:gd name="connsiteY44" fmla="*/ 77422 h 279440"/>
                <a:gd name="connsiteX45" fmla="*/ 32745 w 342756"/>
                <a:gd name="connsiteY45" fmla="*/ 97448 h 279440"/>
                <a:gd name="connsiteX46" fmla="*/ 11562 w 342756"/>
                <a:gd name="connsiteY46" fmla="*/ 141755 h 279440"/>
                <a:gd name="connsiteX47" fmla="*/ 1156 w 342756"/>
                <a:gd name="connsiteY47" fmla="*/ 144438 h 279440"/>
                <a:gd name="connsiteX48" fmla="*/ 0 w 342756"/>
                <a:gd name="connsiteY48" fmla="*/ 218807 h 279440"/>
                <a:gd name="connsiteX49" fmla="*/ 0 w 342756"/>
                <a:gd name="connsiteY49" fmla="*/ 218807 h 279440"/>
                <a:gd name="connsiteX50" fmla="*/ 24975 w 342756"/>
                <a:gd name="connsiteY50" fmla="*/ 217559 h 279440"/>
                <a:gd name="connsiteX51" fmla="*/ 51106 w 342756"/>
                <a:gd name="connsiteY51" fmla="*/ 222276 h 279440"/>
                <a:gd name="connsiteX52" fmla="*/ 69328 w 342756"/>
                <a:gd name="connsiteY52" fmla="*/ 243505 h 279440"/>
                <a:gd name="connsiteX53" fmla="*/ 82510 w 342756"/>
                <a:gd name="connsiteY53" fmla="*/ 269497 h 279440"/>
                <a:gd name="connsiteX54" fmla="*/ 96292 w 342756"/>
                <a:gd name="connsiteY54" fmla="*/ 279395 h 279440"/>
                <a:gd name="connsiteX55" fmla="*/ 158174 w 342756"/>
                <a:gd name="connsiteY55" fmla="*/ 272966 h 279440"/>
                <a:gd name="connsiteX56" fmla="*/ 160487 w 342756"/>
                <a:gd name="connsiteY56" fmla="*/ 269173 h 279440"/>
                <a:gd name="connsiteX57" fmla="*/ 162938 w 342756"/>
                <a:gd name="connsiteY57" fmla="*/ 266537 h 279440"/>
                <a:gd name="connsiteX58" fmla="*/ 168118 w 342756"/>
                <a:gd name="connsiteY58" fmla="*/ 266445 h 279440"/>
                <a:gd name="connsiteX59" fmla="*/ 170476 w 342756"/>
                <a:gd name="connsiteY59" fmla="*/ 267138 h 279440"/>
                <a:gd name="connsiteX60" fmla="*/ 177321 w 342756"/>
                <a:gd name="connsiteY60" fmla="*/ 253911 h 279440"/>
                <a:gd name="connsiteX61" fmla="*/ 176350 w 342756"/>
                <a:gd name="connsiteY61" fmla="*/ 238094 h 27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42756" h="279440">
                  <a:moveTo>
                    <a:pt x="176258" y="238001"/>
                  </a:moveTo>
                  <a:lnTo>
                    <a:pt x="210390" y="205071"/>
                  </a:lnTo>
                  <a:lnTo>
                    <a:pt x="220611" y="209696"/>
                  </a:lnTo>
                  <a:lnTo>
                    <a:pt x="228890" y="201418"/>
                  </a:lnTo>
                  <a:lnTo>
                    <a:pt x="239897" y="209141"/>
                  </a:lnTo>
                  <a:lnTo>
                    <a:pt x="242765" y="222646"/>
                  </a:lnTo>
                  <a:lnTo>
                    <a:pt x="255853" y="217235"/>
                  </a:lnTo>
                  <a:lnTo>
                    <a:pt x="275325" y="164048"/>
                  </a:lnTo>
                  <a:lnTo>
                    <a:pt x="293639" y="151329"/>
                  </a:lnTo>
                  <a:lnTo>
                    <a:pt x="296507" y="131673"/>
                  </a:lnTo>
                  <a:lnTo>
                    <a:pt x="308624" y="120111"/>
                  </a:lnTo>
                  <a:lnTo>
                    <a:pt x="322129" y="80012"/>
                  </a:lnTo>
                  <a:lnTo>
                    <a:pt x="341415" y="73861"/>
                  </a:lnTo>
                  <a:lnTo>
                    <a:pt x="342757" y="53048"/>
                  </a:lnTo>
                  <a:lnTo>
                    <a:pt x="330639" y="46111"/>
                  </a:lnTo>
                  <a:lnTo>
                    <a:pt x="328882" y="24142"/>
                  </a:lnTo>
                  <a:lnTo>
                    <a:pt x="316348" y="6799"/>
                  </a:lnTo>
                  <a:lnTo>
                    <a:pt x="307098" y="6012"/>
                  </a:lnTo>
                  <a:lnTo>
                    <a:pt x="302843" y="13736"/>
                  </a:lnTo>
                  <a:lnTo>
                    <a:pt x="293223" y="13366"/>
                  </a:lnTo>
                  <a:lnTo>
                    <a:pt x="284760" y="25715"/>
                  </a:lnTo>
                  <a:lnTo>
                    <a:pt x="270098" y="25345"/>
                  </a:lnTo>
                  <a:lnTo>
                    <a:pt x="251598" y="14569"/>
                  </a:lnTo>
                  <a:lnTo>
                    <a:pt x="210945" y="20442"/>
                  </a:lnTo>
                  <a:lnTo>
                    <a:pt x="198828" y="34040"/>
                  </a:lnTo>
                  <a:lnTo>
                    <a:pt x="173945" y="30849"/>
                  </a:lnTo>
                  <a:lnTo>
                    <a:pt x="169598" y="25669"/>
                  </a:lnTo>
                  <a:lnTo>
                    <a:pt x="163539" y="26224"/>
                  </a:lnTo>
                  <a:lnTo>
                    <a:pt x="156602" y="17852"/>
                  </a:lnTo>
                  <a:lnTo>
                    <a:pt x="145918" y="16696"/>
                  </a:lnTo>
                  <a:lnTo>
                    <a:pt x="136390" y="24189"/>
                  </a:lnTo>
                  <a:lnTo>
                    <a:pt x="130609" y="23032"/>
                  </a:lnTo>
                  <a:lnTo>
                    <a:pt x="126539" y="28212"/>
                  </a:lnTo>
                  <a:lnTo>
                    <a:pt x="119879" y="27334"/>
                  </a:lnTo>
                  <a:lnTo>
                    <a:pt x="103414" y="6521"/>
                  </a:lnTo>
                  <a:lnTo>
                    <a:pt x="97032" y="8279"/>
                  </a:lnTo>
                  <a:lnTo>
                    <a:pt x="79411" y="0"/>
                  </a:lnTo>
                  <a:lnTo>
                    <a:pt x="71548" y="5689"/>
                  </a:lnTo>
                  <a:lnTo>
                    <a:pt x="54066" y="5272"/>
                  </a:lnTo>
                  <a:lnTo>
                    <a:pt x="39636" y="15355"/>
                  </a:lnTo>
                  <a:lnTo>
                    <a:pt x="36954" y="32329"/>
                  </a:lnTo>
                  <a:lnTo>
                    <a:pt x="25669" y="40700"/>
                  </a:lnTo>
                  <a:lnTo>
                    <a:pt x="27704" y="62668"/>
                  </a:lnTo>
                  <a:lnTo>
                    <a:pt x="22524" y="66738"/>
                  </a:lnTo>
                  <a:lnTo>
                    <a:pt x="19656" y="77422"/>
                  </a:lnTo>
                  <a:lnTo>
                    <a:pt x="32745" y="97448"/>
                  </a:lnTo>
                  <a:lnTo>
                    <a:pt x="11562" y="141755"/>
                  </a:lnTo>
                  <a:lnTo>
                    <a:pt x="1156" y="144438"/>
                  </a:lnTo>
                  <a:lnTo>
                    <a:pt x="0" y="218807"/>
                  </a:lnTo>
                  <a:lnTo>
                    <a:pt x="0" y="218807"/>
                  </a:lnTo>
                  <a:cubicBezTo>
                    <a:pt x="21784" y="217281"/>
                    <a:pt x="22107" y="217235"/>
                    <a:pt x="24975" y="217559"/>
                  </a:cubicBezTo>
                  <a:cubicBezTo>
                    <a:pt x="47267" y="220149"/>
                    <a:pt x="48701" y="219640"/>
                    <a:pt x="51106" y="222276"/>
                  </a:cubicBezTo>
                  <a:cubicBezTo>
                    <a:pt x="66692" y="239481"/>
                    <a:pt x="67802" y="240267"/>
                    <a:pt x="69328" y="243505"/>
                  </a:cubicBezTo>
                  <a:cubicBezTo>
                    <a:pt x="79920" y="266352"/>
                    <a:pt x="79966" y="267185"/>
                    <a:pt x="82510" y="269497"/>
                  </a:cubicBezTo>
                  <a:cubicBezTo>
                    <a:pt x="91852" y="278007"/>
                    <a:pt x="92962" y="279765"/>
                    <a:pt x="96292" y="279395"/>
                  </a:cubicBezTo>
                  <a:cubicBezTo>
                    <a:pt x="152023" y="273243"/>
                    <a:pt x="157897" y="272920"/>
                    <a:pt x="158174" y="272966"/>
                  </a:cubicBezTo>
                  <a:cubicBezTo>
                    <a:pt x="161088" y="272688"/>
                    <a:pt x="160625" y="268711"/>
                    <a:pt x="160487" y="269173"/>
                  </a:cubicBezTo>
                  <a:cubicBezTo>
                    <a:pt x="160394" y="267740"/>
                    <a:pt x="161504" y="266537"/>
                    <a:pt x="162938" y="266537"/>
                  </a:cubicBezTo>
                  <a:lnTo>
                    <a:pt x="168118" y="266445"/>
                  </a:lnTo>
                  <a:cubicBezTo>
                    <a:pt x="168997" y="266445"/>
                    <a:pt x="169783" y="266722"/>
                    <a:pt x="170476" y="267138"/>
                  </a:cubicBezTo>
                  <a:lnTo>
                    <a:pt x="177321" y="253911"/>
                  </a:lnTo>
                  <a:lnTo>
                    <a:pt x="176350" y="238094"/>
                  </a:lnTo>
                  <a:close/>
                </a:path>
              </a:pathLst>
            </a:custGeom>
            <a:grpFill/>
            <a:ln w="4609" cap="flat">
              <a:noFill/>
              <a:prstDash val="solid"/>
              <a:miter/>
            </a:ln>
          </p:spPr>
          <p:txBody>
            <a:bodyPr rtlCol="0" anchor="ctr"/>
            <a:lstStyle/>
            <a:p>
              <a:endParaRPr lang="en-IN"/>
            </a:p>
          </p:txBody>
        </p:sp>
        <p:sp>
          <p:nvSpPr>
            <p:cNvPr id="88" name="Freeform: Shape 87">
              <a:extLst>
                <a:ext uri="{FF2B5EF4-FFF2-40B4-BE49-F238E27FC236}">
                  <a16:creationId xmlns:a16="http://schemas.microsoft.com/office/drawing/2014/main" id="{DED2EB2E-A2A5-A4FA-B2A3-77F563EAB5EF}"/>
                </a:ext>
              </a:extLst>
            </p:cNvPr>
            <p:cNvSpPr/>
            <p:nvPr/>
          </p:nvSpPr>
          <p:spPr>
            <a:xfrm>
              <a:off x="5828690" y="4331871"/>
              <a:ext cx="461618" cy="355197"/>
            </a:xfrm>
            <a:custGeom>
              <a:avLst/>
              <a:gdLst>
                <a:gd name="connsiteX0" fmla="*/ 449455 w 461618"/>
                <a:gd name="connsiteY0" fmla="*/ 84313 h 355197"/>
                <a:gd name="connsiteX1" fmla="*/ 450611 w 461618"/>
                <a:gd name="connsiteY1" fmla="*/ 73907 h 355197"/>
                <a:gd name="connsiteX2" fmla="*/ 438679 w 461618"/>
                <a:gd name="connsiteY2" fmla="*/ 61003 h 355197"/>
                <a:gd name="connsiteX3" fmla="*/ 432204 w 461618"/>
                <a:gd name="connsiteY3" fmla="*/ 15632 h 355197"/>
                <a:gd name="connsiteX4" fmla="*/ 410143 w 461618"/>
                <a:gd name="connsiteY4" fmla="*/ 27565 h 355197"/>
                <a:gd name="connsiteX5" fmla="*/ 390903 w 461618"/>
                <a:gd name="connsiteY5" fmla="*/ 9897 h 355197"/>
                <a:gd name="connsiteX6" fmla="*/ 344607 w 461618"/>
                <a:gd name="connsiteY6" fmla="*/ 0 h 355197"/>
                <a:gd name="connsiteX7" fmla="*/ 212471 w 461618"/>
                <a:gd name="connsiteY7" fmla="*/ 79041 h 355197"/>
                <a:gd name="connsiteX8" fmla="*/ 164649 w 461618"/>
                <a:gd name="connsiteY8" fmla="*/ 124319 h 355197"/>
                <a:gd name="connsiteX9" fmla="*/ 118769 w 461618"/>
                <a:gd name="connsiteY9" fmla="*/ 134170 h 355197"/>
                <a:gd name="connsiteX10" fmla="*/ 118769 w 461618"/>
                <a:gd name="connsiteY10" fmla="*/ 214414 h 355197"/>
                <a:gd name="connsiteX11" fmla="*/ 99714 w 461618"/>
                <a:gd name="connsiteY11" fmla="*/ 245632 h 355197"/>
                <a:gd name="connsiteX12" fmla="*/ 34965 w 461618"/>
                <a:gd name="connsiteY12" fmla="*/ 247343 h 355197"/>
                <a:gd name="connsiteX13" fmla="*/ 22246 w 461618"/>
                <a:gd name="connsiteY13" fmla="*/ 259507 h 355197"/>
                <a:gd name="connsiteX14" fmla="*/ 1989 w 461618"/>
                <a:gd name="connsiteY14" fmla="*/ 257056 h 355197"/>
                <a:gd name="connsiteX15" fmla="*/ 0 w 461618"/>
                <a:gd name="connsiteY15" fmla="*/ 272781 h 355197"/>
                <a:gd name="connsiteX16" fmla="*/ 12395 w 461618"/>
                <a:gd name="connsiteY16" fmla="*/ 293316 h 355197"/>
                <a:gd name="connsiteX17" fmla="*/ 30849 w 461618"/>
                <a:gd name="connsiteY17" fmla="*/ 305896 h 355197"/>
                <a:gd name="connsiteX18" fmla="*/ 23587 w 461618"/>
                <a:gd name="connsiteY18" fmla="*/ 308439 h 355197"/>
                <a:gd name="connsiteX19" fmla="*/ 23680 w 461618"/>
                <a:gd name="connsiteY19" fmla="*/ 316441 h 355197"/>
                <a:gd name="connsiteX20" fmla="*/ 39867 w 461618"/>
                <a:gd name="connsiteY20" fmla="*/ 326847 h 355197"/>
                <a:gd name="connsiteX21" fmla="*/ 53650 w 461618"/>
                <a:gd name="connsiteY21" fmla="*/ 323471 h 355197"/>
                <a:gd name="connsiteX22" fmla="*/ 60402 w 461618"/>
                <a:gd name="connsiteY22" fmla="*/ 331749 h 355197"/>
                <a:gd name="connsiteX23" fmla="*/ 52863 w 461618"/>
                <a:gd name="connsiteY23" fmla="*/ 335033 h 355197"/>
                <a:gd name="connsiteX24" fmla="*/ 63270 w 461618"/>
                <a:gd name="connsiteY24" fmla="*/ 354319 h 355197"/>
                <a:gd name="connsiteX25" fmla="*/ 68496 w 461618"/>
                <a:gd name="connsiteY25" fmla="*/ 345347 h 355197"/>
                <a:gd name="connsiteX26" fmla="*/ 66183 w 461618"/>
                <a:gd name="connsiteY26" fmla="*/ 339010 h 355197"/>
                <a:gd name="connsiteX27" fmla="*/ 78301 w 461618"/>
                <a:gd name="connsiteY27" fmla="*/ 334385 h 355197"/>
                <a:gd name="connsiteX28" fmla="*/ 98558 w 461618"/>
                <a:gd name="connsiteY28" fmla="*/ 355198 h 355197"/>
                <a:gd name="connsiteX29" fmla="*/ 103738 w 461618"/>
                <a:gd name="connsiteY29" fmla="*/ 351128 h 355197"/>
                <a:gd name="connsiteX30" fmla="*/ 101749 w 461618"/>
                <a:gd name="connsiteY30" fmla="*/ 329159 h 355197"/>
                <a:gd name="connsiteX31" fmla="*/ 112988 w 461618"/>
                <a:gd name="connsiteY31" fmla="*/ 320788 h 355197"/>
                <a:gd name="connsiteX32" fmla="*/ 115717 w 461618"/>
                <a:gd name="connsiteY32" fmla="*/ 303814 h 355197"/>
                <a:gd name="connsiteX33" fmla="*/ 130100 w 461618"/>
                <a:gd name="connsiteY33" fmla="*/ 293732 h 355197"/>
                <a:gd name="connsiteX34" fmla="*/ 147629 w 461618"/>
                <a:gd name="connsiteY34" fmla="*/ 294194 h 355197"/>
                <a:gd name="connsiteX35" fmla="*/ 155492 w 461618"/>
                <a:gd name="connsiteY35" fmla="*/ 288506 h 355197"/>
                <a:gd name="connsiteX36" fmla="*/ 173113 w 461618"/>
                <a:gd name="connsiteY36" fmla="*/ 296784 h 355197"/>
                <a:gd name="connsiteX37" fmla="*/ 179495 w 461618"/>
                <a:gd name="connsiteY37" fmla="*/ 295073 h 355197"/>
                <a:gd name="connsiteX38" fmla="*/ 195960 w 461618"/>
                <a:gd name="connsiteY38" fmla="*/ 315886 h 355197"/>
                <a:gd name="connsiteX39" fmla="*/ 202620 w 461618"/>
                <a:gd name="connsiteY39" fmla="*/ 316718 h 355197"/>
                <a:gd name="connsiteX40" fmla="*/ 206644 w 461618"/>
                <a:gd name="connsiteY40" fmla="*/ 311538 h 355197"/>
                <a:gd name="connsiteX41" fmla="*/ 212425 w 461618"/>
                <a:gd name="connsiteY41" fmla="*/ 312694 h 355197"/>
                <a:gd name="connsiteX42" fmla="*/ 221999 w 461618"/>
                <a:gd name="connsiteY42" fmla="*/ 305156 h 355197"/>
                <a:gd name="connsiteX43" fmla="*/ 232682 w 461618"/>
                <a:gd name="connsiteY43" fmla="*/ 306312 h 355197"/>
                <a:gd name="connsiteX44" fmla="*/ 239620 w 461618"/>
                <a:gd name="connsiteY44" fmla="*/ 314729 h 355197"/>
                <a:gd name="connsiteX45" fmla="*/ 245678 w 461618"/>
                <a:gd name="connsiteY45" fmla="*/ 314128 h 355197"/>
                <a:gd name="connsiteX46" fmla="*/ 250026 w 461618"/>
                <a:gd name="connsiteY46" fmla="*/ 319354 h 355197"/>
                <a:gd name="connsiteX47" fmla="*/ 274862 w 461618"/>
                <a:gd name="connsiteY47" fmla="*/ 322499 h 355197"/>
                <a:gd name="connsiteX48" fmla="*/ 287026 w 461618"/>
                <a:gd name="connsiteY48" fmla="*/ 308948 h 355197"/>
                <a:gd name="connsiteX49" fmla="*/ 327679 w 461618"/>
                <a:gd name="connsiteY49" fmla="*/ 303074 h 355197"/>
                <a:gd name="connsiteX50" fmla="*/ 346179 w 461618"/>
                <a:gd name="connsiteY50" fmla="*/ 313851 h 355197"/>
                <a:gd name="connsiteX51" fmla="*/ 360840 w 461618"/>
                <a:gd name="connsiteY51" fmla="*/ 314221 h 355197"/>
                <a:gd name="connsiteX52" fmla="*/ 369304 w 461618"/>
                <a:gd name="connsiteY52" fmla="*/ 301918 h 355197"/>
                <a:gd name="connsiteX53" fmla="*/ 378924 w 461618"/>
                <a:gd name="connsiteY53" fmla="*/ 302288 h 355197"/>
                <a:gd name="connsiteX54" fmla="*/ 383179 w 461618"/>
                <a:gd name="connsiteY54" fmla="*/ 294564 h 355197"/>
                <a:gd name="connsiteX55" fmla="*/ 392429 w 461618"/>
                <a:gd name="connsiteY55" fmla="*/ 295351 h 355197"/>
                <a:gd name="connsiteX56" fmla="*/ 387018 w 461618"/>
                <a:gd name="connsiteY56" fmla="*/ 273937 h 355197"/>
                <a:gd name="connsiteX57" fmla="*/ 395435 w 461618"/>
                <a:gd name="connsiteY57" fmla="*/ 269312 h 355197"/>
                <a:gd name="connsiteX58" fmla="*/ 400060 w 461618"/>
                <a:gd name="connsiteY58" fmla="*/ 252570 h 355197"/>
                <a:gd name="connsiteX59" fmla="*/ 447142 w 461618"/>
                <a:gd name="connsiteY59" fmla="*/ 199383 h 355197"/>
                <a:gd name="connsiteX60" fmla="*/ 451767 w 461618"/>
                <a:gd name="connsiteY60" fmla="*/ 114977 h 355197"/>
                <a:gd name="connsiteX61" fmla="*/ 461618 w 461618"/>
                <a:gd name="connsiteY61" fmla="*/ 97032 h 355197"/>
                <a:gd name="connsiteX62" fmla="*/ 449455 w 461618"/>
                <a:gd name="connsiteY62" fmla="*/ 84313 h 35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61618" h="355197">
                  <a:moveTo>
                    <a:pt x="449455" y="84313"/>
                  </a:moveTo>
                  <a:lnTo>
                    <a:pt x="450611" y="73907"/>
                  </a:lnTo>
                  <a:lnTo>
                    <a:pt x="438679" y="61003"/>
                  </a:lnTo>
                  <a:lnTo>
                    <a:pt x="432204" y="15632"/>
                  </a:lnTo>
                  <a:lnTo>
                    <a:pt x="410143" y="27565"/>
                  </a:lnTo>
                  <a:lnTo>
                    <a:pt x="390903" y="9897"/>
                  </a:lnTo>
                  <a:lnTo>
                    <a:pt x="344607" y="0"/>
                  </a:lnTo>
                  <a:lnTo>
                    <a:pt x="212471" y="79041"/>
                  </a:lnTo>
                  <a:lnTo>
                    <a:pt x="164649" y="124319"/>
                  </a:lnTo>
                  <a:lnTo>
                    <a:pt x="118769" y="134170"/>
                  </a:lnTo>
                  <a:lnTo>
                    <a:pt x="118769" y="214414"/>
                  </a:lnTo>
                  <a:lnTo>
                    <a:pt x="99714" y="245632"/>
                  </a:lnTo>
                  <a:lnTo>
                    <a:pt x="34965" y="247343"/>
                  </a:lnTo>
                  <a:lnTo>
                    <a:pt x="22246" y="259507"/>
                  </a:lnTo>
                  <a:lnTo>
                    <a:pt x="1989" y="257056"/>
                  </a:lnTo>
                  <a:lnTo>
                    <a:pt x="0" y="272781"/>
                  </a:lnTo>
                  <a:lnTo>
                    <a:pt x="12395" y="293316"/>
                  </a:lnTo>
                  <a:lnTo>
                    <a:pt x="30849" y="305896"/>
                  </a:lnTo>
                  <a:lnTo>
                    <a:pt x="23587" y="308439"/>
                  </a:lnTo>
                  <a:lnTo>
                    <a:pt x="23680" y="316441"/>
                  </a:lnTo>
                  <a:lnTo>
                    <a:pt x="39867" y="326847"/>
                  </a:lnTo>
                  <a:lnTo>
                    <a:pt x="53650" y="323471"/>
                  </a:lnTo>
                  <a:lnTo>
                    <a:pt x="60402" y="331749"/>
                  </a:lnTo>
                  <a:lnTo>
                    <a:pt x="52863" y="335033"/>
                  </a:lnTo>
                  <a:lnTo>
                    <a:pt x="63270" y="354319"/>
                  </a:lnTo>
                  <a:lnTo>
                    <a:pt x="68496" y="345347"/>
                  </a:lnTo>
                  <a:lnTo>
                    <a:pt x="66183" y="339010"/>
                  </a:lnTo>
                  <a:lnTo>
                    <a:pt x="78301" y="334385"/>
                  </a:lnTo>
                  <a:lnTo>
                    <a:pt x="98558" y="355198"/>
                  </a:lnTo>
                  <a:lnTo>
                    <a:pt x="103738" y="351128"/>
                  </a:lnTo>
                  <a:lnTo>
                    <a:pt x="101749" y="329159"/>
                  </a:lnTo>
                  <a:lnTo>
                    <a:pt x="112988" y="320788"/>
                  </a:lnTo>
                  <a:lnTo>
                    <a:pt x="115717" y="303814"/>
                  </a:lnTo>
                  <a:lnTo>
                    <a:pt x="130100" y="293732"/>
                  </a:lnTo>
                  <a:lnTo>
                    <a:pt x="147629" y="294194"/>
                  </a:lnTo>
                  <a:lnTo>
                    <a:pt x="155492" y="288506"/>
                  </a:lnTo>
                  <a:lnTo>
                    <a:pt x="173113" y="296784"/>
                  </a:lnTo>
                  <a:lnTo>
                    <a:pt x="179495" y="295073"/>
                  </a:lnTo>
                  <a:lnTo>
                    <a:pt x="195960" y="315886"/>
                  </a:lnTo>
                  <a:lnTo>
                    <a:pt x="202620" y="316718"/>
                  </a:lnTo>
                  <a:lnTo>
                    <a:pt x="206644" y="311538"/>
                  </a:lnTo>
                  <a:lnTo>
                    <a:pt x="212425" y="312694"/>
                  </a:lnTo>
                  <a:lnTo>
                    <a:pt x="221999" y="305156"/>
                  </a:lnTo>
                  <a:lnTo>
                    <a:pt x="232682" y="306312"/>
                  </a:lnTo>
                  <a:lnTo>
                    <a:pt x="239620" y="314729"/>
                  </a:lnTo>
                  <a:lnTo>
                    <a:pt x="245678" y="314128"/>
                  </a:lnTo>
                  <a:lnTo>
                    <a:pt x="250026" y="319354"/>
                  </a:lnTo>
                  <a:lnTo>
                    <a:pt x="274862" y="322499"/>
                  </a:lnTo>
                  <a:lnTo>
                    <a:pt x="287026" y="308948"/>
                  </a:lnTo>
                  <a:lnTo>
                    <a:pt x="327679" y="303074"/>
                  </a:lnTo>
                  <a:lnTo>
                    <a:pt x="346179" y="313851"/>
                  </a:lnTo>
                  <a:lnTo>
                    <a:pt x="360840" y="314221"/>
                  </a:lnTo>
                  <a:lnTo>
                    <a:pt x="369304" y="301918"/>
                  </a:lnTo>
                  <a:lnTo>
                    <a:pt x="378924" y="302288"/>
                  </a:lnTo>
                  <a:lnTo>
                    <a:pt x="383179" y="294564"/>
                  </a:lnTo>
                  <a:lnTo>
                    <a:pt x="392429" y="295351"/>
                  </a:lnTo>
                  <a:lnTo>
                    <a:pt x="387018" y="273937"/>
                  </a:lnTo>
                  <a:lnTo>
                    <a:pt x="395435" y="269312"/>
                  </a:lnTo>
                  <a:lnTo>
                    <a:pt x="400060" y="252570"/>
                  </a:lnTo>
                  <a:lnTo>
                    <a:pt x="447142" y="199383"/>
                  </a:lnTo>
                  <a:lnTo>
                    <a:pt x="451767" y="114977"/>
                  </a:lnTo>
                  <a:lnTo>
                    <a:pt x="461618" y="97032"/>
                  </a:lnTo>
                  <a:lnTo>
                    <a:pt x="449455" y="84313"/>
                  </a:lnTo>
                  <a:close/>
                </a:path>
              </a:pathLst>
            </a:custGeom>
            <a:grpFill/>
            <a:ln w="4609" cap="flat">
              <a:noFill/>
              <a:prstDash val="solid"/>
              <a:miter/>
            </a:ln>
          </p:spPr>
          <p:txBody>
            <a:bodyPr rtlCol="0" anchor="ctr"/>
            <a:lstStyle/>
            <a:p>
              <a:endParaRPr lang="en-IN"/>
            </a:p>
          </p:txBody>
        </p:sp>
        <p:sp>
          <p:nvSpPr>
            <p:cNvPr id="89" name="Freeform: Shape 88">
              <a:extLst>
                <a:ext uri="{FF2B5EF4-FFF2-40B4-BE49-F238E27FC236}">
                  <a16:creationId xmlns:a16="http://schemas.microsoft.com/office/drawing/2014/main" id="{28B456DB-1DE4-9F13-7A43-B929C5D0652B}"/>
                </a:ext>
              </a:extLst>
            </p:cNvPr>
            <p:cNvSpPr/>
            <p:nvPr/>
          </p:nvSpPr>
          <p:spPr>
            <a:xfrm>
              <a:off x="6166172" y="5526131"/>
              <a:ext cx="393032" cy="369951"/>
            </a:xfrm>
            <a:custGeom>
              <a:avLst/>
              <a:gdLst>
                <a:gd name="connsiteX0" fmla="*/ 361721 w 393032"/>
                <a:gd name="connsiteY0" fmla="*/ 15077 h 369951"/>
                <a:gd name="connsiteX1" fmla="*/ 279628 w 393032"/>
                <a:gd name="connsiteY1" fmla="*/ 31820 h 369951"/>
                <a:gd name="connsiteX2" fmla="*/ 210253 w 393032"/>
                <a:gd name="connsiteY2" fmla="*/ 28952 h 369951"/>
                <a:gd name="connsiteX3" fmla="*/ 192910 w 393032"/>
                <a:gd name="connsiteY3" fmla="*/ 15632 h 369951"/>
                <a:gd name="connsiteX4" fmla="*/ 65168 w 393032"/>
                <a:gd name="connsiteY4" fmla="*/ 15632 h 369951"/>
                <a:gd name="connsiteX5" fmla="*/ 39176 w 393032"/>
                <a:gd name="connsiteY5" fmla="*/ 0 h 369951"/>
                <a:gd name="connsiteX6" fmla="*/ 835 w 393032"/>
                <a:gd name="connsiteY6" fmla="*/ 9389 h 369951"/>
                <a:gd name="connsiteX7" fmla="*/ 2 w 393032"/>
                <a:gd name="connsiteY7" fmla="*/ 30479 h 369951"/>
                <a:gd name="connsiteX8" fmla="*/ 1621 w 393032"/>
                <a:gd name="connsiteY8" fmla="*/ 35057 h 369951"/>
                <a:gd name="connsiteX9" fmla="*/ 6199 w 393032"/>
                <a:gd name="connsiteY9" fmla="*/ 40237 h 369951"/>
                <a:gd name="connsiteX10" fmla="*/ 8327 w 393032"/>
                <a:gd name="connsiteY10" fmla="*/ 48238 h 369951"/>
                <a:gd name="connsiteX11" fmla="*/ 21323 w 393032"/>
                <a:gd name="connsiteY11" fmla="*/ 62992 h 369951"/>
                <a:gd name="connsiteX12" fmla="*/ 39083 w 393032"/>
                <a:gd name="connsiteY12" fmla="*/ 95968 h 369951"/>
                <a:gd name="connsiteX13" fmla="*/ 49905 w 393032"/>
                <a:gd name="connsiteY13" fmla="*/ 125290 h 369951"/>
                <a:gd name="connsiteX14" fmla="*/ 79274 w 393032"/>
                <a:gd name="connsiteY14" fmla="*/ 170060 h 369951"/>
                <a:gd name="connsiteX15" fmla="*/ 79274 w 393032"/>
                <a:gd name="connsiteY15" fmla="*/ 183843 h 369951"/>
                <a:gd name="connsiteX16" fmla="*/ 77332 w 393032"/>
                <a:gd name="connsiteY16" fmla="*/ 186248 h 369951"/>
                <a:gd name="connsiteX17" fmla="*/ 80060 w 393032"/>
                <a:gd name="connsiteY17" fmla="*/ 205349 h 369951"/>
                <a:gd name="connsiteX18" fmla="*/ 79875 w 393032"/>
                <a:gd name="connsiteY18" fmla="*/ 222322 h 369951"/>
                <a:gd name="connsiteX19" fmla="*/ 90605 w 393032"/>
                <a:gd name="connsiteY19" fmla="*/ 251413 h 369951"/>
                <a:gd name="connsiteX20" fmla="*/ 90143 w 393032"/>
                <a:gd name="connsiteY20" fmla="*/ 268988 h 369951"/>
                <a:gd name="connsiteX21" fmla="*/ 93750 w 393032"/>
                <a:gd name="connsiteY21" fmla="*/ 282216 h 369951"/>
                <a:gd name="connsiteX22" fmla="*/ 95508 w 393032"/>
                <a:gd name="connsiteY22" fmla="*/ 287488 h 369951"/>
                <a:gd name="connsiteX23" fmla="*/ 99485 w 393032"/>
                <a:gd name="connsiteY23" fmla="*/ 292946 h 369951"/>
                <a:gd name="connsiteX24" fmla="*/ 98144 w 393032"/>
                <a:gd name="connsiteY24" fmla="*/ 297524 h 369951"/>
                <a:gd name="connsiteX25" fmla="*/ 96664 w 393032"/>
                <a:gd name="connsiteY25" fmla="*/ 300207 h 369951"/>
                <a:gd name="connsiteX26" fmla="*/ 104156 w 393032"/>
                <a:gd name="connsiteY26" fmla="*/ 320742 h 369951"/>
                <a:gd name="connsiteX27" fmla="*/ 118170 w 393032"/>
                <a:gd name="connsiteY27" fmla="*/ 341878 h 369951"/>
                <a:gd name="connsiteX28" fmla="*/ 138982 w 393032"/>
                <a:gd name="connsiteY28" fmla="*/ 361118 h 369951"/>
                <a:gd name="connsiteX29" fmla="*/ 138982 w 393032"/>
                <a:gd name="connsiteY29" fmla="*/ 360933 h 369951"/>
                <a:gd name="connsiteX30" fmla="*/ 155956 w 393032"/>
                <a:gd name="connsiteY30" fmla="*/ 341647 h 369951"/>
                <a:gd name="connsiteX31" fmla="*/ 171588 w 393032"/>
                <a:gd name="connsiteY31" fmla="*/ 364771 h 369951"/>
                <a:gd name="connsiteX32" fmla="*/ 219596 w 393032"/>
                <a:gd name="connsiteY32" fmla="*/ 369951 h 369951"/>
                <a:gd name="connsiteX33" fmla="*/ 240963 w 393032"/>
                <a:gd name="connsiteY33" fmla="*/ 354319 h 369951"/>
                <a:gd name="connsiteX34" fmla="*/ 240408 w 393032"/>
                <a:gd name="connsiteY34" fmla="*/ 241007 h 369951"/>
                <a:gd name="connsiteX35" fmla="*/ 240408 w 393032"/>
                <a:gd name="connsiteY35" fmla="*/ 156000 h 369951"/>
                <a:gd name="connsiteX36" fmla="*/ 270470 w 393032"/>
                <a:gd name="connsiteY36" fmla="*/ 156000 h 369951"/>
                <a:gd name="connsiteX37" fmla="*/ 270470 w 393032"/>
                <a:gd name="connsiteY37" fmla="*/ 47915 h 369951"/>
                <a:gd name="connsiteX38" fmla="*/ 336376 w 393032"/>
                <a:gd name="connsiteY38" fmla="*/ 37139 h 369951"/>
                <a:gd name="connsiteX39" fmla="*/ 343684 w 393032"/>
                <a:gd name="connsiteY39" fmla="*/ 50227 h 369951"/>
                <a:gd name="connsiteX40" fmla="*/ 365282 w 393032"/>
                <a:gd name="connsiteY40" fmla="*/ 33670 h 369951"/>
                <a:gd name="connsiteX41" fmla="*/ 373376 w 393032"/>
                <a:gd name="connsiteY41" fmla="*/ 38295 h 369951"/>
                <a:gd name="connsiteX42" fmla="*/ 393032 w 393032"/>
                <a:gd name="connsiteY42" fmla="*/ 28259 h 369951"/>
                <a:gd name="connsiteX43" fmla="*/ 380684 w 393032"/>
                <a:gd name="connsiteY43" fmla="*/ 16696 h 369951"/>
                <a:gd name="connsiteX44" fmla="*/ 361814 w 393032"/>
                <a:gd name="connsiteY44" fmla="*/ 14939 h 36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032" h="369951">
                  <a:moveTo>
                    <a:pt x="361721" y="15077"/>
                  </a:moveTo>
                  <a:lnTo>
                    <a:pt x="279628" y="31820"/>
                  </a:lnTo>
                  <a:lnTo>
                    <a:pt x="210253" y="28952"/>
                  </a:lnTo>
                  <a:lnTo>
                    <a:pt x="192910" y="15632"/>
                  </a:lnTo>
                  <a:lnTo>
                    <a:pt x="65168" y="15632"/>
                  </a:lnTo>
                  <a:lnTo>
                    <a:pt x="39176" y="0"/>
                  </a:lnTo>
                  <a:lnTo>
                    <a:pt x="835" y="9389"/>
                  </a:lnTo>
                  <a:cubicBezTo>
                    <a:pt x="465" y="20304"/>
                    <a:pt x="2" y="30710"/>
                    <a:pt x="2" y="30479"/>
                  </a:cubicBezTo>
                  <a:cubicBezTo>
                    <a:pt x="-44" y="31912"/>
                    <a:pt x="696" y="33994"/>
                    <a:pt x="1621" y="35057"/>
                  </a:cubicBezTo>
                  <a:lnTo>
                    <a:pt x="6199" y="40237"/>
                  </a:lnTo>
                  <a:cubicBezTo>
                    <a:pt x="8651" y="43012"/>
                    <a:pt x="8420" y="48701"/>
                    <a:pt x="8327" y="48238"/>
                  </a:cubicBezTo>
                  <a:cubicBezTo>
                    <a:pt x="8697" y="53372"/>
                    <a:pt x="18132" y="57072"/>
                    <a:pt x="21323" y="62992"/>
                  </a:cubicBezTo>
                  <a:lnTo>
                    <a:pt x="39083" y="95968"/>
                  </a:lnTo>
                  <a:cubicBezTo>
                    <a:pt x="42321" y="102027"/>
                    <a:pt x="46714" y="120619"/>
                    <a:pt x="49905" y="125290"/>
                  </a:cubicBezTo>
                  <a:cubicBezTo>
                    <a:pt x="79783" y="168673"/>
                    <a:pt x="78719" y="166591"/>
                    <a:pt x="79274" y="170060"/>
                  </a:cubicBezTo>
                  <a:cubicBezTo>
                    <a:pt x="80893" y="179958"/>
                    <a:pt x="82373" y="184120"/>
                    <a:pt x="79274" y="183843"/>
                  </a:cubicBezTo>
                  <a:cubicBezTo>
                    <a:pt x="77979" y="183750"/>
                    <a:pt x="77147" y="184814"/>
                    <a:pt x="77332" y="186248"/>
                  </a:cubicBezTo>
                  <a:lnTo>
                    <a:pt x="80060" y="205349"/>
                  </a:lnTo>
                  <a:cubicBezTo>
                    <a:pt x="80893" y="211269"/>
                    <a:pt x="77979" y="217697"/>
                    <a:pt x="79875" y="222322"/>
                  </a:cubicBezTo>
                  <a:cubicBezTo>
                    <a:pt x="90050" y="246973"/>
                    <a:pt x="90929" y="247760"/>
                    <a:pt x="90605" y="251413"/>
                  </a:cubicBezTo>
                  <a:cubicBezTo>
                    <a:pt x="89680" y="262143"/>
                    <a:pt x="88940" y="265520"/>
                    <a:pt x="90143" y="268988"/>
                  </a:cubicBezTo>
                  <a:cubicBezTo>
                    <a:pt x="92178" y="274770"/>
                    <a:pt x="93982" y="278655"/>
                    <a:pt x="93750" y="282216"/>
                  </a:cubicBezTo>
                  <a:cubicBezTo>
                    <a:pt x="93843" y="282678"/>
                    <a:pt x="93149" y="285453"/>
                    <a:pt x="95508" y="287488"/>
                  </a:cubicBezTo>
                  <a:cubicBezTo>
                    <a:pt x="95924" y="287951"/>
                    <a:pt x="98745" y="289662"/>
                    <a:pt x="99485" y="292946"/>
                  </a:cubicBezTo>
                  <a:cubicBezTo>
                    <a:pt x="99485" y="293408"/>
                    <a:pt x="101150" y="297247"/>
                    <a:pt x="98144" y="297524"/>
                  </a:cubicBezTo>
                  <a:cubicBezTo>
                    <a:pt x="96849" y="297617"/>
                    <a:pt x="96201" y="298819"/>
                    <a:pt x="96664" y="300207"/>
                  </a:cubicBezTo>
                  <a:cubicBezTo>
                    <a:pt x="101335" y="314267"/>
                    <a:pt x="102168" y="317597"/>
                    <a:pt x="104156" y="320742"/>
                  </a:cubicBezTo>
                  <a:cubicBezTo>
                    <a:pt x="114378" y="337068"/>
                    <a:pt x="115441" y="339380"/>
                    <a:pt x="118170" y="341878"/>
                  </a:cubicBezTo>
                  <a:cubicBezTo>
                    <a:pt x="130796" y="353440"/>
                    <a:pt x="136254" y="358389"/>
                    <a:pt x="138982" y="361118"/>
                  </a:cubicBezTo>
                  <a:lnTo>
                    <a:pt x="138982" y="360933"/>
                  </a:lnTo>
                  <a:cubicBezTo>
                    <a:pt x="138982" y="360933"/>
                    <a:pt x="155956" y="341647"/>
                    <a:pt x="155956" y="341647"/>
                  </a:cubicBezTo>
                  <a:lnTo>
                    <a:pt x="171588" y="364771"/>
                  </a:lnTo>
                  <a:lnTo>
                    <a:pt x="219596" y="369951"/>
                  </a:lnTo>
                  <a:lnTo>
                    <a:pt x="240963" y="354319"/>
                  </a:lnTo>
                  <a:lnTo>
                    <a:pt x="240408" y="241007"/>
                  </a:lnTo>
                  <a:lnTo>
                    <a:pt x="240408" y="156000"/>
                  </a:lnTo>
                  <a:lnTo>
                    <a:pt x="270470" y="156000"/>
                  </a:lnTo>
                  <a:lnTo>
                    <a:pt x="270470" y="47915"/>
                  </a:lnTo>
                  <a:lnTo>
                    <a:pt x="336376" y="37139"/>
                  </a:lnTo>
                  <a:lnTo>
                    <a:pt x="343684" y="50227"/>
                  </a:lnTo>
                  <a:lnTo>
                    <a:pt x="365282" y="33670"/>
                  </a:lnTo>
                  <a:lnTo>
                    <a:pt x="373376" y="38295"/>
                  </a:lnTo>
                  <a:lnTo>
                    <a:pt x="393032" y="28259"/>
                  </a:lnTo>
                  <a:lnTo>
                    <a:pt x="380684" y="16696"/>
                  </a:lnTo>
                  <a:lnTo>
                    <a:pt x="361814" y="14939"/>
                  </a:lnTo>
                  <a:close/>
                </a:path>
              </a:pathLst>
            </a:custGeom>
            <a:grpFill/>
            <a:ln w="4609" cap="flat">
              <a:noFill/>
              <a:prstDash val="solid"/>
              <a:miter/>
            </a:ln>
          </p:spPr>
          <p:txBody>
            <a:bodyPr rtlCol="0" anchor="ctr"/>
            <a:lstStyle/>
            <a:p>
              <a:endParaRPr lang="en-IN"/>
            </a:p>
          </p:txBody>
        </p:sp>
        <p:sp>
          <p:nvSpPr>
            <p:cNvPr id="90" name="Freeform: Shape 89">
              <a:extLst>
                <a:ext uri="{FF2B5EF4-FFF2-40B4-BE49-F238E27FC236}">
                  <a16:creationId xmlns:a16="http://schemas.microsoft.com/office/drawing/2014/main" id="{96B09419-B07F-0565-86BA-1FDDCE4095E3}"/>
                </a:ext>
              </a:extLst>
            </p:cNvPr>
            <p:cNvSpPr/>
            <p:nvPr/>
          </p:nvSpPr>
          <p:spPr>
            <a:xfrm>
              <a:off x="6704798" y="5334379"/>
              <a:ext cx="310339" cy="496814"/>
            </a:xfrm>
            <a:custGeom>
              <a:avLst/>
              <a:gdLst>
                <a:gd name="connsiteX0" fmla="*/ 226947 w 310339"/>
                <a:gd name="connsiteY0" fmla="*/ 24466 h 496814"/>
                <a:gd name="connsiteX1" fmla="*/ 211315 w 310339"/>
                <a:gd name="connsiteY1" fmla="*/ 39220 h 496814"/>
                <a:gd name="connsiteX2" fmla="*/ 193694 w 310339"/>
                <a:gd name="connsiteY2" fmla="*/ 32837 h 496814"/>
                <a:gd name="connsiteX3" fmla="*/ 182131 w 310339"/>
                <a:gd name="connsiteY3" fmla="*/ 39775 h 496814"/>
                <a:gd name="connsiteX4" fmla="*/ 165389 w 310339"/>
                <a:gd name="connsiteY4" fmla="*/ 28767 h 496814"/>
                <a:gd name="connsiteX5" fmla="*/ 156694 w 310339"/>
                <a:gd name="connsiteY5" fmla="*/ 35150 h 496814"/>
                <a:gd name="connsiteX6" fmla="*/ 137917 w 310339"/>
                <a:gd name="connsiteY6" fmla="*/ 34872 h 496814"/>
                <a:gd name="connsiteX7" fmla="*/ 137454 w 310339"/>
                <a:gd name="connsiteY7" fmla="*/ 43798 h 496814"/>
                <a:gd name="connsiteX8" fmla="*/ 135419 w 310339"/>
                <a:gd name="connsiteY8" fmla="*/ 48238 h 496814"/>
                <a:gd name="connsiteX9" fmla="*/ 132043 w 310339"/>
                <a:gd name="connsiteY9" fmla="*/ 53973 h 496814"/>
                <a:gd name="connsiteX10" fmla="*/ 131950 w 310339"/>
                <a:gd name="connsiteY10" fmla="*/ 56240 h 496814"/>
                <a:gd name="connsiteX11" fmla="*/ 134078 w 310339"/>
                <a:gd name="connsiteY11" fmla="*/ 64796 h 496814"/>
                <a:gd name="connsiteX12" fmla="*/ 133754 w 310339"/>
                <a:gd name="connsiteY12" fmla="*/ 71410 h 496814"/>
                <a:gd name="connsiteX13" fmla="*/ 133754 w 310339"/>
                <a:gd name="connsiteY13" fmla="*/ 82093 h 496814"/>
                <a:gd name="connsiteX14" fmla="*/ 134263 w 310339"/>
                <a:gd name="connsiteY14" fmla="*/ 84267 h 496814"/>
                <a:gd name="connsiteX15" fmla="*/ 135789 w 310339"/>
                <a:gd name="connsiteY15" fmla="*/ 86626 h 496814"/>
                <a:gd name="connsiteX16" fmla="*/ 165065 w 310339"/>
                <a:gd name="connsiteY16" fmla="*/ 119278 h 496814"/>
                <a:gd name="connsiteX17" fmla="*/ 165065 w 310339"/>
                <a:gd name="connsiteY17" fmla="*/ 166684 h 496814"/>
                <a:gd name="connsiteX18" fmla="*/ 149155 w 310339"/>
                <a:gd name="connsiteY18" fmla="*/ 172188 h 496814"/>
                <a:gd name="connsiteX19" fmla="*/ 149155 w 310339"/>
                <a:gd name="connsiteY19" fmla="*/ 202250 h 496814"/>
                <a:gd name="connsiteX20" fmla="*/ 139027 w 310339"/>
                <a:gd name="connsiteY20" fmla="*/ 198504 h 496814"/>
                <a:gd name="connsiteX21" fmla="*/ 141062 w 310339"/>
                <a:gd name="connsiteY21" fmla="*/ 190410 h 496814"/>
                <a:gd name="connsiteX22" fmla="*/ 116781 w 310339"/>
                <a:gd name="connsiteY22" fmla="*/ 160903 h 496814"/>
                <a:gd name="connsiteX23" fmla="*/ 126909 w 310339"/>
                <a:gd name="connsiteY23" fmla="*/ 143836 h 496814"/>
                <a:gd name="connsiteX24" fmla="*/ 122839 w 310339"/>
                <a:gd name="connsiteY24" fmla="*/ 118677 h 496814"/>
                <a:gd name="connsiteX25" fmla="*/ 99992 w 310339"/>
                <a:gd name="connsiteY25" fmla="*/ 123857 h 496814"/>
                <a:gd name="connsiteX26" fmla="*/ 88429 w 310339"/>
                <a:gd name="connsiteY26" fmla="*/ 106791 h 496814"/>
                <a:gd name="connsiteX27" fmla="*/ 0 w 310339"/>
                <a:gd name="connsiteY27" fmla="*/ 135419 h 496814"/>
                <a:gd name="connsiteX28" fmla="*/ 6567 w 310339"/>
                <a:gd name="connsiteY28" fmla="*/ 165019 h 496814"/>
                <a:gd name="connsiteX29" fmla="*/ 38156 w 310339"/>
                <a:gd name="connsiteY29" fmla="*/ 167701 h 496814"/>
                <a:gd name="connsiteX30" fmla="*/ 50088 w 310339"/>
                <a:gd name="connsiteY30" fmla="*/ 178478 h 496814"/>
                <a:gd name="connsiteX31" fmla="*/ 78994 w 310339"/>
                <a:gd name="connsiteY31" fmla="*/ 186201 h 496814"/>
                <a:gd name="connsiteX32" fmla="*/ 80521 w 310339"/>
                <a:gd name="connsiteY32" fmla="*/ 243643 h 496814"/>
                <a:gd name="connsiteX33" fmla="*/ 70901 w 310339"/>
                <a:gd name="connsiteY33" fmla="*/ 251737 h 496814"/>
                <a:gd name="connsiteX34" fmla="*/ 77052 w 310339"/>
                <a:gd name="connsiteY34" fmla="*/ 259461 h 496814"/>
                <a:gd name="connsiteX35" fmla="*/ 73583 w 310339"/>
                <a:gd name="connsiteY35" fmla="*/ 271393 h 496814"/>
                <a:gd name="connsiteX36" fmla="*/ 82833 w 310339"/>
                <a:gd name="connsiteY36" fmla="*/ 280273 h 496814"/>
                <a:gd name="connsiteX37" fmla="*/ 73583 w 310339"/>
                <a:gd name="connsiteY37" fmla="*/ 300299 h 496814"/>
                <a:gd name="connsiteX38" fmla="*/ 64333 w 310339"/>
                <a:gd name="connsiteY38" fmla="*/ 303768 h 496814"/>
                <a:gd name="connsiteX39" fmla="*/ 67016 w 310339"/>
                <a:gd name="connsiteY39" fmla="*/ 324950 h 496814"/>
                <a:gd name="connsiteX40" fmla="*/ 29646 w 310339"/>
                <a:gd name="connsiteY40" fmla="*/ 356539 h 496814"/>
                <a:gd name="connsiteX41" fmla="*/ 38896 w 310339"/>
                <a:gd name="connsiteY41" fmla="*/ 381190 h 496814"/>
                <a:gd name="connsiteX42" fmla="*/ 37740 w 310339"/>
                <a:gd name="connsiteY42" fmla="*/ 392383 h 496814"/>
                <a:gd name="connsiteX43" fmla="*/ 51985 w 310339"/>
                <a:gd name="connsiteY43" fmla="*/ 421289 h 496814"/>
                <a:gd name="connsiteX44" fmla="*/ 51985 w 310339"/>
                <a:gd name="connsiteY44" fmla="*/ 496814 h 496814"/>
                <a:gd name="connsiteX45" fmla="*/ 77376 w 310339"/>
                <a:gd name="connsiteY45" fmla="*/ 496814 h 496814"/>
                <a:gd name="connsiteX46" fmla="*/ 80058 w 310339"/>
                <a:gd name="connsiteY46" fmla="*/ 468417 h 496814"/>
                <a:gd name="connsiteX47" fmla="*/ 78948 w 310339"/>
                <a:gd name="connsiteY47" fmla="*/ 468047 h 496814"/>
                <a:gd name="connsiteX48" fmla="*/ 72242 w 310339"/>
                <a:gd name="connsiteY48" fmla="*/ 474198 h 496814"/>
                <a:gd name="connsiteX49" fmla="*/ 68912 w 310339"/>
                <a:gd name="connsiteY49" fmla="*/ 466428 h 496814"/>
                <a:gd name="connsiteX50" fmla="*/ 80474 w 310339"/>
                <a:gd name="connsiteY50" fmla="*/ 449871 h 496814"/>
                <a:gd name="connsiteX51" fmla="*/ 144345 w 310339"/>
                <a:gd name="connsiteY51" fmla="*/ 424989 h 496814"/>
                <a:gd name="connsiteX52" fmla="*/ 153688 w 310339"/>
                <a:gd name="connsiteY52" fmla="*/ 410651 h 496814"/>
                <a:gd name="connsiteX53" fmla="*/ 153225 w 310339"/>
                <a:gd name="connsiteY53" fmla="*/ 402974 h 496814"/>
                <a:gd name="connsiteX54" fmla="*/ 149201 w 310339"/>
                <a:gd name="connsiteY54" fmla="*/ 403159 h 496814"/>
                <a:gd name="connsiteX55" fmla="*/ 156093 w 310339"/>
                <a:gd name="connsiteY55" fmla="*/ 373605 h 496814"/>
                <a:gd name="connsiteX56" fmla="*/ 153919 w 310339"/>
                <a:gd name="connsiteY56" fmla="*/ 350526 h 496814"/>
                <a:gd name="connsiteX57" fmla="*/ 148369 w 310339"/>
                <a:gd name="connsiteY57" fmla="*/ 351637 h 496814"/>
                <a:gd name="connsiteX58" fmla="*/ 146103 w 310339"/>
                <a:gd name="connsiteY58" fmla="*/ 334617 h 496814"/>
                <a:gd name="connsiteX59" fmla="*/ 141570 w 310339"/>
                <a:gd name="connsiteY59" fmla="*/ 322777 h 496814"/>
                <a:gd name="connsiteX60" fmla="*/ 141432 w 310339"/>
                <a:gd name="connsiteY60" fmla="*/ 312555 h 496814"/>
                <a:gd name="connsiteX61" fmla="*/ 130517 w 310339"/>
                <a:gd name="connsiteY61" fmla="*/ 299051 h 496814"/>
                <a:gd name="connsiteX62" fmla="*/ 134864 w 310339"/>
                <a:gd name="connsiteY62" fmla="*/ 284251 h 496814"/>
                <a:gd name="connsiteX63" fmla="*/ 164556 w 310339"/>
                <a:gd name="connsiteY63" fmla="*/ 256778 h 496814"/>
                <a:gd name="connsiteX64" fmla="*/ 172789 w 310339"/>
                <a:gd name="connsiteY64" fmla="*/ 254235 h 496814"/>
                <a:gd name="connsiteX65" fmla="*/ 174963 w 310339"/>
                <a:gd name="connsiteY65" fmla="*/ 250627 h 496814"/>
                <a:gd name="connsiteX66" fmla="*/ 177599 w 310339"/>
                <a:gd name="connsiteY66" fmla="*/ 249193 h 496814"/>
                <a:gd name="connsiteX67" fmla="*/ 181299 w 310339"/>
                <a:gd name="connsiteY67" fmla="*/ 247852 h 496814"/>
                <a:gd name="connsiteX68" fmla="*/ 182918 w 310339"/>
                <a:gd name="connsiteY68" fmla="*/ 244892 h 496814"/>
                <a:gd name="connsiteX69" fmla="*/ 204562 w 310339"/>
                <a:gd name="connsiteY69" fmla="*/ 218160 h 496814"/>
                <a:gd name="connsiteX70" fmla="*/ 225514 w 310339"/>
                <a:gd name="connsiteY70" fmla="*/ 206644 h 496814"/>
                <a:gd name="connsiteX71" fmla="*/ 235087 w 310339"/>
                <a:gd name="connsiteY71" fmla="*/ 202805 h 496814"/>
                <a:gd name="connsiteX72" fmla="*/ 259137 w 310339"/>
                <a:gd name="connsiteY72" fmla="*/ 194989 h 496814"/>
                <a:gd name="connsiteX73" fmla="*/ 263161 w 310339"/>
                <a:gd name="connsiteY73" fmla="*/ 190595 h 496814"/>
                <a:gd name="connsiteX74" fmla="*/ 280458 w 310339"/>
                <a:gd name="connsiteY74" fmla="*/ 179449 h 496814"/>
                <a:gd name="connsiteX75" fmla="*/ 283603 w 310339"/>
                <a:gd name="connsiteY75" fmla="*/ 173113 h 496814"/>
                <a:gd name="connsiteX76" fmla="*/ 286933 w 310339"/>
                <a:gd name="connsiteY76" fmla="*/ 170939 h 496814"/>
                <a:gd name="connsiteX77" fmla="*/ 299744 w 310339"/>
                <a:gd name="connsiteY77" fmla="*/ 154104 h 496814"/>
                <a:gd name="connsiteX78" fmla="*/ 304786 w 310339"/>
                <a:gd name="connsiteY78" fmla="*/ 145132 h 496814"/>
                <a:gd name="connsiteX79" fmla="*/ 304046 w 310339"/>
                <a:gd name="connsiteY79" fmla="*/ 139628 h 496814"/>
                <a:gd name="connsiteX80" fmla="*/ 306728 w 310339"/>
                <a:gd name="connsiteY80" fmla="*/ 135835 h 496814"/>
                <a:gd name="connsiteX81" fmla="*/ 310104 w 310339"/>
                <a:gd name="connsiteY81" fmla="*/ 128805 h 496814"/>
                <a:gd name="connsiteX82" fmla="*/ 310336 w 310339"/>
                <a:gd name="connsiteY82" fmla="*/ 121313 h 496814"/>
                <a:gd name="connsiteX83" fmla="*/ 306312 w 310339"/>
                <a:gd name="connsiteY83" fmla="*/ 115115 h 496814"/>
                <a:gd name="connsiteX84" fmla="*/ 304462 w 310339"/>
                <a:gd name="connsiteY84" fmla="*/ 112248 h 496814"/>
                <a:gd name="connsiteX85" fmla="*/ 302427 w 310339"/>
                <a:gd name="connsiteY85" fmla="*/ 108409 h 496814"/>
                <a:gd name="connsiteX86" fmla="*/ 303768 w 310339"/>
                <a:gd name="connsiteY86" fmla="*/ 103784 h 496814"/>
                <a:gd name="connsiteX87" fmla="*/ 302936 w 310339"/>
                <a:gd name="connsiteY87" fmla="*/ 96662 h 496814"/>
                <a:gd name="connsiteX88" fmla="*/ 301271 w 310339"/>
                <a:gd name="connsiteY88" fmla="*/ 89262 h 496814"/>
                <a:gd name="connsiteX89" fmla="*/ 301317 w 310339"/>
                <a:gd name="connsiteY89" fmla="*/ 89262 h 496814"/>
                <a:gd name="connsiteX90" fmla="*/ 302889 w 310339"/>
                <a:gd name="connsiteY90" fmla="*/ 84683 h 496814"/>
                <a:gd name="connsiteX91" fmla="*/ 300253 w 310339"/>
                <a:gd name="connsiteY91" fmla="*/ 76497 h 496814"/>
                <a:gd name="connsiteX92" fmla="*/ 297524 w 310339"/>
                <a:gd name="connsiteY92" fmla="*/ 75156 h 496814"/>
                <a:gd name="connsiteX93" fmla="*/ 300068 w 310339"/>
                <a:gd name="connsiteY93" fmla="*/ 71548 h 496814"/>
                <a:gd name="connsiteX94" fmla="*/ 301039 w 310339"/>
                <a:gd name="connsiteY94" fmla="*/ 62437 h 496814"/>
                <a:gd name="connsiteX95" fmla="*/ 300901 w 310339"/>
                <a:gd name="connsiteY95" fmla="*/ 54436 h 496814"/>
                <a:gd name="connsiteX96" fmla="*/ 299282 w 310339"/>
                <a:gd name="connsiteY96" fmla="*/ 35150 h 496814"/>
                <a:gd name="connsiteX97" fmla="*/ 300068 w 310339"/>
                <a:gd name="connsiteY97" fmla="*/ 29553 h 496814"/>
                <a:gd name="connsiteX98" fmla="*/ 298126 w 310339"/>
                <a:gd name="connsiteY98" fmla="*/ 22894 h 496814"/>
                <a:gd name="connsiteX99" fmla="*/ 301039 w 310339"/>
                <a:gd name="connsiteY99" fmla="*/ 18870 h 496814"/>
                <a:gd name="connsiteX100" fmla="*/ 301779 w 310339"/>
                <a:gd name="connsiteY100" fmla="*/ 12256 h 496814"/>
                <a:gd name="connsiteX101" fmla="*/ 301826 w 310339"/>
                <a:gd name="connsiteY101" fmla="*/ 12256 h 496814"/>
                <a:gd name="connsiteX102" fmla="*/ 301687 w 310339"/>
                <a:gd name="connsiteY102" fmla="*/ 6336 h 496814"/>
                <a:gd name="connsiteX103" fmla="*/ 302103 w 310339"/>
                <a:gd name="connsiteY103" fmla="*/ 1850 h 496814"/>
                <a:gd name="connsiteX104" fmla="*/ 297016 w 310339"/>
                <a:gd name="connsiteY104" fmla="*/ 0 h 496814"/>
                <a:gd name="connsiteX105" fmla="*/ 244337 w 310339"/>
                <a:gd name="connsiteY105" fmla="*/ 29646 h 496814"/>
                <a:gd name="connsiteX106" fmla="*/ 226901 w 310339"/>
                <a:gd name="connsiteY106" fmla="*/ 24327 h 49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310339" h="496814">
                  <a:moveTo>
                    <a:pt x="226947" y="24466"/>
                  </a:moveTo>
                  <a:lnTo>
                    <a:pt x="211315" y="39220"/>
                  </a:lnTo>
                  <a:lnTo>
                    <a:pt x="193694" y="32837"/>
                  </a:lnTo>
                  <a:lnTo>
                    <a:pt x="182131" y="39775"/>
                  </a:lnTo>
                  <a:lnTo>
                    <a:pt x="165389" y="28767"/>
                  </a:lnTo>
                  <a:lnTo>
                    <a:pt x="156694" y="35150"/>
                  </a:lnTo>
                  <a:lnTo>
                    <a:pt x="137917" y="34872"/>
                  </a:lnTo>
                  <a:cubicBezTo>
                    <a:pt x="137824" y="37139"/>
                    <a:pt x="137639" y="40006"/>
                    <a:pt x="137454" y="43798"/>
                  </a:cubicBezTo>
                  <a:cubicBezTo>
                    <a:pt x="137408" y="45232"/>
                    <a:pt x="136483" y="47221"/>
                    <a:pt x="135419" y="48238"/>
                  </a:cubicBezTo>
                  <a:cubicBezTo>
                    <a:pt x="135789" y="47776"/>
                    <a:pt x="132135" y="50690"/>
                    <a:pt x="132043" y="53973"/>
                  </a:cubicBezTo>
                  <a:lnTo>
                    <a:pt x="131950" y="56240"/>
                  </a:lnTo>
                  <a:cubicBezTo>
                    <a:pt x="131812" y="59385"/>
                    <a:pt x="133060" y="62021"/>
                    <a:pt x="134078" y="64796"/>
                  </a:cubicBezTo>
                  <a:cubicBezTo>
                    <a:pt x="135234" y="67895"/>
                    <a:pt x="133893" y="70623"/>
                    <a:pt x="133754" y="71410"/>
                  </a:cubicBezTo>
                  <a:cubicBezTo>
                    <a:pt x="132737" y="74693"/>
                    <a:pt x="133384" y="78070"/>
                    <a:pt x="133754" y="82093"/>
                  </a:cubicBezTo>
                  <a:cubicBezTo>
                    <a:pt x="133800" y="82787"/>
                    <a:pt x="134032" y="83573"/>
                    <a:pt x="134263" y="84267"/>
                  </a:cubicBezTo>
                  <a:lnTo>
                    <a:pt x="135789" y="86626"/>
                  </a:lnTo>
                  <a:lnTo>
                    <a:pt x="165065" y="119278"/>
                  </a:lnTo>
                  <a:lnTo>
                    <a:pt x="165065" y="166684"/>
                  </a:lnTo>
                  <a:lnTo>
                    <a:pt x="149155" y="172188"/>
                  </a:lnTo>
                  <a:lnTo>
                    <a:pt x="149155" y="202250"/>
                  </a:lnTo>
                  <a:lnTo>
                    <a:pt x="139027" y="198504"/>
                  </a:lnTo>
                  <a:lnTo>
                    <a:pt x="141062" y="190410"/>
                  </a:lnTo>
                  <a:lnTo>
                    <a:pt x="116781" y="160903"/>
                  </a:lnTo>
                  <a:lnTo>
                    <a:pt x="126909" y="143836"/>
                  </a:lnTo>
                  <a:lnTo>
                    <a:pt x="122839" y="118677"/>
                  </a:lnTo>
                  <a:lnTo>
                    <a:pt x="99992" y="123857"/>
                  </a:lnTo>
                  <a:lnTo>
                    <a:pt x="88429" y="106791"/>
                  </a:lnTo>
                  <a:lnTo>
                    <a:pt x="0" y="135419"/>
                  </a:lnTo>
                  <a:lnTo>
                    <a:pt x="6567" y="165019"/>
                  </a:lnTo>
                  <a:lnTo>
                    <a:pt x="38156" y="167701"/>
                  </a:lnTo>
                  <a:lnTo>
                    <a:pt x="50088" y="178478"/>
                  </a:lnTo>
                  <a:lnTo>
                    <a:pt x="78994" y="186201"/>
                  </a:lnTo>
                  <a:lnTo>
                    <a:pt x="80521" y="243643"/>
                  </a:lnTo>
                  <a:lnTo>
                    <a:pt x="70901" y="251737"/>
                  </a:lnTo>
                  <a:lnTo>
                    <a:pt x="77052" y="259461"/>
                  </a:lnTo>
                  <a:lnTo>
                    <a:pt x="73583" y="271393"/>
                  </a:lnTo>
                  <a:lnTo>
                    <a:pt x="82833" y="280273"/>
                  </a:lnTo>
                  <a:lnTo>
                    <a:pt x="73583" y="300299"/>
                  </a:lnTo>
                  <a:lnTo>
                    <a:pt x="64333" y="303768"/>
                  </a:lnTo>
                  <a:lnTo>
                    <a:pt x="67016" y="324950"/>
                  </a:lnTo>
                  <a:lnTo>
                    <a:pt x="29646" y="356539"/>
                  </a:lnTo>
                  <a:lnTo>
                    <a:pt x="38896" y="381190"/>
                  </a:lnTo>
                  <a:lnTo>
                    <a:pt x="37740" y="392383"/>
                  </a:lnTo>
                  <a:lnTo>
                    <a:pt x="51985" y="421289"/>
                  </a:lnTo>
                  <a:lnTo>
                    <a:pt x="51985" y="496814"/>
                  </a:lnTo>
                  <a:lnTo>
                    <a:pt x="77376" y="496814"/>
                  </a:lnTo>
                  <a:cubicBezTo>
                    <a:pt x="78810" y="485529"/>
                    <a:pt x="80105" y="468047"/>
                    <a:pt x="80058" y="468417"/>
                  </a:cubicBezTo>
                  <a:cubicBezTo>
                    <a:pt x="80197" y="466983"/>
                    <a:pt x="79688" y="466798"/>
                    <a:pt x="78948" y="468047"/>
                  </a:cubicBezTo>
                  <a:cubicBezTo>
                    <a:pt x="76913" y="470637"/>
                    <a:pt x="74971" y="477390"/>
                    <a:pt x="72242" y="474198"/>
                  </a:cubicBezTo>
                  <a:cubicBezTo>
                    <a:pt x="71271" y="472672"/>
                    <a:pt x="67062" y="469573"/>
                    <a:pt x="68912" y="466428"/>
                  </a:cubicBezTo>
                  <a:cubicBezTo>
                    <a:pt x="76821" y="452877"/>
                    <a:pt x="77191" y="451073"/>
                    <a:pt x="80474" y="449871"/>
                  </a:cubicBezTo>
                  <a:cubicBezTo>
                    <a:pt x="143513" y="426746"/>
                    <a:pt x="142079" y="427995"/>
                    <a:pt x="144345" y="424989"/>
                  </a:cubicBezTo>
                  <a:cubicBezTo>
                    <a:pt x="149988" y="417496"/>
                    <a:pt x="152948" y="414305"/>
                    <a:pt x="153688" y="410651"/>
                  </a:cubicBezTo>
                  <a:cubicBezTo>
                    <a:pt x="153965" y="407784"/>
                    <a:pt x="156740" y="400939"/>
                    <a:pt x="153225" y="402974"/>
                  </a:cubicBezTo>
                  <a:cubicBezTo>
                    <a:pt x="152717" y="403159"/>
                    <a:pt x="148323" y="406581"/>
                    <a:pt x="149201" y="403159"/>
                  </a:cubicBezTo>
                  <a:cubicBezTo>
                    <a:pt x="154520" y="382346"/>
                    <a:pt x="156093" y="377629"/>
                    <a:pt x="156093" y="373605"/>
                  </a:cubicBezTo>
                  <a:cubicBezTo>
                    <a:pt x="156093" y="351359"/>
                    <a:pt x="156879" y="348538"/>
                    <a:pt x="153919" y="350526"/>
                  </a:cubicBezTo>
                  <a:cubicBezTo>
                    <a:pt x="152902" y="350989"/>
                    <a:pt x="148647" y="355336"/>
                    <a:pt x="148369" y="351637"/>
                  </a:cubicBezTo>
                  <a:cubicBezTo>
                    <a:pt x="147583" y="340444"/>
                    <a:pt x="147860" y="337762"/>
                    <a:pt x="146103" y="334617"/>
                  </a:cubicBezTo>
                  <a:cubicBezTo>
                    <a:pt x="143097" y="329159"/>
                    <a:pt x="140830" y="326199"/>
                    <a:pt x="141570" y="322777"/>
                  </a:cubicBezTo>
                  <a:cubicBezTo>
                    <a:pt x="141894" y="319678"/>
                    <a:pt x="144299" y="315284"/>
                    <a:pt x="141432" y="312555"/>
                  </a:cubicBezTo>
                  <a:cubicBezTo>
                    <a:pt x="132413" y="303999"/>
                    <a:pt x="129869" y="302473"/>
                    <a:pt x="130517" y="299051"/>
                  </a:cubicBezTo>
                  <a:cubicBezTo>
                    <a:pt x="132182" y="289939"/>
                    <a:pt x="132274" y="286609"/>
                    <a:pt x="134864" y="284251"/>
                  </a:cubicBezTo>
                  <a:lnTo>
                    <a:pt x="164556" y="256778"/>
                  </a:lnTo>
                  <a:cubicBezTo>
                    <a:pt x="167239" y="254281"/>
                    <a:pt x="173251" y="254142"/>
                    <a:pt x="172789" y="254235"/>
                  </a:cubicBezTo>
                  <a:cubicBezTo>
                    <a:pt x="175703" y="253911"/>
                    <a:pt x="175055" y="250165"/>
                    <a:pt x="174963" y="250627"/>
                  </a:cubicBezTo>
                  <a:cubicBezTo>
                    <a:pt x="174593" y="247760"/>
                    <a:pt x="178061" y="249193"/>
                    <a:pt x="177599" y="249193"/>
                  </a:cubicBezTo>
                  <a:cubicBezTo>
                    <a:pt x="178940" y="249702"/>
                    <a:pt x="180605" y="249101"/>
                    <a:pt x="181299" y="247852"/>
                  </a:cubicBezTo>
                  <a:lnTo>
                    <a:pt x="182918" y="244892"/>
                  </a:lnTo>
                  <a:cubicBezTo>
                    <a:pt x="184860" y="241377"/>
                    <a:pt x="200816" y="220334"/>
                    <a:pt x="204562" y="218160"/>
                  </a:cubicBezTo>
                  <a:cubicBezTo>
                    <a:pt x="220334" y="209187"/>
                    <a:pt x="222322" y="207939"/>
                    <a:pt x="225514" y="206644"/>
                  </a:cubicBezTo>
                  <a:lnTo>
                    <a:pt x="235087" y="202805"/>
                  </a:lnTo>
                  <a:cubicBezTo>
                    <a:pt x="245678" y="198550"/>
                    <a:pt x="256223" y="199706"/>
                    <a:pt x="259137" y="194989"/>
                  </a:cubicBezTo>
                  <a:cubicBezTo>
                    <a:pt x="259507" y="194526"/>
                    <a:pt x="260571" y="192260"/>
                    <a:pt x="263161" y="190595"/>
                  </a:cubicBezTo>
                  <a:lnTo>
                    <a:pt x="280458" y="179449"/>
                  </a:lnTo>
                  <a:cubicBezTo>
                    <a:pt x="283788" y="177321"/>
                    <a:pt x="280967" y="173251"/>
                    <a:pt x="283603" y="173113"/>
                  </a:cubicBezTo>
                  <a:cubicBezTo>
                    <a:pt x="284575" y="173066"/>
                    <a:pt x="286055" y="172095"/>
                    <a:pt x="286933" y="170939"/>
                  </a:cubicBezTo>
                  <a:lnTo>
                    <a:pt x="299744" y="154104"/>
                  </a:lnTo>
                  <a:cubicBezTo>
                    <a:pt x="302149" y="150959"/>
                    <a:pt x="305017" y="144623"/>
                    <a:pt x="304786" y="145132"/>
                  </a:cubicBezTo>
                  <a:cubicBezTo>
                    <a:pt x="306543" y="141663"/>
                    <a:pt x="300623" y="141432"/>
                    <a:pt x="304046" y="139628"/>
                  </a:cubicBezTo>
                  <a:cubicBezTo>
                    <a:pt x="304508" y="139212"/>
                    <a:pt x="307699" y="138240"/>
                    <a:pt x="306728" y="135835"/>
                  </a:cubicBezTo>
                  <a:cubicBezTo>
                    <a:pt x="305618" y="133060"/>
                    <a:pt x="309966" y="132552"/>
                    <a:pt x="310104" y="128805"/>
                  </a:cubicBezTo>
                  <a:lnTo>
                    <a:pt x="310336" y="121313"/>
                  </a:lnTo>
                  <a:cubicBezTo>
                    <a:pt x="310474" y="117289"/>
                    <a:pt x="306404" y="119139"/>
                    <a:pt x="306312" y="115115"/>
                  </a:cubicBezTo>
                  <a:cubicBezTo>
                    <a:pt x="306173" y="114653"/>
                    <a:pt x="306589" y="110953"/>
                    <a:pt x="304462" y="112248"/>
                  </a:cubicBezTo>
                  <a:cubicBezTo>
                    <a:pt x="302149" y="113682"/>
                    <a:pt x="300299" y="111045"/>
                    <a:pt x="302427" y="108409"/>
                  </a:cubicBezTo>
                  <a:cubicBezTo>
                    <a:pt x="303352" y="107299"/>
                    <a:pt x="303907" y="105218"/>
                    <a:pt x="303768" y="103784"/>
                  </a:cubicBezTo>
                  <a:lnTo>
                    <a:pt x="302936" y="96662"/>
                  </a:lnTo>
                  <a:cubicBezTo>
                    <a:pt x="302427" y="92592"/>
                    <a:pt x="298727" y="91944"/>
                    <a:pt x="301271" y="89262"/>
                  </a:cubicBezTo>
                  <a:lnTo>
                    <a:pt x="301317" y="89262"/>
                  </a:lnTo>
                  <a:cubicBezTo>
                    <a:pt x="302288" y="88152"/>
                    <a:pt x="303028" y="86117"/>
                    <a:pt x="302889" y="84683"/>
                  </a:cubicBezTo>
                  <a:cubicBezTo>
                    <a:pt x="302334" y="81584"/>
                    <a:pt x="303028" y="73398"/>
                    <a:pt x="300253" y="76497"/>
                  </a:cubicBezTo>
                  <a:cubicBezTo>
                    <a:pt x="298311" y="78671"/>
                    <a:pt x="297201" y="74693"/>
                    <a:pt x="297524" y="75156"/>
                  </a:cubicBezTo>
                  <a:cubicBezTo>
                    <a:pt x="296646" y="72288"/>
                    <a:pt x="300531" y="71178"/>
                    <a:pt x="300068" y="71548"/>
                  </a:cubicBezTo>
                  <a:cubicBezTo>
                    <a:pt x="303768" y="70299"/>
                    <a:pt x="302936" y="63640"/>
                    <a:pt x="301039" y="62437"/>
                  </a:cubicBezTo>
                  <a:cubicBezTo>
                    <a:pt x="298866" y="61096"/>
                    <a:pt x="301409" y="58460"/>
                    <a:pt x="300901" y="54436"/>
                  </a:cubicBezTo>
                  <a:cubicBezTo>
                    <a:pt x="299236" y="40653"/>
                    <a:pt x="298773" y="38618"/>
                    <a:pt x="299282" y="35150"/>
                  </a:cubicBezTo>
                  <a:lnTo>
                    <a:pt x="300068" y="29553"/>
                  </a:lnTo>
                  <a:cubicBezTo>
                    <a:pt x="300623" y="25669"/>
                    <a:pt x="295859" y="26039"/>
                    <a:pt x="298126" y="22894"/>
                  </a:cubicBezTo>
                  <a:lnTo>
                    <a:pt x="301039" y="18870"/>
                  </a:lnTo>
                  <a:cubicBezTo>
                    <a:pt x="303352" y="15632"/>
                    <a:pt x="298912" y="14939"/>
                    <a:pt x="301779" y="12256"/>
                  </a:cubicBezTo>
                  <a:lnTo>
                    <a:pt x="301826" y="12256"/>
                  </a:lnTo>
                  <a:cubicBezTo>
                    <a:pt x="304693" y="9481"/>
                    <a:pt x="298958" y="8972"/>
                    <a:pt x="301687" y="6336"/>
                  </a:cubicBezTo>
                  <a:cubicBezTo>
                    <a:pt x="303629" y="4486"/>
                    <a:pt x="302057" y="1341"/>
                    <a:pt x="302103" y="1850"/>
                  </a:cubicBezTo>
                  <a:cubicBezTo>
                    <a:pt x="300762" y="-740"/>
                    <a:pt x="298033" y="740"/>
                    <a:pt x="297016" y="0"/>
                  </a:cubicBezTo>
                  <a:lnTo>
                    <a:pt x="244337" y="29646"/>
                  </a:lnTo>
                  <a:lnTo>
                    <a:pt x="226901" y="24327"/>
                  </a:lnTo>
                  <a:close/>
                </a:path>
              </a:pathLst>
            </a:custGeom>
            <a:grpFill/>
            <a:ln w="4609" cap="flat">
              <a:noFill/>
              <a:prstDash val="solid"/>
              <a:miter/>
            </a:ln>
          </p:spPr>
          <p:txBody>
            <a:bodyPr rtlCol="0" anchor="ctr"/>
            <a:lstStyle/>
            <a:p>
              <a:endParaRPr lang="en-IN"/>
            </a:p>
          </p:txBody>
        </p:sp>
        <p:sp>
          <p:nvSpPr>
            <p:cNvPr id="91" name="Freeform: Shape 90">
              <a:extLst>
                <a:ext uri="{FF2B5EF4-FFF2-40B4-BE49-F238E27FC236}">
                  <a16:creationId xmlns:a16="http://schemas.microsoft.com/office/drawing/2014/main" id="{881B6D29-8F30-F04D-4162-56BFE277A939}"/>
                </a:ext>
              </a:extLst>
            </p:cNvPr>
            <p:cNvSpPr/>
            <p:nvPr/>
          </p:nvSpPr>
          <p:spPr>
            <a:xfrm>
              <a:off x="5437649" y="3930608"/>
              <a:ext cx="358389" cy="270977"/>
            </a:xfrm>
            <a:custGeom>
              <a:avLst/>
              <a:gdLst>
                <a:gd name="connsiteX0" fmla="*/ 177969 w 358389"/>
                <a:gd name="connsiteY0" fmla="*/ 208077 h 270977"/>
                <a:gd name="connsiteX1" fmla="*/ 194526 w 358389"/>
                <a:gd name="connsiteY1" fmla="*/ 211361 h 270977"/>
                <a:gd name="connsiteX2" fmla="*/ 198828 w 358389"/>
                <a:gd name="connsiteY2" fmla="*/ 204007 h 270977"/>
                <a:gd name="connsiteX3" fmla="*/ 230555 w 358389"/>
                <a:gd name="connsiteY3" fmla="*/ 197671 h 270977"/>
                <a:gd name="connsiteX4" fmla="*/ 242672 w 358389"/>
                <a:gd name="connsiteY4" fmla="*/ 180328 h 270977"/>
                <a:gd name="connsiteX5" fmla="*/ 281430 w 358389"/>
                <a:gd name="connsiteY5" fmla="*/ 163585 h 270977"/>
                <a:gd name="connsiteX6" fmla="*/ 273937 w 358389"/>
                <a:gd name="connsiteY6" fmla="*/ 145640 h 270977"/>
                <a:gd name="connsiteX7" fmla="*/ 296507 w 358389"/>
                <a:gd name="connsiteY7" fmla="*/ 139859 h 270977"/>
                <a:gd name="connsiteX8" fmla="*/ 302103 w 358389"/>
                <a:gd name="connsiteY8" fmla="*/ 129268 h 270977"/>
                <a:gd name="connsiteX9" fmla="*/ 351452 w 358389"/>
                <a:gd name="connsiteY9" fmla="*/ 131580 h 270977"/>
                <a:gd name="connsiteX10" fmla="*/ 358389 w 358389"/>
                <a:gd name="connsiteY10" fmla="*/ 116179 h 270977"/>
                <a:gd name="connsiteX11" fmla="*/ 339889 w 358389"/>
                <a:gd name="connsiteY11" fmla="*/ 101518 h 270977"/>
                <a:gd name="connsiteX12" fmla="*/ 335264 w 358389"/>
                <a:gd name="connsiteY12" fmla="*/ 45232 h 270977"/>
                <a:gd name="connsiteX13" fmla="*/ 314776 w 358389"/>
                <a:gd name="connsiteY13" fmla="*/ 26224 h 270977"/>
                <a:gd name="connsiteX14" fmla="*/ 301502 w 358389"/>
                <a:gd name="connsiteY14" fmla="*/ 22894 h 270977"/>
                <a:gd name="connsiteX15" fmla="*/ 297524 w 358389"/>
                <a:gd name="connsiteY15" fmla="*/ 18824 h 270977"/>
                <a:gd name="connsiteX16" fmla="*/ 287257 w 358389"/>
                <a:gd name="connsiteY16" fmla="*/ 22524 h 270977"/>
                <a:gd name="connsiteX17" fmla="*/ 279903 w 358389"/>
                <a:gd name="connsiteY17" fmla="*/ 20211 h 270977"/>
                <a:gd name="connsiteX18" fmla="*/ 275926 w 358389"/>
                <a:gd name="connsiteY18" fmla="*/ 22154 h 270977"/>
                <a:gd name="connsiteX19" fmla="*/ 272365 w 358389"/>
                <a:gd name="connsiteY19" fmla="*/ 23217 h 270977"/>
                <a:gd name="connsiteX20" fmla="*/ 270422 w 358389"/>
                <a:gd name="connsiteY20" fmla="*/ 22154 h 270977"/>
                <a:gd name="connsiteX21" fmla="*/ 229352 w 358389"/>
                <a:gd name="connsiteY21" fmla="*/ 0 h 270977"/>
                <a:gd name="connsiteX22" fmla="*/ 210621 w 358389"/>
                <a:gd name="connsiteY22" fmla="*/ 7677 h 270977"/>
                <a:gd name="connsiteX23" fmla="*/ 200770 w 358389"/>
                <a:gd name="connsiteY23" fmla="*/ 36121 h 270977"/>
                <a:gd name="connsiteX24" fmla="*/ 182871 w 358389"/>
                <a:gd name="connsiteY24" fmla="*/ 64102 h 270977"/>
                <a:gd name="connsiteX25" fmla="*/ 139489 w 358389"/>
                <a:gd name="connsiteY25" fmla="*/ 84452 h 270977"/>
                <a:gd name="connsiteX26" fmla="*/ 133292 w 358389"/>
                <a:gd name="connsiteY26" fmla="*/ 91019 h 270977"/>
                <a:gd name="connsiteX27" fmla="*/ 115486 w 358389"/>
                <a:gd name="connsiteY27" fmla="*/ 111046 h 270977"/>
                <a:gd name="connsiteX28" fmla="*/ 113636 w 358389"/>
                <a:gd name="connsiteY28" fmla="*/ 124134 h 270977"/>
                <a:gd name="connsiteX29" fmla="*/ 100084 w 358389"/>
                <a:gd name="connsiteY29" fmla="*/ 144530 h 270977"/>
                <a:gd name="connsiteX30" fmla="*/ 99668 w 358389"/>
                <a:gd name="connsiteY30" fmla="*/ 170754 h 270977"/>
                <a:gd name="connsiteX31" fmla="*/ 104802 w 358389"/>
                <a:gd name="connsiteY31" fmla="*/ 179958 h 270977"/>
                <a:gd name="connsiteX32" fmla="*/ 101472 w 358389"/>
                <a:gd name="connsiteY32" fmla="*/ 191798 h 270977"/>
                <a:gd name="connsiteX33" fmla="*/ 77607 w 358389"/>
                <a:gd name="connsiteY33" fmla="*/ 223571 h 270977"/>
                <a:gd name="connsiteX34" fmla="*/ 58367 w 358389"/>
                <a:gd name="connsiteY34" fmla="*/ 233099 h 270977"/>
                <a:gd name="connsiteX35" fmla="*/ 46666 w 358389"/>
                <a:gd name="connsiteY35" fmla="*/ 245586 h 270977"/>
                <a:gd name="connsiteX36" fmla="*/ 6336 w 358389"/>
                <a:gd name="connsiteY36" fmla="*/ 258767 h 270977"/>
                <a:gd name="connsiteX37" fmla="*/ 0 w 358389"/>
                <a:gd name="connsiteY37" fmla="*/ 270977 h 270977"/>
                <a:gd name="connsiteX38" fmla="*/ 462 w 358389"/>
                <a:gd name="connsiteY38" fmla="*/ 270885 h 270977"/>
                <a:gd name="connsiteX39" fmla="*/ 133384 w 358389"/>
                <a:gd name="connsiteY39" fmla="*/ 270885 h 270977"/>
                <a:gd name="connsiteX40" fmla="*/ 133384 w 358389"/>
                <a:gd name="connsiteY40" fmla="*/ 239851 h 270977"/>
                <a:gd name="connsiteX41" fmla="*/ 177876 w 358389"/>
                <a:gd name="connsiteY41" fmla="*/ 208031 h 27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8389" h="270977">
                  <a:moveTo>
                    <a:pt x="177969" y="208077"/>
                  </a:moveTo>
                  <a:lnTo>
                    <a:pt x="194526" y="211361"/>
                  </a:lnTo>
                  <a:lnTo>
                    <a:pt x="198828" y="204007"/>
                  </a:lnTo>
                  <a:lnTo>
                    <a:pt x="230555" y="197671"/>
                  </a:lnTo>
                  <a:lnTo>
                    <a:pt x="242672" y="180328"/>
                  </a:lnTo>
                  <a:lnTo>
                    <a:pt x="281430" y="163585"/>
                  </a:lnTo>
                  <a:lnTo>
                    <a:pt x="273937" y="145640"/>
                  </a:lnTo>
                  <a:lnTo>
                    <a:pt x="296507" y="139859"/>
                  </a:lnTo>
                  <a:lnTo>
                    <a:pt x="302103" y="129268"/>
                  </a:lnTo>
                  <a:lnTo>
                    <a:pt x="351452" y="131580"/>
                  </a:lnTo>
                  <a:lnTo>
                    <a:pt x="358389" y="116179"/>
                  </a:lnTo>
                  <a:lnTo>
                    <a:pt x="339889" y="101518"/>
                  </a:lnTo>
                  <a:lnTo>
                    <a:pt x="335264" y="45232"/>
                  </a:lnTo>
                  <a:lnTo>
                    <a:pt x="314776" y="26224"/>
                  </a:lnTo>
                  <a:cubicBezTo>
                    <a:pt x="303444" y="25622"/>
                    <a:pt x="302334" y="25437"/>
                    <a:pt x="301502" y="22894"/>
                  </a:cubicBezTo>
                  <a:cubicBezTo>
                    <a:pt x="301086" y="22154"/>
                    <a:pt x="300669" y="17020"/>
                    <a:pt x="297524" y="18824"/>
                  </a:cubicBezTo>
                  <a:cubicBezTo>
                    <a:pt x="294426" y="20257"/>
                    <a:pt x="291096" y="23726"/>
                    <a:pt x="287257" y="22524"/>
                  </a:cubicBezTo>
                  <a:lnTo>
                    <a:pt x="279903" y="20211"/>
                  </a:lnTo>
                  <a:cubicBezTo>
                    <a:pt x="277221" y="19379"/>
                    <a:pt x="275463" y="22570"/>
                    <a:pt x="275926" y="22154"/>
                  </a:cubicBezTo>
                  <a:cubicBezTo>
                    <a:pt x="275232" y="23402"/>
                    <a:pt x="273660" y="23911"/>
                    <a:pt x="272365" y="23217"/>
                  </a:cubicBezTo>
                  <a:lnTo>
                    <a:pt x="270422" y="22154"/>
                  </a:lnTo>
                  <a:cubicBezTo>
                    <a:pt x="245771" y="28305"/>
                    <a:pt x="232867" y="12719"/>
                    <a:pt x="229352" y="0"/>
                  </a:cubicBezTo>
                  <a:cubicBezTo>
                    <a:pt x="217605" y="4070"/>
                    <a:pt x="212009" y="3376"/>
                    <a:pt x="210621" y="7677"/>
                  </a:cubicBezTo>
                  <a:cubicBezTo>
                    <a:pt x="204054" y="27842"/>
                    <a:pt x="202759" y="32699"/>
                    <a:pt x="200770" y="36121"/>
                  </a:cubicBezTo>
                  <a:cubicBezTo>
                    <a:pt x="186248" y="61188"/>
                    <a:pt x="186109" y="62576"/>
                    <a:pt x="182871" y="64102"/>
                  </a:cubicBezTo>
                  <a:lnTo>
                    <a:pt x="139489" y="84452"/>
                  </a:lnTo>
                  <a:cubicBezTo>
                    <a:pt x="136067" y="86071"/>
                    <a:pt x="132968" y="91482"/>
                    <a:pt x="133292" y="91019"/>
                  </a:cubicBezTo>
                  <a:cubicBezTo>
                    <a:pt x="127187" y="99761"/>
                    <a:pt x="115624" y="105218"/>
                    <a:pt x="115486" y="111046"/>
                  </a:cubicBezTo>
                  <a:cubicBezTo>
                    <a:pt x="115347" y="117151"/>
                    <a:pt x="115763" y="121267"/>
                    <a:pt x="113636" y="124134"/>
                  </a:cubicBezTo>
                  <a:cubicBezTo>
                    <a:pt x="101657" y="140044"/>
                    <a:pt x="100362" y="141062"/>
                    <a:pt x="100084" y="144530"/>
                  </a:cubicBezTo>
                  <a:cubicBezTo>
                    <a:pt x="98188" y="166730"/>
                    <a:pt x="97402" y="168071"/>
                    <a:pt x="99668" y="170754"/>
                  </a:cubicBezTo>
                  <a:cubicBezTo>
                    <a:pt x="101472" y="173344"/>
                    <a:pt x="105542" y="176026"/>
                    <a:pt x="104802" y="179958"/>
                  </a:cubicBezTo>
                  <a:cubicBezTo>
                    <a:pt x="103877" y="184906"/>
                    <a:pt x="103507" y="188884"/>
                    <a:pt x="101472" y="191798"/>
                  </a:cubicBezTo>
                  <a:cubicBezTo>
                    <a:pt x="80197" y="222276"/>
                    <a:pt x="80891" y="222184"/>
                    <a:pt x="77607" y="223571"/>
                  </a:cubicBezTo>
                  <a:cubicBezTo>
                    <a:pt x="62483" y="229954"/>
                    <a:pt x="60495" y="230370"/>
                    <a:pt x="58367" y="233099"/>
                  </a:cubicBezTo>
                  <a:cubicBezTo>
                    <a:pt x="51522" y="241886"/>
                    <a:pt x="50042" y="244661"/>
                    <a:pt x="46666" y="245586"/>
                  </a:cubicBezTo>
                  <a:cubicBezTo>
                    <a:pt x="7169" y="256547"/>
                    <a:pt x="8001" y="255622"/>
                    <a:pt x="6336" y="258767"/>
                  </a:cubicBezTo>
                  <a:cubicBezTo>
                    <a:pt x="3885" y="263485"/>
                    <a:pt x="1804" y="267462"/>
                    <a:pt x="0" y="270977"/>
                  </a:cubicBezTo>
                  <a:lnTo>
                    <a:pt x="462" y="270885"/>
                  </a:lnTo>
                  <a:lnTo>
                    <a:pt x="133384" y="270885"/>
                  </a:lnTo>
                  <a:lnTo>
                    <a:pt x="133384" y="239851"/>
                  </a:lnTo>
                  <a:lnTo>
                    <a:pt x="177876" y="208031"/>
                  </a:lnTo>
                  <a:close/>
                </a:path>
              </a:pathLst>
            </a:custGeom>
            <a:grpFill/>
            <a:ln w="4609" cap="flat">
              <a:noFill/>
              <a:prstDash val="solid"/>
              <a:miter/>
            </a:ln>
          </p:spPr>
          <p:txBody>
            <a:bodyPr rtlCol="0" anchor="ctr"/>
            <a:lstStyle/>
            <a:p>
              <a:endParaRPr lang="en-IN"/>
            </a:p>
          </p:txBody>
        </p:sp>
        <p:sp>
          <p:nvSpPr>
            <p:cNvPr id="92" name="Freeform: Shape 91">
              <a:extLst>
                <a:ext uri="{FF2B5EF4-FFF2-40B4-BE49-F238E27FC236}">
                  <a16:creationId xmlns:a16="http://schemas.microsoft.com/office/drawing/2014/main" id="{4DAB9AD5-5F73-E264-299D-190C1199B056}"/>
                </a:ext>
              </a:extLst>
            </p:cNvPr>
            <p:cNvSpPr/>
            <p:nvPr/>
          </p:nvSpPr>
          <p:spPr>
            <a:xfrm>
              <a:off x="5329332" y="4212038"/>
              <a:ext cx="355614" cy="386647"/>
            </a:xfrm>
            <a:custGeom>
              <a:avLst/>
              <a:gdLst>
                <a:gd name="connsiteX0" fmla="*/ 241794 w 355614"/>
                <a:gd name="connsiteY0" fmla="*/ 41717 h 386647"/>
                <a:gd name="connsiteX1" fmla="*/ 145224 w 355614"/>
                <a:gd name="connsiteY1" fmla="*/ 41717 h 386647"/>
                <a:gd name="connsiteX2" fmla="*/ 145224 w 355614"/>
                <a:gd name="connsiteY2" fmla="*/ 120897 h 386647"/>
                <a:gd name="connsiteX3" fmla="*/ 112294 w 355614"/>
                <a:gd name="connsiteY3" fmla="*/ 138842 h 386647"/>
                <a:gd name="connsiteX4" fmla="*/ 115254 w 355614"/>
                <a:gd name="connsiteY4" fmla="*/ 186433 h 386647"/>
                <a:gd name="connsiteX5" fmla="*/ 0 w 355614"/>
                <a:gd name="connsiteY5" fmla="*/ 186433 h 386647"/>
                <a:gd name="connsiteX6" fmla="*/ 1156 w 355614"/>
                <a:gd name="connsiteY6" fmla="*/ 187404 h 386647"/>
                <a:gd name="connsiteX7" fmla="*/ 10499 w 355614"/>
                <a:gd name="connsiteY7" fmla="*/ 200169 h 386647"/>
                <a:gd name="connsiteX8" fmla="*/ 11285 w 355614"/>
                <a:gd name="connsiteY8" fmla="*/ 198874 h 386647"/>
                <a:gd name="connsiteX9" fmla="*/ 13644 w 355614"/>
                <a:gd name="connsiteY9" fmla="*/ 199059 h 386647"/>
                <a:gd name="connsiteX10" fmla="*/ 18916 w 355614"/>
                <a:gd name="connsiteY10" fmla="*/ 211592 h 386647"/>
                <a:gd name="connsiteX11" fmla="*/ 19564 w 355614"/>
                <a:gd name="connsiteY11" fmla="*/ 224404 h 386647"/>
                <a:gd name="connsiteX12" fmla="*/ 14846 w 355614"/>
                <a:gd name="connsiteY12" fmla="*/ 226577 h 386647"/>
                <a:gd name="connsiteX13" fmla="*/ 11747 w 355614"/>
                <a:gd name="connsiteY13" fmla="*/ 229399 h 386647"/>
                <a:gd name="connsiteX14" fmla="*/ 13597 w 355614"/>
                <a:gd name="connsiteY14" fmla="*/ 236382 h 386647"/>
                <a:gd name="connsiteX15" fmla="*/ 12857 w 355614"/>
                <a:gd name="connsiteY15" fmla="*/ 236937 h 386647"/>
                <a:gd name="connsiteX16" fmla="*/ 16696 w 355614"/>
                <a:gd name="connsiteY16" fmla="*/ 246048 h 386647"/>
                <a:gd name="connsiteX17" fmla="*/ 19517 w 355614"/>
                <a:gd name="connsiteY17" fmla="*/ 250026 h 386647"/>
                <a:gd name="connsiteX18" fmla="*/ 25114 w 355614"/>
                <a:gd name="connsiteY18" fmla="*/ 273428 h 386647"/>
                <a:gd name="connsiteX19" fmla="*/ 24050 w 355614"/>
                <a:gd name="connsiteY19" fmla="*/ 295351 h 386647"/>
                <a:gd name="connsiteX20" fmla="*/ 11100 w 355614"/>
                <a:gd name="connsiteY20" fmla="*/ 334894 h 386647"/>
                <a:gd name="connsiteX21" fmla="*/ 10637 w 355614"/>
                <a:gd name="connsiteY21" fmla="*/ 348492 h 386647"/>
                <a:gd name="connsiteX22" fmla="*/ 11100 w 355614"/>
                <a:gd name="connsiteY22" fmla="*/ 348492 h 386647"/>
                <a:gd name="connsiteX23" fmla="*/ 16002 w 355614"/>
                <a:gd name="connsiteY23" fmla="*/ 347243 h 386647"/>
                <a:gd name="connsiteX24" fmla="*/ 22662 w 355614"/>
                <a:gd name="connsiteY24" fmla="*/ 331333 h 386647"/>
                <a:gd name="connsiteX25" fmla="*/ 73815 w 355614"/>
                <a:gd name="connsiteY25" fmla="*/ 327263 h 386647"/>
                <a:gd name="connsiteX26" fmla="*/ 88568 w 355614"/>
                <a:gd name="connsiteY26" fmla="*/ 342294 h 386647"/>
                <a:gd name="connsiteX27" fmla="*/ 102073 w 355614"/>
                <a:gd name="connsiteY27" fmla="*/ 342294 h 386647"/>
                <a:gd name="connsiteX28" fmla="*/ 117104 w 355614"/>
                <a:gd name="connsiteY28" fmla="*/ 369674 h 386647"/>
                <a:gd name="connsiteX29" fmla="*/ 140599 w 355614"/>
                <a:gd name="connsiteY29" fmla="*/ 386648 h 386647"/>
                <a:gd name="connsiteX30" fmla="*/ 151375 w 355614"/>
                <a:gd name="connsiteY30" fmla="*/ 377768 h 386647"/>
                <a:gd name="connsiteX31" fmla="*/ 151745 w 355614"/>
                <a:gd name="connsiteY31" fmla="*/ 361580 h 386647"/>
                <a:gd name="connsiteX32" fmla="*/ 160995 w 355614"/>
                <a:gd name="connsiteY32" fmla="*/ 356955 h 386647"/>
                <a:gd name="connsiteX33" fmla="*/ 176396 w 355614"/>
                <a:gd name="connsiteY33" fmla="*/ 372773 h 386647"/>
                <a:gd name="connsiteX34" fmla="*/ 183334 w 355614"/>
                <a:gd name="connsiteY34" fmla="*/ 362737 h 386647"/>
                <a:gd name="connsiteX35" fmla="*/ 215339 w 355614"/>
                <a:gd name="connsiteY35" fmla="*/ 364263 h 386647"/>
                <a:gd name="connsiteX36" fmla="*/ 218807 w 355614"/>
                <a:gd name="connsiteY36" fmla="*/ 356169 h 386647"/>
                <a:gd name="connsiteX37" fmla="*/ 224589 w 355614"/>
                <a:gd name="connsiteY37" fmla="*/ 355383 h 386647"/>
                <a:gd name="connsiteX38" fmla="*/ 225745 w 355614"/>
                <a:gd name="connsiteY38" fmla="*/ 361534 h 386647"/>
                <a:gd name="connsiteX39" fmla="*/ 333275 w 355614"/>
                <a:gd name="connsiteY39" fmla="*/ 361534 h 386647"/>
                <a:gd name="connsiteX40" fmla="*/ 338270 w 355614"/>
                <a:gd name="connsiteY40" fmla="*/ 337253 h 386647"/>
                <a:gd name="connsiteX41" fmla="*/ 330177 w 355614"/>
                <a:gd name="connsiteY41" fmla="*/ 331102 h 386647"/>
                <a:gd name="connsiteX42" fmla="*/ 303213 w 355614"/>
                <a:gd name="connsiteY42" fmla="*/ 73630 h 386647"/>
                <a:gd name="connsiteX43" fmla="*/ 355614 w 355614"/>
                <a:gd name="connsiteY43" fmla="*/ 73630 h 386647"/>
                <a:gd name="connsiteX44" fmla="*/ 241747 w 355614"/>
                <a:gd name="connsiteY44" fmla="*/ 0 h 386647"/>
                <a:gd name="connsiteX45" fmla="*/ 241747 w 355614"/>
                <a:gd name="connsiteY45" fmla="*/ 41625 h 38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55614" h="386647">
                  <a:moveTo>
                    <a:pt x="241794" y="41717"/>
                  </a:moveTo>
                  <a:lnTo>
                    <a:pt x="145224" y="41717"/>
                  </a:lnTo>
                  <a:lnTo>
                    <a:pt x="145224" y="120897"/>
                  </a:lnTo>
                  <a:lnTo>
                    <a:pt x="112294" y="138842"/>
                  </a:lnTo>
                  <a:lnTo>
                    <a:pt x="115254" y="186433"/>
                  </a:lnTo>
                  <a:lnTo>
                    <a:pt x="0" y="186433"/>
                  </a:lnTo>
                  <a:cubicBezTo>
                    <a:pt x="416" y="186433"/>
                    <a:pt x="786" y="186664"/>
                    <a:pt x="1156" y="187404"/>
                  </a:cubicBezTo>
                  <a:cubicBezTo>
                    <a:pt x="7446" y="199244"/>
                    <a:pt x="8695" y="203221"/>
                    <a:pt x="10499" y="200169"/>
                  </a:cubicBezTo>
                  <a:lnTo>
                    <a:pt x="11285" y="198874"/>
                  </a:lnTo>
                  <a:cubicBezTo>
                    <a:pt x="12025" y="197625"/>
                    <a:pt x="13089" y="197718"/>
                    <a:pt x="13644" y="199059"/>
                  </a:cubicBezTo>
                  <a:lnTo>
                    <a:pt x="18916" y="211592"/>
                  </a:lnTo>
                  <a:cubicBezTo>
                    <a:pt x="20489" y="215339"/>
                    <a:pt x="19517" y="224866"/>
                    <a:pt x="19564" y="224404"/>
                  </a:cubicBezTo>
                  <a:cubicBezTo>
                    <a:pt x="19425" y="227919"/>
                    <a:pt x="15586" y="229399"/>
                    <a:pt x="14846" y="226577"/>
                  </a:cubicBezTo>
                  <a:cubicBezTo>
                    <a:pt x="14106" y="223756"/>
                    <a:pt x="9666" y="226577"/>
                    <a:pt x="11747" y="229399"/>
                  </a:cubicBezTo>
                  <a:cubicBezTo>
                    <a:pt x="12441" y="230786"/>
                    <a:pt x="16604" y="234116"/>
                    <a:pt x="13597" y="236382"/>
                  </a:cubicBezTo>
                  <a:lnTo>
                    <a:pt x="12857" y="236937"/>
                  </a:lnTo>
                  <a:cubicBezTo>
                    <a:pt x="7539" y="241007"/>
                    <a:pt x="17436" y="246696"/>
                    <a:pt x="16696" y="246048"/>
                  </a:cubicBezTo>
                  <a:cubicBezTo>
                    <a:pt x="17899" y="246835"/>
                    <a:pt x="19147" y="248638"/>
                    <a:pt x="19517" y="250026"/>
                  </a:cubicBezTo>
                  <a:lnTo>
                    <a:pt x="25114" y="273428"/>
                  </a:lnTo>
                  <a:cubicBezTo>
                    <a:pt x="26131" y="277637"/>
                    <a:pt x="24004" y="295813"/>
                    <a:pt x="24050" y="295351"/>
                  </a:cubicBezTo>
                  <a:cubicBezTo>
                    <a:pt x="23495" y="301918"/>
                    <a:pt x="11100" y="329113"/>
                    <a:pt x="11100" y="334894"/>
                  </a:cubicBezTo>
                  <a:cubicBezTo>
                    <a:pt x="11100" y="342572"/>
                    <a:pt x="11377" y="345994"/>
                    <a:pt x="10637" y="348492"/>
                  </a:cubicBezTo>
                  <a:lnTo>
                    <a:pt x="11100" y="348492"/>
                  </a:lnTo>
                  <a:cubicBezTo>
                    <a:pt x="11100" y="348492"/>
                    <a:pt x="16002" y="347243"/>
                    <a:pt x="16002" y="347243"/>
                  </a:cubicBezTo>
                  <a:lnTo>
                    <a:pt x="22662" y="331333"/>
                  </a:lnTo>
                  <a:lnTo>
                    <a:pt x="73815" y="327263"/>
                  </a:lnTo>
                  <a:lnTo>
                    <a:pt x="88568" y="342294"/>
                  </a:lnTo>
                  <a:lnTo>
                    <a:pt x="102073" y="342294"/>
                  </a:lnTo>
                  <a:lnTo>
                    <a:pt x="117104" y="369674"/>
                  </a:lnTo>
                  <a:lnTo>
                    <a:pt x="140599" y="386648"/>
                  </a:lnTo>
                  <a:lnTo>
                    <a:pt x="151375" y="377768"/>
                  </a:lnTo>
                  <a:lnTo>
                    <a:pt x="151745" y="361580"/>
                  </a:lnTo>
                  <a:lnTo>
                    <a:pt x="160995" y="356955"/>
                  </a:lnTo>
                  <a:lnTo>
                    <a:pt x="176396" y="372773"/>
                  </a:lnTo>
                  <a:lnTo>
                    <a:pt x="183334" y="362737"/>
                  </a:lnTo>
                  <a:lnTo>
                    <a:pt x="215339" y="364263"/>
                  </a:lnTo>
                  <a:lnTo>
                    <a:pt x="218807" y="356169"/>
                  </a:lnTo>
                  <a:lnTo>
                    <a:pt x="224589" y="355383"/>
                  </a:lnTo>
                  <a:lnTo>
                    <a:pt x="225745" y="361534"/>
                  </a:lnTo>
                  <a:lnTo>
                    <a:pt x="333275" y="361534"/>
                  </a:lnTo>
                  <a:lnTo>
                    <a:pt x="338270" y="337253"/>
                  </a:lnTo>
                  <a:lnTo>
                    <a:pt x="330177" y="331102"/>
                  </a:lnTo>
                  <a:lnTo>
                    <a:pt x="303213" y="73630"/>
                  </a:lnTo>
                  <a:lnTo>
                    <a:pt x="355614" y="73630"/>
                  </a:lnTo>
                  <a:lnTo>
                    <a:pt x="241747" y="0"/>
                  </a:lnTo>
                  <a:lnTo>
                    <a:pt x="241747" y="41625"/>
                  </a:lnTo>
                  <a:close/>
                </a:path>
              </a:pathLst>
            </a:custGeom>
            <a:grpFill/>
            <a:ln w="4609" cap="flat">
              <a:noFill/>
              <a:prstDash val="solid"/>
              <a:miter/>
            </a:ln>
          </p:spPr>
          <p:txBody>
            <a:bodyPr rtlCol="0" anchor="ctr"/>
            <a:lstStyle/>
            <a:p>
              <a:endParaRPr lang="en-IN"/>
            </a:p>
          </p:txBody>
        </p:sp>
        <p:sp>
          <p:nvSpPr>
            <p:cNvPr id="93" name="Freeform: Shape 92">
              <a:extLst>
                <a:ext uri="{FF2B5EF4-FFF2-40B4-BE49-F238E27FC236}">
                  <a16:creationId xmlns:a16="http://schemas.microsoft.com/office/drawing/2014/main" id="{D355131A-50B0-2AC3-AD55-B6CCB67BFFA3}"/>
                </a:ext>
              </a:extLst>
            </p:cNvPr>
            <p:cNvSpPr/>
            <p:nvPr/>
          </p:nvSpPr>
          <p:spPr>
            <a:xfrm>
              <a:off x="5467248" y="4285760"/>
              <a:ext cx="480210" cy="445893"/>
            </a:xfrm>
            <a:custGeom>
              <a:avLst/>
              <a:gdLst>
                <a:gd name="connsiteX0" fmla="*/ 455837 w 480210"/>
                <a:gd name="connsiteY0" fmla="*/ 185508 h 445893"/>
                <a:gd name="connsiteX1" fmla="*/ 445986 w 480210"/>
                <a:gd name="connsiteY1" fmla="*/ 179773 h 445893"/>
                <a:gd name="connsiteX2" fmla="*/ 452739 w 480210"/>
                <a:gd name="connsiteY2" fmla="*/ 169921 h 445893"/>
                <a:gd name="connsiteX3" fmla="*/ 449085 w 480210"/>
                <a:gd name="connsiteY3" fmla="*/ 157434 h 445893"/>
                <a:gd name="connsiteX4" fmla="*/ 428966 w 480210"/>
                <a:gd name="connsiteY4" fmla="*/ 152485 h 445893"/>
                <a:gd name="connsiteX5" fmla="*/ 421520 w 480210"/>
                <a:gd name="connsiteY5" fmla="*/ 145455 h 445893"/>
                <a:gd name="connsiteX6" fmla="*/ 410142 w 480210"/>
                <a:gd name="connsiteY6" fmla="*/ 145085 h 445893"/>
                <a:gd name="connsiteX7" fmla="*/ 405009 w 480210"/>
                <a:gd name="connsiteY7" fmla="*/ 136205 h 445893"/>
                <a:gd name="connsiteX8" fmla="*/ 392151 w 480210"/>
                <a:gd name="connsiteY8" fmla="*/ 131627 h 445893"/>
                <a:gd name="connsiteX9" fmla="*/ 389654 w 480210"/>
                <a:gd name="connsiteY9" fmla="*/ 119463 h 445893"/>
                <a:gd name="connsiteX10" fmla="*/ 217744 w 480210"/>
                <a:gd name="connsiteY10" fmla="*/ 0 h 445893"/>
                <a:gd name="connsiteX11" fmla="*/ 165343 w 480210"/>
                <a:gd name="connsiteY11" fmla="*/ 0 h 445893"/>
                <a:gd name="connsiteX12" fmla="*/ 192306 w 480210"/>
                <a:gd name="connsiteY12" fmla="*/ 257426 h 445893"/>
                <a:gd name="connsiteX13" fmla="*/ 200400 w 480210"/>
                <a:gd name="connsiteY13" fmla="*/ 263623 h 445893"/>
                <a:gd name="connsiteX14" fmla="*/ 195405 w 480210"/>
                <a:gd name="connsiteY14" fmla="*/ 287904 h 445893"/>
                <a:gd name="connsiteX15" fmla="*/ 87874 w 480210"/>
                <a:gd name="connsiteY15" fmla="*/ 287904 h 445893"/>
                <a:gd name="connsiteX16" fmla="*/ 86718 w 480210"/>
                <a:gd name="connsiteY16" fmla="*/ 281707 h 445893"/>
                <a:gd name="connsiteX17" fmla="*/ 80937 w 480210"/>
                <a:gd name="connsiteY17" fmla="*/ 282493 h 445893"/>
                <a:gd name="connsiteX18" fmla="*/ 77468 w 480210"/>
                <a:gd name="connsiteY18" fmla="*/ 290587 h 445893"/>
                <a:gd name="connsiteX19" fmla="*/ 45463 w 480210"/>
                <a:gd name="connsiteY19" fmla="*/ 289061 h 445893"/>
                <a:gd name="connsiteX20" fmla="*/ 38526 w 480210"/>
                <a:gd name="connsiteY20" fmla="*/ 299051 h 445893"/>
                <a:gd name="connsiteX21" fmla="*/ 23125 w 480210"/>
                <a:gd name="connsiteY21" fmla="*/ 283279 h 445893"/>
                <a:gd name="connsiteX22" fmla="*/ 13875 w 480210"/>
                <a:gd name="connsiteY22" fmla="*/ 287904 h 445893"/>
                <a:gd name="connsiteX23" fmla="*/ 13505 w 480210"/>
                <a:gd name="connsiteY23" fmla="*/ 304092 h 445893"/>
                <a:gd name="connsiteX24" fmla="*/ 2682 w 480210"/>
                <a:gd name="connsiteY24" fmla="*/ 312926 h 445893"/>
                <a:gd name="connsiteX25" fmla="*/ 0 w 480210"/>
                <a:gd name="connsiteY25" fmla="*/ 319493 h 445893"/>
                <a:gd name="connsiteX26" fmla="*/ 7307 w 480210"/>
                <a:gd name="connsiteY26" fmla="*/ 325644 h 445893"/>
                <a:gd name="connsiteX27" fmla="*/ 7724 w 480210"/>
                <a:gd name="connsiteY27" fmla="*/ 337207 h 445893"/>
                <a:gd name="connsiteX28" fmla="*/ 2682 w 480210"/>
                <a:gd name="connsiteY28" fmla="*/ 342618 h 445893"/>
                <a:gd name="connsiteX29" fmla="*/ 10406 w 480210"/>
                <a:gd name="connsiteY29" fmla="*/ 353024 h 445893"/>
                <a:gd name="connsiteX30" fmla="*/ 16557 w 480210"/>
                <a:gd name="connsiteY30" fmla="*/ 350712 h 445893"/>
                <a:gd name="connsiteX31" fmla="*/ 24651 w 480210"/>
                <a:gd name="connsiteY31" fmla="*/ 363430 h 445893"/>
                <a:gd name="connsiteX32" fmla="*/ 24651 w 480210"/>
                <a:gd name="connsiteY32" fmla="*/ 379201 h 445893"/>
                <a:gd name="connsiteX33" fmla="*/ 19656 w 480210"/>
                <a:gd name="connsiteY33" fmla="*/ 386925 h 445893"/>
                <a:gd name="connsiteX34" fmla="*/ 29692 w 480210"/>
                <a:gd name="connsiteY34" fmla="*/ 392706 h 445893"/>
                <a:gd name="connsiteX35" fmla="*/ 37370 w 480210"/>
                <a:gd name="connsiteY35" fmla="*/ 386925 h 445893"/>
                <a:gd name="connsiteX36" fmla="*/ 45463 w 480210"/>
                <a:gd name="connsiteY36" fmla="*/ 395019 h 445893"/>
                <a:gd name="connsiteX37" fmla="*/ 55870 w 480210"/>
                <a:gd name="connsiteY37" fmla="*/ 385769 h 445893"/>
                <a:gd name="connsiteX38" fmla="*/ 74000 w 480210"/>
                <a:gd name="connsiteY38" fmla="*/ 391180 h 445893"/>
                <a:gd name="connsiteX39" fmla="*/ 84406 w 480210"/>
                <a:gd name="connsiteY39" fmla="*/ 383826 h 445893"/>
                <a:gd name="connsiteX40" fmla="*/ 83249 w 480210"/>
                <a:gd name="connsiteY40" fmla="*/ 377305 h 445893"/>
                <a:gd name="connsiteX41" fmla="*/ 95182 w 480210"/>
                <a:gd name="connsiteY41" fmla="*/ 381514 h 445893"/>
                <a:gd name="connsiteX42" fmla="*/ 99576 w 480210"/>
                <a:gd name="connsiteY42" fmla="*/ 398904 h 445893"/>
                <a:gd name="connsiteX43" fmla="*/ 110213 w 480210"/>
                <a:gd name="connsiteY43" fmla="*/ 408894 h 445893"/>
                <a:gd name="connsiteX44" fmla="*/ 103692 w 480210"/>
                <a:gd name="connsiteY44" fmla="*/ 421242 h 445893"/>
                <a:gd name="connsiteX45" fmla="*/ 114653 w 480210"/>
                <a:gd name="connsiteY45" fmla="*/ 422537 h 445893"/>
                <a:gd name="connsiteX46" fmla="*/ 115624 w 480210"/>
                <a:gd name="connsiteY46" fmla="*/ 436644 h 445893"/>
                <a:gd name="connsiteX47" fmla="*/ 127187 w 480210"/>
                <a:gd name="connsiteY47" fmla="*/ 444367 h 445893"/>
                <a:gd name="connsiteX48" fmla="*/ 127325 w 480210"/>
                <a:gd name="connsiteY48" fmla="*/ 444552 h 445893"/>
                <a:gd name="connsiteX49" fmla="*/ 134494 w 480210"/>
                <a:gd name="connsiteY49" fmla="*/ 438956 h 445893"/>
                <a:gd name="connsiteX50" fmla="*/ 149525 w 480210"/>
                <a:gd name="connsiteY50" fmla="*/ 445893 h 445893"/>
                <a:gd name="connsiteX51" fmla="*/ 161504 w 480210"/>
                <a:gd name="connsiteY51" fmla="*/ 439372 h 445893"/>
                <a:gd name="connsiteX52" fmla="*/ 164186 w 480210"/>
                <a:gd name="connsiteY52" fmla="*/ 431649 h 445893"/>
                <a:gd name="connsiteX53" fmla="*/ 174963 w 480210"/>
                <a:gd name="connsiteY53" fmla="*/ 430492 h 445893"/>
                <a:gd name="connsiteX54" fmla="*/ 174963 w 480210"/>
                <a:gd name="connsiteY54" fmla="*/ 442055 h 445893"/>
                <a:gd name="connsiteX55" fmla="*/ 181900 w 480210"/>
                <a:gd name="connsiteY55" fmla="*/ 445893 h 445893"/>
                <a:gd name="connsiteX56" fmla="*/ 186941 w 480210"/>
                <a:gd name="connsiteY56" fmla="*/ 438586 h 445893"/>
                <a:gd name="connsiteX57" fmla="*/ 196191 w 480210"/>
                <a:gd name="connsiteY57" fmla="*/ 437060 h 445893"/>
                <a:gd name="connsiteX58" fmla="*/ 196931 w 480210"/>
                <a:gd name="connsiteY58" fmla="*/ 420456 h 445893"/>
                <a:gd name="connsiteX59" fmla="*/ 205811 w 480210"/>
                <a:gd name="connsiteY59" fmla="*/ 411992 h 445893"/>
                <a:gd name="connsiteX60" fmla="*/ 203129 w 480210"/>
                <a:gd name="connsiteY60" fmla="*/ 395805 h 445893"/>
                <a:gd name="connsiteX61" fmla="*/ 218900 w 480210"/>
                <a:gd name="connsiteY61" fmla="*/ 392336 h 445893"/>
                <a:gd name="connsiteX62" fmla="*/ 228150 w 480210"/>
                <a:gd name="connsiteY62" fmla="*/ 382300 h 445893"/>
                <a:gd name="connsiteX63" fmla="*/ 227410 w 480210"/>
                <a:gd name="connsiteY63" fmla="*/ 373050 h 445893"/>
                <a:gd name="connsiteX64" fmla="*/ 234717 w 480210"/>
                <a:gd name="connsiteY64" fmla="*/ 368425 h 445893"/>
                <a:gd name="connsiteX65" fmla="*/ 231249 w 480210"/>
                <a:gd name="connsiteY65" fmla="*/ 357649 h 445893"/>
                <a:gd name="connsiteX66" fmla="*/ 239342 w 480210"/>
                <a:gd name="connsiteY66" fmla="*/ 349555 h 445893"/>
                <a:gd name="connsiteX67" fmla="*/ 254373 w 480210"/>
                <a:gd name="connsiteY67" fmla="*/ 358435 h 445893"/>
                <a:gd name="connsiteX68" fmla="*/ 261681 w 480210"/>
                <a:gd name="connsiteY68" fmla="*/ 353810 h 445893"/>
                <a:gd name="connsiteX69" fmla="*/ 261727 w 480210"/>
                <a:gd name="connsiteY69" fmla="*/ 344144 h 445893"/>
                <a:gd name="connsiteX70" fmla="*/ 271717 w 480210"/>
                <a:gd name="connsiteY70" fmla="*/ 342618 h 445893"/>
                <a:gd name="connsiteX71" fmla="*/ 274400 w 480210"/>
                <a:gd name="connsiteY71" fmla="*/ 331055 h 445893"/>
                <a:gd name="connsiteX72" fmla="*/ 284806 w 480210"/>
                <a:gd name="connsiteY72" fmla="*/ 324118 h 445893"/>
                <a:gd name="connsiteX73" fmla="*/ 296969 w 480210"/>
                <a:gd name="connsiteY73" fmla="*/ 328743 h 445893"/>
                <a:gd name="connsiteX74" fmla="*/ 300438 w 480210"/>
                <a:gd name="connsiteY74" fmla="*/ 314868 h 445893"/>
                <a:gd name="connsiteX75" fmla="*/ 338779 w 480210"/>
                <a:gd name="connsiteY75" fmla="*/ 300207 h 445893"/>
                <a:gd name="connsiteX76" fmla="*/ 383688 w 480210"/>
                <a:gd name="connsiteY76" fmla="*/ 305618 h 445893"/>
                <a:gd name="connsiteX77" fmla="*/ 396406 w 480210"/>
                <a:gd name="connsiteY77" fmla="*/ 293454 h 445893"/>
                <a:gd name="connsiteX78" fmla="*/ 461156 w 480210"/>
                <a:gd name="connsiteY78" fmla="*/ 291743 h 445893"/>
                <a:gd name="connsiteX79" fmla="*/ 480211 w 480210"/>
                <a:gd name="connsiteY79" fmla="*/ 260525 h 445893"/>
                <a:gd name="connsiteX80" fmla="*/ 480211 w 480210"/>
                <a:gd name="connsiteY80" fmla="*/ 180281 h 445893"/>
                <a:gd name="connsiteX81" fmla="*/ 455837 w 480210"/>
                <a:gd name="connsiteY81" fmla="*/ 185508 h 445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0210" h="445893">
                  <a:moveTo>
                    <a:pt x="455837" y="185508"/>
                  </a:moveTo>
                  <a:lnTo>
                    <a:pt x="445986" y="179773"/>
                  </a:lnTo>
                  <a:lnTo>
                    <a:pt x="452739" y="169921"/>
                  </a:lnTo>
                  <a:lnTo>
                    <a:pt x="449085" y="157434"/>
                  </a:lnTo>
                  <a:lnTo>
                    <a:pt x="428966" y="152485"/>
                  </a:lnTo>
                  <a:lnTo>
                    <a:pt x="421520" y="145455"/>
                  </a:lnTo>
                  <a:lnTo>
                    <a:pt x="410142" y="145085"/>
                  </a:lnTo>
                  <a:lnTo>
                    <a:pt x="405009" y="136205"/>
                  </a:lnTo>
                  <a:lnTo>
                    <a:pt x="392151" y="131627"/>
                  </a:lnTo>
                  <a:lnTo>
                    <a:pt x="389654" y="119463"/>
                  </a:lnTo>
                  <a:lnTo>
                    <a:pt x="217744" y="0"/>
                  </a:lnTo>
                  <a:lnTo>
                    <a:pt x="165343" y="0"/>
                  </a:lnTo>
                  <a:lnTo>
                    <a:pt x="192306" y="257426"/>
                  </a:lnTo>
                  <a:lnTo>
                    <a:pt x="200400" y="263623"/>
                  </a:lnTo>
                  <a:lnTo>
                    <a:pt x="195405" y="287904"/>
                  </a:lnTo>
                  <a:lnTo>
                    <a:pt x="87874" y="287904"/>
                  </a:lnTo>
                  <a:lnTo>
                    <a:pt x="86718" y="281707"/>
                  </a:lnTo>
                  <a:lnTo>
                    <a:pt x="80937" y="282493"/>
                  </a:lnTo>
                  <a:lnTo>
                    <a:pt x="77468" y="290587"/>
                  </a:lnTo>
                  <a:lnTo>
                    <a:pt x="45463" y="289061"/>
                  </a:lnTo>
                  <a:lnTo>
                    <a:pt x="38526" y="299051"/>
                  </a:lnTo>
                  <a:lnTo>
                    <a:pt x="23125" y="283279"/>
                  </a:lnTo>
                  <a:lnTo>
                    <a:pt x="13875" y="287904"/>
                  </a:lnTo>
                  <a:lnTo>
                    <a:pt x="13505" y="304092"/>
                  </a:lnTo>
                  <a:lnTo>
                    <a:pt x="2682" y="312926"/>
                  </a:lnTo>
                  <a:lnTo>
                    <a:pt x="0" y="319493"/>
                  </a:lnTo>
                  <a:lnTo>
                    <a:pt x="7307" y="325644"/>
                  </a:lnTo>
                  <a:lnTo>
                    <a:pt x="7724" y="337207"/>
                  </a:lnTo>
                  <a:lnTo>
                    <a:pt x="2682" y="342618"/>
                  </a:lnTo>
                  <a:lnTo>
                    <a:pt x="10406" y="353024"/>
                  </a:lnTo>
                  <a:lnTo>
                    <a:pt x="16557" y="350712"/>
                  </a:lnTo>
                  <a:lnTo>
                    <a:pt x="24651" y="363430"/>
                  </a:lnTo>
                  <a:lnTo>
                    <a:pt x="24651" y="379201"/>
                  </a:lnTo>
                  <a:lnTo>
                    <a:pt x="19656" y="386925"/>
                  </a:lnTo>
                  <a:lnTo>
                    <a:pt x="29692" y="392706"/>
                  </a:lnTo>
                  <a:lnTo>
                    <a:pt x="37370" y="386925"/>
                  </a:lnTo>
                  <a:lnTo>
                    <a:pt x="45463" y="395019"/>
                  </a:lnTo>
                  <a:lnTo>
                    <a:pt x="55870" y="385769"/>
                  </a:lnTo>
                  <a:lnTo>
                    <a:pt x="74000" y="391180"/>
                  </a:lnTo>
                  <a:lnTo>
                    <a:pt x="84406" y="383826"/>
                  </a:lnTo>
                  <a:lnTo>
                    <a:pt x="83249" y="377305"/>
                  </a:lnTo>
                  <a:lnTo>
                    <a:pt x="95182" y="381514"/>
                  </a:lnTo>
                  <a:lnTo>
                    <a:pt x="99576" y="398904"/>
                  </a:lnTo>
                  <a:lnTo>
                    <a:pt x="110213" y="408894"/>
                  </a:lnTo>
                  <a:lnTo>
                    <a:pt x="103692" y="421242"/>
                  </a:lnTo>
                  <a:lnTo>
                    <a:pt x="114653" y="422537"/>
                  </a:lnTo>
                  <a:lnTo>
                    <a:pt x="115624" y="436644"/>
                  </a:lnTo>
                  <a:lnTo>
                    <a:pt x="127187" y="444367"/>
                  </a:lnTo>
                  <a:lnTo>
                    <a:pt x="127325" y="444552"/>
                  </a:lnTo>
                  <a:lnTo>
                    <a:pt x="134494" y="438956"/>
                  </a:lnTo>
                  <a:lnTo>
                    <a:pt x="149525" y="445893"/>
                  </a:lnTo>
                  <a:lnTo>
                    <a:pt x="161504" y="439372"/>
                  </a:lnTo>
                  <a:lnTo>
                    <a:pt x="164186" y="431649"/>
                  </a:lnTo>
                  <a:lnTo>
                    <a:pt x="174963" y="430492"/>
                  </a:lnTo>
                  <a:lnTo>
                    <a:pt x="174963" y="442055"/>
                  </a:lnTo>
                  <a:lnTo>
                    <a:pt x="181900" y="445893"/>
                  </a:lnTo>
                  <a:lnTo>
                    <a:pt x="186941" y="438586"/>
                  </a:lnTo>
                  <a:lnTo>
                    <a:pt x="196191" y="437060"/>
                  </a:lnTo>
                  <a:lnTo>
                    <a:pt x="196931" y="420456"/>
                  </a:lnTo>
                  <a:lnTo>
                    <a:pt x="205811" y="411992"/>
                  </a:lnTo>
                  <a:lnTo>
                    <a:pt x="203129" y="395805"/>
                  </a:lnTo>
                  <a:lnTo>
                    <a:pt x="218900" y="392336"/>
                  </a:lnTo>
                  <a:lnTo>
                    <a:pt x="228150" y="382300"/>
                  </a:lnTo>
                  <a:lnTo>
                    <a:pt x="227410" y="373050"/>
                  </a:lnTo>
                  <a:lnTo>
                    <a:pt x="234717" y="368425"/>
                  </a:lnTo>
                  <a:lnTo>
                    <a:pt x="231249" y="357649"/>
                  </a:lnTo>
                  <a:lnTo>
                    <a:pt x="239342" y="349555"/>
                  </a:lnTo>
                  <a:lnTo>
                    <a:pt x="254373" y="358435"/>
                  </a:lnTo>
                  <a:lnTo>
                    <a:pt x="261681" y="353810"/>
                  </a:lnTo>
                  <a:lnTo>
                    <a:pt x="261727" y="344144"/>
                  </a:lnTo>
                  <a:lnTo>
                    <a:pt x="271717" y="342618"/>
                  </a:lnTo>
                  <a:lnTo>
                    <a:pt x="274400" y="331055"/>
                  </a:lnTo>
                  <a:lnTo>
                    <a:pt x="284806" y="324118"/>
                  </a:lnTo>
                  <a:lnTo>
                    <a:pt x="296969" y="328743"/>
                  </a:lnTo>
                  <a:lnTo>
                    <a:pt x="300438" y="314868"/>
                  </a:lnTo>
                  <a:lnTo>
                    <a:pt x="338779" y="300207"/>
                  </a:lnTo>
                  <a:lnTo>
                    <a:pt x="383688" y="305618"/>
                  </a:lnTo>
                  <a:lnTo>
                    <a:pt x="396406" y="293454"/>
                  </a:lnTo>
                  <a:lnTo>
                    <a:pt x="461156" y="291743"/>
                  </a:lnTo>
                  <a:lnTo>
                    <a:pt x="480211" y="260525"/>
                  </a:lnTo>
                  <a:lnTo>
                    <a:pt x="480211" y="180281"/>
                  </a:lnTo>
                  <a:lnTo>
                    <a:pt x="455837" y="185508"/>
                  </a:lnTo>
                  <a:close/>
                </a:path>
              </a:pathLst>
            </a:custGeom>
            <a:grpFill/>
            <a:ln w="4609" cap="flat">
              <a:noFill/>
              <a:prstDash val="solid"/>
              <a:miter/>
            </a:ln>
          </p:spPr>
          <p:txBody>
            <a:bodyPr rtlCol="0" anchor="ctr"/>
            <a:lstStyle/>
            <a:p>
              <a:endParaRPr lang="en-IN"/>
            </a:p>
          </p:txBody>
        </p:sp>
        <p:sp>
          <p:nvSpPr>
            <p:cNvPr id="94" name="Freeform: Shape 93">
              <a:extLst>
                <a:ext uri="{FF2B5EF4-FFF2-40B4-BE49-F238E27FC236}">
                  <a16:creationId xmlns:a16="http://schemas.microsoft.com/office/drawing/2014/main" id="{5BFAABAD-C21E-E84D-1D9C-A74974138AC6}"/>
                </a:ext>
              </a:extLst>
            </p:cNvPr>
            <p:cNvSpPr/>
            <p:nvPr/>
          </p:nvSpPr>
          <p:spPr>
            <a:xfrm>
              <a:off x="6777133" y="5302513"/>
              <a:ext cx="92869" cy="234254"/>
            </a:xfrm>
            <a:custGeom>
              <a:avLst/>
              <a:gdLst>
                <a:gd name="connsiteX0" fmla="*/ 63455 w 92869"/>
                <a:gd name="connsiteY0" fmla="*/ 118446 h 234254"/>
                <a:gd name="connsiteX1" fmla="*/ 61928 w 92869"/>
                <a:gd name="connsiteY1" fmla="*/ 116087 h 234254"/>
                <a:gd name="connsiteX2" fmla="*/ 62900 w 92869"/>
                <a:gd name="connsiteY2" fmla="*/ 117659 h 234254"/>
                <a:gd name="connsiteX3" fmla="*/ 63593 w 92869"/>
                <a:gd name="connsiteY3" fmla="*/ 125475 h 234254"/>
                <a:gd name="connsiteX4" fmla="*/ 66831 w 92869"/>
                <a:gd name="connsiteY4" fmla="*/ 131164 h 234254"/>
                <a:gd name="connsiteX5" fmla="*/ 75896 w 92869"/>
                <a:gd name="connsiteY5" fmla="*/ 147120 h 234254"/>
                <a:gd name="connsiteX6" fmla="*/ 71317 w 92869"/>
                <a:gd name="connsiteY6" fmla="*/ 157388 h 234254"/>
                <a:gd name="connsiteX7" fmla="*/ 71132 w 92869"/>
                <a:gd name="connsiteY7" fmla="*/ 156232 h 234254"/>
                <a:gd name="connsiteX8" fmla="*/ 70808 w 92869"/>
                <a:gd name="connsiteY8" fmla="*/ 147953 h 234254"/>
                <a:gd name="connsiteX9" fmla="*/ 64472 w 92869"/>
                <a:gd name="connsiteY9" fmla="*/ 139952 h 234254"/>
                <a:gd name="connsiteX10" fmla="*/ 61651 w 92869"/>
                <a:gd name="connsiteY10" fmla="*/ 145548 h 234254"/>
                <a:gd name="connsiteX11" fmla="*/ 54251 w 92869"/>
                <a:gd name="connsiteY11" fmla="*/ 139582 h 234254"/>
                <a:gd name="connsiteX12" fmla="*/ 54112 w 92869"/>
                <a:gd name="connsiteY12" fmla="*/ 135835 h 234254"/>
                <a:gd name="connsiteX13" fmla="*/ 53696 w 92869"/>
                <a:gd name="connsiteY13" fmla="*/ 126401 h 234254"/>
                <a:gd name="connsiteX14" fmla="*/ 49163 w 92869"/>
                <a:gd name="connsiteY14" fmla="*/ 122700 h 234254"/>
                <a:gd name="connsiteX15" fmla="*/ 46759 w 92869"/>
                <a:gd name="connsiteY15" fmla="*/ 115902 h 234254"/>
                <a:gd name="connsiteX16" fmla="*/ 47314 w 92869"/>
                <a:gd name="connsiteY16" fmla="*/ 107253 h 234254"/>
                <a:gd name="connsiteX17" fmla="*/ 41579 w 92869"/>
                <a:gd name="connsiteY17" fmla="*/ 89123 h 234254"/>
                <a:gd name="connsiteX18" fmla="*/ 39451 w 92869"/>
                <a:gd name="connsiteY18" fmla="*/ 86117 h 234254"/>
                <a:gd name="connsiteX19" fmla="*/ 45880 w 92869"/>
                <a:gd name="connsiteY19" fmla="*/ 70068 h 234254"/>
                <a:gd name="connsiteX20" fmla="*/ 44169 w 92869"/>
                <a:gd name="connsiteY20" fmla="*/ 52077 h 234254"/>
                <a:gd name="connsiteX21" fmla="*/ 44770 w 92869"/>
                <a:gd name="connsiteY21" fmla="*/ 31866 h 234254"/>
                <a:gd name="connsiteX22" fmla="*/ 37000 w 92869"/>
                <a:gd name="connsiteY22" fmla="*/ 17714 h 234254"/>
                <a:gd name="connsiteX23" fmla="*/ 36167 w 92869"/>
                <a:gd name="connsiteY23" fmla="*/ 9111 h 234254"/>
                <a:gd name="connsiteX24" fmla="*/ 7030 w 92869"/>
                <a:gd name="connsiteY24" fmla="*/ 0 h 234254"/>
                <a:gd name="connsiteX25" fmla="*/ 8464 w 92869"/>
                <a:gd name="connsiteY25" fmla="*/ 9065 h 234254"/>
                <a:gd name="connsiteX26" fmla="*/ 18962 w 92869"/>
                <a:gd name="connsiteY26" fmla="*/ 14754 h 234254"/>
                <a:gd name="connsiteX27" fmla="*/ 18639 w 92869"/>
                <a:gd name="connsiteY27" fmla="*/ 20489 h 234254"/>
                <a:gd name="connsiteX28" fmla="*/ 25160 w 92869"/>
                <a:gd name="connsiteY28" fmla="*/ 25252 h 234254"/>
                <a:gd name="connsiteX29" fmla="*/ 29507 w 92869"/>
                <a:gd name="connsiteY29" fmla="*/ 37092 h 234254"/>
                <a:gd name="connsiteX30" fmla="*/ 16419 w 92869"/>
                <a:gd name="connsiteY30" fmla="*/ 45695 h 234254"/>
                <a:gd name="connsiteX31" fmla="*/ 20674 w 92869"/>
                <a:gd name="connsiteY31" fmla="*/ 53650 h 234254"/>
                <a:gd name="connsiteX32" fmla="*/ 16419 w 92869"/>
                <a:gd name="connsiteY32" fmla="*/ 62715 h 234254"/>
                <a:gd name="connsiteX33" fmla="*/ 19147 w 92869"/>
                <a:gd name="connsiteY33" fmla="*/ 76081 h 234254"/>
                <a:gd name="connsiteX34" fmla="*/ 16003 w 92869"/>
                <a:gd name="connsiteY34" fmla="*/ 80660 h 234254"/>
                <a:gd name="connsiteX35" fmla="*/ 19471 w 92869"/>
                <a:gd name="connsiteY35" fmla="*/ 86672 h 234254"/>
                <a:gd name="connsiteX36" fmla="*/ 26039 w 92869"/>
                <a:gd name="connsiteY36" fmla="*/ 87227 h 234254"/>
                <a:gd name="connsiteX37" fmla="*/ 19471 w 92869"/>
                <a:gd name="connsiteY37" fmla="*/ 94951 h 234254"/>
                <a:gd name="connsiteX38" fmla="*/ 10406 w 92869"/>
                <a:gd name="connsiteY38" fmla="*/ 95737 h 234254"/>
                <a:gd name="connsiteX39" fmla="*/ 7122 w 92869"/>
                <a:gd name="connsiteY39" fmla="*/ 102489 h 234254"/>
                <a:gd name="connsiteX40" fmla="*/ 9805 w 92869"/>
                <a:gd name="connsiteY40" fmla="*/ 106929 h 234254"/>
                <a:gd name="connsiteX41" fmla="*/ 7492 w 92869"/>
                <a:gd name="connsiteY41" fmla="*/ 117937 h 234254"/>
                <a:gd name="connsiteX42" fmla="*/ 0 w 92869"/>
                <a:gd name="connsiteY42" fmla="*/ 124319 h 234254"/>
                <a:gd name="connsiteX43" fmla="*/ 6382 w 92869"/>
                <a:gd name="connsiteY43" fmla="*/ 134448 h 234254"/>
                <a:gd name="connsiteX44" fmla="*/ 12164 w 92869"/>
                <a:gd name="connsiteY44" fmla="*/ 133292 h 234254"/>
                <a:gd name="connsiteX45" fmla="*/ 16234 w 92869"/>
                <a:gd name="connsiteY45" fmla="*/ 138795 h 234254"/>
                <a:gd name="connsiteX46" fmla="*/ 27796 w 92869"/>
                <a:gd name="connsiteY46" fmla="*/ 155862 h 234254"/>
                <a:gd name="connsiteX47" fmla="*/ 50643 w 92869"/>
                <a:gd name="connsiteY47" fmla="*/ 150682 h 234254"/>
                <a:gd name="connsiteX48" fmla="*/ 54713 w 92869"/>
                <a:gd name="connsiteY48" fmla="*/ 175841 h 234254"/>
                <a:gd name="connsiteX49" fmla="*/ 44585 w 92869"/>
                <a:gd name="connsiteY49" fmla="*/ 192908 h 234254"/>
                <a:gd name="connsiteX50" fmla="*/ 68866 w 92869"/>
                <a:gd name="connsiteY50" fmla="*/ 222415 h 234254"/>
                <a:gd name="connsiteX51" fmla="*/ 66831 w 92869"/>
                <a:gd name="connsiteY51" fmla="*/ 230509 h 234254"/>
                <a:gd name="connsiteX52" fmla="*/ 76960 w 92869"/>
                <a:gd name="connsiteY52" fmla="*/ 234255 h 234254"/>
                <a:gd name="connsiteX53" fmla="*/ 76960 w 92869"/>
                <a:gd name="connsiteY53" fmla="*/ 204192 h 234254"/>
                <a:gd name="connsiteX54" fmla="*/ 92870 w 92869"/>
                <a:gd name="connsiteY54" fmla="*/ 198689 h 234254"/>
                <a:gd name="connsiteX55" fmla="*/ 92870 w 92869"/>
                <a:gd name="connsiteY55" fmla="*/ 151283 h 234254"/>
                <a:gd name="connsiteX56" fmla="*/ 63593 w 92869"/>
                <a:gd name="connsiteY56" fmla="*/ 118630 h 23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92869" h="234254">
                  <a:moveTo>
                    <a:pt x="63455" y="118446"/>
                  </a:moveTo>
                  <a:lnTo>
                    <a:pt x="61928" y="116087"/>
                  </a:lnTo>
                  <a:cubicBezTo>
                    <a:pt x="62206" y="116781"/>
                    <a:pt x="62530" y="117382"/>
                    <a:pt x="62900" y="117659"/>
                  </a:cubicBezTo>
                  <a:cubicBezTo>
                    <a:pt x="64426" y="119047"/>
                    <a:pt x="63871" y="122146"/>
                    <a:pt x="63593" y="125475"/>
                  </a:cubicBezTo>
                  <a:cubicBezTo>
                    <a:pt x="63316" y="128805"/>
                    <a:pt x="66461" y="130702"/>
                    <a:pt x="66831" y="131164"/>
                  </a:cubicBezTo>
                  <a:cubicBezTo>
                    <a:pt x="69560" y="133615"/>
                    <a:pt x="70670" y="136760"/>
                    <a:pt x="75896" y="147120"/>
                  </a:cubicBezTo>
                  <a:cubicBezTo>
                    <a:pt x="81353" y="157943"/>
                    <a:pt x="71918" y="161411"/>
                    <a:pt x="71317" y="157388"/>
                  </a:cubicBezTo>
                  <a:lnTo>
                    <a:pt x="71132" y="156232"/>
                  </a:lnTo>
                  <a:cubicBezTo>
                    <a:pt x="70531" y="152208"/>
                    <a:pt x="73167" y="150820"/>
                    <a:pt x="70808" y="147953"/>
                  </a:cubicBezTo>
                  <a:lnTo>
                    <a:pt x="64472" y="139952"/>
                  </a:lnTo>
                  <a:cubicBezTo>
                    <a:pt x="61975" y="136945"/>
                    <a:pt x="62206" y="143652"/>
                    <a:pt x="61651" y="145548"/>
                  </a:cubicBezTo>
                  <a:cubicBezTo>
                    <a:pt x="61096" y="149063"/>
                    <a:pt x="58367" y="144577"/>
                    <a:pt x="54251" y="139582"/>
                  </a:cubicBezTo>
                  <a:cubicBezTo>
                    <a:pt x="53326" y="138472"/>
                    <a:pt x="53280" y="136760"/>
                    <a:pt x="54112" y="135835"/>
                  </a:cubicBezTo>
                  <a:cubicBezTo>
                    <a:pt x="56194" y="133523"/>
                    <a:pt x="56933" y="127973"/>
                    <a:pt x="53696" y="126401"/>
                  </a:cubicBezTo>
                  <a:cubicBezTo>
                    <a:pt x="54159" y="126724"/>
                    <a:pt x="50829" y="125106"/>
                    <a:pt x="49163" y="122700"/>
                  </a:cubicBezTo>
                  <a:cubicBezTo>
                    <a:pt x="49395" y="123163"/>
                    <a:pt x="46065" y="119278"/>
                    <a:pt x="46759" y="115902"/>
                  </a:cubicBezTo>
                  <a:cubicBezTo>
                    <a:pt x="46666" y="116364"/>
                    <a:pt x="48285" y="110861"/>
                    <a:pt x="47314" y="107253"/>
                  </a:cubicBezTo>
                  <a:cubicBezTo>
                    <a:pt x="47452" y="107716"/>
                    <a:pt x="43984" y="92592"/>
                    <a:pt x="41579" y="89123"/>
                  </a:cubicBezTo>
                  <a:lnTo>
                    <a:pt x="39451" y="86117"/>
                  </a:lnTo>
                  <a:cubicBezTo>
                    <a:pt x="37509" y="83342"/>
                    <a:pt x="39266" y="81677"/>
                    <a:pt x="45880" y="70068"/>
                  </a:cubicBezTo>
                  <a:cubicBezTo>
                    <a:pt x="48423" y="65582"/>
                    <a:pt x="43937" y="59755"/>
                    <a:pt x="44169" y="52077"/>
                  </a:cubicBezTo>
                  <a:lnTo>
                    <a:pt x="44770" y="31866"/>
                  </a:lnTo>
                  <a:cubicBezTo>
                    <a:pt x="44862" y="28860"/>
                    <a:pt x="43937" y="27842"/>
                    <a:pt x="37000" y="17714"/>
                  </a:cubicBezTo>
                  <a:cubicBezTo>
                    <a:pt x="35612" y="15725"/>
                    <a:pt x="35659" y="13459"/>
                    <a:pt x="36167" y="9111"/>
                  </a:cubicBezTo>
                  <a:lnTo>
                    <a:pt x="7030" y="0"/>
                  </a:lnTo>
                  <a:lnTo>
                    <a:pt x="8464" y="9065"/>
                  </a:lnTo>
                  <a:lnTo>
                    <a:pt x="18962" y="14754"/>
                  </a:lnTo>
                  <a:lnTo>
                    <a:pt x="18639" y="20489"/>
                  </a:lnTo>
                  <a:lnTo>
                    <a:pt x="25160" y="25252"/>
                  </a:lnTo>
                  <a:lnTo>
                    <a:pt x="29507" y="37092"/>
                  </a:lnTo>
                  <a:lnTo>
                    <a:pt x="16419" y="45695"/>
                  </a:lnTo>
                  <a:lnTo>
                    <a:pt x="20674" y="53650"/>
                  </a:lnTo>
                  <a:lnTo>
                    <a:pt x="16419" y="62715"/>
                  </a:lnTo>
                  <a:lnTo>
                    <a:pt x="19147" y="76081"/>
                  </a:lnTo>
                  <a:lnTo>
                    <a:pt x="16003" y="80660"/>
                  </a:lnTo>
                  <a:lnTo>
                    <a:pt x="19471" y="86672"/>
                  </a:lnTo>
                  <a:lnTo>
                    <a:pt x="26039" y="87227"/>
                  </a:lnTo>
                  <a:lnTo>
                    <a:pt x="19471" y="94951"/>
                  </a:lnTo>
                  <a:lnTo>
                    <a:pt x="10406" y="95737"/>
                  </a:lnTo>
                  <a:lnTo>
                    <a:pt x="7122" y="102489"/>
                  </a:lnTo>
                  <a:lnTo>
                    <a:pt x="9805" y="106929"/>
                  </a:lnTo>
                  <a:lnTo>
                    <a:pt x="7492" y="117937"/>
                  </a:lnTo>
                  <a:lnTo>
                    <a:pt x="0" y="124319"/>
                  </a:lnTo>
                  <a:lnTo>
                    <a:pt x="6382" y="134448"/>
                  </a:lnTo>
                  <a:lnTo>
                    <a:pt x="12164" y="133292"/>
                  </a:lnTo>
                  <a:lnTo>
                    <a:pt x="16234" y="138795"/>
                  </a:lnTo>
                  <a:lnTo>
                    <a:pt x="27796" y="155862"/>
                  </a:lnTo>
                  <a:lnTo>
                    <a:pt x="50643" y="150682"/>
                  </a:lnTo>
                  <a:lnTo>
                    <a:pt x="54713" y="175841"/>
                  </a:lnTo>
                  <a:lnTo>
                    <a:pt x="44585" y="192908"/>
                  </a:lnTo>
                  <a:lnTo>
                    <a:pt x="68866" y="222415"/>
                  </a:lnTo>
                  <a:lnTo>
                    <a:pt x="66831" y="230509"/>
                  </a:lnTo>
                  <a:lnTo>
                    <a:pt x="76960" y="234255"/>
                  </a:lnTo>
                  <a:lnTo>
                    <a:pt x="76960" y="204192"/>
                  </a:lnTo>
                  <a:lnTo>
                    <a:pt x="92870" y="198689"/>
                  </a:lnTo>
                  <a:lnTo>
                    <a:pt x="92870" y="151283"/>
                  </a:lnTo>
                  <a:lnTo>
                    <a:pt x="63593" y="118630"/>
                  </a:lnTo>
                  <a:close/>
                </a:path>
              </a:pathLst>
            </a:custGeom>
            <a:grpFill/>
            <a:ln w="4609" cap="flat">
              <a:noFill/>
              <a:prstDash val="solid"/>
              <a:miter/>
            </a:ln>
          </p:spPr>
          <p:txBody>
            <a:bodyPr rtlCol="0" anchor="ctr"/>
            <a:lstStyle/>
            <a:p>
              <a:endParaRPr lang="en-IN"/>
            </a:p>
          </p:txBody>
        </p:sp>
        <p:grpSp>
          <p:nvGrpSpPr>
            <p:cNvPr id="95" name="Graphic 36">
              <a:extLst>
                <a:ext uri="{FF2B5EF4-FFF2-40B4-BE49-F238E27FC236}">
                  <a16:creationId xmlns:a16="http://schemas.microsoft.com/office/drawing/2014/main" id="{931D6F26-9700-91BB-82B2-CA620FC081C3}"/>
                </a:ext>
              </a:extLst>
            </p:cNvPr>
            <p:cNvGrpSpPr/>
            <p:nvPr/>
          </p:nvGrpSpPr>
          <p:grpSpPr>
            <a:xfrm>
              <a:off x="7085429" y="5378910"/>
              <a:ext cx="210417" cy="411719"/>
              <a:chOff x="7085429" y="5378910"/>
              <a:chExt cx="210417" cy="411719"/>
            </a:xfrm>
            <a:grpFill/>
          </p:grpSpPr>
          <p:sp>
            <p:nvSpPr>
              <p:cNvPr id="154" name="Freeform: Shape 153">
                <a:extLst>
                  <a:ext uri="{FF2B5EF4-FFF2-40B4-BE49-F238E27FC236}">
                    <a16:creationId xmlns:a16="http://schemas.microsoft.com/office/drawing/2014/main" id="{905B1D61-4599-1F65-F65E-2757A411924F}"/>
                  </a:ext>
                </a:extLst>
              </p:cNvPr>
              <p:cNvSpPr/>
              <p:nvPr/>
            </p:nvSpPr>
            <p:spPr>
              <a:xfrm>
                <a:off x="7228321" y="5415390"/>
                <a:ext cx="6516" cy="7187"/>
              </a:xfrm>
              <a:custGeom>
                <a:avLst/>
                <a:gdLst>
                  <a:gd name="connsiteX0" fmla="*/ 4094 w 6516"/>
                  <a:gd name="connsiteY0" fmla="*/ 7142 h 7187"/>
                  <a:gd name="connsiteX1" fmla="*/ 5990 w 6516"/>
                  <a:gd name="connsiteY1" fmla="*/ 1869 h 7187"/>
                  <a:gd name="connsiteX2" fmla="*/ 70 w 6516"/>
                  <a:gd name="connsiteY2" fmla="*/ 3303 h 7187"/>
                  <a:gd name="connsiteX3" fmla="*/ 4094 w 6516"/>
                  <a:gd name="connsiteY3" fmla="*/ 7188 h 7187"/>
                </a:gdLst>
                <a:ahLst/>
                <a:cxnLst>
                  <a:cxn ang="0">
                    <a:pos x="connsiteX0" y="connsiteY0"/>
                  </a:cxn>
                  <a:cxn ang="0">
                    <a:pos x="connsiteX1" y="connsiteY1"/>
                  </a:cxn>
                  <a:cxn ang="0">
                    <a:pos x="connsiteX2" y="connsiteY2"/>
                  </a:cxn>
                  <a:cxn ang="0">
                    <a:pos x="connsiteX3" y="connsiteY3"/>
                  </a:cxn>
                </a:cxnLst>
                <a:rect l="l" t="t" r="r" b="b"/>
                <a:pathLst>
                  <a:path w="6516" h="7187">
                    <a:moveTo>
                      <a:pt x="4094" y="7142"/>
                    </a:moveTo>
                    <a:cubicBezTo>
                      <a:pt x="8025" y="7281"/>
                      <a:pt x="5990" y="2424"/>
                      <a:pt x="5990" y="1869"/>
                    </a:cubicBezTo>
                    <a:cubicBezTo>
                      <a:pt x="5065" y="-2293"/>
                      <a:pt x="-346" y="1545"/>
                      <a:pt x="70" y="3303"/>
                    </a:cubicBezTo>
                    <a:cubicBezTo>
                      <a:pt x="-300" y="2748"/>
                      <a:pt x="764" y="7049"/>
                      <a:pt x="4094" y="7188"/>
                    </a:cubicBezTo>
                    <a:close/>
                  </a:path>
                </a:pathLst>
              </a:custGeom>
              <a:grpFill/>
              <a:ln w="4609" cap="flat">
                <a:noFill/>
                <a:prstDash val="solid"/>
                <a:miter/>
              </a:ln>
            </p:spPr>
            <p:txBody>
              <a:bodyPr rtlCol="0" anchor="ctr"/>
              <a:lstStyle/>
              <a:p>
                <a:endParaRPr lang="en-IN"/>
              </a:p>
            </p:txBody>
          </p:sp>
          <p:sp>
            <p:nvSpPr>
              <p:cNvPr id="155" name="Freeform: Shape 154">
                <a:extLst>
                  <a:ext uri="{FF2B5EF4-FFF2-40B4-BE49-F238E27FC236}">
                    <a16:creationId xmlns:a16="http://schemas.microsoft.com/office/drawing/2014/main" id="{449C6A01-4F03-1597-CAFF-CF022C87E3D6}"/>
                  </a:ext>
                </a:extLst>
              </p:cNvPr>
              <p:cNvSpPr/>
              <p:nvPr/>
            </p:nvSpPr>
            <p:spPr>
              <a:xfrm>
                <a:off x="7085429" y="5378910"/>
                <a:ext cx="210417" cy="411719"/>
              </a:xfrm>
              <a:custGeom>
                <a:avLst/>
                <a:gdLst>
                  <a:gd name="connsiteX0" fmla="*/ 201746 w 210417"/>
                  <a:gd name="connsiteY0" fmla="*/ 69429 h 411719"/>
                  <a:gd name="connsiteX1" fmla="*/ 200960 w 210417"/>
                  <a:gd name="connsiteY1" fmla="*/ 57126 h 411719"/>
                  <a:gd name="connsiteX2" fmla="*/ 196242 w 210417"/>
                  <a:gd name="connsiteY2" fmla="*/ 41078 h 411719"/>
                  <a:gd name="connsiteX3" fmla="*/ 195271 w 210417"/>
                  <a:gd name="connsiteY3" fmla="*/ 35297 h 411719"/>
                  <a:gd name="connsiteX4" fmla="*/ 192033 w 210417"/>
                  <a:gd name="connsiteY4" fmla="*/ 27296 h 411719"/>
                  <a:gd name="connsiteX5" fmla="*/ 186298 w 210417"/>
                  <a:gd name="connsiteY5" fmla="*/ 22254 h 411719"/>
                  <a:gd name="connsiteX6" fmla="*/ 184171 w 210417"/>
                  <a:gd name="connsiteY6" fmla="*/ 17814 h 411719"/>
                  <a:gd name="connsiteX7" fmla="*/ 181165 w 210417"/>
                  <a:gd name="connsiteY7" fmla="*/ 10969 h 411719"/>
                  <a:gd name="connsiteX8" fmla="*/ 177326 w 210417"/>
                  <a:gd name="connsiteY8" fmla="*/ 6946 h 411719"/>
                  <a:gd name="connsiteX9" fmla="*/ 177141 w 210417"/>
                  <a:gd name="connsiteY9" fmla="*/ 1627 h 411719"/>
                  <a:gd name="connsiteX10" fmla="*/ 176863 w 210417"/>
                  <a:gd name="connsiteY10" fmla="*/ 1118 h 411719"/>
                  <a:gd name="connsiteX11" fmla="*/ 170990 w 210417"/>
                  <a:gd name="connsiteY11" fmla="*/ 5743 h 411719"/>
                  <a:gd name="connsiteX12" fmla="*/ 169510 w 210417"/>
                  <a:gd name="connsiteY12" fmla="*/ 9952 h 411719"/>
                  <a:gd name="connsiteX13" fmla="*/ 166781 w 210417"/>
                  <a:gd name="connsiteY13" fmla="*/ 13605 h 411719"/>
                  <a:gd name="connsiteX14" fmla="*/ 163173 w 210417"/>
                  <a:gd name="connsiteY14" fmla="*/ 14068 h 411719"/>
                  <a:gd name="connsiteX15" fmla="*/ 165486 w 210417"/>
                  <a:gd name="connsiteY15" fmla="*/ 30024 h 411719"/>
                  <a:gd name="connsiteX16" fmla="*/ 163821 w 210417"/>
                  <a:gd name="connsiteY16" fmla="*/ 32892 h 411719"/>
                  <a:gd name="connsiteX17" fmla="*/ 161647 w 210417"/>
                  <a:gd name="connsiteY17" fmla="*/ 41032 h 411719"/>
                  <a:gd name="connsiteX18" fmla="*/ 158271 w 210417"/>
                  <a:gd name="connsiteY18" fmla="*/ 44130 h 411719"/>
                  <a:gd name="connsiteX19" fmla="*/ 152814 w 210417"/>
                  <a:gd name="connsiteY19" fmla="*/ 43344 h 411719"/>
                  <a:gd name="connsiteX20" fmla="*/ 150362 w 210417"/>
                  <a:gd name="connsiteY20" fmla="*/ 47460 h 411719"/>
                  <a:gd name="connsiteX21" fmla="*/ 148374 w 210417"/>
                  <a:gd name="connsiteY21" fmla="*/ 52548 h 411719"/>
                  <a:gd name="connsiteX22" fmla="*/ 143425 w 210417"/>
                  <a:gd name="connsiteY22" fmla="*/ 53519 h 411719"/>
                  <a:gd name="connsiteX23" fmla="*/ 138060 w 210417"/>
                  <a:gd name="connsiteY23" fmla="*/ 47738 h 411719"/>
                  <a:gd name="connsiteX24" fmla="*/ 137921 w 210417"/>
                  <a:gd name="connsiteY24" fmla="*/ 47738 h 411719"/>
                  <a:gd name="connsiteX25" fmla="*/ 135424 w 210417"/>
                  <a:gd name="connsiteY25" fmla="*/ 51068 h 411719"/>
                  <a:gd name="connsiteX26" fmla="*/ 137227 w 210417"/>
                  <a:gd name="connsiteY26" fmla="*/ 60133 h 411719"/>
                  <a:gd name="connsiteX27" fmla="*/ 138291 w 210417"/>
                  <a:gd name="connsiteY27" fmla="*/ 64388 h 411719"/>
                  <a:gd name="connsiteX28" fmla="*/ 134452 w 210417"/>
                  <a:gd name="connsiteY28" fmla="*/ 69013 h 411719"/>
                  <a:gd name="connsiteX29" fmla="*/ 130105 w 210417"/>
                  <a:gd name="connsiteY29" fmla="*/ 75811 h 411719"/>
                  <a:gd name="connsiteX30" fmla="*/ 130244 w 210417"/>
                  <a:gd name="connsiteY30" fmla="*/ 82703 h 411719"/>
                  <a:gd name="connsiteX31" fmla="*/ 122474 w 210417"/>
                  <a:gd name="connsiteY31" fmla="*/ 93201 h 411719"/>
                  <a:gd name="connsiteX32" fmla="*/ 122474 w 210417"/>
                  <a:gd name="connsiteY32" fmla="*/ 88715 h 411719"/>
                  <a:gd name="connsiteX33" fmla="*/ 122659 w 210417"/>
                  <a:gd name="connsiteY33" fmla="*/ 88484 h 411719"/>
                  <a:gd name="connsiteX34" fmla="*/ 123445 w 210417"/>
                  <a:gd name="connsiteY34" fmla="*/ 83628 h 411719"/>
                  <a:gd name="connsiteX35" fmla="*/ 121364 w 210417"/>
                  <a:gd name="connsiteY35" fmla="*/ 83258 h 411719"/>
                  <a:gd name="connsiteX36" fmla="*/ 112530 w 210417"/>
                  <a:gd name="connsiteY36" fmla="*/ 97317 h 411719"/>
                  <a:gd name="connsiteX37" fmla="*/ 112530 w 210417"/>
                  <a:gd name="connsiteY37" fmla="*/ 104486 h 411719"/>
                  <a:gd name="connsiteX38" fmla="*/ 105685 w 210417"/>
                  <a:gd name="connsiteY38" fmla="*/ 100046 h 411719"/>
                  <a:gd name="connsiteX39" fmla="*/ 92273 w 210417"/>
                  <a:gd name="connsiteY39" fmla="*/ 112765 h 411719"/>
                  <a:gd name="connsiteX40" fmla="*/ 93059 w 210417"/>
                  <a:gd name="connsiteY40" fmla="*/ 115817 h 411719"/>
                  <a:gd name="connsiteX41" fmla="*/ 91764 w 210417"/>
                  <a:gd name="connsiteY41" fmla="*/ 121414 h 411719"/>
                  <a:gd name="connsiteX42" fmla="*/ 89544 w 210417"/>
                  <a:gd name="connsiteY42" fmla="*/ 121136 h 411719"/>
                  <a:gd name="connsiteX43" fmla="*/ 87833 w 210417"/>
                  <a:gd name="connsiteY43" fmla="*/ 115679 h 411719"/>
                  <a:gd name="connsiteX44" fmla="*/ 81635 w 210417"/>
                  <a:gd name="connsiteY44" fmla="*/ 115817 h 411719"/>
                  <a:gd name="connsiteX45" fmla="*/ 74097 w 210417"/>
                  <a:gd name="connsiteY45" fmla="*/ 115124 h 411719"/>
                  <a:gd name="connsiteX46" fmla="*/ 72802 w 210417"/>
                  <a:gd name="connsiteY46" fmla="*/ 115262 h 411719"/>
                  <a:gd name="connsiteX47" fmla="*/ 69472 w 210417"/>
                  <a:gd name="connsiteY47" fmla="*/ 117714 h 411719"/>
                  <a:gd name="connsiteX48" fmla="*/ 65402 w 210417"/>
                  <a:gd name="connsiteY48" fmla="*/ 120627 h 411719"/>
                  <a:gd name="connsiteX49" fmla="*/ 60962 w 210417"/>
                  <a:gd name="connsiteY49" fmla="*/ 123865 h 411719"/>
                  <a:gd name="connsiteX50" fmla="*/ 58695 w 210417"/>
                  <a:gd name="connsiteY50" fmla="*/ 121969 h 411719"/>
                  <a:gd name="connsiteX51" fmla="*/ 45005 w 210417"/>
                  <a:gd name="connsiteY51" fmla="*/ 127842 h 411719"/>
                  <a:gd name="connsiteX52" fmla="*/ 34368 w 210417"/>
                  <a:gd name="connsiteY52" fmla="*/ 134364 h 411719"/>
                  <a:gd name="connsiteX53" fmla="*/ 34368 w 210417"/>
                  <a:gd name="connsiteY53" fmla="*/ 142411 h 411719"/>
                  <a:gd name="connsiteX54" fmla="*/ 20216 w 210417"/>
                  <a:gd name="connsiteY54" fmla="*/ 167802 h 411719"/>
                  <a:gd name="connsiteX55" fmla="*/ 20216 w 210417"/>
                  <a:gd name="connsiteY55" fmla="*/ 168172 h 411719"/>
                  <a:gd name="connsiteX56" fmla="*/ 22066 w 210417"/>
                  <a:gd name="connsiteY56" fmla="*/ 173768 h 411719"/>
                  <a:gd name="connsiteX57" fmla="*/ 23962 w 210417"/>
                  <a:gd name="connsiteY57" fmla="*/ 195598 h 411719"/>
                  <a:gd name="connsiteX58" fmla="*/ 28818 w 210417"/>
                  <a:gd name="connsiteY58" fmla="*/ 204247 h 411719"/>
                  <a:gd name="connsiteX59" fmla="*/ 29096 w 210417"/>
                  <a:gd name="connsiteY59" fmla="*/ 212063 h 411719"/>
                  <a:gd name="connsiteX60" fmla="*/ 35478 w 210417"/>
                  <a:gd name="connsiteY60" fmla="*/ 228759 h 411719"/>
                  <a:gd name="connsiteX61" fmla="*/ 34183 w 210417"/>
                  <a:gd name="connsiteY61" fmla="*/ 233800 h 411719"/>
                  <a:gd name="connsiteX62" fmla="*/ 34969 w 210417"/>
                  <a:gd name="connsiteY62" fmla="*/ 242588 h 411719"/>
                  <a:gd name="connsiteX63" fmla="*/ 25026 w 210417"/>
                  <a:gd name="connsiteY63" fmla="*/ 260348 h 411719"/>
                  <a:gd name="connsiteX64" fmla="*/ 22713 w 210417"/>
                  <a:gd name="connsiteY64" fmla="*/ 265898 h 411719"/>
                  <a:gd name="connsiteX65" fmla="*/ 17764 w 210417"/>
                  <a:gd name="connsiteY65" fmla="*/ 271494 h 411719"/>
                  <a:gd name="connsiteX66" fmla="*/ 12399 w 210417"/>
                  <a:gd name="connsiteY66" fmla="*/ 282131 h 411719"/>
                  <a:gd name="connsiteX67" fmla="*/ 6433 w 210417"/>
                  <a:gd name="connsiteY67" fmla="*/ 285739 h 411719"/>
                  <a:gd name="connsiteX68" fmla="*/ 4861 w 210417"/>
                  <a:gd name="connsiteY68" fmla="*/ 294156 h 411719"/>
                  <a:gd name="connsiteX69" fmla="*/ 97 w 210417"/>
                  <a:gd name="connsiteY69" fmla="*/ 307384 h 411719"/>
                  <a:gd name="connsiteX70" fmla="*/ 5184 w 210417"/>
                  <a:gd name="connsiteY70" fmla="*/ 329306 h 411719"/>
                  <a:gd name="connsiteX71" fmla="*/ 10781 w 210417"/>
                  <a:gd name="connsiteY71" fmla="*/ 338047 h 411719"/>
                  <a:gd name="connsiteX72" fmla="*/ 12954 w 210417"/>
                  <a:gd name="connsiteY72" fmla="*/ 344615 h 411719"/>
                  <a:gd name="connsiteX73" fmla="*/ 13833 w 210417"/>
                  <a:gd name="connsiteY73" fmla="*/ 351043 h 411719"/>
                  <a:gd name="connsiteX74" fmla="*/ 11613 w 210417"/>
                  <a:gd name="connsiteY74" fmla="*/ 351737 h 411719"/>
                  <a:gd name="connsiteX75" fmla="*/ 10642 w 210417"/>
                  <a:gd name="connsiteY75" fmla="*/ 351922 h 411719"/>
                  <a:gd name="connsiteX76" fmla="*/ 15914 w 210417"/>
                  <a:gd name="connsiteY76" fmla="*/ 377822 h 411719"/>
                  <a:gd name="connsiteX77" fmla="*/ 21094 w 210417"/>
                  <a:gd name="connsiteY77" fmla="*/ 385130 h 411719"/>
                  <a:gd name="connsiteX78" fmla="*/ 26136 w 210417"/>
                  <a:gd name="connsiteY78" fmla="*/ 395721 h 411719"/>
                  <a:gd name="connsiteX79" fmla="*/ 37467 w 210417"/>
                  <a:gd name="connsiteY79" fmla="*/ 402519 h 411719"/>
                  <a:gd name="connsiteX80" fmla="*/ 49723 w 210417"/>
                  <a:gd name="connsiteY80" fmla="*/ 406728 h 411719"/>
                  <a:gd name="connsiteX81" fmla="*/ 56568 w 210417"/>
                  <a:gd name="connsiteY81" fmla="*/ 411492 h 411719"/>
                  <a:gd name="connsiteX82" fmla="*/ 69795 w 210417"/>
                  <a:gd name="connsiteY82" fmla="*/ 409364 h 411719"/>
                  <a:gd name="connsiteX83" fmla="*/ 72802 w 210417"/>
                  <a:gd name="connsiteY83" fmla="*/ 406682 h 411719"/>
                  <a:gd name="connsiteX84" fmla="*/ 90423 w 210417"/>
                  <a:gd name="connsiteY84" fmla="*/ 398588 h 411719"/>
                  <a:gd name="connsiteX85" fmla="*/ 101569 w 210417"/>
                  <a:gd name="connsiteY85" fmla="*/ 398819 h 411719"/>
                  <a:gd name="connsiteX86" fmla="*/ 113455 w 210417"/>
                  <a:gd name="connsiteY86" fmla="*/ 388968 h 411719"/>
                  <a:gd name="connsiteX87" fmla="*/ 127330 w 210417"/>
                  <a:gd name="connsiteY87" fmla="*/ 351830 h 411719"/>
                  <a:gd name="connsiteX88" fmla="*/ 136811 w 210417"/>
                  <a:gd name="connsiteY88" fmla="*/ 310806 h 411719"/>
                  <a:gd name="connsiteX89" fmla="*/ 146431 w 210417"/>
                  <a:gd name="connsiteY89" fmla="*/ 290965 h 411719"/>
                  <a:gd name="connsiteX90" fmla="*/ 181396 w 210417"/>
                  <a:gd name="connsiteY90" fmla="*/ 171225 h 411719"/>
                  <a:gd name="connsiteX91" fmla="*/ 180563 w 210417"/>
                  <a:gd name="connsiteY91" fmla="*/ 159616 h 411719"/>
                  <a:gd name="connsiteX92" fmla="*/ 187455 w 210417"/>
                  <a:gd name="connsiteY92" fmla="*/ 147915 h 411719"/>
                  <a:gd name="connsiteX93" fmla="*/ 189906 w 210417"/>
                  <a:gd name="connsiteY93" fmla="*/ 145417 h 411719"/>
                  <a:gd name="connsiteX94" fmla="*/ 190831 w 210417"/>
                  <a:gd name="connsiteY94" fmla="*/ 140284 h 411719"/>
                  <a:gd name="connsiteX95" fmla="*/ 192403 w 210417"/>
                  <a:gd name="connsiteY95" fmla="*/ 130617 h 411719"/>
                  <a:gd name="connsiteX96" fmla="*/ 188241 w 210417"/>
                  <a:gd name="connsiteY96" fmla="*/ 124836 h 411719"/>
                  <a:gd name="connsiteX97" fmla="*/ 188010 w 210417"/>
                  <a:gd name="connsiteY97" fmla="*/ 116280 h 411719"/>
                  <a:gd name="connsiteX98" fmla="*/ 186807 w 210417"/>
                  <a:gd name="connsiteY98" fmla="*/ 106429 h 411719"/>
                  <a:gd name="connsiteX99" fmla="*/ 193976 w 210417"/>
                  <a:gd name="connsiteY99" fmla="*/ 106752 h 411719"/>
                  <a:gd name="connsiteX100" fmla="*/ 200220 w 210417"/>
                  <a:gd name="connsiteY100" fmla="*/ 119471 h 411719"/>
                  <a:gd name="connsiteX101" fmla="*/ 200543 w 210417"/>
                  <a:gd name="connsiteY101" fmla="*/ 119702 h 411719"/>
                  <a:gd name="connsiteX102" fmla="*/ 203873 w 210417"/>
                  <a:gd name="connsiteY102" fmla="*/ 118870 h 411719"/>
                  <a:gd name="connsiteX103" fmla="*/ 209701 w 210417"/>
                  <a:gd name="connsiteY103" fmla="*/ 97317 h 411719"/>
                  <a:gd name="connsiteX104" fmla="*/ 201515 w 210417"/>
                  <a:gd name="connsiteY104" fmla="*/ 69383 h 41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210417" h="411719">
                    <a:moveTo>
                      <a:pt x="201746" y="69429"/>
                    </a:moveTo>
                    <a:cubicBezTo>
                      <a:pt x="200266" y="66747"/>
                      <a:pt x="200960" y="56664"/>
                      <a:pt x="200960" y="57126"/>
                    </a:cubicBezTo>
                    <a:cubicBezTo>
                      <a:pt x="201006" y="53010"/>
                      <a:pt x="196057" y="40615"/>
                      <a:pt x="196242" y="41078"/>
                    </a:cubicBezTo>
                    <a:cubicBezTo>
                      <a:pt x="195224" y="38210"/>
                      <a:pt x="195271" y="34834"/>
                      <a:pt x="195271" y="35297"/>
                    </a:cubicBezTo>
                    <a:cubicBezTo>
                      <a:pt x="195178" y="31550"/>
                      <a:pt x="191802" y="26833"/>
                      <a:pt x="192033" y="27296"/>
                    </a:cubicBezTo>
                    <a:cubicBezTo>
                      <a:pt x="190230" y="24197"/>
                      <a:pt x="185836" y="21931"/>
                      <a:pt x="186298" y="22254"/>
                    </a:cubicBezTo>
                    <a:cubicBezTo>
                      <a:pt x="183986" y="20774"/>
                      <a:pt x="184032" y="17352"/>
                      <a:pt x="184171" y="17814"/>
                    </a:cubicBezTo>
                    <a:cubicBezTo>
                      <a:pt x="184263" y="14345"/>
                      <a:pt x="180887" y="10507"/>
                      <a:pt x="181165" y="10969"/>
                    </a:cubicBezTo>
                    <a:cubicBezTo>
                      <a:pt x="178852" y="7778"/>
                      <a:pt x="176077" y="10461"/>
                      <a:pt x="177326" y="6946"/>
                    </a:cubicBezTo>
                    <a:cubicBezTo>
                      <a:pt x="177372" y="6483"/>
                      <a:pt x="178575" y="4171"/>
                      <a:pt x="177141" y="1627"/>
                    </a:cubicBezTo>
                    <a:lnTo>
                      <a:pt x="176863" y="1118"/>
                    </a:lnTo>
                    <a:cubicBezTo>
                      <a:pt x="175060" y="-2073"/>
                      <a:pt x="170111" y="2228"/>
                      <a:pt x="170990" y="5743"/>
                    </a:cubicBezTo>
                    <a:cubicBezTo>
                      <a:pt x="170990" y="6206"/>
                      <a:pt x="171591" y="8426"/>
                      <a:pt x="169510" y="9952"/>
                    </a:cubicBezTo>
                    <a:cubicBezTo>
                      <a:pt x="169047" y="10414"/>
                      <a:pt x="167012" y="11663"/>
                      <a:pt x="166781" y="13605"/>
                    </a:cubicBezTo>
                    <a:cubicBezTo>
                      <a:pt x="166550" y="15779"/>
                      <a:pt x="162711" y="13976"/>
                      <a:pt x="163173" y="14068"/>
                    </a:cubicBezTo>
                    <a:cubicBezTo>
                      <a:pt x="157577" y="11709"/>
                      <a:pt x="168492" y="24937"/>
                      <a:pt x="165486" y="30024"/>
                    </a:cubicBezTo>
                    <a:lnTo>
                      <a:pt x="163821" y="32892"/>
                    </a:lnTo>
                    <a:cubicBezTo>
                      <a:pt x="161925" y="36083"/>
                      <a:pt x="161555" y="41494"/>
                      <a:pt x="161647" y="41032"/>
                    </a:cubicBezTo>
                    <a:cubicBezTo>
                      <a:pt x="161231" y="43807"/>
                      <a:pt x="157808" y="44408"/>
                      <a:pt x="158271" y="44130"/>
                    </a:cubicBezTo>
                    <a:cubicBezTo>
                      <a:pt x="154525" y="44778"/>
                      <a:pt x="153045" y="39690"/>
                      <a:pt x="152814" y="43344"/>
                    </a:cubicBezTo>
                    <a:cubicBezTo>
                      <a:pt x="152675" y="43807"/>
                      <a:pt x="152814" y="46443"/>
                      <a:pt x="150362" y="47460"/>
                    </a:cubicBezTo>
                    <a:cubicBezTo>
                      <a:pt x="147680" y="48617"/>
                      <a:pt x="148327" y="53010"/>
                      <a:pt x="148374" y="52548"/>
                    </a:cubicBezTo>
                    <a:cubicBezTo>
                      <a:pt x="148559" y="56017"/>
                      <a:pt x="144812" y="56664"/>
                      <a:pt x="143425" y="53519"/>
                    </a:cubicBezTo>
                    <a:cubicBezTo>
                      <a:pt x="142361" y="51900"/>
                      <a:pt x="141760" y="46767"/>
                      <a:pt x="138060" y="47738"/>
                    </a:cubicBezTo>
                    <a:lnTo>
                      <a:pt x="137921" y="47738"/>
                    </a:lnTo>
                    <a:cubicBezTo>
                      <a:pt x="136534" y="48108"/>
                      <a:pt x="135424" y="49588"/>
                      <a:pt x="135424" y="51068"/>
                    </a:cubicBezTo>
                    <a:cubicBezTo>
                      <a:pt x="135655" y="53103"/>
                      <a:pt x="134822" y="57126"/>
                      <a:pt x="137227" y="60133"/>
                    </a:cubicBezTo>
                    <a:cubicBezTo>
                      <a:pt x="137459" y="60595"/>
                      <a:pt x="140187" y="63000"/>
                      <a:pt x="138291" y="64388"/>
                    </a:cubicBezTo>
                    <a:cubicBezTo>
                      <a:pt x="135932" y="66099"/>
                      <a:pt x="137736" y="69151"/>
                      <a:pt x="134452" y="69013"/>
                    </a:cubicBezTo>
                    <a:cubicBezTo>
                      <a:pt x="131400" y="68920"/>
                      <a:pt x="129180" y="72574"/>
                      <a:pt x="130105" y="75811"/>
                    </a:cubicBezTo>
                    <a:cubicBezTo>
                      <a:pt x="130197" y="76459"/>
                      <a:pt x="131770" y="79650"/>
                      <a:pt x="130244" y="82703"/>
                    </a:cubicBezTo>
                    <a:cubicBezTo>
                      <a:pt x="125711" y="91721"/>
                      <a:pt x="124370" y="96161"/>
                      <a:pt x="122474" y="93201"/>
                    </a:cubicBezTo>
                    <a:cubicBezTo>
                      <a:pt x="122335" y="92739"/>
                      <a:pt x="121086" y="90843"/>
                      <a:pt x="122474" y="88715"/>
                    </a:cubicBezTo>
                    <a:lnTo>
                      <a:pt x="122659" y="88484"/>
                    </a:lnTo>
                    <a:cubicBezTo>
                      <a:pt x="124093" y="86310"/>
                      <a:pt x="123445" y="83165"/>
                      <a:pt x="123445" y="83628"/>
                    </a:cubicBezTo>
                    <a:cubicBezTo>
                      <a:pt x="123075" y="82240"/>
                      <a:pt x="122150" y="82055"/>
                      <a:pt x="121364" y="83258"/>
                    </a:cubicBezTo>
                    <a:cubicBezTo>
                      <a:pt x="113918" y="94450"/>
                      <a:pt x="110911" y="93618"/>
                      <a:pt x="112530" y="97317"/>
                    </a:cubicBezTo>
                    <a:cubicBezTo>
                      <a:pt x="112761" y="98289"/>
                      <a:pt x="115166" y="102960"/>
                      <a:pt x="112530" y="104486"/>
                    </a:cubicBezTo>
                    <a:cubicBezTo>
                      <a:pt x="108876" y="106567"/>
                      <a:pt x="109570" y="97133"/>
                      <a:pt x="105685" y="100046"/>
                    </a:cubicBezTo>
                    <a:cubicBezTo>
                      <a:pt x="92828" y="109712"/>
                      <a:pt x="91394" y="109389"/>
                      <a:pt x="92273" y="112765"/>
                    </a:cubicBezTo>
                    <a:lnTo>
                      <a:pt x="93059" y="115817"/>
                    </a:lnTo>
                    <a:cubicBezTo>
                      <a:pt x="93706" y="118361"/>
                      <a:pt x="91625" y="121876"/>
                      <a:pt x="91764" y="121414"/>
                    </a:cubicBezTo>
                    <a:cubicBezTo>
                      <a:pt x="90978" y="122616"/>
                      <a:pt x="90006" y="122524"/>
                      <a:pt x="89544" y="121136"/>
                    </a:cubicBezTo>
                    <a:lnTo>
                      <a:pt x="87833" y="115679"/>
                    </a:lnTo>
                    <a:cubicBezTo>
                      <a:pt x="86815" y="112487"/>
                      <a:pt x="82976" y="113135"/>
                      <a:pt x="81635" y="115817"/>
                    </a:cubicBezTo>
                    <a:cubicBezTo>
                      <a:pt x="80201" y="118592"/>
                      <a:pt x="78074" y="114800"/>
                      <a:pt x="74097" y="115124"/>
                    </a:cubicBezTo>
                    <a:lnTo>
                      <a:pt x="72802" y="115262"/>
                    </a:lnTo>
                    <a:cubicBezTo>
                      <a:pt x="71368" y="115401"/>
                      <a:pt x="69888" y="116511"/>
                      <a:pt x="69472" y="117714"/>
                    </a:cubicBezTo>
                    <a:cubicBezTo>
                      <a:pt x="68685" y="120211"/>
                      <a:pt x="64939" y="120812"/>
                      <a:pt x="65402" y="120627"/>
                    </a:cubicBezTo>
                    <a:cubicBezTo>
                      <a:pt x="62580" y="121182"/>
                      <a:pt x="60499" y="124327"/>
                      <a:pt x="60962" y="123865"/>
                    </a:cubicBezTo>
                    <a:cubicBezTo>
                      <a:pt x="59112" y="126594"/>
                      <a:pt x="58464" y="121506"/>
                      <a:pt x="58695" y="121969"/>
                    </a:cubicBezTo>
                    <a:cubicBezTo>
                      <a:pt x="57632" y="116650"/>
                      <a:pt x="51018" y="128351"/>
                      <a:pt x="45005" y="127842"/>
                    </a:cubicBezTo>
                    <a:cubicBezTo>
                      <a:pt x="42369" y="128582"/>
                      <a:pt x="31686" y="123310"/>
                      <a:pt x="34368" y="134364"/>
                    </a:cubicBezTo>
                    <a:cubicBezTo>
                      <a:pt x="34507" y="135705"/>
                      <a:pt x="36311" y="139358"/>
                      <a:pt x="34368" y="142411"/>
                    </a:cubicBezTo>
                    <a:cubicBezTo>
                      <a:pt x="21233" y="163640"/>
                      <a:pt x="20308" y="164195"/>
                      <a:pt x="20216" y="167802"/>
                    </a:cubicBezTo>
                    <a:lnTo>
                      <a:pt x="20216" y="168172"/>
                    </a:lnTo>
                    <a:cubicBezTo>
                      <a:pt x="20169" y="171132"/>
                      <a:pt x="22251" y="174231"/>
                      <a:pt x="22066" y="173768"/>
                    </a:cubicBezTo>
                    <a:cubicBezTo>
                      <a:pt x="25442" y="179133"/>
                      <a:pt x="20771" y="189956"/>
                      <a:pt x="23962" y="195598"/>
                    </a:cubicBezTo>
                    <a:lnTo>
                      <a:pt x="28818" y="204247"/>
                    </a:lnTo>
                    <a:cubicBezTo>
                      <a:pt x="30576" y="207346"/>
                      <a:pt x="29096" y="212526"/>
                      <a:pt x="29096" y="212063"/>
                    </a:cubicBezTo>
                    <a:cubicBezTo>
                      <a:pt x="28078" y="217891"/>
                      <a:pt x="36958" y="223070"/>
                      <a:pt x="35478" y="228759"/>
                    </a:cubicBezTo>
                    <a:lnTo>
                      <a:pt x="34183" y="233800"/>
                    </a:lnTo>
                    <a:cubicBezTo>
                      <a:pt x="33212" y="237593"/>
                      <a:pt x="37051" y="239397"/>
                      <a:pt x="34969" y="242588"/>
                    </a:cubicBezTo>
                    <a:cubicBezTo>
                      <a:pt x="27708" y="253780"/>
                      <a:pt x="25164" y="256602"/>
                      <a:pt x="25026" y="260348"/>
                    </a:cubicBezTo>
                    <a:cubicBezTo>
                      <a:pt x="24933" y="260810"/>
                      <a:pt x="25349" y="264002"/>
                      <a:pt x="22713" y="265898"/>
                    </a:cubicBezTo>
                    <a:cubicBezTo>
                      <a:pt x="22066" y="266499"/>
                      <a:pt x="18689" y="268164"/>
                      <a:pt x="17764" y="271494"/>
                    </a:cubicBezTo>
                    <a:cubicBezTo>
                      <a:pt x="16053" y="275934"/>
                      <a:pt x="16469" y="281438"/>
                      <a:pt x="12399" y="282131"/>
                    </a:cubicBezTo>
                    <a:cubicBezTo>
                      <a:pt x="11382" y="282501"/>
                      <a:pt x="6664" y="282131"/>
                      <a:pt x="6433" y="285739"/>
                    </a:cubicBezTo>
                    <a:cubicBezTo>
                      <a:pt x="6248" y="288283"/>
                      <a:pt x="6294" y="291289"/>
                      <a:pt x="4861" y="294156"/>
                    </a:cubicBezTo>
                    <a:cubicBezTo>
                      <a:pt x="1762" y="300539"/>
                      <a:pt x="-504" y="303869"/>
                      <a:pt x="97" y="307384"/>
                    </a:cubicBezTo>
                    <a:cubicBezTo>
                      <a:pt x="3011" y="324681"/>
                      <a:pt x="2779" y="326670"/>
                      <a:pt x="5184" y="329306"/>
                    </a:cubicBezTo>
                    <a:cubicBezTo>
                      <a:pt x="8052" y="332497"/>
                      <a:pt x="10642" y="334717"/>
                      <a:pt x="10781" y="338047"/>
                    </a:cubicBezTo>
                    <a:cubicBezTo>
                      <a:pt x="10919" y="338695"/>
                      <a:pt x="10411" y="342302"/>
                      <a:pt x="12954" y="344615"/>
                    </a:cubicBezTo>
                    <a:cubicBezTo>
                      <a:pt x="13278" y="345077"/>
                      <a:pt x="18782" y="349517"/>
                      <a:pt x="13833" y="351043"/>
                    </a:cubicBezTo>
                    <a:cubicBezTo>
                      <a:pt x="12631" y="351413"/>
                      <a:pt x="11613" y="351737"/>
                      <a:pt x="11613" y="351737"/>
                    </a:cubicBezTo>
                    <a:lnTo>
                      <a:pt x="10642" y="351922"/>
                    </a:lnTo>
                    <a:cubicBezTo>
                      <a:pt x="13741" y="369867"/>
                      <a:pt x="12723" y="374492"/>
                      <a:pt x="15914" y="377822"/>
                    </a:cubicBezTo>
                    <a:cubicBezTo>
                      <a:pt x="18134" y="380134"/>
                      <a:pt x="20308" y="382031"/>
                      <a:pt x="21094" y="385130"/>
                    </a:cubicBezTo>
                    <a:cubicBezTo>
                      <a:pt x="22528" y="389153"/>
                      <a:pt x="22204" y="394611"/>
                      <a:pt x="26136" y="395721"/>
                    </a:cubicBezTo>
                    <a:cubicBezTo>
                      <a:pt x="32934" y="398681"/>
                      <a:pt x="32888" y="401502"/>
                      <a:pt x="37467" y="402519"/>
                    </a:cubicBezTo>
                    <a:cubicBezTo>
                      <a:pt x="43340" y="403814"/>
                      <a:pt x="47272" y="404184"/>
                      <a:pt x="49723" y="406728"/>
                    </a:cubicBezTo>
                    <a:cubicBezTo>
                      <a:pt x="51434" y="408208"/>
                      <a:pt x="54394" y="412787"/>
                      <a:pt x="56568" y="411492"/>
                    </a:cubicBezTo>
                    <a:cubicBezTo>
                      <a:pt x="60222" y="409272"/>
                      <a:pt x="66003" y="412741"/>
                      <a:pt x="69795" y="409364"/>
                    </a:cubicBezTo>
                    <a:lnTo>
                      <a:pt x="72802" y="406682"/>
                    </a:lnTo>
                    <a:cubicBezTo>
                      <a:pt x="76039" y="403814"/>
                      <a:pt x="90931" y="398403"/>
                      <a:pt x="90423" y="398588"/>
                    </a:cubicBezTo>
                    <a:cubicBezTo>
                      <a:pt x="94955" y="396738"/>
                      <a:pt x="97730" y="401456"/>
                      <a:pt x="101569" y="398819"/>
                    </a:cubicBezTo>
                    <a:cubicBezTo>
                      <a:pt x="107766" y="394611"/>
                      <a:pt x="112114" y="392483"/>
                      <a:pt x="113455" y="388968"/>
                    </a:cubicBezTo>
                    <a:cubicBezTo>
                      <a:pt x="125804" y="356917"/>
                      <a:pt x="126544" y="355437"/>
                      <a:pt x="127330" y="351830"/>
                    </a:cubicBezTo>
                    <a:cubicBezTo>
                      <a:pt x="135655" y="313026"/>
                      <a:pt x="135239" y="313905"/>
                      <a:pt x="136811" y="310806"/>
                    </a:cubicBezTo>
                    <a:cubicBezTo>
                      <a:pt x="144489" y="295775"/>
                      <a:pt x="145414" y="294249"/>
                      <a:pt x="146431" y="290965"/>
                    </a:cubicBezTo>
                    <a:cubicBezTo>
                      <a:pt x="148050" y="285739"/>
                      <a:pt x="182460" y="176636"/>
                      <a:pt x="181396" y="171225"/>
                    </a:cubicBezTo>
                    <a:cubicBezTo>
                      <a:pt x="180425" y="166230"/>
                      <a:pt x="179268" y="162853"/>
                      <a:pt x="180563" y="159616"/>
                    </a:cubicBezTo>
                    <a:cubicBezTo>
                      <a:pt x="183153" y="153233"/>
                      <a:pt x="184032" y="149071"/>
                      <a:pt x="187455" y="147915"/>
                    </a:cubicBezTo>
                    <a:cubicBezTo>
                      <a:pt x="187917" y="147637"/>
                      <a:pt x="191386" y="146897"/>
                      <a:pt x="189906" y="145417"/>
                    </a:cubicBezTo>
                    <a:cubicBezTo>
                      <a:pt x="188333" y="143845"/>
                      <a:pt x="191016" y="139821"/>
                      <a:pt x="190831" y="140284"/>
                    </a:cubicBezTo>
                    <a:cubicBezTo>
                      <a:pt x="192727" y="136907"/>
                      <a:pt x="192403" y="130109"/>
                      <a:pt x="192403" y="130617"/>
                    </a:cubicBezTo>
                    <a:cubicBezTo>
                      <a:pt x="192542" y="126871"/>
                      <a:pt x="189813" y="127796"/>
                      <a:pt x="188241" y="124836"/>
                    </a:cubicBezTo>
                    <a:cubicBezTo>
                      <a:pt x="186853" y="122246"/>
                      <a:pt x="189166" y="119841"/>
                      <a:pt x="188010" y="116280"/>
                    </a:cubicBezTo>
                    <a:cubicBezTo>
                      <a:pt x="187362" y="113366"/>
                      <a:pt x="184633" y="109342"/>
                      <a:pt x="186807" y="106429"/>
                    </a:cubicBezTo>
                    <a:cubicBezTo>
                      <a:pt x="188703" y="103885"/>
                      <a:pt x="192773" y="103561"/>
                      <a:pt x="193976" y="106752"/>
                    </a:cubicBezTo>
                    <a:cubicBezTo>
                      <a:pt x="196381" y="113412"/>
                      <a:pt x="197306" y="117436"/>
                      <a:pt x="200220" y="119471"/>
                    </a:cubicBezTo>
                    <a:lnTo>
                      <a:pt x="200543" y="119702"/>
                    </a:lnTo>
                    <a:cubicBezTo>
                      <a:pt x="201700" y="120535"/>
                      <a:pt x="203226" y="120165"/>
                      <a:pt x="203873" y="118870"/>
                    </a:cubicBezTo>
                    <a:cubicBezTo>
                      <a:pt x="206047" y="114569"/>
                      <a:pt x="212568" y="102544"/>
                      <a:pt x="209701" y="97317"/>
                    </a:cubicBezTo>
                    <a:cubicBezTo>
                      <a:pt x="198231" y="76320"/>
                      <a:pt x="204567" y="74794"/>
                      <a:pt x="201515" y="69383"/>
                    </a:cubicBezTo>
                    <a:close/>
                  </a:path>
                </a:pathLst>
              </a:custGeom>
              <a:grpFill/>
              <a:ln w="4609" cap="flat">
                <a:noFill/>
                <a:prstDash val="solid"/>
                <a:miter/>
              </a:ln>
            </p:spPr>
            <p:txBody>
              <a:bodyPr rtlCol="0" anchor="ctr"/>
              <a:lstStyle/>
              <a:p>
                <a:endParaRPr lang="en-IN"/>
              </a:p>
            </p:txBody>
          </p:sp>
        </p:grpSp>
        <p:sp>
          <p:nvSpPr>
            <p:cNvPr id="96" name="Freeform: Shape 95">
              <a:extLst>
                <a:ext uri="{FF2B5EF4-FFF2-40B4-BE49-F238E27FC236}">
                  <a16:creationId xmlns:a16="http://schemas.microsoft.com/office/drawing/2014/main" id="{AAA44159-2478-26B9-CF67-18DDFE015E39}"/>
                </a:ext>
              </a:extLst>
            </p:cNvPr>
            <p:cNvSpPr/>
            <p:nvPr/>
          </p:nvSpPr>
          <p:spPr>
            <a:xfrm>
              <a:off x="6095412" y="4020101"/>
              <a:ext cx="464069" cy="434192"/>
            </a:xfrm>
            <a:custGeom>
              <a:avLst/>
              <a:gdLst>
                <a:gd name="connsiteX0" fmla="*/ 446402 w 464069"/>
                <a:gd name="connsiteY0" fmla="*/ 101564 h 434192"/>
                <a:gd name="connsiteX1" fmla="*/ 457410 w 464069"/>
                <a:gd name="connsiteY1" fmla="*/ 85932 h 434192"/>
                <a:gd name="connsiteX2" fmla="*/ 450472 w 464069"/>
                <a:gd name="connsiteY2" fmla="*/ 68588 h 434192"/>
                <a:gd name="connsiteX3" fmla="*/ 464070 w 464069"/>
                <a:gd name="connsiteY3" fmla="*/ 51753 h 434192"/>
                <a:gd name="connsiteX4" fmla="*/ 462636 w 464069"/>
                <a:gd name="connsiteY4" fmla="*/ 49950 h 434192"/>
                <a:gd name="connsiteX5" fmla="*/ 455745 w 464069"/>
                <a:gd name="connsiteY5" fmla="*/ 37416 h 434192"/>
                <a:gd name="connsiteX6" fmla="*/ 446079 w 464069"/>
                <a:gd name="connsiteY6" fmla="*/ 35705 h 434192"/>
                <a:gd name="connsiteX7" fmla="*/ 431094 w 464069"/>
                <a:gd name="connsiteY7" fmla="*/ 35104 h 434192"/>
                <a:gd name="connsiteX8" fmla="*/ 418282 w 464069"/>
                <a:gd name="connsiteY8" fmla="*/ 30201 h 434192"/>
                <a:gd name="connsiteX9" fmla="*/ 408801 w 464069"/>
                <a:gd name="connsiteY9" fmla="*/ 29739 h 434192"/>
                <a:gd name="connsiteX10" fmla="*/ 402465 w 464069"/>
                <a:gd name="connsiteY10" fmla="*/ 23449 h 434192"/>
                <a:gd name="connsiteX11" fmla="*/ 400661 w 464069"/>
                <a:gd name="connsiteY11" fmla="*/ 14939 h 434192"/>
                <a:gd name="connsiteX12" fmla="*/ 361164 w 464069"/>
                <a:gd name="connsiteY12" fmla="*/ 7585 h 434192"/>
                <a:gd name="connsiteX13" fmla="*/ 351960 w 464069"/>
                <a:gd name="connsiteY13" fmla="*/ 11516 h 434192"/>
                <a:gd name="connsiteX14" fmla="*/ 336605 w 464069"/>
                <a:gd name="connsiteY14" fmla="*/ 13967 h 434192"/>
                <a:gd name="connsiteX15" fmla="*/ 313342 w 464069"/>
                <a:gd name="connsiteY15" fmla="*/ 32930 h 434192"/>
                <a:gd name="connsiteX16" fmla="*/ 314498 w 464069"/>
                <a:gd name="connsiteY16" fmla="*/ 57581 h 434192"/>
                <a:gd name="connsiteX17" fmla="*/ 280181 w 464069"/>
                <a:gd name="connsiteY17" fmla="*/ 90742 h 434192"/>
                <a:gd name="connsiteX18" fmla="*/ 257287 w 464069"/>
                <a:gd name="connsiteY18" fmla="*/ 74786 h 434192"/>
                <a:gd name="connsiteX19" fmla="*/ 222461 w 464069"/>
                <a:gd name="connsiteY19" fmla="*/ 62761 h 434192"/>
                <a:gd name="connsiteX20" fmla="*/ 196654 w 464069"/>
                <a:gd name="connsiteY20" fmla="*/ 59662 h 434192"/>
                <a:gd name="connsiteX21" fmla="*/ 181068 w 464069"/>
                <a:gd name="connsiteY21" fmla="*/ 48146 h 434192"/>
                <a:gd name="connsiteX22" fmla="*/ 170106 w 464069"/>
                <a:gd name="connsiteY22" fmla="*/ 23911 h 434192"/>
                <a:gd name="connsiteX23" fmla="*/ 154844 w 464069"/>
                <a:gd name="connsiteY23" fmla="*/ 21044 h 434192"/>
                <a:gd name="connsiteX24" fmla="*/ 140090 w 464069"/>
                <a:gd name="connsiteY24" fmla="*/ 13042 h 434192"/>
                <a:gd name="connsiteX25" fmla="*/ 113867 w 464069"/>
                <a:gd name="connsiteY25" fmla="*/ 7909 h 434192"/>
                <a:gd name="connsiteX26" fmla="*/ 90973 w 464069"/>
                <a:gd name="connsiteY26" fmla="*/ 10175 h 434192"/>
                <a:gd name="connsiteX27" fmla="*/ 72242 w 464069"/>
                <a:gd name="connsiteY27" fmla="*/ 1526 h 434192"/>
                <a:gd name="connsiteX28" fmla="*/ 64888 w 464069"/>
                <a:gd name="connsiteY28" fmla="*/ 0 h 434192"/>
                <a:gd name="connsiteX29" fmla="*/ 64010 w 464069"/>
                <a:gd name="connsiteY29" fmla="*/ 555 h 434192"/>
                <a:gd name="connsiteX30" fmla="*/ 65675 w 464069"/>
                <a:gd name="connsiteY30" fmla="*/ 29369 h 434192"/>
                <a:gd name="connsiteX31" fmla="*/ 40885 w 464069"/>
                <a:gd name="connsiteY31" fmla="*/ 42920 h 434192"/>
                <a:gd name="connsiteX32" fmla="*/ 35844 w 464069"/>
                <a:gd name="connsiteY32" fmla="*/ 51383 h 434192"/>
                <a:gd name="connsiteX33" fmla="*/ 27935 w 464069"/>
                <a:gd name="connsiteY33" fmla="*/ 52956 h 434192"/>
                <a:gd name="connsiteX34" fmla="*/ 22755 w 464069"/>
                <a:gd name="connsiteY34" fmla="*/ 61050 h 434192"/>
                <a:gd name="connsiteX35" fmla="*/ 28444 w 464069"/>
                <a:gd name="connsiteY35" fmla="*/ 79550 h 434192"/>
                <a:gd name="connsiteX36" fmla="*/ 18130 w 464069"/>
                <a:gd name="connsiteY36" fmla="*/ 98419 h 434192"/>
                <a:gd name="connsiteX37" fmla="*/ 1295 w 464069"/>
                <a:gd name="connsiteY37" fmla="*/ 104617 h 434192"/>
                <a:gd name="connsiteX38" fmla="*/ 16742 w 464069"/>
                <a:gd name="connsiteY38" fmla="*/ 135558 h 434192"/>
                <a:gd name="connsiteX39" fmla="*/ 11007 w 464069"/>
                <a:gd name="connsiteY39" fmla="*/ 160857 h 434192"/>
                <a:gd name="connsiteX40" fmla="*/ 19101 w 464069"/>
                <a:gd name="connsiteY40" fmla="*/ 175888 h 434192"/>
                <a:gd name="connsiteX41" fmla="*/ 11007 w 464069"/>
                <a:gd name="connsiteY41" fmla="*/ 197255 h 434192"/>
                <a:gd name="connsiteX42" fmla="*/ 18500 w 464069"/>
                <a:gd name="connsiteY42" fmla="*/ 208262 h 434192"/>
                <a:gd name="connsiteX43" fmla="*/ 16187 w 464069"/>
                <a:gd name="connsiteY43" fmla="*/ 219825 h 434192"/>
                <a:gd name="connsiteX44" fmla="*/ 0 w 464069"/>
                <a:gd name="connsiteY44" fmla="*/ 226762 h 434192"/>
                <a:gd name="connsiteX45" fmla="*/ 20812 w 464069"/>
                <a:gd name="connsiteY45" fmla="*/ 255668 h 434192"/>
                <a:gd name="connsiteX46" fmla="*/ 19656 w 464069"/>
                <a:gd name="connsiteY46" fmla="*/ 268988 h 434192"/>
                <a:gd name="connsiteX47" fmla="*/ 31774 w 464069"/>
                <a:gd name="connsiteY47" fmla="*/ 282308 h 434192"/>
                <a:gd name="connsiteX48" fmla="*/ 42781 w 464069"/>
                <a:gd name="connsiteY48" fmla="*/ 279441 h 434192"/>
                <a:gd name="connsiteX49" fmla="*/ 65906 w 464069"/>
                <a:gd name="connsiteY49" fmla="*/ 286933 h 434192"/>
                <a:gd name="connsiteX50" fmla="*/ 77792 w 464069"/>
                <a:gd name="connsiteY50" fmla="*/ 311862 h 434192"/>
                <a:gd name="connsiteX51" fmla="*/ 124088 w 464069"/>
                <a:gd name="connsiteY51" fmla="*/ 321759 h 434192"/>
                <a:gd name="connsiteX52" fmla="*/ 143328 w 464069"/>
                <a:gd name="connsiteY52" fmla="*/ 339427 h 434192"/>
                <a:gd name="connsiteX53" fmla="*/ 194295 w 464069"/>
                <a:gd name="connsiteY53" fmla="*/ 311862 h 434192"/>
                <a:gd name="connsiteX54" fmla="*/ 427116 w 464069"/>
                <a:gd name="connsiteY54" fmla="*/ 434192 h 434192"/>
                <a:gd name="connsiteX55" fmla="*/ 427116 w 464069"/>
                <a:gd name="connsiteY55" fmla="*/ 418560 h 434192"/>
                <a:gd name="connsiteX56" fmla="*/ 457317 w 464069"/>
                <a:gd name="connsiteY56" fmla="*/ 418560 h 434192"/>
                <a:gd name="connsiteX57" fmla="*/ 457317 w 464069"/>
                <a:gd name="connsiteY57" fmla="*/ 129453 h 434192"/>
                <a:gd name="connsiteX58" fmla="*/ 446310 w 464069"/>
                <a:gd name="connsiteY58" fmla="*/ 101703 h 43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64069" h="434192">
                  <a:moveTo>
                    <a:pt x="446402" y="101564"/>
                  </a:moveTo>
                  <a:lnTo>
                    <a:pt x="457410" y="85932"/>
                  </a:lnTo>
                  <a:lnTo>
                    <a:pt x="450472" y="68588"/>
                  </a:lnTo>
                  <a:lnTo>
                    <a:pt x="464070" y="51753"/>
                  </a:lnTo>
                  <a:cubicBezTo>
                    <a:pt x="463468" y="51383"/>
                    <a:pt x="462960" y="50782"/>
                    <a:pt x="462636" y="49950"/>
                  </a:cubicBezTo>
                  <a:cubicBezTo>
                    <a:pt x="459167" y="40468"/>
                    <a:pt x="458982" y="38249"/>
                    <a:pt x="455745" y="37416"/>
                  </a:cubicBezTo>
                  <a:cubicBezTo>
                    <a:pt x="452276" y="36491"/>
                    <a:pt x="449409" y="35566"/>
                    <a:pt x="446079" y="35705"/>
                  </a:cubicBezTo>
                  <a:cubicBezTo>
                    <a:pt x="438910" y="36029"/>
                    <a:pt x="434377" y="36769"/>
                    <a:pt x="431094" y="35104"/>
                  </a:cubicBezTo>
                  <a:cubicBezTo>
                    <a:pt x="425636" y="32329"/>
                    <a:pt x="421890" y="29785"/>
                    <a:pt x="418282" y="30201"/>
                  </a:cubicBezTo>
                  <a:cubicBezTo>
                    <a:pt x="414074" y="30710"/>
                    <a:pt x="411530" y="31265"/>
                    <a:pt x="408801" y="29739"/>
                  </a:cubicBezTo>
                  <a:cubicBezTo>
                    <a:pt x="406859" y="28259"/>
                    <a:pt x="402141" y="27287"/>
                    <a:pt x="402465" y="23449"/>
                  </a:cubicBezTo>
                  <a:cubicBezTo>
                    <a:pt x="402326" y="20997"/>
                    <a:pt x="404454" y="15817"/>
                    <a:pt x="400661" y="14939"/>
                  </a:cubicBezTo>
                  <a:cubicBezTo>
                    <a:pt x="365512" y="6799"/>
                    <a:pt x="364355" y="5735"/>
                    <a:pt x="361164" y="7585"/>
                  </a:cubicBezTo>
                  <a:cubicBezTo>
                    <a:pt x="358112" y="9342"/>
                    <a:pt x="355290" y="11239"/>
                    <a:pt x="351960" y="11516"/>
                  </a:cubicBezTo>
                  <a:cubicBezTo>
                    <a:pt x="344237" y="12071"/>
                    <a:pt x="339704" y="11840"/>
                    <a:pt x="336605" y="13967"/>
                  </a:cubicBezTo>
                  <a:cubicBezTo>
                    <a:pt x="336605" y="13967"/>
                    <a:pt x="321066" y="24466"/>
                    <a:pt x="313342" y="32930"/>
                  </a:cubicBezTo>
                  <a:cubicBezTo>
                    <a:pt x="305618" y="41393"/>
                    <a:pt x="310243" y="49117"/>
                    <a:pt x="314498" y="57581"/>
                  </a:cubicBezTo>
                  <a:cubicBezTo>
                    <a:pt x="323656" y="75850"/>
                    <a:pt x="293824" y="99298"/>
                    <a:pt x="280181" y="90742"/>
                  </a:cubicBezTo>
                  <a:cubicBezTo>
                    <a:pt x="267508" y="82741"/>
                    <a:pt x="262421" y="76682"/>
                    <a:pt x="257287" y="74786"/>
                  </a:cubicBezTo>
                  <a:cubicBezTo>
                    <a:pt x="226901" y="63640"/>
                    <a:pt x="226115" y="63038"/>
                    <a:pt x="222461" y="62761"/>
                  </a:cubicBezTo>
                  <a:cubicBezTo>
                    <a:pt x="202296" y="61281"/>
                    <a:pt x="199660" y="61512"/>
                    <a:pt x="196654" y="59662"/>
                  </a:cubicBezTo>
                  <a:cubicBezTo>
                    <a:pt x="183473" y="51568"/>
                    <a:pt x="182178" y="51291"/>
                    <a:pt x="181068" y="48146"/>
                  </a:cubicBezTo>
                  <a:cubicBezTo>
                    <a:pt x="173436" y="26501"/>
                    <a:pt x="173575" y="24559"/>
                    <a:pt x="170106" y="23911"/>
                  </a:cubicBezTo>
                  <a:lnTo>
                    <a:pt x="154844" y="21044"/>
                  </a:lnTo>
                  <a:cubicBezTo>
                    <a:pt x="149433" y="20026"/>
                    <a:pt x="145779" y="14337"/>
                    <a:pt x="140090" y="13042"/>
                  </a:cubicBezTo>
                  <a:cubicBezTo>
                    <a:pt x="118446" y="7955"/>
                    <a:pt x="117336" y="7307"/>
                    <a:pt x="113867" y="7909"/>
                  </a:cubicBezTo>
                  <a:cubicBezTo>
                    <a:pt x="95829" y="10915"/>
                    <a:pt x="94072" y="11701"/>
                    <a:pt x="90973" y="10175"/>
                  </a:cubicBezTo>
                  <a:cubicBezTo>
                    <a:pt x="80290" y="4810"/>
                    <a:pt x="75988" y="2359"/>
                    <a:pt x="72242" y="1526"/>
                  </a:cubicBezTo>
                  <a:cubicBezTo>
                    <a:pt x="69375" y="925"/>
                    <a:pt x="66970" y="416"/>
                    <a:pt x="64888" y="0"/>
                  </a:cubicBezTo>
                  <a:lnTo>
                    <a:pt x="64010" y="555"/>
                  </a:lnTo>
                  <a:lnTo>
                    <a:pt x="65675" y="29369"/>
                  </a:lnTo>
                  <a:lnTo>
                    <a:pt x="40885" y="42920"/>
                  </a:lnTo>
                  <a:lnTo>
                    <a:pt x="35844" y="51383"/>
                  </a:lnTo>
                  <a:lnTo>
                    <a:pt x="27935" y="52956"/>
                  </a:lnTo>
                  <a:lnTo>
                    <a:pt x="22755" y="61050"/>
                  </a:lnTo>
                  <a:lnTo>
                    <a:pt x="28444" y="79550"/>
                  </a:lnTo>
                  <a:lnTo>
                    <a:pt x="18130" y="98419"/>
                  </a:lnTo>
                  <a:lnTo>
                    <a:pt x="1295" y="104617"/>
                  </a:lnTo>
                  <a:lnTo>
                    <a:pt x="16742" y="135558"/>
                  </a:lnTo>
                  <a:lnTo>
                    <a:pt x="11007" y="160857"/>
                  </a:lnTo>
                  <a:lnTo>
                    <a:pt x="19101" y="175888"/>
                  </a:lnTo>
                  <a:lnTo>
                    <a:pt x="11007" y="197255"/>
                  </a:lnTo>
                  <a:lnTo>
                    <a:pt x="18500" y="208262"/>
                  </a:lnTo>
                  <a:lnTo>
                    <a:pt x="16187" y="219825"/>
                  </a:lnTo>
                  <a:lnTo>
                    <a:pt x="0" y="226762"/>
                  </a:lnTo>
                  <a:lnTo>
                    <a:pt x="20812" y="255668"/>
                  </a:lnTo>
                  <a:lnTo>
                    <a:pt x="19656" y="268988"/>
                  </a:lnTo>
                  <a:lnTo>
                    <a:pt x="31774" y="282308"/>
                  </a:lnTo>
                  <a:lnTo>
                    <a:pt x="42781" y="279441"/>
                  </a:lnTo>
                  <a:lnTo>
                    <a:pt x="65906" y="286933"/>
                  </a:lnTo>
                  <a:lnTo>
                    <a:pt x="77792" y="311862"/>
                  </a:lnTo>
                  <a:lnTo>
                    <a:pt x="124088" y="321759"/>
                  </a:lnTo>
                  <a:lnTo>
                    <a:pt x="143328" y="339427"/>
                  </a:lnTo>
                  <a:lnTo>
                    <a:pt x="194295" y="311862"/>
                  </a:lnTo>
                  <a:lnTo>
                    <a:pt x="427116" y="434192"/>
                  </a:lnTo>
                  <a:lnTo>
                    <a:pt x="427116" y="418560"/>
                  </a:lnTo>
                  <a:lnTo>
                    <a:pt x="457317" y="418560"/>
                  </a:lnTo>
                  <a:lnTo>
                    <a:pt x="457317" y="129453"/>
                  </a:lnTo>
                  <a:lnTo>
                    <a:pt x="446310" y="101703"/>
                  </a:lnTo>
                  <a:close/>
                </a:path>
              </a:pathLst>
            </a:custGeom>
            <a:grpFill/>
            <a:ln w="4609" cap="flat">
              <a:noFill/>
              <a:prstDash val="solid"/>
              <a:miter/>
            </a:ln>
          </p:spPr>
          <p:txBody>
            <a:bodyPr rtlCol="0" anchor="ctr"/>
            <a:lstStyle/>
            <a:p>
              <a:endParaRPr lang="en-IN"/>
            </a:p>
          </p:txBody>
        </p:sp>
        <p:sp>
          <p:nvSpPr>
            <p:cNvPr id="97" name="Freeform: Shape 96">
              <a:extLst>
                <a:ext uri="{FF2B5EF4-FFF2-40B4-BE49-F238E27FC236}">
                  <a16:creationId xmlns:a16="http://schemas.microsoft.com/office/drawing/2014/main" id="{A7A4E3B0-4F0C-B419-12DF-3B886702B4EA}"/>
                </a:ext>
              </a:extLst>
            </p:cNvPr>
            <p:cNvSpPr/>
            <p:nvPr/>
          </p:nvSpPr>
          <p:spPr>
            <a:xfrm>
              <a:off x="5489078" y="4780030"/>
              <a:ext cx="120018" cy="118284"/>
            </a:xfrm>
            <a:custGeom>
              <a:avLst/>
              <a:gdLst>
                <a:gd name="connsiteX0" fmla="*/ 120018 w 120018"/>
                <a:gd name="connsiteY0" fmla="*/ 80567 h 118284"/>
                <a:gd name="connsiteX1" fmla="*/ 107669 w 120018"/>
                <a:gd name="connsiteY1" fmla="*/ 75757 h 118284"/>
                <a:gd name="connsiteX2" fmla="*/ 105912 w 120018"/>
                <a:gd name="connsiteY2" fmla="*/ 66877 h 118284"/>
                <a:gd name="connsiteX3" fmla="*/ 83758 w 120018"/>
                <a:gd name="connsiteY3" fmla="*/ 59940 h 118284"/>
                <a:gd name="connsiteX4" fmla="*/ 93563 w 120018"/>
                <a:gd name="connsiteY4" fmla="*/ 48007 h 118284"/>
                <a:gd name="connsiteX5" fmla="*/ 88152 w 120018"/>
                <a:gd name="connsiteY5" fmla="*/ 27010 h 118284"/>
                <a:gd name="connsiteX6" fmla="*/ 88152 w 120018"/>
                <a:gd name="connsiteY6" fmla="*/ 26917 h 118284"/>
                <a:gd name="connsiteX7" fmla="*/ 81122 w 120018"/>
                <a:gd name="connsiteY7" fmla="*/ 24975 h 118284"/>
                <a:gd name="connsiteX8" fmla="*/ 76775 w 120018"/>
                <a:gd name="connsiteY8" fmla="*/ 36537 h 118284"/>
                <a:gd name="connsiteX9" fmla="*/ 68958 w 120018"/>
                <a:gd name="connsiteY9" fmla="*/ 39127 h 118284"/>
                <a:gd name="connsiteX10" fmla="*/ 57951 w 120018"/>
                <a:gd name="connsiteY10" fmla="*/ 32190 h 118284"/>
                <a:gd name="connsiteX11" fmla="*/ 61697 w 120018"/>
                <a:gd name="connsiteY11" fmla="*/ 22940 h 118284"/>
                <a:gd name="connsiteX12" fmla="*/ 53002 w 120018"/>
                <a:gd name="connsiteY12" fmla="*/ 93 h 118284"/>
                <a:gd name="connsiteX13" fmla="*/ 36306 w 120018"/>
                <a:gd name="connsiteY13" fmla="*/ 0 h 118284"/>
                <a:gd name="connsiteX14" fmla="*/ 36214 w 120018"/>
                <a:gd name="connsiteY14" fmla="*/ 93 h 118284"/>
                <a:gd name="connsiteX15" fmla="*/ 35196 w 120018"/>
                <a:gd name="connsiteY15" fmla="*/ 11377 h 118284"/>
                <a:gd name="connsiteX16" fmla="*/ 26594 w 120018"/>
                <a:gd name="connsiteY16" fmla="*/ 15817 h 118284"/>
                <a:gd name="connsiteX17" fmla="*/ 26362 w 120018"/>
                <a:gd name="connsiteY17" fmla="*/ 22061 h 118284"/>
                <a:gd name="connsiteX18" fmla="*/ 0 w 120018"/>
                <a:gd name="connsiteY18" fmla="*/ 45695 h 118284"/>
                <a:gd name="connsiteX19" fmla="*/ 0 w 120018"/>
                <a:gd name="connsiteY19" fmla="*/ 45787 h 118284"/>
                <a:gd name="connsiteX20" fmla="*/ 971 w 120018"/>
                <a:gd name="connsiteY20" fmla="*/ 47868 h 118284"/>
                <a:gd name="connsiteX21" fmla="*/ 3931 w 120018"/>
                <a:gd name="connsiteY21" fmla="*/ 51522 h 118284"/>
                <a:gd name="connsiteX22" fmla="*/ 15262 w 120018"/>
                <a:gd name="connsiteY22" fmla="*/ 56933 h 118284"/>
                <a:gd name="connsiteX23" fmla="*/ 18361 w 120018"/>
                <a:gd name="connsiteY23" fmla="*/ 60726 h 118284"/>
                <a:gd name="connsiteX24" fmla="*/ 35242 w 120018"/>
                <a:gd name="connsiteY24" fmla="*/ 69097 h 118284"/>
                <a:gd name="connsiteX25" fmla="*/ 59847 w 120018"/>
                <a:gd name="connsiteY25" fmla="*/ 93378 h 118284"/>
                <a:gd name="connsiteX26" fmla="*/ 103692 w 120018"/>
                <a:gd name="connsiteY26" fmla="*/ 116966 h 118284"/>
                <a:gd name="connsiteX27" fmla="*/ 113728 w 120018"/>
                <a:gd name="connsiteY27" fmla="*/ 118261 h 118284"/>
                <a:gd name="connsiteX28" fmla="*/ 113728 w 120018"/>
                <a:gd name="connsiteY28" fmla="*/ 118168 h 118284"/>
                <a:gd name="connsiteX29" fmla="*/ 119926 w 120018"/>
                <a:gd name="connsiteY29" fmla="*/ 80613 h 11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018" h="118284">
                  <a:moveTo>
                    <a:pt x="120018" y="80567"/>
                  </a:moveTo>
                  <a:cubicBezTo>
                    <a:pt x="119232" y="80752"/>
                    <a:pt x="107669" y="75757"/>
                    <a:pt x="107669" y="75757"/>
                  </a:cubicBezTo>
                  <a:lnTo>
                    <a:pt x="105912" y="66877"/>
                  </a:lnTo>
                  <a:cubicBezTo>
                    <a:pt x="105912" y="66877"/>
                    <a:pt x="84313" y="59940"/>
                    <a:pt x="83758" y="59940"/>
                  </a:cubicBezTo>
                  <a:cubicBezTo>
                    <a:pt x="83203" y="59940"/>
                    <a:pt x="93563" y="48007"/>
                    <a:pt x="93563" y="48007"/>
                  </a:cubicBezTo>
                  <a:lnTo>
                    <a:pt x="88152" y="27010"/>
                  </a:lnTo>
                  <a:lnTo>
                    <a:pt x="88152" y="26917"/>
                  </a:lnTo>
                  <a:cubicBezTo>
                    <a:pt x="88152" y="26917"/>
                    <a:pt x="81122" y="24975"/>
                    <a:pt x="81122" y="24975"/>
                  </a:cubicBezTo>
                  <a:lnTo>
                    <a:pt x="76775" y="36537"/>
                  </a:lnTo>
                  <a:lnTo>
                    <a:pt x="68958" y="39127"/>
                  </a:lnTo>
                  <a:lnTo>
                    <a:pt x="57951" y="32190"/>
                  </a:lnTo>
                  <a:lnTo>
                    <a:pt x="61697" y="22940"/>
                  </a:lnTo>
                  <a:lnTo>
                    <a:pt x="53002" y="93"/>
                  </a:lnTo>
                  <a:lnTo>
                    <a:pt x="36306" y="0"/>
                  </a:lnTo>
                  <a:lnTo>
                    <a:pt x="36214" y="93"/>
                  </a:lnTo>
                  <a:lnTo>
                    <a:pt x="35196" y="11377"/>
                  </a:lnTo>
                  <a:lnTo>
                    <a:pt x="26594" y="15817"/>
                  </a:lnTo>
                  <a:lnTo>
                    <a:pt x="26362" y="22061"/>
                  </a:lnTo>
                  <a:lnTo>
                    <a:pt x="0" y="45695"/>
                  </a:lnTo>
                  <a:cubicBezTo>
                    <a:pt x="0" y="45695"/>
                    <a:pt x="0" y="45741"/>
                    <a:pt x="0" y="45787"/>
                  </a:cubicBezTo>
                  <a:cubicBezTo>
                    <a:pt x="555" y="46388"/>
                    <a:pt x="786" y="47036"/>
                    <a:pt x="971" y="47868"/>
                  </a:cubicBezTo>
                  <a:cubicBezTo>
                    <a:pt x="1295" y="49256"/>
                    <a:pt x="2636" y="50921"/>
                    <a:pt x="3931" y="51522"/>
                  </a:cubicBezTo>
                  <a:lnTo>
                    <a:pt x="15262" y="56933"/>
                  </a:lnTo>
                  <a:cubicBezTo>
                    <a:pt x="17621" y="58090"/>
                    <a:pt x="18639" y="61188"/>
                    <a:pt x="18361" y="60726"/>
                  </a:cubicBezTo>
                  <a:cubicBezTo>
                    <a:pt x="19841" y="66045"/>
                    <a:pt x="30294" y="64241"/>
                    <a:pt x="35242" y="69097"/>
                  </a:cubicBezTo>
                  <a:lnTo>
                    <a:pt x="59847" y="93378"/>
                  </a:lnTo>
                  <a:cubicBezTo>
                    <a:pt x="63085" y="96569"/>
                    <a:pt x="104154" y="117197"/>
                    <a:pt x="103692" y="116966"/>
                  </a:cubicBezTo>
                  <a:cubicBezTo>
                    <a:pt x="105588" y="117937"/>
                    <a:pt x="109797" y="118399"/>
                    <a:pt x="113728" y="118261"/>
                  </a:cubicBezTo>
                  <a:lnTo>
                    <a:pt x="113728" y="118168"/>
                  </a:lnTo>
                  <a:cubicBezTo>
                    <a:pt x="113728" y="118168"/>
                    <a:pt x="120666" y="80382"/>
                    <a:pt x="119926" y="80613"/>
                  </a:cubicBezTo>
                  <a:close/>
                </a:path>
              </a:pathLst>
            </a:custGeom>
            <a:grpFill/>
            <a:ln w="4609" cap="flat">
              <a:noFill/>
              <a:prstDash val="solid"/>
              <a:miter/>
            </a:ln>
          </p:spPr>
          <p:txBody>
            <a:bodyPr rtlCol="0" anchor="ctr"/>
            <a:lstStyle/>
            <a:p>
              <a:endParaRPr lang="en-IN"/>
            </a:p>
          </p:txBody>
        </p:sp>
        <p:sp>
          <p:nvSpPr>
            <p:cNvPr id="98" name="Freeform: Shape 97">
              <a:extLst>
                <a:ext uri="{FF2B5EF4-FFF2-40B4-BE49-F238E27FC236}">
                  <a16:creationId xmlns:a16="http://schemas.microsoft.com/office/drawing/2014/main" id="{B78D3F80-F985-6B4F-2C58-AA3CEDF886E4}"/>
                </a:ext>
              </a:extLst>
            </p:cNvPr>
            <p:cNvSpPr/>
            <p:nvPr/>
          </p:nvSpPr>
          <p:spPr>
            <a:xfrm>
              <a:off x="6612299" y="5885769"/>
              <a:ext cx="69374" cy="64194"/>
            </a:xfrm>
            <a:custGeom>
              <a:avLst/>
              <a:gdLst>
                <a:gd name="connsiteX0" fmla="*/ 46851 w 69374"/>
                <a:gd name="connsiteY0" fmla="*/ 0 h 64194"/>
                <a:gd name="connsiteX1" fmla="*/ 69375 w 69374"/>
                <a:gd name="connsiteY1" fmla="*/ 19101 h 64194"/>
                <a:gd name="connsiteX2" fmla="*/ 61281 w 69374"/>
                <a:gd name="connsiteY2" fmla="*/ 41070 h 64194"/>
                <a:gd name="connsiteX3" fmla="*/ 34132 w 69374"/>
                <a:gd name="connsiteY3" fmla="*/ 52632 h 64194"/>
                <a:gd name="connsiteX4" fmla="*/ 31219 w 69374"/>
                <a:gd name="connsiteY4" fmla="*/ 64194 h 64194"/>
                <a:gd name="connsiteX5" fmla="*/ 19101 w 69374"/>
                <a:gd name="connsiteY5" fmla="*/ 64194 h 64194"/>
                <a:gd name="connsiteX6" fmla="*/ 0 w 69374"/>
                <a:gd name="connsiteY6" fmla="*/ 32976 h 64194"/>
                <a:gd name="connsiteX7" fmla="*/ 11562 w 69374"/>
                <a:gd name="connsiteY7" fmla="*/ 26038 h 64194"/>
                <a:gd name="connsiteX8" fmla="*/ 19101 w 69374"/>
                <a:gd name="connsiteY8" fmla="*/ 10406 h 64194"/>
                <a:gd name="connsiteX9" fmla="*/ 46851 w 69374"/>
                <a:gd name="connsiteY9" fmla="*/ 0 h 6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374" h="64194">
                  <a:moveTo>
                    <a:pt x="46851" y="0"/>
                  </a:moveTo>
                  <a:lnTo>
                    <a:pt x="69375" y="19101"/>
                  </a:lnTo>
                  <a:lnTo>
                    <a:pt x="61281" y="41070"/>
                  </a:lnTo>
                  <a:lnTo>
                    <a:pt x="34132" y="52632"/>
                  </a:lnTo>
                  <a:lnTo>
                    <a:pt x="31219" y="64194"/>
                  </a:lnTo>
                  <a:lnTo>
                    <a:pt x="19101" y="64194"/>
                  </a:lnTo>
                  <a:lnTo>
                    <a:pt x="0" y="32976"/>
                  </a:lnTo>
                  <a:lnTo>
                    <a:pt x="11562" y="26038"/>
                  </a:lnTo>
                  <a:lnTo>
                    <a:pt x="19101" y="10406"/>
                  </a:lnTo>
                  <a:lnTo>
                    <a:pt x="46851" y="0"/>
                  </a:lnTo>
                  <a:close/>
                </a:path>
              </a:pathLst>
            </a:custGeom>
            <a:grpFill/>
            <a:ln w="4609" cap="flat">
              <a:noFill/>
              <a:prstDash val="solid"/>
              <a:miter/>
            </a:ln>
          </p:spPr>
          <p:txBody>
            <a:bodyPr rtlCol="0" anchor="ctr"/>
            <a:lstStyle/>
            <a:p>
              <a:endParaRPr lang="en-IN"/>
            </a:p>
          </p:txBody>
        </p:sp>
        <p:grpSp>
          <p:nvGrpSpPr>
            <p:cNvPr id="99" name="Graphic 36">
              <a:extLst>
                <a:ext uri="{FF2B5EF4-FFF2-40B4-BE49-F238E27FC236}">
                  <a16:creationId xmlns:a16="http://schemas.microsoft.com/office/drawing/2014/main" id="{1362BFB9-8D7A-65C7-8068-7E5E7E227604}"/>
                </a:ext>
              </a:extLst>
            </p:cNvPr>
            <p:cNvGrpSpPr/>
            <p:nvPr/>
          </p:nvGrpSpPr>
          <p:grpSpPr>
            <a:xfrm>
              <a:off x="6815058" y="4895238"/>
              <a:ext cx="228519" cy="270237"/>
              <a:chOff x="6815058" y="4895238"/>
              <a:chExt cx="228519" cy="270237"/>
            </a:xfrm>
            <a:grpFill/>
          </p:grpSpPr>
          <p:sp>
            <p:nvSpPr>
              <p:cNvPr id="152" name="Freeform: Shape 151">
                <a:extLst>
                  <a:ext uri="{FF2B5EF4-FFF2-40B4-BE49-F238E27FC236}">
                    <a16:creationId xmlns:a16="http://schemas.microsoft.com/office/drawing/2014/main" id="{DD4987D1-8434-F341-0955-0AFCA26A77AA}"/>
                  </a:ext>
                </a:extLst>
              </p:cNvPr>
              <p:cNvSpPr/>
              <p:nvPr/>
            </p:nvSpPr>
            <p:spPr>
              <a:xfrm>
                <a:off x="7020523" y="5085831"/>
                <a:ext cx="5710" cy="5161"/>
              </a:xfrm>
              <a:custGeom>
                <a:avLst/>
                <a:gdLst>
                  <a:gd name="connsiteX0" fmla="*/ 68 w 5710"/>
                  <a:gd name="connsiteY0" fmla="*/ 4072 h 5161"/>
                  <a:gd name="connsiteX1" fmla="*/ 4554 w 5710"/>
                  <a:gd name="connsiteY1" fmla="*/ 4072 h 5161"/>
                  <a:gd name="connsiteX2" fmla="*/ 5340 w 5710"/>
                  <a:gd name="connsiteY2" fmla="*/ 326 h 5161"/>
                  <a:gd name="connsiteX3" fmla="*/ 68 w 5710"/>
                  <a:gd name="connsiteY3" fmla="*/ 4119 h 5161"/>
                </a:gdLst>
                <a:ahLst/>
                <a:cxnLst>
                  <a:cxn ang="0">
                    <a:pos x="connsiteX0" y="connsiteY0"/>
                  </a:cxn>
                  <a:cxn ang="0">
                    <a:pos x="connsiteX1" y="connsiteY1"/>
                  </a:cxn>
                  <a:cxn ang="0">
                    <a:pos x="connsiteX2" y="connsiteY2"/>
                  </a:cxn>
                  <a:cxn ang="0">
                    <a:pos x="connsiteX3" y="connsiteY3"/>
                  </a:cxn>
                </a:cxnLst>
                <a:rect l="l" t="t" r="r" b="b"/>
                <a:pathLst>
                  <a:path w="5710" h="5161">
                    <a:moveTo>
                      <a:pt x="68" y="4072"/>
                    </a:moveTo>
                    <a:cubicBezTo>
                      <a:pt x="669" y="5830"/>
                      <a:pt x="3167" y="5182"/>
                      <a:pt x="4554" y="4072"/>
                    </a:cubicBezTo>
                    <a:cubicBezTo>
                      <a:pt x="6034" y="2639"/>
                      <a:pt x="5849" y="881"/>
                      <a:pt x="5340" y="326"/>
                    </a:cubicBezTo>
                    <a:cubicBezTo>
                      <a:pt x="4184" y="-1015"/>
                      <a:pt x="-626" y="2084"/>
                      <a:pt x="68" y="4119"/>
                    </a:cubicBezTo>
                    <a:close/>
                  </a:path>
                </a:pathLst>
              </a:custGeom>
              <a:grpFill/>
              <a:ln w="4609"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9700D895-367F-7D71-9332-FC3EB26E3F41}"/>
                  </a:ext>
                </a:extLst>
              </p:cNvPr>
              <p:cNvSpPr/>
              <p:nvPr/>
            </p:nvSpPr>
            <p:spPr>
              <a:xfrm>
                <a:off x="6815058" y="4895238"/>
                <a:ext cx="228519" cy="270237"/>
              </a:xfrm>
              <a:custGeom>
                <a:avLst/>
                <a:gdLst>
                  <a:gd name="connsiteX0" fmla="*/ 1896 w 228519"/>
                  <a:gd name="connsiteY0" fmla="*/ 133060 h 270237"/>
                  <a:gd name="connsiteX1" fmla="*/ 9944 w 228519"/>
                  <a:gd name="connsiteY1" fmla="*/ 138518 h 270237"/>
                  <a:gd name="connsiteX2" fmla="*/ 14199 w 228519"/>
                  <a:gd name="connsiteY2" fmla="*/ 135327 h 270237"/>
                  <a:gd name="connsiteX3" fmla="*/ 22709 w 228519"/>
                  <a:gd name="connsiteY3" fmla="*/ 135604 h 270237"/>
                  <a:gd name="connsiteX4" fmla="*/ 23217 w 228519"/>
                  <a:gd name="connsiteY4" fmla="*/ 140923 h 270237"/>
                  <a:gd name="connsiteX5" fmla="*/ 14800 w 228519"/>
                  <a:gd name="connsiteY5" fmla="*/ 144114 h 270237"/>
                  <a:gd name="connsiteX6" fmla="*/ 14707 w 228519"/>
                  <a:gd name="connsiteY6" fmla="*/ 144392 h 270237"/>
                  <a:gd name="connsiteX7" fmla="*/ 4949 w 228519"/>
                  <a:gd name="connsiteY7" fmla="*/ 147167 h 270237"/>
                  <a:gd name="connsiteX8" fmla="*/ 3839 w 228519"/>
                  <a:gd name="connsiteY8" fmla="*/ 153642 h 270237"/>
                  <a:gd name="connsiteX9" fmla="*/ 4209 w 228519"/>
                  <a:gd name="connsiteY9" fmla="*/ 154150 h 270237"/>
                  <a:gd name="connsiteX10" fmla="*/ 4209 w 228519"/>
                  <a:gd name="connsiteY10" fmla="*/ 158313 h 270237"/>
                  <a:gd name="connsiteX11" fmla="*/ 694 w 228519"/>
                  <a:gd name="connsiteY11" fmla="*/ 162984 h 270237"/>
                  <a:gd name="connsiteX12" fmla="*/ 879 w 228519"/>
                  <a:gd name="connsiteY12" fmla="*/ 162984 h 270237"/>
                  <a:gd name="connsiteX13" fmla="*/ 107068 w 228519"/>
                  <a:gd name="connsiteY13" fmla="*/ 222646 h 270237"/>
                  <a:gd name="connsiteX14" fmla="*/ 108178 w 228519"/>
                  <a:gd name="connsiteY14" fmla="*/ 230000 h 270237"/>
                  <a:gd name="connsiteX15" fmla="*/ 103923 w 228519"/>
                  <a:gd name="connsiteY15" fmla="*/ 235596 h 270237"/>
                  <a:gd name="connsiteX16" fmla="*/ 151745 w 228519"/>
                  <a:gd name="connsiteY16" fmla="*/ 270237 h 270237"/>
                  <a:gd name="connsiteX17" fmla="*/ 151792 w 228519"/>
                  <a:gd name="connsiteY17" fmla="*/ 270237 h 270237"/>
                  <a:gd name="connsiteX18" fmla="*/ 152393 w 228519"/>
                  <a:gd name="connsiteY18" fmla="*/ 267462 h 270237"/>
                  <a:gd name="connsiteX19" fmla="*/ 155214 w 228519"/>
                  <a:gd name="connsiteY19" fmla="*/ 266352 h 270237"/>
                  <a:gd name="connsiteX20" fmla="*/ 158636 w 228519"/>
                  <a:gd name="connsiteY20" fmla="*/ 265473 h 270237"/>
                  <a:gd name="connsiteX21" fmla="*/ 168441 w 228519"/>
                  <a:gd name="connsiteY21" fmla="*/ 246418 h 270237"/>
                  <a:gd name="connsiteX22" fmla="*/ 175980 w 228519"/>
                  <a:gd name="connsiteY22" fmla="*/ 229537 h 270237"/>
                  <a:gd name="connsiteX23" fmla="*/ 179819 w 228519"/>
                  <a:gd name="connsiteY23" fmla="*/ 224496 h 270237"/>
                  <a:gd name="connsiteX24" fmla="*/ 181669 w 228519"/>
                  <a:gd name="connsiteY24" fmla="*/ 211361 h 270237"/>
                  <a:gd name="connsiteX25" fmla="*/ 187866 w 228519"/>
                  <a:gd name="connsiteY25" fmla="*/ 206366 h 270237"/>
                  <a:gd name="connsiteX26" fmla="*/ 195405 w 228519"/>
                  <a:gd name="connsiteY26" fmla="*/ 204331 h 270237"/>
                  <a:gd name="connsiteX27" fmla="*/ 198920 w 228519"/>
                  <a:gd name="connsiteY27" fmla="*/ 199984 h 270237"/>
                  <a:gd name="connsiteX28" fmla="*/ 201048 w 228519"/>
                  <a:gd name="connsiteY28" fmla="*/ 197810 h 270237"/>
                  <a:gd name="connsiteX29" fmla="*/ 202759 w 228519"/>
                  <a:gd name="connsiteY29" fmla="*/ 194249 h 270237"/>
                  <a:gd name="connsiteX30" fmla="*/ 204285 w 228519"/>
                  <a:gd name="connsiteY30" fmla="*/ 190364 h 270237"/>
                  <a:gd name="connsiteX31" fmla="*/ 207846 w 228519"/>
                  <a:gd name="connsiteY31" fmla="*/ 188236 h 270237"/>
                  <a:gd name="connsiteX32" fmla="*/ 215339 w 228519"/>
                  <a:gd name="connsiteY32" fmla="*/ 186016 h 270237"/>
                  <a:gd name="connsiteX33" fmla="*/ 220195 w 228519"/>
                  <a:gd name="connsiteY33" fmla="*/ 179079 h 270237"/>
                  <a:gd name="connsiteX34" fmla="*/ 220195 w 228519"/>
                  <a:gd name="connsiteY34" fmla="*/ 179079 h 270237"/>
                  <a:gd name="connsiteX35" fmla="*/ 203083 w 228519"/>
                  <a:gd name="connsiteY35" fmla="*/ 159608 h 270237"/>
                  <a:gd name="connsiteX36" fmla="*/ 203083 w 228519"/>
                  <a:gd name="connsiteY36" fmla="*/ 52077 h 270237"/>
                  <a:gd name="connsiteX37" fmla="*/ 228520 w 228519"/>
                  <a:gd name="connsiteY37" fmla="*/ 18916 h 270237"/>
                  <a:gd name="connsiteX38" fmla="*/ 206921 w 228519"/>
                  <a:gd name="connsiteY38" fmla="*/ 19286 h 270237"/>
                  <a:gd name="connsiteX39" fmla="*/ 197301 w 228519"/>
                  <a:gd name="connsiteY39" fmla="*/ 9666 h 270237"/>
                  <a:gd name="connsiteX40" fmla="*/ 171078 w 228519"/>
                  <a:gd name="connsiteY40" fmla="*/ 21229 h 270237"/>
                  <a:gd name="connsiteX41" fmla="*/ 161458 w 228519"/>
                  <a:gd name="connsiteY41" fmla="*/ 35474 h 270237"/>
                  <a:gd name="connsiteX42" fmla="*/ 131765 w 228519"/>
                  <a:gd name="connsiteY42" fmla="*/ 27750 h 270237"/>
                  <a:gd name="connsiteX43" fmla="*/ 118261 w 228519"/>
                  <a:gd name="connsiteY43" fmla="*/ 29276 h 270237"/>
                  <a:gd name="connsiteX44" fmla="*/ 84730 w 228519"/>
                  <a:gd name="connsiteY44" fmla="*/ 4625 h 270237"/>
                  <a:gd name="connsiteX45" fmla="*/ 65073 w 228519"/>
                  <a:gd name="connsiteY45" fmla="*/ 4255 h 270237"/>
                  <a:gd name="connsiteX46" fmla="*/ 64981 w 228519"/>
                  <a:gd name="connsiteY46" fmla="*/ 4255 h 270237"/>
                  <a:gd name="connsiteX47" fmla="*/ 67201 w 228519"/>
                  <a:gd name="connsiteY47" fmla="*/ 31589 h 270237"/>
                  <a:gd name="connsiteX48" fmla="*/ 75896 w 228519"/>
                  <a:gd name="connsiteY48" fmla="*/ 44538 h 270237"/>
                  <a:gd name="connsiteX49" fmla="*/ 76451 w 228519"/>
                  <a:gd name="connsiteY49" fmla="*/ 44538 h 270237"/>
                  <a:gd name="connsiteX50" fmla="*/ 79179 w 228519"/>
                  <a:gd name="connsiteY50" fmla="*/ 47452 h 270237"/>
                  <a:gd name="connsiteX51" fmla="*/ 77098 w 228519"/>
                  <a:gd name="connsiteY51" fmla="*/ 61281 h 270237"/>
                  <a:gd name="connsiteX52" fmla="*/ 73491 w 228519"/>
                  <a:gd name="connsiteY52" fmla="*/ 59431 h 270237"/>
                  <a:gd name="connsiteX53" fmla="*/ 66600 w 228519"/>
                  <a:gd name="connsiteY53" fmla="*/ 46897 h 270237"/>
                  <a:gd name="connsiteX54" fmla="*/ 62067 w 228519"/>
                  <a:gd name="connsiteY54" fmla="*/ 42180 h 270237"/>
                  <a:gd name="connsiteX55" fmla="*/ 60402 w 228519"/>
                  <a:gd name="connsiteY55" fmla="*/ 35566 h 270237"/>
                  <a:gd name="connsiteX56" fmla="*/ 53742 w 228519"/>
                  <a:gd name="connsiteY56" fmla="*/ 24559 h 270237"/>
                  <a:gd name="connsiteX57" fmla="*/ 57165 w 228519"/>
                  <a:gd name="connsiteY57" fmla="*/ 0 h 270237"/>
                  <a:gd name="connsiteX58" fmla="*/ 57165 w 228519"/>
                  <a:gd name="connsiteY58" fmla="*/ 0 h 270237"/>
                  <a:gd name="connsiteX59" fmla="*/ 11007 w 228519"/>
                  <a:gd name="connsiteY59" fmla="*/ 0 h 270237"/>
                  <a:gd name="connsiteX60" fmla="*/ 46 w 228519"/>
                  <a:gd name="connsiteY60" fmla="*/ 10637 h 270237"/>
                  <a:gd name="connsiteX61" fmla="*/ 46 w 228519"/>
                  <a:gd name="connsiteY61" fmla="*/ 10637 h 270237"/>
                  <a:gd name="connsiteX62" fmla="*/ 4810 w 228519"/>
                  <a:gd name="connsiteY62" fmla="*/ 23264 h 270237"/>
                  <a:gd name="connsiteX63" fmla="*/ 13875 w 228519"/>
                  <a:gd name="connsiteY63" fmla="*/ 25206 h 270237"/>
                  <a:gd name="connsiteX64" fmla="*/ 15031 w 228519"/>
                  <a:gd name="connsiteY64" fmla="*/ 31172 h 270237"/>
                  <a:gd name="connsiteX65" fmla="*/ 11932 w 228519"/>
                  <a:gd name="connsiteY65" fmla="*/ 34040 h 270237"/>
                  <a:gd name="connsiteX66" fmla="*/ 15956 w 228519"/>
                  <a:gd name="connsiteY66" fmla="*/ 45880 h 270237"/>
                  <a:gd name="connsiteX67" fmla="*/ 23310 w 228519"/>
                  <a:gd name="connsiteY67" fmla="*/ 51938 h 270237"/>
                  <a:gd name="connsiteX68" fmla="*/ 27657 w 228519"/>
                  <a:gd name="connsiteY68" fmla="*/ 60633 h 270237"/>
                  <a:gd name="connsiteX69" fmla="*/ 24096 w 228519"/>
                  <a:gd name="connsiteY69" fmla="*/ 65813 h 270237"/>
                  <a:gd name="connsiteX70" fmla="*/ 29970 w 228519"/>
                  <a:gd name="connsiteY70" fmla="*/ 77098 h 270237"/>
                  <a:gd name="connsiteX71" fmla="*/ 29091 w 228519"/>
                  <a:gd name="connsiteY71" fmla="*/ 86903 h 270237"/>
                  <a:gd name="connsiteX72" fmla="*/ 23449 w 228519"/>
                  <a:gd name="connsiteY72" fmla="*/ 91482 h 270237"/>
                  <a:gd name="connsiteX73" fmla="*/ 24142 w 228519"/>
                  <a:gd name="connsiteY73" fmla="*/ 97587 h 270237"/>
                  <a:gd name="connsiteX74" fmla="*/ 14291 w 228519"/>
                  <a:gd name="connsiteY74" fmla="*/ 101657 h 270237"/>
                  <a:gd name="connsiteX75" fmla="*/ 13597 w 228519"/>
                  <a:gd name="connsiteY75" fmla="*/ 107438 h 270237"/>
                  <a:gd name="connsiteX76" fmla="*/ 8834 w 228519"/>
                  <a:gd name="connsiteY76" fmla="*/ 114237 h 270237"/>
                  <a:gd name="connsiteX77" fmla="*/ 4255 w 228519"/>
                  <a:gd name="connsiteY77" fmla="*/ 115948 h 270237"/>
                  <a:gd name="connsiteX78" fmla="*/ 0 w 228519"/>
                  <a:gd name="connsiteY78" fmla="*/ 124689 h 270237"/>
                  <a:gd name="connsiteX79" fmla="*/ 0 w 228519"/>
                  <a:gd name="connsiteY79" fmla="*/ 124782 h 270237"/>
                  <a:gd name="connsiteX80" fmla="*/ 463 w 228519"/>
                  <a:gd name="connsiteY80" fmla="*/ 126216 h 270237"/>
                  <a:gd name="connsiteX81" fmla="*/ 1942 w 228519"/>
                  <a:gd name="connsiteY81" fmla="*/ 132737 h 27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28519" h="270237">
                    <a:moveTo>
                      <a:pt x="1896" y="133060"/>
                    </a:moveTo>
                    <a:cubicBezTo>
                      <a:pt x="4579" y="135558"/>
                      <a:pt x="7585" y="141894"/>
                      <a:pt x="9944" y="138518"/>
                    </a:cubicBezTo>
                    <a:cubicBezTo>
                      <a:pt x="10406" y="138055"/>
                      <a:pt x="11562" y="136067"/>
                      <a:pt x="14199" y="135327"/>
                    </a:cubicBezTo>
                    <a:cubicBezTo>
                      <a:pt x="16372" y="135049"/>
                      <a:pt x="20627" y="132182"/>
                      <a:pt x="22709" y="135604"/>
                    </a:cubicBezTo>
                    <a:cubicBezTo>
                      <a:pt x="23032" y="136483"/>
                      <a:pt x="26825" y="140599"/>
                      <a:pt x="23217" y="140923"/>
                    </a:cubicBezTo>
                    <a:cubicBezTo>
                      <a:pt x="20766" y="141478"/>
                      <a:pt x="15771" y="140368"/>
                      <a:pt x="14800" y="144114"/>
                    </a:cubicBezTo>
                    <a:lnTo>
                      <a:pt x="14707" y="144392"/>
                    </a:lnTo>
                    <a:cubicBezTo>
                      <a:pt x="13412" y="149248"/>
                      <a:pt x="7677" y="142819"/>
                      <a:pt x="4949" y="147167"/>
                    </a:cubicBezTo>
                    <a:cubicBezTo>
                      <a:pt x="4671" y="147860"/>
                      <a:pt x="1665" y="150867"/>
                      <a:pt x="3839" y="153642"/>
                    </a:cubicBezTo>
                    <a:lnTo>
                      <a:pt x="4209" y="154150"/>
                    </a:lnTo>
                    <a:cubicBezTo>
                      <a:pt x="5087" y="155307"/>
                      <a:pt x="5087" y="157157"/>
                      <a:pt x="4209" y="158313"/>
                    </a:cubicBezTo>
                    <a:lnTo>
                      <a:pt x="694" y="162984"/>
                    </a:lnTo>
                    <a:lnTo>
                      <a:pt x="879" y="162984"/>
                    </a:lnTo>
                    <a:cubicBezTo>
                      <a:pt x="879" y="162984"/>
                      <a:pt x="107068" y="222646"/>
                      <a:pt x="107068" y="222646"/>
                    </a:cubicBezTo>
                    <a:lnTo>
                      <a:pt x="108178" y="230000"/>
                    </a:lnTo>
                    <a:lnTo>
                      <a:pt x="103923" y="235596"/>
                    </a:lnTo>
                    <a:lnTo>
                      <a:pt x="151745" y="270237"/>
                    </a:lnTo>
                    <a:lnTo>
                      <a:pt x="151792" y="270237"/>
                    </a:lnTo>
                    <a:cubicBezTo>
                      <a:pt x="152208" y="268526"/>
                      <a:pt x="152439" y="267370"/>
                      <a:pt x="152393" y="267462"/>
                    </a:cubicBezTo>
                    <a:cubicBezTo>
                      <a:pt x="152994" y="264918"/>
                      <a:pt x="155677" y="266445"/>
                      <a:pt x="155214" y="266352"/>
                    </a:cubicBezTo>
                    <a:cubicBezTo>
                      <a:pt x="156417" y="267138"/>
                      <a:pt x="157989" y="266768"/>
                      <a:pt x="158636" y="265473"/>
                    </a:cubicBezTo>
                    <a:cubicBezTo>
                      <a:pt x="166360" y="251228"/>
                      <a:pt x="167331" y="249702"/>
                      <a:pt x="168441" y="246418"/>
                    </a:cubicBezTo>
                    <a:cubicBezTo>
                      <a:pt x="172974" y="233284"/>
                      <a:pt x="173066" y="231434"/>
                      <a:pt x="175980" y="229537"/>
                    </a:cubicBezTo>
                    <a:cubicBezTo>
                      <a:pt x="176443" y="229121"/>
                      <a:pt x="179726" y="227872"/>
                      <a:pt x="179819" y="224496"/>
                    </a:cubicBezTo>
                    <a:cubicBezTo>
                      <a:pt x="180004" y="216356"/>
                      <a:pt x="179726" y="213951"/>
                      <a:pt x="181669" y="211361"/>
                    </a:cubicBezTo>
                    <a:cubicBezTo>
                      <a:pt x="182548" y="210482"/>
                      <a:pt x="184259" y="206782"/>
                      <a:pt x="187866" y="206366"/>
                    </a:cubicBezTo>
                    <a:cubicBezTo>
                      <a:pt x="190040" y="206135"/>
                      <a:pt x="192769" y="206042"/>
                      <a:pt x="195405" y="204331"/>
                    </a:cubicBezTo>
                    <a:cubicBezTo>
                      <a:pt x="195868" y="203915"/>
                      <a:pt x="199567" y="202250"/>
                      <a:pt x="198920" y="199984"/>
                    </a:cubicBezTo>
                    <a:cubicBezTo>
                      <a:pt x="198411" y="198272"/>
                      <a:pt x="201510" y="197579"/>
                      <a:pt x="201048" y="197810"/>
                    </a:cubicBezTo>
                    <a:cubicBezTo>
                      <a:pt x="203869" y="197348"/>
                      <a:pt x="202805" y="193786"/>
                      <a:pt x="202759" y="194249"/>
                    </a:cubicBezTo>
                    <a:cubicBezTo>
                      <a:pt x="202389" y="192861"/>
                      <a:pt x="203036" y="191104"/>
                      <a:pt x="204285" y="190364"/>
                    </a:cubicBezTo>
                    <a:lnTo>
                      <a:pt x="207846" y="188236"/>
                    </a:lnTo>
                    <a:cubicBezTo>
                      <a:pt x="211222" y="186201"/>
                      <a:pt x="213211" y="189115"/>
                      <a:pt x="215339" y="186016"/>
                    </a:cubicBezTo>
                    <a:cubicBezTo>
                      <a:pt x="217096" y="183473"/>
                      <a:pt x="218715" y="181253"/>
                      <a:pt x="220195" y="179079"/>
                    </a:cubicBezTo>
                    <a:lnTo>
                      <a:pt x="220195" y="179079"/>
                    </a:lnTo>
                    <a:cubicBezTo>
                      <a:pt x="220195" y="179079"/>
                      <a:pt x="203083" y="159608"/>
                      <a:pt x="203083" y="159608"/>
                    </a:cubicBezTo>
                    <a:lnTo>
                      <a:pt x="203083" y="52077"/>
                    </a:lnTo>
                    <a:lnTo>
                      <a:pt x="228520" y="18916"/>
                    </a:lnTo>
                    <a:lnTo>
                      <a:pt x="206921" y="19286"/>
                    </a:lnTo>
                    <a:lnTo>
                      <a:pt x="197301" y="9666"/>
                    </a:lnTo>
                    <a:lnTo>
                      <a:pt x="171078" y="21229"/>
                    </a:lnTo>
                    <a:lnTo>
                      <a:pt x="161458" y="35474"/>
                    </a:lnTo>
                    <a:lnTo>
                      <a:pt x="131765" y="27750"/>
                    </a:lnTo>
                    <a:lnTo>
                      <a:pt x="118261" y="29276"/>
                    </a:lnTo>
                    <a:lnTo>
                      <a:pt x="84730" y="4625"/>
                    </a:lnTo>
                    <a:lnTo>
                      <a:pt x="65073" y="4255"/>
                    </a:lnTo>
                    <a:lnTo>
                      <a:pt x="64981" y="4255"/>
                    </a:lnTo>
                    <a:cubicBezTo>
                      <a:pt x="65906" y="27935"/>
                      <a:pt x="65813" y="28721"/>
                      <a:pt x="67201" y="31589"/>
                    </a:cubicBezTo>
                    <a:cubicBezTo>
                      <a:pt x="71918" y="41301"/>
                      <a:pt x="72427" y="44168"/>
                      <a:pt x="75896" y="44538"/>
                    </a:cubicBezTo>
                    <a:lnTo>
                      <a:pt x="76451" y="44538"/>
                    </a:lnTo>
                    <a:cubicBezTo>
                      <a:pt x="77885" y="44723"/>
                      <a:pt x="79087" y="46018"/>
                      <a:pt x="79179" y="47452"/>
                    </a:cubicBezTo>
                    <a:cubicBezTo>
                      <a:pt x="79550" y="57535"/>
                      <a:pt x="80382" y="60587"/>
                      <a:pt x="77098" y="61281"/>
                    </a:cubicBezTo>
                    <a:cubicBezTo>
                      <a:pt x="76636" y="61188"/>
                      <a:pt x="74416" y="61743"/>
                      <a:pt x="73491" y="59431"/>
                    </a:cubicBezTo>
                    <a:cubicBezTo>
                      <a:pt x="70485" y="51846"/>
                      <a:pt x="69791" y="48377"/>
                      <a:pt x="66600" y="46897"/>
                    </a:cubicBezTo>
                    <a:cubicBezTo>
                      <a:pt x="66091" y="46527"/>
                      <a:pt x="62067" y="45648"/>
                      <a:pt x="62067" y="42180"/>
                    </a:cubicBezTo>
                    <a:cubicBezTo>
                      <a:pt x="61975" y="41486"/>
                      <a:pt x="62530" y="38156"/>
                      <a:pt x="60402" y="35566"/>
                    </a:cubicBezTo>
                    <a:cubicBezTo>
                      <a:pt x="56748" y="31172"/>
                      <a:pt x="53280" y="28166"/>
                      <a:pt x="53742" y="24559"/>
                    </a:cubicBezTo>
                    <a:cubicBezTo>
                      <a:pt x="55731" y="9481"/>
                      <a:pt x="56378" y="3330"/>
                      <a:pt x="57165" y="0"/>
                    </a:cubicBezTo>
                    <a:lnTo>
                      <a:pt x="57165" y="0"/>
                    </a:lnTo>
                    <a:cubicBezTo>
                      <a:pt x="57165" y="0"/>
                      <a:pt x="11007" y="0"/>
                      <a:pt x="11007" y="0"/>
                    </a:cubicBezTo>
                    <a:lnTo>
                      <a:pt x="46" y="10637"/>
                    </a:lnTo>
                    <a:lnTo>
                      <a:pt x="46" y="10637"/>
                    </a:lnTo>
                    <a:cubicBezTo>
                      <a:pt x="46" y="10637"/>
                      <a:pt x="4810" y="23264"/>
                      <a:pt x="4810" y="23264"/>
                    </a:cubicBezTo>
                    <a:lnTo>
                      <a:pt x="13875" y="25206"/>
                    </a:lnTo>
                    <a:lnTo>
                      <a:pt x="15031" y="31172"/>
                    </a:lnTo>
                    <a:lnTo>
                      <a:pt x="11932" y="34040"/>
                    </a:lnTo>
                    <a:lnTo>
                      <a:pt x="15956" y="45880"/>
                    </a:lnTo>
                    <a:lnTo>
                      <a:pt x="23310" y="51938"/>
                    </a:lnTo>
                    <a:lnTo>
                      <a:pt x="27657" y="60633"/>
                    </a:lnTo>
                    <a:lnTo>
                      <a:pt x="24096" y="65813"/>
                    </a:lnTo>
                    <a:lnTo>
                      <a:pt x="29970" y="77098"/>
                    </a:lnTo>
                    <a:lnTo>
                      <a:pt x="29091" y="86903"/>
                    </a:lnTo>
                    <a:lnTo>
                      <a:pt x="23449" y="91482"/>
                    </a:lnTo>
                    <a:lnTo>
                      <a:pt x="24142" y="97587"/>
                    </a:lnTo>
                    <a:lnTo>
                      <a:pt x="14291" y="101657"/>
                    </a:lnTo>
                    <a:lnTo>
                      <a:pt x="13597" y="107438"/>
                    </a:lnTo>
                    <a:lnTo>
                      <a:pt x="8834" y="114237"/>
                    </a:lnTo>
                    <a:lnTo>
                      <a:pt x="4255" y="115948"/>
                    </a:lnTo>
                    <a:lnTo>
                      <a:pt x="0" y="124689"/>
                    </a:lnTo>
                    <a:lnTo>
                      <a:pt x="0" y="124782"/>
                    </a:lnTo>
                    <a:cubicBezTo>
                      <a:pt x="277" y="125059"/>
                      <a:pt x="509" y="125568"/>
                      <a:pt x="463" y="126216"/>
                    </a:cubicBezTo>
                    <a:cubicBezTo>
                      <a:pt x="509" y="126817"/>
                      <a:pt x="-277" y="130147"/>
                      <a:pt x="1942" y="132737"/>
                    </a:cubicBezTo>
                    <a:close/>
                  </a:path>
                </a:pathLst>
              </a:custGeom>
              <a:grpFill/>
              <a:ln w="4609" cap="flat">
                <a:noFill/>
                <a:prstDash val="solid"/>
                <a:miter/>
              </a:ln>
            </p:spPr>
            <p:txBody>
              <a:bodyPr rtlCol="0" anchor="ctr"/>
              <a:lstStyle/>
              <a:p>
                <a:endParaRPr lang="en-IN"/>
              </a:p>
            </p:txBody>
          </p:sp>
        </p:grpSp>
        <p:sp>
          <p:nvSpPr>
            <p:cNvPr id="100" name="Freeform: Shape 99">
              <a:extLst>
                <a:ext uri="{FF2B5EF4-FFF2-40B4-BE49-F238E27FC236}">
                  <a16:creationId xmlns:a16="http://schemas.microsoft.com/office/drawing/2014/main" id="{84FC33D4-A1EB-EE10-3C4A-74ACCA85FD47}"/>
                </a:ext>
              </a:extLst>
            </p:cNvPr>
            <p:cNvSpPr/>
            <p:nvPr/>
          </p:nvSpPr>
          <p:spPr>
            <a:xfrm>
              <a:off x="7066887" y="5530663"/>
              <a:ext cx="4254" cy="3514"/>
            </a:xfrm>
            <a:custGeom>
              <a:avLst/>
              <a:gdLst>
                <a:gd name="connsiteX0" fmla="*/ 4255 w 4254"/>
                <a:gd name="connsiteY0" fmla="*/ 1757 h 3514"/>
                <a:gd name="connsiteX1" fmla="*/ 2127 w 4254"/>
                <a:gd name="connsiteY1" fmla="*/ 3515 h 3514"/>
                <a:gd name="connsiteX2" fmla="*/ 0 w 4254"/>
                <a:gd name="connsiteY2" fmla="*/ 1757 h 3514"/>
                <a:gd name="connsiteX3" fmla="*/ 2127 w 4254"/>
                <a:gd name="connsiteY3" fmla="*/ 0 h 3514"/>
                <a:gd name="connsiteX4" fmla="*/ 4255 w 4254"/>
                <a:gd name="connsiteY4" fmla="*/ 1757 h 3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4" h="3514">
                  <a:moveTo>
                    <a:pt x="4255" y="1757"/>
                  </a:moveTo>
                  <a:cubicBezTo>
                    <a:pt x="4255" y="2729"/>
                    <a:pt x="3284" y="3515"/>
                    <a:pt x="2127" y="3515"/>
                  </a:cubicBezTo>
                  <a:cubicBezTo>
                    <a:pt x="971" y="3515"/>
                    <a:pt x="0" y="2729"/>
                    <a:pt x="0" y="1757"/>
                  </a:cubicBezTo>
                  <a:cubicBezTo>
                    <a:pt x="0" y="786"/>
                    <a:pt x="971" y="0"/>
                    <a:pt x="2127" y="0"/>
                  </a:cubicBezTo>
                  <a:cubicBezTo>
                    <a:pt x="3284" y="0"/>
                    <a:pt x="4255" y="786"/>
                    <a:pt x="4255" y="1757"/>
                  </a:cubicBezTo>
                  <a:close/>
                </a:path>
              </a:pathLst>
            </a:custGeom>
            <a:grpFill/>
            <a:ln w="4609" cap="flat">
              <a:noFill/>
              <a:prstDash val="solid"/>
              <a:miter/>
            </a:ln>
          </p:spPr>
          <p:txBody>
            <a:bodyPr rtlCol="0" anchor="ctr"/>
            <a:lstStyle/>
            <a:p>
              <a:endParaRPr lang="en-IN"/>
            </a:p>
          </p:txBody>
        </p:sp>
        <p:grpSp>
          <p:nvGrpSpPr>
            <p:cNvPr id="101" name="Graphic 36">
              <a:extLst>
                <a:ext uri="{FF2B5EF4-FFF2-40B4-BE49-F238E27FC236}">
                  <a16:creationId xmlns:a16="http://schemas.microsoft.com/office/drawing/2014/main" id="{81E44ECC-E87B-F0CA-457C-1E04490185CD}"/>
                </a:ext>
              </a:extLst>
            </p:cNvPr>
            <p:cNvGrpSpPr/>
            <p:nvPr/>
          </p:nvGrpSpPr>
          <p:grpSpPr>
            <a:xfrm>
              <a:off x="5342563" y="4657746"/>
              <a:ext cx="83800" cy="53297"/>
              <a:chOff x="5342563" y="4657746"/>
              <a:chExt cx="83800" cy="53297"/>
            </a:xfrm>
            <a:grpFill/>
          </p:grpSpPr>
          <p:sp>
            <p:nvSpPr>
              <p:cNvPr id="146" name="Freeform: Shape 145">
                <a:extLst>
                  <a:ext uri="{FF2B5EF4-FFF2-40B4-BE49-F238E27FC236}">
                    <a16:creationId xmlns:a16="http://schemas.microsoft.com/office/drawing/2014/main" id="{3ED96DBE-4DBC-C214-AB93-CDA90F1C322E}"/>
                  </a:ext>
                </a:extLst>
              </p:cNvPr>
              <p:cNvSpPr/>
              <p:nvPr/>
            </p:nvSpPr>
            <p:spPr>
              <a:xfrm>
                <a:off x="5349231" y="4699827"/>
                <a:ext cx="9126" cy="3958"/>
              </a:xfrm>
              <a:custGeom>
                <a:avLst/>
                <a:gdLst>
                  <a:gd name="connsiteX0" fmla="*/ 450 w 9126"/>
                  <a:gd name="connsiteY0" fmla="*/ 2319 h 3958"/>
                  <a:gd name="connsiteX1" fmla="*/ 1422 w 9126"/>
                  <a:gd name="connsiteY1" fmla="*/ 3891 h 3958"/>
                  <a:gd name="connsiteX2" fmla="*/ 2069 w 9126"/>
                  <a:gd name="connsiteY2" fmla="*/ 3752 h 3958"/>
                  <a:gd name="connsiteX3" fmla="*/ 9053 w 9126"/>
                  <a:gd name="connsiteY3" fmla="*/ 2226 h 3958"/>
                  <a:gd name="connsiteX4" fmla="*/ 450 w 9126"/>
                  <a:gd name="connsiteY4" fmla="*/ 2272 h 3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6" h="3958">
                    <a:moveTo>
                      <a:pt x="450" y="2319"/>
                    </a:moveTo>
                    <a:cubicBezTo>
                      <a:pt x="543" y="1856"/>
                      <a:pt x="-1122" y="4400"/>
                      <a:pt x="1422" y="3891"/>
                    </a:cubicBezTo>
                    <a:lnTo>
                      <a:pt x="2069" y="3752"/>
                    </a:lnTo>
                    <a:cubicBezTo>
                      <a:pt x="5954" y="2966"/>
                      <a:pt x="9700" y="5325"/>
                      <a:pt x="9053" y="2226"/>
                    </a:cubicBezTo>
                    <a:cubicBezTo>
                      <a:pt x="8313" y="-1150"/>
                      <a:pt x="2439" y="-317"/>
                      <a:pt x="450" y="2272"/>
                    </a:cubicBezTo>
                    <a:close/>
                  </a:path>
                </a:pathLst>
              </a:custGeom>
              <a:grpFill/>
              <a:ln w="4609" cap="flat">
                <a:noFill/>
                <a:prstDash val="solid"/>
                <a:miter/>
              </a:ln>
            </p:spPr>
            <p:txBody>
              <a:bodyPr rtlCol="0" anchor="ctr"/>
              <a:lstStyle/>
              <a:p>
                <a:endParaRPr lang="en-IN"/>
              </a:p>
            </p:txBody>
          </p:sp>
          <p:sp>
            <p:nvSpPr>
              <p:cNvPr id="147" name="Freeform: Shape 146">
                <a:extLst>
                  <a:ext uri="{FF2B5EF4-FFF2-40B4-BE49-F238E27FC236}">
                    <a16:creationId xmlns:a16="http://schemas.microsoft.com/office/drawing/2014/main" id="{DE5BCF3D-275A-7E46-0A2A-40D22A39C2DE}"/>
                  </a:ext>
                </a:extLst>
              </p:cNvPr>
              <p:cNvSpPr/>
              <p:nvPr/>
            </p:nvSpPr>
            <p:spPr>
              <a:xfrm>
                <a:off x="5353633" y="4686494"/>
                <a:ext cx="5217" cy="5603"/>
              </a:xfrm>
              <a:custGeom>
                <a:avLst/>
                <a:gdLst>
                  <a:gd name="connsiteX0" fmla="*/ 1830 w 5217"/>
                  <a:gd name="connsiteY0" fmla="*/ 944 h 5603"/>
                  <a:gd name="connsiteX1" fmla="*/ 1552 w 5217"/>
                  <a:gd name="connsiteY1" fmla="*/ 5569 h 5603"/>
                  <a:gd name="connsiteX2" fmla="*/ 4928 w 5217"/>
                  <a:gd name="connsiteY2" fmla="*/ 2655 h 5603"/>
                  <a:gd name="connsiteX3" fmla="*/ 1830 w 5217"/>
                  <a:gd name="connsiteY3" fmla="*/ 944 h 5603"/>
                </a:gdLst>
                <a:ahLst/>
                <a:cxnLst>
                  <a:cxn ang="0">
                    <a:pos x="connsiteX0" y="connsiteY0"/>
                  </a:cxn>
                  <a:cxn ang="0">
                    <a:pos x="connsiteX1" y="connsiteY1"/>
                  </a:cxn>
                  <a:cxn ang="0">
                    <a:pos x="connsiteX2" y="connsiteY2"/>
                  </a:cxn>
                  <a:cxn ang="0">
                    <a:pos x="connsiteX3" y="connsiteY3"/>
                  </a:cxn>
                </a:cxnLst>
                <a:rect l="l" t="t" r="r" b="b"/>
                <a:pathLst>
                  <a:path w="5217" h="5603">
                    <a:moveTo>
                      <a:pt x="1830" y="944"/>
                    </a:moveTo>
                    <a:cubicBezTo>
                      <a:pt x="1552" y="1684"/>
                      <a:pt x="-1963" y="6032"/>
                      <a:pt x="1552" y="5569"/>
                    </a:cubicBezTo>
                    <a:cubicBezTo>
                      <a:pt x="2015" y="5384"/>
                      <a:pt x="6362" y="5708"/>
                      <a:pt x="4928" y="2655"/>
                    </a:cubicBezTo>
                    <a:cubicBezTo>
                      <a:pt x="4928" y="2655"/>
                      <a:pt x="3495" y="-1923"/>
                      <a:pt x="1830" y="944"/>
                    </a:cubicBezTo>
                    <a:close/>
                  </a:path>
                </a:pathLst>
              </a:custGeom>
              <a:grpFill/>
              <a:ln w="4609" cap="flat">
                <a:noFill/>
                <a:prstDash val="solid"/>
                <a:miter/>
              </a:ln>
            </p:spPr>
            <p:txBody>
              <a:bodyPr rtlCol="0" anchor="ctr"/>
              <a:lstStyle/>
              <a:p>
                <a:endParaRPr lang="en-IN"/>
              </a:p>
            </p:txBody>
          </p:sp>
          <p:sp>
            <p:nvSpPr>
              <p:cNvPr id="148" name="Freeform: Shape 147">
                <a:extLst>
                  <a:ext uri="{FF2B5EF4-FFF2-40B4-BE49-F238E27FC236}">
                    <a16:creationId xmlns:a16="http://schemas.microsoft.com/office/drawing/2014/main" id="{1A59BE8D-F26B-4607-094B-D00187170697}"/>
                  </a:ext>
                </a:extLst>
              </p:cNvPr>
              <p:cNvSpPr/>
              <p:nvPr/>
            </p:nvSpPr>
            <p:spPr>
              <a:xfrm>
                <a:off x="5344823" y="4693851"/>
                <a:ext cx="6040" cy="4753"/>
              </a:xfrm>
              <a:custGeom>
                <a:avLst/>
                <a:gdLst>
                  <a:gd name="connsiteX0" fmla="*/ 5598 w 6040"/>
                  <a:gd name="connsiteY0" fmla="*/ 2653 h 4753"/>
                  <a:gd name="connsiteX1" fmla="*/ 4118 w 6040"/>
                  <a:gd name="connsiteY1" fmla="*/ 63 h 4753"/>
                  <a:gd name="connsiteX2" fmla="*/ 280 w 6040"/>
                  <a:gd name="connsiteY2" fmla="*/ 2098 h 4753"/>
                  <a:gd name="connsiteX3" fmla="*/ 1482 w 6040"/>
                  <a:gd name="connsiteY3" fmla="*/ 4734 h 4753"/>
                  <a:gd name="connsiteX4" fmla="*/ 5644 w 6040"/>
                  <a:gd name="connsiteY4" fmla="*/ 2653 h 4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0" h="4753">
                    <a:moveTo>
                      <a:pt x="5598" y="2653"/>
                    </a:moveTo>
                    <a:cubicBezTo>
                      <a:pt x="7263" y="387"/>
                      <a:pt x="3656" y="-215"/>
                      <a:pt x="4118" y="63"/>
                    </a:cubicBezTo>
                    <a:cubicBezTo>
                      <a:pt x="1528" y="-353"/>
                      <a:pt x="-183" y="2514"/>
                      <a:pt x="280" y="2098"/>
                    </a:cubicBezTo>
                    <a:cubicBezTo>
                      <a:pt x="-368" y="3393"/>
                      <a:pt x="141" y="4549"/>
                      <a:pt x="1482" y="4734"/>
                    </a:cubicBezTo>
                    <a:cubicBezTo>
                      <a:pt x="3979" y="5012"/>
                      <a:pt x="6107" y="2283"/>
                      <a:pt x="5644" y="2653"/>
                    </a:cubicBezTo>
                    <a:close/>
                  </a:path>
                </a:pathLst>
              </a:custGeom>
              <a:grpFill/>
              <a:ln w="4609" cap="flat">
                <a:noFill/>
                <a:prstDash val="solid"/>
                <a:miter/>
              </a:ln>
            </p:spPr>
            <p:txBody>
              <a:bodyPr rtlCol="0" anchor="ctr"/>
              <a:lstStyle/>
              <a:p>
                <a:endParaRPr lang="en-IN"/>
              </a:p>
            </p:txBody>
          </p:sp>
          <p:sp>
            <p:nvSpPr>
              <p:cNvPr id="149" name="Freeform: Shape 148">
                <a:extLst>
                  <a:ext uri="{FF2B5EF4-FFF2-40B4-BE49-F238E27FC236}">
                    <a16:creationId xmlns:a16="http://schemas.microsoft.com/office/drawing/2014/main" id="{76578D2C-D58E-4BDA-BF9D-813AD1D07E1E}"/>
                  </a:ext>
                </a:extLst>
              </p:cNvPr>
              <p:cNvSpPr/>
              <p:nvPr/>
            </p:nvSpPr>
            <p:spPr>
              <a:xfrm>
                <a:off x="5342563" y="4686459"/>
                <a:ext cx="6352" cy="4495"/>
              </a:xfrm>
              <a:custGeom>
                <a:avLst/>
                <a:gdLst>
                  <a:gd name="connsiteX0" fmla="*/ 5314 w 6352"/>
                  <a:gd name="connsiteY0" fmla="*/ 4032 h 4495"/>
                  <a:gd name="connsiteX1" fmla="*/ 5638 w 6352"/>
                  <a:gd name="connsiteY1" fmla="*/ 1026 h 4495"/>
                  <a:gd name="connsiteX2" fmla="*/ 5546 w 6352"/>
                  <a:gd name="connsiteY2" fmla="*/ 1026 h 4495"/>
                  <a:gd name="connsiteX3" fmla="*/ 689 w 6352"/>
                  <a:gd name="connsiteY3" fmla="*/ 3199 h 4495"/>
                  <a:gd name="connsiteX4" fmla="*/ 1013 w 6352"/>
                  <a:gd name="connsiteY4" fmla="*/ 3523 h 4495"/>
                  <a:gd name="connsiteX5" fmla="*/ 5314 w 6352"/>
                  <a:gd name="connsiteY5" fmla="*/ 4032 h 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2" h="4495">
                    <a:moveTo>
                      <a:pt x="5314" y="4032"/>
                    </a:moveTo>
                    <a:cubicBezTo>
                      <a:pt x="6563" y="3338"/>
                      <a:pt x="6702" y="1997"/>
                      <a:pt x="5638" y="1026"/>
                    </a:cubicBezTo>
                    <a:lnTo>
                      <a:pt x="5546" y="1026"/>
                    </a:lnTo>
                    <a:cubicBezTo>
                      <a:pt x="2909" y="-1333"/>
                      <a:pt x="-1762" y="794"/>
                      <a:pt x="689" y="3199"/>
                    </a:cubicBezTo>
                    <a:lnTo>
                      <a:pt x="1013" y="3523"/>
                    </a:lnTo>
                    <a:cubicBezTo>
                      <a:pt x="2863" y="5327"/>
                      <a:pt x="4852" y="4078"/>
                      <a:pt x="5314" y="4032"/>
                    </a:cubicBezTo>
                    <a:close/>
                  </a:path>
                </a:pathLst>
              </a:custGeom>
              <a:grpFill/>
              <a:ln w="4609" cap="flat">
                <a:noFill/>
                <a:prstDash val="solid"/>
                <a:miter/>
              </a:ln>
            </p:spPr>
            <p:txBody>
              <a:bodyPr rtlCol="0" anchor="ctr"/>
              <a:lstStyle/>
              <a:p>
                <a:endParaRPr lang="en-IN"/>
              </a:p>
            </p:txBody>
          </p:sp>
          <p:sp>
            <p:nvSpPr>
              <p:cNvPr id="150" name="Freeform: Shape 149">
                <a:extLst>
                  <a:ext uri="{FF2B5EF4-FFF2-40B4-BE49-F238E27FC236}">
                    <a16:creationId xmlns:a16="http://schemas.microsoft.com/office/drawing/2014/main" id="{8C6952DC-BA20-710A-8E09-4676090B6B0D}"/>
                  </a:ext>
                </a:extLst>
              </p:cNvPr>
              <p:cNvSpPr/>
              <p:nvPr/>
            </p:nvSpPr>
            <p:spPr>
              <a:xfrm>
                <a:off x="5361847" y="4694828"/>
                <a:ext cx="3321" cy="5527"/>
              </a:xfrm>
              <a:custGeom>
                <a:avLst/>
                <a:gdLst>
                  <a:gd name="connsiteX0" fmla="*/ 1294 w 3321"/>
                  <a:gd name="connsiteY0" fmla="*/ 149 h 5527"/>
                  <a:gd name="connsiteX1" fmla="*/ 91 w 3321"/>
                  <a:gd name="connsiteY1" fmla="*/ 4034 h 5527"/>
                  <a:gd name="connsiteX2" fmla="*/ 2727 w 3321"/>
                  <a:gd name="connsiteY2" fmla="*/ 5051 h 5527"/>
                  <a:gd name="connsiteX3" fmla="*/ 1294 w 3321"/>
                  <a:gd name="connsiteY3" fmla="*/ 102 h 5527"/>
                </a:gdLst>
                <a:ahLst/>
                <a:cxnLst>
                  <a:cxn ang="0">
                    <a:pos x="connsiteX0" y="connsiteY0"/>
                  </a:cxn>
                  <a:cxn ang="0">
                    <a:pos x="connsiteX1" y="connsiteY1"/>
                  </a:cxn>
                  <a:cxn ang="0">
                    <a:pos x="connsiteX2" y="connsiteY2"/>
                  </a:cxn>
                  <a:cxn ang="0">
                    <a:pos x="connsiteX3" y="connsiteY3"/>
                  </a:cxn>
                </a:cxnLst>
                <a:rect l="l" t="t" r="r" b="b"/>
                <a:pathLst>
                  <a:path w="3321" h="5527">
                    <a:moveTo>
                      <a:pt x="1294" y="149"/>
                    </a:moveTo>
                    <a:cubicBezTo>
                      <a:pt x="-418" y="935"/>
                      <a:pt x="45" y="4496"/>
                      <a:pt x="91" y="4034"/>
                    </a:cubicBezTo>
                    <a:cubicBezTo>
                      <a:pt x="415" y="6670"/>
                      <a:pt x="3190" y="5005"/>
                      <a:pt x="2727" y="5051"/>
                    </a:cubicBezTo>
                    <a:cubicBezTo>
                      <a:pt x="3930" y="4265"/>
                      <a:pt x="3236" y="-776"/>
                      <a:pt x="1294" y="102"/>
                    </a:cubicBezTo>
                    <a:close/>
                  </a:path>
                </a:pathLst>
              </a:custGeom>
              <a:grpFill/>
              <a:ln w="4609" cap="flat">
                <a:noFill/>
                <a:prstDash val="solid"/>
                <a:miter/>
              </a:ln>
            </p:spPr>
            <p:txBody>
              <a:bodyPr rtlCol="0" anchor="ctr"/>
              <a:lstStyle/>
              <a:p>
                <a:endParaRPr lang="en-IN"/>
              </a:p>
            </p:txBody>
          </p:sp>
          <p:sp>
            <p:nvSpPr>
              <p:cNvPr id="151" name="Freeform: Shape 150">
                <a:extLst>
                  <a:ext uri="{FF2B5EF4-FFF2-40B4-BE49-F238E27FC236}">
                    <a16:creationId xmlns:a16="http://schemas.microsoft.com/office/drawing/2014/main" id="{0B19712A-9839-5EDE-1BA3-1A732C278787}"/>
                  </a:ext>
                </a:extLst>
              </p:cNvPr>
              <p:cNvSpPr/>
              <p:nvPr/>
            </p:nvSpPr>
            <p:spPr>
              <a:xfrm>
                <a:off x="5346211" y="4657746"/>
                <a:ext cx="80152" cy="53297"/>
              </a:xfrm>
              <a:custGeom>
                <a:avLst/>
                <a:gdLst>
                  <a:gd name="connsiteX0" fmla="*/ 17855 w 80152"/>
                  <a:gd name="connsiteY0" fmla="*/ 10637 h 53297"/>
                  <a:gd name="connsiteX1" fmla="*/ 742 w 80152"/>
                  <a:gd name="connsiteY1" fmla="*/ 10637 h 53297"/>
                  <a:gd name="connsiteX2" fmla="*/ 1343 w 80152"/>
                  <a:gd name="connsiteY2" fmla="*/ 12349 h 53297"/>
                  <a:gd name="connsiteX3" fmla="*/ 1112 w 80152"/>
                  <a:gd name="connsiteY3" fmla="*/ 19286 h 53297"/>
                  <a:gd name="connsiteX4" fmla="*/ 7680 w 80152"/>
                  <a:gd name="connsiteY4" fmla="*/ 22292 h 53297"/>
                  <a:gd name="connsiteX5" fmla="*/ 8373 w 80152"/>
                  <a:gd name="connsiteY5" fmla="*/ 21090 h 53297"/>
                  <a:gd name="connsiteX6" fmla="*/ 12675 w 80152"/>
                  <a:gd name="connsiteY6" fmla="*/ 18176 h 53297"/>
                  <a:gd name="connsiteX7" fmla="*/ 14016 w 80152"/>
                  <a:gd name="connsiteY7" fmla="*/ 19980 h 53297"/>
                  <a:gd name="connsiteX8" fmla="*/ 12628 w 80152"/>
                  <a:gd name="connsiteY8" fmla="*/ 22662 h 53297"/>
                  <a:gd name="connsiteX9" fmla="*/ 15542 w 80152"/>
                  <a:gd name="connsiteY9" fmla="*/ 24512 h 53297"/>
                  <a:gd name="connsiteX10" fmla="*/ 23821 w 80152"/>
                  <a:gd name="connsiteY10" fmla="*/ 19702 h 53297"/>
                  <a:gd name="connsiteX11" fmla="*/ 27845 w 80152"/>
                  <a:gd name="connsiteY11" fmla="*/ 22477 h 53297"/>
                  <a:gd name="connsiteX12" fmla="*/ 21000 w 80152"/>
                  <a:gd name="connsiteY12" fmla="*/ 28397 h 53297"/>
                  <a:gd name="connsiteX13" fmla="*/ 21370 w 80152"/>
                  <a:gd name="connsiteY13" fmla="*/ 32375 h 53297"/>
                  <a:gd name="connsiteX14" fmla="*/ 26365 w 80152"/>
                  <a:gd name="connsiteY14" fmla="*/ 32236 h 53297"/>
                  <a:gd name="connsiteX15" fmla="*/ 25763 w 80152"/>
                  <a:gd name="connsiteY15" fmla="*/ 39590 h 53297"/>
                  <a:gd name="connsiteX16" fmla="*/ 33672 w 80152"/>
                  <a:gd name="connsiteY16" fmla="*/ 45232 h 53297"/>
                  <a:gd name="connsiteX17" fmla="*/ 36724 w 80152"/>
                  <a:gd name="connsiteY17" fmla="*/ 45463 h 53297"/>
                  <a:gd name="connsiteX18" fmla="*/ 37418 w 80152"/>
                  <a:gd name="connsiteY18" fmla="*/ 52771 h 53297"/>
                  <a:gd name="connsiteX19" fmla="*/ 37742 w 80152"/>
                  <a:gd name="connsiteY19" fmla="*/ 52956 h 53297"/>
                  <a:gd name="connsiteX20" fmla="*/ 45096 w 80152"/>
                  <a:gd name="connsiteY20" fmla="*/ 46620 h 53297"/>
                  <a:gd name="connsiteX21" fmla="*/ 46576 w 80152"/>
                  <a:gd name="connsiteY21" fmla="*/ 47637 h 53297"/>
                  <a:gd name="connsiteX22" fmla="*/ 46576 w 80152"/>
                  <a:gd name="connsiteY22" fmla="*/ 47637 h 53297"/>
                  <a:gd name="connsiteX23" fmla="*/ 52773 w 80152"/>
                  <a:gd name="connsiteY23" fmla="*/ 35057 h 53297"/>
                  <a:gd name="connsiteX24" fmla="*/ 80153 w 80152"/>
                  <a:gd name="connsiteY24" fmla="*/ 29276 h 53297"/>
                  <a:gd name="connsiteX25" fmla="*/ 71874 w 80152"/>
                  <a:gd name="connsiteY25" fmla="*/ 16049 h 53297"/>
                  <a:gd name="connsiteX26" fmla="*/ 78997 w 80152"/>
                  <a:gd name="connsiteY26" fmla="*/ 9620 h 53297"/>
                  <a:gd name="connsiteX27" fmla="*/ 77840 w 80152"/>
                  <a:gd name="connsiteY27" fmla="*/ 0 h 53297"/>
                  <a:gd name="connsiteX28" fmla="*/ 34366 w 80152"/>
                  <a:gd name="connsiteY28" fmla="*/ 0 h 53297"/>
                  <a:gd name="connsiteX29" fmla="*/ 17808 w 80152"/>
                  <a:gd name="connsiteY29" fmla="*/ 10730 h 53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152" h="53297">
                    <a:moveTo>
                      <a:pt x="17855" y="10637"/>
                    </a:moveTo>
                    <a:lnTo>
                      <a:pt x="742" y="10637"/>
                    </a:lnTo>
                    <a:cubicBezTo>
                      <a:pt x="1482" y="10684"/>
                      <a:pt x="1760" y="11331"/>
                      <a:pt x="1343" y="12349"/>
                    </a:cubicBezTo>
                    <a:cubicBezTo>
                      <a:pt x="1158" y="13320"/>
                      <a:pt x="-1432" y="16742"/>
                      <a:pt x="1112" y="19286"/>
                    </a:cubicBezTo>
                    <a:cubicBezTo>
                      <a:pt x="2685" y="20442"/>
                      <a:pt x="5783" y="25669"/>
                      <a:pt x="7680" y="22292"/>
                    </a:cubicBezTo>
                    <a:lnTo>
                      <a:pt x="8373" y="21090"/>
                    </a:lnTo>
                    <a:cubicBezTo>
                      <a:pt x="9761" y="18685"/>
                      <a:pt x="13137" y="17991"/>
                      <a:pt x="12675" y="18176"/>
                    </a:cubicBezTo>
                    <a:cubicBezTo>
                      <a:pt x="14108" y="17899"/>
                      <a:pt x="14710" y="18685"/>
                      <a:pt x="14016" y="19980"/>
                    </a:cubicBezTo>
                    <a:lnTo>
                      <a:pt x="12628" y="22662"/>
                    </a:lnTo>
                    <a:cubicBezTo>
                      <a:pt x="11102" y="25530"/>
                      <a:pt x="16005" y="24605"/>
                      <a:pt x="15542" y="24512"/>
                    </a:cubicBezTo>
                    <a:cubicBezTo>
                      <a:pt x="19427" y="24050"/>
                      <a:pt x="24283" y="19332"/>
                      <a:pt x="23821" y="19702"/>
                    </a:cubicBezTo>
                    <a:cubicBezTo>
                      <a:pt x="26550" y="17529"/>
                      <a:pt x="30804" y="20720"/>
                      <a:pt x="27845" y="22477"/>
                    </a:cubicBezTo>
                    <a:cubicBezTo>
                      <a:pt x="26226" y="23634"/>
                      <a:pt x="22433" y="24882"/>
                      <a:pt x="21000" y="28397"/>
                    </a:cubicBezTo>
                    <a:cubicBezTo>
                      <a:pt x="20861" y="28952"/>
                      <a:pt x="18132" y="33762"/>
                      <a:pt x="21370" y="32375"/>
                    </a:cubicBezTo>
                    <a:cubicBezTo>
                      <a:pt x="22387" y="32097"/>
                      <a:pt x="27798" y="28860"/>
                      <a:pt x="26365" y="32236"/>
                    </a:cubicBezTo>
                    <a:cubicBezTo>
                      <a:pt x="26087" y="33346"/>
                      <a:pt x="23543" y="36815"/>
                      <a:pt x="25763" y="39590"/>
                    </a:cubicBezTo>
                    <a:cubicBezTo>
                      <a:pt x="28030" y="41763"/>
                      <a:pt x="30203" y="47360"/>
                      <a:pt x="33672" y="45232"/>
                    </a:cubicBezTo>
                    <a:cubicBezTo>
                      <a:pt x="34134" y="45093"/>
                      <a:pt x="37603" y="42226"/>
                      <a:pt x="36724" y="45463"/>
                    </a:cubicBezTo>
                    <a:cubicBezTo>
                      <a:pt x="36586" y="46851"/>
                      <a:pt x="34134" y="51106"/>
                      <a:pt x="37418" y="52771"/>
                    </a:cubicBezTo>
                    <a:lnTo>
                      <a:pt x="37742" y="52956"/>
                    </a:lnTo>
                    <a:cubicBezTo>
                      <a:pt x="42136" y="55130"/>
                      <a:pt x="40517" y="46203"/>
                      <a:pt x="45096" y="46620"/>
                    </a:cubicBezTo>
                    <a:cubicBezTo>
                      <a:pt x="46113" y="46712"/>
                      <a:pt x="46529" y="47082"/>
                      <a:pt x="46576" y="47637"/>
                    </a:cubicBezTo>
                    <a:lnTo>
                      <a:pt x="46576" y="47637"/>
                    </a:lnTo>
                    <a:cubicBezTo>
                      <a:pt x="46576" y="47637"/>
                      <a:pt x="52773" y="35057"/>
                      <a:pt x="52773" y="35057"/>
                    </a:cubicBezTo>
                    <a:lnTo>
                      <a:pt x="80153" y="29276"/>
                    </a:lnTo>
                    <a:lnTo>
                      <a:pt x="71874" y="16049"/>
                    </a:lnTo>
                    <a:lnTo>
                      <a:pt x="78997" y="9620"/>
                    </a:lnTo>
                    <a:lnTo>
                      <a:pt x="77840" y="0"/>
                    </a:lnTo>
                    <a:lnTo>
                      <a:pt x="34366" y="0"/>
                    </a:lnTo>
                    <a:lnTo>
                      <a:pt x="17808" y="10730"/>
                    </a:lnTo>
                    <a:close/>
                  </a:path>
                </a:pathLst>
              </a:custGeom>
              <a:grpFill/>
              <a:ln w="4609" cap="flat">
                <a:noFill/>
                <a:prstDash val="solid"/>
                <a:miter/>
              </a:ln>
            </p:spPr>
            <p:txBody>
              <a:bodyPr rtlCol="0" anchor="ctr"/>
              <a:lstStyle/>
              <a:p>
                <a:endParaRPr lang="en-IN"/>
              </a:p>
            </p:txBody>
          </p:sp>
        </p:grpSp>
        <p:sp>
          <p:nvSpPr>
            <p:cNvPr id="102" name="Freeform: Shape 101">
              <a:extLst>
                <a:ext uri="{FF2B5EF4-FFF2-40B4-BE49-F238E27FC236}">
                  <a16:creationId xmlns:a16="http://schemas.microsoft.com/office/drawing/2014/main" id="{A9D72D0E-D914-1E06-9BA0-40B6491A41ED}"/>
                </a:ext>
              </a:extLst>
            </p:cNvPr>
            <p:cNvSpPr/>
            <p:nvPr/>
          </p:nvSpPr>
          <p:spPr>
            <a:xfrm>
              <a:off x="5391485" y="4657561"/>
              <a:ext cx="208592" cy="161550"/>
            </a:xfrm>
            <a:custGeom>
              <a:avLst/>
              <a:gdLst>
                <a:gd name="connsiteX0" fmla="*/ 654 w 208592"/>
                <a:gd name="connsiteY0" fmla="*/ 55685 h 161550"/>
                <a:gd name="connsiteX1" fmla="*/ 10968 w 208592"/>
                <a:gd name="connsiteY1" fmla="*/ 69837 h 161550"/>
                <a:gd name="connsiteX2" fmla="*/ 31688 w 208592"/>
                <a:gd name="connsiteY2" fmla="*/ 82186 h 161550"/>
                <a:gd name="connsiteX3" fmla="*/ 32197 w 208592"/>
                <a:gd name="connsiteY3" fmla="*/ 87227 h 161550"/>
                <a:gd name="connsiteX4" fmla="*/ 33122 w 208592"/>
                <a:gd name="connsiteY4" fmla="*/ 91204 h 161550"/>
                <a:gd name="connsiteX5" fmla="*/ 42001 w 208592"/>
                <a:gd name="connsiteY5" fmla="*/ 98096 h 161550"/>
                <a:gd name="connsiteX6" fmla="*/ 43204 w 208592"/>
                <a:gd name="connsiteY6" fmla="*/ 103507 h 161550"/>
                <a:gd name="connsiteX7" fmla="*/ 45794 w 208592"/>
                <a:gd name="connsiteY7" fmla="*/ 108872 h 161550"/>
                <a:gd name="connsiteX8" fmla="*/ 45933 w 208592"/>
                <a:gd name="connsiteY8" fmla="*/ 108872 h 161550"/>
                <a:gd name="connsiteX9" fmla="*/ 52639 w 208592"/>
                <a:gd name="connsiteY9" fmla="*/ 107993 h 161550"/>
                <a:gd name="connsiteX10" fmla="*/ 70769 w 208592"/>
                <a:gd name="connsiteY10" fmla="*/ 81770 h 161550"/>
                <a:gd name="connsiteX11" fmla="*/ 104670 w 208592"/>
                <a:gd name="connsiteY11" fmla="*/ 78671 h 161550"/>
                <a:gd name="connsiteX12" fmla="*/ 119886 w 208592"/>
                <a:gd name="connsiteY12" fmla="*/ 96384 h 161550"/>
                <a:gd name="connsiteX13" fmla="*/ 118175 w 208592"/>
                <a:gd name="connsiteY13" fmla="*/ 105264 h 161550"/>
                <a:gd name="connsiteX14" fmla="*/ 123771 w 208592"/>
                <a:gd name="connsiteY14" fmla="*/ 106421 h 161550"/>
                <a:gd name="connsiteX15" fmla="*/ 125806 w 208592"/>
                <a:gd name="connsiteY15" fmla="*/ 114052 h 161550"/>
                <a:gd name="connsiteX16" fmla="*/ 118082 w 208592"/>
                <a:gd name="connsiteY16" fmla="*/ 124643 h 161550"/>
                <a:gd name="connsiteX17" fmla="*/ 124557 w 208592"/>
                <a:gd name="connsiteY17" fmla="*/ 127834 h 161550"/>
                <a:gd name="connsiteX18" fmla="*/ 129552 w 208592"/>
                <a:gd name="connsiteY18" fmla="*/ 122423 h 161550"/>
                <a:gd name="connsiteX19" fmla="*/ 134038 w 208592"/>
                <a:gd name="connsiteY19" fmla="*/ 122423 h 161550"/>
                <a:gd name="connsiteX20" fmla="*/ 150735 w 208592"/>
                <a:gd name="connsiteY20" fmla="*/ 122516 h 161550"/>
                <a:gd name="connsiteX21" fmla="*/ 159429 w 208592"/>
                <a:gd name="connsiteY21" fmla="*/ 145363 h 161550"/>
                <a:gd name="connsiteX22" fmla="*/ 155683 w 208592"/>
                <a:gd name="connsiteY22" fmla="*/ 154613 h 161550"/>
                <a:gd name="connsiteX23" fmla="*/ 166691 w 208592"/>
                <a:gd name="connsiteY23" fmla="*/ 161550 h 161550"/>
                <a:gd name="connsiteX24" fmla="*/ 174507 w 208592"/>
                <a:gd name="connsiteY24" fmla="*/ 158960 h 161550"/>
                <a:gd name="connsiteX25" fmla="*/ 178854 w 208592"/>
                <a:gd name="connsiteY25" fmla="*/ 147398 h 161550"/>
                <a:gd name="connsiteX26" fmla="*/ 185838 w 208592"/>
                <a:gd name="connsiteY26" fmla="*/ 149340 h 161550"/>
                <a:gd name="connsiteX27" fmla="*/ 192406 w 208592"/>
                <a:gd name="connsiteY27" fmla="*/ 151144 h 161550"/>
                <a:gd name="connsiteX28" fmla="*/ 199621 w 208592"/>
                <a:gd name="connsiteY28" fmla="*/ 133800 h 161550"/>
                <a:gd name="connsiteX29" fmla="*/ 191527 w 208592"/>
                <a:gd name="connsiteY29" fmla="*/ 131765 h 161550"/>
                <a:gd name="connsiteX30" fmla="*/ 195689 w 208592"/>
                <a:gd name="connsiteY30" fmla="*/ 122978 h 161550"/>
                <a:gd name="connsiteX31" fmla="*/ 208593 w 208592"/>
                <a:gd name="connsiteY31" fmla="*/ 127418 h 161550"/>
                <a:gd name="connsiteX32" fmla="*/ 208315 w 208592"/>
                <a:gd name="connsiteY32" fmla="*/ 119047 h 161550"/>
                <a:gd name="connsiteX33" fmla="*/ 201100 w 208592"/>
                <a:gd name="connsiteY33" fmla="*/ 114977 h 161550"/>
                <a:gd name="connsiteX34" fmla="*/ 202858 w 208592"/>
                <a:gd name="connsiteY34" fmla="*/ 96477 h 161550"/>
                <a:gd name="connsiteX35" fmla="*/ 195921 w 208592"/>
                <a:gd name="connsiteY35" fmla="*/ 96477 h 161550"/>
                <a:gd name="connsiteX36" fmla="*/ 195643 w 208592"/>
                <a:gd name="connsiteY36" fmla="*/ 78532 h 161550"/>
                <a:gd name="connsiteX37" fmla="*/ 203228 w 208592"/>
                <a:gd name="connsiteY37" fmla="*/ 72658 h 161550"/>
                <a:gd name="connsiteX38" fmla="*/ 203043 w 208592"/>
                <a:gd name="connsiteY38" fmla="*/ 72473 h 161550"/>
                <a:gd name="connsiteX39" fmla="*/ 191481 w 208592"/>
                <a:gd name="connsiteY39" fmla="*/ 64750 h 161550"/>
                <a:gd name="connsiteX40" fmla="*/ 190509 w 208592"/>
                <a:gd name="connsiteY40" fmla="*/ 50643 h 161550"/>
                <a:gd name="connsiteX41" fmla="*/ 179502 w 208592"/>
                <a:gd name="connsiteY41" fmla="*/ 49348 h 161550"/>
                <a:gd name="connsiteX42" fmla="*/ 186069 w 208592"/>
                <a:gd name="connsiteY42" fmla="*/ 37000 h 161550"/>
                <a:gd name="connsiteX43" fmla="*/ 175432 w 208592"/>
                <a:gd name="connsiteY43" fmla="*/ 27010 h 161550"/>
                <a:gd name="connsiteX44" fmla="*/ 171038 w 208592"/>
                <a:gd name="connsiteY44" fmla="*/ 9666 h 161550"/>
                <a:gd name="connsiteX45" fmla="*/ 159106 w 208592"/>
                <a:gd name="connsiteY45" fmla="*/ 5411 h 161550"/>
                <a:gd name="connsiteX46" fmla="*/ 160262 w 208592"/>
                <a:gd name="connsiteY46" fmla="*/ 11979 h 161550"/>
                <a:gd name="connsiteX47" fmla="*/ 149856 w 208592"/>
                <a:gd name="connsiteY47" fmla="*/ 19286 h 161550"/>
                <a:gd name="connsiteX48" fmla="*/ 131726 w 208592"/>
                <a:gd name="connsiteY48" fmla="*/ 13875 h 161550"/>
                <a:gd name="connsiteX49" fmla="*/ 121320 w 208592"/>
                <a:gd name="connsiteY49" fmla="*/ 23125 h 161550"/>
                <a:gd name="connsiteX50" fmla="*/ 113226 w 208592"/>
                <a:gd name="connsiteY50" fmla="*/ 15031 h 161550"/>
                <a:gd name="connsiteX51" fmla="*/ 105502 w 208592"/>
                <a:gd name="connsiteY51" fmla="*/ 20812 h 161550"/>
                <a:gd name="connsiteX52" fmla="*/ 95466 w 208592"/>
                <a:gd name="connsiteY52" fmla="*/ 15031 h 161550"/>
                <a:gd name="connsiteX53" fmla="*/ 100461 w 208592"/>
                <a:gd name="connsiteY53" fmla="*/ 7307 h 161550"/>
                <a:gd name="connsiteX54" fmla="*/ 73498 w 208592"/>
                <a:gd name="connsiteY54" fmla="*/ 11562 h 161550"/>
                <a:gd name="connsiteX55" fmla="*/ 51899 w 208592"/>
                <a:gd name="connsiteY55" fmla="*/ 0 h 161550"/>
                <a:gd name="connsiteX56" fmla="*/ 32613 w 208592"/>
                <a:gd name="connsiteY56" fmla="*/ 0 h 161550"/>
                <a:gd name="connsiteX57" fmla="*/ 33769 w 208592"/>
                <a:gd name="connsiteY57" fmla="*/ 9620 h 161550"/>
                <a:gd name="connsiteX58" fmla="*/ 26647 w 208592"/>
                <a:gd name="connsiteY58" fmla="*/ 16049 h 161550"/>
                <a:gd name="connsiteX59" fmla="*/ 34925 w 208592"/>
                <a:gd name="connsiteY59" fmla="*/ 29276 h 161550"/>
                <a:gd name="connsiteX60" fmla="*/ 7545 w 208592"/>
                <a:gd name="connsiteY60" fmla="*/ 35057 h 161550"/>
                <a:gd name="connsiteX61" fmla="*/ 1348 w 208592"/>
                <a:gd name="connsiteY61" fmla="*/ 47591 h 161550"/>
                <a:gd name="connsiteX62" fmla="*/ 1348 w 208592"/>
                <a:gd name="connsiteY62" fmla="*/ 47591 h 161550"/>
                <a:gd name="connsiteX63" fmla="*/ 700 w 208592"/>
                <a:gd name="connsiteY63" fmla="*/ 55592 h 16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08592" h="161550">
                  <a:moveTo>
                    <a:pt x="654" y="55685"/>
                  </a:moveTo>
                  <a:cubicBezTo>
                    <a:pt x="7037" y="65813"/>
                    <a:pt x="7962" y="68080"/>
                    <a:pt x="10968" y="69837"/>
                  </a:cubicBezTo>
                  <a:lnTo>
                    <a:pt x="31688" y="82186"/>
                  </a:lnTo>
                  <a:cubicBezTo>
                    <a:pt x="34370" y="83804"/>
                    <a:pt x="32104" y="87689"/>
                    <a:pt x="32197" y="87227"/>
                  </a:cubicBezTo>
                  <a:cubicBezTo>
                    <a:pt x="31595" y="88522"/>
                    <a:pt x="32012" y="90326"/>
                    <a:pt x="33122" y="91204"/>
                  </a:cubicBezTo>
                  <a:lnTo>
                    <a:pt x="42001" y="98096"/>
                  </a:lnTo>
                  <a:cubicBezTo>
                    <a:pt x="44453" y="99992"/>
                    <a:pt x="43204" y="103969"/>
                    <a:pt x="43204" y="103507"/>
                  </a:cubicBezTo>
                  <a:cubicBezTo>
                    <a:pt x="42556" y="106421"/>
                    <a:pt x="45008" y="107114"/>
                    <a:pt x="45794" y="108872"/>
                  </a:cubicBezTo>
                  <a:lnTo>
                    <a:pt x="45933" y="108872"/>
                  </a:lnTo>
                  <a:cubicBezTo>
                    <a:pt x="45933" y="108872"/>
                    <a:pt x="52639" y="107993"/>
                    <a:pt x="52639" y="107993"/>
                  </a:cubicBezTo>
                  <a:lnTo>
                    <a:pt x="70769" y="81770"/>
                  </a:lnTo>
                  <a:lnTo>
                    <a:pt x="104670" y="78671"/>
                  </a:lnTo>
                  <a:lnTo>
                    <a:pt x="119886" y="96384"/>
                  </a:lnTo>
                  <a:lnTo>
                    <a:pt x="118175" y="105264"/>
                  </a:lnTo>
                  <a:lnTo>
                    <a:pt x="123771" y="106421"/>
                  </a:lnTo>
                  <a:lnTo>
                    <a:pt x="125806" y="114052"/>
                  </a:lnTo>
                  <a:lnTo>
                    <a:pt x="118082" y="124643"/>
                  </a:lnTo>
                  <a:lnTo>
                    <a:pt x="124557" y="127834"/>
                  </a:lnTo>
                  <a:lnTo>
                    <a:pt x="129552" y="122423"/>
                  </a:lnTo>
                  <a:lnTo>
                    <a:pt x="134038" y="122423"/>
                  </a:lnTo>
                  <a:cubicBezTo>
                    <a:pt x="134038" y="122423"/>
                    <a:pt x="150735" y="122516"/>
                    <a:pt x="150735" y="122516"/>
                  </a:cubicBezTo>
                  <a:lnTo>
                    <a:pt x="159429" y="145363"/>
                  </a:lnTo>
                  <a:lnTo>
                    <a:pt x="155683" y="154613"/>
                  </a:lnTo>
                  <a:lnTo>
                    <a:pt x="166691" y="161550"/>
                  </a:lnTo>
                  <a:lnTo>
                    <a:pt x="174507" y="158960"/>
                  </a:lnTo>
                  <a:lnTo>
                    <a:pt x="178854" y="147398"/>
                  </a:lnTo>
                  <a:lnTo>
                    <a:pt x="185838" y="149340"/>
                  </a:lnTo>
                  <a:lnTo>
                    <a:pt x="192406" y="151144"/>
                  </a:lnTo>
                  <a:lnTo>
                    <a:pt x="199621" y="133800"/>
                  </a:lnTo>
                  <a:lnTo>
                    <a:pt x="191527" y="131765"/>
                  </a:lnTo>
                  <a:lnTo>
                    <a:pt x="195689" y="122978"/>
                  </a:lnTo>
                  <a:lnTo>
                    <a:pt x="208593" y="127418"/>
                  </a:lnTo>
                  <a:lnTo>
                    <a:pt x="208315" y="119047"/>
                  </a:lnTo>
                  <a:lnTo>
                    <a:pt x="201100" y="114977"/>
                  </a:lnTo>
                  <a:lnTo>
                    <a:pt x="202858" y="96477"/>
                  </a:lnTo>
                  <a:lnTo>
                    <a:pt x="195921" y="96477"/>
                  </a:lnTo>
                  <a:lnTo>
                    <a:pt x="195643" y="78532"/>
                  </a:lnTo>
                  <a:lnTo>
                    <a:pt x="203228" y="72658"/>
                  </a:lnTo>
                  <a:lnTo>
                    <a:pt x="203043" y="72473"/>
                  </a:lnTo>
                  <a:lnTo>
                    <a:pt x="191481" y="64750"/>
                  </a:lnTo>
                  <a:lnTo>
                    <a:pt x="190509" y="50643"/>
                  </a:lnTo>
                  <a:lnTo>
                    <a:pt x="179502" y="49348"/>
                  </a:lnTo>
                  <a:lnTo>
                    <a:pt x="186069" y="37000"/>
                  </a:lnTo>
                  <a:lnTo>
                    <a:pt x="175432" y="27010"/>
                  </a:lnTo>
                  <a:lnTo>
                    <a:pt x="171038" y="9666"/>
                  </a:lnTo>
                  <a:lnTo>
                    <a:pt x="159106" y="5411"/>
                  </a:lnTo>
                  <a:lnTo>
                    <a:pt x="160262" y="11979"/>
                  </a:lnTo>
                  <a:lnTo>
                    <a:pt x="149856" y="19286"/>
                  </a:lnTo>
                  <a:lnTo>
                    <a:pt x="131726" y="13875"/>
                  </a:lnTo>
                  <a:lnTo>
                    <a:pt x="121320" y="23125"/>
                  </a:lnTo>
                  <a:lnTo>
                    <a:pt x="113226" y="15031"/>
                  </a:lnTo>
                  <a:lnTo>
                    <a:pt x="105502" y="20812"/>
                  </a:lnTo>
                  <a:lnTo>
                    <a:pt x="95466" y="15031"/>
                  </a:lnTo>
                  <a:lnTo>
                    <a:pt x="100461" y="7307"/>
                  </a:lnTo>
                  <a:lnTo>
                    <a:pt x="73498" y="11562"/>
                  </a:lnTo>
                  <a:lnTo>
                    <a:pt x="51899" y="0"/>
                  </a:lnTo>
                  <a:lnTo>
                    <a:pt x="32613" y="0"/>
                  </a:lnTo>
                  <a:lnTo>
                    <a:pt x="33769" y="9620"/>
                  </a:lnTo>
                  <a:lnTo>
                    <a:pt x="26647" y="16049"/>
                  </a:lnTo>
                  <a:lnTo>
                    <a:pt x="34925" y="29276"/>
                  </a:lnTo>
                  <a:lnTo>
                    <a:pt x="7545" y="35057"/>
                  </a:lnTo>
                  <a:lnTo>
                    <a:pt x="1348" y="47591"/>
                  </a:lnTo>
                  <a:lnTo>
                    <a:pt x="1348" y="47591"/>
                  </a:lnTo>
                  <a:cubicBezTo>
                    <a:pt x="1487" y="49256"/>
                    <a:pt x="-1242" y="52540"/>
                    <a:pt x="700" y="55592"/>
                  </a:cubicBezTo>
                  <a:close/>
                </a:path>
              </a:pathLst>
            </a:custGeom>
            <a:grpFill/>
            <a:ln w="4609" cap="flat">
              <a:noFill/>
              <a:prstDash val="solid"/>
              <a:miter/>
            </a:ln>
          </p:spPr>
          <p:txBody>
            <a:bodyPr rtlCol="0" anchor="ctr"/>
            <a:lstStyle/>
            <a:p>
              <a:endParaRPr lang="en-IN"/>
            </a:p>
          </p:txBody>
        </p:sp>
        <p:sp>
          <p:nvSpPr>
            <p:cNvPr id="103" name="Freeform: Shape 102">
              <a:extLst>
                <a:ext uri="{FF2B5EF4-FFF2-40B4-BE49-F238E27FC236}">
                  <a16:creationId xmlns:a16="http://schemas.microsoft.com/office/drawing/2014/main" id="{96059DAA-9CAE-6DED-E238-D63F6C9A33AD}"/>
                </a:ext>
              </a:extLst>
            </p:cNvPr>
            <p:cNvSpPr/>
            <p:nvPr/>
          </p:nvSpPr>
          <p:spPr>
            <a:xfrm>
              <a:off x="5730733" y="4702701"/>
              <a:ext cx="123625" cy="184662"/>
            </a:xfrm>
            <a:custGeom>
              <a:avLst/>
              <a:gdLst>
                <a:gd name="connsiteX0" fmla="*/ 108918 w 123625"/>
                <a:gd name="connsiteY0" fmla="*/ 124551 h 184662"/>
                <a:gd name="connsiteX1" fmla="*/ 112664 w 123625"/>
                <a:gd name="connsiteY1" fmla="*/ 83805 h 184662"/>
                <a:gd name="connsiteX2" fmla="*/ 102859 w 123625"/>
                <a:gd name="connsiteY2" fmla="*/ 72520 h 184662"/>
                <a:gd name="connsiteX3" fmla="*/ 102304 w 123625"/>
                <a:gd name="connsiteY3" fmla="*/ 27056 h 184662"/>
                <a:gd name="connsiteX4" fmla="*/ 91621 w 123625"/>
                <a:gd name="connsiteY4" fmla="*/ 16465 h 184662"/>
                <a:gd name="connsiteX5" fmla="*/ 93378 w 123625"/>
                <a:gd name="connsiteY5" fmla="*/ 2035 h 184662"/>
                <a:gd name="connsiteX6" fmla="*/ 93378 w 123625"/>
                <a:gd name="connsiteY6" fmla="*/ 1758 h 184662"/>
                <a:gd name="connsiteX7" fmla="*/ 85284 w 123625"/>
                <a:gd name="connsiteY7" fmla="*/ 0 h 184662"/>
                <a:gd name="connsiteX8" fmla="*/ 76590 w 123625"/>
                <a:gd name="connsiteY8" fmla="*/ 7493 h 184662"/>
                <a:gd name="connsiteX9" fmla="*/ 69930 w 123625"/>
                <a:gd name="connsiteY9" fmla="*/ 4301 h 184662"/>
                <a:gd name="connsiteX10" fmla="*/ 10360 w 123625"/>
                <a:gd name="connsiteY10" fmla="*/ 5087 h 184662"/>
                <a:gd name="connsiteX11" fmla="*/ 7261 w 123625"/>
                <a:gd name="connsiteY11" fmla="*/ 17806 h 184662"/>
                <a:gd name="connsiteX12" fmla="*/ 12534 w 123625"/>
                <a:gd name="connsiteY12" fmla="*/ 22616 h 184662"/>
                <a:gd name="connsiteX13" fmla="*/ 14707 w 123625"/>
                <a:gd name="connsiteY13" fmla="*/ 49441 h 184662"/>
                <a:gd name="connsiteX14" fmla="*/ 13597 w 123625"/>
                <a:gd name="connsiteY14" fmla="*/ 62992 h 184662"/>
                <a:gd name="connsiteX15" fmla="*/ 21784 w 123625"/>
                <a:gd name="connsiteY15" fmla="*/ 86024 h 184662"/>
                <a:gd name="connsiteX16" fmla="*/ 11007 w 123625"/>
                <a:gd name="connsiteY16" fmla="*/ 96801 h 184662"/>
                <a:gd name="connsiteX17" fmla="*/ 0 w 123625"/>
                <a:gd name="connsiteY17" fmla="*/ 131488 h 184662"/>
                <a:gd name="connsiteX18" fmla="*/ 6382 w 123625"/>
                <a:gd name="connsiteY18" fmla="*/ 160394 h 184662"/>
                <a:gd name="connsiteX19" fmla="*/ 13875 w 123625"/>
                <a:gd name="connsiteY19" fmla="*/ 165019 h 184662"/>
                <a:gd name="connsiteX20" fmla="*/ 12441 w 123625"/>
                <a:gd name="connsiteY20" fmla="*/ 176859 h 184662"/>
                <a:gd name="connsiteX21" fmla="*/ 12441 w 123625"/>
                <a:gd name="connsiteY21" fmla="*/ 176998 h 184662"/>
                <a:gd name="connsiteX22" fmla="*/ 24096 w 123625"/>
                <a:gd name="connsiteY22" fmla="*/ 180189 h 184662"/>
                <a:gd name="connsiteX23" fmla="*/ 35520 w 123625"/>
                <a:gd name="connsiteY23" fmla="*/ 183935 h 184662"/>
                <a:gd name="connsiteX24" fmla="*/ 47868 w 123625"/>
                <a:gd name="connsiteY24" fmla="*/ 176350 h 184662"/>
                <a:gd name="connsiteX25" fmla="*/ 69698 w 123625"/>
                <a:gd name="connsiteY25" fmla="*/ 170153 h 184662"/>
                <a:gd name="connsiteX26" fmla="*/ 81261 w 123625"/>
                <a:gd name="connsiteY26" fmla="*/ 163215 h 184662"/>
                <a:gd name="connsiteX27" fmla="*/ 106883 w 123625"/>
                <a:gd name="connsiteY27" fmla="*/ 153503 h 184662"/>
                <a:gd name="connsiteX28" fmla="*/ 117983 w 123625"/>
                <a:gd name="connsiteY28" fmla="*/ 153457 h 184662"/>
                <a:gd name="connsiteX29" fmla="*/ 120111 w 123625"/>
                <a:gd name="connsiteY29" fmla="*/ 149849 h 184662"/>
                <a:gd name="connsiteX30" fmla="*/ 122330 w 123625"/>
                <a:gd name="connsiteY30" fmla="*/ 148647 h 184662"/>
                <a:gd name="connsiteX31" fmla="*/ 123625 w 123625"/>
                <a:gd name="connsiteY31" fmla="*/ 146797 h 184662"/>
                <a:gd name="connsiteX32" fmla="*/ 123625 w 123625"/>
                <a:gd name="connsiteY32" fmla="*/ 146797 h 184662"/>
                <a:gd name="connsiteX33" fmla="*/ 109011 w 123625"/>
                <a:gd name="connsiteY33" fmla="*/ 124597 h 184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3625" h="184662">
                  <a:moveTo>
                    <a:pt x="108918" y="124551"/>
                  </a:moveTo>
                  <a:lnTo>
                    <a:pt x="112664" y="83805"/>
                  </a:lnTo>
                  <a:lnTo>
                    <a:pt x="102859" y="72520"/>
                  </a:lnTo>
                  <a:lnTo>
                    <a:pt x="102304" y="27056"/>
                  </a:lnTo>
                  <a:lnTo>
                    <a:pt x="91621" y="16465"/>
                  </a:lnTo>
                  <a:lnTo>
                    <a:pt x="93378" y="2035"/>
                  </a:lnTo>
                  <a:cubicBezTo>
                    <a:pt x="93378" y="2035"/>
                    <a:pt x="93378" y="1850"/>
                    <a:pt x="93378" y="1758"/>
                  </a:cubicBezTo>
                  <a:lnTo>
                    <a:pt x="85284" y="0"/>
                  </a:lnTo>
                  <a:lnTo>
                    <a:pt x="76590" y="7493"/>
                  </a:lnTo>
                  <a:lnTo>
                    <a:pt x="69930" y="4301"/>
                  </a:lnTo>
                  <a:lnTo>
                    <a:pt x="10360" y="5087"/>
                  </a:lnTo>
                  <a:lnTo>
                    <a:pt x="7261" y="17806"/>
                  </a:lnTo>
                  <a:lnTo>
                    <a:pt x="12534" y="22616"/>
                  </a:lnTo>
                  <a:lnTo>
                    <a:pt x="14707" y="49441"/>
                  </a:lnTo>
                  <a:lnTo>
                    <a:pt x="13597" y="62992"/>
                  </a:lnTo>
                  <a:lnTo>
                    <a:pt x="21784" y="86024"/>
                  </a:lnTo>
                  <a:lnTo>
                    <a:pt x="11007" y="96801"/>
                  </a:lnTo>
                  <a:lnTo>
                    <a:pt x="0" y="131488"/>
                  </a:lnTo>
                  <a:lnTo>
                    <a:pt x="6382" y="160394"/>
                  </a:lnTo>
                  <a:lnTo>
                    <a:pt x="13875" y="165019"/>
                  </a:lnTo>
                  <a:lnTo>
                    <a:pt x="12441" y="176859"/>
                  </a:lnTo>
                  <a:cubicBezTo>
                    <a:pt x="12441" y="176859"/>
                    <a:pt x="12441" y="176905"/>
                    <a:pt x="12441" y="176998"/>
                  </a:cubicBezTo>
                  <a:cubicBezTo>
                    <a:pt x="22107" y="178940"/>
                    <a:pt x="22246" y="179125"/>
                    <a:pt x="24096" y="180189"/>
                  </a:cubicBezTo>
                  <a:cubicBezTo>
                    <a:pt x="28536" y="182178"/>
                    <a:pt x="32144" y="186340"/>
                    <a:pt x="35520" y="183935"/>
                  </a:cubicBezTo>
                  <a:cubicBezTo>
                    <a:pt x="40561" y="180374"/>
                    <a:pt x="44261" y="177229"/>
                    <a:pt x="47868" y="176350"/>
                  </a:cubicBezTo>
                  <a:cubicBezTo>
                    <a:pt x="61743" y="172974"/>
                    <a:pt x="66507" y="172234"/>
                    <a:pt x="69698" y="170153"/>
                  </a:cubicBezTo>
                  <a:cubicBezTo>
                    <a:pt x="74971" y="166777"/>
                    <a:pt x="78023" y="164603"/>
                    <a:pt x="81261" y="163215"/>
                  </a:cubicBezTo>
                  <a:cubicBezTo>
                    <a:pt x="102443" y="153919"/>
                    <a:pt x="103414" y="152948"/>
                    <a:pt x="106883" y="153503"/>
                  </a:cubicBezTo>
                  <a:cubicBezTo>
                    <a:pt x="114098" y="154613"/>
                    <a:pt x="119879" y="156232"/>
                    <a:pt x="117983" y="153457"/>
                  </a:cubicBezTo>
                  <a:cubicBezTo>
                    <a:pt x="116133" y="150820"/>
                    <a:pt x="118584" y="147352"/>
                    <a:pt x="120111" y="149849"/>
                  </a:cubicBezTo>
                  <a:cubicBezTo>
                    <a:pt x="121452" y="151977"/>
                    <a:pt x="122654" y="148184"/>
                    <a:pt x="122330" y="148647"/>
                  </a:cubicBezTo>
                  <a:cubicBezTo>
                    <a:pt x="122562" y="147999"/>
                    <a:pt x="123024" y="147352"/>
                    <a:pt x="123625" y="146797"/>
                  </a:cubicBezTo>
                  <a:lnTo>
                    <a:pt x="123625" y="146797"/>
                  </a:lnTo>
                  <a:cubicBezTo>
                    <a:pt x="123625" y="146797"/>
                    <a:pt x="109011" y="124597"/>
                    <a:pt x="109011" y="124597"/>
                  </a:cubicBezTo>
                  <a:close/>
                </a:path>
              </a:pathLst>
            </a:custGeom>
            <a:grpFill/>
            <a:ln w="4609" cap="flat">
              <a:noFill/>
              <a:prstDash val="solid"/>
              <a:miter/>
            </a:ln>
          </p:spPr>
          <p:txBody>
            <a:bodyPr rtlCol="0" anchor="ctr"/>
            <a:lstStyle/>
            <a:p>
              <a:endParaRPr lang="en-IN"/>
            </a:p>
          </p:txBody>
        </p:sp>
        <p:sp>
          <p:nvSpPr>
            <p:cNvPr id="104" name="Freeform: Shape 103">
              <a:extLst>
                <a:ext uri="{FF2B5EF4-FFF2-40B4-BE49-F238E27FC236}">
                  <a16:creationId xmlns:a16="http://schemas.microsoft.com/office/drawing/2014/main" id="{4093962E-D057-7613-0D8F-AC60918355AB}"/>
                </a:ext>
              </a:extLst>
            </p:cNvPr>
            <p:cNvSpPr/>
            <p:nvPr/>
          </p:nvSpPr>
          <p:spPr>
            <a:xfrm>
              <a:off x="5331919" y="4619128"/>
              <a:ext cx="90698" cy="27148"/>
            </a:xfrm>
            <a:custGeom>
              <a:avLst/>
              <a:gdLst>
                <a:gd name="connsiteX0" fmla="*/ 31268 w 90698"/>
                <a:gd name="connsiteY0" fmla="*/ 27102 h 27148"/>
                <a:gd name="connsiteX1" fmla="*/ 53791 w 90698"/>
                <a:gd name="connsiteY1" fmla="*/ 15124 h 27148"/>
                <a:gd name="connsiteX2" fmla="*/ 74603 w 90698"/>
                <a:gd name="connsiteY2" fmla="*/ 25576 h 27148"/>
                <a:gd name="connsiteX3" fmla="*/ 90698 w 90698"/>
                <a:gd name="connsiteY3" fmla="*/ 17482 h 27148"/>
                <a:gd name="connsiteX4" fmla="*/ 82096 w 90698"/>
                <a:gd name="connsiteY4" fmla="*/ 6336 h 27148"/>
                <a:gd name="connsiteX5" fmla="*/ 74418 w 90698"/>
                <a:gd name="connsiteY5" fmla="*/ 9527 h 27148"/>
                <a:gd name="connsiteX6" fmla="*/ 53051 w 90698"/>
                <a:gd name="connsiteY6" fmla="*/ 0 h 27148"/>
                <a:gd name="connsiteX7" fmla="*/ 38991 w 90698"/>
                <a:gd name="connsiteY7" fmla="*/ 8371 h 27148"/>
                <a:gd name="connsiteX8" fmla="*/ 5599 w 90698"/>
                <a:gd name="connsiteY8" fmla="*/ 8371 h 27148"/>
                <a:gd name="connsiteX9" fmla="*/ 10594 w 90698"/>
                <a:gd name="connsiteY9" fmla="*/ 17899 h 27148"/>
                <a:gd name="connsiteX10" fmla="*/ 8790 w 90698"/>
                <a:gd name="connsiteY10" fmla="*/ 19471 h 27148"/>
                <a:gd name="connsiteX11" fmla="*/ 2593 w 90698"/>
                <a:gd name="connsiteY11" fmla="*/ 15586 h 27148"/>
                <a:gd name="connsiteX12" fmla="*/ 3 w 90698"/>
                <a:gd name="connsiteY12" fmla="*/ 20165 h 27148"/>
                <a:gd name="connsiteX13" fmla="*/ 188 w 90698"/>
                <a:gd name="connsiteY13" fmla="*/ 27149 h 27148"/>
                <a:gd name="connsiteX14" fmla="*/ 280 w 90698"/>
                <a:gd name="connsiteY14" fmla="*/ 27149 h 27148"/>
                <a:gd name="connsiteX15" fmla="*/ 31314 w 90698"/>
                <a:gd name="connsiteY15" fmla="*/ 27149 h 2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698" h="27148">
                  <a:moveTo>
                    <a:pt x="31268" y="27102"/>
                  </a:moveTo>
                  <a:lnTo>
                    <a:pt x="53791" y="15124"/>
                  </a:lnTo>
                  <a:lnTo>
                    <a:pt x="74603" y="25576"/>
                  </a:lnTo>
                  <a:lnTo>
                    <a:pt x="90698" y="17482"/>
                  </a:lnTo>
                  <a:lnTo>
                    <a:pt x="82096" y="6336"/>
                  </a:lnTo>
                  <a:lnTo>
                    <a:pt x="74418" y="9527"/>
                  </a:lnTo>
                  <a:lnTo>
                    <a:pt x="53051" y="0"/>
                  </a:lnTo>
                  <a:lnTo>
                    <a:pt x="38991" y="8371"/>
                  </a:lnTo>
                  <a:lnTo>
                    <a:pt x="5599" y="8371"/>
                  </a:lnTo>
                  <a:lnTo>
                    <a:pt x="10594" y="17899"/>
                  </a:lnTo>
                  <a:cubicBezTo>
                    <a:pt x="11935" y="20442"/>
                    <a:pt x="8328" y="19564"/>
                    <a:pt x="8790" y="19471"/>
                  </a:cubicBezTo>
                  <a:cubicBezTo>
                    <a:pt x="4998" y="18546"/>
                    <a:pt x="5645" y="13366"/>
                    <a:pt x="2593" y="15586"/>
                  </a:cubicBezTo>
                  <a:cubicBezTo>
                    <a:pt x="2223" y="16049"/>
                    <a:pt x="-90" y="17205"/>
                    <a:pt x="3" y="20165"/>
                  </a:cubicBezTo>
                  <a:cubicBezTo>
                    <a:pt x="95" y="22755"/>
                    <a:pt x="141" y="25067"/>
                    <a:pt x="188" y="27149"/>
                  </a:cubicBezTo>
                  <a:lnTo>
                    <a:pt x="280" y="27149"/>
                  </a:lnTo>
                  <a:cubicBezTo>
                    <a:pt x="280" y="27149"/>
                    <a:pt x="31314" y="27149"/>
                    <a:pt x="31314" y="27149"/>
                  </a:cubicBezTo>
                  <a:close/>
                </a:path>
              </a:pathLst>
            </a:custGeom>
            <a:grpFill/>
            <a:ln w="4609" cap="flat">
              <a:noFill/>
              <a:prstDash val="solid"/>
              <a:miter/>
            </a:ln>
          </p:spPr>
          <p:txBody>
            <a:bodyPr rtlCol="0" anchor="ctr"/>
            <a:lstStyle/>
            <a:p>
              <a:endParaRPr lang="en-IN"/>
            </a:p>
          </p:txBody>
        </p:sp>
        <p:sp>
          <p:nvSpPr>
            <p:cNvPr id="105" name="Freeform: Shape 104">
              <a:extLst>
                <a:ext uri="{FF2B5EF4-FFF2-40B4-BE49-F238E27FC236}">
                  <a16:creationId xmlns:a16="http://schemas.microsoft.com/office/drawing/2014/main" id="{EC50B879-B403-40F3-5063-5D3E33FCC15E}"/>
                </a:ext>
              </a:extLst>
            </p:cNvPr>
            <p:cNvSpPr/>
            <p:nvPr/>
          </p:nvSpPr>
          <p:spPr>
            <a:xfrm>
              <a:off x="6077454" y="4961930"/>
              <a:ext cx="169934" cy="179865"/>
            </a:xfrm>
            <a:custGeom>
              <a:avLst/>
              <a:gdLst>
                <a:gd name="connsiteX0" fmla="*/ 77574 w 169934"/>
                <a:gd name="connsiteY0" fmla="*/ 0 h 179865"/>
                <a:gd name="connsiteX1" fmla="*/ 77574 w 169934"/>
                <a:gd name="connsiteY1" fmla="*/ 35474 h 179865"/>
                <a:gd name="connsiteX2" fmla="*/ 27254 w 169934"/>
                <a:gd name="connsiteY2" fmla="*/ 35474 h 179865"/>
                <a:gd name="connsiteX3" fmla="*/ 25265 w 169934"/>
                <a:gd name="connsiteY3" fmla="*/ 41347 h 179865"/>
                <a:gd name="connsiteX4" fmla="*/ 24109 w 169934"/>
                <a:gd name="connsiteY4" fmla="*/ 46851 h 179865"/>
                <a:gd name="connsiteX5" fmla="*/ 19715 w 169934"/>
                <a:gd name="connsiteY5" fmla="*/ 46250 h 179865"/>
                <a:gd name="connsiteX6" fmla="*/ 19207 w 169934"/>
                <a:gd name="connsiteY6" fmla="*/ 46527 h 179865"/>
                <a:gd name="connsiteX7" fmla="*/ 24757 w 169934"/>
                <a:gd name="connsiteY7" fmla="*/ 55546 h 179865"/>
                <a:gd name="connsiteX8" fmla="*/ 30723 w 169934"/>
                <a:gd name="connsiteY8" fmla="*/ 60448 h 179865"/>
                <a:gd name="connsiteX9" fmla="*/ 28133 w 169934"/>
                <a:gd name="connsiteY9" fmla="*/ 61882 h 179865"/>
                <a:gd name="connsiteX10" fmla="*/ 24017 w 169934"/>
                <a:gd name="connsiteY10" fmla="*/ 60402 h 179865"/>
                <a:gd name="connsiteX11" fmla="*/ 19345 w 169934"/>
                <a:gd name="connsiteY11" fmla="*/ 56748 h 179865"/>
                <a:gd name="connsiteX12" fmla="*/ 17542 w 169934"/>
                <a:gd name="connsiteY12" fmla="*/ 57303 h 179865"/>
                <a:gd name="connsiteX13" fmla="*/ 16478 w 169934"/>
                <a:gd name="connsiteY13" fmla="*/ 73630 h 179865"/>
                <a:gd name="connsiteX14" fmla="*/ 12547 w 169934"/>
                <a:gd name="connsiteY14" fmla="*/ 81908 h 179865"/>
                <a:gd name="connsiteX15" fmla="*/ 5332 w 169934"/>
                <a:gd name="connsiteY15" fmla="*/ 84683 h 179865"/>
                <a:gd name="connsiteX16" fmla="*/ 1401 w 169934"/>
                <a:gd name="connsiteY16" fmla="*/ 84313 h 179865"/>
                <a:gd name="connsiteX17" fmla="*/ 244 w 169934"/>
                <a:gd name="connsiteY17" fmla="*/ 85284 h 179865"/>
                <a:gd name="connsiteX18" fmla="*/ 9864 w 169934"/>
                <a:gd name="connsiteY18" fmla="*/ 106328 h 179865"/>
                <a:gd name="connsiteX19" fmla="*/ 15645 w 169934"/>
                <a:gd name="connsiteY19" fmla="*/ 116688 h 179865"/>
                <a:gd name="connsiteX20" fmla="*/ 17357 w 169934"/>
                <a:gd name="connsiteY20" fmla="*/ 121914 h 179865"/>
                <a:gd name="connsiteX21" fmla="*/ 25543 w 169934"/>
                <a:gd name="connsiteY21" fmla="*/ 132644 h 179865"/>
                <a:gd name="connsiteX22" fmla="*/ 27948 w 169934"/>
                <a:gd name="connsiteY22" fmla="*/ 136945 h 179865"/>
                <a:gd name="connsiteX23" fmla="*/ 57409 w 169934"/>
                <a:gd name="connsiteY23" fmla="*/ 163447 h 179865"/>
                <a:gd name="connsiteX24" fmla="*/ 59953 w 169934"/>
                <a:gd name="connsiteY24" fmla="*/ 167979 h 179865"/>
                <a:gd name="connsiteX25" fmla="*/ 71793 w 169934"/>
                <a:gd name="connsiteY25" fmla="*/ 179865 h 179865"/>
                <a:gd name="connsiteX26" fmla="*/ 71793 w 169934"/>
                <a:gd name="connsiteY26" fmla="*/ 179819 h 179865"/>
                <a:gd name="connsiteX27" fmla="*/ 73550 w 169934"/>
                <a:gd name="connsiteY27" fmla="*/ 174454 h 179865"/>
                <a:gd name="connsiteX28" fmla="*/ 81921 w 169934"/>
                <a:gd name="connsiteY28" fmla="*/ 169135 h 179865"/>
                <a:gd name="connsiteX29" fmla="*/ 87240 w 169934"/>
                <a:gd name="connsiteY29" fmla="*/ 175471 h 179865"/>
                <a:gd name="connsiteX30" fmla="*/ 93067 w 169934"/>
                <a:gd name="connsiteY30" fmla="*/ 175980 h 179865"/>
                <a:gd name="connsiteX31" fmla="*/ 95334 w 169934"/>
                <a:gd name="connsiteY31" fmla="*/ 164556 h 179865"/>
                <a:gd name="connsiteX32" fmla="*/ 86962 w 169934"/>
                <a:gd name="connsiteY32" fmla="*/ 159746 h 179865"/>
                <a:gd name="connsiteX33" fmla="*/ 90524 w 169934"/>
                <a:gd name="connsiteY33" fmla="*/ 153919 h 179865"/>
                <a:gd name="connsiteX34" fmla="*/ 83401 w 169934"/>
                <a:gd name="connsiteY34" fmla="*/ 148832 h 179865"/>
                <a:gd name="connsiteX35" fmla="*/ 84650 w 169934"/>
                <a:gd name="connsiteY35" fmla="*/ 136159 h 179865"/>
                <a:gd name="connsiteX36" fmla="*/ 110457 w 169934"/>
                <a:gd name="connsiteY36" fmla="*/ 134494 h 179865"/>
                <a:gd name="connsiteX37" fmla="*/ 108700 w 169934"/>
                <a:gd name="connsiteY37" fmla="*/ 122654 h 179865"/>
                <a:gd name="connsiteX38" fmla="*/ 117950 w 169934"/>
                <a:gd name="connsiteY38" fmla="*/ 120619 h 179865"/>
                <a:gd name="connsiteX39" fmla="*/ 125442 w 169934"/>
                <a:gd name="connsiteY39" fmla="*/ 136252 h 179865"/>
                <a:gd name="connsiteX40" fmla="*/ 138947 w 169934"/>
                <a:gd name="connsiteY40" fmla="*/ 138472 h 179865"/>
                <a:gd name="connsiteX41" fmla="*/ 146440 w 169934"/>
                <a:gd name="connsiteY41" fmla="*/ 127788 h 179865"/>
                <a:gd name="connsiteX42" fmla="*/ 151435 w 169934"/>
                <a:gd name="connsiteY42" fmla="*/ 133662 h 179865"/>
                <a:gd name="connsiteX43" fmla="*/ 148845 w 169934"/>
                <a:gd name="connsiteY43" fmla="*/ 140044 h 179865"/>
                <a:gd name="connsiteX44" fmla="*/ 158095 w 169934"/>
                <a:gd name="connsiteY44" fmla="*/ 140322 h 179865"/>
                <a:gd name="connsiteX45" fmla="*/ 162442 w 169934"/>
                <a:gd name="connsiteY45" fmla="*/ 125291 h 179865"/>
                <a:gd name="connsiteX46" fmla="*/ 167946 w 169934"/>
                <a:gd name="connsiteY46" fmla="*/ 121544 h 179865"/>
                <a:gd name="connsiteX47" fmla="*/ 166096 w 169934"/>
                <a:gd name="connsiteY47" fmla="*/ 97078 h 179865"/>
                <a:gd name="connsiteX48" fmla="*/ 169934 w 169934"/>
                <a:gd name="connsiteY48" fmla="*/ 85331 h 179865"/>
                <a:gd name="connsiteX49" fmla="*/ 163552 w 169934"/>
                <a:gd name="connsiteY49" fmla="*/ 79549 h 179865"/>
                <a:gd name="connsiteX50" fmla="*/ 159713 w 169934"/>
                <a:gd name="connsiteY50" fmla="*/ 80706 h 179865"/>
                <a:gd name="connsiteX51" fmla="*/ 157956 w 169934"/>
                <a:gd name="connsiteY51" fmla="*/ 75526 h 179865"/>
                <a:gd name="connsiteX52" fmla="*/ 151573 w 169934"/>
                <a:gd name="connsiteY52" fmla="*/ 75711 h 179865"/>
                <a:gd name="connsiteX53" fmla="*/ 149631 w 169934"/>
                <a:gd name="connsiteY53" fmla="*/ 72427 h 179865"/>
                <a:gd name="connsiteX54" fmla="*/ 150787 w 169934"/>
                <a:gd name="connsiteY54" fmla="*/ 61050 h 179865"/>
                <a:gd name="connsiteX55" fmla="*/ 156383 w 169934"/>
                <a:gd name="connsiteY55" fmla="*/ 52170 h 179865"/>
                <a:gd name="connsiteX56" fmla="*/ 162766 w 169934"/>
                <a:gd name="connsiteY56" fmla="*/ 51198 h 179865"/>
                <a:gd name="connsiteX57" fmla="*/ 169148 w 169934"/>
                <a:gd name="connsiteY57" fmla="*/ 41763 h 179865"/>
                <a:gd name="connsiteX58" fmla="*/ 162396 w 169934"/>
                <a:gd name="connsiteY58" fmla="*/ 34040 h 179865"/>
                <a:gd name="connsiteX59" fmla="*/ 162396 w 169934"/>
                <a:gd name="connsiteY59" fmla="*/ 27472 h 179865"/>
                <a:gd name="connsiteX60" fmla="*/ 149492 w 169934"/>
                <a:gd name="connsiteY60" fmla="*/ 25160 h 179865"/>
                <a:gd name="connsiteX61" fmla="*/ 135987 w 169934"/>
                <a:gd name="connsiteY61" fmla="*/ 33022 h 179865"/>
                <a:gd name="connsiteX62" fmla="*/ 128911 w 169934"/>
                <a:gd name="connsiteY62" fmla="*/ 31311 h 179865"/>
                <a:gd name="connsiteX63" fmla="*/ 132565 w 169934"/>
                <a:gd name="connsiteY63" fmla="*/ 25715 h 179865"/>
                <a:gd name="connsiteX64" fmla="*/ 128634 w 169934"/>
                <a:gd name="connsiteY64" fmla="*/ 19471 h 179865"/>
                <a:gd name="connsiteX65" fmla="*/ 134877 w 169934"/>
                <a:gd name="connsiteY65" fmla="*/ 3561 h 179865"/>
                <a:gd name="connsiteX66" fmla="*/ 129466 w 169934"/>
                <a:gd name="connsiteY66" fmla="*/ 93 h 179865"/>
                <a:gd name="connsiteX67" fmla="*/ 77435 w 169934"/>
                <a:gd name="connsiteY67" fmla="*/ 93 h 17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9934" h="179865">
                  <a:moveTo>
                    <a:pt x="77574" y="0"/>
                  </a:moveTo>
                  <a:lnTo>
                    <a:pt x="77574" y="35474"/>
                  </a:lnTo>
                  <a:lnTo>
                    <a:pt x="27254" y="35474"/>
                  </a:lnTo>
                  <a:cubicBezTo>
                    <a:pt x="26838" y="37231"/>
                    <a:pt x="24942" y="38572"/>
                    <a:pt x="25265" y="41347"/>
                  </a:cubicBezTo>
                  <a:cubicBezTo>
                    <a:pt x="25265" y="42966"/>
                    <a:pt x="27023" y="49348"/>
                    <a:pt x="24109" y="46851"/>
                  </a:cubicBezTo>
                  <a:cubicBezTo>
                    <a:pt x="23647" y="46666"/>
                    <a:pt x="21935" y="45140"/>
                    <a:pt x="19715" y="46250"/>
                  </a:cubicBezTo>
                  <a:lnTo>
                    <a:pt x="19207" y="46527"/>
                  </a:lnTo>
                  <a:cubicBezTo>
                    <a:pt x="15599" y="48331"/>
                    <a:pt x="21704" y="54251"/>
                    <a:pt x="24757" y="55546"/>
                  </a:cubicBezTo>
                  <a:cubicBezTo>
                    <a:pt x="26052" y="56332"/>
                    <a:pt x="30862" y="57118"/>
                    <a:pt x="30723" y="60448"/>
                  </a:cubicBezTo>
                  <a:cubicBezTo>
                    <a:pt x="30677" y="61743"/>
                    <a:pt x="29520" y="62391"/>
                    <a:pt x="28133" y="61882"/>
                  </a:cubicBezTo>
                  <a:lnTo>
                    <a:pt x="24017" y="60402"/>
                  </a:lnTo>
                  <a:cubicBezTo>
                    <a:pt x="21242" y="59431"/>
                    <a:pt x="18883" y="56286"/>
                    <a:pt x="19345" y="56748"/>
                  </a:cubicBezTo>
                  <a:cubicBezTo>
                    <a:pt x="18467" y="55638"/>
                    <a:pt x="17634" y="55870"/>
                    <a:pt x="17542" y="57303"/>
                  </a:cubicBezTo>
                  <a:lnTo>
                    <a:pt x="16478" y="73630"/>
                  </a:lnTo>
                  <a:cubicBezTo>
                    <a:pt x="16247" y="77422"/>
                    <a:pt x="12223" y="82371"/>
                    <a:pt x="12547" y="81908"/>
                  </a:cubicBezTo>
                  <a:cubicBezTo>
                    <a:pt x="10280" y="85284"/>
                    <a:pt x="7968" y="82602"/>
                    <a:pt x="5332" y="84683"/>
                  </a:cubicBezTo>
                  <a:cubicBezTo>
                    <a:pt x="3759" y="85932"/>
                    <a:pt x="938" y="84128"/>
                    <a:pt x="1401" y="84313"/>
                  </a:cubicBezTo>
                  <a:cubicBezTo>
                    <a:pt x="198" y="83527"/>
                    <a:pt x="-357" y="83943"/>
                    <a:pt x="244" y="85284"/>
                  </a:cubicBezTo>
                  <a:cubicBezTo>
                    <a:pt x="7228" y="101749"/>
                    <a:pt x="7690" y="103461"/>
                    <a:pt x="9864" y="106328"/>
                  </a:cubicBezTo>
                  <a:cubicBezTo>
                    <a:pt x="13287" y="110814"/>
                    <a:pt x="15784" y="113219"/>
                    <a:pt x="15645" y="116688"/>
                  </a:cubicBezTo>
                  <a:cubicBezTo>
                    <a:pt x="15738" y="117151"/>
                    <a:pt x="15322" y="119787"/>
                    <a:pt x="17357" y="121914"/>
                  </a:cubicBezTo>
                  <a:cubicBezTo>
                    <a:pt x="21612" y="126354"/>
                    <a:pt x="25034" y="129083"/>
                    <a:pt x="25543" y="132644"/>
                  </a:cubicBezTo>
                  <a:cubicBezTo>
                    <a:pt x="26560" y="135280"/>
                    <a:pt x="26699" y="135882"/>
                    <a:pt x="27948" y="136945"/>
                  </a:cubicBezTo>
                  <a:cubicBezTo>
                    <a:pt x="56669" y="160810"/>
                    <a:pt x="56530" y="160024"/>
                    <a:pt x="57409" y="163447"/>
                  </a:cubicBezTo>
                  <a:cubicBezTo>
                    <a:pt x="58658" y="166314"/>
                    <a:pt x="58796" y="166823"/>
                    <a:pt x="59953" y="167979"/>
                  </a:cubicBezTo>
                  <a:cubicBezTo>
                    <a:pt x="64624" y="172696"/>
                    <a:pt x="68463" y="176535"/>
                    <a:pt x="71793" y="179865"/>
                  </a:cubicBezTo>
                  <a:cubicBezTo>
                    <a:pt x="71793" y="179865"/>
                    <a:pt x="71793" y="179819"/>
                    <a:pt x="71793" y="179819"/>
                  </a:cubicBezTo>
                  <a:lnTo>
                    <a:pt x="73550" y="174454"/>
                  </a:lnTo>
                  <a:lnTo>
                    <a:pt x="81921" y="169135"/>
                  </a:lnTo>
                  <a:lnTo>
                    <a:pt x="87240" y="175471"/>
                  </a:lnTo>
                  <a:lnTo>
                    <a:pt x="93067" y="175980"/>
                  </a:lnTo>
                  <a:lnTo>
                    <a:pt x="95334" y="164556"/>
                  </a:lnTo>
                  <a:lnTo>
                    <a:pt x="86962" y="159746"/>
                  </a:lnTo>
                  <a:lnTo>
                    <a:pt x="90524" y="153919"/>
                  </a:lnTo>
                  <a:lnTo>
                    <a:pt x="83401" y="148832"/>
                  </a:lnTo>
                  <a:lnTo>
                    <a:pt x="84650" y="136159"/>
                  </a:lnTo>
                  <a:lnTo>
                    <a:pt x="110457" y="134494"/>
                  </a:lnTo>
                  <a:lnTo>
                    <a:pt x="108700" y="122654"/>
                  </a:lnTo>
                  <a:lnTo>
                    <a:pt x="117950" y="120619"/>
                  </a:lnTo>
                  <a:lnTo>
                    <a:pt x="125442" y="136252"/>
                  </a:lnTo>
                  <a:lnTo>
                    <a:pt x="138947" y="138472"/>
                  </a:lnTo>
                  <a:lnTo>
                    <a:pt x="146440" y="127788"/>
                  </a:lnTo>
                  <a:lnTo>
                    <a:pt x="151435" y="133662"/>
                  </a:lnTo>
                  <a:lnTo>
                    <a:pt x="148845" y="140044"/>
                  </a:lnTo>
                  <a:lnTo>
                    <a:pt x="158095" y="140322"/>
                  </a:lnTo>
                  <a:lnTo>
                    <a:pt x="162442" y="125291"/>
                  </a:lnTo>
                  <a:lnTo>
                    <a:pt x="167946" y="121544"/>
                  </a:lnTo>
                  <a:lnTo>
                    <a:pt x="166096" y="97078"/>
                  </a:lnTo>
                  <a:lnTo>
                    <a:pt x="169934" y="85331"/>
                  </a:lnTo>
                  <a:lnTo>
                    <a:pt x="163552" y="79549"/>
                  </a:lnTo>
                  <a:lnTo>
                    <a:pt x="159713" y="80706"/>
                  </a:lnTo>
                  <a:lnTo>
                    <a:pt x="157956" y="75526"/>
                  </a:lnTo>
                  <a:lnTo>
                    <a:pt x="151573" y="75711"/>
                  </a:lnTo>
                  <a:lnTo>
                    <a:pt x="149631" y="72427"/>
                  </a:lnTo>
                  <a:lnTo>
                    <a:pt x="150787" y="61050"/>
                  </a:lnTo>
                  <a:lnTo>
                    <a:pt x="156383" y="52170"/>
                  </a:lnTo>
                  <a:lnTo>
                    <a:pt x="162766" y="51198"/>
                  </a:lnTo>
                  <a:lnTo>
                    <a:pt x="169148" y="41763"/>
                  </a:lnTo>
                  <a:lnTo>
                    <a:pt x="162396" y="34040"/>
                  </a:lnTo>
                  <a:lnTo>
                    <a:pt x="162396" y="27472"/>
                  </a:lnTo>
                  <a:lnTo>
                    <a:pt x="149492" y="25160"/>
                  </a:lnTo>
                  <a:lnTo>
                    <a:pt x="135987" y="33022"/>
                  </a:lnTo>
                  <a:lnTo>
                    <a:pt x="128911" y="31311"/>
                  </a:lnTo>
                  <a:lnTo>
                    <a:pt x="132565" y="25715"/>
                  </a:lnTo>
                  <a:lnTo>
                    <a:pt x="128634" y="19471"/>
                  </a:lnTo>
                  <a:lnTo>
                    <a:pt x="134877" y="3561"/>
                  </a:lnTo>
                  <a:lnTo>
                    <a:pt x="129466" y="93"/>
                  </a:lnTo>
                  <a:lnTo>
                    <a:pt x="77435" y="93"/>
                  </a:lnTo>
                  <a:close/>
                </a:path>
              </a:pathLst>
            </a:custGeom>
            <a:grpFill/>
            <a:ln w="4609" cap="flat">
              <a:noFill/>
              <a:prstDash val="solid"/>
              <a:miter/>
            </a:ln>
          </p:spPr>
          <p:txBody>
            <a:bodyPr rtlCol="0" anchor="ctr"/>
            <a:lstStyle/>
            <a:p>
              <a:endParaRPr lang="en-IN"/>
            </a:p>
          </p:txBody>
        </p:sp>
        <p:sp>
          <p:nvSpPr>
            <p:cNvPr id="106" name="Freeform: Shape 105">
              <a:extLst>
                <a:ext uri="{FF2B5EF4-FFF2-40B4-BE49-F238E27FC236}">
                  <a16:creationId xmlns:a16="http://schemas.microsoft.com/office/drawing/2014/main" id="{5A760D91-0AF2-3D7F-0185-C0F02193E8D9}"/>
                </a:ext>
              </a:extLst>
            </p:cNvPr>
            <p:cNvSpPr/>
            <p:nvPr/>
          </p:nvSpPr>
          <p:spPr>
            <a:xfrm>
              <a:off x="6998665" y="5686388"/>
              <a:ext cx="8283" cy="7924"/>
            </a:xfrm>
            <a:custGeom>
              <a:avLst/>
              <a:gdLst>
                <a:gd name="connsiteX0" fmla="*/ 466 w 8283"/>
                <a:gd name="connsiteY0" fmla="*/ 1385 h 7924"/>
                <a:gd name="connsiteX1" fmla="*/ 2039 w 8283"/>
                <a:gd name="connsiteY1" fmla="*/ 7768 h 7924"/>
                <a:gd name="connsiteX2" fmla="*/ 7496 w 8283"/>
                <a:gd name="connsiteY2" fmla="*/ 3790 h 7924"/>
                <a:gd name="connsiteX3" fmla="*/ 466 w 8283"/>
                <a:gd name="connsiteY3" fmla="*/ 1385 h 7924"/>
              </a:gdLst>
              <a:ahLst/>
              <a:cxnLst>
                <a:cxn ang="0">
                  <a:pos x="connsiteX0" y="connsiteY0"/>
                </a:cxn>
                <a:cxn ang="0">
                  <a:pos x="connsiteX1" y="connsiteY1"/>
                </a:cxn>
                <a:cxn ang="0">
                  <a:pos x="connsiteX2" y="connsiteY2"/>
                </a:cxn>
                <a:cxn ang="0">
                  <a:pos x="connsiteX3" y="connsiteY3"/>
                </a:cxn>
              </a:cxnLst>
              <a:rect l="l" t="t" r="r" b="b"/>
              <a:pathLst>
                <a:path w="8283" h="7924">
                  <a:moveTo>
                    <a:pt x="466" y="1385"/>
                  </a:moveTo>
                  <a:cubicBezTo>
                    <a:pt x="559" y="3374"/>
                    <a:pt x="-1384" y="8924"/>
                    <a:pt x="2039" y="7768"/>
                  </a:cubicBezTo>
                  <a:cubicBezTo>
                    <a:pt x="4074" y="6796"/>
                    <a:pt x="10502" y="5918"/>
                    <a:pt x="7496" y="3790"/>
                  </a:cubicBezTo>
                  <a:cubicBezTo>
                    <a:pt x="5230" y="2542"/>
                    <a:pt x="836" y="-2361"/>
                    <a:pt x="466" y="1385"/>
                  </a:cubicBezTo>
                  <a:close/>
                </a:path>
              </a:pathLst>
            </a:custGeom>
            <a:grpFill/>
            <a:ln w="4609" cap="flat">
              <a:noFill/>
              <a:prstDash val="solid"/>
              <a:miter/>
            </a:ln>
          </p:spPr>
          <p:txBody>
            <a:bodyPr rtlCol="0" anchor="ctr"/>
            <a:lstStyle/>
            <a:p>
              <a:endParaRPr lang="en-IN"/>
            </a:p>
          </p:txBody>
        </p:sp>
        <p:sp>
          <p:nvSpPr>
            <p:cNvPr id="107" name="Freeform: Shape 106">
              <a:extLst>
                <a:ext uri="{FF2B5EF4-FFF2-40B4-BE49-F238E27FC236}">
                  <a16:creationId xmlns:a16="http://schemas.microsoft.com/office/drawing/2014/main" id="{208D516A-1BAA-333A-7C73-BBF4B3064B19}"/>
                </a:ext>
              </a:extLst>
            </p:cNvPr>
            <p:cNvSpPr/>
            <p:nvPr/>
          </p:nvSpPr>
          <p:spPr>
            <a:xfrm>
              <a:off x="6784024" y="4593783"/>
              <a:ext cx="437753" cy="337206"/>
            </a:xfrm>
            <a:custGeom>
              <a:avLst/>
              <a:gdLst>
                <a:gd name="connsiteX0" fmla="*/ 412964 w 437753"/>
                <a:gd name="connsiteY0" fmla="*/ 202250 h 337206"/>
                <a:gd name="connsiteX1" fmla="*/ 319308 w 437753"/>
                <a:gd name="connsiteY1" fmla="*/ 170661 h 337206"/>
                <a:gd name="connsiteX2" fmla="*/ 302936 w 437753"/>
                <a:gd name="connsiteY2" fmla="*/ 155630 h 337206"/>
                <a:gd name="connsiteX3" fmla="*/ 300346 w 437753"/>
                <a:gd name="connsiteY3" fmla="*/ 145039 h 337206"/>
                <a:gd name="connsiteX4" fmla="*/ 290032 w 437753"/>
                <a:gd name="connsiteY4" fmla="*/ 139350 h 337206"/>
                <a:gd name="connsiteX5" fmla="*/ 285037 w 437753"/>
                <a:gd name="connsiteY5" fmla="*/ 128574 h 337206"/>
                <a:gd name="connsiteX6" fmla="*/ 283464 w 437753"/>
                <a:gd name="connsiteY6" fmla="*/ 125152 h 337206"/>
                <a:gd name="connsiteX7" fmla="*/ 290032 w 437753"/>
                <a:gd name="connsiteY7" fmla="*/ 115023 h 337206"/>
                <a:gd name="connsiteX8" fmla="*/ 289893 w 437753"/>
                <a:gd name="connsiteY8" fmla="*/ 115023 h 337206"/>
                <a:gd name="connsiteX9" fmla="*/ 279395 w 437753"/>
                <a:gd name="connsiteY9" fmla="*/ 109566 h 337206"/>
                <a:gd name="connsiteX10" fmla="*/ 273428 w 437753"/>
                <a:gd name="connsiteY10" fmla="*/ 114191 h 337206"/>
                <a:gd name="connsiteX11" fmla="*/ 257796 w 437753"/>
                <a:gd name="connsiteY11" fmla="*/ 113821 h 337206"/>
                <a:gd name="connsiteX12" fmla="*/ 258166 w 437753"/>
                <a:gd name="connsiteY12" fmla="*/ 92823 h 337206"/>
                <a:gd name="connsiteX13" fmla="*/ 277544 w 437753"/>
                <a:gd name="connsiteY13" fmla="*/ 68080 h 337206"/>
                <a:gd name="connsiteX14" fmla="*/ 261450 w 437753"/>
                <a:gd name="connsiteY14" fmla="*/ 58136 h 337206"/>
                <a:gd name="connsiteX15" fmla="*/ 256455 w 437753"/>
                <a:gd name="connsiteY15" fmla="*/ 46203 h 337206"/>
                <a:gd name="connsiteX16" fmla="*/ 240267 w 437753"/>
                <a:gd name="connsiteY16" fmla="*/ 38110 h 337206"/>
                <a:gd name="connsiteX17" fmla="*/ 233700 w 437753"/>
                <a:gd name="connsiteY17" fmla="*/ 22709 h 337206"/>
                <a:gd name="connsiteX18" fmla="*/ 207476 w 437753"/>
                <a:gd name="connsiteY18" fmla="*/ 9204 h 337206"/>
                <a:gd name="connsiteX19" fmla="*/ 186063 w 437753"/>
                <a:gd name="connsiteY19" fmla="*/ 10961 h 337206"/>
                <a:gd name="connsiteX20" fmla="*/ 179680 w 437753"/>
                <a:gd name="connsiteY20" fmla="*/ 3469 h 337206"/>
                <a:gd name="connsiteX21" fmla="*/ 164279 w 437753"/>
                <a:gd name="connsiteY21" fmla="*/ 11562 h 337206"/>
                <a:gd name="connsiteX22" fmla="*/ 144993 w 437753"/>
                <a:gd name="connsiteY22" fmla="*/ 0 h 337206"/>
                <a:gd name="connsiteX23" fmla="*/ 135188 w 437753"/>
                <a:gd name="connsiteY23" fmla="*/ 20257 h 337206"/>
                <a:gd name="connsiteX24" fmla="*/ 124782 w 437753"/>
                <a:gd name="connsiteY24" fmla="*/ 10452 h 337206"/>
                <a:gd name="connsiteX25" fmla="*/ 119602 w 437753"/>
                <a:gd name="connsiteY25" fmla="*/ 16234 h 337206"/>
                <a:gd name="connsiteX26" fmla="*/ 104571 w 437753"/>
                <a:gd name="connsiteY26" fmla="*/ 17020 h 337206"/>
                <a:gd name="connsiteX27" fmla="*/ 94719 w 437753"/>
                <a:gd name="connsiteY27" fmla="*/ 62483 h 337206"/>
                <a:gd name="connsiteX28" fmla="*/ 79087 w 437753"/>
                <a:gd name="connsiteY28" fmla="*/ 65351 h 337206"/>
                <a:gd name="connsiteX29" fmla="*/ 62900 w 437753"/>
                <a:gd name="connsiteY29" fmla="*/ 89031 h 337206"/>
                <a:gd name="connsiteX30" fmla="*/ 58275 w 437753"/>
                <a:gd name="connsiteY30" fmla="*/ 122562 h 337206"/>
                <a:gd name="connsiteX31" fmla="*/ 47267 w 437753"/>
                <a:gd name="connsiteY31" fmla="*/ 116781 h 337206"/>
                <a:gd name="connsiteX32" fmla="*/ 39174 w 437753"/>
                <a:gd name="connsiteY32" fmla="*/ 127788 h 337206"/>
                <a:gd name="connsiteX33" fmla="*/ 35104 w 437753"/>
                <a:gd name="connsiteY33" fmla="*/ 161920 h 337206"/>
                <a:gd name="connsiteX34" fmla="*/ 35473 w 437753"/>
                <a:gd name="connsiteY34" fmla="*/ 186988 h 337206"/>
                <a:gd name="connsiteX35" fmla="*/ 6567 w 437753"/>
                <a:gd name="connsiteY35" fmla="*/ 189670 h 337206"/>
                <a:gd name="connsiteX36" fmla="*/ 6937 w 437753"/>
                <a:gd name="connsiteY36" fmla="*/ 196978 h 337206"/>
                <a:gd name="connsiteX37" fmla="*/ 0 w 437753"/>
                <a:gd name="connsiteY37" fmla="*/ 204285 h 337206"/>
                <a:gd name="connsiteX38" fmla="*/ 2682 w 437753"/>
                <a:gd name="connsiteY38" fmla="*/ 208910 h 337206"/>
                <a:gd name="connsiteX39" fmla="*/ 29646 w 437753"/>
                <a:gd name="connsiteY39" fmla="*/ 216217 h 337206"/>
                <a:gd name="connsiteX40" fmla="*/ 35797 w 437753"/>
                <a:gd name="connsiteY40" fmla="*/ 228936 h 337206"/>
                <a:gd name="connsiteX41" fmla="*/ 52355 w 437753"/>
                <a:gd name="connsiteY41" fmla="*/ 240499 h 337206"/>
                <a:gd name="connsiteX42" fmla="*/ 67663 w 437753"/>
                <a:gd name="connsiteY42" fmla="*/ 279811 h 337206"/>
                <a:gd name="connsiteX43" fmla="*/ 73537 w 437753"/>
                <a:gd name="connsiteY43" fmla="*/ 275186 h 337206"/>
                <a:gd name="connsiteX44" fmla="*/ 83249 w 437753"/>
                <a:gd name="connsiteY44" fmla="*/ 280366 h 337206"/>
                <a:gd name="connsiteX45" fmla="*/ 83249 w 437753"/>
                <a:gd name="connsiteY45" fmla="*/ 293084 h 337206"/>
                <a:gd name="connsiteX46" fmla="*/ 90696 w 437753"/>
                <a:gd name="connsiteY46" fmla="*/ 297663 h 337206"/>
                <a:gd name="connsiteX47" fmla="*/ 95506 w 437753"/>
                <a:gd name="connsiteY47" fmla="*/ 299143 h 337206"/>
                <a:gd name="connsiteX48" fmla="*/ 95783 w 437753"/>
                <a:gd name="connsiteY48" fmla="*/ 305896 h 337206"/>
                <a:gd name="connsiteX49" fmla="*/ 95876 w 437753"/>
                <a:gd name="connsiteY49" fmla="*/ 305896 h 337206"/>
                <a:gd name="connsiteX50" fmla="*/ 115532 w 437753"/>
                <a:gd name="connsiteY50" fmla="*/ 306358 h 337206"/>
                <a:gd name="connsiteX51" fmla="*/ 149063 w 437753"/>
                <a:gd name="connsiteY51" fmla="*/ 331009 h 337206"/>
                <a:gd name="connsiteX52" fmla="*/ 162568 w 437753"/>
                <a:gd name="connsiteY52" fmla="*/ 329483 h 337206"/>
                <a:gd name="connsiteX53" fmla="*/ 192260 w 437753"/>
                <a:gd name="connsiteY53" fmla="*/ 337207 h 337206"/>
                <a:gd name="connsiteX54" fmla="*/ 201880 w 437753"/>
                <a:gd name="connsiteY54" fmla="*/ 322962 h 337206"/>
                <a:gd name="connsiteX55" fmla="*/ 228103 w 437753"/>
                <a:gd name="connsiteY55" fmla="*/ 311399 h 337206"/>
                <a:gd name="connsiteX56" fmla="*/ 237724 w 437753"/>
                <a:gd name="connsiteY56" fmla="*/ 321019 h 337206"/>
                <a:gd name="connsiteX57" fmla="*/ 259322 w 437753"/>
                <a:gd name="connsiteY57" fmla="*/ 320649 h 337206"/>
                <a:gd name="connsiteX58" fmla="*/ 265890 w 437753"/>
                <a:gd name="connsiteY58" fmla="*/ 312186 h 337206"/>
                <a:gd name="connsiteX59" fmla="*/ 290541 w 437753"/>
                <a:gd name="connsiteY59" fmla="*/ 308717 h 337206"/>
                <a:gd name="connsiteX60" fmla="*/ 292853 w 437753"/>
                <a:gd name="connsiteY60" fmla="*/ 300253 h 337206"/>
                <a:gd name="connsiteX61" fmla="*/ 317504 w 437753"/>
                <a:gd name="connsiteY61" fmla="*/ 290633 h 337206"/>
                <a:gd name="connsiteX62" fmla="*/ 349879 w 437753"/>
                <a:gd name="connsiteY62" fmla="*/ 292946 h 337206"/>
                <a:gd name="connsiteX63" fmla="*/ 437754 w 437753"/>
                <a:gd name="connsiteY63" fmla="*/ 202389 h 337206"/>
                <a:gd name="connsiteX64" fmla="*/ 412686 w 437753"/>
                <a:gd name="connsiteY64" fmla="*/ 202389 h 33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37753" h="337206">
                  <a:moveTo>
                    <a:pt x="412964" y="202250"/>
                  </a:moveTo>
                  <a:lnTo>
                    <a:pt x="319308" y="170661"/>
                  </a:lnTo>
                  <a:lnTo>
                    <a:pt x="302936" y="155630"/>
                  </a:lnTo>
                  <a:lnTo>
                    <a:pt x="300346" y="145039"/>
                  </a:lnTo>
                  <a:lnTo>
                    <a:pt x="290032" y="139350"/>
                  </a:lnTo>
                  <a:lnTo>
                    <a:pt x="285037" y="128574"/>
                  </a:lnTo>
                  <a:lnTo>
                    <a:pt x="283464" y="125152"/>
                  </a:lnTo>
                  <a:lnTo>
                    <a:pt x="290032" y="115023"/>
                  </a:lnTo>
                  <a:lnTo>
                    <a:pt x="289893" y="115023"/>
                  </a:lnTo>
                  <a:lnTo>
                    <a:pt x="279395" y="109566"/>
                  </a:lnTo>
                  <a:lnTo>
                    <a:pt x="273428" y="114191"/>
                  </a:lnTo>
                  <a:lnTo>
                    <a:pt x="257796" y="113821"/>
                  </a:lnTo>
                  <a:lnTo>
                    <a:pt x="258166" y="92823"/>
                  </a:lnTo>
                  <a:lnTo>
                    <a:pt x="277544" y="68080"/>
                  </a:lnTo>
                  <a:lnTo>
                    <a:pt x="261450" y="58136"/>
                  </a:lnTo>
                  <a:lnTo>
                    <a:pt x="256455" y="46203"/>
                  </a:lnTo>
                  <a:lnTo>
                    <a:pt x="240267" y="38110"/>
                  </a:lnTo>
                  <a:lnTo>
                    <a:pt x="233700" y="22709"/>
                  </a:lnTo>
                  <a:lnTo>
                    <a:pt x="207476" y="9204"/>
                  </a:lnTo>
                  <a:lnTo>
                    <a:pt x="186063" y="10961"/>
                  </a:lnTo>
                  <a:lnTo>
                    <a:pt x="179680" y="3469"/>
                  </a:lnTo>
                  <a:lnTo>
                    <a:pt x="164279" y="11562"/>
                  </a:lnTo>
                  <a:lnTo>
                    <a:pt x="144993" y="0"/>
                  </a:lnTo>
                  <a:lnTo>
                    <a:pt x="135188" y="20257"/>
                  </a:lnTo>
                  <a:lnTo>
                    <a:pt x="124782" y="10452"/>
                  </a:lnTo>
                  <a:lnTo>
                    <a:pt x="119602" y="16234"/>
                  </a:lnTo>
                  <a:lnTo>
                    <a:pt x="104571" y="17020"/>
                  </a:lnTo>
                  <a:lnTo>
                    <a:pt x="94719" y="62483"/>
                  </a:lnTo>
                  <a:lnTo>
                    <a:pt x="79087" y="65351"/>
                  </a:lnTo>
                  <a:lnTo>
                    <a:pt x="62900" y="89031"/>
                  </a:lnTo>
                  <a:lnTo>
                    <a:pt x="58275" y="122562"/>
                  </a:lnTo>
                  <a:lnTo>
                    <a:pt x="47267" y="116781"/>
                  </a:lnTo>
                  <a:lnTo>
                    <a:pt x="39174" y="127788"/>
                  </a:lnTo>
                  <a:lnTo>
                    <a:pt x="35104" y="161920"/>
                  </a:lnTo>
                  <a:lnTo>
                    <a:pt x="35473" y="186988"/>
                  </a:lnTo>
                  <a:lnTo>
                    <a:pt x="6567" y="189670"/>
                  </a:lnTo>
                  <a:lnTo>
                    <a:pt x="6937" y="196978"/>
                  </a:lnTo>
                  <a:lnTo>
                    <a:pt x="0" y="204285"/>
                  </a:lnTo>
                  <a:lnTo>
                    <a:pt x="2682" y="208910"/>
                  </a:lnTo>
                  <a:lnTo>
                    <a:pt x="29646" y="216217"/>
                  </a:lnTo>
                  <a:lnTo>
                    <a:pt x="35797" y="228936"/>
                  </a:lnTo>
                  <a:lnTo>
                    <a:pt x="52355" y="240499"/>
                  </a:lnTo>
                  <a:lnTo>
                    <a:pt x="67663" y="279811"/>
                  </a:lnTo>
                  <a:lnTo>
                    <a:pt x="73537" y="275186"/>
                  </a:lnTo>
                  <a:lnTo>
                    <a:pt x="83249" y="280366"/>
                  </a:lnTo>
                  <a:lnTo>
                    <a:pt x="83249" y="293084"/>
                  </a:lnTo>
                  <a:lnTo>
                    <a:pt x="90696" y="297663"/>
                  </a:lnTo>
                  <a:cubicBezTo>
                    <a:pt x="91158" y="297663"/>
                    <a:pt x="95321" y="295721"/>
                    <a:pt x="95506" y="299143"/>
                  </a:cubicBezTo>
                  <a:cubicBezTo>
                    <a:pt x="95598" y="301594"/>
                    <a:pt x="95691" y="303814"/>
                    <a:pt x="95783" y="305896"/>
                  </a:cubicBezTo>
                  <a:lnTo>
                    <a:pt x="95876" y="305896"/>
                  </a:lnTo>
                  <a:cubicBezTo>
                    <a:pt x="95876" y="305896"/>
                    <a:pt x="115532" y="306358"/>
                    <a:pt x="115532" y="306358"/>
                  </a:cubicBezTo>
                  <a:lnTo>
                    <a:pt x="149063" y="331009"/>
                  </a:lnTo>
                  <a:lnTo>
                    <a:pt x="162568" y="329483"/>
                  </a:lnTo>
                  <a:lnTo>
                    <a:pt x="192260" y="337207"/>
                  </a:lnTo>
                  <a:lnTo>
                    <a:pt x="201880" y="322962"/>
                  </a:lnTo>
                  <a:lnTo>
                    <a:pt x="228103" y="311399"/>
                  </a:lnTo>
                  <a:lnTo>
                    <a:pt x="237724" y="321019"/>
                  </a:lnTo>
                  <a:lnTo>
                    <a:pt x="259322" y="320649"/>
                  </a:lnTo>
                  <a:lnTo>
                    <a:pt x="265890" y="312186"/>
                  </a:lnTo>
                  <a:lnTo>
                    <a:pt x="290541" y="308717"/>
                  </a:lnTo>
                  <a:lnTo>
                    <a:pt x="292853" y="300253"/>
                  </a:lnTo>
                  <a:lnTo>
                    <a:pt x="317504" y="290633"/>
                  </a:lnTo>
                  <a:lnTo>
                    <a:pt x="349879" y="292946"/>
                  </a:lnTo>
                  <a:lnTo>
                    <a:pt x="437754" y="202389"/>
                  </a:lnTo>
                  <a:lnTo>
                    <a:pt x="412686" y="202389"/>
                  </a:lnTo>
                  <a:close/>
                </a:path>
              </a:pathLst>
            </a:custGeom>
            <a:grpFill/>
            <a:ln w="4609" cap="flat">
              <a:noFill/>
              <a:prstDash val="solid"/>
              <a:miter/>
            </a:ln>
          </p:spPr>
          <p:txBody>
            <a:bodyPr rtlCol="0" anchor="ctr"/>
            <a:lstStyle/>
            <a:p>
              <a:endParaRPr lang="en-IN"/>
            </a:p>
          </p:txBody>
        </p:sp>
        <p:grpSp>
          <p:nvGrpSpPr>
            <p:cNvPr id="108" name="Graphic 36">
              <a:extLst>
                <a:ext uri="{FF2B5EF4-FFF2-40B4-BE49-F238E27FC236}">
                  <a16:creationId xmlns:a16="http://schemas.microsoft.com/office/drawing/2014/main" id="{E59F5648-5D38-ED97-CEB2-36D54D929EEF}"/>
                </a:ext>
              </a:extLst>
            </p:cNvPr>
            <p:cNvGrpSpPr/>
            <p:nvPr/>
          </p:nvGrpSpPr>
          <p:grpSpPr>
            <a:xfrm>
              <a:off x="6886282" y="4496427"/>
              <a:ext cx="197393" cy="171355"/>
              <a:chOff x="6886282" y="4496427"/>
              <a:chExt cx="197393" cy="171355"/>
            </a:xfrm>
            <a:grpFill/>
          </p:grpSpPr>
          <p:sp>
            <p:nvSpPr>
              <p:cNvPr id="141" name="Freeform: Shape 140">
                <a:extLst>
                  <a:ext uri="{FF2B5EF4-FFF2-40B4-BE49-F238E27FC236}">
                    <a16:creationId xmlns:a16="http://schemas.microsoft.com/office/drawing/2014/main" id="{2A8BE151-A67F-6017-CB16-53F23AA08C2E}"/>
                  </a:ext>
                </a:extLst>
              </p:cNvPr>
              <p:cNvSpPr/>
              <p:nvPr/>
            </p:nvSpPr>
            <p:spPr>
              <a:xfrm>
                <a:off x="6998702" y="4581028"/>
                <a:ext cx="4204" cy="4654"/>
              </a:xfrm>
              <a:custGeom>
                <a:avLst/>
                <a:gdLst>
                  <a:gd name="connsiteX0" fmla="*/ 2742 w 4204"/>
                  <a:gd name="connsiteY0" fmla="*/ 129 h 4654"/>
                  <a:gd name="connsiteX1" fmla="*/ 105 w 4204"/>
                  <a:gd name="connsiteY1" fmla="*/ 2210 h 4654"/>
                  <a:gd name="connsiteX2" fmla="*/ 429 w 4204"/>
                  <a:gd name="connsiteY2" fmla="*/ 3366 h 4654"/>
                  <a:gd name="connsiteX3" fmla="*/ 3759 w 4204"/>
                  <a:gd name="connsiteY3" fmla="*/ 2534 h 4654"/>
                  <a:gd name="connsiteX4" fmla="*/ 2742 w 4204"/>
                  <a:gd name="connsiteY4" fmla="*/ 129 h 4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4" h="4654">
                    <a:moveTo>
                      <a:pt x="2742" y="129"/>
                    </a:moveTo>
                    <a:cubicBezTo>
                      <a:pt x="3204" y="36"/>
                      <a:pt x="-681" y="-611"/>
                      <a:pt x="105" y="2210"/>
                    </a:cubicBezTo>
                    <a:lnTo>
                      <a:pt x="429" y="3366"/>
                    </a:lnTo>
                    <a:cubicBezTo>
                      <a:pt x="1308" y="6557"/>
                      <a:pt x="3297" y="2857"/>
                      <a:pt x="3759" y="2534"/>
                    </a:cubicBezTo>
                    <a:cubicBezTo>
                      <a:pt x="4638" y="1377"/>
                      <a:pt x="4175" y="314"/>
                      <a:pt x="2742" y="129"/>
                    </a:cubicBezTo>
                    <a:close/>
                  </a:path>
                </a:pathLst>
              </a:custGeom>
              <a:grpFill/>
              <a:ln w="4609" cap="flat">
                <a:noFill/>
                <a:prstDash val="solid"/>
                <a:miter/>
              </a:ln>
            </p:spPr>
            <p:txBody>
              <a:bodyPr rtlCol="0" anchor="ctr"/>
              <a:lstStyle/>
              <a:p>
                <a:endParaRPr lang="en-IN"/>
              </a:p>
            </p:txBody>
          </p:sp>
          <p:sp>
            <p:nvSpPr>
              <p:cNvPr id="142" name="Freeform: Shape 141">
                <a:extLst>
                  <a:ext uri="{FF2B5EF4-FFF2-40B4-BE49-F238E27FC236}">
                    <a16:creationId xmlns:a16="http://schemas.microsoft.com/office/drawing/2014/main" id="{979D93DB-79E4-C6FD-9F4C-2510F50BBFA2}"/>
                  </a:ext>
                </a:extLst>
              </p:cNvPr>
              <p:cNvSpPr/>
              <p:nvPr/>
            </p:nvSpPr>
            <p:spPr>
              <a:xfrm>
                <a:off x="6992601" y="4564766"/>
                <a:ext cx="10550" cy="4720"/>
              </a:xfrm>
              <a:custGeom>
                <a:avLst/>
                <a:gdLst>
                  <a:gd name="connsiteX0" fmla="*/ 3894 w 10550"/>
                  <a:gd name="connsiteY0" fmla="*/ 4689 h 4720"/>
                  <a:gd name="connsiteX1" fmla="*/ 9074 w 10550"/>
                  <a:gd name="connsiteY1" fmla="*/ 3996 h 4720"/>
                  <a:gd name="connsiteX2" fmla="*/ 10138 w 10550"/>
                  <a:gd name="connsiteY2" fmla="*/ 1545 h 4720"/>
                  <a:gd name="connsiteX3" fmla="*/ 9953 w 10550"/>
                  <a:gd name="connsiteY3" fmla="*/ 1313 h 4720"/>
                  <a:gd name="connsiteX4" fmla="*/ 1582 w 10550"/>
                  <a:gd name="connsiteY4" fmla="*/ 2053 h 4720"/>
                  <a:gd name="connsiteX5" fmla="*/ 3894 w 10550"/>
                  <a:gd name="connsiteY5" fmla="*/ 4643 h 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0" h="4720">
                    <a:moveTo>
                      <a:pt x="3894" y="4689"/>
                    </a:moveTo>
                    <a:lnTo>
                      <a:pt x="9074" y="3996"/>
                    </a:lnTo>
                    <a:cubicBezTo>
                      <a:pt x="10508" y="3811"/>
                      <a:pt x="10970" y="2701"/>
                      <a:pt x="10138" y="1545"/>
                    </a:cubicBezTo>
                    <a:lnTo>
                      <a:pt x="9953" y="1313"/>
                    </a:lnTo>
                    <a:cubicBezTo>
                      <a:pt x="7641" y="-1785"/>
                      <a:pt x="3756" y="1498"/>
                      <a:pt x="1582" y="2053"/>
                    </a:cubicBezTo>
                    <a:cubicBezTo>
                      <a:pt x="-1609" y="3394"/>
                      <a:pt x="472" y="5106"/>
                      <a:pt x="3894" y="4643"/>
                    </a:cubicBezTo>
                    <a:close/>
                  </a:path>
                </a:pathLst>
              </a:custGeom>
              <a:grpFill/>
              <a:ln w="4609" cap="flat">
                <a:noFill/>
                <a:prstDash val="solid"/>
                <a:miter/>
              </a:ln>
            </p:spPr>
            <p:txBody>
              <a:bodyPr rtlCol="0" anchor="ctr"/>
              <a:lstStyle/>
              <a:p>
                <a:endParaRPr lang="en-IN"/>
              </a:p>
            </p:txBody>
          </p:sp>
          <p:sp>
            <p:nvSpPr>
              <p:cNvPr id="143" name="Freeform: Shape 142">
                <a:extLst>
                  <a:ext uri="{FF2B5EF4-FFF2-40B4-BE49-F238E27FC236}">
                    <a16:creationId xmlns:a16="http://schemas.microsoft.com/office/drawing/2014/main" id="{A97CBAC6-8A0F-8CD3-C8D8-D6021C36844A}"/>
                  </a:ext>
                </a:extLst>
              </p:cNvPr>
              <p:cNvSpPr/>
              <p:nvPr/>
            </p:nvSpPr>
            <p:spPr>
              <a:xfrm>
                <a:off x="6989920" y="4559194"/>
                <a:ext cx="4716" cy="5009"/>
              </a:xfrm>
              <a:custGeom>
                <a:avLst/>
                <a:gdLst>
                  <a:gd name="connsiteX0" fmla="*/ 3615 w 4716"/>
                  <a:gd name="connsiteY0" fmla="*/ 1104 h 5009"/>
                  <a:gd name="connsiteX1" fmla="*/ 2875 w 4716"/>
                  <a:gd name="connsiteY1" fmla="*/ 549 h 5009"/>
                  <a:gd name="connsiteX2" fmla="*/ 1210 w 4716"/>
                  <a:gd name="connsiteY2" fmla="*/ 4526 h 5009"/>
                  <a:gd name="connsiteX3" fmla="*/ 3615 w 4716"/>
                  <a:gd name="connsiteY3" fmla="*/ 1150 h 5009"/>
                </a:gdLst>
                <a:ahLst/>
                <a:cxnLst>
                  <a:cxn ang="0">
                    <a:pos x="connsiteX0" y="connsiteY0"/>
                  </a:cxn>
                  <a:cxn ang="0">
                    <a:pos x="connsiteX1" y="connsiteY1"/>
                  </a:cxn>
                  <a:cxn ang="0">
                    <a:pos x="connsiteX2" y="connsiteY2"/>
                  </a:cxn>
                  <a:cxn ang="0">
                    <a:pos x="connsiteX3" y="connsiteY3"/>
                  </a:cxn>
                </a:cxnLst>
                <a:rect l="l" t="t" r="r" b="b"/>
                <a:pathLst>
                  <a:path w="4716" h="5009">
                    <a:moveTo>
                      <a:pt x="3615" y="1104"/>
                    </a:moveTo>
                    <a:lnTo>
                      <a:pt x="2875" y="549"/>
                    </a:lnTo>
                    <a:cubicBezTo>
                      <a:pt x="146" y="-1533"/>
                      <a:pt x="-1102" y="2861"/>
                      <a:pt x="1210" y="4526"/>
                    </a:cubicBezTo>
                    <a:cubicBezTo>
                      <a:pt x="3523" y="6191"/>
                      <a:pt x="6297" y="3185"/>
                      <a:pt x="3615" y="1150"/>
                    </a:cubicBezTo>
                    <a:close/>
                  </a:path>
                </a:pathLst>
              </a:custGeom>
              <a:grpFill/>
              <a:ln w="4609" cap="flat">
                <a:noFill/>
                <a:prstDash val="solid"/>
                <a:miter/>
              </a:ln>
            </p:spPr>
            <p:txBody>
              <a:bodyPr rtlCol="0" anchor="ctr"/>
              <a:lstStyle/>
              <a:p>
                <a:endParaRPr lang="en-IN"/>
              </a:p>
            </p:txBody>
          </p:sp>
          <p:sp>
            <p:nvSpPr>
              <p:cNvPr id="144" name="Freeform: Shape 143">
                <a:extLst>
                  <a:ext uri="{FF2B5EF4-FFF2-40B4-BE49-F238E27FC236}">
                    <a16:creationId xmlns:a16="http://schemas.microsoft.com/office/drawing/2014/main" id="{5DDF7A97-71AE-9A88-B546-016345D72891}"/>
                  </a:ext>
                </a:extLst>
              </p:cNvPr>
              <p:cNvSpPr/>
              <p:nvPr/>
            </p:nvSpPr>
            <p:spPr>
              <a:xfrm>
                <a:off x="6991615" y="4550814"/>
                <a:ext cx="4023" cy="5462"/>
              </a:xfrm>
              <a:custGeom>
                <a:avLst/>
                <a:gdLst>
                  <a:gd name="connsiteX0" fmla="*/ 1134 w 4023"/>
                  <a:gd name="connsiteY0" fmla="*/ 4905 h 5462"/>
                  <a:gd name="connsiteX1" fmla="*/ 1689 w 4023"/>
                  <a:gd name="connsiteY1" fmla="*/ 5183 h 5462"/>
                  <a:gd name="connsiteX2" fmla="*/ 4001 w 4023"/>
                  <a:gd name="connsiteY2" fmla="*/ 3795 h 5462"/>
                  <a:gd name="connsiteX3" fmla="*/ 2105 w 4023"/>
                  <a:gd name="connsiteY3" fmla="*/ 604 h 5462"/>
                  <a:gd name="connsiteX4" fmla="*/ 1180 w 4023"/>
                  <a:gd name="connsiteY4" fmla="*/ 4859 h 5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 h="5462">
                    <a:moveTo>
                      <a:pt x="1134" y="4905"/>
                    </a:moveTo>
                    <a:lnTo>
                      <a:pt x="1689" y="5183"/>
                    </a:lnTo>
                    <a:cubicBezTo>
                      <a:pt x="2984" y="5876"/>
                      <a:pt x="4001" y="5229"/>
                      <a:pt x="4001" y="3795"/>
                    </a:cubicBezTo>
                    <a:cubicBezTo>
                      <a:pt x="3909" y="3333"/>
                      <a:pt x="4602" y="-1709"/>
                      <a:pt x="2105" y="604"/>
                    </a:cubicBezTo>
                    <a:cubicBezTo>
                      <a:pt x="1827" y="1066"/>
                      <a:pt x="-1826" y="3286"/>
                      <a:pt x="1180" y="4859"/>
                    </a:cubicBezTo>
                    <a:close/>
                  </a:path>
                </a:pathLst>
              </a:custGeom>
              <a:grpFill/>
              <a:ln w="4609" cap="flat">
                <a:noFill/>
                <a:prstDash val="solid"/>
                <a:miter/>
              </a:ln>
            </p:spPr>
            <p:txBody>
              <a:bodyPr rtlCol="0" anchor="ctr"/>
              <a:lstStyle/>
              <a:p>
                <a:endParaRPr lang="en-IN"/>
              </a:p>
            </p:txBody>
          </p:sp>
          <p:sp>
            <p:nvSpPr>
              <p:cNvPr id="145" name="Freeform: Shape 144">
                <a:extLst>
                  <a:ext uri="{FF2B5EF4-FFF2-40B4-BE49-F238E27FC236}">
                    <a16:creationId xmlns:a16="http://schemas.microsoft.com/office/drawing/2014/main" id="{7EE37F2A-BF7A-DF1D-E051-EA22770A9473}"/>
                  </a:ext>
                </a:extLst>
              </p:cNvPr>
              <p:cNvSpPr/>
              <p:nvPr/>
            </p:nvSpPr>
            <p:spPr>
              <a:xfrm>
                <a:off x="6886282" y="4496427"/>
                <a:ext cx="197393" cy="171355"/>
              </a:xfrm>
              <a:custGeom>
                <a:avLst/>
                <a:gdLst>
                  <a:gd name="connsiteX0" fmla="*/ 33577 w 197393"/>
                  <a:gd name="connsiteY0" fmla="*/ 19795 h 171355"/>
                  <a:gd name="connsiteX1" fmla="*/ 29322 w 197393"/>
                  <a:gd name="connsiteY1" fmla="*/ 31357 h 171355"/>
                  <a:gd name="connsiteX2" fmla="*/ 15447 w 197393"/>
                  <a:gd name="connsiteY2" fmla="*/ 31727 h 171355"/>
                  <a:gd name="connsiteX3" fmla="*/ 14661 w 197393"/>
                  <a:gd name="connsiteY3" fmla="*/ 54482 h 171355"/>
                  <a:gd name="connsiteX4" fmla="*/ 0 w 197393"/>
                  <a:gd name="connsiteY4" fmla="*/ 86857 h 171355"/>
                  <a:gd name="connsiteX5" fmla="*/ 2312 w 197393"/>
                  <a:gd name="connsiteY5" fmla="*/ 114237 h 171355"/>
                  <a:gd name="connsiteX6" fmla="*/ 17344 w 197393"/>
                  <a:gd name="connsiteY6" fmla="*/ 113451 h 171355"/>
                  <a:gd name="connsiteX7" fmla="*/ 22524 w 197393"/>
                  <a:gd name="connsiteY7" fmla="*/ 107669 h 171355"/>
                  <a:gd name="connsiteX8" fmla="*/ 32930 w 197393"/>
                  <a:gd name="connsiteY8" fmla="*/ 117474 h 171355"/>
                  <a:gd name="connsiteX9" fmla="*/ 42735 w 197393"/>
                  <a:gd name="connsiteY9" fmla="*/ 97217 h 171355"/>
                  <a:gd name="connsiteX10" fmla="*/ 62021 w 197393"/>
                  <a:gd name="connsiteY10" fmla="*/ 108779 h 171355"/>
                  <a:gd name="connsiteX11" fmla="*/ 77422 w 197393"/>
                  <a:gd name="connsiteY11" fmla="*/ 100686 h 171355"/>
                  <a:gd name="connsiteX12" fmla="*/ 83804 w 197393"/>
                  <a:gd name="connsiteY12" fmla="*/ 108178 h 171355"/>
                  <a:gd name="connsiteX13" fmla="*/ 105218 w 197393"/>
                  <a:gd name="connsiteY13" fmla="*/ 106421 h 171355"/>
                  <a:gd name="connsiteX14" fmla="*/ 131442 w 197393"/>
                  <a:gd name="connsiteY14" fmla="*/ 119925 h 171355"/>
                  <a:gd name="connsiteX15" fmla="*/ 138009 w 197393"/>
                  <a:gd name="connsiteY15" fmla="*/ 135327 h 171355"/>
                  <a:gd name="connsiteX16" fmla="*/ 154197 w 197393"/>
                  <a:gd name="connsiteY16" fmla="*/ 143420 h 171355"/>
                  <a:gd name="connsiteX17" fmla="*/ 159192 w 197393"/>
                  <a:gd name="connsiteY17" fmla="*/ 155353 h 171355"/>
                  <a:gd name="connsiteX18" fmla="*/ 175286 w 197393"/>
                  <a:gd name="connsiteY18" fmla="*/ 165296 h 171355"/>
                  <a:gd name="connsiteX19" fmla="*/ 183103 w 197393"/>
                  <a:gd name="connsiteY19" fmla="*/ 171355 h 171355"/>
                  <a:gd name="connsiteX20" fmla="*/ 186201 w 197393"/>
                  <a:gd name="connsiteY20" fmla="*/ 168765 h 171355"/>
                  <a:gd name="connsiteX21" fmla="*/ 185831 w 197393"/>
                  <a:gd name="connsiteY21" fmla="*/ 165481 h 171355"/>
                  <a:gd name="connsiteX22" fmla="*/ 197394 w 197393"/>
                  <a:gd name="connsiteY22" fmla="*/ 159793 h 171355"/>
                  <a:gd name="connsiteX23" fmla="*/ 197394 w 197393"/>
                  <a:gd name="connsiteY23" fmla="*/ 159793 h 171355"/>
                  <a:gd name="connsiteX24" fmla="*/ 191196 w 197393"/>
                  <a:gd name="connsiteY24" fmla="*/ 152023 h 171355"/>
                  <a:gd name="connsiteX25" fmla="*/ 188329 w 197393"/>
                  <a:gd name="connsiteY25" fmla="*/ 154937 h 171355"/>
                  <a:gd name="connsiteX26" fmla="*/ 184398 w 197393"/>
                  <a:gd name="connsiteY26" fmla="*/ 151468 h 171355"/>
                  <a:gd name="connsiteX27" fmla="*/ 181345 w 197393"/>
                  <a:gd name="connsiteY27" fmla="*/ 146010 h 171355"/>
                  <a:gd name="connsiteX28" fmla="*/ 174223 w 197393"/>
                  <a:gd name="connsiteY28" fmla="*/ 142865 h 171355"/>
                  <a:gd name="connsiteX29" fmla="*/ 168534 w 197393"/>
                  <a:gd name="connsiteY29" fmla="*/ 132367 h 171355"/>
                  <a:gd name="connsiteX30" fmla="*/ 163169 w 197393"/>
                  <a:gd name="connsiteY30" fmla="*/ 127002 h 171355"/>
                  <a:gd name="connsiteX31" fmla="*/ 156648 w 197393"/>
                  <a:gd name="connsiteY31" fmla="*/ 123625 h 171355"/>
                  <a:gd name="connsiteX32" fmla="*/ 137084 w 197393"/>
                  <a:gd name="connsiteY32" fmla="*/ 100778 h 171355"/>
                  <a:gd name="connsiteX33" fmla="*/ 129499 w 197393"/>
                  <a:gd name="connsiteY33" fmla="*/ 99298 h 171355"/>
                  <a:gd name="connsiteX34" fmla="*/ 124366 w 197393"/>
                  <a:gd name="connsiteY34" fmla="*/ 92129 h 171355"/>
                  <a:gd name="connsiteX35" fmla="*/ 117752 w 197393"/>
                  <a:gd name="connsiteY35" fmla="*/ 90788 h 171355"/>
                  <a:gd name="connsiteX36" fmla="*/ 111971 w 197393"/>
                  <a:gd name="connsiteY36" fmla="*/ 92638 h 171355"/>
                  <a:gd name="connsiteX37" fmla="*/ 106976 w 197393"/>
                  <a:gd name="connsiteY37" fmla="*/ 81076 h 171355"/>
                  <a:gd name="connsiteX38" fmla="*/ 104108 w 197393"/>
                  <a:gd name="connsiteY38" fmla="*/ 75942 h 171355"/>
                  <a:gd name="connsiteX39" fmla="*/ 99992 w 197393"/>
                  <a:gd name="connsiteY39" fmla="*/ 80983 h 171355"/>
                  <a:gd name="connsiteX40" fmla="*/ 100408 w 197393"/>
                  <a:gd name="connsiteY40" fmla="*/ 86117 h 171355"/>
                  <a:gd name="connsiteX41" fmla="*/ 100223 w 197393"/>
                  <a:gd name="connsiteY41" fmla="*/ 86811 h 171355"/>
                  <a:gd name="connsiteX42" fmla="*/ 96801 w 197393"/>
                  <a:gd name="connsiteY42" fmla="*/ 87782 h 171355"/>
                  <a:gd name="connsiteX43" fmla="*/ 94997 w 197393"/>
                  <a:gd name="connsiteY43" fmla="*/ 84174 h 171355"/>
                  <a:gd name="connsiteX44" fmla="*/ 93702 w 197393"/>
                  <a:gd name="connsiteY44" fmla="*/ 75526 h 171355"/>
                  <a:gd name="connsiteX45" fmla="*/ 88661 w 197393"/>
                  <a:gd name="connsiteY45" fmla="*/ 71363 h 171355"/>
                  <a:gd name="connsiteX46" fmla="*/ 86348 w 197393"/>
                  <a:gd name="connsiteY46" fmla="*/ 63085 h 171355"/>
                  <a:gd name="connsiteX47" fmla="*/ 82648 w 197393"/>
                  <a:gd name="connsiteY47" fmla="*/ 57720 h 171355"/>
                  <a:gd name="connsiteX48" fmla="*/ 79642 w 197393"/>
                  <a:gd name="connsiteY48" fmla="*/ 37370 h 171355"/>
                  <a:gd name="connsiteX49" fmla="*/ 72103 w 197393"/>
                  <a:gd name="connsiteY49" fmla="*/ 11932 h 171355"/>
                  <a:gd name="connsiteX50" fmla="*/ 64010 w 197393"/>
                  <a:gd name="connsiteY50" fmla="*/ 0 h 171355"/>
                  <a:gd name="connsiteX51" fmla="*/ 52540 w 197393"/>
                  <a:gd name="connsiteY51" fmla="*/ 16789 h 171355"/>
                  <a:gd name="connsiteX52" fmla="*/ 33670 w 197393"/>
                  <a:gd name="connsiteY52" fmla="*/ 19887 h 17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7393" h="171355">
                    <a:moveTo>
                      <a:pt x="33577" y="19795"/>
                    </a:moveTo>
                    <a:lnTo>
                      <a:pt x="29322" y="31357"/>
                    </a:lnTo>
                    <a:lnTo>
                      <a:pt x="15447" y="31727"/>
                    </a:lnTo>
                    <a:lnTo>
                      <a:pt x="14661" y="54482"/>
                    </a:lnTo>
                    <a:lnTo>
                      <a:pt x="0" y="86857"/>
                    </a:lnTo>
                    <a:lnTo>
                      <a:pt x="2312" y="114237"/>
                    </a:lnTo>
                    <a:lnTo>
                      <a:pt x="17344" y="113451"/>
                    </a:lnTo>
                    <a:lnTo>
                      <a:pt x="22524" y="107669"/>
                    </a:lnTo>
                    <a:lnTo>
                      <a:pt x="32930" y="117474"/>
                    </a:lnTo>
                    <a:lnTo>
                      <a:pt x="42735" y="97217"/>
                    </a:lnTo>
                    <a:lnTo>
                      <a:pt x="62021" y="108779"/>
                    </a:lnTo>
                    <a:lnTo>
                      <a:pt x="77422" y="100686"/>
                    </a:lnTo>
                    <a:lnTo>
                      <a:pt x="83804" y="108178"/>
                    </a:lnTo>
                    <a:lnTo>
                      <a:pt x="105218" y="106421"/>
                    </a:lnTo>
                    <a:lnTo>
                      <a:pt x="131442" y="119925"/>
                    </a:lnTo>
                    <a:lnTo>
                      <a:pt x="138009" y="135327"/>
                    </a:lnTo>
                    <a:lnTo>
                      <a:pt x="154197" y="143420"/>
                    </a:lnTo>
                    <a:lnTo>
                      <a:pt x="159192" y="155353"/>
                    </a:lnTo>
                    <a:lnTo>
                      <a:pt x="175286" y="165296"/>
                    </a:lnTo>
                    <a:lnTo>
                      <a:pt x="183103" y="171355"/>
                    </a:lnTo>
                    <a:lnTo>
                      <a:pt x="186201" y="168765"/>
                    </a:lnTo>
                    <a:lnTo>
                      <a:pt x="185831" y="165481"/>
                    </a:lnTo>
                    <a:lnTo>
                      <a:pt x="197394" y="159793"/>
                    </a:lnTo>
                    <a:lnTo>
                      <a:pt x="197394" y="159793"/>
                    </a:lnTo>
                    <a:cubicBezTo>
                      <a:pt x="193740" y="153688"/>
                      <a:pt x="192815" y="152439"/>
                      <a:pt x="191196" y="152023"/>
                    </a:cubicBezTo>
                    <a:cubicBezTo>
                      <a:pt x="188606" y="151329"/>
                      <a:pt x="191890" y="156139"/>
                      <a:pt x="188329" y="154937"/>
                    </a:cubicBezTo>
                    <a:cubicBezTo>
                      <a:pt x="187866" y="154659"/>
                      <a:pt x="184953" y="154243"/>
                      <a:pt x="184398" y="151468"/>
                    </a:cubicBezTo>
                    <a:cubicBezTo>
                      <a:pt x="183843" y="148739"/>
                      <a:pt x="181021" y="145548"/>
                      <a:pt x="181345" y="146010"/>
                    </a:cubicBezTo>
                    <a:cubicBezTo>
                      <a:pt x="178848" y="142958"/>
                      <a:pt x="175425" y="146519"/>
                      <a:pt x="174223" y="142865"/>
                    </a:cubicBezTo>
                    <a:cubicBezTo>
                      <a:pt x="171633" y="135142"/>
                      <a:pt x="171263" y="132922"/>
                      <a:pt x="168534" y="132367"/>
                    </a:cubicBezTo>
                    <a:cubicBezTo>
                      <a:pt x="165343" y="131719"/>
                      <a:pt x="162799" y="126493"/>
                      <a:pt x="163169" y="127002"/>
                    </a:cubicBezTo>
                    <a:cubicBezTo>
                      <a:pt x="161319" y="124042"/>
                      <a:pt x="156185" y="123440"/>
                      <a:pt x="156648" y="123625"/>
                    </a:cubicBezTo>
                    <a:cubicBezTo>
                      <a:pt x="149618" y="122053"/>
                      <a:pt x="143883" y="102119"/>
                      <a:pt x="137084" y="100778"/>
                    </a:cubicBezTo>
                    <a:lnTo>
                      <a:pt x="129499" y="99298"/>
                    </a:lnTo>
                    <a:cubicBezTo>
                      <a:pt x="125799" y="98558"/>
                      <a:pt x="127603" y="94257"/>
                      <a:pt x="124366" y="92129"/>
                    </a:cubicBezTo>
                    <a:cubicBezTo>
                      <a:pt x="123579" y="91806"/>
                      <a:pt x="120527" y="88568"/>
                      <a:pt x="117752" y="90788"/>
                    </a:cubicBezTo>
                    <a:cubicBezTo>
                      <a:pt x="117104" y="91112"/>
                      <a:pt x="114653" y="94118"/>
                      <a:pt x="111971" y="92638"/>
                    </a:cubicBezTo>
                    <a:cubicBezTo>
                      <a:pt x="109103" y="91019"/>
                      <a:pt x="106004" y="84360"/>
                      <a:pt x="106976" y="81076"/>
                    </a:cubicBezTo>
                    <a:cubicBezTo>
                      <a:pt x="107808" y="78208"/>
                      <a:pt x="103738" y="75479"/>
                      <a:pt x="104108" y="75942"/>
                    </a:cubicBezTo>
                    <a:cubicBezTo>
                      <a:pt x="101379" y="73768"/>
                      <a:pt x="98651" y="77792"/>
                      <a:pt x="99992" y="80983"/>
                    </a:cubicBezTo>
                    <a:cubicBezTo>
                      <a:pt x="100223" y="82093"/>
                      <a:pt x="101102" y="83619"/>
                      <a:pt x="100408" y="86117"/>
                    </a:cubicBezTo>
                    <a:lnTo>
                      <a:pt x="100223" y="86811"/>
                    </a:lnTo>
                    <a:cubicBezTo>
                      <a:pt x="99483" y="89539"/>
                      <a:pt x="96338" y="87689"/>
                      <a:pt x="96801" y="87782"/>
                    </a:cubicBezTo>
                    <a:cubicBezTo>
                      <a:pt x="95552" y="87042"/>
                      <a:pt x="94766" y="85423"/>
                      <a:pt x="94997" y="84174"/>
                    </a:cubicBezTo>
                    <a:cubicBezTo>
                      <a:pt x="95691" y="80844"/>
                      <a:pt x="93563" y="75063"/>
                      <a:pt x="93702" y="75526"/>
                    </a:cubicBezTo>
                    <a:cubicBezTo>
                      <a:pt x="92592" y="71687"/>
                      <a:pt x="88800" y="75295"/>
                      <a:pt x="88661" y="71363"/>
                    </a:cubicBezTo>
                    <a:cubicBezTo>
                      <a:pt x="88383" y="69606"/>
                      <a:pt x="89262" y="65443"/>
                      <a:pt x="86348" y="63085"/>
                    </a:cubicBezTo>
                    <a:cubicBezTo>
                      <a:pt x="85839" y="62483"/>
                      <a:pt x="83064" y="61003"/>
                      <a:pt x="82648" y="57720"/>
                    </a:cubicBezTo>
                    <a:cubicBezTo>
                      <a:pt x="81076" y="45926"/>
                      <a:pt x="80613" y="41116"/>
                      <a:pt x="79642" y="37370"/>
                    </a:cubicBezTo>
                    <a:cubicBezTo>
                      <a:pt x="74138" y="16372"/>
                      <a:pt x="74138" y="14939"/>
                      <a:pt x="72103" y="11932"/>
                    </a:cubicBezTo>
                    <a:cubicBezTo>
                      <a:pt x="68588" y="6752"/>
                      <a:pt x="65998" y="2914"/>
                      <a:pt x="64010" y="0"/>
                    </a:cubicBezTo>
                    <a:lnTo>
                      <a:pt x="52540" y="16789"/>
                    </a:lnTo>
                    <a:lnTo>
                      <a:pt x="33670" y="19887"/>
                    </a:lnTo>
                    <a:close/>
                  </a:path>
                </a:pathLst>
              </a:custGeom>
              <a:grpFill/>
              <a:ln w="4609" cap="flat">
                <a:noFill/>
                <a:prstDash val="solid"/>
                <a:miter/>
              </a:ln>
            </p:spPr>
            <p:txBody>
              <a:bodyPr rtlCol="0" anchor="ctr"/>
              <a:lstStyle/>
              <a:p>
                <a:endParaRPr lang="en-IN"/>
              </a:p>
            </p:txBody>
          </p:sp>
        </p:grpSp>
        <p:grpSp>
          <p:nvGrpSpPr>
            <p:cNvPr id="109" name="Graphic 36">
              <a:extLst>
                <a:ext uri="{FF2B5EF4-FFF2-40B4-BE49-F238E27FC236}">
                  <a16:creationId xmlns:a16="http://schemas.microsoft.com/office/drawing/2014/main" id="{8DD19537-F389-EE71-171C-CD64E1F35132}"/>
                </a:ext>
              </a:extLst>
            </p:cNvPr>
            <p:cNvGrpSpPr/>
            <p:nvPr/>
          </p:nvGrpSpPr>
          <p:grpSpPr>
            <a:xfrm>
              <a:off x="6068784" y="4916419"/>
              <a:ext cx="86289" cy="81031"/>
              <a:chOff x="6068784" y="4916419"/>
              <a:chExt cx="86289" cy="81031"/>
            </a:xfrm>
            <a:grpFill/>
          </p:grpSpPr>
          <p:sp>
            <p:nvSpPr>
              <p:cNvPr id="139" name="Freeform: Shape 138">
                <a:extLst>
                  <a:ext uri="{FF2B5EF4-FFF2-40B4-BE49-F238E27FC236}">
                    <a16:creationId xmlns:a16="http://schemas.microsoft.com/office/drawing/2014/main" id="{9248691C-63CC-1431-89EB-E0F54A08696A}"/>
                  </a:ext>
                </a:extLst>
              </p:cNvPr>
              <p:cNvSpPr/>
              <p:nvPr/>
            </p:nvSpPr>
            <p:spPr>
              <a:xfrm>
                <a:off x="6095718" y="4962948"/>
                <a:ext cx="59355" cy="34502"/>
              </a:xfrm>
              <a:custGeom>
                <a:avLst/>
                <a:gdLst>
                  <a:gd name="connsiteX0" fmla="*/ 12921 w 59355"/>
                  <a:gd name="connsiteY0" fmla="*/ 0 h 34502"/>
                  <a:gd name="connsiteX1" fmla="*/ 12736 w 59355"/>
                  <a:gd name="connsiteY1" fmla="*/ 93 h 34502"/>
                  <a:gd name="connsiteX2" fmla="*/ 12459 w 59355"/>
                  <a:gd name="connsiteY2" fmla="*/ 9851 h 34502"/>
                  <a:gd name="connsiteX3" fmla="*/ 665 w 59355"/>
                  <a:gd name="connsiteY3" fmla="*/ 27195 h 34502"/>
                  <a:gd name="connsiteX4" fmla="*/ 4411 w 59355"/>
                  <a:gd name="connsiteY4" fmla="*/ 31681 h 34502"/>
                  <a:gd name="connsiteX5" fmla="*/ 5012 w 59355"/>
                  <a:gd name="connsiteY5" fmla="*/ 31357 h 34502"/>
                  <a:gd name="connsiteX6" fmla="*/ 8620 w 59355"/>
                  <a:gd name="connsiteY6" fmla="*/ 32282 h 34502"/>
                  <a:gd name="connsiteX7" fmla="*/ 9036 w 59355"/>
                  <a:gd name="connsiteY7" fmla="*/ 34502 h 34502"/>
                  <a:gd name="connsiteX8" fmla="*/ 9221 w 59355"/>
                  <a:gd name="connsiteY8" fmla="*/ 34502 h 34502"/>
                  <a:gd name="connsiteX9" fmla="*/ 59356 w 59355"/>
                  <a:gd name="connsiteY9" fmla="*/ 34456 h 34502"/>
                  <a:gd name="connsiteX10" fmla="*/ 59356 w 59355"/>
                  <a:gd name="connsiteY10" fmla="*/ 3423 h 34502"/>
                  <a:gd name="connsiteX11" fmla="*/ 20044 w 59355"/>
                  <a:gd name="connsiteY11" fmla="*/ 3423 h 34502"/>
                  <a:gd name="connsiteX12" fmla="*/ 12967 w 59355"/>
                  <a:gd name="connsiteY12" fmla="*/ 0 h 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355" h="34502">
                    <a:moveTo>
                      <a:pt x="12921" y="0"/>
                    </a:moveTo>
                    <a:lnTo>
                      <a:pt x="12736" y="93"/>
                    </a:lnTo>
                    <a:cubicBezTo>
                      <a:pt x="12921" y="4070"/>
                      <a:pt x="14494" y="6845"/>
                      <a:pt x="12459" y="9851"/>
                    </a:cubicBezTo>
                    <a:lnTo>
                      <a:pt x="665" y="27195"/>
                    </a:lnTo>
                    <a:cubicBezTo>
                      <a:pt x="-1277" y="30016"/>
                      <a:pt x="1359" y="33346"/>
                      <a:pt x="4411" y="31681"/>
                    </a:cubicBezTo>
                    <a:lnTo>
                      <a:pt x="5012" y="31357"/>
                    </a:lnTo>
                    <a:cubicBezTo>
                      <a:pt x="6261" y="30664"/>
                      <a:pt x="7926" y="31080"/>
                      <a:pt x="8620" y="32282"/>
                    </a:cubicBezTo>
                    <a:cubicBezTo>
                      <a:pt x="9129" y="33161"/>
                      <a:pt x="9175" y="33855"/>
                      <a:pt x="9036" y="34502"/>
                    </a:cubicBezTo>
                    <a:lnTo>
                      <a:pt x="9221" y="34502"/>
                    </a:lnTo>
                    <a:cubicBezTo>
                      <a:pt x="9221" y="34502"/>
                      <a:pt x="59356" y="34456"/>
                      <a:pt x="59356" y="34456"/>
                    </a:cubicBezTo>
                    <a:lnTo>
                      <a:pt x="59356" y="3423"/>
                    </a:lnTo>
                    <a:lnTo>
                      <a:pt x="20044" y="3423"/>
                    </a:lnTo>
                    <a:lnTo>
                      <a:pt x="12967" y="0"/>
                    </a:lnTo>
                    <a:close/>
                  </a:path>
                </a:pathLst>
              </a:custGeom>
              <a:grpFill/>
              <a:ln w="4609" cap="flat">
                <a:noFill/>
                <a:prstDash val="solid"/>
                <a:miter/>
              </a:ln>
            </p:spPr>
            <p:txBody>
              <a:bodyPr rtlCol="0" anchor="ctr"/>
              <a:lstStyle/>
              <a:p>
                <a:endParaRPr lang="en-IN"/>
              </a:p>
            </p:txBody>
          </p:sp>
          <p:sp>
            <p:nvSpPr>
              <p:cNvPr id="140" name="Freeform: Shape 139">
                <a:extLst>
                  <a:ext uri="{FF2B5EF4-FFF2-40B4-BE49-F238E27FC236}">
                    <a16:creationId xmlns:a16="http://schemas.microsoft.com/office/drawing/2014/main" id="{9CCEEAA4-CD56-B3FD-7C1E-58B934077F35}"/>
                  </a:ext>
                </a:extLst>
              </p:cNvPr>
              <p:cNvSpPr/>
              <p:nvPr/>
            </p:nvSpPr>
            <p:spPr>
              <a:xfrm>
                <a:off x="6068784" y="4916419"/>
                <a:ext cx="14380" cy="15549"/>
              </a:xfrm>
              <a:custGeom>
                <a:avLst/>
                <a:gdLst>
                  <a:gd name="connsiteX0" fmla="*/ 14371 w 14380"/>
                  <a:gd name="connsiteY0" fmla="*/ 2638 h 15549"/>
                  <a:gd name="connsiteX1" fmla="*/ 9654 w 14380"/>
                  <a:gd name="connsiteY1" fmla="*/ 48 h 15549"/>
                  <a:gd name="connsiteX2" fmla="*/ 5353 w 14380"/>
                  <a:gd name="connsiteY2" fmla="*/ 6569 h 15549"/>
                  <a:gd name="connsiteX3" fmla="*/ 80 w 14380"/>
                  <a:gd name="connsiteY3" fmla="*/ 11518 h 15549"/>
                  <a:gd name="connsiteX4" fmla="*/ 2439 w 14380"/>
                  <a:gd name="connsiteY4" fmla="*/ 15126 h 15549"/>
                  <a:gd name="connsiteX5" fmla="*/ 8775 w 14380"/>
                  <a:gd name="connsiteY5" fmla="*/ 13784 h 15549"/>
                  <a:gd name="connsiteX6" fmla="*/ 14325 w 14380"/>
                  <a:gd name="connsiteY6" fmla="*/ 2592 h 1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0" h="15549">
                    <a:moveTo>
                      <a:pt x="14371" y="2638"/>
                    </a:moveTo>
                    <a:cubicBezTo>
                      <a:pt x="14603" y="-784"/>
                      <a:pt x="10116" y="141"/>
                      <a:pt x="9654" y="48"/>
                    </a:cubicBezTo>
                    <a:cubicBezTo>
                      <a:pt x="5908" y="48"/>
                      <a:pt x="5353" y="6569"/>
                      <a:pt x="5353" y="6569"/>
                    </a:cubicBezTo>
                    <a:cubicBezTo>
                      <a:pt x="4381" y="10454"/>
                      <a:pt x="358" y="7587"/>
                      <a:pt x="80" y="11518"/>
                    </a:cubicBezTo>
                    <a:cubicBezTo>
                      <a:pt x="-58" y="11056"/>
                      <a:pt x="-336" y="14663"/>
                      <a:pt x="2439" y="15126"/>
                    </a:cubicBezTo>
                    <a:cubicBezTo>
                      <a:pt x="1976" y="15126"/>
                      <a:pt x="6971" y="16698"/>
                      <a:pt x="8775" y="13784"/>
                    </a:cubicBezTo>
                    <a:cubicBezTo>
                      <a:pt x="8498" y="14247"/>
                      <a:pt x="14001" y="6662"/>
                      <a:pt x="14325" y="2592"/>
                    </a:cubicBezTo>
                    <a:close/>
                  </a:path>
                </a:pathLst>
              </a:custGeom>
              <a:grpFill/>
              <a:ln w="4609" cap="flat">
                <a:noFill/>
                <a:prstDash val="solid"/>
                <a:miter/>
              </a:ln>
            </p:spPr>
            <p:txBody>
              <a:bodyPr rtlCol="0" anchor="ctr"/>
              <a:lstStyle/>
              <a:p>
                <a:endParaRPr lang="en-IN"/>
              </a:p>
            </p:txBody>
          </p:sp>
        </p:grpSp>
        <p:grpSp>
          <p:nvGrpSpPr>
            <p:cNvPr id="110" name="Graphic 36">
              <a:extLst>
                <a:ext uri="{FF2B5EF4-FFF2-40B4-BE49-F238E27FC236}">
                  <a16:creationId xmlns:a16="http://schemas.microsoft.com/office/drawing/2014/main" id="{71E673BD-34CD-BB08-190B-737224DF258D}"/>
                </a:ext>
              </a:extLst>
            </p:cNvPr>
            <p:cNvGrpSpPr/>
            <p:nvPr/>
          </p:nvGrpSpPr>
          <p:grpSpPr>
            <a:xfrm>
              <a:off x="6541860" y="4068394"/>
              <a:ext cx="326086" cy="317958"/>
              <a:chOff x="6541860" y="4068394"/>
              <a:chExt cx="326086" cy="317958"/>
            </a:xfrm>
            <a:grpFill/>
          </p:grpSpPr>
          <p:sp>
            <p:nvSpPr>
              <p:cNvPr id="136" name="Freeform: Shape 135">
                <a:extLst>
                  <a:ext uri="{FF2B5EF4-FFF2-40B4-BE49-F238E27FC236}">
                    <a16:creationId xmlns:a16="http://schemas.microsoft.com/office/drawing/2014/main" id="{6B6AB2DE-ED4E-082B-0330-55EEF8C82BA8}"/>
                  </a:ext>
                </a:extLst>
              </p:cNvPr>
              <p:cNvSpPr/>
              <p:nvPr/>
            </p:nvSpPr>
            <p:spPr>
              <a:xfrm>
                <a:off x="6807175" y="4193771"/>
                <a:ext cx="4173" cy="4970"/>
              </a:xfrm>
              <a:custGeom>
                <a:avLst/>
                <a:gdLst>
                  <a:gd name="connsiteX0" fmla="*/ 205 w 4173"/>
                  <a:gd name="connsiteY0" fmla="*/ 1524 h 4970"/>
                  <a:gd name="connsiteX1" fmla="*/ 4136 w 4173"/>
                  <a:gd name="connsiteY1" fmla="*/ 3051 h 4970"/>
                  <a:gd name="connsiteX2" fmla="*/ 205 w 4173"/>
                  <a:gd name="connsiteY2" fmla="*/ 1524 h 4970"/>
                </a:gdLst>
                <a:ahLst/>
                <a:cxnLst>
                  <a:cxn ang="0">
                    <a:pos x="connsiteX0" y="connsiteY0"/>
                  </a:cxn>
                  <a:cxn ang="0">
                    <a:pos x="connsiteX1" y="connsiteY1"/>
                  </a:cxn>
                  <a:cxn ang="0">
                    <a:pos x="connsiteX2" y="connsiteY2"/>
                  </a:cxn>
                </a:cxnLst>
                <a:rect l="l" t="t" r="r" b="b"/>
                <a:pathLst>
                  <a:path w="4173" h="4970">
                    <a:moveTo>
                      <a:pt x="205" y="1524"/>
                    </a:moveTo>
                    <a:cubicBezTo>
                      <a:pt x="-951" y="5132"/>
                      <a:pt x="3119" y="6334"/>
                      <a:pt x="4136" y="3051"/>
                    </a:cubicBezTo>
                    <a:cubicBezTo>
                      <a:pt x="4552" y="1663"/>
                      <a:pt x="1361" y="-2083"/>
                      <a:pt x="205" y="1524"/>
                    </a:cubicBezTo>
                    <a:close/>
                  </a:path>
                </a:pathLst>
              </a:custGeom>
              <a:grpFill/>
              <a:ln w="4609" cap="flat">
                <a:noFill/>
                <a:prstDash val="solid"/>
                <a:miter/>
              </a:ln>
            </p:spPr>
            <p:txBody>
              <a:bodyPr rtlCol="0" anchor="ctr"/>
              <a:lstStyle/>
              <a:p>
                <a:endParaRPr lang="en-IN"/>
              </a:p>
            </p:txBody>
          </p:sp>
          <p:sp>
            <p:nvSpPr>
              <p:cNvPr id="137" name="Freeform: Shape 136">
                <a:extLst>
                  <a:ext uri="{FF2B5EF4-FFF2-40B4-BE49-F238E27FC236}">
                    <a16:creationId xmlns:a16="http://schemas.microsoft.com/office/drawing/2014/main" id="{63CCC317-506C-F6CA-D1B9-FFA8B49E2CB1}"/>
                  </a:ext>
                </a:extLst>
              </p:cNvPr>
              <p:cNvSpPr/>
              <p:nvPr/>
            </p:nvSpPr>
            <p:spPr>
              <a:xfrm>
                <a:off x="6814074" y="4198074"/>
                <a:ext cx="5021" cy="4910"/>
              </a:xfrm>
              <a:custGeom>
                <a:avLst/>
                <a:gdLst>
                  <a:gd name="connsiteX0" fmla="*/ 12 w 5021"/>
                  <a:gd name="connsiteY0" fmla="*/ 1430 h 4910"/>
                  <a:gd name="connsiteX1" fmla="*/ 5007 w 5021"/>
                  <a:gd name="connsiteY1" fmla="*/ 2864 h 4910"/>
                  <a:gd name="connsiteX2" fmla="*/ 12 w 5021"/>
                  <a:gd name="connsiteY2" fmla="*/ 1430 h 4910"/>
                </a:gdLst>
                <a:ahLst/>
                <a:cxnLst>
                  <a:cxn ang="0">
                    <a:pos x="connsiteX0" y="connsiteY0"/>
                  </a:cxn>
                  <a:cxn ang="0">
                    <a:pos x="connsiteX1" y="connsiteY1"/>
                  </a:cxn>
                  <a:cxn ang="0">
                    <a:pos x="connsiteX2" y="connsiteY2"/>
                  </a:cxn>
                </a:cxnLst>
                <a:rect l="l" t="t" r="r" b="b"/>
                <a:pathLst>
                  <a:path w="5021" h="4910">
                    <a:moveTo>
                      <a:pt x="12" y="1430"/>
                    </a:moveTo>
                    <a:cubicBezTo>
                      <a:pt x="-265" y="4806"/>
                      <a:pt x="4313" y="6518"/>
                      <a:pt x="5007" y="2864"/>
                    </a:cubicBezTo>
                    <a:cubicBezTo>
                      <a:pt x="5331" y="1338"/>
                      <a:pt x="290" y="-1854"/>
                      <a:pt x="12" y="1430"/>
                    </a:cubicBezTo>
                    <a:close/>
                  </a:path>
                </a:pathLst>
              </a:custGeom>
              <a:grpFill/>
              <a:ln w="4609" cap="flat">
                <a:noFill/>
                <a:prstDash val="solid"/>
                <a:miter/>
              </a:ln>
            </p:spPr>
            <p:txBody>
              <a:bodyPr rtlCol="0" anchor="ctr"/>
              <a:lstStyle/>
              <a:p>
                <a:endParaRPr lang="en-IN"/>
              </a:p>
            </p:txBody>
          </p:sp>
          <p:sp>
            <p:nvSpPr>
              <p:cNvPr id="138" name="Freeform: Shape 137">
                <a:extLst>
                  <a:ext uri="{FF2B5EF4-FFF2-40B4-BE49-F238E27FC236}">
                    <a16:creationId xmlns:a16="http://schemas.microsoft.com/office/drawing/2014/main" id="{0082D215-58D2-20C9-D4C6-5668C899F1C9}"/>
                  </a:ext>
                </a:extLst>
              </p:cNvPr>
              <p:cNvSpPr/>
              <p:nvPr/>
            </p:nvSpPr>
            <p:spPr>
              <a:xfrm>
                <a:off x="6541860" y="4068394"/>
                <a:ext cx="326086" cy="317958"/>
              </a:xfrm>
              <a:custGeom>
                <a:avLst/>
                <a:gdLst>
                  <a:gd name="connsiteX0" fmla="*/ 323517 w 326086"/>
                  <a:gd name="connsiteY0" fmla="*/ 237901 h 317958"/>
                  <a:gd name="connsiteX1" fmla="*/ 308116 w 326086"/>
                  <a:gd name="connsiteY1" fmla="*/ 224257 h 317958"/>
                  <a:gd name="connsiteX2" fmla="*/ 289338 w 326086"/>
                  <a:gd name="connsiteY2" fmla="*/ 184528 h 317958"/>
                  <a:gd name="connsiteX3" fmla="*/ 273243 w 326086"/>
                  <a:gd name="connsiteY3" fmla="*/ 154882 h 317958"/>
                  <a:gd name="connsiteX4" fmla="*/ 272596 w 326086"/>
                  <a:gd name="connsiteY4" fmla="*/ 147991 h 317958"/>
                  <a:gd name="connsiteX5" fmla="*/ 269682 w 326086"/>
                  <a:gd name="connsiteY5" fmla="*/ 141146 h 317958"/>
                  <a:gd name="connsiteX6" fmla="*/ 267416 w 326086"/>
                  <a:gd name="connsiteY6" fmla="*/ 137585 h 317958"/>
                  <a:gd name="connsiteX7" fmla="*/ 263855 w 326086"/>
                  <a:gd name="connsiteY7" fmla="*/ 134070 h 317958"/>
                  <a:gd name="connsiteX8" fmla="*/ 259137 w 326086"/>
                  <a:gd name="connsiteY8" fmla="*/ 124866 h 317958"/>
                  <a:gd name="connsiteX9" fmla="*/ 259137 w 326086"/>
                  <a:gd name="connsiteY9" fmla="*/ 118623 h 317958"/>
                  <a:gd name="connsiteX10" fmla="*/ 233931 w 326086"/>
                  <a:gd name="connsiteY10" fmla="*/ 86433 h 317958"/>
                  <a:gd name="connsiteX11" fmla="*/ 230740 w 326086"/>
                  <a:gd name="connsiteY11" fmla="*/ 72974 h 317958"/>
                  <a:gd name="connsiteX12" fmla="*/ 224589 w 326086"/>
                  <a:gd name="connsiteY12" fmla="*/ 63863 h 317958"/>
                  <a:gd name="connsiteX13" fmla="*/ 231249 w 326086"/>
                  <a:gd name="connsiteY13" fmla="*/ 53272 h 317958"/>
                  <a:gd name="connsiteX14" fmla="*/ 242487 w 326086"/>
                  <a:gd name="connsiteY14" fmla="*/ 76813 h 317958"/>
                  <a:gd name="connsiteX15" fmla="*/ 249193 w 326086"/>
                  <a:gd name="connsiteY15" fmla="*/ 83519 h 317958"/>
                  <a:gd name="connsiteX16" fmla="*/ 254512 w 326086"/>
                  <a:gd name="connsiteY16" fmla="*/ 99475 h 317958"/>
                  <a:gd name="connsiteX17" fmla="*/ 261172 w 326086"/>
                  <a:gd name="connsiteY17" fmla="*/ 105071 h 317958"/>
                  <a:gd name="connsiteX18" fmla="*/ 270052 w 326086"/>
                  <a:gd name="connsiteY18" fmla="*/ 117050 h 317958"/>
                  <a:gd name="connsiteX19" fmla="*/ 282077 w 326086"/>
                  <a:gd name="connsiteY19" fmla="*/ 121120 h 317958"/>
                  <a:gd name="connsiteX20" fmla="*/ 285962 w 326086"/>
                  <a:gd name="connsiteY20" fmla="*/ 112841 h 317958"/>
                  <a:gd name="connsiteX21" fmla="*/ 286378 w 326086"/>
                  <a:gd name="connsiteY21" fmla="*/ 103591 h 317958"/>
                  <a:gd name="connsiteX22" fmla="*/ 291974 w 326086"/>
                  <a:gd name="connsiteY22" fmla="*/ 91474 h 317958"/>
                  <a:gd name="connsiteX23" fmla="*/ 295258 w 326086"/>
                  <a:gd name="connsiteY23" fmla="*/ 74084 h 317958"/>
                  <a:gd name="connsiteX24" fmla="*/ 277822 w 326086"/>
                  <a:gd name="connsiteY24" fmla="*/ 11092 h 317958"/>
                  <a:gd name="connsiteX25" fmla="*/ 277822 w 326086"/>
                  <a:gd name="connsiteY25" fmla="*/ 10953 h 317958"/>
                  <a:gd name="connsiteX26" fmla="*/ 255391 w 326086"/>
                  <a:gd name="connsiteY26" fmla="*/ 17706 h 317958"/>
                  <a:gd name="connsiteX27" fmla="*/ 250766 w 326086"/>
                  <a:gd name="connsiteY27" fmla="*/ 17706 h 317958"/>
                  <a:gd name="connsiteX28" fmla="*/ 251552 w 326086"/>
                  <a:gd name="connsiteY28" fmla="*/ 15208 h 317958"/>
                  <a:gd name="connsiteX29" fmla="*/ 249610 w 326086"/>
                  <a:gd name="connsiteY29" fmla="*/ 13821 h 317958"/>
                  <a:gd name="connsiteX30" fmla="*/ 241007 w 326086"/>
                  <a:gd name="connsiteY30" fmla="*/ 17613 h 317958"/>
                  <a:gd name="connsiteX31" fmla="*/ 228335 w 326086"/>
                  <a:gd name="connsiteY31" fmla="*/ 14052 h 317958"/>
                  <a:gd name="connsiteX32" fmla="*/ 224496 w 326086"/>
                  <a:gd name="connsiteY32" fmla="*/ 11508 h 317958"/>
                  <a:gd name="connsiteX33" fmla="*/ 222877 w 326086"/>
                  <a:gd name="connsiteY33" fmla="*/ 14468 h 317958"/>
                  <a:gd name="connsiteX34" fmla="*/ 217882 w 326086"/>
                  <a:gd name="connsiteY34" fmla="*/ 15301 h 317958"/>
                  <a:gd name="connsiteX35" fmla="*/ 214044 w 326086"/>
                  <a:gd name="connsiteY35" fmla="*/ 12110 h 317958"/>
                  <a:gd name="connsiteX36" fmla="*/ 215200 w 326086"/>
                  <a:gd name="connsiteY36" fmla="*/ 8132 h 317958"/>
                  <a:gd name="connsiteX37" fmla="*/ 217836 w 326086"/>
                  <a:gd name="connsiteY37" fmla="*/ 6930 h 317958"/>
                  <a:gd name="connsiteX38" fmla="*/ 210852 w 326086"/>
                  <a:gd name="connsiteY38" fmla="*/ 3322 h 317958"/>
                  <a:gd name="connsiteX39" fmla="*/ 200446 w 326086"/>
                  <a:gd name="connsiteY39" fmla="*/ 4525 h 317958"/>
                  <a:gd name="connsiteX40" fmla="*/ 189763 w 326086"/>
                  <a:gd name="connsiteY40" fmla="*/ 593 h 317958"/>
                  <a:gd name="connsiteX41" fmla="*/ 189624 w 326086"/>
                  <a:gd name="connsiteY41" fmla="*/ 593 h 317958"/>
                  <a:gd name="connsiteX42" fmla="*/ 187820 w 326086"/>
                  <a:gd name="connsiteY42" fmla="*/ 5912 h 317958"/>
                  <a:gd name="connsiteX43" fmla="*/ 183241 w 326086"/>
                  <a:gd name="connsiteY43" fmla="*/ 8687 h 317958"/>
                  <a:gd name="connsiteX44" fmla="*/ 175980 w 326086"/>
                  <a:gd name="connsiteY44" fmla="*/ 8317 h 317958"/>
                  <a:gd name="connsiteX45" fmla="*/ 175934 w 326086"/>
                  <a:gd name="connsiteY45" fmla="*/ 6421 h 317958"/>
                  <a:gd name="connsiteX46" fmla="*/ 178986 w 326086"/>
                  <a:gd name="connsiteY46" fmla="*/ 5126 h 317958"/>
                  <a:gd name="connsiteX47" fmla="*/ 179495 w 326086"/>
                  <a:gd name="connsiteY47" fmla="*/ 825 h 317958"/>
                  <a:gd name="connsiteX48" fmla="*/ 168256 w 326086"/>
                  <a:gd name="connsiteY48" fmla="*/ 6328 h 317958"/>
                  <a:gd name="connsiteX49" fmla="*/ 163215 w 326086"/>
                  <a:gd name="connsiteY49" fmla="*/ 10352 h 317958"/>
                  <a:gd name="connsiteX50" fmla="*/ 157110 w 326086"/>
                  <a:gd name="connsiteY50" fmla="*/ 12156 h 317958"/>
                  <a:gd name="connsiteX51" fmla="*/ 134032 w 326086"/>
                  <a:gd name="connsiteY51" fmla="*/ 25984 h 317958"/>
                  <a:gd name="connsiteX52" fmla="*/ 125522 w 326086"/>
                  <a:gd name="connsiteY52" fmla="*/ 24689 h 317958"/>
                  <a:gd name="connsiteX53" fmla="*/ 111416 w 326086"/>
                  <a:gd name="connsiteY53" fmla="*/ 17983 h 317958"/>
                  <a:gd name="connsiteX54" fmla="*/ 96014 w 326086"/>
                  <a:gd name="connsiteY54" fmla="*/ 15255 h 317958"/>
                  <a:gd name="connsiteX55" fmla="*/ 95922 w 326086"/>
                  <a:gd name="connsiteY55" fmla="*/ 14977 h 317958"/>
                  <a:gd name="connsiteX56" fmla="*/ 92453 w 326086"/>
                  <a:gd name="connsiteY56" fmla="*/ 12803 h 317958"/>
                  <a:gd name="connsiteX57" fmla="*/ 85238 w 326086"/>
                  <a:gd name="connsiteY57" fmla="*/ 13590 h 317958"/>
                  <a:gd name="connsiteX58" fmla="*/ 80845 w 326086"/>
                  <a:gd name="connsiteY58" fmla="*/ 9890 h 317958"/>
                  <a:gd name="connsiteX59" fmla="*/ 51800 w 326086"/>
                  <a:gd name="connsiteY59" fmla="*/ 3831 h 317958"/>
                  <a:gd name="connsiteX60" fmla="*/ 35658 w 326086"/>
                  <a:gd name="connsiteY60" fmla="*/ 501 h 317958"/>
                  <a:gd name="connsiteX61" fmla="*/ 23634 w 326086"/>
                  <a:gd name="connsiteY61" fmla="*/ 4247 h 317958"/>
                  <a:gd name="connsiteX62" fmla="*/ 17667 w 326086"/>
                  <a:gd name="connsiteY62" fmla="*/ 3415 h 317958"/>
                  <a:gd name="connsiteX63" fmla="*/ 4070 w 326086"/>
                  <a:gd name="connsiteY63" fmla="*/ 20249 h 317958"/>
                  <a:gd name="connsiteX64" fmla="*/ 11007 w 326086"/>
                  <a:gd name="connsiteY64" fmla="*/ 37593 h 317958"/>
                  <a:gd name="connsiteX65" fmla="*/ 0 w 326086"/>
                  <a:gd name="connsiteY65" fmla="*/ 53226 h 317958"/>
                  <a:gd name="connsiteX66" fmla="*/ 11007 w 326086"/>
                  <a:gd name="connsiteY66" fmla="*/ 80975 h 317958"/>
                  <a:gd name="connsiteX67" fmla="*/ 11007 w 326086"/>
                  <a:gd name="connsiteY67" fmla="*/ 309356 h 317958"/>
                  <a:gd name="connsiteX68" fmla="*/ 190826 w 326086"/>
                  <a:gd name="connsiteY68" fmla="*/ 309356 h 317958"/>
                  <a:gd name="connsiteX69" fmla="*/ 195266 w 326086"/>
                  <a:gd name="connsiteY69" fmla="*/ 302604 h 317958"/>
                  <a:gd name="connsiteX70" fmla="*/ 202713 w 326086"/>
                  <a:gd name="connsiteY70" fmla="*/ 302604 h 317958"/>
                  <a:gd name="connsiteX71" fmla="*/ 200678 w 326086"/>
                  <a:gd name="connsiteY71" fmla="*/ 309079 h 317958"/>
                  <a:gd name="connsiteX72" fmla="*/ 249286 w 326086"/>
                  <a:gd name="connsiteY72" fmla="*/ 309079 h 317958"/>
                  <a:gd name="connsiteX73" fmla="*/ 261588 w 326086"/>
                  <a:gd name="connsiteY73" fmla="*/ 317959 h 317958"/>
                  <a:gd name="connsiteX74" fmla="*/ 273891 w 326086"/>
                  <a:gd name="connsiteY74" fmla="*/ 316248 h 317958"/>
                  <a:gd name="connsiteX75" fmla="*/ 278331 w 326086"/>
                  <a:gd name="connsiteY75" fmla="*/ 302928 h 317958"/>
                  <a:gd name="connsiteX76" fmla="*/ 293732 w 326086"/>
                  <a:gd name="connsiteY76" fmla="*/ 300523 h 317958"/>
                  <a:gd name="connsiteX77" fmla="*/ 301271 w 326086"/>
                  <a:gd name="connsiteY77" fmla="*/ 283410 h 317958"/>
                  <a:gd name="connsiteX78" fmla="*/ 309457 w 326086"/>
                  <a:gd name="connsiteY78" fmla="*/ 285445 h 317958"/>
                  <a:gd name="connsiteX79" fmla="*/ 324164 w 326086"/>
                  <a:gd name="connsiteY79" fmla="*/ 270044 h 317958"/>
                  <a:gd name="connsiteX80" fmla="*/ 324257 w 326086"/>
                  <a:gd name="connsiteY80" fmla="*/ 270044 h 317958"/>
                  <a:gd name="connsiteX81" fmla="*/ 317551 w 326086"/>
                  <a:gd name="connsiteY81" fmla="*/ 252839 h 317958"/>
                  <a:gd name="connsiteX82" fmla="*/ 319447 w 326086"/>
                  <a:gd name="connsiteY82" fmla="*/ 241092 h 317958"/>
                  <a:gd name="connsiteX83" fmla="*/ 324026 w 326086"/>
                  <a:gd name="connsiteY83" fmla="*/ 242849 h 317958"/>
                  <a:gd name="connsiteX84" fmla="*/ 323656 w 326086"/>
                  <a:gd name="connsiteY84" fmla="*/ 237762 h 317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26086" h="317958">
                    <a:moveTo>
                      <a:pt x="323517" y="237901"/>
                    </a:moveTo>
                    <a:cubicBezTo>
                      <a:pt x="311446" y="228373"/>
                      <a:pt x="309549" y="227402"/>
                      <a:pt x="308116" y="224257"/>
                    </a:cubicBezTo>
                    <a:cubicBezTo>
                      <a:pt x="292344" y="190125"/>
                      <a:pt x="291188" y="187535"/>
                      <a:pt x="289338" y="184528"/>
                    </a:cubicBezTo>
                    <a:cubicBezTo>
                      <a:pt x="273151" y="158166"/>
                      <a:pt x="272642" y="158259"/>
                      <a:pt x="273243" y="154882"/>
                    </a:cubicBezTo>
                    <a:cubicBezTo>
                      <a:pt x="273243" y="154235"/>
                      <a:pt x="274585" y="150812"/>
                      <a:pt x="272596" y="147991"/>
                    </a:cubicBezTo>
                    <a:cubicBezTo>
                      <a:pt x="272133" y="147205"/>
                      <a:pt x="269173" y="144152"/>
                      <a:pt x="269682" y="141146"/>
                    </a:cubicBezTo>
                    <a:cubicBezTo>
                      <a:pt x="270098" y="138788"/>
                      <a:pt x="266953" y="137169"/>
                      <a:pt x="267416" y="137585"/>
                    </a:cubicBezTo>
                    <a:cubicBezTo>
                      <a:pt x="266121" y="136938"/>
                      <a:pt x="264548" y="135365"/>
                      <a:pt x="263855" y="134070"/>
                    </a:cubicBezTo>
                    <a:lnTo>
                      <a:pt x="259137" y="124866"/>
                    </a:lnTo>
                    <a:cubicBezTo>
                      <a:pt x="257333" y="121305"/>
                      <a:pt x="261681" y="121629"/>
                      <a:pt x="259137" y="118623"/>
                    </a:cubicBezTo>
                    <a:cubicBezTo>
                      <a:pt x="233977" y="88838"/>
                      <a:pt x="234301" y="89763"/>
                      <a:pt x="233931" y="86433"/>
                    </a:cubicBezTo>
                    <a:cubicBezTo>
                      <a:pt x="233145" y="78987"/>
                      <a:pt x="233284" y="75379"/>
                      <a:pt x="230740" y="72974"/>
                    </a:cubicBezTo>
                    <a:cubicBezTo>
                      <a:pt x="228196" y="70014"/>
                      <a:pt x="223062" y="67655"/>
                      <a:pt x="224589" y="63863"/>
                    </a:cubicBezTo>
                    <a:cubicBezTo>
                      <a:pt x="228104" y="55168"/>
                      <a:pt x="228520" y="52532"/>
                      <a:pt x="231249" y="53272"/>
                    </a:cubicBezTo>
                    <a:cubicBezTo>
                      <a:pt x="235874" y="54521"/>
                      <a:pt x="237585" y="71910"/>
                      <a:pt x="242487" y="76813"/>
                    </a:cubicBezTo>
                    <a:lnTo>
                      <a:pt x="249193" y="83519"/>
                    </a:lnTo>
                    <a:cubicBezTo>
                      <a:pt x="253402" y="87728"/>
                      <a:pt x="250072" y="95775"/>
                      <a:pt x="254512" y="99475"/>
                    </a:cubicBezTo>
                    <a:lnTo>
                      <a:pt x="261172" y="105071"/>
                    </a:lnTo>
                    <a:cubicBezTo>
                      <a:pt x="265566" y="108725"/>
                      <a:pt x="265705" y="114460"/>
                      <a:pt x="270052" y="117050"/>
                    </a:cubicBezTo>
                    <a:cubicBezTo>
                      <a:pt x="275371" y="119548"/>
                      <a:pt x="279533" y="124543"/>
                      <a:pt x="282077" y="121120"/>
                    </a:cubicBezTo>
                    <a:cubicBezTo>
                      <a:pt x="283187" y="119270"/>
                      <a:pt x="286424" y="116634"/>
                      <a:pt x="285962" y="112841"/>
                    </a:cubicBezTo>
                    <a:cubicBezTo>
                      <a:pt x="285592" y="109558"/>
                      <a:pt x="284806" y="106505"/>
                      <a:pt x="286378" y="103591"/>
                    </a:cubicBezTo>
                    <a:cubicBezTo>
                      <a:pt x="289107" y="98504"/>
                      <a:pt x="291281" y="95128"/>
                      <a:pt x="291974" y="91474"/>
                    </a:cubicBezTo>
                    <a:lnTo>
                      <a:pt x="295258" y="74084"/>
                    </a:lnTo>
                    <a:lnTo>
                      <a:pt x="277822" y="11092"/>
                    </a:lnTo>
                    <a:lnTo>
                      <a:pt x="277822" y="10953"/>
                    </a:lnTo>
                    <a:cubicBezTo>
                      <a:pt x="271440" y="14977"/>
                      <a:pt x="263623" y="17891"/>
                      <a:pt x="255391" y="17706"/>
                    </a:cubicBezTo>
                    <a:lnTo>
                      <a:pt x="250766" y="17706"/>
                    </a:lnTo>
                    <a:cubicBezTo>
                      <a:pt x="247529" y="17706"/>
                      <a:pt x="251922" y="14746"/>
                      <a:pt x="251552" y="15208"/>
                    </a:cubicBezTo>
                    <a:cubicBezTo>
                      <a:pt x="254142" y="13312"/>
                      <a:pt x="249147" y="13728"/>
                      <a:pt x="249610" y="13821"/>
                    </a:cubicBezTo>
                    <a:cubicBezTo>
                      <a:pt x="245771" y="14006"/>
                      <a:pt x="240545" y="17891"/>
                      <a:pt x="241007" y="17613"/>
                    </a:cubicBezTo>
                    <a:cubicBezTo>
                      <a:pt x="234440" y="21637"/>
                      <a:pt x="227225" y="13173"/>
                      <a:pt x="228335" y="14052"/>
                    </a:cubicBezTo>
                    <a:cubicBezTo>
                      <a:pt x="227317" y="13035"/>
                      <a:pt x="225606" y="11878"/>
                      <a:pt x="224496" y="11508"/>
                    </a:cubicBezTo>
                    <a:cubicBezTo>
                      <a:pt x="222137" y="10768"/>
                      <a:pt x="222831" y="14931"/>
                      <a:pt x="222877" y="14468"/>
                    </a:cubicBezTo>
                    <a:cubicBezTo>
                      <a:pt x="223294" y="17891"/>
                      <a:pt x="219362" y="17983"/>
                      <a:pt x="217882" y="15301"/>
                    </a:cubicBezTo>
                    <a:cubicBezTo>
                      <a:pt x="216726" y="13173"/>
                      <a:pt x="213581" y="11832"/>
                      <a:pt x="214044" y="12110"/>
                    </a:cubicBezTo>
                    <a:cubicBezTo>
                      <a:pt x="210852" y="10722"/>
                      <a:pt x="211777" y="7670"/>
                      <a:pt x="215200" y="8132"/>
                    </a:cubicBezTo>
                    <a:cubicBezTo>
                      <a:pt x="215662" y="8132"/>
                      <a:pt x="220241" y="9242"/>
                      <a:pt x="217836" y="6930"/>
                    </a:cubicBezTo>
                    <a:cubicBezTo>
                      <a:pt x="216772" y="6143"/>
                      <a:pt x="214367" y="2305"/>
                      <a:pt x="210852" y="3322"/>
                    </a:cubicBezTo>
                    <a:cubicBezTo>
                      <a:pt x="207014" y="4432"/>
                      <a:pt x="203545" y="6051"/>
                      <a:pt x="200446" y="4525"/>
                    </a:cubicBezTo>
                    <a:cubicBezTo>
                      <a:pt x="196099" y="2351"/>
                      <a:pt x="193231" y="455"/>
                      <a:pt x="189763" y="593"/>
                    </a:cubicBezTo>
                    <a:lnTo>
                      <a:pt x="189624" y="593"/>
                    </a:lnTo>
                    <a:cubicBezTo>
                      <a:pt x="185693" y="732"/>
                      <a:pt x="191150" y="3831"/>
                      <a:pt x="187820" y="5912"/>
                    </a:cubicBezTo>
                    <a:lnTo>
                      <a:pt x="183241" y="8687"/>
                    </a:lnTo>
                    <a:cubicBezTo>
                      <a:pt x="180281" y="10537"/>
                      <a:pt x="175518" y="8225"/>
                      <a:pt x="175980" y="8317"/>
                    </a:cubicBezTo>
                    <a:cubicBezTo>
                      <a:pt x="174639" y="7855"/>
                      <a:pt x="174593" y="6976"/>
                      <a:pt x="175934" y="6421"/>
                    </a:cubicBezTo>
                    <a:lnTo>
                      <a:pt x="178986" y="5126"/>
                    </a:lnTo>
                    <a:cubicBezTo>
                      <a:pt x="182224" y="3785"/>
                      <a:pt x="182733" y="-239"/>
                      <a:pt x="179495" y="825"/>
                    </a:cubicBezTo>
                    <a:cubicBezTo>
                      <a:pt x="173113" y="2998"/>
                      <a:pt x="170060" y="3507"/>
                      <a:pt x="168256" y="6328"/>
                    </a:cubicBezTo>
                    <a:cubicBezTo>
                      <a:pt x="167840" y="6791"/>
                      <a:pt x="166545" y="10028"/>
                      <a:pt x="163215" y="10352"/>
                    </a:cubicBezTo>
                    <a:cubicBezTo>
                      <a:pt x="162753" y="10445"/>
                      <a:pt x="159839" y="10352"/>
                      <a:pt x="157110" y="12156"/>
                    </a:cubicBezTo>
                    <a:cubicBezTo>
                      <a:pt x="138795" y="24504"/>
                      <a:pt x="137639" y="25984"/>
                      <a:pt x="134032" y="25984"/>
                    </a:cubicBezTo>
                    <a:cubicBezTo>
                      <a:pt x="131164" y="25984"/>
                      <a:pt x="128251" y="26262"/>
                      <a:pt x="125522" y="24689"/>
                    </a:cubicBezTo>
                    <a:cubicBezTo>
                      <a:pt x="118769" y="20804"/>
                      <a:pt x="115162" y="18076"/>
                      <a:pt x="111416" y="17983"/>
                    </a:cubicBezTo>
                    <a:cubicBezTo>
                      <a:pt x="99252" y="17752"/>
                      <a:pt x="97171" y="18399"/>
                      <a:pt x="96014" y="15255"/>
                    </a:cubicBezTo>
                    <a:lnTo>
                      <a:pt x="95922" y="14977"/>
                    </a:lnTo>
                    <a:cubicBezTo>
                      <a:pt x="95459" y="13636"/>
                      <a:pt x="93887" y="12618"/>
                      <a:pt x="92453" y="12803"/>
                    </a:cubicBezTo>
                    <a:lnTo>
                      <a:pt x="85238" y="13590"/>
                    </a:lnTo>
                    <a:cubicBezTo>
                      <a:pt x="82001" y="13913"/>
                      <a:pt x="80474" y="9427"/>
                      <a:pt x="80845" y="9890"/>
                    </a:cubicBezTo>
                    <a:cubicBezTo>
                      <a:pt x="78393" y="4478"/>
                      <a:pt x="63270" y="7438"/>
                      <a:pt x="51800" y="3831"/>
                    </a:cubicBezTo>
                    <a:cubicBezTo>
                      <a:pt x="41440" y="593"/>
                      <a:pt x="38896" y="-840"/>
                      <a:pt x="35658" y="501"/>
                    </a:cubicBezTo>
                    <a:cubicBezTo>
                      <a:pt x="30617" y="2536"/>
                      <a:pt x="27149" y="4340"/>
                      <a:pt x="23634" y="4247"/>
                    </a:cubicBezTo>
                    <a:cubicBezTo>
                      <a:pt x="22477" y="4016"/>
                      <a:pt x="19564" y="4617"/>
                      <a:pt x="17667" y="3415"/>
                    </a:cubicBezTo>
                    <a:lnTo>
                      <a:pt x="4070" y="20249"/>
                    </a:lnTo>
                    <a:lnTo>
                      <a:pt x="11007" y="37593"/>
                    </a:lnTo>
                    <a:lnTo>
                      <a:pt x="0" y="53226"/>
                    </a:lnTo>
                    <a:lnTo>
                      <a:pt x="11007" y="80975"/>
                    </a:lnTo>
                    <a:lnTo>
                      <a:pt x="11007" y="309356"/>
                    </a:lnTo>
                    <a:lnTo>
                      <a:pt x="190826" y="309356"/>
                    </a:lnTo>
                    <a:lnTo>
                      <a:pt x="195266" y="302604"/>
                    </a:lnTo>
                    <a:lnTo>
                      <a:pt x="202713" y="302604"/>
                    </a:lnTo>
                    <a:lnTo>
                      <a:pt x="200678" y="309079"/>
                    </a:lnTo>
                    <a:lnTo>
                      <a:pt x="249286" y="309079"/>
                    </a:lnTo>
                    <a:lnTo>
                      <a:pt x="261588" y="317959"/>
                    </a:lnTo>
                    <a:lnTo>
                      <a:pt x="273891" y="316248"/>
                    </a:lnTo>
                    <a:lnTo>
                      <a:pt x="278331" y="302928"/>
                    </a:lnTo>
                    <a:lnTo>
                      <a:pt x="293732" y="300523"/>
                    </a:lnTo>
                    <a:lnTo>
                      <a:pt x="301271" y="283410"/>
                    </a:lnTo>
                    <a:lnTo>
                      <a:pt x="309457" y="285445"/>
                    </a:lnTo>
                    <a:lnTo>
                      <a:pt x="324164" y="270044"/>
                    </a:lnTo>
                    <a:lnTo>
                      <a:pt x="324257" y="270044"/>
                    </a:lnTo>
                    <a:cubicBezTo>
                      <a:pt x="318984" y="258528"/>
                      <a:pt x="317689" y="256077"/>
                      <a:pt x="317551" y="252839"/>
                    </a:cubicBezTo>
                    <a:cubicBezTo>
                      <a:pt x="317782" y="247336"/>
                      <a:pt x="315377" y="239519"/>
                      <a:pt x="319447" y="241092"/>
                    </a:cubicBezTo>
                    <a:lnTo>
                      <a:pt x="324026" y="242849"/>
                    </a:lnTo>
                    <a:cubicBezTo>
                      <a:pt x="327263" y="244098"/>
                      <a:pt x="326338" y="239843"/>
                      <a:pt x="323656" y="237762"/>
                    </a:cubicBezTo>
                    <a:close/>
                  </a:path>
                </a:pathLst>
              </a:custGeom>
              <a:grpFill/>
              <a:ln w="4609" cap="flat">
                <a:noFill/>
                <a:prstDash val="solid"/>
                <a:miter/>
              </a:ln>
            </p:spPr>
            <p:txBody>
              <a:bodyPr rtlCol="0" anchor="ctr"/>
              <a:lstStyle/>
              <a:p>
                <a:endParaRPr lang="en-IN"/>
              </a:p>
            </p:txBody>
          </p:sp>
        </p:grpSp>
        <p:sp>
          <p:nvSpPr>
            <p:cNvPr id="111" name="Freeform: Shape 110">
              <a:extLst>
                <a:ext uri="{FF2B5EF4-FFF2-40B4-BE49-F238E27FC236}">
                  <a16:creationId xmlns:a16="http://schemas.microsoft.com/office/drawing/2014/main" id="{65F3F785-EA0C-EF1E-A03E-2C67587A8642}"/>
                </a:ext>
              </a:extLst>
            </p:cNvPr>
            <p:cNvSpPr/>
            <p:nvPr/>
          </p:nvSpPr>
          <p:spPr>
            <a:xfrm>
              <a:off x="7041820" y="4656312"/>
              <a:ext cx="48826" cy="52447"/>
            </a:xfrm>
            <a:custGeom>
              <a:avLst/>
              <a:gdLst>
                <a:gd name="connsiteX0" fmla="*/ 30294 w 48826"/>
                <a:gd name="connsiteY0" fmla="*/ 5689 h 52447"/>
                <a:gd name="connsiteX1" fmla="*/ 30664 w 48826"/>
                <a:gd name="connsiteY1" fmla="*/ 8972 h 52447"/>
                <a:gd name="connsiteX2" fmla="*/ 27565 w 48826"/>
                <a:gd name="connsiteY2" fmla="*/ 11562 h 52447"/>
                <a:gd name="connsiteX3" fmla="*/ 19749 w 48826"/>
                <a:gd name="connsiteY3" fmla="*/ 5504 h 52447"/>
                <a:gd name="connsiteX4" fmla="*/ 370 w 48826"/>
                <a:gd name="connsiteY4" fmla="*/ 30247 h 52447"/>
                <a:gd name="connsiteX5" fmla="*/ 0 w 48826"/>
                <a:gd name="connsiteY5" fmla="*/ 51245 h 52447"/>
                <a:gd name="connsiteX6" fmla="*/ 15632 w 48826"/>
                <a:gd name="connsiteY6" fmla="*/ 51615 h 52447"/>
                <a:gd name="connsiteX7" fmla="*/ 21599 w 48826"/>
                <a:gd name="connsiteY7" fmla="*/ 46990 h 52447"/>
                <a:gd name="connsiteX8" fmla="*/ 32097 w 48826"/>
                <a:gd name="connsiteY8" fmla="*/ 52447 h 52447"/>
                <a:gd name="connsiteX9" fmla="*/ 32236 w 48826"/>
                <a:gd name="connsiteY9" fmla="*/ 52447 h 52447"/>
                <a:gd name="connsiteX10" fmla="*/ 44168 w 48826"/>
                <a:gd name="connsiteY10" fmla="*/ 34040 h 52447"/>
                <a:gd name="connsiteX11" fmla="*/ 44168 w 48826"/>
                <a:gd name="connsiteY11" fmla="*/ 34040 h 52447"/>
                <a:gd name="connsiteX12" fmla="*/ 37693 w 48826"/>
                <a:gd name="connsiteY12" fmla="*/ 32375 h 52447"/>
                <a:gd name="connsiteX13" fmla="*/ 26316 w 48826"/>
                <a:gd name="connsiteY13" fmla="*/ 32467 h 52447"/>
                <a:gd name="connsiteX14" fmla="*/ 32652 w 48826"/>
                <a:gd name="connsiteY14" fmla="*/ 26316 h 52447"/>
                <a:gd name="connsiteX15" fmla="*/ 38803 w 48826"/>
                <a:gd name="connsiteY15" fmla="*/ 23772 h 52447"/>
                <a:gd name="connsiteX16" fmla="*/ 44400 w 48826"/>
                <a:gd name="connsiteY16" fmla="*/ 20119 h 52447"/>
                <a:gd name="connsiteX17" fmla="*/ 48470 w 48826"/>
                <a:gd name="connsiteY17" fmla="*/ 17621 h 52447"/>
                <a:gd name="connsiteX18" fmla="*/ 47776 w 48826"/>
                <a:gd name="connsiteY18" fmla="*/ 9897 h 52447"/>
                <a:gd name="connsiteX19" fmla="*/ 41856 w 48826"/>
                <a:gd name="connsiteY19" fmla="*/ 0 h 52447"/>
                <a:gd name="connsiteX20" fmla="*/ 41856 w 48826"/>
                <a:gd name="connsiteY20" fmla="*/ 0 h 52447"/>
                <a:gd name="connsiteX21" fmla="*/ 30294 w 48826"/>
                <a:gd name="connsiteY21" fmla="*/ 5689 h 5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826" h="52447">
                  <a:moveTo>
                    <a:pt x="30294" y="5689"/>
                  </a:moveTo>
                  <a:lnTo>
                    <a:pt x="30664" y="8972"/>
                  </a:lnTo>
                  <a:lnTo>
                    <a:pt x="27565" y="11562"/>
                  </a:lnTo>
                  <a:lnTo>
                    <a:pt x="19749" y="5504"/>
                  </a:lnTo>
                  <a:lnTo>
                    <a:pt x="370" y="30247"/>
                  </a:lnTo>
                  <a:lnTo>
                    <a:pt x="0" y="51245"/>
                  </a:lnTo>
                  <a:lnTo>
                    <a:pt x="15632" y="51615"/>
                  </a:lnTo>
                  <a:lnTo>
                    <a:pt x="21599" y="46990"/>
                  </a:lnTo>
                  <a:lnTo>
                    <a:pt x="32097" y="52447"/>
                  </a:lnTo>
                  <a:lnTo>
                    <a:pt x="32236" y="52447"/>
                  </a:lnTo>
                  <a:lnTo>
                    <a:pt x="44168" y="34040"/>
                  </a:lnTo>
                  <a:lnTo>
                    <a:pt x="44168" y="34040"/>
                  </a:lnTo>
                  <a:cubicBezTo>
                    <a:pt x="41671" y="32652"/>
                    <a:pt x="39867" y="31959"/>
                    <a:pt x="37693" y="32375"/>
                  </a:cubicBezTo>
                  <a:cubicBezTo>
                    <a:pt x="28721" y="34040"/>
                    <a:pt x="24466" y="35427"/>
                    <a:pt x="26316" y="32467"/>
                  </a:cubicBezTo>
                  <a:cubicBezTo>
                    <a:pt x="27565" y="30941"/>
                    <a:pt x="28906" y="26686"/>
                    <a:pt x="32652" y="26316"/>
                  </a:cubicBezTo>
                  <a:cubicBezTo>
                    <a:pt x="33161" y="26177"/>
                    <a:pt x="36676" y="26455"/>
                    <a:pt x="38803" y="23772"/>
                  </a:cubicBezTo>
                  <a:cubicBezTo>
                    <a:pt x="39266" y="23356"/>
                    <a:pt x="40977" y="20026"/>
                    <a:pt x="44400" y="20119"/>
                  </a:cubicBezTo>
                  <a:cubicBezTo>
                    <a:pt x="44862" y="19980"/>
                    <a:pt x="48053" y="20812"/>
                    <a:pt x="48470" y="17621"/>
                  </a:cubicBezTo>
                  <a:cubicBezTo>
                    <a:pt x="48470" y="16650"/>
                    <a:pt x="49626" y="12950"/>
                    <a:pt x="47776" y="9897"/>
                  </a:cubicBezTo>
                  <a:cubicBezTo>
                    <a:pt x="45186" y="5642"/>
                    <a:pt x="43290" y="2451"/>
                    <a:pt x="41856" y="0"/>
                  </a:cubicBezTo>
                  <a:lnTo>
                    <a:pt x="41856" y="0"/>
                  </a:lnTo>
                  <a:cubicBezTo>
                    <a:pt x="41856" y="0"/>
                    <a:pt x="30294" y="5689"/>
                    <a:pt x="30294" y="5689"/>
                  </a:cubicBezTo>
                  <a:close/>
                </a:path>
              </a:pathLst>
            </a:custGeom>
            <a:grpFill/>
            <a:ln w="4609" cap="flat">
              <a:noFill/>
              <a:prstDash val="solid"/>
              <a:miter/>
            </a:ln>
          </p:spPr>
          <p:txBody>
            <a:bodyPr rtlCol="0" anchor="ctr"/>
            <a:lstStyle/>
            <a:p>
              <a:endParaRPr lang="en-IN"/>
            </a:p>
          </p:txBody>
        </p:sp>
        <p:grpSp>
          <p:nvGrpSpPr>
            <p:cNvPr id="112" name="Graphic 36">
              <a:extLst>
                <a:ext uri="{FF2B5EF4-FFF2-40B4-BE49-F238E27FC236}">
                  <a16:creationId xmlns:a16="http://schemas.microsoft.com/office/drawing/2014/main" id="{991C00F5-2CE6-20B2-2174-666AD6BE6E01}"/>
                </a:ext>
              </a:extLst>
            </p:cNvPr>
            <p:cNvGrpSpPr/>
            <p:nvPr/>
          </p:nvGrpSpPr>
          <p:grpSpPr>
            <a:xfrm>
              <a:off x="6183148" y="4872299"/>
              <a:ext cx="550510" cy="551435"/>
              <a:chOff x="6183148" y="4872299"/>
              <a:chExt cx="550510" cy="551435"/>
            </a:xfrm>
            <a:grpFill/>
          </p:grpSpPr>
          <p:sp>
            <p:nvSpPr>
              <p:cNvPr id="134" name="Freeform: Shape 133">
                <a:extLst>
                  <a:ext uri="{FF2B5EF4-FFF2-40B4-BE49-F238E27FC236}">
                    <a16:creationId xmlns:a16="http://schemas.microsoft.com/office/drawing/2014/main" id="{BF98773F-F378-EBBC-8915-CD79E01AC7FF}"/>
                  </a:ext>
                </a:extLst>
              </p:cNvPr>
              <p:cNvSpPr/>
              <p:nvPr/>
            </p:nvSpPr>
            <p:spPr>
              <a:xfrm>
                <a:off x="6669708" y="5084736"/>
                <a:ext cx="4057" cy="6436"/>
              </a:xfrm>
              <a:custGeom>
                <a:avLst/>
                <a:gdLst>
                  <a:gd name="connsiteX0" fmla="*/ 727 w 4057"/>
                  <a:gd name="connsiteY0" fmla="*/ 1005 h 6436"/>
                  <a:gd name="connsiteX1" fmla="*/ 727 w 4057"/>
                  <a:gd name="connsiteY1" fmla="*/ 1005 h 6436"/>
                  <a:gd name="connsiteX2" fmla="*/ 3039 w 4057"/>
                  <a:gd name="connsiteY2" fmla="*/ 5492 h 6436"/>
                  <a:gd name="connsiteX3" fmla="*/ 3409 w 4057"/>
                  <a:gd name="connsiteY3" fmla="*/ 4937 h 6436"/>
                  <a:gd name="connsiteX4" fmla="*/ 727 w 4057"/>
                  <a:gd name="connsiteY4" fmla="*/ 1005 h 6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7" h="6436">
                    <a:moveTo>
                      <a:pt x="727" y="1005"/>
                    </a:moveTo>
                    <a:lnTo>
                      <a:pt x="727" y="1005"/>
                    </a:lnTo>
                    <a:cubicBezTo>
                      <a:pt x="-1216" y="3919"/>
                      <a:pt x="1143" y="8405"/>
                      <a:pt x="3039" y="5492"/>
                    </a:cubicBezTo>
                    <a:lnTo>
                      <a:pt x="3409" y="4937"/>
                    </a:lnTo>
                    <a:cubicBezTo>
                      <a:pt x="5305" y="2023"/>
                      <a:pt x="2623" y="-1862"/>
                      <a:pt x="727" y="1005"/>
                    </a:cubicBezTo>
                    <a:close/>
                  </a:path>
                </a:pathLst>
              </a:custGeom>
              <a:grpFill/>
              <a:ln w="4609" cap="flat">
                <a:noFill/>
                <a:prstDash val="solid"/>
                <a:miter/>
              </a:ln>
            </p:spPr>
            <p:txBody>
              <a:bodyPr rtlCol="0" anchor="ctr"/>
              <a:lstStyle/>
              <a:p>
                <a:endParaRPr lang="en-IN"/>
              </a:p>
            </p:txBody>
          </p:sp>
          <p:sp>
            <p:nvSpPr>
              <p:cNvPr id="135" name="Freeform: Shape 134">
                <a:extLst>
                  <a:ext uri="{FF2B5EF4-FFF2-40B4-BE49-F238E27FC236}">
                    <a16:creationId xmlns:a16="http://schemas.microsoft.com/office/drawing/2014/main" id="{4F382B41-B9AD-2699-B68F-C527FF6A9963}"/>
                  </a:ext>
                </a:extLst>
              </p:cNvPr>
              <p:cNvSpPr/>
              <p:nvPr/>
            </p:nvSpPr>
            <p:spPr>
              <a:xfrm>
                <a:off x="6183148" y="4872299"/>
                <a:ext cx="550510" cy="551435"/>
              </a:xfrm>
              <a:custGeom>
                <a:avLst/>
                <a:gdLst>
                  <a:gd name="connsiteX0" fmla="*/ 537329 w 550510"/>
                  <a:gd name="connsiteY0" fmla="*/ 83897 h 551435"/>
                  <a:gd name="connsiteX1" fmla="*/ 541677 w 550510"/>
                  <a:gd name="connsiteY1" fmla="*/ 54667 h 551435"/>
                  <a:gd name="connsiteX2" fmla="*/ 517951 w 550510"/>
                  <a:gd name="connsiteY2" fmla="*/ 40052 h 551435"/>
                  <a:gd name="connsiteX3" fmla="*/ 508886 w 550510"/>
                  <a:gd name="connsiteY3" fmla="*/ 23449 h 551435"/>
                  <a:gd name="connsiteX4" fmla="*/ 500191 w 550510"/>
                  <a:gd name="connsiteY4" fmla="*/ 20674 h 551435"/>
                  <a:gd name="connsiteX5" fmla="*/ 491912 w 550510"/>
                  <a:gd name="connsiteY5" fmla="*/ 30155 h 551435"/>
                  <a:gd name="connsiteX6" fmla="*/ 478453 w 550510"/>
                  <a:gd name="connsiteY6" fmla="*/ 23819 h 551435"/>
                  <a:gd name="connsiteX7" fmla="*/ 468186 w 550510"/>
                  <a:gd name="connsiteY7" fmla="*/ 32097 h 551435"/>
                  <a:gd name="connsiteX8" fmla="*/ 439002 w 550510"/>
                  <a:gd name="connsiteY8" fmla="*/ 6984 h 551435"/>
                  <a:gd name="connsiteX9" fmla="*/ 425682 w 550510"/>
                  <a:gd name="connsiteY9" fmla="*/ 5226 h 551435"/>
                  <a:gd name="connsiteX10" fmla="*/ 420271 w 550510"/>
                  <a:gd name="connsiteY10" fmla="*/ 10822 h 551435"/>
                  <a:gd name="connsiteX11" fmla="*/ 405425 w 550510"/>
                  <a:gd name="connsiteY11" fmla="*/ 2914 h 551435"/>
                  <a:gd name="connsiteX12" fmla="*/ 396175 w 550510"/>
                  <a:gd name="connsiteY12" fmla="*/ 5781 h 551435"/>
                  <a:gd name="connsiteX13" fmla="*/ 387480 w 550510"/>
                  <a:gd name="connsiteY13" fmla="*/ 0 h 551435"/>
                  <a:gd name="connsiteX14" fmla="*/ 379386 w 550510"/>
                  <a:gd name="connsiteY14" fmla="*/ 1757 h 551435"/>
                  <a:gd name="connsiteX15" fmla="*/ 379386 w 550510"/>
                  <a:gd name="connsiteY15" fmla="*/ 11007 h 551435"/>
                  <a:gd name="connsiteX16" fmla="*/ 362644 w 550510"/>
                  <a:gd name="connsiteY16" fmla="*/ 14476 h 551435"/>
                  <a:gd name="connsiteX17" fmla="*/ 351637 w 550510"/>
                  <a:gd name="connsiteY17" fmla="*/ 8695 h 551435"/>
                  <a:gd name="connsiteX18" fmla="*/ 322129 w 550510"/>
                  <a:gd name="connsiteY18" fmla="*/ 23125 h 551435"/>
                  <a:gd name="connsiteX19" fmla="*/ 307098 w 550510"/>
                  <a:gd name="connsiteY19" fmla="*/ 17344 h 551435"/>
                  <a:gd name="connsiteX20" fmla="*/ 293778 w 550510"/>
                  <a:gd name="connsiteY20" fmla="*/ 37000 h 551435"/>
                  <a:gd name="connsiteX21" fmla="*/ 239435 w 550510"/>
                  <a:gd name="connsiteY21" fmla="*/ 28906 h 551435"/>
                  <a:gd name="connsiteX22" fmla="*/ 235596 w 550510"/>
                  <a:gd name="connsiteY22" fmla="*/ 18500 h 551435"/>
                  <a:gd name="connsiteX23" fmla="*/ 219409 w 550510"/>
                  <a:gd name="connsiteY23" fmla="*/ 7724 h 551435"/>
                  <a:gd name="connsiteX24" fmla="*/ 208216 w 550510"/>
                  <a:gd name="connsiteY24" fmla="*/ 6567 h 551435"/>
                  <a:gd name="connsiteX25" fmla="*/ 197810 w 550510"/>
                  <a:gd name="connsiteY25" fmla="*/ 13135 h 551435"/>
                  <a:gd name="connsiteX26" fmla="*/ 188560 w 550510"/>
                  <a:gd name="connsiteY26" fmla="*/ 28536 h 551435"/>
                  <a:gd name="connsiteX27" fmla="*/ 181253 w 550510"/>
                  <a:gd name="connsiteY27" fmla="*/ 31219 h 551435"/>
                  <a:gd name="connsiteX28" fmla="*/ 183935 w 550510"/>
                  <a:gd name="connsiteY28" fmla="*/ 64380 h 551435"/>
                  <a:gd name="connsiteX29" fmla="*/ 168118 w 550510"/>
                  <a:gd name="connsiteY29" fmla="*/ 90973 h 551435"/>
                  <a:gd name="connsiteX30" fmla="*/ 167331 w 550510"/>
                  <a:gd name="connsiteY30" fmla="*/ 110999 h 551435"/>
                  <a:gd name="connsiteX31" fmla="*/ 160394 w 550510"/>
                  <a:gd name="connsiteY31" fmla="*/ 126400 h 551435"/>
                  <a:gd name="connsiteX32" fmla="*/ 163863 w 550510"/>
                  <a:gd name="connsiteY32" fmla="*/ 147583 h 551435"/>
                  <a:gd name="connsiteX33" fmla="*/ 156555 w 550510"/>
                  <a:gd name="connsiteY33" fmla="*/ 159931 h 551435"/>
                  <a:gd name="connsiteX34" fmla="*/ 157712 w 550510"/>
                  <a:gd name="connsiteY34" fmla="*/ 171494 h 551435"/>
                  <a:gd name="connsiteX35" fmla="*/ 148323 w 550510"/>
                  <a:gd name="connsiteY35" fmla="*/ 184999 h 551435"/>
                  <a:gd name="connsiteX36" fmla="*/ 132968 w 550510"/>
                  <a:gd name="connsiteY36" fmla="*/ 191150 h 551435"/>
                  <a:gd name="connsiteX37" fmla="*/ 123302 w 550510"/>
                  <a:gd name="connsiteY37" fmla="*/ 211315 h 551435"/>
                  <a:gd name="connsiteX38" fmla="*/ 111878 w 550510"/>
                  <a:gd name="connsiteY38" fmla="*/ 222276 h 551435"/>
                  <a:gd name="connsiteX39" fmla="*/ 113728 w 550510"/>
                  <a:gd name="connsiteY39" fmla="*/ 255483 h 551435"/>
                  <a:gd name="connsiteX40" fmla="*/ 104478 w 550510"/>
                  <a:gd name="connsiteY40" fmla="*/ 273983 h 551435"/>
                  <a:gd name="connsiteX41" fmla="*/ 92916 w 550510"/>
                  <a:gd name="connsiteY41" fmla="*/ 274770 h 551435"/>
                  <a:gd name="connsiteX42" fmla="*/ 72103 w 550510"/>
                  <a:gd name="connsiteY42" fmla="*/ 299837 h 551435"/>
                  <a:gd name="connsiteX43" fmla="*/ 61327 w 550510"/>
                  <a:gd name="connsiteY43" fmla="*/ 297894 h 551435"/>
                  <a:gd name="connsiteX44" fmla="*/ 60957 w 550510"/>
                  <a:gd name="connsiteY44" fmla="*/ 280921 h 551435"/>
                  <a:gd name="connsiteX45" fmla="*/ 40145 w 550510"/>
                  <a:gd name="connsiteY45" fmla="*/ 285546 h 551435"/>
                  <a:gd name="connsiteX46" fmla="*/ 40145 w 550510"/>
                  <a:gd name="connsiteY46" fmla="*/ 294009 h 551435"/>
                  <a:gd name="connsiteX47" fmla="*/ 30525 w 550510"/>
                  <a:gd name="connsiteY47" fmla="*/ 299421 h 551435"/>
                  <a:gd name="connsiteX48" fmla="*/ 23911 w 550510"/>
                  <a:gd name="connsiteY48" fmla="*/ 292807 h 551435"/>
                  <a:gd name="connsiteX49" fmla="*/ 23911 w 550510"/>
                  <a:gd name="connsiteY49" fmla="*/ 292807 h 551435"/>
                  <a:gd name="connsiteX50" fmla="*/ 7770 w 550510"/>
                  <a:gd name="connsiteY50" fmla="*/ 305202 h 551435"/>
                  <a:gd name="connsiteX51" fmla="*/ 9620 w 550510"/>
                  <a:gd name="connsiteY51" fmla="*/ 319955 h 551435"/>
                  <a:gd name="connsiteX52" fmla="*/ 0 w 550510"/>
                  <a:gd name="connsiteY52" fmla="*/ 327309 h 551435"/>
                  <a:gd name="connsiteX53" fmla="*/ 0 w 550510"/>
                  <a:gd name="connsiteY53" fmla="*/ 327309 h 551435"/>
                  <a:gd name="connsiteX54" fmla="*/ 4995 w 550510"/>
                  <a:gd name="connsiteY54" fmla="*/ 336282 h 551435"/>
                  <a:gd name="connsiteX55" fmla="*/ 25854 w 550510"/>
                  <a:gd name="connsiteY55" fmla="*/ 327355 h 551435"/>
                  <a:gd name="connsiteX56" fmla="*/ 123533 w 550510"/>
                  <a:gd name="connsiteY56" fmla="*/ 328003 h 551435"/>
                  <a:gd name="connsiteX57" fmla="*/ 126724 w 550510"/>
                  <a:gd name="connsiteY57" fmla="*/ 343312 h 551435"/>
                  <a:gd name="connsiteX58" fmla="*/ 133985 w 550510"/>
                  <a:gd name="connsiteY58" fmla="*/ 363708 h 551435"/>
                  <a:gd name="connsiteX59" fmla="*/ 153410 w 550510"/>
                  <a:gd name="connsiteY59" fmla="*/ 394464 h 551435"/>
                  <a:gd name="connsiteX60" fmla="*/ 181669 w 550510"/>
                  <a:gd name="connsiteY60" fmla="*/ 389099 h 551435"/>
                  <a:gd name="connsiteX61" fmla="*/ 205210 w 550510"/>
                  <a:gd name="connsiteY61" fmla="*/ 389099 h 551435"/>
                  <a:gd name="connsiteX62" fmla="*/ 210575 w 550510"/>
                  <a:gd name="connsiteY62" fmla="*/ 376288 h 551435"/>
                  <a:gd name="connsiteX63" fmla="*/ 208540 w 550510"/>
                  <a:gd name="connsiteY63" fmla="*/ 361488 h 551435"/>
                  <a:gd name="connsiteX64" fmla="*/ 241840 w 550510"/>
                  <a:gd name="connsiteY64" fmla="*/ 358805 h 551435"/>
                  <a:gd name="connsiteX65" fmla="*/ 238140 w 550510"/>
                  <a:gd name="connsiteY65" fmla="*/ 369258 h 551435"/>
                  <a:gd name="connsiteX66" fmla="*/ 276851 w 550510"/>
                  <a:gd name="connsiteY66" fmla="*/ 369581 h 551435"/>
                  <a:gd name="connsiteX67" fmla="*/ 272550 w 550510"/>
                  <a:gd name="connsiteY67" fmla="*/ 389978 h 551435"/>
                  <a:gd name="connsiteX68" fmla="*/ 279857 w 550510"/>
                  <a:gd name="connsiteY68" fmla="*/ 403853 h 551435"/>
                  <a:gd name="connsiteX69" fmla="*/ 275232 w 550510"/>
                  <a:gd name="connsiteY69" fmla="*/ 436597 h 551435"/>
                  <a:gd name="connsiteX70" fmla="*/ 286424 w 550510"/>
                  <a:gd name="connsiteY70" fmla="*/ 447373 h 551435"/>
                  <a:gd name="connsiteX71" fmla="*/ 291420 w 550510"/>
                  <a:gd name="connsiteY71" fmla="*/ 470128 h 551435"/>
                  <a:gd name="connsiteX72" fmla="*/ 284852 w 550510"/>
                  <a:gd name="connsiteY72" fmla="*/ 475123 h 551435"/>
                  <a:gd name="connsiteX73" fmla="*/ 291003 w 550510"/>
                  <a:gd name="connsiteY73" fmla="*/ 488628 h 551435"/>
                  <a:gd name="connsiteX74" fmla="*/ 299467 w 550510"/>
                  <a:gd name="connsiteY74" fmla="*/ 480534 h 551435"/>
                  <a:gd name="connsiteX75" fmla="*/ 316394 w 550510"/>
                  <a:gd name="connsiteY75" fmla="*/ 482477 h 551435"/>
                  <a:gd name="connsiteX76" fmla="*/ 322962 w 550510"/>
                  <a:gd name="connsiteY76" fmla="*/ 476696 h 551435"/>
                  <a:gd name="connsiteX77" fmla="*/ 333738 w 550510"/>
                  <a:gd name="connsiteY77" fmla="*/ 479378 h 551435"/>
                  <a:gd name="connsiteX78" fmla="*/ 338779 w 550510"/>
                  <a:gd name="connsiteY78" fmla="*/ 473597 h 551435"/>
                  <a:gd name="connsiteX79" fmla="*/ 353024 w 550510"/>
                  <a:gd name="connsiteY79" fmla="*/ 480904 h 551435"/>
                  <a:gd name="connsiteX80" fmla="*/ 348029 w 550510"/>
                  <a:gd name="connsiteY80" fmla="*/ 491681 h 551435"/>
                  <a:gd name="connsiteX81" fmla="*/ 356123 w 550510"/>
                  <a:gd name="connsiteY81" fmla="*/ 493207 h 551435"/>
                  <a:gd name="connsiteX82" fmla="*/ 363847 w 550510"/>
                  <a:gd name="connsiteY82" fmla="*/ 485899 h 551435"/>
                  <a:gd name="connsiteX83" fmla="*/ 379248 w 550510"/>
                  <a:gd name="connsiteY83" fmla="*/ 484743 h 551435"/>
                  <a:gd name="connsiteX84" fmla="*/ 377305 w 550510"/>
                  <a:gd name="connsiteY84" fmla="*/ 492837 h 551435"/>
                  <a:gd name="connsiteX85" fmla="*/ 384243 w 550510"/>
                  <a:gd name="connsiteY85" fmla="*/ 501301 h 551435"/>
                  <a:gd name="connsiteX86" fmla="*/ 418144 w 550510"/>
                  <a:gd name="connsiteY86" fmla="*/ 508608 h 551435"/>
                  <a:gd name="connsiteX87" fmla="*/ 425451 w 550510"/>
                  <a:gd name="connsiteY87" fmla="*/ 505139 h 551435"/>
                  <a:gd name="connsiteX88" fmla="*/ 426977 w 550510"/>
                  <a:gd name="connsiteY88" fmla="*/ 495103 h 551435"/>
                  <a:gd name="connsiteX89" fmla="*/ 435071 w 550510"/>
                  <a:gd name="connsiteY89" fmla="*/ 495473 h 551435"/>
                  <a:gd name="connsiteX90" fmla="*/ 435857 w 550510"/>
                  <a:gd name="connsiteY90" fmla="*/ 503197 h 551435"/>
                  <a:gd name="connsiteX91" fmla="*/ 442795 w 550510"/>
                  <a:gd name="connsiteY91" fmla="*/ 507452 h 551435"/>
                  <a:gd name="connsiteX92" fmla="*/ 446263 w 550510"/>
                  <a:gd name="connsiteY92" fmla="*/ 516702 h 551435"/>
                  <a:gd name="connsiteX93" fmla="*/ 467076 w 550510"/>
                  <a:gd name="connsiteY93" fmla="*/ 520540 h 551435"/>
                  <a:gd name="connsiteX94" fmla="*/ 480581 w 550510"/>
                  <a:gd name="connsiteY94" fmla="*/ 537098 h 551435"/>
                  <a:gd name="connsiteX95" fmla="*/ 488166 w 550510"/>
                  <a:gd name="connsiteY95" fmla="*/ 551435 h 551435"/>
                  <a:gd name="connsiteX96" fmla="*/ 502133 w 550510"/>
                  <a:gd name="connsiteY96" fmla="*/ 544035 h 551435"/>
                  <a:gd name="connsiteX97" fmla="*/ 501347 w 550510"/>
                  <a:gd name="connsiteY97" fmla="*/ 551343 h 551435"/>
                  <a:gd name="connsiteX98" fmla="*/ 510227 w 550510"/>
                  <a:gd name="connsiteY98" fmla="*/ 550973 h 551435"/>
                  <a:gd name="connsiteX99" fmla="*/ 510227 w 550510"/>
                  <a:gd name="connsiteY99" fmla="*/ 511291 h 551435"/>
                  <a:gd name="connsiteX100" fmla="*/ 499034 w 550510"/>
                  <a:gd name="connsiteY100" fmla="*/ 513973 h 551435"/>
                  <a:gd name="connsiteX101" fmla="*/ 499404 w 550510"/>
                  <a:gd name="connsiteY101" fmla="*/ 521280 h 551435"/>
                  <a:gd name="connsiteX102" fmla="*/ 487472 w 550510"/>
                  <a:gd name="connsiteY102" fmla="*/ 519338 h 551435"/>
                  <a:gd name="connsiteX103" fmla="*/ 479471 w 550510"/>
                  <a:gd name="connsiteY103" fmla="*/ 507961 h 551435"/>
                  <a:gd name="connsiteX104" fmla="*/ 470776 w 550510"/>
                  <a:gd name="connsiteY104" fmla="*/ 503891 h 551435"/>
                  <a:gd name="connsiteX105" fmla="*/ 466706 w 550510"/>
                  <a:gd name="connsiteY105" fmla="*/ 492328 h 551435"/>
                  <a:gd name="connsiteX106" fmla="*/ 476511 w 550510"/>
                  <a:gd name="connsiteY106" fmla="*/ 468648 h 551435"/>
                  <a:gd name="connsiteX107" fmla="*/ 473921 w 550510"/>
                  <a:gd name="connsiteY107" fmla="*/ 453340 h 551435"/>
                  <a:gd name="connsiteX108" fmla="*/ 477667 w 550510"/>
                  <a:gd name="connsiteY108" fmla="*/ 441222 h 551435"/>
                  <a:gd name="connsiteX109" fmla="*/ 472487 w 550510"/>
                  <a:gd name="connsiteY109" fmla="*/ 429244 h 551435"/>
                  <a:gd name="connsiteX110" fmla="*/ 472487 w 550510"/>
                  <a:gd name="connsiteY110" fmla="*/ 429244 h 551435"/>
                  <a:gd name="connsiteX111" fmla="*/ 466845 w 550510"/>
                  <a:gd name="connsiteY111" fmla="*/ 422352 h 551435"/>
                  <a:gd name="connsiteX112" fmla="*/ 480673 w 550510"/>
                  <a:gd name="connsiteY112" fmla="*/ 405702 h 551435"/>
                  <a:gd name="connsiteX113" fmla="*/ 482384 w 550510"/>
                  <a:gd name="connsiteY113" fmla="*/ 404870 h 551435"/>
                  <a:gd name="connsiteX114" fmla="*/ 482384 w 550510"/>
                  <a:gd name="connsiteY114" fmla="*/ 404731 h 551435"/>
                  <a:gd name="connsiteX115" fmla="*/ 529004 w 550510"/>
                  <a:gd name="connsiteY115" fmla="*/ 398071 h 551435"/>
                  <a:gd name="connsiteX116" fmla="*/ 531918 w 550510"/>
                  <a:gd name="connsiteY116" fmla="*/ 393169 h 551435"/>
                  <a:gd name="connsiteX117" fmla="*/ 522113 w 550510"/>
                  <a:gd name="connsiteY117" fmla="*/ 380959 h 551435"/>
                  <a:gd name="connsiteX118" fmla="*/ 520911 w 550510"/>
                  <a:gd name="connsiteY118" fmla="*/ 372449 h 551435"/>
                  <a:gd name="connsiteX119" fmla="*/ 516239 w 550510"/>
                  <a:gd name="connsiteY119" fmla="*/ 363523 h 551435"/>
                  <a:gd name="connsiteX120" fmla="*/ 510597 w 550510"/>
                  <a:gd name="connsiteY120" fmla="*/ 360655 h 551435"/>
                  <a:gd name="connsiteX121" fmla="*/ 506527 w 550510"/>
                  <a:gd name="connsiteY121" fmla="*/ 358065 h 551435"/>
                  <a:gd name="connsiteX122" fmla="*/ 501439 w 550510"/>
                  <a:gd name="connsiteY122" fmla="*/ 350804 h 551435"/>
                  <a:gd name="connsiteX123" fmla="*/ 498526 w 550510"/>
                  <a:gd name="connsiteY123" fmla="*/ 342017 h 551435"/>
                  <a:gd name="connsiteX124" fmla="*/ 491727 w 550510"/>
                  <a:gd name="connsiteY124" fmla="*/ 329483 h 551435"/>
                  <a:gd name="connsiteX125" fmla="*/ 491588 w 550510"/>
                  <a:gd name="connsiteY125" fmla="*/ 328512 h 551435"/>
                  <a:gd name="connsiteX126" fmla="*/ 493299 w 550510"/>
                  <a:gd name="connsiteY126" fmla="*/ 325043 h 551435"/>
                  <a:gd name="connsiteX127" fmla="*/ 496444 w 550510"/>
                  <a:gd name="connsiteY127" fmla="*/ 320695 h 551435"/>
                  <a:gd name="connsiteX128" fmla="*/ 488675 w 550510"/>
                  <a:gd name="connsiteY128" fmla="*/ 301317 h 551435"/>
                  <a:gd name="connsiteX129" fmla="*/ 489044 w 550510"/>
                  <a:gd name="connsiteY129" fmla="*/ 291512 h 551435"/>
                  <a:gd name="connsiteX130" fmla="*/ 492930 w 550510"/>
                  <a:gd name="connsiteY130" fmla="*/ 279209 h 551435"/>
                  <a:gd name="connsiteX131" fmla="*/ 490895 w 550510"/>
                  <a:gd name="connsiteY131" fmla="*/ 275232 h 551435"/>
                  <a:gd name="connsiteX132" fmla="*/ 488305 w 550510"/>
                  <a:gd name="connsiteY132" fmla="*/ 277036 h 551435"/>
                  <a:gd name="connsiteX133" fmla="*/ 489923 w 550510"/>
                  <a:gd name="connsiteY133" fmla="*/ 254512 h 551435"/>
                  <a:gd name="connsiteX134" fmla="*/ 491264 w 550510"/>
                  <a:gd name="connsiteY134" fmla="*/ 242071 h 551435"/>
                  <a:gd name="connsiteX135" fmla="*/ 481460 w 550510"/>
                  <a:gd name="connsiteY135" fmla="*/ 225606 h 551435"/>
                  <a:gd name="connsiteX136" fmla="*/ 481460 w 550510"/>
                  <a:gd name="connsiteY136" fmla="*/ 219732 h 551435"/>
                  <a:gd name="connsiteX137" fmla="*/ 486454 w 550510"/>
                  <a:gd name="connsiteY137" fmla="*/ 202990 h 551435"/>
                  <a:gd name="connsiteX138" fmla="*/ 489461 w 550510"/>
                  <a:gd name="connsiteY138" fmla="*/ 200816 h 551435"/>
                  <a:gd name="connsiteX139" fmla="*/ 493947 w 550510"/>
                  <a:gd name="connsiteY139" fmla="*/ 204424 h 551435"/>
                  <a:gd name="connsiteX140" fmla="*/ 493993 w 550510"/>
                  <a:gd name="connsiteY140" fmla="*/ 204424 h 551435"/>
                  <a:gd name="connsiteX141" fmla="*/ 503659 w 550510"/>
                  <a:gd name="connsiteY141" fmla="*/ 196376 h 551435"/>
                  <a:gd name="connsiteX142" fmla="*/ 501116 w 550510"/>
                  <a:gd name="connsiteY142" fmla="*/ 172928 h 551435"/>
                  <a:gd name="connsiteX143" fmla="*/ 499867 w 550510"/>
                  <a:gd name="connsiteY143" fmla="*/ 173066 h 551435"/>
                  <a:gd name="connsiteX144" fmla="*/ 495334 w 550510"/>
                  <a:gd name="connsiteY144" fmla="*/ 172280 h 551435"/>
                  <a:gd name="connsiteX145" fmla="*/ 495704 w 550510"/>
                  <a:gd name="connsiteY145" fmla="*/ 167563 h 551435"/>
                  <a:gd name="connsiteX146" fmla="*/ 501948 w 550510"/>
                  <a:gd name="connsiteY146" fmla="*/ 158081 h 551435"/>
                  <a:gd name="connsiteX147" fmla="*/ 507868 w 550510"/>
                  <a:gd name="connsiteY147" fmla="*/ 156509 h 551435"/>
                  <a:gd name="connsiteX148" fmla="*/ 513927 w 550510"/>
                  <a:gd name="connsiteY148" fmla="*/ 132737 h 551435"/>
                  <a:gd name="connsiteX149" fmla="*/ 529051 w 550510"/>
                  <a:gd name="connsiteY149" fmla="*/ 122423 h 551435"/>
                  <a:gd name="connsiteX150" fmla="*/ 529051 w 550510"/>
                  <a:gd name="connsiteY150" fmla="*/ 122423 h 551435"/>
                  <a:gd name="connsiteX151" fmla="*/ 528079 w 550510"/>
                  <a:gd name="connsiteY151" fmla="*/ 113728 h 551435"/>
                  <a:gd name="connsiteX152" fmla="*/ 542925 w 550510"/>
                  <a:gd name="connsiteY152" fmla="*/ 96893 h 551435"/>
                  <a:gd name="connsiteX153" fmla="*/ 550510 w 550510"/>
                  <a:gd name="connsiteY153" fmla="*/ 92129 h 551435"/>
                  <a:gd name="connsiteX154" fmla="*/ 536867 w 550510"/>
                  <a:gd name="connsiteY154" fmla="*/ 83619 h 5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550510" h="551435">
                    <a:moveTo>
                      <a:pt x="537329" y="83897"/>
                    </a:moveTo>
                    <a:lnTo>
                      <a:pt x="541677" y="54667"/>
                    </a:lnTo>
                    <a:lnTo>
                      <a:pt x="517951" y="40052"/>
                    </a:lnTo>
                    <a:lnTo>
                      <a:pt x="508886" y="23449"/>
                    </a:lnTo>
                    <a:lnTo>
                      <a:pt x="500191" y="20674"/>
                    </a:lnTo>
                    <a:lnTo>
                      <a:pt x="491912" y="30155"/>
                    </a:lnTo>
                    <a:lnTo>
                      <a:pt x="478453" y="23819"/>
                    </a:lnTo>
                    <a:lnTo>
                      <a:pt x="468186" y="32097"/>
                    </a:lnTo>
                    <a:lnTo>
                      <a:pt x="439002" y="6984"/>
                    </a:lnTo>
                    <a:lnTo>
                      <a:pt x="425682" y="5226"/>
                    </a:lnTo>
                    <a:lnTo>
                      <a:pt x="420271" y="10822"/>
                    </a:lnTo>
                    <a:lnTo>
                      <a:pt x="405425" y="2914"/>
                    </a:lnTo>
                    <a:lnTo>
                      <a:pt x="396175" y="5781"/>
                    </a:lnTo>
                    <a:lnTo>
                      <a:pt x="387480" y="0"/>
                    </a:lnTo>
                    <a:lnTo>
                      <a:pt x="379386" y="1757"/>
                    </a:lnTo>
                    <a:lnTo>
                      <a:pt x="379386" y="11007"/>
                    </a:lnTo>
                    <a:lnTo>
                      <a:pt x="362644" y="14476"/>
                    </a:lnTo>
                    <a:lnTo>
                      <a:pt x="351637" y="8695"/>
                    </a:lnTo>
                    <a:lnTo>
                      <a:pt x="322129" y="23125"/>
                    </a:lnTo>
                    <a:lnTo>
                      <a:pt x="307098" y="17344"/>
                    </a:lnTo>
                    <a:lnTo>
                      <a:pt x="293778" y="37000"/>
                    </a:lnTo>
                    <a:lnTo>
                      <a:pt x="239435" y="28906"/>
                    </a:lnTo>
                    <a:lnTo>
                      <a:pt x="235596" y="18500"/>
                    </a:lnTo>
                    <a:lnTo>
                      <a:pt x="219409" y="7724"/>
                    </a:lnTo>
                    <a:lnTo>
                      <a:pt x="208216" y="6567"/>
                    </a:lnTo>
                    <a:lnTo>
                      <a:pt x="197810" y="13135"/>
                    </a:lnTo>
                    <a:lnTo>
                      <a:pt x="188560" y="28536"/>
                    </a:lnTo>
                    <a:lnTo>
                      <a:pt x="181253" y="31219"/>
                    </a:lnTo>
                    <a:lnTo>
                      <a:pt x="183935" y="64380"/>
                    </a:lnTo>
                    <a:lnTo>
                      <a:pt x="168118" y="90973"/>
                    </a:lnTo>
                    <a:lnTo>
                      <a:pt x="167331" y="110999"/>
                    </a:lnTo>
                    <a:lnTo>
                      <a:pt x="160394" y="126400"/>
                    </a:lnTo>
                    <a:lnTo>
                      <a:pt x="163863" y="147583"/>
                    </a:lnTo>
                    <a:lnTo>
                      <a:pt x="156555" y="159931"/>
                    </a:lnTo>
                    <a:lnTo>
                      <a:pt x="157712" y="171494"/>
                    </a:lnTo>
                    <a:lnTo>
                      <a:pt x="148323" y="184999"/>
                    </a:lnTo>
                    <a:lnTo>
                      <a:pt x="132968" y="191150"/>
                    </a:lnTo>
                    <a:lnTo>
                      <a:pt x="123302" y="211315"/>
                    </a:lnTo>
                    <a:lnTo>
                      <a:pt x="111878" y="222276"/>
                    </a:lnTo>
                    <a:lnTo>
                      <a:pt x="113728" y="255483"/>
                    </a:lnTo>
                    <a:lnTo>
                      <a:pt x="104478" y="273983"/>
                    </a:lnTo>
                    <a:lnTo>
                      <a:pt x="92916" y="274770"/>
                    </a:lnTo>
                    <a:lnTo>
                      <a:pt x="72103" y="299837"/>
                    </a:lnTo>
                    <a:lnTo>
                      <a:pt x="61327" y="297894"/>
                    </a:lnTo>
                    <a:lnTo>
                      <a:pt x="60957" y="280921"/>
                    </a:lnTo>
                    <a:lnTo>
                      <a:pt x="40145" y="285546"/>
                    </a:lnTo>
                    <a:lnTo>
                      <a:pt x="40145" y="294009"/>
                    </a:lnTo>
                    <a:lnTo>
                      <a:pt x="30525" y="299421"/>
                    </a:lnTo>
                    <a:lnTo>
                      <a:pt x="23911" y="292807"/>
                    </a:lnTo>
                    <a:lnTo>
                      <a:pt x="23911" y="292807"/>
                    </a:lnTo>
                    <a:cubicBezTo>
                      <a:pt x="23911" y="292807"/>
                      <a:pt x="7770" y="305202"/>
                      <a:pt x="7770" y="305202"/>
                    </a:cubicBezTo>
                    <a:lnTo>
                      <a:pt x="9620" y="319955"/>
                    </a:lnTo>
                    <a:lnTo>
                      <a:pt x="0" y="327309"/>
                    </a:lnTo>
                    <a:lnTo>
                      <a:pt x="0" y="327309"/>
                    </a:lnTo>
                    <a:cubicBezTo>
                      <a:pt x="4532" y="333090"/>
                      <a:pt x="6151" y="335125"/>
                      <a:pt x="4995" y="336282"/>
                    </a:cubicBezTo>
                    <a:lnTo>
                      <a:pt x="25854" y="327355"/>
                    </a:lnTo>
                    <a:lnTo>
                      <a:pt x="123533" y="328003"/>
                    </a:lnTo>
                    <a:lnTo>
                      <a:pt x="126724" y="343312"/>
                    </a:lnTo>
                    <a:lnTo>
                      <a:pt x="133985" y="363708"/>
                    </a:lnTo>
                    <a:lnTo>
                      <a:pt x="153410" y="394464"/>
                    </a:lnTo>
                    <a:lnTo>
                      <a:pt x="181669" y="389099"/>
                    </a:lnTo>
                    <a:lnTo>
                      <a:pt x="205210" y="389099"/>
                    </a:lnTo>
                    <a:lnTo>
                      <a:pt x="210575" y="376288"/>
                    </a:lnTo>
                    <a:lnTo>
                      <a:pt x="208540" y="361488"/>
                    </a:lnTo>
                    <a:lnTo>
                      <a:pt x="241840" y="358805"/>
                    </a:lnTo>
                    <a:lnTo>
                      <a:pt x="238140" y="369258"/>
                    </a:lnTo>
                    <a:lnTo>
                      <a:pt x="276851" y="369581"/>
                    </a:lnTo>
                    <a:lnTo>
                      <a:pt x="272550" y="389978"/>
                    </a:lnTo>
                    <a:lnTo>
                      <a:pt x="279857" y="403853"/>
                    </a:lnTo>
                    <a:lnTo>
                      <a:pt x="275232" y="436597"/>
                    </a:lnTo>
                    <a:lnTo>
                      <a:pt x="286424" y="447373"/>
                    </a:lnTo>
                    <a:lnTo>
                      <a:pt x="291420" y="470128"/>
                    </a:lnTo>
                    <a:lnTo>
                      <a:pt x="284852" y="475123"/>
                    </a:lnTo>
                    <a:lnTo>
                      <a:pt x="291003" y="488628"/>
                    </a:lnTo>
                    <a:lnTo>
                      <a:pt x="299467" y="480534"/>
                    </a:lnTo>
                    <a:lnTo>
                      <a:pt x="316394" y="482477"/>
                    </a:lnTo>
                    <a:lnTo>
                      <a:pt x="322962" y="476696"/>
                    </a:lnTo>
                    <a:lnTo>
                      <a:pt x="333738" y="479378"/>
                    </a:lnTo>
                    <a:lnTo>
                      <a:pt x="338779" y="473597"/>
                    </a:lnTo>
                    <a:lnTo>
                      <a:pt x="353024" y="480904"/>
                    </a:lnTo>
                    <a:lnTo>
                      <a:pt x="348029" y="491681"/>
                    </a:lnTo>
                    <a:lnTo>
                      <a:pt x="356123" y="493207"/>
                    </a:lnTo>
                    <a:lnTo>
                      <a:pt x="363847" y="485899"/>
                    </a:lnTo>
                    <a:lnTo>
                      <a:pt x="379248" y="484743"/>
                    </a:lnTo>
                    <a:lnTo>
                      <a:pt x="377305" y="492837"/>
                    </a:lnTo>
                    <a:lnTo>
                      <a:pt x="384243" y="501301"/>
                    </a:lnTo>
                    <a:lnTo>
                      <a:pt x="418144" y="508608"/>
                    </a:lnTo>
                    <a:lnTo>
                      <a:pt x="425451" y="505139"/>
                    </a:lnTo>
                    <a:lnTo>
                      <a:pt x="426977" y="495103"/>
                    </a:lnTo>
                    <a:lnTo>
                      <a:pt x="435071" y="495473"/>
                    </a:lnTo>
                    <a:lnTo>
                      <a:pt x="435857" y="503197"/>
                    </a:lnTo>
                    <a:lnTo>
                      <a:pt x="442795" y="507452"/>
                    </a:lnTo>
                    <a:lnTo>
                      <a:pt x="446263" y="516702"/>
                    </a:lnTo>
                    <a:lnTo>
                      <a:pt x="467076" y="520540"/>
                    </a:lnTo>
                    <a:lnTo>
                      <a:pt x="480581" y="537098"/>
                    </a:lnTo>
                    <a:lnTo>
                      <a:pt x="488166" y="551435"/>
                    </a:lnTo>
                    <a:lnTo>
                      <a:pt x="502133" y="544035"/>
                    </a:lnTo>
                    <a:lnTo>
                      <a:pt x="501347" y="551343"/>
                    </a:lnTo>
                    <a:lnTo>
                      <a:pt x="510227" y="550973"/>
                    </a:lnTo>
                    <a:lnTo>
                      <a:pt x="510227" y="511291"/>
                    </a:lnTo>
                    <a:lnTo>
                      <a:pt x="499034" y="513973"/>
                    </a:lnTo>
                    <a:lnTo>
                      <a:pt x="499404" y="521280"/>
                    </a:lnTo>
                    <a:lnTo>
                      <a:pt x="487472" y="519338"/>
                    </a:lnTo>
                    <a:lnTo>
                      <a:pt x="479471" y="507961"/>
                    </a:lnTo>
                    <a:lnTo>
                      <a:pt x="470776" y="503891"/>
                    </a:lnTo>
                    <a:lnTo>
                      <a:pt x="466706" y="492328"/>
                    </a:lnTo>
                    <a:lnTo>
                      <a:pt x="476511" y="468648"/>
                    </a:lnTo>
                    <a:lnTo>
                      <a:pt x="473921" y="453340"/>
                    </a:lnTo>
                    <a:lnTo>
                      <a:pt x="477667" y="441222"/>
                    </a:lnTo>
                    <a:lnTo>
                      <a:pt x="472487" y="429244"/>
                    </a:lnTo>
                    <a:lnTo>
                      <a:pt x="472487" y="429244"/>
                    </a:lnTo>
                    <a:cubicBezTo>
                      <a:pt x="468140" y="430631"/>
                      <a:pt x="468186" y="437846"/>
                      <a:pt x="466845" y="422352"/>
                    </a:cubicBezTo>
                    <a:cubicBezTo>
                      <a:pt x="466521" y="418884"/>
                      <a:pt x="468325" y="418097"/>
                      <a:pt x="480673" y="405702"/>
                    </a:cubicBezTo>
                    <a:cubicBezTo>
                      <a:pt x="481228" y="405148"/>
                      <a:pt x="481830" y="404916"/>
                      <a:pt x="482384" y="404870"/>
                    </a:cubicBezTo>
                    <a:lnTo>
                      <a:pt x="482384" y="404731"/>
                    </a:lnTo>
                    <a:cubicBezTo>
                      <a:pt x="482384" y="404731"/>
                      <a:pt x="529004" y="398071"/>
                      <a:pt x="529004" y="398071"/>
                    </a:cubicBezTo>
                    <a:cubicBezTo>
                      <a:pt x="530068" y="396221"/>
                      <a:pt x="532103" y="395204"/>
                      <a:pt x="531918" y="393169"/>
                    </a:cubicBezTo>
                    <a:cubicBezTo>
                      <a:pt x="531502" y="388914"/>
                      <a:pt x="522899" y="386370"/>
                      <a:pt x="522113" y="380959"/>
                    </a:cubicBezTo>
                    <a:lnTo>
                      <a:pt x="520911" y="372449"/>
                    </a:lnTo>
                    <a:cubicBezTo>
                      <a:pt x="520356" y="368518"/>
                      <a:pt x="515916" y="363060"/>
                      <a:pt x="516239" y="363523"/>
                    </a:cubicBezTo>
                    <a:cubicBezTo>
                      <a:pt x="514436" y="360887"/>
                      <a:pt x="510134" y="360470"/>
                      <a:pt x="510597" y="360655"/>
                    </a:cubicBezTo>
                    <a:cubicBezTo>
                      <a:pt x="509163" y="360424"/>
                      <a:pt x="507313" y="359268"/>
                      <a:pt x="506527" y="358065"/>
                    </a:cubicBezTo>
                    <a:lnTo>
                      <a:pt x="501439" y="350804"/>
                    </a:lnTo>
                    <a:cubicBezTo>
                      <a:pt x="499127" y="347520"/>
                      <a:pt x="500699" y="345393"/>
                      <a:pt x="498526" y="342017"/>
                    </a:cubicBezTo>
                    <a:cubicBezTo>
                      <a:pt x="495334" y="337160"/>
                      <a:pt x="492190" y="333137"/>
                      <a:pt x="491727" y="329483"/>
                    </a:cubicBezTo>
                    <a:lnTo>
                      <a:pt x="491588" y="328512"/>
                    </a:lnTo>
                    <a:cubicBezTo>
                      <a:pt x="491403" y="327078"/>
                      <a:pt x="492190" y="325506"/>
                      <a:pt x="493299" y="325043"/>
                    </a:cubicBezTo>
                    <a:cubicBezTo>
                      <a:pt x="495612" y="324025"/>
                      <a:pt x="496676" y="320233"/>
                      <a:pt x="496444" y="320695"/>
                    </a:cubicBezTo>
                    <a:cubicBezTo>
                      <a:pt x="498202" y="315284"/>
                      <a:pt x="488443" y="307838"/>
                      <a:pt x="488675" y="301317"/>
                    </a:cubicBezTo>
                    <a:lnTo>
                      <a:pt x="489044" y="291512"/>
                    </a:lnTo>
                    <a:cubicBezTo>
                      <a:pt x="489183" y="287488"/>
                      <a:pt x="493114" y="278701"/>
                      <a:pt x="492930" y="279209"/>
                    </a:cubicBezTo>
                    <a:cubicBezTo>
                      <a:pt x="494178" y="275972"/>
                      <a:pt x="492745" y="272272"/>
                      <a:pt x="490895" y="275232"/>
                    </a:cubicBezTo>
                    <a:cubicBezTo>
                      <a:pt x="490524" y="275694"/>
                      <a:pt x="488027" y="280504"/>
                      <a:pt x="488305" y="277036"/>
                    </a:cubicBezTo>
                    <a:cubicBezTo>
                      <a:pt x="488305" y="277036"/>
                      <a:pt x="486593" y="254281"/>
                      <a:pt x="489923" y="254512"/>
                    </a:cubicBezTo>
                    <a:lnTo>
                      <a:pt x="491264" y="242071"/>
                    </a:lnTo>
                    <a:lnTo>
                      <a:pt x="481460" y="225606"/>
                    </a:lnTo>
                    <a:cubicBezTo>
                      <a:pt x="479702" y="223849"/>
                      <a:pt x="482940" y="221767"/>
                      <a:pt x="481460" y="219732"/>
                    </a:cubicBezTo>
                    <a:cubicBezTo>
                      <a:pt x="478638" y="215847"/>
                      <a:pt x="487657" y="204516"/>
                      <a:pt x="486454" y="202990"/>
                    </a:cubicBezTo>
                    <a:cubicBezTo>
                      <a:pt x="486131" y="202574"/>
                      <a:pt x="486362" y="198920"/>
                      <a:pt x="489461" y="200816"/>
                    </a:cubicBezTo>
                    <a:cubicBezTo>
                      <a:pt x="490155" y="201417"/>
                      <a:pt x="492837" y="202296"/>
                      <a:pt x="493947" y="204424"/>
                    </a:cubicBezTo>
                    <a:lnTo>
                      <a:pt x="493993" y="204424"/>
                    </a:lnTo>
                    <a:cubicBezTo>
                      <a:pt x="493993" y="204424"/>
                      <a:pt x="503659" y="196376"/>
                      <a:pt x="503659" y="196376"/>
                    </a:cubicBezTo>
                    <a:lnTo>
                      <a:pt x="501116" y="172928"/>
                    </a:lnTo>
                    <a:cubicBezTo>
                      <a:pt x="500699" y="173205"/>
                      <a:pt x="500283" y="173298"/>
                      <a:pt x="499867" y="173066"/>
                    </a:cubicBezTo>
                    <a:cubicBezTo>
                      <a:pt x="497924" y="171771"/>
                      <a:pt x="496352" y="175795"/>
                      <a:pt x="495334" y="172280"/>
                    </a:cubicBezTo>
                    <a:cubicBezTo>
                      <a:pt x="494964" y="170985"/>
                      <a:pt x="495149" y="168904"/>
                      <a:pt x="495704" y="167563"/>
                    </a:cubicBezTo>
                    <a:cubicBezTo>
                      <a:pt x="498294" y="161643"/>
                      <a:pt x="498942" y="159145"/>
                      <a:pt x="501948" y="158081"/>
                    </a:cubicBezTo>
                    <a:cubicBezTo>
                      <a:pt x="503151" y="157804"/>
                      <a:pt x="505463" y="156370"/>
                      <a:pt x="507868" y="156509"/>
                    </a:cubicBezTo>
                    <a:lnTo>
                      <a:pt x="513927" y="132737"/>
                    </a:lnTo>
                    <a:lnTo>
                      <a:pt x="529051" y="122423"/>
                    </a:lnTo>
                    <a:lnTo>
                      <a:pt x="529051" y="122423"/>
                    </a:lnTo>
                    <a:cubicBezTo>
                      <a:pt x="527062" y="120388"/>
                      <a:pt x="526091" y="116133"/>
                      <a:pt x="528079" y="113728"/>
                    </a:cubicBezTo>
                    <a:cubicBezTo>
                      <a:pt x="538208" y="101241"/>
                      <a:pt x="539919" y="98697"/>
                      <a:pt x="542925" y="96893"/>
                    </a:cubicBezTo>
                    <a:cubicBezTo>
                      <a:pt x="546117" y="95043"/>
                      <a:pt x="548614" y="93794"/>
                      <a:pt x="550510" y="92129"/>
                    </a:cubicBezTo>
                    <a:lnTo>
                      <a:pt x="536867" y="83619"/>
                    </a:lnTo>
                    <a:close/>
                  </a:path>
                </a:pathLst>
              </a:custGeom>
              <a:grpFill/>
              <a:ln w="4609" cap="flat">
                <a:noFill/>
                <a:prstDash val="solid"/>
                <a:miter/>
              </a:ln>
            </p:spPr>
            <p:txBody>
              <a:bodyPr rtlCol="0" anchor="ctr"/>
              <a:lstStyle/>
              <a:p>
                <a:endParaRPr lang="en-IN"/>
              </a:p>
            </p:txBody>
          </p:sp>
        </p:grpSp>
        <p:sp>
          <p:nvSpPr>
            <p:cNvPr id="113" name="Freeform: Shape 112">
              <a:extLst>
                <a:ext uri="{FF2B5EF4-FFF2-40B4-BE49-F238E27FC236}">
                  <a16:creationId xmlns:a16="http://schemas.microsoft.com/office/drawing/2014/main" id="{AC035749-D88A-4AC1-3E21-AF9589A2AA6E}"/>
                </a:ext>
              </a:extLst>
            </p:cNvPr>
            <p:cNvSpPr/>
            <p:nvPr/>
          </p:nvSpPr>
          <p:spPr>
            <a:xfrm>
              <a:off x="5572904" y="4716160"/>
              <a:ext cx="179566" cy="182085"/>
            </a:xfrm>
            <a:custGeom>
              <a:avLst/>
              <a:gdLst>
                <a:gd name="connsiteX0" fmla="*/ 171658 w 179566"/>
                <a:gd name="connsiteY0" fmla="*/ 151560 h 182085"/>
                <a:gd name="connsiteX1" fmla="*/ 164165 w 179566"/>
                <a:gd name="connsiteY1" fmla="*/ 146935 h 182085"/>
                <a:gd name="connsiteX2" fmla="*/ 157783 w 179566"/>
                <a:gd name="connsiteY2" fmla="*/ 118029 h 182085"/>
                <a:gd name="connsiteX3" fmla="*/ 168790 w 179566"/>
                <a:gd name="connsiteY3" fmla="*/ 83342 h 182085"/>
                <a:gd name="connsiteX4" fmla="*/ 179566 w 179566"/>
                <a:gd name="connsiteY4" fmla="*/ 72566 h 182085"/>
                <a:gd name="connsiteX5" fmla="*/ 171380 w 179566"/>
                <a:gd name="connsiteY5" fmla="*/ 49533 h 182085"/>
                <a:gd name="connsiteX6" fmla="*/ 172490 w 179566"/>
                <a:gd name="connsiteY6" fmla="*/ 35982 h 182085"/>
                <a:gd name="connsiteX7" fmla="*/ 167449 w 179566"/>
                <a:gd name="connsiteY7" fmla="*/ 38619 h 182085"/>
                <a:gd name="connsiteX8" fmla="*/ 161714 w 179566"/>
                <a:gd name="connsiteY8" fmla="*/ 28536 h 182085"/>
                <a:gd name="connsiteX9" fmla="*/ 144694 w 179566"/>
                <a:gd name="connsiteY9" fmla="*/ 21090 h 182085"/>
                <a:gd name="connsiteX10" fmla="*/ 127443 w 179566"/>
                <a:gd name="connsiteY10" fmla="*/ 26594 h 182085"/>
                <a:gd name="connsiteX11" fmla="*/ 124807 w 179566"/>
                <a:gd name="connsiteY11" fmla="*/ 32606 h 182085"/>
                <a:gd name="connsiteX12" fmla="*/ 112597 w 179566"/>
                <a:gd name="connsiteY12" fmla="*/ 29739 h 182085"/>
                <a:gd name="connsiteX13" fmla="*/ 112366 w 179566"/>
                <a:gd name="connsiteY13" fmla="*/ 23726 h 182085"/>
                <a:gd name="connsiteX14" fmla="*/ 102792 w 179566"/>
                <a:gd name="connsiteY14" fmla="*/ 12441 h 182085"/>
                <a:gd name="connsiteX15" fmla="*/ 93912 w 179566"/>
                <a:gd name="connsiteY15" fmla="*/ 11701 h 182085"/>
                <a:gd name="connsiteX16" fmla="*/ 90582 w 179566"/>
                <a:gd name="connsiteY16" fmla="*/ 6567 h 182085"/>
                <a:gd name="connsiteX17" fmla="*/ 81332 w 179566"/>
                <a:gd name="connsiteY17" fmla="*/ 8094 h 182085"/>
                <a:gd name="connsiteX18" fmla="*/ 76337 w 179566"/>
                <a:gd name="connsiteY18" fmla="*/ 15401 h 182085"/>
                <a:gd name="connsiteX19" fmla="*/ 69400 w 179566"/>
                <a:gd name="connsiteY19" fmla="*/ 11562 h 182085"/>
                <a:gd name="connsiteX20" fmla="*/ 69400 w 179566"/>
                <a:gd name="connsiteY20" fmla="*/ 0 h 182085"/>
                <a:gd name="connsiteX21" fmla="*/ 58623 w 179566"/>
                <a:gd name="connsiteY21" fmla="*/ 1156 h 182085"/>
                <a:gd name="connsiteX22" fmla="*/ 55941 w 179566"/>
                <a:gd name="connsiteY22" fmla="*/ 8880 h 182085"/>
                <a:gd name="connsiteX23" fmla="*/ 44009 w 179566"/>
                <a:gd name="connsiteY23" fmla="*/ 15447 h 182085"/>
                <a:gd name="connsiteX24" fmla="*/ 28977 w 179566"/>
                <a:gd name="connsiteY24" fmla="*/ 8510 h 182085"/>
                <a:gd name="connsiteX25" fmla="*/ 14224 w 179566"/>
                <a:gd name="connsiteY25" fmla="*/ 19980 h 182085"/>
                <a:gd name="connsiteX26" fmla="*/ 14501 w 179566"/>
                <a:gd name="connsiteY26" fmla="*/ 37925 h 182085"/>
                <a:gd name="connsiteX27" fmla="*/ 21439 w 179566"/>
                <a:gd name="connsiteY27" fmla="*/ 37925 h 182085"/>
                <a:gd name="connsiteX28" fmla="*/ 19681 w 179566"/>
                <a:gd name="connsiteY28" fmla="*/ 56425 h 182085"/>
                <a:gd name="connsiteX29" fmla="*/ 26896 w 179566"/>
                <a:gd name="connsiteY29" fmla="*/ 60495 h 182085"/>
                <a:gd name="connsiteX30" fmla="*/ 27174 w 179566"/>
                <a:gd name="connsiteY30" fmla="*/ 68866 h 182085"/>
                <a:gd name="connsiteX31" fmla="*/ 14270 w 179566"/>
                <a:gd name="connsiteY31" fmla="*/ 64426 h 182085"/>
                <a:gd name="connsiteX32" fmla="*/ 10108 w 179566"/>
                <a:gd name="connsiteY32" fmla="*/ 73213 h 182085"/>
                <a:gd name="connsiteX33" fmla="*/ 18201 w 179566"/>
                <a:gd name="connsiteY33" fmla="*/ 75248 h 182085"/>
                <a:gd name="connsiteX34" fmla="*/ 10986 w 179566"/>
                <a:gd name="connsiteY34" fmla="*/ 92592 h 182085"/>
                <a:gd name="connsiteX35" fmla="*/ 4419 w 179566"/>
                <a:gd name="connsiteY35" fmla="*/ 90788 h 182085"/>
                <a:gd name="connsiteX36" fmla="*/ 4419 w 179566"/>
                <a:gd name="connsiteY36" fmla="*/ 90881 h 182085"/>
                <a:gd name="connsiteX37" fmla="*/ 9830 w 179566"/>
                <a:gd name="connsiteY37" fmla="*/ 111878 h 182085"/>
                <a:gd name="connsiteX38" fmla="*/ 25 w 179566"/>
                <a:gd name="connsiteY38" fmla="*/ 123810 h 182085"/>
                <a:gd name="connsiteX39" fmla="*/ 22179 w 179566"/>
                <a:gd name="connsiteY39" fmla="*/ 130748 h 182085"/>
                <a:gd name="connsiteX40" fmla="*/ 23936 w 179566"/>
                <a:gd name="connsiteY40" fmla="*/ 139628 h 182085"/>
                <a:gd name="connsiteX41" fmla="*/ 36285 w 179566"/>
                <a:gd name="connsiteY41" fmla="*/ 144438 h 182085"/>
                <a:gd name="connsiteX42" fmla="*/ 30134 w 179566"/>
                <a:gd name="connsiteY42" fmla="*/ 181993 h 182085"/>
                <a:gd name="connsiteX43" fmla="*/ 30134 w 179566"/>
                <a:gd name="connsiteY43" fmla="*/ 182085 h 182085"/>
                <a:gd name="connsiteX44" fmla="*/ 36747 w 179566"/>
                <a:gd name="connsiteY44" fmla="*/ 180883 h 182085"/>
                <a:gd name="connsiteX45" fmla="*/ 74348 w 179566"/>
                <a:gd name="connsiteY45" fmla="*/ 164279 h 182085"/>
                <a:gd name="connsiteX46" fmla="*/ 135583 w 179566"/>
                <a:gd name="connsiteY46" fmla="*/ 156648 h 182085"/>
                <a:gd name="connsiteX47" fmla="*/ 170270 w 179566"/>
                <a:gd name="connsiteY47" fmla="*/ 163493 h 182085"/>
                <a:gd name="connsiteX48" fmla="*/ 170270 w 179566"/>
                <a:gd name="connsiteY48" fmla="*/ 163354 h 182085"/>
                <a:gd name="connsiteX49" fmla="*/ 171704 w 179566"/>
                <a:gd name="connsiteY49" fmla="*/ 151514 h 18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79566" h="182085">
                  <a:moveTo>
                    <a:pt x="171658" y="151560"/>
                  </a:moveTo>
                  <a:lnTo>
                    <a:pt x="164165" y="146935"/>
                  </a:lnTo>
                  <a:lnTo>
                    <a:pt x="157783" y="118029"/>
                  </a:lnTo>
                  <a:lnTo>
                    <a:pt x="168790" y="83342"/>
                  </a:lnTo>
                  <a:lnTo>
                    <a:pt x="179566" y="72566"/>
                  </a:lnTo>
                  <a:lnTo>
                    <a:pt x="171380" y="49533"/>
                  </a:lnTo>
                  <a:lnTo>
                    <a:pt x="172490" y="35982"/>
                  </a:lnTo>
                  <a:lnTo>
                    <a:pt x="167449" y="38619"/>
                  </a:lnTo>
                  <a:lnTo>
                    <a:pt x="161714" y="28536"/>
                  </a:lnTo>
                  <a:lnTo>
                    <a:pt x="144694" y="21090"/>
                  </a:lnTo>
                  <a:lnTo>
                    <a:pt x="127443" y="26594"/>
                  </a:lnTo>
                  <a:lnTo>
                    <a:pt x="124807" y="32606"/>
                  </a:lnTo>
                  <a:lnTo>
                    <a:pt x="112597" y="29739"/>
                  </a:lnTo>
                  <a:lnTo>
                    <a:pt x="112366" y="23726"/>
                  </a:lnTo>
                  <a:lnTo>
                    <a:pt x="102792" y="12441"/>
                  </a:lnTo>
                  <a:lnTo>
                    <a:pt x="93912" y="11701"/>
                  </a:lnTo>
                  <a:lnTo>
                    <a:pt x="90582" y="6567"/>
                  </a:lnTo>
                  <a:lnTo>
                    <a:pt x="81332" y="8094"/>
                  </a:lnTo>
                  <a:lnTo>
                    <a:pt x="76337" y="15401"/>
                  </a:lnTo>
                  <a:lnTo>
                    <a:pt x="69400" y="11562"/>
                  </a:lnTo>
                  <a:lnTo>
                    <a:pt x="69400" y="0"/>
                  </a:lnTo>
                  <a:lnTo>
                    <a:pt x="58623" y="1156"/>
                  </a:lnTo>
                  <a:lnTo>
                    <a:pt x="55941" y="8880"/>
                  </a:lnTo>
                  <a:lnTo>
                    <a:pt x="44009" y="15447"/>
                  </a:lnTo>
                  <a:lnTo>
                    <a:pt x="28977" y="8510"/>
                  </a:lnTo>
                  <a:lnTo>
                    <a:pt x="14224" y="19980"/>
                  </a:lnTo>
                  <a:lnTo>
                    <a:pt x="14501" y="37925"/>
                  </a:lnTo>
                  <a:lnTo>
                    <a:pt x="21439" y="37925"/>
                  </a:lnTo>
                  <a:lnTo>
                    <a:pt x="19681" y="56425"/>
                  </a:lnTo>
                  <a:lnTo>
                    <a:pt x="26896" y="60495"/>
                  </a:lnTo>
                  <a:lnTo>
                    <a:pt x="27174" y="68866"/>
                  </a:lnTo>
                  <a:lnTo>
                    <a:pt x="14270" y="64426"/>
                  </a:lnTo>
                  <a:lnTo>
                    <a:pt x="10108" y="73213"/>
                  </a:lnTo>
                  <a:lnTo>
                    <a:pt x="18201" y="75248"/>
                  </a:lnTo>
                  <a:lnTo>
                    <a:pt x="10986" y="92592"/>
                  </a:lnTo>
                  <a:lnTo>
                    <a:pt x="4419" y="90788"/>
                  </a:lnTo>
                  <a:lnTo>
                    <a:pt x="4419" y="90881"/>
                  </a:lnTo>
                  <a:cubicBezTo>
                    <a:pt x="4419" y="90881"/>
                    <a:pt x="9830" y="111878"/>
                    <a:pt x="9830" y="111878"/>
                  </a:cubicBezTo>
                  <a:cubicBezTo>
                    <a:pt x="9830" y="111878"/>
                    <a:pt x="-576" y="123810"/>
                    <a:pt x="25" y="123810"/>
                  </a:cubicBezTo>
                  <a:cubicBezTo>
                    <a:pt x="626" y="123810"/>
                    <a:pt x="22179" y="130748"/>
                    <a:pt x="22179" y="130748"/>
                  </a:cubicBezTo>
                  <a:lnTo>
                    <a:pt x="23936" y="139628"/>
                  </a:lnTo>
                  <a:cubicBezTo>
                    <a:pt x="23936" y="139628"/>
                    <a:pt x="35499" y="144623"/>
                    <a:pt x="36285" y="144438"/>
                  </a:cubicBezTo>
                  <a:cubicBezTo>
                    <a:pt x="37071" y="144253"/>
                    <a:pt x="30134" y="181993"/>
                    <a:pt x="30134" y="181993"/>
                  </a:cubicBezTo>
                  <a:lnTo>
                    <a:pt x="30134" y="182085"/>
                  </a:lnTo>
                  <a:cubicBezTo>
                    <a:pt x="32724" y="181993"/>
                    <a:pt x="35221" y="181623"/>
                    <a:pt x="36747" y="180883"/>
                  </a:cubicBezTo>
                  <a:cubicBezTo>
                    <a:pt x="72128" y="164464"/>
                    <a:pt x="70972" y="164742"/>
                    <a:pt x="74348" y="164279"/>
                  </a:cubicBezTo>
                  <a:cubicBezTo>
                    <a:pt x="132947" y="156232"/>
                    <a:pt x="131837" y="155908"/>
                    <a:pt x="135583" y="156648"/>
                  </a:cubicBezTo>
                  <a:cubicBezTo>
                    <a:pt x="153435" y="160163"/>
                    <a:pt x="163934" y="162198"/>
                    <a:pt x="170270" y="163493"/>
                  </a:cubicBezTo>
                  <a:cubicBezTo>
                    <a:pt x="170270" y="163400"/>
                    <a:pt x="170270" y="163354"/>
                    <a:pt x="170270" y="163354"/>
                  </a:cubicBezTo>
                  <a:lnTo>
                    <a:pt x="171704" y="151514"/>
                  </a:lnTo>
                  <a:close/>
                </a:path>
              </a:pathLst>
            </a:custGeom>
            <a:grpFill/>
            <a:ln w="4609" cap="flat">
              <a:noFill/>
              <a:prstDash val="solid"/>
              <a:miter/>
            </a:ln>
          </p:spPr>
          <p:txBody>
            <a:bodyPr rtlCol="0" anchor="ctr"/>
            <a:lstStyle/>
            <a:p>
              <a:endParaRPr lang="en-IN"/>
            </a:p>
          </p:txBody>
        </p:sp>
        <p:sp>
          <p:nvSpPr>
            <p:cNvPr id="114" name="Freeform: Shape 113">
              <a:extLst>
                <a:ext uri="{FF2B5EF4-FFF2-40B4-BE49-F238E27FC236}">
                  <a16:creationId xmlns:a16="http://schemas.microsoft.com/office/drawing/2014/main" id="{00B4D2BD-FF05-B865-0562-28431149DE09}"/>
                </a:ext>
              </a:extLst>
            </p:cNvPr>
            <p:cNvSpPr/>
            <p:nvPr/>
          </p:nvSpPr>
          <p:spPr>
            <a:xfrm>
              <a:off x="6149339" y="4920907"/>
              <a:ext cx="217974" cy="252430"/>
            </a:xfrm>
            <a:custGeom>
              <a:avLst/>
              <a:gdLst>
                <a:gd name="connsiteX0" fmla="*/ 198365 w 217974"/>
                <a:gd name="connsiteY0" fmla="*/ 5781 h 252430"/>
                <a:gd name="connsiteX1" fmla="*/ 183334 w 217974"/>
                <a:gd name="connsiteY1" fmla="*/ 0 h 252430"/>
                <a:gd name="connsiteX2" fmla="*/ 157341 w 217974"/>
                <a:gd name="connsiteY2" fmla="*/ 6151 h 252430"/>
                <a:gd name="connsiteX3" fmla="*/ 156555 w 217974"/>
                <a:gd name="connsiteY3" fmla="*/ 25021 h 252430"/>
                <a:gd name="connsiteX4" fmla="*/ 147675 w 217974"/>
                <a:gd name="connsiteY4" fmla="*/ 43521 h 252430"/>
                <a:gd name="connsiteX5" fmla="*/ 143420 w 217974"/>
                <a:gd name="connsiteY5" fmla="*/ 43706 h 252430"/>
                <a:gd name="connsiteX6" fmla="*/ 143420 w 217974"/>
                <a:gd name="connsiteY6" fmla="*/ 50643 h 252430"/>
                <a:gd name="connsiteX7" fmla="*/ 146889 w 217974"/>
                <a:gd name="connsiteY7" fmla="*/ 57026 h 252430"/>
                <a:gd name="connsiteX8" fmla="*/ 142264 w 217974"/>
                <a:gd name="connsiteY8" fmla="*/ 60680 h 252430"/>
                <a:gd name="connsiteX9" fmla="*/ 128944 w 217974"/>
                <a:gd name="connsiteY9" fmla="*/ 49672 h 252430"/>
                <a:gd name="connsiteX10" fmla="*/ 121452 w 217974"/>
                <a:gd name="connsiteY10" fmla="*/ 52771 h 252430"/>
                <a:gd name="connsiteX11" fmla="*/ 118353 w 217974"/>
                <a:gd name="connsiteY11" fmla="*/ 48701 h 252430"/>
                <a:gd name="connsiteX12" fmla="*/ 111046 w 217974"/>
                <a:gd name="connsiteY12" fmla="*/ 50828 h 252430"/>
                <a:gd name="connsiteX13" fmla="*/ 101426 w 217974"/>
                <a:gd name="connsiteY13" fmla="*/ 44446 h 252430"/>
                <a:gd name="connsiteX14" fmla="*/ 63085 w 217974"/>
                <a:gd name="connsiteY14" fmla="*/ 44446 h 252430"/>
                <a:gd name="connsiteX15" fmla="*/ 56841 w 217974"/>
                <a:gd name="connsiteY15" fmla="*/ 60356 h 252430"/>
                <a:gd name="connsiteX16" fmla="*/ 60772 w 217974"/>
                <a:gd name="connsiteY16" fmla="*/ 66600 h 252430"/>
                <a:gd name="connsiteX17" fmla="*/ 57118 w 217974"/>
                <a:gd name="connsiteY17" fmla="*/ 72196 h 252430"/>
                <a:gd name="connsiteX18" fmla="*/ 64195 w 217974"/>
                <a:gd name="connsiteY18" fmla="*/ 73907 h 252430"/>
                <a:gd name="connsiteX19" fmla="*/ 77700 w 217974"/>
                <a:gd name="connsiteY19" fmla="*/ 66045 h 252430"/>
                <a:gd name="connsiteX20" fmla="*/ 90603 w 217974"/>
                <a:gd name="connsiteY20" fmla="*/ 68357 h 252430"/>
                <a:gd name="connsiteX21" fmla="*/ 90603 w 217974"/>
                <a:gd name="connsiteY21" fmla="*/ 74925 h 252430"/>
                <a:gd name="connsiteX22" fmla="*/ 97356 w 217974"/>
                <a:gd name="connsiteY22" fmla="*/ 82648 h 252430"/>
                <a:gd name="connsiteX23" fmla="*/ 90973 w 217974"/>
                <a:gd name="connsiteY23" fmla="*/ 92083 h 252430"/>
                <a:gd name="connsiteX24" fmla="*/ 84591 w 217974"/>
                <a:gd name="connsiteY24" fmla="*/ 93054 h 252430"/>
                <a:gd name="connsiteX25" fmla="*/ 78995 w 217974"/>
                <a:gd name="connsiteY25" fmla="*/ 101934 h 252430"/>
                <a:gd name="connsiteX26" fmla="*/ 77838 w 217974"/>
                <a:gd name="connsiteY26" fmla="*/ 113312 h 252430"/>
                <a:gd name="connsiteX27" fmla="*/ 79781 w 217974"/>
                <a:gd name="connsiteY27" fmla="*/ 116596 h 252430"/>
                <a:gd name="connsiteX28" fmla="*/ 86163 w 217974"/>
                <a:gd name="connsiteY28" fmla="*/ 116411 h 252430"/>
                <a:gd name="connsiteX29" fmla="*/ 87921 w 217974"/>
                <a:gd name="connsiteY29" fmla="*/ 121590 h 252430"/>
                <a:gd name="connsiteX30" fmla="*/ 91759 w 217974"/>
                <a:gd name="connsiteY30" fmla="*/ 120434 h 252430"/>
                <a:gd name="connsiteX31" fmla="*/ 98142 w 217974"/>
                <a:gd name="connsiteY31" fmla="*/ 126215 h 252430"/>
                <a:gd name="connsiteX32" fmla="*/ 94303 w 217974"/>
                <a:gd name="connsiteY32" fmla="*/ 137963 h 252430"/>
                <a:gd name="connsiteX33" fmla="*/ 96153 w 217974"/>
                <a:gd name="connsiteY33" fmla="*/ 162429 h 252430"/>
                <a:gd name="connsiteX34" fmla="*/ 90649 w 217974"/>
                <a:gd name="connsiteY34" fmla="*/ 166175 h 252430"/>
                <a:gd name="connsiteX35" fmla="*/ 86302 w 217974"/>
                <a:gd name="connsiteY35" fmla="*/ 181206 h 252430"/>
                <a:gd name="connsiteX36" fmla="*/ 77052 w 217974"/>
                <a:gd name="connsiteY36" fmla="*/ 180929 h 252430"/>
                <a:gd name="connsiteX37" fmla="*/ 79642 w 217974"/>
                <a:gd name="connsiteY37" fmla="*/ 174546 h 252430"/>
                <a:gd name="connsiteX38" fmla="*/ 74647 w 217974"/>
                <a:gd name="connsiteY38" fmla="*/ 168673 h 252430"/>
                <a:gd name="connsiteX39" fmla="*/ 67155 w 217974"/>
                <a:gd name="connsiteY39" fmla="*/ 179356 h 252430"/>
                <a:gd name="connsiteX40" fmla="*/ 53650 w 217974"/>
                <a:gd name="connsiteY40" fmla="*/ 177136 h 252430"/>
                <a:gd name="connsiteX41" fmla="*/ 46157 w 217974"/>
                <a:gd name="connsiteY41" fmla="*/ 161504 h 252430"/>
                <a:gd name="connsiteX42" fmla="*/ 36907 w 217974"/>
                <a:gd name="connsiteY42" fmla="*/ 163539 h 252430"/>
                <a:gd name="connsiteX43" fmla="*/ 38665 w 217974"/>
                <a:gd name="connsiteY43" fmla="*/ 175379 h 252430"/>
                <a:gd name="connsiteX44" fmla="*/ 12857 w 217974"/>
                <a:gd name="connsiteY44" fmla="*/ 177044 h 252430"/>
                <a:gd name="connsiteX45" fmla="*/ 11609 w 217974"/>
                <a:gd name="connsiteY45" fmla="*/ 189716 h 252430"/>
                <a:gd name="connsiteX46" fmla="*/ 18731 w 217974"/>
                <a:gd name="connsiteY46" fmla="*/ 194804 h 252430"/>
                <a:gd name="connsiteX47" fmla="*/ 15170 w 217974"/>
                <a:gd name="connsiteY47" fmla="*/ 200631 h 252430"/>
                <a:gd name="connsiteX48" fmla="*/ 23541 w 217974"/>
                <a:gd name="connsiteY48" fmla="*/ 205441 h 252430"/>
                <a:gd name="connsiteX49" fmla="*/ 21275 w 217974"/>
                <a:gd name="connsiteY49" fmla="*/ 216865 h 252430"/>
                <a:gd name="connsiteX50" fmla="*/ 15447 w 217974"/>
                <a:gd name="connsiteY50" fmla="*/ 216356 h 252430"/>
                <a:gd name="connsiteX51" fmla="*/ 10129 w 217974"/>
                <a:gd name="connsiteY51" fmla="*/ 210020 h 252430"/>
                <a:gd name="connsiteX52" fmla="*/ 1758 w 217974"/>
                <a:gd name="connsiteY52" fmla="*/ 215339 h 252430"/>
                <a:gd name="connsiteX53" fmla="*/ 0 w 217974"/>
                <a:gd name="connsiteY53" fmla="*/ 220704 h 252430"/>
                <a:gd name="connsiteX54" fmla="*/ 0 w 217974"/>
                <a:gd name="connsiteY54" fmla="*/ 220750 h 252430"/>
                <a:gd name="connsiteX55" fmla="*/ 17991 w 217974"/>
                <a:gd name="connsiteY55" fmla="*/ 241192 h 252430"/>
                <a:gd name="connsiteX56" fmla="*/ 19980 w 217974"/>
                <a:gd name="connsiteY56" fmla="*/ 247112 h 252430"/>
                <a:gd name="connsiteX57" fmla="*/ 23587 w 217974"/>
                <a:gd name="connsiteY57" fmla="*/ 252431 h 252430"/>
                <a:gd name="connsiteX58" fmla="*/ 23726 w 217974"/>
                <a:gd name="connsiteY58" fmla="*/ 252292 h 252430"/>
                <a:gd name="connsiteX59" fmla="*/ 48007 w 217974"/>
                <a:gd name="connsiteY59" fmla="*/ 234162 h 252430"/>
                <a:gd name="connsiteX60" fmla="*/ 64565 w 217974"/>
                <a:gd name="connsiteY60" fmla="*/ 250720 h 252430"/>
                <a:gd name="connsiteX61" fmla="*/ 74185 w 217974"/>
                <a:gd name="connsiteY61" fmla="*/ 245308 h 252430"/>
                <a:gd name="connsiteX62" fmla="*/ 74185 w 217974"/>
                <a:gd name="connsiteY62" fmla="*/ 236845 h 252430"/>
                <a:gd name="connsiteX63" fmla="*/ 94997 w 217974"/>
                <a:gd name="connsiteY63" fmla="*/ 232220 h 252430"/>
                <a:gd name="connsiteX64" fmla="*/ 95367 w 217974"/>
                <a:gd name="connsiteY64" fmla="*/ 249193 h 252430"/>
                <a:gd name="connsiteX65" fmla="*/ 106143 w 217974"/>
                <a:gd name="connsiteY65" fmla="*/ 251136 h 252430"/>
                <a:gd name="connsiteX66" fmla="*/ 126956 w 217974"/>
                <a:gd name="connsiteY66" fmla="*/ 226069 h 252430"/>
                <a:gd name="connsiteX67" fmla="*/ 138518 w 217974"/>
                <a:gd name="connsiteY67" fmla="*/ 225282 h 252430"/>
                <a:gd name="connsiteX68" fmla="*/ 147768 w 217974"/>
                <a:gd name="connsiteY68" fmla="*/ 206782 h 252430"/>
                <a:gd name="connsiteX69" fmla="*/ 145918 w 217974"/>
                <a:gd name="connsiteY69" fmla="*/ 173575 h 252430"/>
                <a:gd name="connsiteX70" fmla="*/ 157341 w 217974"/>
                <a:gd name="connsiteY70" fmla="*/ 162614 h 252430"/>
                <a:gd name="connsiteX71" fmla="*/ 167008 w 217974"/>
                <a:gd name="connsiteY71" fmla="*/ 142449 h 252430"/>
                <a:gd name="connsiteX72" fmla="*/ 182363 w 217974"/>
                <a:gd name="connsiteY72" fmla="*/ 136298 h 252430"/>
                <a:gd name="connsiteX73" fmla="*/ 191751 w 217974"/>
                <a:gd name="connsiteY73" fmla="*/ 122793 h 252430"/>
                <a:gd name="connsiteX74" fmla="*/ 190595 w 217974"/>
                <a:gd name="connsiteY74" fmla="*/ 111231 h 252430"/>
                <a:gd name="connsiteX75" fmla="*/ 197903 w 217974"/>
                <a:gd name="connsiteY75" fmla="*/ 98882 h 252430"/>
                <a:gd name="connsiteX76" fmla="*/ 194434 w 217974"/>
                <a:gd name="connsiteY76" fmla="*/ 77700 h 252430"/>
                <a:gd name="connsiteX77" fmla="*/ 201371 w 217974"/>
                <a:gd name="connsiteY77" fmla="*/ 62298 h 252430"/>
                <a:gd name="connsiteX78" fmla="*/ 202157 w 217974"/>
                <a:gd name="connsiteY78" fmla="*/ 42272 h 252430"/>
                <a:gd name="connsiteX79" fmla="*/ 217975 w 217974"/>
                <a:gd name="connsiteY79" fmla="*/ 15679 h 252430"/>
                <a:gd name="connsiteX80" fmla="*/ 216865 w 217974"/>
                <a:gd name="connsiteY80" fmla="*/ 2081 h 252430"/>
                <a:gd name="connsiteX81" fmla="*/ 216865 w 217974"/>
                <a:gd name="connsiteY81" fmla="*/ 1989 h 252430"/>
                <a:gd name="connsiteX82" fmla="*/ 198550 w 217974"/>
                <a:gd name="connsiteY82" fmla="*/ 5642 h 25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7974" h="252430">
                  <a:moveTo>
                    <a:pt x="198365" y="5781"/>
                  </a:moveTo>
                  <a:lnTo>
                    <a:pt x="183334" y="0"/>
                  </a:lnTo>
                  <a:lnTo>
                    <a:pt x="157341" y="6151"/>
                  </a:lnTo>
                  <a:lnTo>
                    <a:pt x="156555" y="25021"/>
                  </a:lnTo>
                  <a:lnTo>
                    <a:pt x="147675" y="43521"/>
                  </a:lnTo>
                  <a:lnTo>
                    <a:pt x="143420" y="43706"/>
                  </a:lnTo>
                  <a:lnTo>
                    <a:pt x="143420" y="50643"/>
                  </a:lnTo>
                  <a:lnTo>
                    <a:pt x="146889" y="57026"/>
                  </a:lnTo>
                  <a:lnTo>
                    <a:pt x="142264" y="60680"/>
                  </a:lnTo>
                  <a:lnTo>
                    <a:pt x="128944" y="49672"/>
                  </a:lnTo>
                  <a:lnTo>
                    <a:pt x="121452" y="52771"/>
                  </a:lnTo>
                  <a:lnTo>
                    <a:pt x="118353" y="48701"/>
                  </a:lnTo>
                  <a:lnTo>
                    <a:pt x="111046" y="50828"/>
                  </a:lnTo>
                  <a:lnTo>
                    <a:pt x="101426" y="44446"/>
                  </a:lnTo>
                  <a:lnTo>
                    <a:pt x="63085" y="44446"/>
                  </a:lnTo>
                  <a:lnTo>
                    <a:pt x="56841" y="60356"/>
                  </a:lnTo>
                  <a:lnTo>
                    <a:pt x="60772" y="66600"/>
                  </a:lnTo>
                  <a:lnTo>
                    <a:pt x="57118" y="72196"/>
                  </a:lnTo>
                  <a:lnTo>
                    <a:pt x="64195" y="73907"/>
                  </a:lnTo>
                  <a:lnTo>
                    <a:pt x="77700" y="66045"/>
                  </a:lnTo>
                  <a:lnTo>
                    <a:pt x="90603" y="68357"/>
                  </a:lnTo>
                  <a:lnTo>
                    <a:pt x="90603" y="74925"/>
                  </a:lnTo>
                  <a:lnTo>
                    <a:pt x="97356" y="82648"/>
                  </a:lnTo>
                  <a:lnTo>
                    <a:pt x="90973" y="92083"/>
                  </a:lnTo>
                  <a:lnTo>
                    <a:pt x="84591" y="93054"/>
                  </a:lnTo>
                  <a:lnTo>
                    <a:pt x="78995" y="101934"/>
                  </a:lnTo>
                  <a:lnTo>
                    <a:pt x="77838" y="113312"/>
                  </a:lnTo>
                  <a:lnTo>
                    <a:pt x="79781" y="116596"/>
                  </a:lnTo>
                  <a:lnTo>
                    <a:pt x="86163" y="116411"/>
                  </a:lnTo>
                  <a:lnTo>
                    <a:pt x="87921" y="121590"/>
                  </a:lnTo>
                  <a:lnTo>
                    <a:pt x="91759" y="120434"/>
                  </a:lnTo>
                  <a:lnTo>
                    <a:pt x="98142" y="126215"/>
                  </a:lnTo>
                  <a:lnTo>
                    <a:pt x="94303" y="137963"/>
                  </a:lnTo>
                  <a:lnTo>
                    <a:pt x="96153" y="162429"/>
                  </a:lnTo>
                  <a:lnTo>
                    <a:pt x="90649" y="166175"/>
                  </a:lnTo>
                  <a:lnTo>
                    <a:pt x="86302" y="181206"/>
                  </a:lnTo>
                  <a:lnTo>
                    <a:pt x="77052" y="180929"/>
                  </a:lnTo>
                  <a:lnTo>
                    <a:pt x="79642" y="174546"/>
                  </a:lnTo>
                  <a:lnTo>
                    <a:pt x="74647" y="168673"/>
                  </a:lnTo>
                  <a:lnTo>
                    <a:pt x="67155" y="179356"/>
                  </a:lnTo>
                  <a:lnTo>
                    <a:pt x="53650" y="177136"/>
                  </a:lnTo>
                  <a:lnTo>
                    <a:pt x="46157" y="161504"/>
                  </a:lnTo>
                  <a:lnTo>
                    <a:pt x="36907" y="163539"/>
                  </a:lnTo>
                  <a:lnTo>
                    <a:pt x="38665" y="175379"/>
                  </a:lnTo>
                  <a:lnTo>
                    <a:pt x="12857" y="177044"/>
                  </a:lnTo>
                  <a:lnTo>
                    <a:pt x="11609" y="189716"/>
                  </a:lnTo>
                  <a:lnTo>
                    <a:pt x="18731" y="194804"/>
                  </a:lnTo>
                  <a:lnTo>
                    <a:pt x="15170" y="200631"/>
                  </a:lnTo>
                  <a:lnTo>
                    <a:pt x="23541" y="205441"/>
                  </a:lnTo>
                  <a:lnTo>
                    <a:pt x="21275" y="216865"/>
                  </a:lnTo>
                  <a:lnTo>
                    <a:pt x="15447" y="216356"/>
                  </a:lnTo>
                  <a:lnTo>
                    <a:pt x="10129" y="210020"/>
                  </a:lnTo>
                  <a:lnTo>
                    <a:pt x="1758" y="215339"/>
                  </a:lnTo>
                  <a:lnTo>
                    <a:pt x="0" y="220704"/>
                  </a:lnTo>
                  <a:cubicBezTo>
                    <a:pt x="0" y="220704"/>
                    <a:pt x="0" y="220750"/>
                    <a:pt x="0" y="220750"/>
                  </a:cubicBezTo>
                  <a:cubicBezTo>
                    <a:pt x="17899" y="238695"/>
                    <a:pt x="17621" y="238325"/>
                    <a:pt x="17991" y="241192"/>
                  </a:cubicBezTo>
                  <a:cubicBezTo>
                    <a:pt x="18084" y="241655"/>
                    <a:pt x="18130" y="244430"/>
                    <a:pt x="19980" y="247112"/>
                  </a:cubicBezTo>
                  <a:cubicBezTo>
                    <a:pt x="21321" y="249101"/>
                    <a:pt x="22524" y="250858"/>
                    <a:pt x="23587" y="252431"/>
                  </a:cubicBezTo>
                  <a:lnTo>
                    <a:pt x="23726" y="252292"/>
                  </a:lnTo>
                  <a:lnTo>
                    <a:pt x="48007" y="234162"/>
                  </a:lnTo>
                  <a:lnTo>
                    <a:pt x="64565" y="250720"/>
                  </a:lnTo>
                  <a:lnTo>
                    <a:pt x="74185" y="245308"/>
                  </a:lnTo>
                  <a:lnTo>
                    <a:pt x="74185" y="236845"/>
                  </a:lnTo>
                  <a:lnTo>
                    <a:pt x="94997" y="232220"/>
                  </a:lnTo>
                  <a:lnTo>
                    <a:pt x="95367" y="249193"/>
                  </a:lnTo>
                  <a:lnTo>
                    <a:pt x="106143" y="251136"/>
                  </a:lnTo>
                  <a:lnTo>
                    <a:pt x="126956" y="226069"/>
                  </a:lnTo>
                  <a:lnTo>
                    <a:pt x="138518" y="225282"/>
                  </a:lnTo>
                  <a:lnTo>
                    <a:pt x="147768" y="206782"/>
                  </a:lnTo>
                  <a:lnTo>
                    <a:pt x="145918" y="173575"/>
                  </a:lnTo>
                  <a:lnTo>
                    <a:pt x="157341" y="162614"/>
                  </a:lnTo>
                  <a:lnTo>
                    <a:pt x="167008" y="142449"/>
                  </a:lnTo>
                  <a:lnTo>
                    <a:pt x="182363" y="136298"/>
                  </a:lnTo>
                  <a:lnTo>
                    <a:pt x="191751" y="122793"/>
                  </a:lnTo>
                  <a:lnTo>
                    <a:pt x="190595" y="111231"/>
                  </a:lnTo>
                  <a:lnTo>
                    <a:pt x="197903" y="98882"/>
                  </a:lnTo>
                  <a:lnTo>
                    <a:pt x="194434" y="77700"/>
                  </a:lnTo>
                  <a:lnTo>
                    <a:pt x="201371" y="62298"/>
                  </a:lnTo>
                  <a:lnTo>
                    <a:pt x="202157" y="42272"/>
                  </a:lnTo>
                  <a:lnTo>
                    <a:pt x="217975" y="15679"/>
                  </a:lnTo>
                  <a:lnTo>
                    <a:pt x="216865" y="2081"/>
                  </a:lnTo>
                  <a:cubicBezTo>
                    <a:pt x="216865" y="2081"/>
                    <a:pt x="216865" y="1989"/>
                    <a:pt x="216865" y="1989"/>
                  </a:cubicBezTo>
                  <a:lnTo>
                    <a:pt x="198550" y="5642"/>
                  </a:lnTo>
                  <a:close/>
                </a:path>
              </a:pathLst>
            </a:custGeom>
            <a:grpFill/>
            <a:ln w="4609" cap="flat">
              <a:noFill/>
              <a:prstDash val="solid"/>
              <a:miter/>
            </a:ln>
          </p:spPr>
          <p:txBody>
            <a:bodyPr rtlCol="0" anchor="ctr"/>
            <a:lstStyle/>
            <a:p>
              <a:endParaRPr lang="en-IN"/>
            </a:p>
          </p:txBody>
        </p:sp>
        <p:grpSp>
          <p:nvGrpSpPr>
            <p:cNvPr id="115" name="Graphic 36">
              <a:extLst>
                <a:ext uri="{FF2B5EF4-FFF2-40B4-BE49-F238E27FC236}">
                  <a16:creationId xmlns:a16="http://schemas.microsoft.com/office/drawing/2014/main" id="{7104AD20-ED8E-AD70-E848-37BE72AC8459}"/>
                </a:ext>
              </a:extLst>
            </p:cNvPr>
            <p:cNvGrpSpPr/>
            <p:nvPr/>
          </p:nvGrpSpPr>
          <p:grpSpPr>
            <a:xfrm>
              <a:off x="7085341" y="5359998"/>
              <a:ext cx="58421" cy="49722"/>
              <a:chOff x="7085341" y="5359998"/>
              <a:chExt cx="58421" cy="49722"/>
            </a:xfrm>
            <a:grpFill/>
          </p:grpSpPr>
          <p:sp>
            <p:nvSpPr>
              <p:cNvPr id="130" name="Freeform: Shape 129">
                <a:extLst>
                  <a:ext uri="{FF2B5EF4-FFF2-40B4-BE49-F238E27FC236}">
                    <a16:creationId xmlns:a16="http://schemas.microsoft.com/office/drawing/2014/main" id="{2419C17D-45B9-BA01-B147-075318266579}"/>
                  </a:ext>
                </a:extLst>
              </p:cNvPr>
              <p:cNvSpPr/>
              <p:nvPr/>
            </p:nvSpPr>
            <p:spPr>
              <a:xfrm>
                <a:off x="7085341" y="5359998"/>
                <a:ext cx="7167" cy="16497"/>
              </a:xfrm>
              <a:custGeom>
                <a:avLst/>
                <a:gdLst>
                  <a:gd name="connsiteX0" fmla="*/ 4856 w 7167"/>
                  <a:gd name="connsiteY0" fmla="*/ 2733 h 16497"/>
                  <a:gd name="connsiteX1" fmla="*/ 2544 w 7167"/>
                  <a:gd name="connsiteY1" fmla="*/ 4 h 16497"/>
                  <a:gd name="connsiteX2" fmla="*/ 231 w 7167"/>
                  <a:gd name="connsiteY2" fmla="*/ 12168 h 16497"/>
                  <a:gd name="connsiteX3" fmla="*/ 5550 w 7167"/>
                  <a:gd name="connsiteY3" fmla="*/ 16330 h 16497"/>
                  <a:gd name="connsiteX4" fmla="*/ 4579 w 7167"/>
                  <a:gd name="connsiteY4" fmla="*/ 6201 h 16497"/>
                  <a:gd name="connsiteX5" fmla="*/ 4856 w 7167"/>
                  <a:gd name="connsiteY5" fmla="*/ 2733 h 1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67" h="16497">
                    <a:moveTo>
                      <a:pt x="4856" y="2733"/>
                    </a:moveTo>
                    <a:cubicBezTo>
                      <a:pt x="4949" y="1299"/>
                      <a:pt x="3932" y="50"/>
                      <a:pt x="2544" y="4"/>
                    </a:cubicBezTo>
                    <a:cubicBezTo>
                      <a:pt x="-1572" y="-181"/>
                      <a:pt x="648" y="6294"/>
                      <a:pt x="231" y="12168"/>
                    </a:cubicBezTo>
                    <a:cubicBezTo>
                      <a:pt x="278" y="15775"/>
                      <a:pt x="4810" y="15960"/>
                      <a:pt x="5550" y="16330"/>
                    </a:cubicBezTo>
                    <a:cubicBezTo>
                      <a:pt x="9851" y="17579"/>
                      <a:pt x="4163" y="11613"/>
                      <a:pt x="4579" y="6201"/>
                    </a:cubicBezTo>
                    <a:lnTo>
                      <a:pt x="4856" y="2733"/>
                    </a:lnTo>
                    <a:close/>
                  </a:path>
                </a:pathLst>
              </a:custGeom>
              <a:grpFill/>
              <a:ln w="4609"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909F9A21-1FD0-F37F-C6F9-F8240137C2BE}"/>
                  </a:ext>
                </a:extLst>
              </p:cNvPr>
              <p:cNvSpPr/>
              <p:nvPr/>
            </p:nvSpPr>
            <p:spPr>
              <a:xfrm>
                <a:off x="7113731" y="5382551"/>
                <a:ext cx="9929" cy="7955"/>
              </a:xfrm>
              <a:custGeom>
                <a:avLst/>
                <a:gdLst>
                  <a:gd name="connsiteX0" fmla="*/ 6020 w 9929"/>
                  <a:gd name="connsiteY0" fmla="*/ 113 h 7955"/>
                  <a:gd name="connsiteX1" fmla="*/ 932 w 9929"/>
                  <a:gd name="connsiteY1" fmla="*/ 3628 h 7955"/>
                  <a:gd name="connsiteX2" fmla="*/ 9858 w 9929"/>
                  <a:gd name="connsiteY2" fmla="*/ 6403 h 7955"/>
                  <a:gd name="connsiteX3" fmla="*/ 6020 w 9929"/>
                  <a:gd name="connsiteY3" fmla="*/ 113 h 7955"/>
                </a:gdLst>
                <a:ahLst/>
                <a:cxnLst>
                  <a:cxn ang="0">
                    <a:pos x="connsiteX0" y="connsiteY0"/>
                  </a:cxn>
                  <a:cxn ang="0">
                    <a:pos x="connsiteX1" y="connsiteY1"/>
                  </a:cxn>
                  <a:cxn ang="0">
                    <a:pos x="connsiteX2" y="connsiteY2"/>
                  </a:cxn>
                  <a:cxn ang="0">
                    <a:pos x="connsiteX3" y="connsiteY3"/>
                  </a:cxn>
                </a:cxnLst>
                <a:rect l="l" t="t" r="r" b="b"/>
                <a:pathLst>
                  <a:path w="9929" h="7955">
                    <a:moveTo>
                      <a:pt x="6020" y="113"/>
                    </a:moveTo>
                    <a:cubicBezTo>
                      <a:pt x="4308" y="900"/>
                      <a:pt x="-2444" y="1686"/>
                      <a:pt x="932" y="3628"/>
                    </a:cubicBezTo>
                    <a:cubicBezTo>
                      <a:pt x="4725" y="5340"/>
                      <a:pt x="10645" y="10520"/>
                      <a:pt x="9858" y="6403"/>
                    </a:cubicBezTo>
                    <a:cubicBezTo>
                      <a:pt x="9858" y="6403"/>
                      <a:pt x="9627" y="-997"/>
                      <a:pt x="6020" y="113"/>
                    </a:cubicBezTo>
                    <a:close/>
                  </a:path>
                </a:pathLst>
              </a:custGeom>
              <a:grpFill/>
              <a:ln w="4609"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EF6CE8BE-0FC3-B91A-F8B4-00311833FB7E}"/>
                  </a:ext>
                </a:extLst>
              </p:cNvPr>
              <p:cNvSpPr/>
              <p:nvPr/>
            </p:nvSpPr>
            <p:spPr>
              <a:xfrm>
                <a:off x="7095407" y="5385590"/>
                <a:ext cx="8435" cy="6033"/>
              </a:xfrm>
              <a:custGeom>
                <a:avLst/>
                <a:gdLst>
                  <a:gd name="connsiteX0" fmla="*/ 7370 w 8435"/>
                  <a:gd name="connsiteY0" fmla="*/ 2532 h 6033"/>
                  <a:gd name="connsiteX1" fmla="*/ 109 w 8435"/>
                  <a:gd name="connsiteY1" fmla="*/ 1468 h 6033"/>
                  <a:gd name="connsiteX2" fmla="*/ 4133 w 8435"/>
                  <a:gd name="connsiteY2" fmla="*/ 5816 h 6033"/>
                  <a:gd name="connsiteX3" fmla="*/ 7417 w 8435"/>
                  <a:gd name="connsiteY3" fmla="*/ 2532 h 6033"/>
                </a:gdLst>
                <a:ahLst/>
                <a:cxnLst>
                  <a:cxn ang="0">
                    <a:pos x="connsiteX0" y="connsiteY0"/>
                  </a:cxn>
                  <a:cxn ang="0">
                    <a:pos x="connsiteX1" y="connsiteY1"/>
                  </a:cxn>
                  <a:cxn ang="0">
                    <a:pos x="connsiteX2" y="connsiteY2"/>
                  </a:cxn>
                  <a:cxn ang="0">
                    <a:pos x="connsiteX3" y="connsiteY3"/>
                  </a:cxn>
                </a:cxnLst>
                <a:rect l="l" t="t" r="r" b="b"/>
                <a:pathLst>
                  <a:path w="8435" h="6033">
                    <a:moveTo>
                      <a:pt x="7370" y="2532"/>
                    </a:moveTo>
                    <a:cubicBezTo>
                      <a:pt x="7370" y="2532"/>
                      <a:pt x="-1047" y="-2371"/>
                      <a:pt x="109" y="1468"/>
                    </a:cubicBezTo>
                    <a:cubicBezTo>
                      <a:pt x="525" y="2254"/>
                      <a:pt x="757" y="7111"/>
                      <a:pt x="4133" y="5816"/>
                    </a:cubicBezTo>
                    <a:cubicBezTo>
                      <a:pt x="4919" y="5353"/>
                      <a:pt x="10747" y="4012"/>
                      <a:pt x="7417" y="2532"/>
                    </a:cubicBezTo>
                    <a:close/>
                  </a:path>
                </a:pathLst>
              </a:custGeom>
              <a:grpFill/>
              <a:ln w="4609"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E37C4620-ECF4-23D5-0DE4-F97E5BC27777}"/>
                  </a:ext>
                </a:extLst>
              </p:cNvPr>
              <p:cNvSpPr/>
              <p:nvPr/>
            </p:nvSpPr>
            <p:spPr>
              <a:xfrm>
                <a:off x="7137685" y="5398818"/>
                <a:ext cx="6076" cy="10902"/>
              </a:xfrm>
              <a:custGeom>
                <a:avLst/>
                <a:gdLst>
                  <a:gd name="connsiteX0" fmla="*/ 3895 w 6076"/>
                  <a:gd name="connsiteY0" fmla="*/ 1236 h 10902"/>
                  <a:gd name="connsiteX1" fmla="*/ 11 w 6076"/>
                  <a:gd name="connsiteY1" fmla="*/ 1652 h 10902"/>
                  <a:gd name="connsiteX2" fmla="*/ 3294 w 6076"/>
                  <a:gd name="connsiteY2" fmla="*/ 10902 h 10902"/>
                  <a:gd name="connsiteX3" fmla="*/ 5977 w 6076"/>
                  <a:gd name="connsiteY3" fmla="*/ 8266 h 10902"/>
                  <a:gd name="connsiteX4" fmla="*/ 3895 w 6076"/>
                  <a:gd name="connsiteY4" fmla="*/ 1236 h 10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6" h="10902">
                    <a:moveTo>
                      <a:pt x="3895" y="1236"/>
                    </a:moveTo>
                    <a:cubicBezTo>
                      <a:pt x="3433" y="1097"/>
                      <a:pt x="-221" y="-1724"/>
                      <a:pt x="11" y="1652"/>
                    </a:cubicBezTo>
                    <a:cubicBezTo>
                      <a:pt x="658" y="4936"/>
                      <a:pt x="-729" y="10902"/>
                      <a:pt x="3294" y="10902"/>
                    </a:cubicBezTo>
                    <a:cubicBezTo>
                      <a:pt x="4728" y="10902"/>
                      <a:pt x="5930" y="9746"/>
                      <a:pt x="5977" y="8266"/>
                    </a:cubicBezTo>
                    <a:cubicBezTo>
                      <a:pt x="5838" y="7110"/>
                      <a:pt x="6994" y="2947"/>
                      <a:pt x="3895" y="1236"/>
                    </a:cubicBezTo>
                    <a:close/>
                  </a:path>
                </a:pathLst>
              </a:custGeom>
              <a:grpFill/>
              <a:ln w="4609" cap="flat">
                <a:noFill/>
                <a:prstDash val="solid"/>
                <a:miter/>
              </a:ln>
            </p:spPr>
            <p:txBody>
              <a:bodyPr rtlCol="0" anchor="ctr"/>
              <a:lstStyle/>
              <a:p>
                <a:endParaRPr lang="en-IN"/>
              </a:p>
            </p:txBody>
          </p:sp>
        </p:grpSp>
        <p:sp>
          <p:nvSpPr>
            <p:cNvPr id="116" name="Freeform: Shape 115">
              <a:extLst>
                <a:ext uri="{FF2B5EF4-FFF2-40B4-BE49-F238E27FC236}">
                  <a16:creationId xmlns:a16="http://schemas.microsoft.com/office/drawing/2014/main" id="{1FBC5D63-32BC-5C99-B9E2-0CEAB8E82F6B}"/>
                </a:ext>
              </a:extLst>
            </p:cNvPr>
            <p:cNvSpPr/>
            <p:nvPr/>
          </p:nvSpPr>
          <p:spPr>
            <a:xfrm>
              <a:off x="6215708" y="4331871"/>
              <a:ext cx="306913" cy="481505"/>
            </a:xfrm>
            <a:custGeom>
              <a:avLst/>
              <a:gdLst>
                <a:gd name="connsiteX0" fmla="*/ 265936 w 306913"/>
                <a:gd name="connsiteY0" fmla="*/ 358065 h 481505"/>
                <a:gd name="connsiteX1" fmla="*/ 269127 w 306913"/>
                <a:gd name="connsiteY1" fmla="*/ 343635 h 481505"/>
                <a:gd name="connsiteX2" fmla="*/ 263346 w 306913"/>
                <a:gd name="connsiteY2" fmla="*/ 341878 h 481505"/>
                <a:gd name="connsiteX3" fmla="*/ 262467 w 306913"/>
                <a:gd name="connsiteY3" fmla="*/ 327124 h 481505"/>
                <a:gd name="connsiteX4" fmla="*/ 255530 w 306913"/>
                <a:gd name="connsiteY4" fmla="*/ 323979 h 481505"/>
                <a:gd name="connsiteX5" fmla="*/ 246604 w 306913"/>
                <a:gd name="connsiteY5" fmla="*/ 328003 h 481505"/>
                <a:gd name="connsiteX6" fmla="*/ 246002 w 306913"/>
                <a:gd name="connsiteY6" fmla="*/ 315284 h 481505"/>
                <a:gd name="connsiteX7" fmla="*/ 257287 w 306913"/>
                <a:gd name="connsiteY7" fmla="*/ 306312 h 481505"/>
                <a:gd name="connsiteX8" fmla="*/ 252385 w 306913"/>
                <a:gd name="connsiteY8" fmla="*/ 291281 h 481505"/>
                <a:gd name="connsiteX9" fmla="*/ 265658 w 306913"/>
                <a:gd name="connsiteY9" fmla="*/ 281753 h 481505"/>
                <a:gd name="connsiteX10" fmla="*/ 261033 w 306913"/>
                <a:gd name="connsiteY10" fmla="*/ 269035 h 481505"/>
                <a:gd name="connsiteX11" fmla="*/ 269127 w 306913"/>
                <a:gd name="connsiteY11" fmla="*/ 265011 h 481505"/>
                <a:gd name="connsiteX12" fmla="*/ 279256 w 306913"/>
                <a:gd name="connsiteY12" fmla="*/ 248823 h 481505"/>
                <a:gd name="connsiteX13" fmla="*/ 274353 w 306913"/>
                <a:gd name="connsiteY13" fmla="*/ 240730 h 481505"/>
                <a:gd name="connsiteX14" fmla="*/ 282447 w 306913"/>
                <a:gd name="connsiteY14" fmla="*/ 233885 h 481505"/>
                <a:gd name="connsiteX15" fmla="*/ 306913 w 306913"/>
                <a:gd name="connsiteY15" fmla="*/ 233885 h 481505"/>
                <a:gd name="connsiteX16" fmla="*/ 306913 w 306913"/>
                <a:gd name="connsiteY16" fmla="*/ 122284 h 481505"/>
                <a:gd name="connsiteX17" fmla="*/ 74092 w 306913"/>
                <a:gd name="connsiteY17" fmla="*/ 0 h 481505"/>
                <a:gd name="connsiteX18" fmla="*/ 45186 w 306913"/>
                <a:gd name="connsiteY18" fmla="*/ 15632 h 481505"/>
                <a:gd name="connsiteX19" fmla="*/ 51661 w 306913"/>
                <a:gd name="connsiteY19" fmla="*/ 61003 h 481505"/>
                <a:gd name="connsiteX20" fmla="*/ 63593 w 306913"/>
                <a:gd name="connsiteY20" fmla="*/ 73907 h 481505"/>
                <a:gd name="connsiteX21" fmla="*/ 62437 w 306913"/>
                <a:gd name="connsiteY21" fmla="*/ 84313 h 481505"/>
                <a:gd name="connsiteX22" fmla="*/ 74601 w 306913"/>
                <a:gd name="connsiteY22" fmla="*/ 97032 h 481505"/>
                <a:gd name="connsiteX23" fmla="*/ 64750 w 306913"/>
                <a:gd name="connsiteY23" fmla="*/ 114977 h 481505"/>
                <a:gd name="connsiteX24" fmla="*/ 60125 w 306913"/>
                <a:gd name="connsiteY24" fmla="*/ 199383 h 481505"/>
                <a:gd name="connsiteX25" fmla="*/ 13042 w 306913"/>
                <a:gd name="connsiteY25" fmla="*/ 252570 h 481505"/>
                <a:gd name="connsiteX26" fmla="*/ 8417 w 306913"/>
                <a:gd name="connsiteY26" fmla="*/ 269312 h 481505"/>
                <a:gd name="connsiteX27" fmla="*/ 0 w 306913"/>
                <a:gd name="connsiteY27" fmla="*/ 273937 h 481505"/>
                <a:gd name="connsiteX28" fmla="*/ 5411 w 306913"/>
                <a:gd name="connsiteY28" fmla="*/ 295351 h 481505"/>
                <a:gd name="connsiteX29" fmla="*/ 17945 w 306913"/>
                <a:gd name="connsiteY29" fmla="*/ 312694 h 481505"/>
                <a:gd name="connsiteX30" fmla="*/ 34687 w 306913"/>
                <a:gd name="connsiteY30" fmla="*/ 313249 h 481505"/>
                <a:gd name="connsiteX31" fmla="*/ 49718 w 306913"/>
                <a:gd name="connsiteY31" fmla="*/ 344468 h 481505"/>
                <a:gd name="connsiteX32" fmla="*/ 46250 w 306913"/>
                <a:gd name="connsiteY32" fmla="*/ 373975 h 481505"/>
                <a:gd name="connsiteX33" fmla="*/ 64195 w 306913"/>
                <a:gd name="connsiteY33" fmla="*/ 405749 h 481505"/>
                <a:gd name="connsiteX34" fmla="*/ 24281 w 306913"/>
                <a:gd name="connsiteY34" fmla="*/ 404037 h 481505"/>
                <a:gd name="connsiteX35" fmla="*/ 15031 w 306913"/>
                <a:gd name="connsiteY35" fmla="*/ 417311 h 481505"/>
                <a:gd name="connsiteX36" fmla="*/ 49163 w 306913"/>
                <a:gd name="connsiteY36" fmla="*/ 446217 h 481505"/>
                <a:gd name="connsiteX37" fmla="*/ 61882 w 306913"/>
                <a:gd name="connsiteY37" fmla="*/ 477436 h 481505"/>
                <a:gd name="connsiteX38" fmla="*/ 70531 w 306913"/>
                <a:gd name="connsiteY38" fmla="*/ 481506 h 481505"/>
                <a:gd name="connsiteX39" fmla="*/ 89447 w 306913"/>
                <a:gd name="connsiteY39" fmla="*/ 467631 h 481505"/>
                <a:gd name="connsiteX40" fmla="*/ 97911 w 306913"/>
                <a:gd name="connsiteY40" fmla="*/ 476881 h 481505"/>
                <a:gd name="connsiteX41" fmla="*/ 121035 w 306913"/>
                <a:gd name="connsiteY41" fmla="*/ 463006 h 481505"/>
                <a:gd name="connsiteX42" fmla="*/ 151884 w 306913"/>
                <a:gd name="connsiteY42" fmla="*/ 463006 h 481505"/>
                <a:gd name="connsiteX43" fmla="*/ 164973 w 306913"/>
                <a:gd name="connsiteY43" fmla="*/ 444506 h 481505"/>
                <a:gd name="connsiteX44" fmla="*/ 156509 w 306913"/>
                <a:gd name="connsiteY44" fmla="*/ 439095 h 481505"/>
                <a:gd name="connsiteX45" fmla="*/ 162290 w 306913"/>
                <a:gd name="connsiteY45" fmla="*/ 432527 h 481505"/>
                <a:gd name="connsiteX46" fmla="*/ 205811 w 306913"/>
                <a:gd name="connsiteY46" fmla="*/ 429475 h 481505"/>
                <a:gd name="connsiteX47" fmla="*/ 241100 w 306913"/>
                <a:gd name="connsiteY47" fmla="*/ 398256 h 481505"/>
                <a:gd name="connsiteX48" fmla="*/ 239944 w 306913"/>
                <a:gd name="connsiteY48" fmla="*/ 385538 h 481505"/>
                <a:gd name="connsiteX49" fmla="*/ 259600 w 306913"/>
                <a:gd name="connsiteY49" fmla="*/ 374530 h 481505"/>
                <a:gd name="connsiteX50" fmla="*/ 275972 w 306913"/>
                <a:gd name="connsiteY50" fmla="*/ 377444 h 481505"/>
                <a:gd name="connsiteX51" fmla="*/ 278100 w 306913"/>
                <a:gd name="connsiteY51" fmla="*/ 364448 h 481505"/>
                <a:gd name="connsiteX52" fmla="*/ 265936 w 306913"/>
                <a:gd name="connsiteY52" fmla="*/ 358065 h 48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06913" h="481505">
                  <a:moveTo>
                    <a:pt x="265936" y="358065"/>
                  </a:moveTo>
                  <a:lnTo>
                    <a:pt x="269127" y="343635"/>
                  </a:lnTo>
                  <a:lnTo>
                    <a:pt x="263346" y="341878"/>
                  </a:lnTo>
                  <a:lnTo>
                    <a:pt x="262467" y="327124"/>
                  </a:lnTo>
                  <a:lnTo>
                    <a:pt x="255530" y="323979"/>
                  </a:lnTo>
                  <a:lnTo>
                    <a:pt x="246604" y="328003"/>
                  </a:lnTo>
                  <a:lnTo>
                    <a:pt x="246002" y="315284"/>
                  </a:lnTo>
                  <a:lnTo>
                    <a:pt x="257287" y="306312"/>
                  </a:lnTo>
                  <a:lnTo>
                    <a:pt x="252385" y="291281"/>
                  </a:lnTo>
                  <a:lnTo>
                    <a:pt x="265658" y="281753"/>
                  </a:lnTo>
                  <a:lnTo>
                    <a:pt x="261033" y="269035"/>
                  </a:lnTo>
                  <a:lnTo>
                    <a:pt x="269127" y="265011"/>
                  </a:lnTo>
                  <a:lnTo>
                    <a:pt x="279256" y="248823"/>
                  </a:lnTo>
                  <a:lnTo>
                    <a:pt x="274353" y="240730"/>
                  </a:lnTo>
                  <a:lnTo>
                    <a:pt x="282447" y="233885"/>
                  </a:lnTo>
                  <a:lnTo>
                    <a:pt x="306913" y="233885"/>
                  </a:lnTo>
                  <a:lnTo>
                    <a:pt x="306913" y="122284"/>
                  </a:lnTo>
                  <a:lnTo>
                    <a:pt x="74092" y="0"/>
                  </a:lnTo>
                  <a:lnTo>
                    <a:pt x="45186" y="15632"/>
                  </a:lnTo>
                  <a:lnTo>
                    <a:pt x="51661" y="61003"/>
                  </a:lnTo>
                  <a:lnTo>
                    <a:pt x="63593" y="73907"/>
                  </a:lnTo>
                  <a:lnTo>
                    <a:pt x="62437" y="84313"/>
                  </a:lnTo>
                  <a:lnTo>
                    <a:pt x="74601" y="97032"/>
                  </a:lnTo>
                  <a:lnTo>
                    <a:pt x="64750" y="114977"/>
                  </a:lnTo>
                  <a:lnTo>
                    <a:pt x="60125" y="199383"/>
                  </a:lnTo>
                  <a:lnTo>
                    <a:pt x="13042" y="252570"/>
                  </a:lnTo>
                  <a:lnTo>
                    <a:pt x="8417" y="269312"/>
                  </a:lnTo>
                  <a:lnTo>
                    <a:pt x="0" y="273937"/>
                  </a:lnTo>
                  <a:lnTo>
                    <a:pt x="5411" y="295351"/>
                  </a:lnTo>
                  <a:lnTo>
                    <a:pt x="17945" y="312694"/>
                  </a:lnTo>
                  <a:lnTo>
                    <a:pt x="34687" y="313249"/>
                  </a:lnTo>
                  <a:lnTo>
                    <a:pt x="49718" y="344468"/>
                  </a:lnTo>
                  <a:lnTo>
                    <a:pt x="46250" y="373975"/>
                  </a:lnTo>
                  <a:lnTo>
                    <a:pt x="64195" y="405749"/>
                  </a:lnTo>
                  <a:lnTo>
                    <a:pt x="24281" y="404037"/>
                  </a:lnTo>
                  <a:lnTo>
                    <a:pt x="15031" y="417311"/>
                  </a:lnTo>
                  <a:lnTo>
                    <a:pt x="49163" y="446217"/>
                  </a:lnTo>
                  <a:lnTo>
                    <a:pt x="61882" y="477436"/>
                  </a:lnTo>
                  <a:lnTo>
                    <a:pt x="70531" y="481506"/>
                  </a:lnTo>
                  <a:lnTo>
                    <a:pt x="89447" y="467631"/>
                  </a:lnTo>
                  <a:lnTo>
                    <a:pt x="97911" y="476881"/>
                  </a:lnTo>
                  <a:lnTo>
                    <a:pt x="121035" y="463006"/>
                  </a:lnTo>
                  <a:lnTo>
                    <a:pt x="151884" y="463006"/>
                  </a:lnTo>
                  <a:lnTo>
                    <a:pt x="164973" y="444506"/>
                  </a:lnTo>
                  <a:lnTo>
                    <a:pt x="156509" y="439095"/>
                  </a:lnTo>
                  <a:lnTo>
                    <a:pt x="162290" y="432527"/>
                  </a:lnTo>
                  <a:lnTo>
                    <a:pt x="205811" y="429475"/>
                  </a:lnTo>
                  <a:lnTo>
                    <a:pt x="241100" y="398256"/>
                  </a:lnTo>
                  <a:lnTo>
                    <a:pt x="239944" y="385538"/>
                  </a:lnTo>
                  <a:lnTo>
                    <a:pt x="259600" y="374530"/>
                  </a:lnTo>
                  <a:lnTo>
                    <a:pt x="275972" y="377444"/>
                  </a:lnTo>
                  <a:lnTo>
                    <a:pt x="278100" y="364448"/>
                  </a:lnTo>
                  <a:lnTo>
                    <a:pt x="265936" y="358065"/>
                  </a:lnTo>
                  <a:close/>
                </a:path>
              </a:pathLst>
            </a:custGeom>
            <a:grpFill/>
            <a:ln w="4609" cap="flat">
              <a:noFill/>
              <a:prstDash val="solid"/>
              <a:miter/>
            </a:ln>
          </p:spPr>
          <p:txBody>
            <a:bodyPr rtlCol="0" anchor="ctr"/>
            <a:lstStyle/>
            <a:p>
              <a:endParaRPr lang="en-IN"/>
            </a:p>
          </p:txBody>
        </p:sp>
        <p:sp>
          <p:nvSpPr>
            <p:cNvPr id="117" name="Freeform: Shape 116">
              <a:extLst>
                <a:ext uri="{FF2B5EF4-FFF2-40B4-BE49-F238E27FC236}">
                  <a16:creationId xmlns:a16="http://schemas.microsoft.com/office/drawing/2014/main" id="{06CE248D-6FCB-4206-7653-0E607AB5EED1}"/>
                </a:ext>
              </a:extLst>
            </p:cNvPr>
            <p:cNvSpPr/>
            <p:nvPr/>
          </p:nvSpPr>
          <p:spPr>
            <a:xfrm>
              <a:off x="6243504" y="4706493"/>
              <a:ext cx="379062" cy="258258"/>
            </a:xfrm>
            <a:custGeom>
              <a:avLst/>
              <a:gdLst>
                <a:gd name="connsiteX0" fmla="*/ 354920 w 379062"/>
                <a:gd name="connsiteY0" fmla="*/ 146565 h 258258"/>
                <a:gd name="connsiteX1" fmla="*/ 346827 w 379062"/>
                <a:gd name="connsiteY1" fmla="*/ 135789 h 258258"/>
                <a:gd name="connsiteX2" fmla="*/ 349925 w 379062"/>
                <a:gd name="connsiteY2" fmla="*/ 126539 h 258258"/>
                <a:gd name="connsiteX3" fmla="*/ 314452 w 379062"/>
                <a:gd name="connsiteY3" fmla="*/ 103044 h 258258"/>
                <a:gd name="connsiteX4" fmla="*/ 318291 w 379062"/>
                <a:gd name="connsiteY4" fmla="*/ 98049 h 258258"/>
                <a:gd name="connsiteX5" fmla="*/ 305202 w 379062"/>
                <a:gd name="connsiteY5" fmla="*/ 84544 h 258258"/>
                <a:gd name="connsiteX6" fmla="*/ 284390 w 379062"/>
                <a:gd name="connsiteY6" fmla="*/ 78763 h 258258"/>
                <a:gd name="connsiteX7" fmla="*/ 287488 w 379062"/>
                <a:gd name="connsiteY7" fmla="*/ 68727 h 258258"/>
                <a:gd name="connsiteX8" fmla="*/ 263577 w 379062"/>
                <a:gd name="connsiteY8" fmla="*/ 67571 h 258258"/>
                <a:gd name="connsiteX9" fmla="*/ 268988 w 379062"/>
                <a:gd name="connsiteY9" fmla="*/ 44076 h 258258"/>
                <a:gd name="connsiteX10" fmla="*/ 270515 w 379062"/>
                <a:gd name="connsiteY10" fmla="*/ 32144 h 258258"/>
                <a:gd name="connsiteX11" fmla="*/ 248176 w 379062"/>
                <a:gd name="connsiteY11" fmla="*/ 2867 h 258258"/>
                <a:gd name="connsiteX12" fmla="*/ 231804 w 379062"/>
                <a:gd name="connsiteY12" fmla="*/ 0 h 258258"/>
                <a:gd name="connsiteX13" fmla="*/ 212147 w 379062"/>
                <a:gd name="connsiteY13" fmla="*/ 11007 h 258258"/>
                <a:gd name="connsiteX14" fmla="*/ 213304 w 379062"/>
                <a:gd name="connsiteY14" fmla="*/ 23726 h 258258"/>
                <a:gd name="connsiteX15" fmla="*/ 178061 w 379062"/>
                <a:gd name="connsiteY15" fmla="*/ 54945 h 258258"/>
                <a:gd name="connsiteX16" fmla="*/ 134494 w 379062"/>
                <a:gd name="connsiteY16" fmla="*/ 58043 h 258258"/>
                <a:gd name="connsiteX17" fmla="*/ 128713 w 379062"/>
                <a:gd name="connsiteY17" fmla="*/ 64611 h 258258"/>
                <a:gd name="connsiteX18" fmla="*/ 137177 w 379062"/>
                <a:gd name="connsiteY18" fmla="*/ 70022 h 258258"/>
                <a:gd name="connsiteX19" fmla="*/ 124088 w 379062"/>
                <a:gd name="connsiteY19" fmla="*/ 88522 h 258258"/>
                <a:gd name="connsiteX20" fmla="*/ 93239 w 379062"/>
                <a:gd name="connsiteY20" fmla="*/ 88522 h 258258"/>
                <a:gd name="connsiteX21" fmla="*/ 70115 w 379062"/>
                <a:gd name="connsiteY21" fmla="*/ 102397 h 258258"/>
                <a:gd name="connsiteX22" fmla="*/ 61651 w 379062"/>
                <a:gd name="connsiteY22" fmla="*/ 93147 h 258258"/>
                <a:gd name="connsiteX23" fmla="*/ 42781 w 379062"/>
                <a:gd name="connsiteY23" fmla="*/ 107022 h 258258"/>
                <a:gd name="connsiteX24" fmla="*/ 34086 w 379062"/>
                <a:gd name="connsiteY24" fmla="*/ 102952 h 258258"/>
                <a:gd name="connsiteX25" fmla="*/ 15124 w 379062"/>
                <a:gd name="connsiteY25" fmla="*/ 133384 h 258258"/>
                <a:gd name="connsiteX26" fmla="*/ 0 w 379062"/>
                <a:gd name="connsiteY26" fmla="*/ 143975 h 258258"/>
                <a:gd name="connsiteX27" fmla="*/ 7724 w 379062"/>
                <a:gd name="connsiteY27" fmla="*/ 156833 h 258258"/>
                <a:gd name="connsiteX28" fmla="*/ 11192 w 379062"/>
                <a:gd name="connsiteY28" fmla="*/ 190225 h 258258"/>
                <a:gd name="connsiteX29" fmla="*/ 20442 w 379062"/>
                <a:gd name="connsiteY29" fmla="*/ 194850 h 258258"/>
                <a:gd name="connsiteX30" fmla="*/ 23125 w 379062"/>
                <a:gd name="connsiteY30" fmla="*/ 204470 h 258258"/>
                <a:gd name="connsiteX31" fmla="*/ 18500 w 379062"/>
                <a:gd name="connsiteY31" fmla="*/ 206412 h 258258"/>
                <a:gd name="connsiteX32" fmla="*/ 37786 w 379062"/>
                <a:gd name="connsiteY32" fmla="*/ 230324 h 258258"/>
                <a:gd name="connsiteX33" fmla="*/ 48562 w 379062"/>
                <a:gd name="connsiteY33" fmla="*/ 235319 h 258258"/>
                <a:gd name="connsiteX34" fmla="*/ 49348 w 379062"/>
                <a:gd name="connsiteY34" fmla="*/ 258258 h 258258"/>
                <a:gd name="connsiteX35" fmla="*/ 53603 w 379062"/>
                <a:gd name="connsiteY35" fmla="*/ 258073 h 258258"/>
                <a:gd name="connsiteX36" fmla="*/ 62483 w 379062"/>
                <a:gd name="connsiteY36" fmla="*/ 239574 h 258258"/>
                <a:gd name="connsiteX37" fmla="*/ 63270 w 379062"/>
                <a:gd name="connsiteY37" fmla="*/ 220704 h 258258"/>
                <a:gd name="connsiteX38" fmla="*/ 89262 w 379062"/>
                <a:gd name="connsiteY38" fmla="*/ 214552 h 258258"/>
                <a:gd name="connsiteX39" fmla="*/ 104293 w 379062"/>
                <a:gd name="connsiteY39" fmla="*/ 220334 h 258258"/>
                <a:gd name="connsiteX40" fmla="*/ 122608 w 379062"/>
                <a:gd name="connsiteY40" fmla="*/ 216680 h 258258"/>
                <a:gd name="connsiteX41" fmla="*/ 122608 w 379062"/>
                <a:gd name="connsiteY41" fmla="*/ 216772 h 258258"/>
                <a:gd name="connsiteX42" fmla="*/ 121035 w 379062"/>
                <a:gd name="connsiteY42" fmla="*/ 197209 h 258258"/>
                <a:gd name="connsiteX43" fmla="*/ 128343 w 379062"/>
                <a:gd name="connsiteY43" fmla="*/ 194526 h 258258"/>
                <a:gd name="connsiteX44" fmla="*/ 137593 w 379062"/>
                <a:gd name="connsiteY44" fmla="*/ 179125 h 258258"/>
                <a:gd name="connsiteX45" fmla="*/ 147999 w 379062"/>
                <a:gd name="connsiteY45" fmla="*/ 172558 h 258258"/>
                <a:gd name="connsiteX46" fmla="*/ 159192 w 379062"/>
                <a:gd name="connsiteY46" fmla="*/ 173714 h 258258"/>
                <a:gd name="connsiteX47" fmla="*/ 175379 w 379062"/>
                <a:gd name="connsiteY47" fmla="*/ 184490 h 258258"/>
                <a:gd name="connsiteX48" fmla="*/ 179218 w 379062"/>
                <a:gd name="connsiteY48" fmla="*/ 194896 h 258258"/>
                <a:gd name="connsiteX49" fmla="*/ 233561 w 379062"/>
                <a:gd name="connsiteY49" fmla="*/ 202990 h 258258"/>
                <a:gd name="connsiteX50" fmla="*/ 246881 w 379062"/>
                <a:gd name="connsiteY50" fmla="*/ 183334 h 258258"/>
                <a:gd name="connsiteX51" fmla="*/ 261912 w 379062"/>
                <a:gd name="connsiteY51" fmla="*/ 189115 h 258258"/>
                <a:gd name="connsiteX52" fmla="*/ 291419 w 379062"/>
                <a:gd name="connsiteY52" fmla="*/ 174685 h 258258"/>
                <a:gd name="connsiteX53" fmla="*/ 302427 w 379062"/>
                <a:gd name="connsiteY53" fmla="*/ 180466 h 258258"/>
                <a:gd name="connsiteX54" fmla="*/ 319169 w 379062"/>
                <a:gd name="connsiteY54" fmla="*/ 176998 h 258258"/>
                <a:gd name="connsiteX55" fmla="*/ 319169 w 379062"/>
                <a:gd name="connsiteY55" fmla="*/ 167748 h 258258"/>
                <a:gd name="connsiteX56" fmla="*/ 327263 w 379062"/>
                <a:gd name="connsiteY56" fmla="*/ 165990 h 258258"/>
                <a:gd name="connsiteX57" fmla="*/ 335958 w 379062"/>
                <a:gd name="connsiteY57" fmla="*/ 171771 h 258258"/>
                <a:gd name="connsiteX58" fmla="*/ 345208 w 379062"/>
                <a:gd name="connsiteY58" fmla="*/ 168904 h 258258"/>
                <a:gd name="connsiteX59" fmla="*/ 360054 w 379062"/>
                <a:gd name="connsiteY59" fmla="*/ 176813 h 258258"/>
                <a:gd name="connsiteX60" fmla="*/ 365465 w 379062"/>
                <a:gd name="connsiteY60" fmla="*/ 171216 h 258258"/>
                <a:gd name="connsiteX61" fmla="*/ 378785 w 379062"/>
                <a:gd name="connsiteY61" fmla="*/ 172974 h 258258"/>
                <a:gd name="connsiteX62" fmla="*/ 379063 w 379062"/>
                <a:gd name="connsiteY62" fmla="*/ 173205 h 258258"/>
                <a:gd name="connsiteX63" fmla="*/ 372819 w 379062"/>
                <a:gd name="connsiteY63" fmla="*/ 153688 h 258258"/>
                <a:gd name="connsiteX64" fmla="*/ 355105 w 379062"/>
                <a:gd name="connsiteY64" fmla="*/ 146750 h 258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9062" h="258258">
                  <a:moveTo>
                    <a:pt x="354920" y="146565"/>
                  </a:moveTo>
                  <a:lnTo>
                    <a:pt x="346827" y="135789"/>
                  </a:lnTo>
                  <a:lnTo>
                    <a:pt x="349925" y="126539"/>
                  </a:lnTo>
                  <a:lnTo>
                    <a:pt x="314452" y="103044"/>
                  </a:lnTo>
                  <a:lnTo>
                    <a:pt x="318291" y="98049"/>
                  </a:lnTo>
                  <a:lnTo>
                    <a:pt x="305202" y="84544"/>
                  </a:lnTo>
                  <a:lnTo>
                    <a:pt x="284390" y="78763"/>
                  </a:lnTo>
                  <a:lnTo>
                    <a:pt x="287488" y="68727"/>
                  </a:lnTo>
                  <a:lnTo>
                    <a:pt x="263577" y="67571"/>
                  </a:lnTo>
                  <a:lnTo>
                    <a:pt x="268988" y="44076"/>
                  </a:lnTo>
                  <a:lnTo>
                    <a:pt x="270515" y="32144"/>
                  </a:lnTo>
                  <a:lnTo>
                    <a:pt x="248176" y="2867"/>
                  </a:lnTo>
                  <a:lnTo>
                    <a:pt x="231804" y="0"/>
                  </a:lnTo>
                  <a:lnTo>
                    <a:pt x="212147" y="11007"/>
                  </a:lnTo>
                  <a:lnTo>
                    <a:pt x="213304" y="23726"/>
                  </a:lnTo>
                  <a:lnTo>
                    <a:pt x="178061" y="54945"/>
                  </a:lnTo>
                  <a:lnTo>
                    <a:pt x="134494" y="58043"/>
                  </a:lnTo>
                  <a:lnTo>
                    <a:pt x="128713" y="64611"/>
                  </a:lnTo>
                  <a:lnTo>
                    <a:pt x="137177" y="70022"/>
                  </a:lnTo>
                  <a:lnTo>
                    <a:pt x="124088" y="88522"/>
                  </a:lnTo>
                  <a:lnTo>
                    <a:pt x="93239" y="88522"/>
                  </a:lnTo>
                  <a:lnTo>
                    <a:pt x="70115" y="102397"/>
                  </a:lnTo>
                  <a:lnTo>
                    <a:pt x="61651" y="93147"/>
                  </a:lnTo>
                  <a:lnTo>
                    <a:pt x="42781" y="107022"/>
                  </a:lnTo>
                  <a:lnTo>
                    <a:pt x="34086" y="102952"/>
                  </a:lnTo>
                  <a:lnTo>
                    <a:pt x="15124" y="133384"/>
                  </a:lnTo>
                  <a:lnTo>
                    <a:pt x="0" y="143975"/>
                  </a:lnTo>
                  <a:lnTo>
                    <a:pt x="7724" y="156833"/>
                  </a:lnTo>
                  <a:lnTo>
                    <a:pt x="11192" y="190225"/>
                  </a:lnTo>
                  <a:lnTo>
                    <a:pt x="20442" y="194850"/>
                  </a:lnTo>
                  <a:lnTo>
                    <a:pt x="23125" y="204470"/>
                  </a:lnTo>
                  <a:lnTo>
                    <a:pt x="18500" y="206412"/>
                  </a:lnTo>
                  <a:lnTo>
                    <a:pt x="37786" y="230324"/>
                  </a:lnTo>
                  <a:lnTo>
                    <a:pt x="48562" y="235319"/>
                  </a:lnTo>
                  <a:lnTo>
                    <a:pt x="49348" y="258258"/>
                  </a:lnTo>
                  <a:lnTo>
                    <a:pt x="53603" y="258073"/>
                  </a:lnTo>
                  <a:lnTo>
                    <a:pt x="62483" y="239574"/>
                  </a:lnTo>
                  <a:lnTo>
                    <a:pt x="63270" y="220704"/>
                  </a:lnTo>
                  <a:lnTo>
                    <a:pt x="89262" y="214552"/>
                  </a:lnTo>
                  <a:lnTo>
                    <a:pt x="104293" y="220334"/>
                  </a:lnTo>
                  <a:lnTo>
                    <a:pt x="122608" y="216680"/>
                  </a:lnTo>
                  <a:cubicBezTo>
                    <a:pt x="122608" y="216680"/>
                    <a:pt x="122608" y="216726"/>
                    <a:pt x="122608" y="216772"/>
                  </a:cubicBezTo>
                  <a:lnTo>
                    <a:pt x="121035" y="197209"/>
                  </a:lnTo>
                  <a:lnTo>
                    <a:pt x="128343" y="194526"/>
                  </a:lnTo>
                  <a:lnTo>
                    <a:pt x="137593" y="179125"/>
                  </a:lnTo>
                  <a:lnTo>
                    <a:pt x="147999" y="172558"/>
                  </a:lnTo>
                  <a:lnTo>
                    <a:pt x="159192" y="173714"/>
                  </a:lnTo>
                  <a:lnTo>
                    <a:pt x="175379" y="184490"/>
                  </a:lnTo>
                  <a:lnTo>
                    <a:pt x="179218" y="194896"/>
                  </a:lnTo>
                  <a:lnTo>
                    <a:pt x="233561" y="202990"/>
                  </a:lnTo>
                  <a:lnTo>
                    <a:pt x="246881" y="183334"/>
                  </a:lnTo>
                  <a:lnTo>
                    <a:pt x="261912" y="189115"/>
                  </a:lnTo>
                  <a:lnTo>
                    <a:pt x="291419" y="174685"/>
                  </a:lnTo>
                  <a:lnTo>
                    <a:pt x="302427" y="180466"/>
                  </a:lnTo>
                  <a:lnTo>
                    <a:pt x="319169" y="176998"/>
                  </a:lnTo>
                  <a:lnTo>
                    <a:pt x="319169" y="167748"/>
                  </a:lnTo>
                  <a:lnTo>
                    <a:pt x="327263" y="165990"/>
                  </a:lnTo>
                  <a:lnTo>
                    <a:pt x="335958" y="171771"/>
                  </a:lnTo>
                  <a:lnTo>
                    <a:pt x="345208" y="168904"/>
                  </a:lnTo>
                  <a:lnTo>
                    <a:pt x="360054" y="176813"/>
                  </a:lnTo>
                  <a:lnTo>
                    <a:pt x="365465" y="171216"/>
                  </a:lnTo>
                  <a:lnTo>
                    <a:pt x="378785" y="172974"/>
                  </a:lnTo>
                  <a:lnTo>
                    <a:pt x="379063" y="173205"/>
                  </a:lnTo>
                  <a:lnTo>
                    <a:pt x="372819" y="153688"/>
                  </a:lnTo>
                  <a:lnTo>
                    <a:pt x="355105" y="146750"/>
                  </a:lnTo>
                  <a:close/>
                </a:path>
              </a:pathLst>
            </a:custGeom>
            <a:grpFill/>
            <a:ln w="4609" cap="flat">
              <a:noFill/>
              <a:prstDash val="solid"/>
              <a:miter/>
            </a:ln>
          </p:spPr>
          <p:txBody>
            <a:bodyPr rtlCol="0" anchor="ctr"/>
            <a:lstStyle/>
            <a:p>
              <a:endParaRPr lang="en-IN"/>
            </a:p>
          </p:txBody>
        </p:sp>
        <p:grpSp>
          <p:nvGrpSpPr>
            <p:cNvPr id="118" name="Graphic 36">
              <a:extLst>
                <a:ext uri="{FF2B5EF4-FFF2-40B4-BE49-F238E27FC236}">
                  <a16:creationId xmlns:a16="http://schemas.microsoft.com/office/drawing/2014/main" id="{DFEC5F92-AEEC-8A02-FD91-635348A7CD97}"/>
                </a:ext>
              </a:extLst>
            </p:cNvPr>
            <p:cNvGrpSpPr/>
            <p:nvPr/>
          </p:nvGrpSpPr>
          <p:grpSpPr>
            <a:xfrm>
              <a:off x="6069920" y="4644565"/>
              <a:ext cx="226308" cy="337114"/>
              <a:chOff x="6069920" y="4644565"/>
              <a:chExt cx="226308" cy="337114"/>
            </a:xfrm>
            <a:grpFill/>
          </p:grpSpPr>
          <p:sp>
            <p:nvSpPr>
              <p:cNvPr id="128" name="Freeform: Shape 127">
                <a:extLst>
                  <a:ext uri="{FF2B5EF4-FFF2-40B4-BE49-F238E27FC236}">
                    <a16:creationId xmlns:a16="http://schemas.microsoft.com/office/drawing/2014/main" id="{F7C9EEB4-0E23-66E6-56CC-3511749B4B40}"/>
                  </a:ext>
                </a:extLst>
              </p:cNvPr>
              <p:cNvSpPr/>
              <p:nvPr/>
            </p:nvSpPr>
            <p:spPr>
              <a:xfrm>
                <a:off x="6075062" y="4644565"/>
                <a:ext cx="221166" cy="337114"/>
              </a:xfrm>
              <a:custGeom>
                <a:avLst/>
                <a:gdLst>
                  <a:gd name="connsiteX0" fmla="*/ 206181 w 221166"/>
                  <a:gd name="connsiteY0" fmla="*/ 292159 h 337114"/>
                  <a:gd name="connsiteX1" fmla="*/ 186895 w 221166"/>
                  <a:gd name="connsiteY1" fmla="*/ 268248 h 337114"/>
                  <a:gd name="connsiteX2" fmla="*/ 191520 w 221166"/>
                  <a:gd name="connsiteY2" fmla="*/ 266306 h 337114"/>
                  <a:gd name="connsiteX3" fmla="*/ 188838 w 221166"/>
                  <a:gd name="connsiteY3" fmla="*/ 256686 h 337114"/>
                  <a:gd name="connsiteX4" fmla="*/ 179588 w 221166"/>
                  <a:gd name="connsiteY4" fmla="*/ 252061 h 337114"/>
                  <a:gd name="connsiteX5" fmla="*/ 176119 w 221166"/>
                  <a:gd name="connsiteY5" fmla="*/ 218669 h 337114"/>
                  <a:gd name="connsiteX6" fmla="*/ 168395 w 221166"/>
                  <a:gd name="connsiteY6" fmla="*/ 205811 h 337114"/>
                  <a:gd name="connsiteX7" fmla="*/ 183519 w 221166"/>
                  <a:gd name="connsiteY7" fmla="*/ 195220 h 337114"/>
                  <a:gd name="connsiteX8" fmla="*/ 202481 w 221166"/>
                  <a:gd name="connsiteY8" fmla="*/ 164788 h 337114"/>
                  <a:gd name="connsiteX9" fmla="*/ 189763 w 221166"/>
                  <a:gd name="connsiteY9" fmla="*/ 133569 h 337114"/>
                  <a:gd name="connsiteX10" fmla="*/ 155630 w 221166"/>
                  <a:gd name="connsiteY10" fmla="*/ 104663 h 337114"/>
                  <a:gd name="connsiteX11" fmla="*/ 164880 w 221166"/>
                  <a:gd name="connsiteY11" fmla="*/ 91343 h 337114"/>
                  <a:gd name="connsiteX12" fmla="*/ 204747 w 221166"/>
                  <a:gd name="connsiteY12" fmla="*/ 93101 h 337114"/>
                  <a:gd name="connsiteX13" fmla="*/ 186803 w 221166"/>
                  <a:gd name="connsiteY13" fmla="*/ 61281 h 337114"/>
                  <a:gd name="connsiteX14" fmla="*/ 190271 w 221166"/>
                  <a:gd name="connsiteY14" fmla="*/ 31774 h 337114"/>
                  <a:gd name="connsiteX15" fmla="*/ 175240 w 221166"/>
                  <a:gd name="connsiteY15" fmla="*/ 555 h 337114"/>
                  <a:gd name="connsiteX16" fmla="*/ 158498 w 221166"/>
                  <a:gd name="connsiteY16" fmla="*/ 0 h 337114"/>
                  <a:gd name="connsiteX17" fmla="*/ 160255 w 221166"/>
                  <a:gd name="connsiteY17" fmla="*/ 21969 h 337114"/>
                  <a:gd name="connsiteX18" fmla="*/ 172373 w 221166"/>
                  <a:gd name="connsiteY18" fmla="*/ 28906 h 337114"/>
                  <a:gd name="connsiteX19" fmla="*/ 171031 w 221166"/>
                  <a:gd name="connsiteY19" fmla="*/ 49718 h 337114"/>
                  <a:gd name="connsiteX20" fmla="*/ 151745 w 221166"/>
                  <a:gd name="connsiteY20" fmla="*/ 55870 h 337114"/>
                  <a:gd name="connsiteX21" fmla="*/ 138240 w 221166"/>
                  <a:gd name="connsiteY21" fmla="*/ 95968 h 337114"/>
                  <a:gd name="connsiteX22" fmla="*/ 126123 w 221166"/>
                  <a:gd name="connsiteY22" fmla="*/ 107531 h 337114"/>
                  <a:gd name="connsiteX23" fmla="*/ 123255 w 221166"/>
                  <a:gd name="connsiteY23" fmla="*/ 127187 h 337114"/>
                  <a:gd name="connsiteX24" fmla="*/ 104941 w 221166"/>
                  <a:gd name="connsiteY24" fmla="*/ 139905 h 337114"/>
                  <a:gd name="connsiteX25" fmla="*/ 85469 w 221166"/>
                  <a:gd name="connsiteY25" fmla="*/ 193093 h 337114"/>
                  <a:gd name="connsiteX26" fmla="*/ 72381 w 221166"/>
                  <a:gd name="connsiteY26" fmla="*/ 198504 h 337114"/>
                  <a:gd name="connsiteX27" fmla="*/ 69513 w 221166"/>
                  <a:gd name="connsiteY27" fmla="*/ 184999 h 337114"/>
                  <a:gd name="connsiteX28" fmla="*/ 58506 w 221166"/>
                  <a:gd name="connsiteY28" fmla="*/ 177275 h 337114"/>
                  <a:gd name="connsiteX29" fmla="*/ 50227 w 221166"/>
                  <a:gd name="connsiteY29" fmla="*/ 185554 h 337114"/>
                  <a:gd name="connsiteX30" fmla="*/ 40006 w 221166"/>
                  <a:gd name="connsiteY30" fmla="*/ 180929 h 337114"/>
                  <a:gd name="connsiteX31" fmla="*/ 5874 w 221166"/>
                  <a:gd name="connsiteY31" fmla="*/ 213859 h 337114"/>
                  <a:gd name="connsiteX32" fmla="*/ 6845 w 221166"/>
                  <a:gd name="connsiteY32" fmla="*/ 229676 h 337114"/>
                  <a:gd name="connsiteX33" fmla="*/ 0 w 221166"/>
                  <a:gd name="connsiteY33" fmla="*/ 242904 h 337114"/>
                  <a:gd name="connsiteX34" fmla="*/ 2729 w 221166"/>
                  <a:gd name="connsiteY34" fmla="*/ 245586 h 337114"/>
                  <a:gd name="connsiteX35" fmla="*/ 8417 w 221166"/>
                  <a:gd name="connsiteY35" fmla="*/ 247390 h 337114"/>
                  <a:gd name="connsiteX36" fmla="*/ 7909 w 221166"/>
                  <a:gd name="connsiteY36" fmla="*/ 254651 h 337114"/>
                  <a:gd name="connsiteX37" fmla="*/ 12904 w 221166"/>
                  <a:gd name="connsiteY37" fmla="*/ 263022 h 337114"/>
                  <a:gd name="connsiteX38" fmla="*/ 24744 w 221166"/>
                  <a:gd name="connsiteY38" fmla="*/ 265751 h 337114"/>
                  <a:gd name="connsiteX39" fmla="*/ 29322 w 221166"/>
                  <a:gd name="connsiteY39" fmla="*/ 266260 h 337114"/>
                  <a:gd name="connsiteX40" fmla="*/ 28906 w 221166"/>
                  <a:gd name="connsiteY40" fmla="*/ 269405 h 337114"/>
                  <a:gd name="connsiteX41" fmla="*/ 27935 w 221166"/>
                  <a:gd name="connsiteY41" fmla="*/ 273151 h 337114"/>
                  <a:gd name="connsiteX42" fmla="*/ 37416 w 221166"/>
                  <a:gd name="connsiteY42" fmla="*/ 288876 h 337114"/>
                  <a:gd name="connsiteX43" fmla="*/ 37185 w 221166"/>
                  <a:gd name="connsiteY43" fmla="*/ 294749 h 337114"/>
                  <a:gd name="connsiteX44" fmla="*/ 33439 w 221166"/>
                  <a:gd name="connsiteY44" fmla="*/ 315654 h 337114"/>
                  <a:gd name="connsiteX45" fmla="*/ 33346 w 221166"/>
                  <a:gd name="connsiteY45" fmla="*/ 318476 h 337114"/>
                  <a:gd name="connsiteX46" fmla="*/ 33531 w 221166"/>
                  <a:gd name="connsiteY46" fmla="*/ 318383 h 337114"/>
                  <a:gd name="connsiteX47" fmla="*/ 40607 w 221166"/>
                  <a:gd name="connsiteY47" fmla="*/ 321806 h 337114"/>
                  <a:gd name="connsiteX48" fmla="*/ 79920 w 221166"/>
                  <a:gd name="connsiteY48" fmla="*/ 321806 h 337114"/>
                  <a:gd name="connsiteX49" fmla="*/ 79920 w 221166"/>
                  <a:gd name="connsiteY49" fmla="*/ 317412 h 337114"/>
                  <a:gd name="connsiteX50" fmla="*/ 131950 w 221166"/>
                  <a:gd name="connsiteY50" fmla="*/ 317412 h 337114"/>
                  <a:gd name="connsiteX51" fmla="*/ 137362 w 221166"/>
                  <a:gd name="connsiteY51" fmla="*/ 320881 h 337114"/>
                  <a:gd name="connsiteX52" fmla="*/ 175703 w 221166"/>
                  <a:gd name="connsiteY52" fmla="*/ 320881 h 337114"/>
                  <a:gd name="connsiteX53" fmla="*/ 185323 w 221166"/>
                  <a:gd name="connsiteY53" fmla="*/ 327263 h 337114"/>
                  <a:gd name="connsiteX54" fmla="*/ 192630 w 221166"/>
                  <a:gd name="connsiteY54" fmla="*/ 325135 h 337114"/>
                  <a:gd name="connsiteX55" fmla="*/ 195729 w 221166"/>
                  <a:gd name="connsiteY55" fmla="*/ 329205 h 337114"/>
                  <a:gd name="connsiteX56" fmla="*/ 203221 w 221166"/>
                  <a:gd name="connsiteY56" fmla="*/ 326107 h 337114"/>
                  <a:gd name="connsiteX57" fmla="*/ 216541 w 221166"/>
                  <a:gd name="connsiteY57" fmla="*/ 337114 h 337114"/>
                  <a:gd name="connsiteX58" fmla="*/ 221166 w 221166"/>
                  <a:gd name="connsiteY58" fmla="*/ 333460 h 337114"/>
                  <a:gd name="connsiteX59" fmla="*/ 217697 w 221166"/>
                  <a:gd name="connsiteY59" fmla="*/ 327078 h 337114"/>
                  <a:gd name="connsiteX60" fmla="*/ 217697 w 221166"/>
                  <a:gd name="connsiteY60" fmla="*/ 320141 h 337114"/>
                  <a:gd name="connsiteX61" fmla="*/ 216911 w 221166"/>
                  <a:gd name="connsiteY61" fmla="*/ 297201 h 337114"/>
                  <a:gd name="connsiteX62" fmla="*/ 206135 w 221166"/>
                  <a:gd name="connsiteY62" fmla="*/ 292206 h 33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1166" h="337114">
                    <a:moveTo>
                      <a:pt x="206181" y="292159"/>
                    </a:moveTo>
                    <a:lnTo>
                      <a:pt x="186895" y="268248"/>
                    </a:lnTo>
                    <a:lnTo>
                      <a:pt x="191520" y="266306"/>
                    </a:lnTo>
                    <a:lnTo>
                      <a:pt x="188838" y="256686"/>
                    </a:lnTo>
                    <a:lnTo>
                      <a:pt x="179588" y="252061"/>
                    </a:lnTo>
                    <a:lnTo>
                      <a:pt x="176119" y="218669"/>
                    </a:lnTo>
                    <a:lnTo>
                      <a:pt x="168395" y="205811"/>
                    </a:lnTo>
                    <a:lnTo>
                      <a:pt x="183519" y="195220"/>
                    </a:lnTo>
                    <a:lnTo>
                      <a:pt x="202481" y="164788"/>
                    </a:lnTo>
                    <a:lnTo>
                      <a:pt x="189763" y="133569"/>
                    </a:lnTo>
                    <a:lnTo>
                      <a:pt x="155630" y="104663"/>
                    </a:lnTo>
                    <a:lnTo>
                      <a:pt x="164880" y="91343"/>
                    </a:lnTo>
                    <a:lnTo>
                      <a:pt x="204747" y="93101"/>
                    </a:lnTo>
                    <a:lnTo>
                      <a:pt x="186803" y="61281"/>
                    </a:lnTo>
                    <a:lnTo>
                      <a:pt x="190271" y="31774"/>
                    </a:lnTo>
                    <a:lnTo>
                      <a:pt x="175240" y="555"/>
                    </a:lnTo>
                    <a:lnTo>
                      <a:pt x="158498" y="0"/>
                    </a:lnTo>
                    <a:lnTo>
                      <a:pt x="160255" y="21969"/>
                    </a:lnTo>
                    <a:lnTo>
                      <a:pt x="172373" y="28906"/>
                    </a:lnTo>
                    <a:lnTo>
                      <a:pt x="171031" y="49718"/>
                    </a:lnTo>
                    <a:lnTo>
                      <a:pt x="151745" y="55870"/>
                    </a:lnTo>
                    <a:lnTo>
                      <a:pt x="138240" y="95968"/>
                    </a:lnTo>
                    <a:lnTo>
                      <a:pt x="126123" y="107531"/>
                    </a:lnTo>
                    <a:lnTo>
                      <a:pt x="123255" y="127187"/>
                    </a:lnTo>
                    <a:lnTo>
                      <a:pt x="104941" y="139905"/>
                    </a:lnTo>
                    <a:lnTo>
                      <a:pt x="85469" y="193093"/>
                    </a:lnTo>
                    <a:lnTo>
                      <a:pt x="72381" y="198504"/>
                    </a:lnTo>
                    <a:lnTo>
                      <a:pt x="69513" y="184999"/>
                    </a:lnTo>
                    <a:lnTo>
                      <a:pt x="58506" y="177275"/>
                    </a:lnTo>
                    <a:lnTo>
                      <a:pt x="50227" y="185554"/>
                    </a:lnTo>
                    <a:lnTo>
                      <a:pt x="40006" y="180929"/>
                    </a:lnTo>
                    <a:lnTo>
                      <a:pt x="5874" y="213859"/>
                    </a:lnTo>
                    <a:lnTo>
                      <a:pt x="6845" y="229676"/>
                    </a:lnTo>
                    <a:lnTo>
                      <a:pt x="0" y="242904"/>
                    </a:lnTo>
                    <a:cubicBezTo>
                      <a:pt x="1896" y="243967"/>
                      <a:pt x="3052" y="245863"/>
                      <a:pt x="2729" y="245586"/>
                    </a:cubicBezTo>
                    <a:cubicBezTo>
                      <a:pt x="4902" y="248500"/>
                      <a:pt x="6475" y="245355"/>
                      <a:pt x="8417" y="247390"/>
                    </a:cubicBezTo>
                    <a:cubicBezTo>
                      <a:pt x="10406" y="249471"/>
                      <a:pt x="6660" y="251043"/>
                      <a:pt x="7909" y="254651"/>
                    </a:cubicBezTo>
                    <a:cubicBezTo>
                      <a:pt x="9065" y="257056"/>
                      <a:pt x="9342" y="261496"/>
                      <a:pt x="12904" y="263022"/>
                    </a:cubicBezTo>
                    <a:cubicBezTo>
                      <a:pt x="20766" y="266352"/>
                      <a:pt x="22986" y="267971"/>
                      <a:pt x="24744" y="265751"/>
                    </a:cubicBezTo>
                    <a:cubicBezTo>
                      <a:pt x="26362" y="263716"/>
                      <a:pt x="29785" y="266445"/>
                      <a:pt x="29322" y="266260"/>
                    </a:cubicBezTo>
                    <a:cubicBezTo>
                      <a:pt x="31589" y="267878"/>
                      <a:pt x="28582" y="269867"/>
                      <a:pt x="28906" y="269405"/>
                    </a:cubicBezTo>
                    <a:cubicBezTo>
                      <a:pt x="27704" y="270191"/>
                      <a:pt x="27241" y="271856"/>
                      <a:pt x="27935" y="273151"/>
                    </a:cubicBezTo>
                    <a:cubicBezTo>
                      <a:pt x="32514" y="281892"/>
                      <a:pt x="37740" y="289338"/>
                      <a:pt x="37416" y="288876"/>
                    </a:cubicBezTo>
                    <a:cubicBezTo>
                      <a:pt x="39127" y="291512"/>
                      <a:pt x="37092" y="295212"/>
                      <a:pt x="37185" y="294749"/>
                    </a:cubicBezTo>
                    <a:cubicBezTo>
                      <a:pt x="35427" y="298634"/>
                      <a:pt x="33346" y="316117"/>
                      <a:pt x="33439" y="315654"/>
                    </a:cubicBezTo>
                    <a:cubicBezTo>
                      <a:pt x="33300" y="316672"/>
                      <a:pt x="33300" y="317597"/>
                      <a:pt x="33346" y="318476"/>
                    </a:cubicBezTo>
                    <a:lnTo>
                      <a:pt x="33531" y="318383"/>
                    </a:lnTo>
                    <a:lnTo>
                      <a:pt x="40607" y="321806"/>
                    </a:lnTo>
                    <a:lnTo>
                      <a:pt x="79920" y="321806"/>
                    </a:lnTo>
                    <a:lnTo>
                      <a:pt x="79920" y="317412"/>
                    </a:lnTo>
                    <a:lnTo>
                      <a:pt x="131950" y="317412"/>
                    </a:lnTo>
                    <a:lnTo>
                      <a:pt x="137362" y="320881"/>
                    </a:lnTo>
                    <a:lnTo>
                      <a:pt x="175703" y="320881"/>
                    </a:lnTo>
                    <a:lnTo>
                      <a:pt x="185323" y="327263"/>
                    </a:lnTo>
                    <a:lnTo>
                      <a:pt x="192630" y="325135"/>
                    </a:lnTo>
                    <a:lnTo>
                      <a:pt x="195729" y="329205"/>
                    </a:lnTo>
                    <a:lnTo>
                      <a:pt x="203221" y="326107"/>
                    </a:lnTo>
                    <a:lnTo>
                      <a:pt x="216541" y="337114"/>
                    </a:lnTo>
                    <a:lnTo>
                      <a:pt x="221166" y="333460"/>
                    </a:lnTo>
                    <a:lnTo>
                      <a:pt x="217697" y="327078"/>
                    </a:lnTo>
                    <a:lnTo>
                      <a:pt x="217697" y="320141"/>
                    </a:lnTo>
                    <a:lnTo>
                      <a:pt x="216911" y="297201"/>
                    </a:lnTo>
                    <a:lnTo>
                      <a:pt x="206135" y="292206"/>
                    </a:lnTo>
                    <a:close/>
                  </a:path>
                </a:pathLst>
              </a:custGeom>
              <a:grpFill/>
              <a:ln w="4609" cap="flat">
                <a:noFill/>
                <a:prstDash val="solid"/>
                <a:miter/>
              </a:ln>
            </p:spPr>
            <p:txBody>
              <a:bodyPr rtlCol="0" anchor="ctr"/>
              <a:lstStyle/>
              <a:p>
                <a:endParaRPr lang="en-IN"/>
              </a:p>
            </p:txBody>
          </p:sp>
          <p:sp>
            <p:nvSpPr>
              <p:cNvPr id="129" name="Freeform: Shape 128">
                <a:extLst>
                  <a:ext uri="{FF2B5EF4-FFF2-40B4-BE49-F238E27FC236}">
                    <a16:creationId xmlns:a16="http://schemas.microsoft.com/office/drawing/2014/main" id="{20119254-9AE0-E012-3B0E-D8C9275703FD}"/>
                  </a:ext>
                </a:extLst>
              </p:cNvPr>
              <p:cNvSpPr/>
              <p:nvPr/>
            </p:nvSpPr>
            <p:spPr>
              <a:xfrm>
                <a:off x="6069920" y="4890678"/>
                <a:ext cx="6589" cy="5439"/>
              </a:xfrm>
              <a:custGeom>
                <a:avLst/>
                <a:gdLst>
                  <a:gd name="connsiteX0" fmla="*/ 4911 w 6589"/>
                  <a:gd name="connsiteY0" fmla="*/ 1231 h 5439"/>
                  <a:gd name="connsiteX1" fmla="*/ 8 w 6589"/>
                  <a:gd name="connsiteY1" fmla="*/ 2480 h 5439"/>
                  <a:gd name="connsiteX2" fmla="*/ 5096 w 6589"/>
                  <a:gd name="connsiteY2" fmla="*/ 5440 h 5439"/>
                  <a:gd name="connsiteX3" fmla="*/ 4911 w 6589"/>
                  <a:gd name="connsiteY3" fmla="*/ 1231 h 5439"/>
                </a:gdLst>
                <a:ahLst/>
                <a:cxnLst>
                  <a:cxn ang="0">
                    <a:pos x="connsiteX0" y="connsiteY0"/>
                  </a:cxn>
                  <a:cxn ang="0">
                    <a:pos x="connsiteX1" y="connsiteY1"/>
                  </a:cxn>
                  <a:cxn ang="0">
                    <a:pos x="connsiteX2" y="connsiteY2"/>
                  </a:cxn>
                  <a:cxn ang="0">
                    <a:pos x="connsiteX3" y="connsiteY3"/>
                  </a:cxn>
                </a:cxnLst>
                <a:rect l="l" t="t" r="r" b="b"/>
                <a:pathLst>
                  <a:path w="6589" h="5439">
                    <a:moveTo>
                      <a:pt x="4911" y="1231"/>
                    </a:moveTo>
                    <a:cubicBezTo>
                      <a:pt x="2783" y="-1590"/>
                      <a:pt x="-177" y="1138"/>
                      <a:pt x="8" y="2480"/>
                    </a:cubicBezTo>
                    <a:cubicBezTo>
                      <a:pt x="424" y="5625"/>
                      <a:pt x="4633" y="5347"/>
                      <a:pt x="5096" y="5440"/>
                    </a:cubicBezTo>
                    <a:cubicBezTo>
                      <a:pt x="8472" y="5440"/>
                      <a:pt x="5096" y="1693"/>
                      <a:pt x="4911" y="1231"/>
                    </a:cubicBezTo>
                    <a:close/>
                  </a:path>
                </a:pathLst>
              </a:custGeom>
              <a:grpFill/>
              <a:ln w="4609" cap="flat">
                <a:noFill/>
                <a:prstDash val="solid"/>
                <a:miter/>
              </a:ln>
            </p:spPr>
            <p:txBody>
              <a:bodyPr rtlCol="0" anchor="ctr"/>
              <a:lstStyle/>
              <a:p>
                <a:endParaRPr lang="en-IN"/>
              </a:p>
            </p:txBody>
          </p:sp>
        </p:grpSp>
        <p:sp>
          <p:nvSpPr>
            <p:cNvPr id="119" name="Freeform: Shape 118">
              <a:extLst>
                <a:ext uri="{FF2B5EF4-FFF2-40B4-BE49-F238E27FC236}">
                  <a16:creationId xmlns:a16="http://schemas.microsoft.com/office/drawing/2014/main" id="{D105D37F-8A76-EA66-E090-7B6744AB6F83}"/>
                </a:ext>
              </a:extLst>
            </p:cNvPr>
            <p:cNvSpPr/>
            <p:nvPr/>
          </p:nvSpPr>
          <p:spPr>
            <a:xfrm>
              <a:off x="6670157" y="5095916"/>
              <a:ext cx="53742" cy="59708"/>
            </a:xfrm>
            <a:custGeom>
              <a:avLst/>
              <a:gdLst>
                <a:gd name="connsiteX0" fmla="*/ 32930 w 53742"/>
                <a:gd name="connsiteY0" fmla="*/ 4301 h 59708"/>
                <a:gd name="connsiteX1" fmla="*/ 27056 w 53742"/>
                <a:gd name="connsiteY1" fmla="*/ 1341 h 59708"/>
                <a:gd name="connsiteX2" fmla="*/ 24651 w 53742"/>
                <a:gd name="connsiteY2" fmla="*/ 13690 h 59708"/>
                <a:gd name="connsiteX3" fmla="*/ 11933 w 53742"/>
                <a:gd name="connsiteY3" fmla="*/ 14800 h 59708"/>
                <a:gd name="connsiteX4" fmla="*/ 7539 w 53742"/>
                <a:gd name="connsiteY4" fmla="*/ 8186 h 59708"/>
                <a:gd name="connsiteX5" fmla="*/ 139 w 53742"/>
                <a:gd name="connsiteY5" fmla="*/ 10822 h 59708"/>
                <a:gd name="connsiteX6" fmla="*/ 0 w 53742"/>
                <a:gd name="connsiteY6" fmla="*/ 10961 h 59708"/>
                <a:gd name="connsiteX7" fmla="*/ 4579 w 53742"/>
                <a:gd name="connsiteY7" fmla="*/ 18685 h 59708"/>
                <a:gd name="connsiteX8" fmla="*/ 3238 w 53742"/>
                <a:gd name="connsiteY8" fmla="*/ 31126 h 59708"/>
                <a:gd name="connsiteX9" fmla="*/ 6799 w 53742"/>
                <a:gd name="connsiteY9" fmla="*/ 31357 h 59708"/>
                <a:gd name="connsiteX10" fmla="*/ 11239 w 53742"/>
                <a:gd name="connsiteY10" fmla="*/ 44353 h 59708"/>
                <a:gd name="connsiteX11" fmla="*/ 18824 w 53742"/>
                <a:gd name="connsiteY11" fmla="*/ 59708 h 59708"/>
                <a:gd name="connsiteX12" fmla="*/ 31496 w 53742"/>
                <a:gd name="connsiteY12" fmla="*/ 57488 h 59708"/>
                <a:gd name="connsiteX13" fmla="*/ 53465 w 53742"/>
                <a:gd name="connsiteY13" fmla="*/ 29184 h 59708"/>
                <a:gd name="connsiteX14" fmla="*/ 53742 w 53742"/>
                <a:gd name="connsiteY14" fmla="*/ 21090 h 59708"/>
                <a:gd name="connsiteX15" fmla="*/ 41625 w 53742"/>
                <a:gd name="connsiteY15" fmla="*/ 17621 h 59708"/>
                <a:gd name="connsiteX16" fmla="*/ 44816 w 53742"/>
                <a:gd name="connsiteY16" fmla="*/ 4024 h 59708"/>
                <a:gd name="connsiteX17" fmla="*/ 38480 w 53742"/>
                <a:gd name="connsiteY17" fmla="*/ 0 h 59708"/>
                <a:gd name="connsiteX18" fmla="*/ 32976 w 53742"/>
                <a:gd name="connsiteY18" fmla="*/ 4440 h 5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742" h="59708">
                  <a:moveTo>
                    <a:pt x="32930" y="4301"/>
                  </a:moveTo>
                  <a:lnTo>
                    <a:pt x="27056" y="1341"/>
                  </a:lnTo>
                  <a:lnTo>
                    <a:pt x="24651" y="13690"/>
                  </a:lnTo>
                  <a:lnTo>
                    <a:pt x="11933" y="14800"/>
                  </a:lnTo>
                  <a:lnTo>
                    <a:pt x="7539" y="8186"/>
                  </a:lnTo>
                  <a:lnTo>
                    <a:pt x="139" y="10822"/>
                  </a:lnTo>
                  <a:lnTo>
                    <a:pt x="0" y="10961"/>
                  </a:lnTo>
                  <a:lnTo>
                    <a:pt x="4579" y="18685"/>
                  </a:lnTo>
                  <a:lnTo>
                    <a:pt x="3238" y="31126"/>
                  </a:lnTo>
                  <a:lnTo>
                    <a:pt x="6799" y="31357"/>
                  </a:lnTo>
                  <a:cubicBezTo>
                    <a:pt x="11516" y="31635"/>
                    <a:pt x="8186" y="38665"/>
                    <a:pt x="11239" y="44353"/>
                  </a:cubicBezTo>
                  <a:cubicBezTo>
                    <a:pt x="16187" y="53742"/>
                    <a:pt x="18315" y="57118"/>
                    <a:pt x="18824" y="59708"/>
                  </a:cubicBezTo>
                  <a:lnTo>
                    <a:pt x="31496" y="57488"/>
                  </a:lnTo>
                  <a:lnTo>
                    <a:pt x="53465" y="29184"/>
                  </a:lnTo>
                  <a:lnTo>
                    <a:pt x="53742" y="21090"/>
                  </a:lnTo>
                  <a:lnTo>
                    <a:pt x="41625" y="17621"/>
                  </a:lnTo>
                  <a:lnTo>
                    <a:pt x="44816" y="4024"/>
                  </a:lnTo>
                  <a:lnTo>
                    <a:pt x="38480" y="0"/>
                  </a:lnTo>
                  <a:lnTo>
                    <a:pt x="32976" y="4440"/>
                  </a:lnTo>
                  <a:close/>
                </a:path>
              </a:pathLst>
            </a:custGeom>
            <a:grpFill/>
            <a:ln w="4609" cap="flat">
              <a:noFill/>
              <a:prstDash val="solid"/>
              <a:miter/>
            </a:ln>
          </p:spPr>
          <p:txBody>
            <a:bodyPr rtlCol="0" anchor="ctr"/>
            <a:lstStyle/>
            <a:p>
              <a:endParaRPr lang="en-IN"/>
            </a:p>
          </p:txBody>
        </p:sp>
        <p:sp>
          <p:nvSpPr>
            <p:cNvPr id="120" name="Freeform: Shape 119">
              <a:extLst>
                <a:ext uri="{FF2B5EF4-FFF2-40B4-BE49-F238E27FC236}">
                  <a16:creationId xmlns:a16="http://schemas.microsoft.com/office/drawing/2014/main" id="{D59553ED-3366-DC1E-48FF-DFD74D46EA95}"/>
                </a:ext>
              </a:extLst>
            </p:cNvPr>
            <p:cNvSpPr/>
            <p:nvPr/>
          </p:nvSpPr>
          <p:spPr>
            <a:xfrm>
              <a:off x="5663440" y="4585967"/>
              <a:ext cx="228519" cy="168811"/>
            </a:xfrm>
            <a:custGeom>
              <a:avLst/>
              <a:gdLst>
                <a:gd name="connsiteX0" fmla="*/ 225652 w 228519"/>
                <a:gd name="connsiteY0" fmla="*/ 77653 h 168811"/>
                <a:gd name="connsiteX1" fmla="*/ 218900 w 228519"/>
                <a:gd name="connsiteY1" fmla="*/ 69375 h 168811"/>
                <a:gd name="connsiteX2" fmla="*/ 205117 w 228519"/>
                <a:gd name="connsiteY2" fmla="*/ 72751 h 168811"/>
                <a:gd name="connsiteX3" fmla="*/ 188930 w 228519"/>
                <a:gd name="connsiteY3" fmla="*/ 62345 h 168811"/>
                <a:gd name="connsiteX4" fmla="*/ 188838 w 228519"/>
                <a:gd name="connsiteY4" fmla="*/ 54343 h 168811"/>
                <a:gd name="connsiteX5" fmla="*/ 196099 w 228519"/>
                <a:gd name="connsiteY5" fmla="*/ 51800 h 168811"/>
                <a:gd name="connsiteX6" fmla="*/ 177645 w 228519"/>
                <a:gd name="connsiteY6" fmla="*/ 39220 h 168811"/>
                <a:gd name="connsiteX7" fmla="*/ 165250 w 228519"/>
                <a:gd name="connsiteY7" fmla="*/ 18685 h 168811"/>
                <a:gd name="connsiteX8" fmla="*/ 167239 w 228519"/>
                <a:gd name="connsiteY8" fmla="*/ 2960 h 168811"/>
                <a:gd name="connsiteX9" fmla="*/ 142588 w 228519"/>
                <a:gd name="connsiteY9" fmla="*/ 0 h 168811"/>
                <a:gd name="connsiteX10" fmla="*/ 104247 w 228519"/>
                <a:gd name="connsiteY10" fmla="*/ 14661 h 168811"/>
                <a:gd name="connsiteX11" fmla="*/ 100778 w 228519"/>
                <a:gd name="connsiteY11" fmla="*/ 28536 h 168811"/>
                <a:gd name="connsiteX12" fmla="*/ 88614 w 228519"/>
                <a:gd name="connsiteY12" fmla="*/ 23911 h 168811"/>
                <a:gd name="connsiteX13" fmla="*/ 78208 w 228519"/>
                <a:gd name="connsiteY13" fmla="*/ 30849 h 168811"/>
                <a:gd name="connsiteX14" fmla="*/ 75526 w 228519"/>
                <a:gd name="connsiteY14" fmla="*/ 42411 h 168811"/>
                <a:gd name="connsiteX15" fmla="*/ 65536 w 228519"/>
                <a:gd name="connsiteY15" fmla="*/ 43937 h 168811"/>
                <a:gd name="connsiteX16" fmla="*/ 65490 w 228519"/>
                <a:gd name="connsiteY16" fmla="*/ 53603 h 168811"/>
                <a:gd name="connsiteX17" fmla="*/ 58182 w 228519"/>
                <a:gd name="connsiteY17" fmla="*/ 58228 h 168811"/>
                <a:gd name="connsiteX18" fmla="*/ 43151 w 228519"/>
                <a:gd name="connsiteY18" fmla="*/ 49348 h 168811"/>
                <a:gd name="connsiteX19" fmla="*/ 35057 w 228519"/>
                <a:gd name="connsiteY19" fmla="*/ 57442 h 168811"/>
                <a:gd name="connsiteX20" fmla="*/ 38526 w 228519"/>
                <a:gd name="connsiteY20" fmla="*/ 68218 h 168811"/>
                <a:gd name="connsiteX21" fmla="*/ 31219 w 228519"/>
                <a:gd name="connsiteY21" fmla="*/ 72843 h 168811"/>
                <a:gd name="connsiteX22" fmla="*/ 31959 w 228519"/>
                <a:gd name="connsiteY22" fmla="*/ 82093 h 168811"/>
                <a:gd name="connsiteX23" fmla="*/ 22709 w 228519"/>
                <a:gd name="connsiteY23" fmla="*/ 92129 h 168811"/>
                <a:gd name="connsiteX24" fmla="*/ 6937 w 228519"/>
                <a:gd name="connsiteY24" fmla="*/ 95598 h 168811"/>
                <a:gd name="connsiteX25" fmla="*/ 9620 w 228519"/>
                <a:gd name="connsiteY25" fmla="*/ 111786 h 168811"/>
                <a:gd name="connsiteX26" fmla="*/ 740 w 228519"/>
                <a:gd name="connsiteY26" fmla="*/ 120249 h 168811"/>
                <a:gd name="connsiteX27" fmla="*/ 0 w 228519"/>
                <a:gd name="connsiteY27" fmla="*/ 136853 h 168811"/>
                <a:gd name="connsiteX28" fmla="*/ 3330 w 228519"/>
                <a:gd name="connsiteY28" fmla="*/ 141940 h 168811"/>
                <a:gd name="connsiteX29" fmla="*/ 12210 w 228519"/>
                <a:gd name="connsiteY29" fmla="*/ 142680 h 168811"/>
                <a:gd name="connsiteX30" fmla="*/ 21784 w 228519"/>
                <a:gd name="connsiteY30" fmla="*/ 153919 h 168811"/>
                <a:gd name="connsiteX31" fmla="*/ 22015 w 228519"/>
                <a:gd name="connsiteY31" fmla="*/ 159932 h 168811"/>
                <a:gd name="connsiteX32" fmla="*/ 34225 w 228519"/>
                <a:gd name="connsiteY32" fmla="*/ 162799 h 168811"/>
                <a:gd name="connsiteX33" fmla="*/ 36861 w 228519"/>
                <a:gd name="connsiteY33" fmla="*/ 156786 h 168811"/>
                <a:gd name="connsiteX34" fmla="*/ 54112 w 228519"/>
                <a:gd name="connsiteY34" fmla="*/ 151283 h 168811"/>
                <a:gd name="connsiteX35" fmla="*/ 71132 w 228519"/>
                <a:gd name="connsiteY35" fmla="*/ 158729 h 168811"/>
                <a:gd name="connsiteX36" fmla="*/ 76913 w 228519"/>
                <a:gd name="connsiteY36" fmla="*/ 168811 h 168811"/>
                <a:gd name="connsiteX37" fmla="*/ 81955 w 228519"/>
                <a:gd name="connsiteY37" fmla="*/ 166129 h 168811"/>
                <a:gd name="connsiteX38" fmla="*/ 79781 w 228519"/>
                <a:gd name="connsiteY38" fmla="*/ 139304 h 168811"/>
                <a:gd name="connsiteX39" fmla="*/ 74508 w 228519"/>
                <a:gd name="connsiteY39" fmla="*/ 134540 h 168811"/>
                <a:gd name="connsiteX40" fmla="*/ 77607 w 228519"/>
                <a:gd name="connsiteY40" fmla="*/ 121822 h 168811"/>
                <a:gd name="connsiteX41" fmla="*/ 137177 w 228519"/>
                <a:gd name="connsiteY41" fmla="*/ 121035 h 168811"/>
                <a:gd name="connsiteX42" fmla="*/ 143837 w 228519"/>
                <a:gd name="connsiteY42" fmla="*/ 124227 h 168811"/>
                <a:gd name="connsiteX43" fmla="*/ 152532 w 228519"/>
                <a:gd name="connsiteY43" fmla="*/ 116688 h 168811"/>
                <a:gd name="connsiteX44" fmla="*/ 160625 w 228519"/>
                <a:gd name="connsiteY44" fmla="*/ 118446 h 168811"/>
                <a:gd name="connsiteX45" fmla="*/ 176813 w 228519"/>
                <a:gd name="connsiteY45" fmla="*/ 121914 h 168811"/>
                <a:gd name="connsiteX46" fmla="*/ 187681 w 228519"/>
                <a:gd name="connsiteY46" fmla="*/ 121128 h 168811"/>
                <a:gd name="connsiteX47" fmla="*/ 193278 w 228519"/>
                <a:gd name="connsiteY47" fmla="*/ 120758 h 168811"/>
                <a:gd name="connsiteX48" fmla="*/ 193833 w 228519"/>
                <a:gd name="connsiteY48" fmla="*/ 114098 h 168811"/>
                <a:gd name="connsiteX49" fmla="*/ 203406 w 228519"/>
                <a:gd name="connsiteY49" fmla="*/ 107438 h 168811"/>
                <a:gd name="connsiteX50" fmla="*/ 218437 w 228519"/>
                <a:gd name="connsiteY50" fmla="*/ 110028 h 168811"/>
                <a:gd name="connsiteX51" fmla="*/ 228520 w 228519"/>
                <a:gd name="connsiteY51" fmla="*/ 100223 h 168811"/>
                <a:gd name="connsiteX52" fmla="*/ 218114 w 228519"/>
                <a:gd name="connsiteY52" fmla="*/ 80937 h 168811"/>
                <a:gd name="connsiteX53" fmla="*/ 225652 w 228519"/>
                <a:gd name="connsiteY53" fmla="*/ 77653 h 16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28519" h="168811">
                  <a:moveTo>
                    <a:pt x="225652" y="77653"/>
                  </a:moveTo>
                  <a:lnTo>
                    <a:pt x="218900" y="69375"/>
                  </a:lnTo>
                  <a:lnTo>
                    <a:pt x="205117" y="72751"/>
                  </a:lnTo>
                  <a:lnTo>
                    <a:pt x="188930" y="62345"/>
                  </a:lnTo>
                  <a:lnTo>
                    <a:pt x="188838" y="54343"/>
                  </a:lnTo>
                  <a:lnTo>
                    <a:pt x="196099" y="51800"/>
                  </a:lnTo>
                  <a:lnTo>
                    <a:pt x="177645" y="39220"/>
                  </a:lnTo>
                  <a:lnTo>
                    <a:pt x="165250" y="18685"/>
                  </a:lnTo>
                  <a:lnTo>
                    <a:pt x="167239" y="2960"/>
                  </a:lnTo>
                  <a:lnTo>
                    <a:pt x="142588" y="0"/>
                  </a:lnTo>
                  <a:lnTo>
                    <a:pt x="104247" y="14661"/>
                  </a:lnTo>
                  <a:lnTo>
                    <a:pt x="100778" y="28536"/>
                  </a:lnTo>
                  <a:lnTo>
                    <a:pt x="88614" y="23911"/>
                  </a:lnTo>
                  <a:lnTo>
                    <a:pt x="78208" y="30849"/>
                  </a:lnTo>
                  <a:lnTo>
                    <a:pt x="75526" y="42411"/>
                  </a:lnTo>
                  <a:lnTo>
                    <a:pt x="65536" y="43937"/>
                  </a:lnTo>
                  <a:lnTo>
                    <a:pt x="65490" y="53603"/>
                  </a:lnTo>
                  <a:lnTo>
                    <a:pt x="58182" y="58228"/>
                  </a:lnTo>
                  <a:lnTo>
                    <a:pt x="43151" y="49348"/>
                  </a:lnTo>
                  <a:lnTo>
                    <a:pt x="35057" y="57442"/>
                  </a:lnTo>
                  <a:lnTo>
                    <a:pt x="38526" y="68218"/>
                  </a:lnTo>
                  <a:lnTo>
                    <a:pt x="31219" y="72843"/>
                  </a:lnTo>
                  <a:lnTo>
                    <a:pt x="31959" y="82093"/>
                  </a:lnTo>
                  <a:lnTo>
                    <a:pt x="22709" y="92129"/>
                  </a:lnTo>
                  <a:lnTo>
                    <a:pt x="6937" y="95598"/>
                  </a:lnTo>
                  <a:lnTo>
                    <a:pt x="9620" y="111786"/>
                  </a:lnTo>
                  <a:lnTo>
                    <a:pt x="740" y="120249"/>
                  </a:lnTo>
                  <a:lnTo>
                    <a:pt x="0" y="136853"/>
                  </a:lnTo>
                  <a:lnTo>
                    <a:pt x="3330" y="141940"/>
                  </a:lnTo>
                  <a:lnTo>
                    <a:pt x="12210" y="142680"/>
                  </a:lnTo>
                  <a:lnTo>
                    <a:pt x="21784" y="153919"/>
                  </a:lnTo>
                  <a:lnTo>
                    <a:pt x="22015" y="159932"/>
                  </a:lnTo>
                  <a:lnTo>
                    <a:pt x="34225" y="162799"/>
                  </a:lnTo>
                  <a:lnTo>
                    <a:pt x="36861" y="156786"/>
                  </a:lnTo>
                  <a:lnTo>
                    <a:pt x="54112" y="151283"/>
                  </a:lnTo>
                  <a:lnTo>
                    <a:pt x="71132" y="158729"/>
                  </a:lnTo>
                  <a:lnTo>
                    <a:pt x="76913" y="168811"/>
                  </a:lnTo>
                  <a:lnTo>
                    <a:pt x="81955" y="166129"/>
                  </a:lnTo>
                  <a:lnTo>
                    <a:pt x="79781" y="139304"/>
                  </a:lnTo>
                  <a:lnTo>
                    <a:pt x="74508" y="134540"/>
                  </a:lnTo>
                  <a:lnTo>
                    <a:pt x="77607" y="121822"/>
                  </a:lnTo>
                  <a:lnTo>
                    <a:pt x="137177" y="121035"/>
                  </a:lnTo>
                  <a:lnTo>
                    <a:pt x="143837" y="124227"/>
                  </a:lnTo>
                  <a:lnTo>
                    <a:pt x="152532" y="116688"/>
                  </a:lnTo>
                  <a:lnTo>
                    <a:pt x="160625" y="118446"/>
                  </a:lnTo>
                  <a:lnTo>
                    <a:pt x="176813" y="121914"/>
                  </a:lnTo>
                  <a:lnTo>
                    <a:pt x="187681" y="121128"/>
                  </a:lnTo>
                  <a:lnTo>
                    <a:pt x="193278" y="120758"/>
                  </a:lnTo>
                  <a:lnTo>
                    <a:pt x="193833" y="114098"/>
                  </a:lnTo>
                  <a:lnTo>
                    <a:pt x="203406" y="107438"/>
                  </a:lnTo>
                  <a:lnTo>
                    <a:pt x="218437" y="110028"/>
                  </a:lnTo>
                  <a:lnTo>
                    <a:pt x="228520" y="100223"/>
                  </a:lnTo>
                  <a:lnTo>
                    <a:pt x="218114" y="80937"/>
                  </a:lnTo>
                  <a:lnTo>
                    <a:pt x="225652" y="77653"/>
                  </a:lnTo>
                  <a:close/>
                </a:path>
              </a:pathLst>
            </a:custGeom>
            <a:grpFill/>
            <a:ln w="4609" cap="flat">
              <a:noFill/>
              <a:prstDash val="solid"/>
              <a:miter/>
            </a:ln>
          </p:spPr>
          <p:txBody>
            <a:bodyPr rtlCol="0" anchor="ctr"/>
            <a:lstStyle/>
            <a:p>
              <a:endParaRPr lang="en-IN"/>
            </a:p>
          </p:txBody>
        </p:sp>
        <p:sp>
          <p:nvSpPr>
            <p:cNvPr id="121" name="Freeform: Shape 120">
              <a:extLst>
                <a:ext uri="{FF2B5EF4-FFF2-40B4-BE49-F238E27FC236}">
                  <a16:creationId xmlns:a16="http://schemas.microsoft.com/office/drawing/2014/main" id="{8FE23ED5-485D-293B-649D-AEE87B6E8D7B}"/>
                </a:ext>
              </a:extLst>
            </p:cNvPr>
            <p:cNvSpPr/>
            <p:nvPr/>
          </p:nvSpPr>
          <p:spPr>
            <a:xfrm>
              <a:off x="6406488" y="5554528"/>
              <a:ext cx="272087" cy="278654"/>
            </a:xfrm>
            <a:custGeom>
              <a:avLst/>
              <a:gdLst>
                <a:gd name="connsiteX0" fmla="*/ 17344 w 272087"/>
                <a:gd name="connsiteY0" fmla="*/ 264780 h 278654"/>
                <a:gd name="connsiteX1" fmla="*/ 19656 w 272087"/>
                <a:gd name="connsiteY1" fmla="*/ 278655 h 278654"/>
                <a:gd name="connsiteX2" fmla="*/ 52031 w 272087"/>
                <a:gd name="connsiteY2" fmla="*/ 276897 h 278654"/>
                <a:gd name="connsiteX3" fmla="*/ 79226 w 272087"/>
                <a:gd name="connsiteY3" fmla="*/ 250905 h 278654"/>
                <a:gd name="connsiteX4" fmla="*/ 86163 w 272087"/>
                <a:gd name="connsiteY4" fmla="*/ 228335 h 278654"/>
                <a:gd name="connsiteX5" fmla="*/ 102351 w 272087"/>
                <a:gd name="connsiteY5" fmla="*/ 227780 h 278654"/>
                <a:gd name="connsiteX6" fmla="*/ 116226 w 272087"/>
                <a:gd name="connsiteY6" fmla="*/ 239342 h 278654"/>
                <a:gd name="connsiteX7" fmla="*/ 143975 w 272087"/>
                <a:gd name="connsiteY7" fmla="*/ 244522 h 278654"/>
                <a:gd name="connsiteX8" fmla="*/ 163632 w 272087"/>
                <a:gd name="connsiteY8" fmla="*/ 239342 h 278654"/>
                <a:gd name="connsiteX9" fmla="*/ 172881 w 272087"/>
                <a:gd name="connsiteY9" fmla="*/ 211592 h 278654"/>
                <a:gd name="connsiteX10" fmla="*/ 199475 w 272087"/>
                <a:gd name="connsiteY10" fmla="*/ 195405 h 278654"/>
                <a:gd name="connsiteX11" fmla="*/ 207153 w 272087"/>
                <a:gd name="connsiteY11" fmla="*/ 175518 h 278654"/>
                <a:gd name="connsiteX12" fmla="*/ 240684 w 272087"/>
                <a:gd name="connsiteY12" fmla="*/ 147213 h 278654"/>
                <a:gd name="connsiteX13" fmla="*/ 260062 w 272087"/>
                <a:gd name="connsiteY13" fmla="*/ 141940 h 278654"/>
                <a:gd name="connsiteX14" fmla="*/ 263855 w 272087"/>
                <a:gd name="connsiteY14" fmla="*/ 132367 h 278654"/>
                <a:gd name="connsiteX15" fmla="*/ 272087 w 272087"/>
                <a:gd name="connsiteY15" fmla="*/ 131164 h 278654"/>
                <a:gd name="connsiteX16" fmla="*/ 271717 w 272087"/>
                <a:gd name="connsiteY16" fmla="*/ 130655 h 278654"/>
                <a:gd name="connsiteX17" fmla="*/ 262097 w 272087"/>
                <a:gd name="connsiteY17" fmla="*/ 119093 h 278654"/>
                <a:gd name="connsiteX18" fmla="*/ 235134 w 272087"/>
                <a:gd name="connsiteY18" fmla="*/ 114098 h 278654"/>
                <a:gd name="connsiteX19" fmla="*/ 224727 w 272087"/>
                <a:gd name="connsiteY19" fmla="*/ 98651 h 278654"/>
                <a:gd name="connsiteX20" fmla="*/ 224311 w 272087"/>
                <a:gd name="connsiteY20" fmla="*/ 81307 h 278654"/>
                <a:gd name="connsiteX21" fmla="*/ 212749 w 272087"/>
                <a:gd name="connsiteY21" fmla="*/ 79411 h 278654"/>
                <a:gd name="connsiteX22" fmla="*/ 210066 w 272087"/>
                <a:gd name="connsiteY22" fmla="*/ 68218 h 278654"/>
                <a:gd name="connsiteX23" fmla="*/ 178478 w 272087"/>
                <a:gd name="connsiteY23" fmla="*/ 51661 h 278654"/>
                <a:gd name="connsiteX24" fmla="*/ 174223 w 272087"/>
                <a:gd name="connsiteY24" fmla="*/ 33531 h 278654"/>
                <a:gd name="connsiteX25" fmla="*/ 152624 w 272087"/>
                <a:gd name="connsiteY25" fmla="*/ 0 h 278654"/>
                <a:gd name="connsiteX26" fmla="*/ 132968 w 272087"/>
                <a:gd name="connsiteY26" fmla="*/ 10036 h 278654"/>
                <a:gd name="connsiteX27" fmla="*/ 124874 w 272087"/>
                <a:gd name="connsiteY27" fmla="*/ 5411 h 278654"/>
                <a:gd name="connsiteX28" fmla="*/ 103322 w 272087"/>
                <a:gd name="connsiteY28" fmla="*/ 21969 h 278654"/>
                <a:gd name="connsiteX29" fmla="*/ 95968 w 272087"/>
                <a:gd name="connsiteY29" fmla="*/ 8880 h 278654"/>
                <a:gd name="connsiteX30" fmla="*/ 30062 w 272087"/>
                <a:gd name="connsiteY30" fmla="*/ 19656 h 278654"/>
                <a:gd name="connsiteX31" fmla="*/ 30062 w 272087"/>
                <a:gd name="connsiteY31" fmla="*/ 127742 h 278654"/>
                <a:gd name="connsiteX32" fmla="*/ 0 w 272087"/>
                <a:gd name="connsiteY32" fmla="*/ 127742 h 278654"/>
                <a:gd name="connsiteX33" fmla="*/ 0 w 272087"/>
                <a:gd name="connsiteY33" fmla="*/ 212749 h 278654"/>
                <a:gd name="connsiteX34" fmla="*/ 26039 w 272087"/>
                <a:gd name="connsiteY34" fmla="*/ 250304 h 278654"/>
                <a:gd name="connsiteX35" fmla="*/ 17344 w 272087"/>
                <a:gd name="connsiteY35" fmla="*/ 264780 h 27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2087" h="278654">
                  <a:moveTo>
                    <a:pt x="17344" y="264780"/>
                  </a:moveTo>
                  <a:lnTo>
                    <a:pt x="19656" y="278655"/>
                  </a:lnTo>
                  <a:lnTo>
                    <a:pt x="52031" y="276897"/>
                  </a:lnTo>
                  <a:lnTo>
                    <a:pt x="79226" y="250905"/>
                  </a:lnTo>
                  <a:lnTo>
                    <a:pt x="86163" y="228335"/>
                  </a:lnTo>
                  <a:lnTo>
                    <a:pt x="102351" y="227780"/>
                  </a:lnTo>
                  <a:lnTo>
                    <a:pt x="116226" y="239342"/>
                  </a:lnTo>
                  <a:lnTo>
                    <a:pt x="143975" y="244522"/>
                  </a:lnTo>
                  <a:lnTo>
                    <a:pt x="163632" y="239342"/>
                  </a:lnTo>
                  <a:lnTo>
                    <a:pt x="172881" y="211592"/>
                  </a:lnTo>
                  <a:lnTo>
                    <a:pt x="199475" y="195405"/>
                  </a:lnTo>
                  <a:lnTo>
                    <a:pt x="207153" y="175518"/>
                  </a:lnTo>
                  <a:lnTo>
                    <a:pt x="240684" y="147213"/>
                  </a:lnTo>
                  <a:lnTo>
                    <a:pt x="260062" y="141940"/>
                  </a:lnTo>
                  <a:lnTo>
                    <a:pt x="263855" y="132367"/>
                  </a:lnTo>
                  <a:lnTo>
                    <a:pt x="272087" y="131164"/>
                  </a:lnTo>
                  <a:lnTo>
                    <a:pt x="271717" y="130655"/>
                  </a:lnTo>
                  <a:lnTo>
                    <a:pt x="262097" y="119093"/>
                  </a:lnTo>
                  <a:lnTo>
                    <a:pt x="235134" y="114098"/>
                  </a:lnTo>
                  <a:lnTo>
                    <a:pt x="224727" y="98651"/>
                  </a:lnTo>
                  <a:lnTo>
                    <a:pt x="224311" y="81307"/>
                  </a:lnTo>
                  <a:lnTo>
                    <a:pt x="212749" y="79411"/>
                  </a:lnTo>
                  <a:lnTo>
                    <a:pt x="210066" y="68218"/>
                  </a:lnTo>
                  <a:lnTo>
                    <a:pt x="178478" y="51661"/>
                  </a:lnTo>
                  <a:lnTo>
                    <a:pt x="174223" y="33531"/>
                  </a:lnTo>
                  <a:lnTo>
                    <a:pt x="152624" y="0"/>
                  </a:lnTo>
                  <a:lnTo>
                    <a:pt x="132968" y="10036"/>
                  </a:lnTo>
                  <a:lnTo>
                    <a:pt x="124874" y="5411"/>
                  </a:lnTo>
                  <a:lnTo>
                    <a:pt x="103322" y="21969"/>
                  </a:lnTo>
                  <a:lnTo>
                    <a:pt x="95968" y="8880"/>
                  </a:lnTo>
                  <a:lnTo>
                    <a:pt x="30062" y="19656"/>
                  </a:lnTo>
                  <a:lnTo>
                    <a:pt x="30062" y="127742"/>
                  </a:lnTo>
                  <a:lnTo>
                    <a:pt x="0" y="127742"/>
                  </a:lnTo>
                  <a:lnTo>
                    <a:pt x="0" y="212749"/>
                  </a:lnTo>
                  <a:lnTo>
                    <a:pt x="26039" y="250304"/>
                  </a:lnTo>
                  <a:lnTo>
                    <a:pt x="17344" y="264780"/>
                  </a:lnTo>
                  <a:close/>
                </a:path>
              </a:pathLst>
            </a:custGeom>
            <a:grpFill/>
            <a:ln w="4609" cap="flat">
              <a:noFill/>
              <a:prstDash val="solid"/>
              <a:miter/>
            </a:ln>
          </p:spPr>
          <p:txBody>
            <a:bodyPr rtlCol="0" anchor="ctr"/>
            <a:lstStyle/>
            <a:p>
              <a:endParaRPr lang="en-IN"/>
            </a:p>
          </p:txBody>
        </p:sp>
        <p:sp>
          <p:nvSpPr>
            <p:cNvPr id="122" name="Freeform: Shape 121">
              <a:extLst>
                <a:ext uri="{FF2B5EF4-FFF2-40B4-BE49-F238E27FC236}">
                  <a16:creationId xmlns:a16="http://schemas.microsoft.com/office/drawing/2014/main" id="{90D53D14-E46C-E56A-2A62-5F8C48CF8468}"/>
                </a:ext>
              </a:extLst>
            </p:cNvPr>
            <p:cNvSpPr/>
            <p:nvPr/>
          </p:nvSpPr>
          <p:spPr>
            <a:xfrm>
              <a:off x="5850335" y="4666302"/>
              <a:ext cx="87088" cy="178015"/>
            </a:xfrm>
            <a:custGeom>
              <a:avLst/>
              <a:gdLst>
                <a:gd name="connsiteX0" fmla="*/ 55500 w 87088"/>
                <a:gd name="connsiteY0" fmla="*/ 98512 h 178015"/>
                <a:gd name="connsiteX1" fmla="*/ 65906 w 87088"/>
                <a:gd name="connsiteY1" fmla="*/ 95829 h 178015"/>
                <a:gd name="connsiteX2" fmla="*/ 87088 w 87088"/>
                <a:gd name="connsiteY2" fmla="*/ 51522 h 178015"/>
                <a:gd name="connsiteX3" fmla="*/ 74000 w 87088"/>
                <a:gd name="connsiteY3" fmla="*/ 31496 h 178015"/>
                <a:gd name="connsiteX4" fmla="*/ 76867 w 87088"/>
                <a:gd name="connsiteY4" fmla="*/ 20812 h 178015"/>
                <a:gd name="connsiteX5" fmla="*/ 56610 w 87088"/>
                <a:gd name="connsiteY5" fmla="*/ 0 h 178015"/>
                <a:gd name="connsiteX6" fmla="*/ 44492 w 87088"/>
                <a:gd name="connsiteY6" fmla="*/ 4625 h 178015"/>
                <a:gd name="connsiteX7" fmla="*/ 46805 w 87088"/>
                <a:gd name="connsiteY7" fmla="*/ 11007 h 178015"/>
                <a:gd name="connsiteX8" fmla="*/ 41625 w 87088"/>
                <a:gd name="connsiteY8" fmla="*/ 19980 h 178015"/>
                <a:gd name="connsiteX9" fmla="*/ 31496 w 87088"/>
                <a:gd name="connsiteY9" fmla="*/ 29785 h 178015"/>
                <a:gd name="connsiteX10" fmla="*/ 16465 w 87088"/>
                <a:gd name="connsiteY10" fmla="*/ 27195 h 178015"/>
                <a:gd name="connsiteX11" fmla="*/ 6937 w 87088"/>
                <a:gd name="connsiteY11" fmla="*/ 33855 h 178015"/>
                <a:gd name="connsiteX12" fmla="*/ 6382 w 87088"/>
                <a:gd name="connsiteY12" fmla="*/ 40515 h 178015"/>
                <a:gd name="connsiteX13" fmla="*/ 786 w 87088"/>
                <a:gd name="connsiteY13" fmla="*/ 40885 h 178015"/>
                <a:gd name="connsiteX14" fmla="*/ 786 w 87088"/>
                <a:gd name="connsiteY14" fmla="*/ 41162 h 178015"/>
                <a:gd name="connsiteX15" fmla="*/ 0 w 87088"/>
                <a:gd name="connsiteY15" fmla="*/ 62483 h 178015"/>
                <a:gd name="connsiteX16" fmla="*/ 13921 w 87088"/>
                <a:gd name="connsiteY16" fmla="*/ 71225 h 178015"/>
                <a:gd name="connsiteX17" fmla="*/ 12765 w 87088"/>
                <a:gd name="connsiteY17" fmla="*/ 87597 h 178015"/>
                <a:gd name="connsiteX18" fmla="*/ 22015 w 87088"/>
                <a:gd name="connsiteY18" fmla="*/ 98604 h 178015"/>
                <a:gd name="connsiteX19" fmla="*/ 22755 w 87088"/>
                <a:gd name="connsiteY19" fmla="*/ 178015 h 178015"/>
                <a:gd name="connsiteX20" fmla="*/ 41625 w 87088"/>
                <a:gd name="connsiteY20" fmla="*/ 173945 h 178015"/>
                <a:gd name="connsiteX21" fmla="*/ 54390 w 87088"/>
                <a:gd name="connsiteY21" fmla="*/ 173020 h 178015"/>
                <a:gd name="connsiteX22" fmla="*/ 54390 w 87088"/>
                <a:gd name="connsiteY22" fmla="*/ 173020 h 178015"/>
                <a:gd name="connsiteX23" fmla="*/ 55546 w 87088"/>
                <a:gd name="connsiteY23" fmla="*/ 98604 h 178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088" h="178015">
                  <a:moveTo>
                    <a:pt x="55500" y="98512"/>
                  </a:moveTo>
                  <a:lnTo>
                    <a:pt x="65906" y="95829"/>
                  </a:lnTo>
                  <a:lnTo>
                    <a:pt x="87088" y="51522"/>
                  </a:lnTo>
                  <a:lnTo>
                    <a:pt x="74000" y="31496"/>
                  </a:lnTo>
                  <a:lnTo>
                    <a:pt x="76867" y="20812"/>
                  </a:lnTo>
                  <a:lnTo>
                    <a:pt x="56610" y="0"/>
                  </a:lnTo>
                  <a:lnTo>
                    <a:pt x="44492" y="4625"/>
                  </a:lnTo>
                  <a:lnTo>
                    <a:pt x="46805" y="11007"/>
                  </a:lnTo>
                  <a:lnTo>
                    <a:pt x="41625" y="19980"/>
                  </a:lnTo>
                  <a:lnTo>
                    <a:pt x="31496" y="29785"/>
                  </a:lnTo>
                  <a:lnTo>
                    <a:pt x="16465" y="27195"/>
                  </a:lnTo>
                  <a:lnTo>
                    <a:pt x="6937" y="33855"/>
                  </a:lnTo>
                  <a:lnTo>
                    <a:pt x="6382" y="40515"/>
                  </a:lnTo>
                  <a:lnTo>
                    <a:pt x="786" y="40885"/>
                  </a:lnTo>
                  <a:lnTo>
                    <a:pt x="786" y="41162"/>
                  </a:lnTo>
                  <a:cubicBezTo>
                    <a:pt x="786" y="41162"/>
                    <a:pt x="0" y="62483"/>
                    <a:pt x="0" y="62483"/>
                  </a:cubicBezTo>
                  <a:lnTo>
                    <a:pt x="13921" y="71225"/>
                  </a:lnTo>
                  <a:lnTo>
                    <a:pt x="12765" y="87597"/>
                  </a:lnTo>
                  <a:lnTo>
                    <a:pt x="22015" y="98604"/>
                  </a:lnTo>
                  <a:lnTo>
                    <a:pt x="22755" y="178015"/>
                  </a:lnTo>
                  <a:cubicBezTo>
                    <a:pt x="38804" y="174176"/>
                    <a:pt x="38988" y="174176"/>
                    <a:pt x="41625" y="173945"/>
                  </a:cubicBezTo>
                  <a:cubicBezTo>
                    <a:pt x="46573" y="173575"/>
                    <a:pt x="50736" y="173298"/>
                    <a:pt x="54390" y="173020"/>
                  </a:cubicBezTo>
                  <a:lnTo>
                    <a:pt x="54390" y="173020"/>
                  </a:lnTo>
                  <a:cubicBezTo>
                    <a:pt x="54390" y="173020"/>
                    <a:pt x="55546" y="98604"/>
                    <a:pt x="55546" y="98604"/>
                  </a:cubicBezTo>
                  <a:close/>
                </a:path>
              </a:pathLst>
            </a:custGeom>
            <a:grpFill/>
            <a:ln w="4609" cap="flat">
              <a:noFill/>
              <a:prstDash val="solid"/>
              <a:miter/>
            </a:ln>
          </p:spPr>
          <p:txBody>
            <a:bodyPr rtlCol="0" anchor="ctr"/>
            <a:lstStyle/>
            <a:p>
              <a:endParaRPr lang="en-IN"/>
            </a:p>
          </p:txBody>
        </p:sp>
        <p:sp>
          <p:nvSpPr>
            <p:cNvPr id="123" name="Freeform: Shape 122">
              <a:extLst>
                <a:ext uri="{FF2B5EF4-FFF2-40B4-BE49-F238E27FC236}">
                  <a16:creationId xmlns:a16="http://schemas.microsoft.com/office/drawing/2014/main" id="{9BDFF7E7-20F1-915A-DD1A-BE029D683D65}"/>
                </a:ext>
              </a:extLst>
            </p:cNvPr>
            <p:cNvSpPr/>
            <p:nvPr/>
          </p:nvSpPr>
          <p:spPr>
            <a:xfrm>
              <a:off x="5402038" y="5257049"/>
              <a:ext cx="7313" cy="7197"/>
            </a:xfrm>
            <a:custGeom>
              <a:avLst/>
              <a:gdLst>
                <a:gd name="connsiteX0" fmla="*/ 461 w 7313"/>
                <a:gd name="connsiteY0" fmla="*/ 3516 h 7197"/>
                <a:gd name="connsiteX1" fmla="*/ 183 w 7313"/>
                <a:gd name="connsiteY1" fmla="*/ 4348 h 7197"/>
                <a:gd name="connsiteX2" fmla="*/ 4669 w 7313"/>
                <a:gd name="connsiteY2" fmla="*/ 7077 h 7197"/>
                <a:gd name="connsiteX3" fmla="*/ 7259 w 7313"/>
                <a:gd name="connsiteY3" fmla="*/ 3793 h 7197"/>
                <a:gd name="connsiteX4" fmla="*/ 7028 w 7313"/>
                <a:gd name="connsiteY4" fmla="*/ 2637 h 7197"/>
                <a:gd name="connsiteX5" fmla="*/ 461 w 7313"/>
                <a:gd name="connsiteY5" fmla="*/ 3516 h 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13" h="7197">
                  <a:moveTo>
                    <a:pt x="461" y="3516"/>
                  </a:moveTo>
                  <a:lnTo>
                    <a:pt x="183" y="4348"/>
                  </a:lnTo>
                  <a:cubicBezTo>
                    <a:pt x="-1019" y="8233"/>
                    <a:pt x="4068" y="6984"/>
                    <a:pt x="4669" y="7077"/>
                  </a:cubicBezTo>
                  <a:cubicBezTo>
                    <a:pt x="6427" y="6984"/>
                    <a:pt x="7583" y="5505"/>
                    <a:pt x="7259" y="3793"/>
                  </a:cubicBezTo>
                  <a:lnTo>
                    <a:pt x="7028" y="2637"/>
                  </a:lnTo>
                  <a:cubicBezTo>
                    <a:pt x="6242" y="-1479"/>
                    <a:pt x="1709" y="-462"/>
                    <a:pt x="461" y="3516"/>
                  </a:cubicBezTo>
                  <a:close/>
                </a:path>
              </a:pathLst>
            </a:custGeom>
            <a:grpFill/>
            <a:ln w="4609" cap="flat">
              <a:noFill/>
              <a:prstDash val="solid"/>
              <a:miter/>
            </a:ln>
          </p:spPr>
          <p:txBody>
            <a:bodyPr rtlCol="0" anchor="ctr"/>
            <a:lstStyle/>
            <a:p>
              <a:endParaRPr lang="en-IN"/>
            </a:p>
          </p:txBody>
        </p:sp>
        <p:grpSp>
          <p:nvGrpSpPr>
            <p:cNvPr id="124" name="Graphic 36">
              <a:extLst>
                <a:ext uri="{FF2B5EF4-FFF2-40B4-BE49-F238E27FC236}">
                  <a16:creationId xmlns:a16="http://schemas.microsoft.com/office/drawing/2014/main" id="{3F93B4FE-7592-BA6F-7E13-DE45A9B309B7}"/>
                </a:ext>
              </a:extLst>
            </p:cNvPr>
            <p:cNvGrpSpPr/>
            <p:nvPr/>
          </p:nvGrpSpPr>
          <p:grpSpPr>
            <a:xfrm>
              <a:off x="6165767" y="5155254"/>
              <a:ext cx="360460" cy="402696"/>
              <a:chOff x="6165767" y="5155254"/>
              <a:chExt cx="360460" cy="402696"/>
            </a:xfrm>
            <a:grpFill/>
          </p:grpSpPr>
          <p:sp>
            <p:nvSpPr>
              <p:cNvPr id="126" name="Freeform: Shape 125">
                <a:extLst>
                  <a:ext uri="{FF2B5EF4-FFF2-40B4-BE49-F238E27FC236}">
                    <a16:creationId xmlns:a16="http://schemas.microsoft.com/office/drawing/2014/main" id="{E1169135-BDE3-06CF-A821-1691CBE76A0D}"/>
                  </a:ext>
                </a:extLst>
              </p:cNvPr>
              <p:cNvSpPr/>
              <p:nvPr/>
            </p:nvSpPr>
            <p:spPr>
              <a:xfrm>
                <a:off x="6165767" y="5199746"/>
                <a:ext cx="360460" cy="358204"/>
              </a:xfrm>
              <a:custGeom>
                <a:avLst/>
                <a:gdLst>
                  <a:gd name="connsiteX0" fmla="*/ 304823 w 360460"/>
                  <a:gd name="connsiteY0" fmla="*/ 316996 h 358204"/>
                  <a:gd name="connsiteX1" fmla="*/ 304823 w 360460"/>
                  <a:gd name="connsiteY1" fmla="*/ 308393 h 358204"/>
                  <a:gd name="connsiteX2" fmla="*/ 299550 w 360460"/>
                  <a:gd name="connsiteY2" fmla="*/ 303121 h 358204"/>
                  <a:gd name="connsiteX3" fmla="*/ 299550 w 360460"/>
                  <a:gd name="connsiteY3" fmla="*/ 211084 h 358204"/>
                  <a:gd name="connsiteX4" fmla="*/ 358426 w 360460"/>
                  <a:gd name="connsiteY4" fmla="*/ 211084 h 358204"/>
                  <a:gd name="connsiteX5" fmla="*/ 354865 w 360460"/>
                  <a:gd name="connsiteY5" fmla="*/ 202204 h 358204"/>
                  <a:gd name="connsiteX6" fmla="*/ 360461 w 360460"/>
                  <a:gd name="connsiteY6" fmla="*/ 190965 h 358204"/>
                  <a:gd name="connsiteX7" fmla="*/ 356391 w 360460"/>
                  <a:gd name="connsiteY7" fmla="*/ 184768 h 358204"/>
                  <a:gd name="connsiteX8" fmla="*/ 356391 w 360460"/>
                  <a:gd name="connsiteY8" fmla="*/ 146242 h 358204"/>
                  <a:gd name="connsiteX9" fmla="*/ 351350 w 360460"/>
                  <a:gd name="connsiteY9" fmla="*/ 152023 h 358204"/>
                  <a:gd name="connsiteX10" fmla="*/ 340574 w 360460"/>
                  <a:gd name="connsiteY10" fmla="*/ 149340 h 358204"/>
                  <a:gd name="connsiteX11" fmla="*/ 334006 w 360460"/>
                  <a:gd name="connsiteY11" fmla="*/ 155122 h 358204"/>
                  <a:gd name="connsiteX12" fmla="*/ 317079 w 360460"/>
                  <a:gd name="connsiteY12" fmla="*/ 153179 h 358204"/>
                  <a:gd name="connsiteX13" fmla="*/ 308615 w 360460"/>
                  <a:gd name="connsiteY13" fmla="*/ 161273 h 358204"/>
                  <a:gd name="connsiteX14" fmla="*/ 302464 w 360460"/>
                  <a:gd name="connsiteY14" fmla="*/ 147768 h 358204"/>
                  <a:gd name="connsiteX15" fmla="*/ 309031 w 360460"/>
                  <a:gd name="connsiteY15" fmla="*/ 142773 h 358204"/>
                  <a:gd name="connsiteX16" fmla="*/ 304036 w 360460"/>
                  <a:gd name="connsiteY16" fmla="*/ 120018 h 358204"/>
                  <a:gd name="connsiteX17" fmla="*/ 292844 w 360460"/>
                  <a:gd name="connsiteY17" fmla="*/ 109242 h 358204"/>
                  <a:gd name="connsiteX18" fmla="*/ 297469 w 360460"/>
                  <a:gd name="connsiteY18" fmla="*/ 76497 h 358204"/>
                  <a:gd name="connsiteX19" fmla="*/ 290162 w 360460"/>
                  <a:gd name="connsiteY19" fmla="*/ 62622 h 358204"/>
                  <a:gd name="connsiteX20" fmla="*/ 294463 w 360460"/>
                  <a:gd name="connsiteY20" fmla="*/ 42226 h 358204"/>
                  <a:gd name="connsiteX21" fmla="*/ 255752 w 360460"/>
                  <a:gd name="connsiteY21" fmla="*/ 41902 h 358204"/>
                  <a:gd name="connsiteX22" fmla="*/ 259452 w 360460"/>
                  <a:gd name="connsiteY22" fmla="*/ 31450 h 358204"/>
                  <a:gd name="connsiteX23" fmla="*/ 226152 w 360460"/>
                  <a:gd name="connsiteY23" fmla="*/ 34132 h 358204"/>
                  <a:gd name="connsiteX24" fmla="*/ 228187 w 360460"/>
                  <a:gd name="connsiteY24" fmla="*/ 48932 h 358204"/>
                  <a:gd name="connsiteX25" fmla="*/ 222822 w 360460"/>
                  <a:gd name="connsiteY25" fmla="*/ 61743 h 358204"/>
                  <a:gd name="connsiteX26" fmla="*/ 199281 w 360460"/>
                  <a:gd name="connsiteY26" fmla="*/ 61743 h 358204"/>
                  <a:gd name="connsiteX27" fmla="*/ 171022 w 360460"/>
                  <a:gd name="connsiteY27" fmla="*/ 67108 h 358204"/>
                  <a:gd name="connsiteX28" fmla="*/ 151597 w 360460"/>
                  <a:gd name="connsiteY28" fmla="*/ 36352 h 358204"/>
                  <a:gd name="connsiteX29" fmla="*/ 144336 w 360460"/>
                  <a:gd name="connsiteY29" fmla="*/ 15956 h 358204"/>
                  <a:gd name="connsiteX30" fmla="*/ 141145 w 360460"/>
                  <a:gd name="connsiteY30" fmla="*/ 648 h 358204"/>
                  <a:gd name="connsiteX31" fmla="*/ 43465 w 360460"/>
                  <a:gd name="connsiteY31" fmla="*/ 0 h 358204"/>
                  <a:gd name="connsiteX32" fmla="*/ 22607 w 360460"/>
                  <a:gd name="connsiteY32" fmla="*/ 8926 h 358204"/>
                  <a:gd name="connsiteX33" fmla="*/ 21682 w 360460"/>
                  <a:gd name="connsiteY33" fmla="*/ 9527 h 358204"/>
                  <a:gd name="connsiteX34" fmla="*/ 20433 w 360460"/>
                  <a:gd name="connsiteY34" fmla="*/ 10082 h 358204"/>
                  <a:gd name="connsiteX35" fmla="*/ 19554 w 360460"/>
                  <a:gd name="connsiteY35" fmla="*/ 13227 h 358204"/>
                  <a:gd name="connsiteX36" fmla="*/ 30053 w 360460"/>
                  <a:gd name="connsiteY36" fmla="*/ 27750 h 358204"/>
                  <a:gd name="connsiteX37" fmla="*/ 33892 w 360460"/>
                  <a:gd name="connsiteY37" fmla="*/ 43382 h 358204"/>
                  <a:gd name="connsiteX38" fmla="*/ 47350 w 360460"/>
                  <a:gd name="connsiteY38" fmla="*/ 70670 h 358204"/>
                  <a:gd name="connsiteX39" fmla="*/ 49062 w 360460"/>
                  <a:gd name="connsiteY39" fmla="*/ 79642 h 358204"/>
                  <a:gd name="connsiteX40" fmla="*/ 45685 w 360460"/>
                  <a:gd name="connsiteY40" fmla="*/ 82926 h 358204"/>
                  <a:gd name="connsiteX41" fmla="*/ 41523 w 360460"/>
                  <a:gd name="connsiteY41" fmla="*/ 85470 h 358204"/>
                  <a:gd name="connsiteX42" fmla="*/ 37869 w 360460"/>
                  <a:gd name="connsiteY42" fmla="*/ 94164 h 358204"/>
                  <a:gd name="connsiteX43" fmla="*/ 40691 w 360460"/>
                  <a:gd name="connsiteY43" fmla="*/ 99206 h 358204"/>
                  <a:gd name="connsiteX44" fmla="*/ 47350 w 360460"/>
                  <a:gd name="connsiteY44" fmla="*/ 121359 h 358204"/>
                  <a:gd name="connsiteX45" fmla="*/ 57017 w 360460"/>
                  <a:gd name="connsiteY45" fmla="*/ 134818 h 358204"/>
                  <a:gd name="connsiteX46" fmla="*/ 58312 w 360460"/>
                  <a:gd name="connsiteY46" fmla="*/ 140137 h 358204"/>
                  <a:gd name="connsiteX47" fmla="*/ 61410 w 360460"/>
                  <a:gd name="connsiteY47" fmla="*/ 148230 h 358204"/>
                  <a:gd name="connsiteX48" fmla="*/ 62197 w 360460"/>
                  <a:gd name="connsiteY48" fmla="*/ 153040 h 358204"/>
                  <a:gd name="connsiteX49" fmla="*/ 59838 w 360460"/>
                  <a:gd name="connsiteY49" fmla="*/ 163724 h 358204"/>
                  <a:gd name="connsiteX50" fmla="*/ 59237 w 360460"/>
                  <a:gd name="connsiteY50" fmla="*/ 179773 h 358204"/>
                  <a:gd name="connsiteX51" fmla="*/ 48275 w 360460"/>
                  <a:gd name="connsiteY51" fmla="*/ 197486 h 358204"/>
                  <a:gd name="connsiteX52" fmla="*/ 35233 w 360460"/>
                  <a:gd name="connsiteY52" fmla="*/ 206412 h 358204"/>
                  <a:gd name="connsiteX53" fmla="*/ 32551 w 360460"/>
                  <a:gd name="connsiteY53" fmla="*/ 214321 h 358204"/>
                  <a:gd name="connsiteX54" fmla="*/ 22746 w 360460"/>
                  <a:gd name="connsiteY54" fmla="*/ 226670 h 358204"/>
                  <a:gd name="connsiteX55" fmla="*/ 22422 w 360460"/>
                  <a:gd name="connsiteY55" fmla="*/ 234162 h 358204"/>
                  <a:gd name="connsiteX56" fmla="*/ 9102 w 360460"/>
                  <a:gd name="connsiteY56" fmla="*/ 285129 h 358204"/>
                  <a:gd name="connsiteX57" fmla="*/ 37 w 360460"/>
                  <a:gd name="connsiteY57" fmla="*/ 298357 h 358204"/>
                  <a:gd name="connsiteX58" fmla="*/ 1656 w 360460"/>
                  <a:gd name="connsiteY58" fmla="*/ 311723 h 358204"/>
                  <a:gd name="connsiteX59" fmla="*/ 1240 w 360460"/>
                  <a:gd name="connsiteY59" fmla="*/ 335773 h 358204"/>
                  <a:gd name="connsiteX60" fmla="*/ 39581 w 360460"/>
                  <a:gd name="connsiteY60" fmla="*/ 326384 h 358204"/>
                  <a:gd name="connsiteX61" fmla="*/ 65573 w 360460"/>
                  <a:gd name="connsiteY61" fmla="*/ 342017 h 358204"/>
                  <a:gd name="connsiteX62" fmla="*/ 193315 w 360460"/>
                  <a:gd name="connsiteY62" fmla="*/ 342017 h 358204"/>
                  <a:gd name="connsiteX63" fmla="*/ 210658 w 360460"/>
                  <a:gd name="connsiteY63" fmla="*/ 355337 h 358204"/>
                  <a:gd name="connsiteX64" fmla="*/ 280033 w 360460"/>
                  <a:gd name="connsiteY64" fmla="*/ 358204 h 358204"/>
                  <a:gd name="connsiteX65" fmla="*/ 334885 w 360460"/>
                  <a:gd name="connsiteY65" fmla="*/ 347012 h 358204"/>
                  <a:gd name="connsiteX66" fmla="*/ 334885 w 360460"/>
                  <a:gd name="connsiteY66" fmla="*/ 347012 h 358204"/>
                  <a:gd name="connsiteX67" fmla="*/ 304823 w 360460"/>
                  <a:gd name="connsiteY67" fmla="*/ 316996 h 35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60460" h="358204">
                    <a:moveTo>
                      <a:pt x="304823" y="316996"/>
                    </a:moveTo>
                    <a:lnTo>
                      <a:pt x="304823" y="308393"/>
                    </a:lnTo>
                    <a:lnTo>
                      <a:pt x="299550" y="303121"/>
                    </a:lnTo>
                    <a:lnTo>
                      <a:pt x="299550" y="211084"/>
                    </a:lnTo>
                    <a:lnTo>
                      <a:pt x="358426" y="211084"/>
                    </a:lnTo>
                    <a:lnTo>
                      <a:pt x="354865" y="202204"/>
                    </a:lnTo>
                    <a:lnTo>
                      <a:pt x="360461" y="190965"/>
                    </a:lnTo>
                    <a:lnTo>
                      <a:pt x="356391" y="184768"/>
                    </a:lnTo>
                    <a:lnTo>
                      <a:pt x="356391" y="146242"/>
                    </a:lnTo>
                    <a:lnTo>
                      <a:pt x="351350" y="152023"/>
                    </a:lnTo>
                    <a:lnTo>
                      <a:pt x="340574" y="149340"/>
                    </a:lnTo>
                    <a:lnTo>
                      <a:pt x="334006" y="155122"/>
                    </a:lnTo>
                    <a:lnTo>
                      <a:pt x="317079" y="153179"/>
                    </a:lnTo>
                    <a:lnTo>
                      <a:pt x="308615" y="161273"/>
                    </a:lnTo>
                    <a:lnTo>
                      <a:pt x="302464" y="147768"/>
                    </a:lnTo>
                    <a:lnTo>
                      <a:pt x="309031" y="142773"/>
                    </a:lnTo>
                    <a:lnTo>
                      <a:pt x="304036" y="120018"/>
                    </a:lnTo>
                    <a:lnTo>
                      <a:pt x="292844" y="109242"/>
                    </a:lnTo>
                    <a:lnTo>
                      <a:pt x="297469" y="76497"/>
                    </a:lnTo>
                    <a:lnTo>
                      <a:pt x="290162" y="62622"/>
                    </a:lnTo>
                    <a:lnTo>
                      <a:pt x="294463" y="42226"/>
                    </a:lnTo>
                    <a:lnTo>
                      <a:pt x="255752" y="41902"/>
                    </a:lnTo>
                    <a:lnTo>
                      <a:pt x="259452" y="31450"/>
                    </a:lnTo>
                    <a:lnTo>
                      <a:pt x="226152" y="34132"/>
                    </a:lnTo>
                    <a:lnTo>
                      <a:pt x="228187" y="48932"/>
                    </a:lnTo>
                    <a:lnTo>
                      <a:pt x="222822" y="61743"/>
                    </a:lnTo>
                    <a:lnTo>
                      <a:pt x="199281" y="61743"/>
                    </a:lnTo>
                    <a:lnTo>
                      <a:pt x="171022" y="67108"/>
                    </a:lnTo>
                    <a:lnTo>
                      <a:pt x="151597" y="36352"/>
                    </a:lnTo>
                    <a:lnTo>
                      <a:pt x="144336" y="15956"/>
                    </a:lnTo>
                    <a:lnTo>
                      <a:pt x="141145" y="648"/>
                    </a:lnTo>
                    <a:lnTo>
                      <a:pt x="43465" y="0"/>
                    </a:lnTo>
                    <a:lnTo>
                      <a:pt x="22607" y="8926"/>
                    </a:lnTo>
                    <a:cubicBezTo>
                      <a:pt x="22607" y="8926"/>
                      <a:pt x="22098" y="9343"/>
                      <a:pt x="21682" y="9527"/>
                    </a:cubicBezTo>
                    <a:lnTo>
                      <a:pt x="20433" y="10082"/>
                    </a:lnTo>
                    <a:cubicBezTo>
                      <a:pt x="19092" y="10638"/>
                      <a:pt x="18722" y="12071"/>
                      <a:pt x="19554" y="13227"/>
                    </a:cubicBezTo>
                    <a:lnTo>
                      <a:pt x="30053" y="27750"/>
                    </a:lnTo>
                    <a:cubicBezTo>
                      <a:pt x="33198" y="32051"/>
                      <a:pt x="31302" y="38110"/>
                      <a:pt x="33892" y="43382"/>
                    </a:cubicBezTo>
                    <a:lnTo>
                      <a:pt x="47350" y="70670"/>
                    </a:lnTo>
                    <a:cubicBezTo>
                      <a:pt x="49015" y="74092"/>
                      <a:pt x="49108" y="80105"/>
                      <a:pt x="49062" y="79642"/>
                    </a:cubicBezTo>
                    <a:cubicBezTo>
                      <a:pt x="49293" y="82695"/>
                      <a:pt x="45223" y="83157"/>
                      <a:pt x="45685" y="82926"/>
                    </a:cubicBezTo>
                    <a:cubicBezTo>
                      <a:pt x="44252" y="83203"/>
                      <a:pt x="42402" y="84360"/>
                      <a:pt x="41523" y="85470"/>
                    </a:cubicBezTo>
                    <a:cubicBezTo>
                      <a:pt x="40089" y="87874"/>
                      <a:pt x="35927" y="90742"/>
                      <a:pt x="37869" y="94164"/>
                    </a:cubicBezTo>
                    <a:lnTo>
                      <a:pt x="40691" y="99206"/>
                    </a:lnTo>
                    <a:cubicBezTo>
                      <a:pt x="43882" y="104848"/>
                      <a:pt x="43974" y="116595"/>
                      <a:pt x="47350" y="121359"/>
                    </a:cubicBezTo>
                    <a:lnTo>
                      <a:pt x="57017" y="134818"/>
                    </a:lnTo>
                    <a:cubicBezTo>
                      <a:pt x="58635" y="137130"/>
                      <a:pt x="58404" y="140599"/>
                      <a:pt x="58312" y="140137"/>
                    </a:cubicBezTo>
                    <a:cubicBezTo>
                      <a:pt x="58080" y="143837"/>
                      <a:pt x="61642" y="148693"/>
                      <a:pt x="61410" y="148230"/>
                    </a:cubicBezTo>
                    <a:cubicBezTo>
                      <a:pt x="62150" y="149479"/>
                      <a:pt x="62520" y="151653"/>
                      <a:pt x="62197" y="153040"/>
                    </a:cubicBezTo>
                    <a:lnTo>
                      <a:pt x="59838" y="163724"/>
                    </a:lnTo>
                    <a:cubicBezTo>
                      <a:pt x="58589" y="169459"/>
                      <a:pt x="61503" y="175425"/>
                      <a:pt x="59237" y="179773"/>
                    </a:cubicBezTo>
                    <a:cubicBezTo>
                      <a:pt x="51883" y="193879"/>
                      <a:pt x="51374" y="195960"/>
                      <a:pt x="48275" y="197486"/>
                    </a:cubicBezTo>
                    <a:cubicBezTo>
                      <a:pt x="38563" y="202342"/>
                      <a:pt x="35696" y="202990"/>
                      <a:pt x="35233" y="206412"/>
                    </a:cubicBezTo>
                    <a:cubicBezTo>
                      <a:pt x="34909" y="207661"/>
                      <a:pt x="35187" y="211731"/>
                      <a:pt x="32551" y="214321"/>
                    </a:cubicBezTo>
                    <a:cubicBezTo>
                      <a:pt x="25659" y="221212"/>
                      <a:pt x="22884" y="223155"/>
                      <a:pt x="22746" y="226670"/>
                    </a:cubicBezTo>
                    <a:lnTo>
                      <a:pt x="22422" y="234162"/>
                    </a:lnTo>
                    <a:cubicBezTo>
                      <a:pt x="22237" y="238649"/>
                      <a:pt x="9009" y="285592"/>
                      <a:pt x="9102" y="285129"/>
                    </a:cubicBezTo>
                    <a:cubicBezTo>
                      <a:pt x="7437" y="291281"/>
                      <a:pt x="-611" y="292946"/>
                      <a:pt x="37" y="298357"/>
                    </a:cubicBezTo>
                    <a:lnTo>
                      <a:pt x="1656" y="311723"/>
                    </a:lnTo>
                    <a:cubicBezTo>
                      <a:pt x="1933" y="313943"/>
                      <a:pt x="1656" y="325089"/>
                      <a:pt x="1240" y="335773"/>
                    </a:cubicBezTo>
                    <a:lnTo>
                      <a:pt x="39581" y="326384"/>
                    </a:lnTo>
                    <a:lnTo>
                      <a:pt x="65573" y="342017"/>
                    </a:lnTo>
                    <a:lnTo>
                      <a:pt x="193315" y="342017"/>
                    </a:lnTo>
                    <a:lnTo>
                      <a:pt x="210658" y="355337"/>
                    </a:lnTo>
                    <a:lnTo>
                      <a:pt x="280033" y="358204"/>
                    </a:lnTo>
                    <a:lnTo>
                      <a:pt x="334885" y="347012"/>
                    </a:lnTo>
                    <a:lnTo>
                      <a:pt x="334885" y="347012"/>
                    </a:lnTo>
                    <a:cubicBezTo>
                      <a:pt x="334885" y="347012"/>
                      <a:pt x="304823" y="316996"/>
                      <a:pt x="304823" y="316996"/>
                    </a:cubicBezTo>
                    <a:close/>
                  </a:path>
                </a:pathLst>
              </a:custGeom>
              <a:grpFill/>
              <a:ln w="4609" cap="flat">
                <a:noFill/>
                <a:prstDash val="solid"/>
                <a:miter/>
              </a:ln>
            </p:spPr>
            <p:txBody>
              <a:bodyPr rtlCol="0" anchor="ctr"/>
              <a:lstStyle/>
              <a:p>
                <a:endParaRPr lang="en-IN"/>
              </a:p>
            </p:txBody>
          </p:sp>
          <p:sp>
            <p:nvSpPr>
              <p:cNvPr id="127" name="Freeform: Shape 126">
                <a:extLst>
                  <a:ext uri="{FF2B5EF4-FFF2-40B4-BE49-F238E27FC236}">
                    <a16:creationId xmlns:a16="http://schemas.microsoft.com/office/drawing/2014/main" id="{38627737-81B6-4B65-60A4-8A4086F2DE16}"/>
                  </a:ext>
                </a:extLst>
              </p:cNvPr>
              <p:cNvSpPr/>
              <p:nvPr/>
            </p:nvSpPr>
            <p:spPr>
              <a:xfrm>
                <a:off x="6172788" y="5155254"/>
                <a:ext cx="34409" cy="44446"/>
              </a:xfrm>
              <a:custGeom>
                <a:avLst/>
                <a:gdLst>
                  <a:gd name="connsiteX0" fmla="*/ 20119 w 34409"/>
                  <a:gd name="connsiteY0" fmla="*/ 37092 h 44446"/>
                  <a:gd name="connsiteX1" fmla="*/ 18269 w 34409"/>
                  <a:gd name="connsiteY1" fmla="*/ 22339 h 44446"/>
                  <a:gd name="connsiteX2" fmla="*/ 34410 w 34409"/>
                  <a:gd name="connsiteY2" fmla="*/ 9990 h 44446"/>
                  <a:gd name="connsiteX3" fmla="*/ 34410 w 34409"/>
                  <a:gd name="connsiteY3" fmla="*/ 9990 h 44446"/>
                  <a:gd name="connsiteX4" fmla="*/ 24420 w 34409"/>
                  <a:gd name="connsiteY4" fmla="*/ 0 h 44446"/>
                  <a:gd name="connsiteX5" fmla="*/ 139 w 34409"/>
                  <a:gd name="connsiteY5" fmla="*/ 18130 h 44446"/>
                  <a:gd name="connsiteX6" fmla="*/ 0 w 34409"/>
                  <a:gd name="connsiteY6" fmla="*/ 18269 h 44446"/>
                  <a:gd name="connsiteX7" fmla="*/ 6752 w 34409"/>
                  <a:gd name="connsiteY7" fmla="*/ 32467 h 44446"/>
                  <a:gd name="connsiteX8" fmla="*/ 6105 w 34409"/>
                  <a:gd name="connsiteY8" fmla="*/ 38850 h 44446"/>
                  <a:gd name="connsiteX9" fmla="*/ 10499 w 34409"/>
                  <a:gd name="connsiteY9" fmla="*/ 44446 h 44446"/>
                  <a:gd name="connsiteX10" fmla="*/ 10499 w 34409"/>
                  <a:gd name="connsiteY10" fmla="*/ 44446 h 44446"/>
                  <a:gd name="connsiteX11" fmla="*/ 20119 w 34409"/>
                  <a:gd name="connsiteY11" fmla="*/ 37046 h 4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409" h="44446">
                    <a:moveTo>
                      <a:pt x="20119" y="37092"/>
                    </a:moveTo>
                    <a:lnTo>
                      <a:pt x="18269" y="22339"/>
                    </a:lnTo>
                    <a:lnTo>
                      <a:pt x="34410" y="9990"/>
                    </a:lnTo>
                    <a:lnTo>
                      <a:pt x="34410" y="9990"/>
                    </a:lnTo>
                    <a:cubicBezTo>
                      <a:pt x="34410" y="9990"/>
                      <a:pt x="24420" y="0"/>
                      <a:pt x="24420" y="0"/>
                    </a:cubicBezTo>
                    <a:lnTo>
                      <a:pt x="139" y="18130"/>
                    </a:lnTo>
                    <a:lnTo>
                      <a:pt x="0" y="18269"/>
                    </a:lnTo>
                    <a:cubicBezTo>
                      <a:pt x="6937" y="28397"/>
                      <a:pt x="8140" y="29785"/>
                      <a:pt x="6752" y="32467"/>
                    </a:cubicBezTo>
                    <a:cubicBezTo>
                      <a:pt x="6567" y="33022"/>
                      <a:pt x="3977" y="36121"/>
                      <a:pt x="6105" y="38850"/>
                    </a:cubicBezTo>
                    <a:cubicBezTo>
                      <a:pt x="7816" y="41070"/>
                      <a:pt x="9250" y="42873"/>
                      <a:pt x="10499" y="44446"/>
                    </a:cubicBezTo>
                    <a:lnTo>
                      <a:pt x="10499" y="44446"/>
                    </a:lnTo>
                    <a:cubicBezTo>
                      <a:pt x="10499" y="44446"/>
                      <a:pt x="20119" y="37046"/>
                      <a:pt x="20119" y="37046"/>
                    </a:cubicBezTo>
                    <a:close/>
                  </a:path>
                </a:pathLst>
              </a:custGeom>
              <a:grpFill/>
              <a:ln w="4609" cap="flat">
                <a:noFill/>
                <a:prstDash val="solid"/>
                <a:miter/>
              </a:ln>
            </p:spPr>
            <p:txBody>
              <a:bodyPr rtlCol="0" anchor="ctr"/>
              <a:lstStyle/>
              <a:p>
                <a:endParaRPr lang="en-IN"/>
              </a:p>
            </p:txBody>
          </p:sp>
        </p:grpSp>
        <p:sp>
          <p:nvSpPr>
            <p:cNvPr id="125" name="Freeform: Shape 124">
              <a:extLst>
                <a:ext uri="{FF2B5EF4-FFF2-40B4-BE49-F238E27FC236}">
                  <a16:creationId xmlns:a16="http://schemas.microsoft.com/office/drawing/2014/main" id="{E918D18F-A054-AC83-F9FD-40987D37EDEF}"/>
                </a:ext>
              </a:extLst>
            </p:cNvPr>
            <p:cNvSpPr/>
            <p:nvPr/>
          </p:nvSpPr>
          <p:spPr>
            <a:xfrm>
              <a:off x="5571079" y="3891407"/>
              <a:ext cx="602171" cy="579768"/>
            </a:xfrm>
            <a:custGeom>
              <a:avLst/>
              <a:gdLst>
                <a:gd name="connsiteX0" fmla="*/ 567160 w 602171"/>
                <a:gd name="connsiteY0" fmla="*/ 407997 h 579768"/>
                <a:gd name="connsiteX1" fmla="*/ 556153 w 602171"/>
                <a:gd name="connsiteY1" fmla="*/ 410864 h 579768"/>
                <a:gd name="connsiteX2" fmla="*/ 544035 w 602171"/>
                <a:gd name="connsiteY2" fmla="*/ 397544 h 579768"/>
                <a:gd name="connsiteX3" fmla="*/ 545192 w 602171"/>
                <a:gd name="connsiteY3" fmla="*/ 384224 h 579768"/>
                <a:gd name="connsiteX4" fmla="*/ 524379 w 602171"/>
                <a:gd name="connsiteY4" fmla="*/ 355318 h 579768"/>
                <a:gd name="connsiteX5" fmla="*/ 540567 w 602171"/>
                <a:gd name="connsiteY5" fmla="*/ 348381 h 579768"/>
                <a:gd name="connsiteX6" fmla="*/ 542879 w 602171"/>
                <a:gd name="connsiteY6" fmla="*/ 336818 h 579768"/>
                <a:gd name="connsiteX7" fmla="*/ 535387 w 602171"/>
                <a:gd name="connsiteY7" fmla="*/ 325811 h 579768"/>
                <a:gd name="connsiteX8" fmla="*/ 543480 w 602171"/>
                <a:gd name="connsiteY8" fmla="*/ 304444 h 579768"/>
                <a:gd name="connsiteX9" fmla="*/ 535387 w 602171"/>
                <a:gd name="connsiteY9" fmla="*/ 289412 h 579768"/>
                <a:gd name="connsiteX10" fmla="*/ 541122 w 602171"/>
                <a:gd name="connsiteY10" fmla="*/ 264114 h 579768"/>
                <a:gd name="connsiteX11" fmla="*/ 525674 w 602171"/>
                <a:gd name="connsiteY11" fmla="*/ 233173 h 579768"/>
                <a:gd name="connsiteX12" fmla="*/ 530854 w 602171"/>
                <a:gd name="connsiteY12" fmla="*/ 231277 h 579768"/>
                <a:gd name="connsiteX13" fmla="*/ 516286 w 602171"/>
                <a:gd name="connsiteY13" fmla="*/ 169949 h 579768"/>
                <a:gd name="connsiteX14" fmla="*/ 496259 w 602171"/>
                <a:gd name="connsiteY14" fmla="*/ 154548 h 579768"/>
                <a:gd name="connsiteX15" fmla="*/ 493161 w 602171"/>
                <a:gd name="connsiteY15" fmla="*/ 137575 h 579768"/>
                <a:gd name="connsiteX16" fmla="*/ 476973 w 602171"/>
                <a:gd name="connsiteY16" fmla="*/ 129851 h 579768"/>
                <a:gd name="connsiteX17" fmla="*/ 471978 w 602171"/>
                <a:gd name="connsiteY17" fmla="*/ 102101 h 579768"/>
                <a:gd name="connsiteX18" fmla="*/ 497786 w 602171"/>
                <a:gd name="connsiteY18" fmla="*/ 81289 h 579768"/>
                <a:gd name="connsiteX19" fmla="*/ 493947 w 602171"/>
                <a:gd name="connsiteY19" fmla="*/ 24263 h 579768"/>
                <a:gd name="connsiteX20" fmla="*/ 510828 w 602171"/>
                <a:gd name="connsiteY20" fmla="*/ 3635 h 579768"/>
                <a:gd name="connsiteX21" fmla="*/ 510736 w 602171"/>
                <a:gd name="connsiteY21" fmla="*/ 3450 h 579768"/>
                <a:gd name="connsiteX22" fmla="*/ 489461 w 602171"/>
                <a:gd name="connsiteY22" fmla="*/ 6364 h 579768"/>
                <a:gd name="connsiteX23" fmla="*/ 482616 w 602171"/>
                <a:gd name="connsiteY23" fmla="*/ 9047 h 579768"/>
                <a:gd name="connsiteX24" fmla="*/ 478638 w 602171"/>
                <a:gd name="connsiteY24" fmla="*/ 5670 h 579768"/>
                <a:gd name="connsiteX25" fmla="*/ 474985 w 602171"/>
                <a:gd name="connsiteY25" fmla="*/ 2710 h 579768"/>
                <a:gd name="connsiteX26" fmla="*/ 464763 w 602171"/>
                <a:gd name="connsiteY26" fmla="*/ 398 h 579768"/>
                <a:gd name="connsiteX27" fmla="*/ 462682 w 602171"/>
                <a:gd name="connsiteY27" fmla="*/ 2988 h 579768"/>
                <a:gd name="connsiteX28" fmla="*/ 460462 w 602171"/>
                <a:gd name="connsiteY28" fmla="*/ 5670 h 579768"/>
                <a:gd name="connsiteX29" fmla="*/ 451813 w 602171"/>
                <a:gd name="connsiteY29" fmla="*/ 6040 h 579768"/>
                <a:gd name="connsiteX30" fmla="*/ 444922 w 602171"/>
                <a:gd name="connsiteY30" fmla="*/ 2063 h 579768"/>
                <a:gd name="connsiteX31" fmla="*/ 436736 w 602171"/>
                <a:gd name="connsiteY31" fmla="*/ 2017 h 579768"/>
                <a:gd name="connsiteX32" fmla="*/ 431972 w 602171"/>
                <a:gd name="connsiteY32" fmla="*/ 6595 h 579768"/>
                <a:gd name="connsiteX33" fmla="*/ 417357 w 602171"/>
                <a:gd name="connsiteY33" fmla="*/ 10388 h 579768"/>
                <a:gd name="connsiteX34" fmla="*/ 404731 w 602171"/>
                <a:gd name="connsiteY34" fmla="*/ 14088 h 579768"/>
                <a:gd name="connsiteX35" fmla="*/ 390301 w 602171"/>
                <a:gd name="connsiteY35" fmla="*/ 6873 h 579768"/>
                <a:gd name="connsiteX36" fmla="*/ 365974 w 602171"/>
                <a:gd name="connsiteY36" fmla="*/ 5717 h 579768"/>
                <a:gd name="connsiteX37" fmla="*/ 357880 w 602171"/>
                <a:gd name="connsiteY37" fmla="*/ 9417 h 579768"/>
                <a:gd name="connsiteX38" fmla="*/ 351220 w 602171"/>
                <a:gd name="connsiteY38" fmla="*/ 9648 h 579768"/>
                <a:gd name="connsiteX39" fmla="*/ 343450 w 602171"/>
                <a:gd name="connsiteY39" fmla="*/ 11082 h 579768"/>
                <a:gd name="connsiteX40" fmla="*/ 336189 w 602171"/>
                <a:gd name="connsiteY40" fmla="*/ 10804 h 579768"/>
                <a:gd name="connsiteX41" fmla="*/ 326338 w 602171"/>
                <a:gd name="connsiteY41" fmla="*/ 17418 h 579768"/>
                <a:gd name="connsiteX42" fmla="*/ 317967 w 602171"/>
                <a:gd name="connsiteY42" fmla="*/ 15198 h 579768"/>
                <a:gd name="connsiteX43" fmla="*/ 283788 w 602171"/>
                <a:gd name="connsiteY43" fmla="*/ 20702 h 579768"/>
                <a:gd name="connsiteX44" fmla="*/ 256316 w 602171"/>
                <a:gd name="connsiteY44" fmla="*/ 34253 h 579768"/>
                <a:gd name="connsiteX45" fmla="*/ 247251 w 602171"/>
                <a:gd name="connsiteY45" fmla="*/ 42485 h 579768"/>
                <a:gd name="connsiteX46" fmla="*/ 239481 w 602171"/>
                <a:gd name="connsiteY46" fmla="*/ 38831 h 579768"/>
                <a:gd name="connsiteX47" fmla="*/ 232682 w 602171"/>
                <a:gd name="connsiteY47" fmla="*/ 44566 h 579768"/>
                <a:gd name="connsiteX48" fmla="*/ 220056 w 602171"/>
                <a:gd name="connsiteY48" fmla="*/ 48498 h 579768"/>
                <a:gd name="connsiteX49" fmla="*/ 214830 w 602171"/>
                <a:gd name="connsiteY49" fmla="*/ 57609 h 579768"/>
                <a:gd name="connsiteX50" fmla="*/ 204239 w 602171"/>
                <a:gd name="connsiteY50" fmla="*/ 61216 h 579768"/>
                <a:gd name="connsiteX51" fmla="*/ 194526 w 602171"/>
                <a:gd name="connsiteY51" fmla="*/ 66073 h 579768"/>
                <a:gd name="connsiteX52" fmla="*/ 181299 w 602171"/>
                <a:gd name="connsiteY52" fmla="*/ 65333 h 579768"/>
                <a:gd name="connsiteX53" fmla="*/ 201788 w 602171"/>
                <a:gd name="connsiteY53" fmla="*/ 84341 h 579768"/>
                <a:gd name="connsiteX54" fmla="*/ 206413 w 602171"/>
                <a:gd name="connsiteY54" fmla="*/ 140627 h 579768"/>
                <a:gd name="connsiteX55" fmla="*/ 224912 w 602171"/>
                <a:gd name="connsiteY55" fmla="*/ 155288 h 579768"/>
                <a:gd name="connsiteX56" fmla="*/ 217975 w 602171"/>
                <a:gd name="connsiteY56" fmla="*/ 170689 h 579768"/>
                <a:gd name="connsiteX57" fmla="*/ 168626 w 602171"/>
                <a:gd name="connsiteY57" fmla="*/ 168377 h 579768"/>
                <a:gd name="connsiteX58" fmla="*/ 163030 w 602171"/>
                <a:gd name="connsiteY58" fmla="*/ 178968 h 579768"/>
                <a:gd name="connsiteX59" fmla="*/ 140460 w 602171"/>
                <a:gd name="connsiteY59" fmla="*/ 184749 h 579768"/>
                <a:gd name="connsiteX60" fmla="*/ 147953 w 602171"/>
                <a:gd name="connsiteY60" fmla="*/ 202694 h 579768"/>
                <a:gd name="connsiteX61" fmla="*/ 109196 w 602171"/>
                <a:gd name="connsiteY61" fmla="*/ 219437 h 579768"/>
                <a:gd name="connsiteX62" fmla="*/ 97078 w 602171"/>
                <a:gd name="connsiteY62" fmla="*/ 236780 h 579768"/>
                <a:gd name="connsiteX63" fmla="*/ 65351 w 602171"/>
                <a:gd name="connsiteY63" fmla="*/ 243116 h 579768"/>
                <a:gd name="connsiteX64" fmla="*/ 61050 w 602171"/>
                <a:gd name="connsiteY64" fmla="*/ 250470 h 579768"/>
                <a:gd name="connsiteX65" fmla="*/ 44492 w 602171"/>
                <a:gd name="connsiteY65" fmla="*/ 247186 h 579768"/>
                <a:gd name="connsiteX66" fmla="*/ 0 w 602171"/>
                <a:gd name="connsiteY66" fmla="*/ 279006 h 579768"/>
                <a:gd name="connsiteX67" fmla="*/ 0 w 602171"/>
                <a:gd name="connsiteY67" fmla="*/ 320631 h 579768"/>
                <a:gd name="connsiteX68" fmla="*/ 113867 w 602171"/>
                <a:gd name="connsiteY68" fmla="*/ 394261 h 579768"/>
                <a:gd name="connsiteX69" fmla="*/ 285777 w 602171"/>
                <a:gd name="connsiteY69" fmla="*/ 513723 h 579768"/>
                <a:gd name="connsiteX70" fmla="*/ 288274 w 602171"/>
                <a:gd name="connsiteY70" fmla="*/ 525933 h 579768"/>
                <a:gd name="connsiteX71" fmla="*/ 301132 w 602171"/>
                <a:gd name="connsiteY71" fmla="*/ 530512 h 579768"/>
                <a:gd name="connsiteX72" fmla="*/ 306266 w 602171"/>
                <a:gd name="connsiteY72" fmla="*/ 539346 h 579768"/>
                <a:gd name="connsiteX73" fmla="*/ 317643 w 602171"/>
                <a:gd name="connsiteY73" fmla="*/ 539716 h 579768"/>
                <a:gd name="connsiteX74" fmla="*/ 325089 w 602171"/>
                <a:gd name="connsiteY74" fmla="*/ 546746 h 579768"/>
                <a:gd name="connsiteX75" fmla="*/ 345208 w 602171"/>
                <a:gd name="connsiteY75" fmla="*/ 551648 h 579768"/>
                <a:gd name="connsiteX76" fmla="*/ 348862 w 602171"/>
                <a:gd name="connsiteY76" fmla="*/ 564136 h 579768"/>
                <a:gd name="connsiteX77" fmla="*/ 342109 w 602171"/>
                <a:gd name="connsiteY77" fmla="*/ 574033 h 579768"/>
                <a:gd name="connsiteX78" fmla="*/ 352007 w 602171"/>
                <a:gd name="connsiteY78" fmla="*/ 579768 h 579768"/>
                <a:gd name="connsiteX79" fmla="*/ 422214 w 602171"/>
                <a:gd name="connsiteY79" fmla="*/ 564691 h 579768"/>
                <a:gd name="connsiteX80" fmla="*/ 470082 w 602171"/>
                <a:gd name="connsiteY80" fmla="*/ 519458 h 579768"/>
                <a:gd name="connsiteX81" fmla="*/ 602171 w 602171"/>
                <a:gd name="connsiteY81" fmla="*/ 440418 h 579768"/>
                <a:gd name="connsiteX82" fmla="*/ 590285 w 602171"/>
                <a:gd name="connsiteY82" fmla="*/ 415489 h 579768"/>
                <a:gd name="connsiteX83" fmla="*/ 567160 w 602171"/>
                <a:gd name="connsiteY83" fmla="*/ 407997 h 57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2171" h="579768">
                  <a:moveTo>
                    <a:pt x="567160" y="407997"/>
                  </a:moveTo>
                  <a:lnTo>
                    <a:pt x="556153" y="410864"/>
                  </a:lnTo>
                  <a:lnTo>
                    <a:pt x="544035" y="397544"/>
                  </a:lnTo>
                  <a:lnTo>
                    <a:pt x="545192" y="384224"/>
                  </a:lnTo>
                  <a:lnTo>
                    <a:pt x="524379" y="355318"/>
                  </a:lnTo>
                  <a:lnTo>
                    <a:pt x="540567" y="348381"/>
                  </a:lnTo>
                  <a:lnTo>
                    <a:pt x="542879" y="336818"/>
                  </a:lnTo>
                  <a:lnTo>
                    <a:pt x="535387" y="325811"/>
                  </a:lnTo>
                  <a:lnTo>
                    <a:pt x="543480" y="304444"/>
                  </a:lnTo>
                  <a:lnTo>
                    <a:pt x="535387" y="289412"/>
                  </a:lnTo>
                  <a:lnTo>
                    <a:pt x="541122" y="264114"/>
                  </a:lnTo>
                  <a:lnTo>
                    <a:pt x="525674" y="233173"/>
                  </a:lnTo>
                  <a:lnTo>
                    <a:pt x="530854" y="231277"/>
                  </a:lnTo>
                  <a:lnTo>
                    <a:pt x="516286" y="169949"/>
                  </a:lnTo>
                  <a:lnTo>
                    <a:pt x="496259" y="154548"/>
                  </a:lnTo>
                  <a:lnTo>
                    <a:pt x="493161" y="137575"/>
                  </a:lnTo>
                  <a:lnTo>
                    <a:pt x="476973" y="129851"/>
                  </a:lnTo>
                  <a:lnTo>
                    <a:pt x="471978" y="102101"/>
                  </a:lnTo>
                  <a:lnTo>
                    <a:pt x="497786" y="81289"/>
                  </a:lnTo>
                  <a:lnTo>
                    <a:pt x="493947" y="24263"/>
                  </a:lnTo>
                  <a:lnTo>
                    <a:pt x="510828" y="3635"/>
                  </a:lnTo>
                  <a:lnTo>
                    <a:pt x="510736" y="3450"/>
                  </a:lnTo>
                  <a:cubicBezTo>
                    <a:pt x="506018" y="6318"/>
                    <a:pt x="494733" y="3173"/>
                    <a:pt x="489461" y="6364"/>
                  </a:cubicBezTo>
                  <a:cubicBezTo>
                    <a:pt x="488906" y="6642"/>
                    <a:pt x="485761" y="9047"/>
                    <a:pt x="482616" y="9047"/>
                  </a:cubicBezTo>
                  <a:cubicBezTo>
                    <a:pt x="479748" y="9047"/>
                    <a:pt x="478268" y="5208"/>
                    <a:pt x="478638" y="5670"/>
                  </a:cubicBezTo>
                  <a:cubicBezTo>
                    <a:pt x="478037" y="4375"/>
                    <a:pt x="476418" y="3034"/>
                    <a:pt x="474985" y="2710"/>
                  </a:cubicBezTo>
                  <a:lnTo>
                    <a:pt x="464763" y="398"/>
                  </a:lnTo>
                  <a:cubicBezTo>
                    <a:pt x="461942" y="-250"/>
                    <a:pt x="462590" y="3450"/>
                    <a:pt x="462682" y="2988"/>
                  </a:cubicBezTo>
                  <a:cubicBezTo>
                    <a:pt x="462913" y="4422"/>
                    <a:pt x="461896" y="5624"/>
                    <a:pt x="460462" y="5670"/>
                  </a:cubicBezTo>
                  <a:lnTo>
                    <a:pt x="451813" y="6040"/>
                  </a:lnTo>
                  <a:cubicBezTo>
                    <a:pt x="448206" y="6179"/>
                    <a:pt x="444460" y="1739"/>
                    <a:pt x="444922" y="2063"/>
                  </a:cubicBezTo>
                  <a:cubicBezTo>
                    <a:pt x="442425" y="-296"/>
                    <a:pt x="438355" y="-1036"/>
                    <a:pt x="436736" y="2017"/>
                  </a:cubicBezTo>
                  <a:cubicBezTo>
                    <a:pt x="436366" y="2479"/>
                    <a:pt x="435349" y="6040"/>
                    <a:pt x="431972" y="6595"/>
                  </a:cubicBezTo>
                  <a:cubicBezTo>
                    <a:pt x="424896" y="7752"/>
                    <a:pt x="420179" y="7983"/>
                    <a:pt x="417357" y="10388"/>
                  </a:cubicBezTo>
                  <a:cubicBezTo>
                    <a:pt x="413704" y="13487"/>
                    <a:pt x="410050" y="17279"/>
                    <a:pt x="404731" y="14088"/>
                  </a:cubicBezTo>
                  <a:cubicBezTo>
                    <a:pt x="396175" y="8954"/>
                    <a:pt x="393816" y="7012"/>
                    <a:pt x="390301" y="6873"/>
                  </a:cubicBezTo>
                  <a:lnTo>
                    <a:pt x="365974" y="5717"/>
                  </a:lnTo>
                  <a:cubicBezTo>
                    <a:pt x="362274" y="5532"/>
                    <a:pt x="357418" y="9694"/>
                    <a:pt x="357880" y="9417"/>
                  </a:cubicBezTo>
                  <a:cubicBezTo>
                    <a:pt x="355152" y="11313"/>
                    <a:pt x="350758" y="9602"/>
                    <a:pt x="351220" y="9648"/>
                  </a:cubicBezTo>
                  <a:cubicBezTo>
                    <a:pt x="347335" y="8584"/>
                    <a:pt x="347150" y="12515"/>
                    <a:pt x="343450" y="11082"/>
                  </a:cubicBezTo>
                  <a:cubicBezTo>
                    <a:pt x="342248" y="10850"/>
                    <a:pt x="338733" y="8168"/>
                    <a:pt x="336189" y="10804"/>
                  </a:cubicBezTo>
                  <a:cubicBezTo>
                    <a:pt x="332582" y="13857"/>
                    <a:pt x="330084" y="19129"/>
                    <a:pt x="326338" y="17418"/>
                  </a:cubicBezTo>
                  <a:cubicBezTo>
                    <a:pt x="323609" y="16215"/>
                    <a:pt x="321066" y="14735"/>
                    <a:pt x="317967" y="15198"/>
                  </a:cubicBezTo>
                  <a:cubicBezTo>
                    <a:pt x="287164" y="19499"/>
                    <a:pt x="286980" y="19268"/>
                    <a:pt x="283788" y="20702"/>
                  </a:cubicBezTo>
                  <a:cubicBezTo>
                    <a:pt x="258998" y="31570"/>
                    <a:pt x="258397" y="31385"/>
                    <a:pt x="256316" y="34253"/>
                  </a:cubicBezTo>
                  <a:cubicBezTo>
                    <a:pt x="252477" y="38646"/>
                    <a:pt x="250350" y="45353"/>
                    <a:pt x="247251" y="42485"/>
                  </a:cubicBezTo>
                  <a:cubicBezTo>
                    <a:pt x="244938" y="40866"/>
                    <a:pt x="241886" y="35686"/>
                    <a:pt x="239481" y="38831"/>
                  </a:cubicBezTo>
                  <a:cubicBezTo>
                    <a:pt x="238094" y="40265"/>
                    <a:pt x="236475" y="44150"/>
                    <a:pt x="232682" y="44566"/>
                  </a:cubicBezTo>
                  <a:cubicBezTo>
                    <a:pt x="223479" y="45676"/>
                    <a:pt x="221027" y="45353"/>
                    <a:pt x="220056" y="48498"/>
                  </a:cubicBezTo>
                  <a:cubicBezTo>
                    <a:pt x="218715" y="51596"/>
                    <a:pt x="218761" y="56638"/>
                    <a:pt x="214830" y="57609"/>
                  </a:cubicBezTo>
                  <a:cubicBezTo>
                    <a:pt x="210344" y="58719"/>
                    <a:pt x="207060" y="59228"/>
                    <a:pt x="204239" y="61216"/>
                  </a:cubicBezTo>
                  <a:cubicBezTo>
                    <a:pt x="199475" y="64593"/>
                    <a:pt x="197671" y="66304"/>
                    <a:pt x="194526" y="66073"/>
                  </a:cubicBezTo>
                  <a:cubicBezTo>
                    <a:pt x="188976" y="65749"/>
                    <a:pt x="184675" y="65518"/>
                    <a:pt x="181299" y="65333"/>
                  </a:cubicBezTo>
                  <a:lnTo>
                    <a:pt x="201788" y="84341"/>
                  </a:lnTo>
                  <a:lnTo>
                    <a:pt x="206413" y="140627"/>
                  </a:lnTo>
                  <a:lnTo>
                    <a:pt x="224912" y="155288"/>
                  </a:lnTo>
                  <a:lnTo>
                    <a:pt x="217975" y="170689"/>
                  </a:lnTo>
                  <a:lnTo>
                    <a:pt x="168626" y="168377"/>
                  </a:lnTo>
                  <a:lnTo>
                    <a:pt x="163030" y="178968"/>
                  </a:lnTo>
                  <a:lnTo>
                    <a:pt x="140460" y="184749"/>
                  </a:lnTo>
                  <a:lnTo>
                    <a:pt x="147953" y="202694"/>
                  </a:lnTo>
                  <a:lnTo>
                    <a:pt x="109196" y="219437"/>
                  </a:lnTo>
                  <a:lnTo>
                    <a:pt x="97078" y="236780"/>
                  </a:lnTo>
                  <a:lnTo>
                    <a:pt x="65351" y="243116"/>
                  </a:lnTo>
                  <a:lnTo>
                    <a:pt x="61050" y="250470"/>
                  </a:lnTo>
                  <a:lnTo>
                    <a:pt x="44492" y="247186"/>
                  </a:lnTo>
                  <a:lnTo>
                    <a:pt x="0" y="279006"/>
                  </a:lnTo>
                  <a:lnTo>
                    <a:pt x="0" y="320631"/>
                  </a:lnTo>
                  <a:lnTo>
                    <a:pt x="113867" y="394261"/>
                  </a:lnTo>
                  <a:lnTo>
                    <a:pt x="285777" y="513723"/>
                  </a:lnTo>
                  <a:lnTo>
                    <a:pt x="288274" y="525933"/>
                  </a:lnTo>
                  <a:lnTo>
                    <a:pt x="301132" y="530512"/>
                  </a:lnTo>
                  <a:lnTo>
                    <a:pt x="306266" y="539346"/>
                  </a:lnTo>
                  <a:lnTo>
                    <a:pt x="317643" y="539716"/>
                  </a:lnTo>
                  <a:lnTo>
                    <a:pt x="325089" y="546746"/>
                  </a:lnTo>
                  <a:lnTo>
                    <a:pt x="345208" y="551648"/>
                  </a:lnTo>
                  <a:lnTo>
                    <a:pt x="348862" y="564136"/>
                  </a:lnTo>
                  <a:lnTo>
                    <a:pt x="342109" y="574033"/>
                  </a:lnTo>
                  <a:lnTo>
                    <a:pt x="352007" y="579768"/>
                  </a:lnTo>
                  <a:lnTo>
                    <a:pt x="422214" y="564691"/>
                  </a:lnTo>
                  <a:lnTo>
                    <a:pt x="470082" y="519458"/>
                  </a:lnTo>
                  <a:lnTo>
                    <a:pt x="602171" y="440418"/>
                  </a:lnTo>
                  <a:lnTo>
                    <a:pt x="590285" y="415489"/>
                  </a:lnTo>
                  <a:lnTo>
                    <a:pt x="567160" y="407997"/>
                  </a:lnTo>
                  <a:close/>
                </a:path>
              </a:pathLst>
            </a:custGeom>
            <a:grpFill/>
            <a:ln w="4609" cap="flat">
              <a:noFill/>
              <a:prstDash val="solid"/>
              <a:miter/>
            </a:ln>
          </p:spPr>
          <p:txBody>
            <a:bodyPr rtlCol="0" anchor="ctr"/>
            <a:lstStyle/>
            <a:p>
              <a:endParaRPr lang="en-IN"/>
            </a:p>
          </p:txBody>
        </p:sp>
      </p:grpSp>
      <p:grpSp>
        <p:nvGrpSpPr>
          <p:cNvPr id="178" name="Graphic 166">
            <a:extLst>
              <a:ext uri="{FF2B5EF4-FFF2-40B4-BE49-F238E27FC236}">
                <a16:creationId xmlns:a16="http://schemas.microsoft.com/office/drawing/2014/main" id="{4B2AEC64-47EE-88A7-E46C-1B6F14A36B32}"/>
              </a:ext>
            </a:extLst>
          </p:cNvPr>
          <p:cNvGrpSpPr/>
          <p:nvPr/>
        </p:nvGrpSpPr>
        <p:grpSpPr>
          <a:xfrm>
            <a:off x="5066411" y="1019640"/>
            <a:ext cx="631552" cy="1130619"/>
            <a:chOff x="4487784" y="1470851"/>
            <a:chExt cx="631552" cy="1130619"/>
          </a:xfrm>
          <a:solidFill>
            <a:schemeClr val="bg1">
              <a:lumMod val="85000"/>
            </a:schemeClr>
          </a:solidFill>
        </p:grpSpPr>
        <p:sp>
          <p:nvSpPr>
            <p:cNvPr id="179" name="Freeform: Shape 178">
              <a:extLst>
                <a:ext uri="{FF2B5EF4-FFF2-40B4-BE49-F238E27FC236}">
                  <a16:creationId xmlns:a16="http://schemas.microsoft.com/office/drawing/2014/main" id="{77FC6C4D-3733-846F-8731-A92078AA5AC3}"/>
                </a:ext>
              </a:extLst>
            </p:cNvPr>
            <p:cNvSpPr/>
            <p:nvPr/>
          </p:nvSpPr>
          <p:spPr>
            <a:xfrm>
              <a:off x="4877621" y="2590748"/>
              <a:ext cx="16862" cy="10722"/>
            </a:xfrm>
            <a:custGeom>
              <a:avLst/>
              <a:gdLst>
                <a:gd name="connsiteX0" fmla="*/ 16784 w 16862"/>
                <a:gd name="connsiteY0" fmla="*/ 6376 h 10722"/>
                <a:gd name="connsiteX1" fmla="*/ 5164 w 16862"/>
                <a:gd name="connsiteY1" fmla="*/ 90 h 10722"/>
                <a:gd name="connsiteX2" fmla="*/ 115 w 16862"/>
                <a:gd name="connsiteY2" fmla="*/ 5138 h 10722"/>
                <a:gd name="connsiteX3" fmla="*/ 16784 w 16862"/>
                <a:gd name="connsiteY3" fmla="*/ 6376 h 10722"/>
              </a:gdLst>
              <a:ahLst/>
              <a:cxnLst>
                <a:cxn ang="0">
                  <a:pos x="connsiteX0" y="connsiteY0"/>
                </a:cxn>
                <a:cxn ang="0">
                  <a:pos x="connsiteX1" y="connsiteY1"/>
                </a:cxn>
                <a:cxn ang="0">
                  <a:pos x="connsiteX2" y="connsiteY2"/>
                </a:cxn>
                <a:cxn ang="0">
                  <a:pos x="connsiteX3" y="connsiteY3"/>
                </a:cxn>
              </a:cxnLst>
              <a:rect l="l" t="t" r="r" b="b"/>
              <a:pathLst>
                <a:path w="16862" h="10722">
                  <a:moveTo>
                    <a:pt x="16784" y="6376"/>
                  </a:moveTo>
                  <a:cubicBezTo>
                    <a:pt x="18022" y="471"/>
                    <a:pt x="4211" y="-196"/>
                    <a:pt x="5164" y="90"/>
                  </a:cubicBezTo>
                  <a:cubicBezTo>
                    <a:pt x="-361" y="-863"/>
                    <a:pt x="-170" y="6090"/>
                    <a:pt x="115" y="5138"/>
                  </a:cubicBezTo>
                  <a:cubicBezTo>
                    <a:pt x="496" y="13044"/>
                    <a:pt x="15641" y="11710"/>
                    <a:pt x="16784" y="6376"/>
                  </a:cubicBezTo>
                  <a:close/>
                </a:path>
              </a:pathLst>
            </a:custGeom>
            <a:grpFill/>
            <a:ln w="9525" cap="flat">
              <a:noFill/>
              <a:prstDash val="solid"/>
              <a:miter/>
            </a:ln>
          </p:spPr>
          <p:txBody>
            <a:bodyPr rtlCol="0" anchor="ctr"/>
            <a:lstStyle/>
            <a:p>
              <a:endParaRPr lang="en-IN"/>
            </a:p>
          </p:txBody>
        </p:sp>
        <p:sp>
          <p:nvSpPr>
            <p:cNvPr id="180" name="Freeform: Shape 179">
              <a:extLst>
                <a:ext uri="{FF2B5EF4-FFF2-40B4-BE49-F238E27FC236}">
                  <a16:creationId xmlns:a16="http://schemas.microsoft.com/office/drawing/2014/main" id="{8B3DEA20-7545-D511-7AD4-8F0CE13E328F}"/>
                </a:ext>
              </a:extLst>
            </p:cNvPr>
            <p:cNvSpPr/>
            <p:nvPr/>
          </p:nvSpPr>
          <p:spPr>
            <a:xfrm>
              <a:off x="4693738" y="2079909"/>
              <a:ext cx="17211" cy="19913"/>
            </a:xfrm>
            <a:custGeom>
              <a:avLst/>
              <a:gdLst>
                <a:gd name="connsiteX0" fmla="*/ 5690 w 17211"/>
                <a:gd name="connsiteY0" fmla="*/ 103 h 19913"/>
                <a:gd name="connsiteX1" fmla="*/ 4547 w 17211"/>
                <a:gd name="connsiteY1" fmla="*/ 103 h 19913"/>
                <a:gd name="connsiteX2" fmla="*/ 70 w 17211"/>
                <a:gd name="connsiteY2" fmla="*/ 5723 h 19913"/>
                <a:gd name="connsiteX3" fmla="*/ 8071 w 17211"/>
                <a:gd name="connsiteY3" fmla="*/ 19820 h 19913"/>
                <a:gd name="connsiteX4" fmla="*/ 16739 w 17211"/>
                <a:gd name="connsiteY4" fmla="*/ 13248 h 19913"/>
                <a:gd name="connsiteX5" fmla="*/ 5690 w 17211"/>
                <a:gd name="connsiteY5" fmla="*/ 8 h 1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11" h="19913">
                  <a:moveTo>
                    <a:pt x="5690" y="103"/>
                  </a:moveTo>
                  <a:lnTo>
                    <a:pt x="4547" y="103"/>
                  </a:lnTo>
                  <a:cubicBezTo>
                    <a:pt x="1594" y="294"/>
                    <a:pt x="-406" y="2865"/>
                    <a:pt x="70" y="5723"/>
                  </a:cubicBezTo>
                  <a:cubicBezTo>
                    <a:pt x="1404" y="9628"/>
                    <a:pt x="165" y="21058"/>
                    <a:pt x="8071" y="19820"/>
                  </a:cubicBezTo>
                  <a:cubicBezTo>
                    <a:pt x="9309" y="19344"/>
                    <a:pt x="19501" y="19820"/>
                    <a:pt x="16739" y="13248"/>
                  </a:cubicBezTo>
                  <a:cubicBezTo>
                    <a:pt x="16739" y="13248"/>
                    <a:pt x="13215" y="-373"/>
                    <a:pt x="5690" y="8"/>
                  </a:cubicBezTo>
                  <a:close/>
                </a:path>
              </a:pathLst>
            </a:custGeom>
            <a:grpFill/>
            <a:ln w="9525"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5B1F589C-26D8-E93E-68D0-DEEE22DE8A27}"/>
                </a:ext>
              </a:extLst>
            </p:cNvPr>
            <p:cNvSpPr/>
            <p:nvPr/>
          </p:nvSpPr>
          <p:spPr>
            <a:xfrm>
              <a:off x="4726889" y="2187488"/>
              <a:ext cx="27157" cy="29579"/>
            </a:xfrm>
            <a:custGeom>
              <a:avLst/>
              <a:gdLst>
                <a:gd name="connsiteX0" fmla="*/ 27118 w 27157"/>
                <a:gd name="connsiteY0" fmla="*/ 4824 h 29579"/>
                <a:gd name="connsiteX1" fmla="*/ 22165 w 27157"/>
                <a:gd name="connsiteY1" fmla="*/ 1014 h 29579"/>
                <a:gd name="connsiteX2" fmla="*/ 9306 w 27157"/>
                <a:gd name="connsiteY2" fmla="*/ 10158 h 29579"/>
                <a:gd name="connsiteX3" fmla="*/ 448 w 27157"/>
                <a:gd name="connsiteY3" fmla="*/ 23303 h 29579"/>
                <a:gd name="connsiteX4" fmla="*/ 15878 w 27157"/>
                <a:gd name="connsiteY4" fmla="*/ 25970 h 29579"/>
                <a:gd name="connsiteX5" fmla="*/ 27118 w 27157"/>
                <a:gd name="connsiteY5" fmla="*/ 4824 h 2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57" h="29579">
                  <a:moveTo>
                    <a:pt x="27118" y="4824"/>
                  </a:moveTo>
                  <a:cubicBezTo>
                    <a:pt x="26641" y="3872"/>
                    <a:pt x="26927" y="-2415"/>
                    <a:pt x="22165" y="1014"/>
                  </a:cubicBezTo>
                  <a:lnTo>
                    <a:pt x="9306" y="10158"/>
                  </a:lnTo>
                  <a:cubicBezTo>
                    <a:pt x="3496" y="14349"/>
                    <a:pt x="-124" y="24255"/>
                    <a:pt x="448" y="23303"/>
                  </a:cubicBezTo>
                  <a:cubicBezTo>
                    <a:pt x="-2696" y="30351"/>
                    <a:pt x="11592" y="31780"/>
                    <a:pt x="15878" y="25970"/>
                  </a:cubicBezTo>
                  <a:cubicBezTo>
                    <a:pt x="22070" y="17683"/>
                    <a:pt x="27689" y="12063"/>
                    <a:pt x="27118" y="4824"/>
                  </a:cubicBezTo>
                  <a:close/>
                </a:path>
              </a:pathLst>
            </a:custGeom>
            <a:grpFill/>
            <a:ln w="9525" cap="flat">
              <a:noFill/>
              <a:prstDash val="solid"/>
              <a:miter/>
            </a:ln>
          </p:spPr>
          <p:txBody>
            <a:bodyPr rtlCol="0" anchor="ctr"/>
            <a:lstStyle/>
            <a:p>
              <a:endParaRPr lang="en-IN"/>
            </a:p>
          </p:txBody>
        </p:sp>
        <p:sp>
          <p:nvSpPr>
            <p:cNvPr id="182" name="Freeform: Shape 181">
              <a:extLst>
                <a:ext uri="{FF2B5EF4-FFF2-40B4-BE49-F238E27FC236}">
                  <a16:creationId xmlns:a16="http://schemas.microsoft.com/office/drawing/2014/main" id="{73EDBB5D-81BF-3E36-098C-D109948AC196}"/>
                </a:ext>
              </a:extLst>
            </p:cNvPr>
            <p:cNvSpPr/>
            <p:nvPr/>
          </p:nvSpPr>
          <p:spPr>
            <a:xfrm>
              <a:off x="4607667" y="1816677"/>
              <a:ext cx="511670" cy="722187"/>
            </a:xfrm>
            <a:custGeom>
              <a:avLst/>
              <a:gdLst>
                <a:gd name="connsiteX0" fmla="*/ 26515 w 511670"/>
                <a:gd name="connsiteY0" fmla="*/ 89409 h 722187"/>
                <a:gd name="connsiteX1" fmla="*/ 24420 w 511670"/>
                <a:gd name="connsiteY1" fmla="*/ 97124 h 722187"/>
                <a:gd name="connsiteX2" fmla="*/ 14514 w 511670"/>
                <a:gd name="connsiteY2" fmla="*/ 100267 h 722187"/>
                <a:gd name="connsiteX3" fmla="*/ 10132 w 511670"/>
                <a:gd name="connsiteY3" fmla="*/ 100362 h 722187"/>
                <a:gd name="connsiteX4" fmla="*/ 416 w 511670"/>
                <a:gd name="connsiteY4" fmla="*/ 110078 h 722187"/>
                <a:gd name="connsiteX5" fmla="*/ 3369 w 511670"/>
                <a:gd name="connsiteY5" fmla="*/ 116841 h 722187"/>
                <a:gd name="connsiteX6" fmla="*/ 17752 w 511670"/>
                <a:gd name="connsiteY6" fmla="*/ 119031 h 722187"/>
                <a:gd name="connsiteX7" fmla="*/ 35659 w 511670"/>
                <a:gd name="connsiteY7" fmla="*/ 131890 h 722187"/>
                <a:gd name="connsiteX8" fmla="*/ 44422 w 511670"/>
                <a:gd name="connsiteY8" fmla="*/ 138272 h 722187"/>
                <a:gd name="connsiteX9" fmla="*/ 52137 w 511670"/>
                <a:gd name="connsiteY9" fmla="*/ 142939 h 722187"/>
                <a:gd name="connsiteX10" fmla="*/ 64424 w 511670"/>
                <a:gd name="connsiteY10" fmla="*/ 136081 h 722187"/>
                <a:gd name="connsiteX11" fmla="*/ 56709 w 511670"/>
                <a:gd name="connsiteY11" fmla="*/ 157703 h 722187"/>
                <a:gd name="connsiteX12" fmla="*/ 57471 w 511670"/>
                <a:gd name="connsiteY12" fmla="*/ 163323 h 722187"/>
                <a:gd name="connsiteX13" fmla="*/ 40707 w 511670"/>
                <a:gd name="connsiteY13" fmla="*/ 166561 h 722187"/>
                <a:gd name="connsiteX14" fmla="*/ 37945 w 511670"/>
                <a:gd name="connsiteY14" fmla="*/ 173514 h 722187"/>
                <a:gd name="connsiteX15" fmla="*/ 50613 w 511670"/>
                <a:gd name="connsiteY15" fmla="*/ 177705 h 722187"/>
                <a:gd name="connsiteX16" fmla="*/ 30039 w 511670"/>
                <a:gd name="connsiteY16" fmla="*/ 189802 h 722187"/>
                <a:gd name="connsiteX17" fmla="*/ 30420 w 511670"/>
                <a:gd name="connsiteY17" fmla="*/ 200756 h 722187"/>
                <a:gd name="connsiteX18" fmla="*/ 24991 w 511670"/>
                <a:gd name="connsiteY18" fmla="*/ 201518 h 722187"/>
                <a:gd name="connsiteX19" fmla="*/ 20895 w 511670"/>
                <a:gd name="connsiteY19" fmla="*/ 208376 h 722187"/>
                <a:gd name="connsiteX20" fmla="*/ 27277 w 511670"/>
                <a:gd name="connsiteY20" fmla="*/ 212662 h 722187"/>
                <a:gd name="connsiteX21" fmla="*/ 57090 w 511670"/>
                <a:gd name="connsiteY21" fmla="*/ 204185 h 722187"/>
                <a:gd name="connsiteX22" fmla="*/ 60805 w 511670"/>
                <a:gd name="connsiteY22" fmla="*/ 201042 h 722187"/>
                <a:gd name="connsiteX23" fmla="*/ 67758 w 511670"/>
                <a:gd name="connsiteY23" fmla="*/ 208566 h 722187"/>
                <a:gd name="connsiteX24" fmla="*/ 41945 w 511670"/>
                <a:gd name="connsiteY24" fmla="*/ 235332 h 722187"/>
                <a:gd name="connsiteX25" fmla="*/ 25658 w 511670"/>
                <a:gd name="connsiteY25" fmla="*/ 241713 h 722187"/>
                <a:gd name="connsiteX26" fmla="*/ 19466 w 511670"/>
                <a:gd name="connsiteY26" fmla="*/ 248095 h 722187"/>
                <a:gd name="connsiteX27" fmla="*/ 21562 w 511670"/>
                <a:gd name="connsiteY27" fmla="*/ 260478 h 722187"/>
                <a:gd name="connsiteX28" fmla="*/ 32516 w 511670"/>
                <a:gd name="connsiteY28" fmla="*/ 260668 h 722187"/>
                <a:gd name="connsiteX29" fmla="*/ 39564 w 511670"/>
                <a:gd name="connsiteY29" fmla="*/ 263430 h 722187"/>
                <a:gd name="connsiteX30" fmla="*/ 72140 w 511670"/>
                <a:gd name="connsiteY30" fmla="*/ 223806 h 722187"/>
                <a:gd name="connsiteX31" fmla="*/ 67282 w 511670"/>
                <a:gd name="connsiteY31" fmla="*/ 249143 h 722187"/>
                <a:gd name="connsiteX32" fmla="*/ 68139 w 511670"/>
                <a:gd name="connsiteY32" fmla="*/ 261716 h 722187"/>
                <a:gd name="connsiteX33" fmla="*/ 63758 w 511670"/>
                <a:gd name="connsiteY33" fmla="*/ 293053 h 722187"/>
                <a:gd name="connsiteX34" fmla="*/ 75283 w 511670"/>
                <a:gd name="connsiteY34" fmla="*/ 286957 h 722187"/>
                <a:gd name="connsiteX35" fmla="*/ 81855 w 511670"/>
                <a:gd name="connsiteY35" fmla="*/ 256668 h 722187"/>
                <a:gd name="connsiteX36" fmla="*/ 93285 w 511670"/>
                <a:gd name="connsiteY36" fmla="*/ 247143 h 722187"/>
                <a:gd name="connsiteX37" fmla="*/ 105763 w 511670"/>
                <a:gd name="connsiteY37" fmla="*/ 252000 h 722187"/>
                <a:gd name="connsiteX38" fmla="*/ 108620 w 511670"/>
                <a:gd name="connsiteY38" fmla="*/ 242094 h 722187"/>
                <a:gd name="connsiteX39" fmla="*/ 115383 w 511670"/>
                <a:gd name="connsiteY39" fmla="*/ 251429 h 722187"/>
                <a:gd name="connsiteX40" fmla="*/ 118908 w 511670"/>
                <a:gd name="connsiteY40" fmla="*/ 264002 h 722187"/>
                <a:gd name="connsiteX41" fmla="*/ 131385 w 511670"/>
                <a:gd name="connsiteY41" fmla="*/ 276861 h 722187"/>
                <a:gd name="connsiteX42" fmla="*/ 131385 w 511670"/>
                <a:gd name="connsiteY42" fmla="*/ 278003 h 722187"/>
                <a:gd name="connsiteX43" fmla="*/ 116145 w 511670"/>
                <a:gd name="connsiteY43" fmla="*/ 291148 h 722187"/>
                <a:gd name="connsiteX44" fmla="*/ 96714 w 511670"/>
                <a:gd name="connsiteY44" fmla="*/ 329629 h 722187"/>
                <a:gd name="connsiteX45" fmla="*/ 111478 w 511670"/>
                <a:gd name="connsiteY45" fmla="*/ 351346 h 722187"/>
                <a:gd name="connsiteX46" fmla="*/ 113193 w 511670"/>
                <a:gd name="connsiteY46" fmla="*/ 338678 h 722187"/>
                <a:gd name="connsiteX47" fmla="*/ 123575 w 511670"/>
                <a:gd name="connsiteY47" fmla="*/ 334011 h 722187"/>
                <a:gd name="connsiteX48" fmla="*/ 144435 w 511670"/>
                <a:gd name="connsiteY48" fmla="*/ 342297 h 722187"/>
                <a:gd name="connsiteX49" fmla="*/ 149578 w 511670"/>
                <a:gd name="connsiteY49" fmla="*/ 332677 h 722187"/>
                <a:gd name="connsiteX50" fmla="*/ 173200 w 511670"/>
                <a:gd name="connsiteY50" fmla="*/ 335535 h 722187"/>
                <a:gd name="connsiteX51" fmla="*/ 195870 w 511670"/>
                <a:gd name="connsiteY51" fmla="*/ 321152 h 722187"/>
                <a:gd name="connsiteX52" fmla="*/ 213967 w 511670"/>
                <a:gd name="connsiteY52" fmla="*/ 323152 h 722187"/>
                <a:gd name="connsiteX53" fmla="*/ 198822 w 511670"/>
                <a:gd name="connsiteY53" fmla="*/ 338392 h 722187"/>
                <a:gd name="connsiteX54" fmla="*/ 192250 w 511670"/>
                <a:gd name="connsiteY54" fmla="*/ 368491 h 722187"/>
                <a:gd name="connsiteX55" fmla="*/ 218634 w 511670"/>
                <a:gd name="connsiteY55" fmla="*/ 392780 h 722187"/>
                <a:gd name="connsiteX56" fmla="*/ 230064 w 511670"/>
                <a:gd name="connsiteY56" fmla="*/ 387636 h 722187"/>
                <a:gd name="connsiteX57" fmla="*/ 237303 w 511670"/>
                <a:gd name="connsiteY57" fmla="*/ 398019 h 722187"/>
                <a:gd name="connsiteX58" fmla="*/ 226159 w 511670"/>
                <a:gd name="connsiteY58" fmla="*/ 422688 h 722187"/>
                <a:gd name="connsiteX59" fmla="*/ 226921 w 511670"/>
                <a:gd name="connsiteY59" fmla="*/ 423355 h 722187"/>
                <a:gd name="connsiteX60" fmla="*/ 221111 w 511670"/>
                <a:gd name="connsiteY60" fmla="*/ 444310 h 722187"/>
                <a:gd name="connsiteX61" fmla="*/ 218444 w 511670"/>
                <a:gd name="connsiteY61" fmla="*/ 461455 h 722187"/>
                <a:gd name="connsiteX62" fmla="*/ 202823 w 511670"/>
                <a:gd name="connsiteY62" fmla="*/ 456502 h 722187"/>
                <a:gd name="connsiteX63" fmla="*/ 183011 w 511670"/>
                <a:gd name="connsiteY63" fmla="*/ 459645 h 722187"/>
                <a:gd name="connsiteX64" fmla="*/ 180630 w 511670"/>
                <a:gd name="connsiteY64" fmla="*/ 458883 h 722187"/>
                <a:gd name="connsiteX65" fmla="*/ 165104 w 511670"/>
                <a:gd name="connsiteY65" fmla="*/ 463265 h 722187"/>
                <a:gd name="connsiteX66" fmla="*/ 142434 w 511670"/>
                <a:gd name="connsiteY66" fmla="*/ 452692 h 722187"/>
                <a:gd name="connsiteX67" fmla="*/ 129861 w 511670"/>
                <a:gd name="connsiteY67" fmla="*/ 459741 h 722187"/>
                <a:gd name="connsiteX68" fmla="*/ 141006 w 511670"/>
                <a:gd name="connsiteY68" fmla="*/ 480981 h 722187"/>
                <a:gd name="connsiteX69" fmla="*/ 125956 w 511670"/>
                <a:gd name="connsiteY69" fmla="*/ 496983 h 722187"/>
                <a:gd name="connsiteX70" fmla="*/ 142530 w 511670"/>
                <a:gd name="connsiteY70" fmla="*/ 498793 h 722187"/>
                <a:gd name="connsiteX71" fmla="*/ 159198 w 511670"/>
                <a:gd name="connsiteY71" fmla="*/ 497460 h 722187"/>
                <a:gd name="connsiteX72" fmla="*/ 156245 w 511670"/>
                <a:gd name="connsiteY72" fmla="*/ 539274 h 722187"/>
                <a:gd name="connsiteX73" fmla="*/ 93095 w 511670"/>
                <a:gd name="connsiteY73" fmla="*/ 569374 h 722187"/>
                <a:gd name="connsiteX74" fmla="*/ 98048 w 511670"/>
                <a:gd name="connsiteY74" fmla="*/ 580708 h 722187"/>
                <a:gd name="connsiteX75" fmla="*/ 96714 w 511670"/>
                <a:gd name="connsiteY75" fmla="*/ 582708 h 722187"/>
                <a:gd name="connsiteX76" fmla="*/ 116241 w 511670"/>
                <a:gd name="connsiteY76" fmla="*/ 590233 h 722187"/>
                <a:gd name="connsiteX77" fmla="*/ 134052 w 511670"/>
                <a:gd name="connsiteY77" fmla="*/ 580994 h 722187"/>
                <a:gd name="connsiteX78" fmla="*/ 151578 w 511670"/>
                <a:gd name="connsiteY78" fmla="*/ 588900 h 722187"/>
                <a:gd name="connsiteX79" fmla="*/ 150340 w 511670"/>
                <a:gd name="connsiteY79" fmla="*/ 591281 h 722187"/>
                <a:gd name="connsiteX80" fmla="*/ 180725 w 511670"/>
                <a:gd name="connsiteY80" fmla="*/ 595377 h 722187"/>
                <a:gd name="connsiteX81" fmla="*/ 198441 w 511670"/>
                <a:gd name="connsiteY81" fmla="*/ 609378 h 722187"/>
                <a:gd name="connsiteX82" fmla="*/ 217587 w 511670"/>
                <a:gd name="connsiteY82" fmla="*/ 604330 h 722187"/>
                <a:gd name="connsiteX83" fmla="*/ 220920 w 511670"/>
                <a:gd name="connsiteY83" fmla="*/ 599663 h 722187"/>
                <a:gd name="connsiteX84" fmla="*/ 229398 w 511670"/>
                <a:gd name="connsiteY84" fmla="*/ 594615 h 722187"/>
                <a:gd name="connsiteX85" fmla="*/ 246066 w 511670"/>
                <a:gd name="connsiteY85" fmla="*/ 595567 h 722187"/>
                <a:gd name="connsiteX86" fmla="*/ 231398 w 511670"/>
                <a:gd name="connsiteY86" fmla="*/ 607759 h 722187"/>
                <a:gd name="connsiteX87" fmla="*/ 226731 w 511670"/>
                <a:gd name="connsiteY87" fmla="*/ 619284 h 722187"/>
                <a:gd name="connsiteX88" fmla="*/ 221111 w 511670"/>
                <a:gd name="connsiteY88" fmla="*/ 625761 h 722187"/>
                <a:gd name="connsiteX89" fmla="*/ 211872 w 511670"/>
                <a:gd name="connsiteY89" fmla="*/ 627571 h 722187"/>
                <a:gd name="connsiteX90" fmla="*/ 199584 w 511670"/>
                <a:gd name="connsiteY90" fmla="*/ 625380 h 722187"/>
                <a:gd name="connsiteX91" fmla="*/ 189297 w 511670"/>
                <a:gd name="connsiteY91" fmla="*/ 623285 h 722187"/>
                <a:gd name="connsiteX92" fmla="*/ 152816 w 511670"/>
                <a:gd name="connsiteY92" fmla="*/ 629762 h 722187"/>
                <a:gd name="connsiteX93" fmla="*/ 146911 w 511670"/>
                <a:gd name="connsiteY93" fmla="*/ 639573 h 722187"/>
                <a:gd name="connsiteX94" fmla="*/ 134910 w 511670"/>
                <a:gd name="connsiteY94" fmla="*/ 643764 h 722187"/>
                <a:gd name="connsiteX95" fmla="*/ 128623 w 511670"/>
                <a:gd name="connsiteY95" fmla="*/ 659766 h 722187"/>
                <a:gd name="connsiteX96" fmla="*/ 110430 w 511670"/>
                <a:gd name="connsiteY96" fmla="*/ 672053 h 722187"/>
                <a:gd name="connsiteX97" fmla="*/ 93095 w 511670"/>
                <a:gd name="connsiteY97" fmla="*/ 692912 h 722187"/>
                <a:gd name="connsiteX98" fmla="*/ 64329 w 511670"/>
                <a:gd name="connsiteY98" fmla="*/ 710248 h 722187"/>
                <a:gd name="connsiteX99" fmla="*/ 64520 w 511670"/>
                <a:gd name="connsiteY99" fmla="*/ 712629 h 722187"/>
                <a:gd name="connsiteX100" fmla="*/ 87475 w 511670"/>
                <a:gd name="connsiteY100" fmla="*/ 714153 h 722187"/>
                <a:gd name="connsiteX101" fmla="*/ 98810 w 511670"/>
                <a:gd name="connsiteY101" fmla="*/ 721392 h 722187"/>
                <a:gd name="connsiteX102" fmla="*/ 107287 w 511670"/>
                <a:gd name="connsiteY102" fmla="*/ 712344 h 722187"/>
                <a:gd name="connsiteX103" fmla="*/ 114907 w 511670"/>
                <a:gd name="connsiteY103" fmla="*/ 700533 h 722187"/>
                <a:gd name="connsiteX104" fmla="*/ 155103 w 511670"/>
                <a:gd name="connsiteY104" fmla="*/ 689103 h 722187"/>
                <a:gd name="connsiteX105" fmla="*/ 187487 w 511670"/>
                <a:gd name="connsiteY105" fmla="*/ 699961 h 722187"/>
                <a:gd name="connsiteX106" fmla="*/ 207109 w 511670"/>
                <a:gd name="connsiteY106" fmla="*/ 667767 h 722187"/>
                <a:gd name="connsiteX107" fmla="*/ 240161 w 511670"/>
                <a:gd name="connsiteY107" fmla="*/ 662814 h 722187"/>
                <a:gd name="connsiteX108" fmla="*/ 253305 w 511670"/>
                <a:gd name="connsiteY108" fmla="*/ 670053 h 722187"/>
                <a:gd name="connsiteX109" fmla="*/ 263783 w 511670"/>
                <a:gd name="connsiteY109" fmla="*/ 670053 h 722187"/>
                <a:gd name="connsiteX110" fmla="*/ 286071 w 511670"/>
                <a:gd name="connsiteY110" fmla="*/ 672434 h 722187"/>
                <a:gd name="connsiteX111" fmla="*/ 289691 w 511670"/>
                <a:gd name="connsiteY111" fmla="*/ 667767 h 722187"/>
                <a:gd name="connsiteX112" fmla="*/ 293501 w 511670"/>
                <a:gd name="connsiteY112" fmla="*/ 661099 h 722187"/>
                <a:gd name="connsiteX113" fmla="*/ 323600 w 511670"/>
                <a:gd name="connsiteY113" fmla="*/ 652717 h 722187"/>
                <a:gd name="connsiteX114" fmla="*/ 361414 w 511670"/>
                <a:gd name="connsiteY114" fmla="*/ 658242 h 722187"/>
                <a:gd name="connsiteX115" fmla="*/ 395323 w 511670"/>
                <a:gd name="connsiteY115" fmla="*/ 652241 h 722187"/>
                <a:gd name="connsiteX116" fmla="*/ 417707 w 511670"/>
                <a:gd name="connsiteY116" fmla="*/ 659194 h 722187"/>
                <a:gd name="connsiteX117" fmla="*/ 426375 w 511670"/>
                <a:gd name="connsiteY117" fmla="*/ 655670 h 722187"/>
                <a:gd name="connsiteX118" fmla="*/ 440662 w 511670"/>
                <a:gd name="connsiteY118" fmla="*/ 651193 h 722187"/>
                <a:gd name="connsiteX119" fmla="*/ 451044 w 511670"/>
                <a:gd name="connsiteY119" fmla="*/ 646526 h 722187"/>
                <a:gd name="connsiteX120" fmla="*/ 467332 w 511670"/>
                <a:gd name="connsiteY120" fmla="*/ 641478 h 722187"/>
                <a:gd name="connsiteX121" fmla="*/ 475619 w 511670"/>
                <a:gd name="connsiteY121" fmla="*/ 632810 h 722187"/>
                <a:gd name="connsiteX122" fmla="*/ 486763 w 511670"/>
                <a:gd name="connsiteY122" fmla="*/ 629095 h 722187"/>
                <a:gd name="connsiteX123" fmla="*/ 493431 w 511670"/>
                <a:gd name="connsiteY123" fmla="*/ 617284 h 722187"/>
                <a:gd name="connsiteX124" fmla="*/ 472190 w 511670"/>
                <a:gd name="connsiteY124" fmla="*/ 612141 h 722187"/>
                <a:gd name="connsiteX125" fmla="*/ 456283 w 511670"/>
                <a:gd name="connsiteY125" fmla="*/ 607378 h 722187"/>
                <a:gd name="connsiteX126" fmla="*/ 455997 w 511670"/>
                <a:gd name="connsiteY126" fmla="*/ 607378 h 722187"/>
                <a:gd name="connsiteX127" fmla="*/ 449997 w 511670"/>
                <a:gd name="connsiteY127" fmla="*/ 602235 h 722187"/>
                <a:gd name="connsiteX128" fmla="*/ 458093 w 511670"/>
                <a:gd name="connsiteY128" fmla="*/ 595091 h 722187"/>
                <a:gd name="connsiteX129" fmla="*/ 462570 w 511670"/>
                <a:gd name="connsiteY129" fmla="*/ 585661 h 722187"/>
                <a:gd name="connsiteX130" fmla="*/ 467332 w 511670"/>
                <a:gd name="connsiteY130" fmla="*/ 579089 h 722187"/>
                <a:gd name="connsiteX131" fmla="*/ 477810 w 511670"/>
                <a:gd name="connsiteY131" fmla="*/ 576708 h 722187"/>
                <a:gd name="connsiteX132" fmla="*/ 489144 w 511670"/>
                <a:gd name="connsiteY132" fmla="*/ 562992 h 722187"/>
                <a:gd name="connsiteX133" fmla="*/ 498003 w 511670"/>
                <a:gd name="connsiteY133" fmla="*/ 557086 h 722187"/>
                <a:gd name="connsiteX134" fmla="*/ 503718 w 511670"/>
                <a:gd name="connsiteY134" fmla="*/ 545561 h 722187"/>
                <a:gd name="connsiteX135" fmla="*/ 508861 w 511670"/>
                <a:gd name="connsiteY135" fmla="*/ 534226 h 722187"/>
                <a:gd name="connsiteX136" fmla="*/ 505813 w 511670"/>
                <a:gd name="connsiteY136" fmla="*/ 504794 h 722187"/>
                <a:gd name="connsiteX137" fmla="*/ 475714 w 511670"/>
                <a:gd name="connsiteY137" fmla="*/ 487935 h 722187"/>
                <a:gd name="connsiteX138" fmla="*/ 436947 w 511670"/>
                <a:gd name="connsiteY138" fmla="*/ 491459 h 722187"/>
                <a:gd name="connsiteX139" fmla="*/ 428280 w 511670"/>
                <a:gd name="connsiteY139" fmla="*/ 499174 h 722187"/>
                <a:gd name="connsiteX140" fmla="*/ 413040 w 511670"/>
                <a:gd name="connsiteY140" fmla="*/ 494602 h 722187"/>
                <a:gd name="connsiteX141" fmla="*/ 427041 w 511670"/>
                <a:gd name="connsiteY141" fmla="*/ 466122 h 722187"/>
                <a:gd name="connsiteX142" fmla="*/ 413135 w 511670"/>
                <a:gd name="connsiteY142" fmla="*/ 446977 h 722187"/>
                <a:gd name="connsiteX143" fmla="*/ 401038 w 511670"/>
                <a:gd name="connsiteY143" fmla="*/ 441834 h 722187"/>
                <a:gd name="connsiteX144" fmla="*/ 400371 w 511670"/>
                <a:gd name="connsiteY144" fmla="*/ 440595 h 722187"/>
                <a:gd name="connsiteX145" fmla="*/ 411039 w 511670"/>
                <a:gd name="connsiteY145" fmla="*/ 426308 h 722187"/>
                <a:gd name="connsiteX146" fmla="*/ 397323 w 511670"/>
                <a:gd name="connsiteY146" fmla="*/ 401067 h 722187"/>
                <a:gd name="connsiteX147" fmla="*/ 400276 w 511670"/>
                <a:gd name="connsiteY147" fmla="*/ 392589 h 722187"/>
                <a:gd name="connsiteX148" fmla="*/ 367224 w 511670"/>
                <a:gd name="connsiteY148" fmla="*/ 362681 h 722187"/>
                <a:gd name="connsiteX149" fmla="*/ 323505 w 511670"/>
                <a:gd name="connsiteY149" fmla="*/ 318770 h 722187"/>
                <a:gd name="connsiteX150" fmla="*/ 313789 w 511670"/>
                <a:gd name="connsiteY150" fmla="*/ 302102 h 722187"/>
                <a:gd name="connsiteX151" fmla="*/ 309408 w 511670"/>
                <a:gd name="connsiteY151" fmla="*/ 274099 h 722187"/>
                <a:gd name="connsiteX152" fmla="*/ 298930 w 511670"/>
                <a:gd name="connsiteY152" fmla="*/ 267050 h 722187"/>
                <a:gd name="connsiteX153" fmla="*/ 272165 w 511670"/>
                <a:gd name="connsiteY153" fmla="*/ 239999 h 722187"/>
                <a:gd name="connsiteX154" fmla="*/ 235017 w 511670"/>
                <a:gd name="connsiteY154" fmla="*/ 233903 h 722187"/>
                <a:gd name="connsiteX155" fmla="*/ 233398 w 511670"/>
                <a:gd name="connsiteY155" fmla="*/ 236379 h 722187"/>
                <a:gd name="connsiteX156" fmla="*/ 225207 w 511670"/>
                <a:gd name="connsiteY156" fmla="*/ 239808 h 722187"/>
                <a:gd name="connsiteX157" fmla="*/ 216539 w 511670"/>
                <a:gd name="connsiteY157" fmla="*/ 224092 h 722187"/>
                <a:gd name="connsiteX158" fmla="*/ 231588 w 511670"/>
                <a:gd name="connsiteY158" fmla="*/ 215329 h 722187"/>
                <a:gd name="connsiteX159" fmla="*/ 232160 w 511670"/>
                <a:gd name="connsiteY159" fmla="*/ 215520 h 722187"/>
                <a:gd name="connsiteX160" fmla="*/ 247590 w 511670"/>
                <a:gd name="connsiteY160" fmla="*/ 213234 h 722187"/>
                <a:gd name="connsiteX161" fmla="*/ 242256 w 511670"/>
                <a:gd name="connsiteY161" fmla="*/ 194374 h 722187"/>
                <a:gd name="connsiteX162" fmla="*/ 251115 w 511670"/>
                <a:gd name="connsiteY162" fmla="*/ 189326 h 722187"/>
                <a:gd name="connsiteX163" fmla="*/ 256353 w 511670"/>
                <a:gd name="connsiteY163" fmla="*/ 177801 h 722187"/>
                <a:gd name="connsiteX164" fmla="*/ 277880 w 511670"/>
                <a:gd name="connsiteY164" fmla="*/ 146463 h 722187"/>
                <a:gd name="connsiteX165" fmla="*/ 281785 w 511670"/>
                <a:gd name="connsiteY165" fmla="*/ 132557 h 722187"/>
                <a:gd name="connsiteX166" fmla="*/ 297692 w 511670"/>
                <a:gd name="connsiteY166" fmla="*/ 101601 h 722187"/>
                <a:gd name="connsiteX167" fmla="*/ 281404 w 511670"/>
                <a:gd name="connsiteY167" fmla="*/ 88170 h 722187"/>
                <a:gd name="connsiteX168" fmla="*/ 196346 w 511670"/>
                <a:gd name="connsiteY168" fmla="*/ 88551 h 722187"/>
                <a:gd name="connsiteX169" fmla="*/ 170247 w 511670"/>
                <a:gd name="connsiteY169" fmla="*/ 99695 h 722187"/>
                <a:gd name="connsiteX170" fmla="*/ 163104 w 511670"/>
                <a:gd name="connsiteY170" fmla="*/ 94457 h 722187"/>
                <a:gd name="connsiteX171" fmla="*/ 174153 w 511670"/>
                <a:gd name="connsiteY171" fmla="*/ 73883 h 722187"/>
                <a:gd name="connsiteX172" fmla="*/ 163961 w 511670"/>
                <a:gd name="connsiteY172" fmla="*/ 69978 h 722187"/>
                <a:gd name="connsiteX173" fmla="*/ 221016 w 511670"/>
                <a:gd name="connsiteY173" fmla="*/ 21114 h 722187"/>
                <a:gd name="connsiteX174" fmla="*/ 218825 w 511670"/>
                <a:gd name="connsiteY174" fmla="*/ 3969 h 722187"/>
                <a:gd name="connsiteX175" fmla="*/ 202728 w 511670"/>
                <a:gd name="connsiteY175" fmla="*/ 2160 h 722187"/>
                <a:gd name="connsiteX176" fmla="*/ 193965 w 511670"/>
                <a:gd name="connsiteY176" fmla="*/ 4255 h 722187"/>
                <a:gd name="connsiteX177" fmla="*/ 176248 w 511670"/>
                <a:gd name="connsiteY177" fmla="*/ 9018 h 722187"/>
                <a:gd name="connsiteX178" fmla="*/ 160818 w 511670"/>
                <a:gd name="connsiteY178" fmla="*/ 8636 h 722187"/>
                <a:gd name="connsiteX179" fmla="*/ 147578 w 511670"/>
                <a:gd name="connsiteY179" fmla="*/ 11780 h 722187"/>
                <a:gd name="connsiteX180" fmla="*/ 130147 w 511670"/>
                <a:gd name="connsiteY180" fmla="*/ 12828 h 722187"/>
                <a:gd name="connsiteX181" fmla="*/ 122718 w 511670"/>
                <a:gd name="connsiteY181" fmla="*/ 16257 h 722187"/>
                <a:gd name="connsiteX182" fmla="*/ 118908 w 511670"/>
                <a:gd name="connsiteY182" fmla="*/ 5303 h 722187"/>
                <a:gd name="connsiteX183" fmla="*/ 105668 w 511670"/>
                <a:gd name="connsiteY183" fmla="*/ 8256 h 722187"/>
                <a:gd name="connsiteX184" fmla="*/ 103096 w 511670"/>
                <a:gd name="connsiteY184" fmla="*/ 17304 h 722187"/>
                <a:gd name="connsiteX185" fmla="*/ 103382 w 511670"/>
                <a:gd name="connsiteY185" fmla="*/ 18447 h 722187"/>
                <a:gd name="connsiteX186" fmla="*/ 99572 w 511670"/>
                <a:gd name="connsiteY186" fmla="*/ 25686 h 722187"/>
                <a:gd name="connsiteX187" fmla="*/ 97000 w 511670"/>
                <a:gd name="connsiteY187" fmla="*/ 34068 h 722187"/>
                <a:gd name="connsiteX188" fmla="*/ 84808 w 511670"/>
                <a:gd name="connsiteY188" fmla="*/ 43308 h 722187"/>
                <a:gd name="connsiteX189" fmla="*/ 86046 w 511670"/>
                <a:gd name="connsiteY189" fmla="*/ 46070 h 722187"/>
                <a:gd name="connsiteX190" fmla="*/ 83474 w 511670"/>
                <a:gd name="connsiteY190" fmla="*/ 53595 h 722187"/>
                <a:gd name="connsiteX191" fmla="*/ 95190 w 511670"/>
                <a:gd name="connsiteY191" fmla="*/ 68644 h 722187"/>
                <a:gd name="connsiteX192" fmla="*/ 81665 w 511670"/>
                <a:gd name="connsiteY192" fmla="*/ 75407 h 722187"/>
                <a:gd name="connsiteX193" fmla="*/ 72902 w 511670"/>
                <a:gd name="connsiteY193" fmla="*/ 73597 h 722187"/>
                <a:gd name="connsiteX194" fmla="*/ 62520 w 511670"/>
                <a:gd name="connsiteY194" fmla="*/ 72930 h 722187"/>
                <a:gd name="connsiteX195" fmla="*/ 60805 w 511670"/>
                <a:gd name="connsiteY195" fmla="*/ 80550 h 722187"/>
                <a:gd name="connsiteX196" fmla="*/ 62520 w 511670"/>
                <a:gd name="connsiteY196" fmla="*/ 93409 h 722187"/>
                <a:gd name="connsiteX197" fmla="*/ 63758 w 511670"/>
                <a:gd name="connsiteY197" fmla="*/ 94457 h 722187"/>
                <a:gd name="connsiteX198" fmla="*/ 61662 w 511670"/>
                <a:gd name="connsiteY198" fmla="*/ 99410 h 722187"/>
                <a:gd name="connsiteX199" fmla="*/ 57376 w 511670"/>
                <a:gd name="connsiteY199" fmla="*/ 108840 h 722187"/>
                <a:gd name="connsiteX200" fmla="*/ 69663 w 511670"/>
                <a:gd name="connsiteY200" fmla="*/ 114555 h 722187"/>
                <a:gd name="connsiteX201" fmla="*/ 64901 w 511670"/>
                <a:gd name="connsiteY201" fmla="*/ 122936 h 722187"/>
                <a:gd name="connsiteX202" fmla="*/ 54614 w 511670"/>
                <a:gd name="connsiteY202" fmla="*/ 125318 h 722187"/>
                <a:gd name="connsiteX203" fmla="*/ 47280 w 511670"/>
                <a:gd name="connsiteY203" fmla="*/ 111126 h 722187"/>
                <a:gd name="connsiteX204" fmla="*/ 42136 w 511670"/>
                <a:gd name="connsiteY204" fmla="*/ 111697 h 722187"/>
                <a:gd name="connsiteX205" fmla="*/ 35183 w 511670"/>
                <a:gd name="connsiteY205" fmla="*/ 93123 h 722187"/>
                <a:gd name="connsiteX206" fmla="*/ 26420 w 511670"/>
                <a:gd name="connsiteY206" fmla="*/ 89694 h 72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511670" h="722187">
                  <a:moveTo>
                    <a:pt x="26515" y="89409"/>
                  </a:moveTo>
                  <a:cubicBezTo>
                    <a:pt x="22610" y="91314"/>
                    <a:pt x="24420" y="98076"/>
                    <a:pt x="24420" y="97124"/>
                  </a:cubicBezTo>
                  <a:cubicBezTo>
                    <a:pt x="28230" y="110554"/>
                    <a:pt x="12799" y="99695"/>
                    <a:pt x="14514" y="100267"/>
                  </a:cubicBezTo>
                  <a:cubicBezTo>
                    <a:pt x="12228" y="98362"/>
                    <a:pt x="10323" y="98362"/>
                    <a:pt x="10132" y="100362"/>
                  </a:cubicBezTo>
                  <a:cubicBezTo>
                    <a:pt x="9846" y="105411"/>
                    <a:pt x="3179" y="103601"/>
                    <a:pt x="416" y="110078"/>
                  </a:cubicBezTo>
                  <a:cubicBezTo>
                    <a:pt x="-1584" y="114650"/>
                    <a:pt x="4322" y="117793"/>
                    <a:pt x="3369" y="116841"/>
                  </a:cubicBezTo>
                  <a:cubicBezTo>
                    <a:pt x="10799" y="120174"/>
                    <a:pt x="15561" y="111697"/>
                    <a:pt x="17752" y="119031"/>
                  </a:cubicBezTo>
                  <a:cubicBezTo>
                    <a:pt x="21467" y="126366"/>
                    <a:pt x="29849" y="135414"/>
                    <a:pt x="35659" y="131890"/>
                  </a:cubicBezTo>
                  <a:cubicBezTo>
                    <a:pt x="40422" y="128937"/>
                    <a:pt x="48518" y="133319"/>
                    <a:pt x="44422" y="138272"/>
                  </a:cubicBezTo>
                  <a:cubicBezTo>
                    <a:pt x="40326" y="143130"/>
                    <a:pt x="47089" y="148178"/>
                    <a:pt x="52137" y="142939"/>
                  </a:cubicBezTo>
                  <a:cubicBezTo>
                    <a:pt x="53471" y="141891"/>
                    <a:pt x="57757" y="135033"/>
                    <a:pt x="64424" y="136081"/>
                  </a:cubicBezTo>
                  <a:cubicBezTo>
                    <a:pt x="75474" y="137795"/>
                    <a:pt x="46899" y="154560"/>
                    <a:pt x="56709" y="157703"/>
                  </a:cubicBezTo>
                  <a:cubicBezTo>
                    <a:pt x="61091" y="159036"/>
                    <a:pt x="57090" y="164275"/>
                    <a:pt x="57471" y="163323"/>
                  </a:cubicBezTo>
                  <a:cubicBezTo>
                    <a:pt x="52518" y="169133"/>
                    <a:pt x="39755" y="166656"/>
                    <a:pt x="40707" y="166561"/>
                  </a:cubicBezTo>
                  <a:cubicBezTo>
                    <a:pt x="33564" y="166085"/>
                    <a:pt x="30801" y="172752"/>
                    <a:pt x="37945" y="173514"/>
                  </a:cubicBezTo>
                  <a:cubicBezTo>
                    <a:pt x="40422" y="173991"/>
                    <a:pt x="51470" y="173705"/>
                    <a:pt x="50613" y="177705"/>
                  </a:cubicBezTo>
                  <a:cubicBezTo>
                    <a:pt x="49185" y="184563"/>
                    <a:pt x="24896" y="180563"/>
                    <a:pt x="30039" y="189802"/>
                  </a:cubicBezTo>
                  <a:cubicBezTo>
                    <a:pt x="30611" y="191612"/>
                    <a:pt x="37945" y="199613"/>
                    <a:pt x="30420" y="200756"/>
                  </a:cubicBezTo>
                  <a:lnTo>
                    <a:pt x="24991" y="201518"/>
                  </a:lnTo>
                  <a:cubicBezTo>
                    <a:pt x="19371" y="202375"/>
                    <a:pt x="20800" y="209328"/>
                    <a:pt x="20895" y="208376"/>
                  </a:cubicBezTo>
                  <a:cubicBezTo>
                    <a:pt x="21467" y="211328"/>
                    <a:pt x="24420" y="213234"/>
                    <a:pt x="27277" y="212662"/>
                  </a:cubicBezTo>
                  <a:cubicBezTo>
                    <a:pt x="41755" y="209900"/>
                    <a:pt x="51280" y="209138"/>
                    <a:pt x="57090" y="204185"/>
                  </a:cubicBezTo>
                  <a:lnTo>
                    <a:pt x="60805" y="201042"/>
                  </a:lnTo>
                  <a:cubicBezTo>
                    <a:pt x="66234" y="196470"/>
                    <a:pt x="72711" y="203423"/>
                    <a:pt x="67758" y="208566"/>
                  </a:cubicBezTo>
                  <a:lnTo>
                    <a:pt x="41945" y="235332"/>
                  </a:lnTo>
                  <a:cubicBezTo>
                    <a:pt x="36707" y="240761"/>
                    <a:pt x="24705" y="241999"/>
                    <a:pt x="25658" y="241713"/>
                  </a:cubicBezTo>
                  <a:cubicBezTo>
                    <a:pt x="22705" y="242285"/>
                    <a:pt x="19943" y="245142"/>
                    <a:pt x="19466" y="248095"/>
                  </a:cubicBezTo>
                  <a:cubicBezTo>
                    <a:pt x="19371" y="251810"/>
                    <a:pt x="14609" y="264192"/>
                    <a:pt x="21562" y="260478"/>
                  </a:cubicBezTo>
                  <a:cubicBezTo>
                    <a:pt x="22610" y="260192"/>
                    <a:pt x="29182" y="254572"/>
                    <a:pt x="32516" y="260668"/>
                  </a:cubicBezTo>
                  <a:cubicBezTo>
                    <a:pt x="33468" y="261620"/>
                    <a:pt x="35754" y="268860"/>
                    <a:pt x="39564" y="263430"/>
                  </a:cubicBezTo>
                  <a:cubicBezTo>
                    <a:pt x="65568" y="226378"/>
                    <a:pt x="67377" y="221425"/>
                    <a:pt x="72140" y="223806"/>
                  </a:cubicBezTo>
                  <a:cubicBezTo>
                    <a:pt x="79283" y="227426"/>
                    <a:pt x="63758" y="238570"/>
                    <a:pt x="67282" y="249143"/>
                  </a:cubicBezTo>
                  <a:cubicBezTo>
                    <a:pt x="67473" y="250095"/>
                    <a:pt x="70140" y="255239"/>
                    <a:pt x="68139" y="261716"/>
                  </a:cubicBezTo>
                  <a:cubicBezTo>
                    <a:pt x="60615" y="286195"/>
                    <a:pt x="56519" y="293625"/>
                    <a:pt x="63758" y="293053"/>
                  </a:cubicBezTo>
                  <a:cubicBezTo>
                    <a:pt x="65377" y="292577"/>
                    <a:pt x="74140" y="294101"/>
                    <a:pt x="75283" y="286957"/>
                  </a:cubicBezTo>
                  <a:cubicBezTo>
                    <a:pt x="77474" y="272289"/>
                    <a:pt x="78141" y="263240"/>
                    <a:pt x="81855" y="256668"/>
                  </a:cubicBezTo>
                  <a:cubicBezTo>
                    <a:pt x="84427" y="253524"/>
                    <a:pt x="87475" y="241809"/>
                    <a:pt x="93285" y="247143"/>
                  </a:cubicBezTo>
                  <a:cubicBezTo>
                    <a:pt x="96333" y="249143"/>
                    <a:pt x="103477" y="259620"/>
                    <a:pt x="105763" y="252000"/>
                  </a:cubicBezTo>
                  <a:lnTo>
                    <a:pt x="108620" y="242094"/>
                  </a:lnTo>
                  <a:cubicBezTo>
                    <a:pt x="110621" y="235427"/>
                    <a:pt x="116050" y="244095"/>
                    <a:pt x="115383" y="251429"/>
                  </a:cubicBezTo>
                  <a:cubicBezTo>
                    <a:pt x="115478" y="252762"/>
                    <a:pt x="113002" y="260287"/>
                    <a:pt x="118908" y="264002"/>
                  </a:cubicBezTo>
                  <a:cubicBezTo>
                    <a:pt x="121860" y="266383"/>
                    <a:pt x="130814" y="269050"/>
                    <a:pt x="131385" y="276861"/>
                  </a:cubicBezTo>
                  <a:lnTo>
                    <a:pt x="131385" y="278003"/>
                  </a:lnTo>
                  <a:cubicBezTo>
                    <a:pt x="132052" y="286767"/>
                    <a:pt x="121574" y="282766"/>
                    <a:pt x="116145" y="291148"/>
                  </a:cubicBezTo>
                  <a:cubicBezTo>
                    <a:pt x="96428" y="321628"/>
                    <a:pt x="93857" y="323438"/>
                    <a:pt x="96714" y="329629"/>
                  </a:cubicBezTo>
                  <a:cubicBezTo>
                    <a:pt x="102906" y="342774"/>
                    <a:pt x="104525" y="349727"/>
                    <a:pt x="111478" y="351346"/>
                  </a:cubicBezTo>
                  <a:cubicBezTo>
                    <a:pt x="119098" y="353061"/>
                    <a:pt x="113097" y="337725"/>
                    <a:pt x="113193" y="338678"/>
                  </a:cubicBezTo>
                  <a:cubicBezTo>
                    <a:pt x="111478" y="331820"/>
                    <a:pt x="117574" y="330105"/>
                    <a:pt x="123575" y="334011"/>
                  </a:cubicBezTo>
                  <a:cubicBezTo>
                    <a:pt x="137767" y="343345"/>
                    <a:pt x="144435" y="349536"/>
                    <a:pt x="144435" y="342297"/>
                  </a:cubicBezTo>
                  <a:cubicBezTo>
                    <a:pt x="144720" y="340964"/>
                    <a:pt x="142625" y="330486"/>
                    <a:pt x="149578" y="332677"/>
                  </a:cubicBezTo>
                  <a:cubicBezTo>
                    <a:pt x="157960" y="334582"/>
                    <a:pt x="166628" y="340869"/>
                    <a:pt x="173200" y="335535"/>
                  </a:cubicBezTo>
                  <a:cubicBezTo>
                    <a:pt x="181963" y="328391"/>
                    <a:pt x="188249" y="321628"/>
                    <a:pt x="195870" y="321152"/>
                  </a:cubicBezTo>
                  <a:cubicBezTo>
                    <a:pt x="204252" y="321152"/>
                    <a:pt x="220825" y="317913"/>
                    <a:pt x="213967" y="323152"/>
                  </a:cubicBezTo>
                  <a:cubicBezTo>
                    <a:pt x="207585" y="328010"/>
                    <a:pt x="201394" y="331820"/>
                    <a:pt x="198822" y="338392"/>
                  </a:cubicBezTo>
                  <a:cubicBezTo>
                    <a:pt x="190916" y="358871"/>
                    <a:pt x="187964" y="363252"/>
                    <a:pt x="192250" y="368491"/>
                  </a:cubicBezTo>
                  <a:cubicBezTo>
                    <a:pt x="210824" y="391542"/>
                    <a:pt x="213777" y="398304"/>
                    <a:pt x="218634" y="392780"/>
                  </a:cubicBezTo>
                  <a:cubicBezTo>
                    <a:pt x="219968" y="391732"/>
                    <a:pt x="223873" y="384017"/>
                    <a:pt x="230064" y="387636"/>
                  </a:cubicBezTo>
                  <a:cubicBezTo>
                    <a:pt x="231588" y="388970"/>
                    <a:pt x="241685" y="392018"/>
                    <a:pt x="237303" y="398019"/>
                  </a:cubicBezTo>
                  <a:cubicBezTo>
                    <a:pt x="231017" y="408782"/>
                    <a:pt x="219587" y="416687"/>
                    <a:pt x="226159" y="422688"/>
                  </a:cubicBezTo>
                  <a:lnTo>
                    <a:pt x="226921" y="423355"/>
                  </a:lnTo>
                  <a:cubicBezTo>
                    <a:pt x="234065" y="429832"/>
                    <a:pt x="220063" y="433452"/>
                    <a:pt x="221111" y="444310"/>
                  </a:cubicBezTo>
                  <a:cubicBezTo>
                    <a:pt x="221111" y="450501"/>
                    <a:pt x="225683" y="466027"/>
                    <a:pt x="218444" y="461455"/>
                  </a:cubicBezTo>
                  <a:cubicBezTo>
                    <a:pt x="216348" y="460503"/>
                    <a:pt x="209966" y="454216"/>
                    <a:pt x="202823" y="456502"/>
                  </a:cubicBezTo>
                  <a:cubicBezTo>
                    <a:pt x="195965" y="458693"/>
                    <a:pt x="189488" y="461645"/>
                    <a:pt x="183011" y="459645"/>
                  </a:cubicBezTo>
                  <a:lnTo>
                    <a:pt x="180630" y="458883"/>
                  </a:lnTo>
                  <a:cubicBezTo>
                    <a:pt x="173486" y="456693"/>
                    <a:pt x="164151" y="463741"/>
                    <a:pt x="165104" y="463265"/>
                  </a:cubicBezTo>
                  <a:cubicBezTo>
                    <a:pt x="155674" y="468694"/>
                    <a:pt x="153769" y="450597"/>
                    <a:pt x="142434" y="452692"/>
                  </a:cubicBezTo>
                  <a:cubicBezTo>
                    <a:pt x="138148" y="454121"/>
                    <a:pt x="124527" y="453645"/>
                    <a:pt x="129861" y="459741"/>
                  </a:cubicBezTo>
                  <a:cubicBezTo>
                    <a:pt x="135957" y="468503"/>
                    <a:pt x="148054" y="475933"/>
                    <a:pt x="141006" y="480981"/>
                  </a:cubicBezTo>
                  <a:cubicBezTo>
                    <a:pt x="127194" y="490792"/>
                    <a:pt x="119098" y="494793"/>
                    <a:pt x="125956" y="496983"/>
                  </a:cubicBezTo>
                  <a:cubicBezTo>
                    <a:pt x="128433" y="497460"/>
                    <a:pt x="135576" y="501651"/>
                    <a:pt x="142530" y="498793"/>
                  </a:cubicBezTo>
                  <a:cubicBezTo>
                    <a:pt x="148054" y="497364"/>
                    <a:pt x="158817" y="489268"/>
                    <a:pt x="159198" y="497460"/>
                  </a:cubicBezTo>
                  <a:cubicBezTo>
                    <a:pt x="161008" y="531559"/>
                    <a:pt x="162913" y="536607"/>
                    <a:pt x="156245" y="539274"/>
                  </a:cubicBezTo>
                  <a:cubicBezTo>
                    <a:pt x="92904" y="564325"/>
                    <a:pt x="87380" y="564420"/>
                    <a:pt x="93095" y="569374"/>
                  </a:cubicBezTo>
                  <a:cubicBezTo>
                    <a:pt x="94047" y="570612"/>
                    <a:pt x="101858" y="574612"/>
                    <a:pt x="98048" y="580708"/>
                  </a:cubicBezTo>
                  <a:lnTo>
                    <a:pt x="96714" y="582708"/>
                  </a:lnTo>
                  <a:cubicBezTo>
                    <a:pt x="91857" y="590233"/>
                    <a:pt x="111002" y="594424"/>
                    <a:pt x="116241" y="590233"/>
                  </a:cubicBezTo>
                  <a:cubicBezTo>
                    <a:pt x="120812" y="587280"/>
                    <a:pt x="126147" y="579756"/>
                    <a:pt x="134052" y="580994"/>
                  </a:cubicBezTo>
                  <a:cubicBezTo>
                    <a:pt x="141101" y="582994"/>
                    <a:pt x="155579" y="581280"/>
                    <a:pt x="151578" y="588900"/>
                  </a:cubicBezTo>
                  <a:lnTo>
                    <a:pt x="150340" y="591281"/>
                  </a:lnTo>
                  <a:cubicBezTo>
                    <a:pt x="144625" y="602044"/>
                    <a:pt x="172819" y="586233"/>
                    <a:pt x="180725" y="595377"/>
                  </a:cubicBezTo>
                  <a:cubicBezTo>
                    <a:pt x="185868" y="600234"/>
                    <a:pt x="190059" y="609664"/>
                    <a:pt x="198441" y="609378"/>
                  </a:cubicBezTo>
                  <a:cubicBezTo>
                    <a:pt x="203775" y="608616"/>
                    <a:pt x="213015" y="610902"/>
                    <a:pt x="217587" y="604330"/>
                  </a:cubicBezTo>
                  <a:lnTo>
                    <a:pt x="220920" y="599663"/>
                  </a:lnTo>
                  <a:cubicBezTo>
                    <a:pt x="222635" y="597282"/>
                    <a:pt x="226445" y="594996"/>
                    <a:pt x="229398" y="594615"/>
                  </a:cubicBezTo>
                  <a:cubicBezTo>
                    <a:pt x="239685" y="593376"/>
                    <a:pt x="251877" y="590709"/>
                    <a:pt x="246066" y="595567"/>
                  </a:cubicBezTo>
                  <a:lnTo>
                    <a:pt x="231398" y="607759"/>
                  </a:lnTo>
                  <a:cubicBezTo>
                    <a:pt x="226445" y="611855"/>
                    <a:pt x="226540" y="620237"/>
                    <a:pt x="226731" y="619284"/>
                  </a:cubicBezTo>
                  <a:cubicBezTo>
                    <a:pt x="226540" y="622237"/>
                    <a:pt x="224064" y="625190"/>
                    <a:pt x="221111" y="625761"/>
                  </a:cubicBezTo>
                  <a:lnTo>
                    <a:pt x="211872" y="627571"/>
                  </a:lnTo>
                  <a:cubicBezTo>
                    <a:pt x="205776" y="628809"/>
                    <a:pt x="198632" y="625095"/>
                    <a:pt x="199584" y="625380"/>
                  </a:cubicBezTo>
                  <a:cubicBezTo>
                    <a:pt x="196917" y="624142"/>
                    <a:pt x="192250" y="623190"/>
                    <a:pt x="189297" y="623285"/>
                  </a:cubicBezTo>
                  <a:cubicBezTo>
                    <a:pt x="159008" y="624237"/>
                    <a:pt x="153198" y="622618"/>
                    <a:pt x="152816" y="629762"/>
                  </a:cubicBezTo>
                  <a:cubicBezTo>
                    <a:pt x="152531" y="630810"/>
                    <a:pt x="153960" y="640239"/>
                    <a:pt x="146911" y="639573"/>
                  </a:cubicBezTo>
                  <a:cubicBezTo>
                    <a:pt x="145197" y="639763"/>
                    <a:pt x="135957" y="636525"/>
                    <a:pt x="134910" y="643764"/>
                  </a:cubicBezTo>
                  <a:cubicBezTo>
                    <a:pt x="134148" y="646812"/>
                    <a:pt x="134910" y="655479"/>
                    <a:pt x="128623" y="659766"/>
                  </a:cubicBezTo>
                  <a:lnTo>
                    <a:pt x="110430" y="672053"/>
                  </a:lnTo>
                  <a:cubicBezTo>
                    <a:pt x="101286" y="678244"/>
                    <a:pt x="102334" y="689103"/>
                    <a:pt x="93095" y="692912"/>
                  </a:cubicBezTo>
                  <a:cubicBezTo>
                    <a:pt x="68806" y="702914"/>
                    <a:pt x="63853" y="703390"/>
                    <a:pt x="64329" y="710248"/>
                  </a:cubicBezTo>
                  <a:lnTo>
                    <a:pt x="64520" y="712629"/>
                  </a:lnTo>
                  <a:cubicBezTo>
                    <a:pt x="65282" y="724345"/>
                    <a:pt x="80998" y="704533"/>
                    <a:pt x="87475" y="714153"/>
                  </a:cubicBezTo>
                  <a:cubicBezTo>
                    <a:pt x="88999" y="715677"/>
                    <a:pt x="92237" y="724917"/>
                    <a:pt x="98810" y="721392"/>
                  </a:cubicBezTo>
                  <a:cubicBezTo>
                    <a:pt x="99762" y="720630"/>
                    <a:pt x="105573" y="718821"/>
                    <a:pt x="107287" y="712344"/>
                  </a:cubicBezTo>
                  <a:cubicBezTo>
                    <a:pt x="107858" y="711105"/>
                    <a:pt x="108240" y="703104"/>
                    <a:pt x="114907" y="700533"/>
                  </a:cubicBezTo>
                  <a:cubicBezTo>
                    <a:pt x="147292" y="687864"/>
                    <a:pt x="149102" y="685959"/>
                    <a:pt x="155103" y="689103"/>
                  </a:cubicBezTo>
                  <a:cubicBezTo>
                    <a:pt x="181106" y="702724"/>
                    <a:pt x="184630" y="706248"/>
                    <a:pt x="187487" y="699961"/>
                  </a:cubicBezTo>
                  <a:cubicBezTo>
                    <a:pt x="200156" y="672815"/>
                    <a:pt x="200537" y="669481"/>
                    <a:pt x="207109" y="667767"/>
                  </a:cubicBezTo>
                  <a:cubicBezTo>
                    <a:pt x="229302" y="661861"/>
                    <a:pt x="233970" y="659480"/>
                    <a:pt x="240161" y="662814"/>
                  </a:cubicBezTo>
                  <a:lnTo>
                    <a:pt x="253305" y="670053"/>
                  </a:lnTo>
                  <a:cubicBezTo>
                    <a:pt x="258354" y="672815"/>
                    <a:pt x="264735" y="669957"/>
                    <a:pt x="263783" y="670053"/>
                  </a:cubicBezTo>
                  <a:cubicBezTo>
                    <a:pt x="271593" y="666624"/>
                    <a:pt x="287119" y="672720"/>
                    <a:pt x="286071" y="672434"/>
                  </a:cubicBezTo>
                  <a:cubicBezTo>
                    <a:pt x="291691" y="673958"/>
                    <a:pt x="289786" y="666814"/>
                    <a:pt x="289691" y="667767"/>
                  </a:cubicBezTo>
                  <a:cubicBezTo>
                    <a:pt x="288929" y="664909"/>
                    <a:pt x="290643" y="661861"/>
                    <a:pt x="293501" y="661099"/>
                  </a:cubicBezTo>
                  <a:lnTo>
                    <a:pt x="323600" y="652717"/>
                  </a:lnTo>
                  <a:cubicBezTo>
                    <a:pt x="335316" y="649479"/>
                    <a:pt x="349412" y="661385"/>
                    <a:pt x="361414" y="658242"/>
                  </a:cubicBezTo>
                  <a:cubicBezTo>
                    <a:pt x="379321" y="653479"/>
                    <a:pt x="387894" y="650050"/>
                    <a:pt x="395323" y="652241"/>
                  </a:cubicBezTo>
                  <a:lnTo>
                    <a:pt x="417707" y="659194"/>
                  </a:lnTo>
                  <a:cubicBezTo>
                    <a:pt x="423136" y="660909"/>
                    <a:pt x="427327" y="655003"/>
                    <a:pt x="426375" y="655670"/>
                  </a:cubicBezTo>
                  <a:cubicBezTo>
                    <a:pt x="430470" y="649669"/>
                    <a:pt x="441615" y="651098"/>
                    <a:pt x="440662" y="651193"/>
                  </a:cubicBezTo>
                  <a:cubicBezTo>
                    <a:pt x="446568" y="651193"/>
                    <a:pt x="451997" y="645954"/>
                    <a:pt x="451044" y="646526"/>
                  </a:cubicBezTo>
                  <a:cubicBezTo>
                    <a:pt x="457045" y="640906"/>
                    <a:pt x="463998" y="648812"/>
                    <a:pt x="467332" y="641478"/>
                  </a:cubicBezTo>
                  <a:cubicBezTo>
                    <a:pt x="467999" y="640525"/>
                    <a:pt x="469428" y="634905"/>
                    <a:pt x="475619" y="632810"/>
                  </a:cubicBezTo>
                  <a:lnTo>
                    <a:pt x="486763" y="629095"/>
                  </a:lnTo>
                  <a:cubicBezTo>
                    <a:pt x="493335" y="626904"/>
                    <a:pt x="493812" y="616332"/>
                    <a:pt x="493431" y="617284"/>
                  </a:cubicBezTo>
                  <a:cubicBezTo>
                    <a:pt x="494669" y="608997"/>
                    <a:pt x="477905" y="608902"/>
                    <a:pt x="472190" y="612141"/>
                  </a:cubicBezTo>
                  <a:cubicBezTo>
                    <a:pt x="465618" y="615855"/>
                    <a:pt x="464475" y="607664"/>
                    <a:pt x="456283" y="607378"/>
                  </a:cubicBezTo>
                  <a:lnTo>
                    <a:pt x="455997" y="607378"/>
                  </a:lnTo>
                  <a:cubicBezTo>
                    <a:pt x="453045" y="607283"/>
                    <a:pt x="450378" y="604902"/>
                    <a:pt x="449997" y="602235"/>
                  </a:cubicBezTo>
                  <a:cubicBezTo>
                    <a:pt x="449235" y="596139"/>
                    <a:pt x="459045" y="594519"/>
                    <a:pt x="458093" y="595091"/>
                  </a:cubicBezTo>
                  <a:cubicBezTo>
                    <a:pt x="464379" y="593472"/>
                    <a:pt x="462760" y="584709"/>
                    <a:pt x="462570" y="585661"/>
                  </a:cubicBezTo>
                  <a:cubicBezTo>
                    <a:pt x="462284" y="582708"/>
                    <a:pt x="464475" y="579756"/>
                    <a:pt x="467332" y="579089"/>
                  </a:cubicBezTo>
                  <a:lnTo>
                    <a:pt x="477810" y="576708"/>
                  </a:lnTo>
                  <a:cubicBezTo>
                    <a:pt x="485334" y="574993"/>
                    <a:pt x="482572" y="567373"/>
                    <a:pt x="489144" y="562992"/>
                  </a:cubicBezTo>
                  <a:lnTo>
                    <a:pt x="498003" y="557086"/>
                  </a:lnTo>
                  <a:cubicBezTo>
                    <a:pt x="503432" y="553467"/>
                    <a:pt x="504003" y="544608"/>
                    <a:pt x="503718" y="545561"/>
                  </a:cubicBezTo>
                  <a:cubicBezTo>
                    <a:pt x="504575" y="539560"/>
                    <a:pt x="509337" y="533274"/>
                    <a:pt x="508861" y="534226"/>
                  </a:cubicBezTo>
                  <a:cubicBezTo>
                    <a:pt x="513528" y="527749"/>
                    <a:pt x="512290" y="509175"/>
                    <a:pt x="505813" y="504794"/>
                  </a:cubicBezTo>
                  <a:cubicBezTo>
                    <a:pt x="490478" y="494412"/>
                    <a:pt x="483429" y="488220"/>
                    <a:pt x="475714" y="487935"/>
                  </a:cubicBezTo>
                  <a:cubicBezTo>
                    <a:pt x="445044" y="486601"/>
                    <a:pt x="439519" y="484696"/>
                    <a:pt x="436947" y="491459"/>
                  </a:cubicBezTo>
                  <a:cubicBezTo>
                    <a:pt x="436090" y="492697"/>
                    <a:pt x="434947" y="501174"/>
                    <a:pt x="428280" y="499174"/>
                  </a:cubicBezTo>
                  <a:lnTo>
                    <a:pt x="413040" y="494602"/>
                  </a:lnTo>
                  <a:cubicBezTo>
                    <a:pt x="401229" y="491078"/>
                    <a:pt x="432090" y="477267"/>
                    <a:pt x="427041" y="466122"/>
                  </a:cubicBezTo>
                  <a:cubicBezTo>
                    <a:pt x="422755" y="458598"/>
                    <a:pt x="421612" y="447358"/>
                    <a:pt x="413135" y="446977"/>
                  </a:cubicBezTo>
                  <a:cubicBezTo>
                    <a:pt x="411992" y="446691"/>
                    <a:pt x="404372" y="447930"/>
                    <a:pt x="401038" y="441834"/>
                  </a:cubicBezTo>
                  <a:lnTo>
                    <a:pt x="400371" y="440595"/>
                  </a:lnTo>
                  <a:cubicBezTo>
                    <a:pt x="395133" y="431166"/>
                    <a:pt x="417802" y="434690"/>
                    <a:pt x="411039" y="426308"/>
                  </a:cubicBezTo>
                  <a:cubicBezTo>
                    <a:pt x="396752" y="408782"/>
                    <a:pt x="391894" y="405162"/>
                    <a:pt x="397323" y="401067"/>
                  </a:cubicBezTo>
                  <a:cubicBezTo>
                    <a:pt x="398085" y="400114"/>
                    <a:pt x="406277" y="396209"/>
                    <a:pt x="400276" y="392589"/>
                  </a:cubicBezTo>
                  <a:cubicBezTo>
                    <a:pt x="374844" y="377349"/>
                    <a:pt x="379512" y="366872"/>
                    <a:pt x="367224" y="362681"/>
                  </a:cubicBezTo>
                  <a:cubicBezTo>
                    <a:pt x="313313" y="344298"/>
                    <a:pt x="336840" y="335820"/>
                    <a:pt x="323505" y="318770"/>
                  </a:cubicBezTo>
                  <a:cubicBezTo>
                    <a:pt x="319314" y="313437"/>
                    <a:pt x="314837" y="308769"/>
                    <a:pt x="313789" y="302102"/>
                  </a:cubicBezTo>
                  <a:lnTo>
                    <a:pt x="309408" y="274099"/>
                  </a:lnTo>
                  <a:cubicBezTo>
                    <a:pt x="308360" y="267240"/>
                    <a:pt x="297978" y="266574"/>
                    <a:pt x="298930" y="267050"/>
                  </a:cubicBezTo>
                  <a:cubicBezTo>
                    <a:pt x="287024" y="264859"/>
                    <a:pt x="284262" y="243809"/>
                    <a:pt x="272165" y="239999"/>
                  </a:cubicBezTo>
                  <a:cubicBezTo>
                    <a:pt x="244161" y="231331"/>
                    <a:pt x="238923" y="227807"/>
                    <a:pt x="235017" y="233903"/>
                  </a:cubicBezTo>
                  <a:lnTo>
                    <a:pt x="233398" y="236379"/>
                  </a:lnTo>
                  <a:cubicBezTo>
                    <a:pt x="231779" y="238856"/>
                    <a:pt x="228064" y="240475"/>
                    <a:pt x="225207" y="239808"/>
                  </a:cubicBezTo>
                  <a:cubicBezTo>
                    <a:pt x="180344" y="230760"/>
                    <a:pt x="205299" y="235903"/>
                    <a:pt x="216539" y="224092"/>
                  </a:cubicBezTo>
                  <a:cubicBezTo>
                    <a:pt x="219491" y="221711"/>
                    <a:pt x="224064" y="213043"/>
                    <a:pt x="231588" y="215329"/>
                  </a:cubicBezTo>
                  <a:lnTo>
                    <a:pt x="232160" y="215520"/>
                  </a:lnTo>
                  <a:cubicBezTo>
                    <a:pt x="239018" y="217615"/>
                    <a:pt x="248543" y="212948"/>
                    <a:pt x="247590" y="213234"/>
                  </a:cubicBezTo>
                  <a:cubicBezTo>
                    <a:pt x="258354" y="209138"/>
                    <a:pt x="232445" y="199899"/>
                    <a:pt x="242256" y="194374"/>
                  </a:cubicBezTo>
                  <a:lnTo>
                    <a:pt x="251115" y="189326"/>
                  </a:lnTo>
                  <a:cubicBezTo>
                    <a:pt x="256925" y="186087"/>
                    <a:pt x="256544" y="176848"/>
                    <a:pt x="256353" y="177801"/>
                  </a:cubicBezTo>
                  <a:cubicBezTo>
                    <a:pt x="256830" y="169133"/>
                    <a:pt x="278642" y="145511"/>
                    <a:pt x="277880" y="146463"/>
                  </a:cubicBezTo>
                  <a:cubicBezTo>
                    <a:pt x="282261" y="141129"/>
                    <a:pt x="281976" y="131604"/>
                    <a:pt x="281785" y="132557"/>
                  </a:cubicBezTo>
                  <a:cubicBezTo>
                    <a:pt x="282547" y="118841"/>
                    <a:pt x="304931" y="110364"/>
                    <a:pt x="297692" y="101601"/>
                  </a:cubicBezTo>
                  <a:cubicBezTo>
                    <a:pt x="293215" y="97124"/>
                    <a:pt x="289595" y="88361"/>
                    <a:pt x="281404" y="88170"/>
                  </a:cubicBezTo>
                  <a:cubicBezTo>
                    <a:pt x="201204" y="85884"/>
                    <a:pt x="202728" y="85027"/>
                    <a:pt x="196346" y="88551"/>
                  </a:cubicBezTo>
                  <a:cubicBezTo>
                    <a:pt x="185202" y="94838"/>
                    <a:pt x="177772" y="100362"/>
                    <a:pt x="170247" y="99695"/>
                  </a:cubicBezTo>
                  <a:cubicBezTo>
                    <a:pt x="169009" y="99315"/>
                    <a:pt x="158627" y="100077"/>
                    <a:pt x="163104" y="94457"/>
                  </a:cubicBezTo>
                  <a:cubicBezTo>
                    <a:pt x="174629" y="80169"/>
                    <a:pt x="181296" y="74073"/>
                    <a:pt x="174153" y="73883"/>
                  </a:cubicBezTo>
                  <a:cubicBezTo>
                    <a:pt x="171200" y="73407"/>
                    <a:pt x="157770" y="74835"/>
                    <a:pt x="163961" y="69978"/>
                  </a:cubicBezTo>
                  <a:cubicBezTo>
                    <a:pt x="218920" y="27210"/>
                    <a:pt x="219682" y="28353"/>
                    <a:pt x="221016" y="21114"/>
                  </a:cubicBezTo>
                  <a:cubicBezTo>
                    <a:pt x="221206" y="16542"/>
                    <a:pt x="226445" y="6636"/>
                    <a:pt x="218825" y="3969"/>
                  </a:cubicBezTo>
                  <a:cubicBezTo>
                    <a:pt x="214253" y="2922"/>
                    <a:pt x="203585" y="-3174"/>
                    <a:pt x="202728" y="2160"/>
                  </a:cubicBezTo>
                  <a:cubicBezTo>
                    <a:pt x="201966" y="6446"/>
                    <a:pt x="193012" y="4350"/>
                    <a:pt x="193965" y="4255"/>
                  </a:cubicBezTo>
                  <a:cubicBezTo>
                    <a:pt x="185964" y="2826"/>
                    <a:pt x="184058" y="11208"/>
                    <a:pt x="176248" y="9018"/>
                  </a:cubicBezTo>
                  <a:cubicBezTo>
                    <a:pt x="174438" y="8732"/>
                    <a:pt x="167199" y="5208"/>
                    <a:pt x="160818" y="8636"/>
                  </a:cubicBezTo>
                  <a:cubicBezTo>
                    <a:pt x="159294" y="9208"/>
                    <a:pt x="154341" y="13113"/>
                    <a:pt x="147578" y="11780"/>
                  </a:cubicBezTo>
                  <a:cubicBezTo>
                    <a:pt x="143863" y="11494"/>
                    <a:pt x="135386" y="7208"/>
                    <a:pt x="130147" y="12828"/>
                  </a:cubicBezTo>
                  <a:cubicBezTo>
                    <a:pt x="128909" y="13780"/>
                    <a:pt x="121670" y="23591"/>
                    <a:pt x="122718" y="16257"/>
                  </a:cubicBezTo>
                  <a:cubicBezTo>
                    <a:pt x="122622" y="14923"/>
                    <a:pt x="126051" y="5874"/>
                    <a:pt x="118908" y="5303"/>
                  </a:cubicBezTo>
                  <a:cubicBezTo>
                    <a:pt x="117669" y="5398"/>
                    <a:pt x="110716" y="3493"/>
                    <a:pt x="105668" y="8256"/>
                  </a:cubicBezTo>
                  <a:cubicBezTo>
                    <a:pt x="105096" y="9208"/>
                    <a:pt x="101667" y="12256"/>
                    <a:pt x="103096" y="17304"/>
                  </a:cubicBezTo>
                  <a:lnTo>
                    <a:pt x="103382" y="18447"/>
                  </a:lnTo>
                  <a:cubicBezTo>
                    <a:pt x="104811" y="23686"/>
                    <a:pt x="98619" y="26544"/>
                    <a:pt x="99572" y="25686"/>
                  </a:cubicBezTo>
                  <a:cubicBezTo>
                    <a:pt x="93952" y="27877"/>
                    <a:pt x="97000" y="35021"/>
                    <a:pt x="97000" y="34068"/>
                  </a:cubicBezTo>
                  <a:cubicBezTo>
                    <a:pt x="100715" y="43689"/>
                    <a:pt x="80712" y="33783"/>
                    <a:pt x="84808" y="43308"/>
                  </a:cubicBezTo>
                  <a:lnTo>
                    <a:pt x="86046" y="46070"/>
                  </a:lnTo>
                  <a:cubicBezTo>
                    <a:pt x="88142" y="50928"/>
                    <a:pt x="82712" y="54547"/>
                    <a:pt x="83474" y="53595"/>
                  </a:cubicBezTo>
                  <a:cubicBezTo>
                    <a:pt x="74331" y="58548"/>
                    <a:pt x="94809" y="59405"/>
                    <a:pt x="95190" y="68644"/>
                  </a:cubicBezTo>
                  <a:cubicBezTo>
                    <a:pt x="95476" y="75216"/>
                    <a:pt x="86713" y="69787"/>
                    <a:pt x="81665" y="75407"/>
                  </a:cubicBezTo>
                  <a:cubicBezTo>
                    <a:pt x="77664" y="79884"/>
                    <a:pt x="71949" y="73026"/>
                    <a:pt x="72902" y="73597"/>
                  </a:cubicBezTo>
                  <a:cubicBezTo>
                    <a:pt x="68616" y="69216"/>
                    <a:pt x="61567" y="73026"/>
                    <a:pt x="62520" y="72930"/>
                  </a:cubicBezTo>
                  <a:cubicBezTo>
                    <a:pt x="57376" y="75407"/>
                    <a:pt x="60995" y="81503"/>
                    <a:pt x="60805" y="80550"/>
                  </a:cubicBezTo>
                  <a:cubicBezTo>
                    <a:pt x="64901" y="87408"/>
                    <a:pt x="56519" y="88361"/>
                    <a:pt x="62520" y="93409"/>
                  </a:cubicBezTo>
                  <a:lnTo>
                    <a:pt x="63758" y="94457"/>
                  </a:lnTo>
                  <a:cubicBezTo>
                    <a:pt x="68235" y="98172"/>
                    <a:pt x="60710" y="100077"/>
                    <a:pt x="61662" y="99410"/>
                  </a:cubicBezTo>
                  <a:cubicBezTo>
                    <a:pt x="55376" y="100934"/>
                    <a:pt x="57186" y="109792"/>
                    <a:pt x="57376" y="108840"/>
                  </a:cubicBezTo>
                  <a:cubicBezTo>
                    <a:pt x="58233" y="116269"/>
                    <a:pt x="67663" y="109983"/>
                    <a:pt x="69663" y="114555"/>
                  </a:cubicBezTo>
                  <a:cubicBezTo>
                    <a:pt x="71283" y="118269"/>
                    <a:pt x="64044" y="123889"/>
                    <a:pt x="64901" y="122936"/>
                  </a:cubicBezTo>
                  <a:cubicBezTo>
                    <a:pt x="60519" y="126651"/>
                    <a:pt x="53661" y="125413"/>
                    <a:pt x="54614" y="125318"/>
                  </a:cubicBezTo>
                  <a:cubicBezTo>
                    <a:pt x="46994" y="123984"/>
                    <a:pt x="46994" y="110173"/>
                    <a:pt x="47280" y="111126"/>
                  </a:cubicBezTo>
                  <a:cubicBezTo>
                    <a:pt x="46327" y="104839"/>
                    <a:pt x="41183" y="112459"/>
                    <a:pt x="42136" y="111697"/>
                  </a:cubicBezTo>
                  <a:cubicBezTo>
                    <a:pt x="36326" y="119698"/>
                    <a:pt x="41945" y="100172"/>
                    <a:pt x="35183" y="93123"/>
                  </a:cubicBezTo>
                  <a:cubicBezTo>
                    <a:pt x="34230" y="92457"/>
                    <a:pt x="30801" y="87599"/>
                    <a:pt x="26420" y="89694"/>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183" name="Freeform: Shape 182">
              <a:extLst>
                <a:ext uri="{FF2B5EF4-FFF2-40B4-BE49-F238E27FC236}">
                  <a16:creationId xmlns:a16="http://schemas.microsoft.com/office/drawing/2014/main" id="{C2EEAC2F-7872-08D3-D486-41F5D087C46B}"/>
                </a:ext>
              </a:extLst>
            </p:cNvPr>
            <p:cNvSpPr/>
            <p:nvPr/>
          </p:nvSpPr>
          <p:spPr>
            <a:xfrm>
              <a:off x="4626807" y="1960269"/>
              <a:ext cx="12778" cy="10249"/>
            </a:xfrm>
            <a:custGeom>
              <a:avLst/>
              <a:gdLst>
                <a:gd name="connsiteX0" fmla="*/ 10708 w 12778"/>
                <a:gd name="connsiteY0" fmla="*/ 2300 h 10249"/>
                <a:gd name="connsiteX1" fmla="*/ 802 w 12778"/>
                <a:gd name="connsiteY1" fmla="*/ 1633 h 10249"/>
                <a:gd name="connsiteX2" fmla="*/ 4803 w 12778"/>
                <a:gd name="connsiteY2" fmla="*/ 9920 h 10249"/>
                <a:gd name="connsiteX3" fmla="*/ 10708 w 12778"/>
                <a:gd name="connsiteY3" fmla="*/ 2300 h 10249"/>
              </a:gdLst>
              <a:ahLst/>
              <a:cxnLst>
                <a:cxn ang="0">
                  <a:pos x="connsiteX0" y="connsiteY0"/>
                </a:cxn>
                <a:cxn ang="0">
                  <a:pos x="connsiteX1" y="connsiteY1"/>
                </a:cxn>
                <a:cxn ang="0">
                  <a:pos x="connsiteX2" y="connsiteY2"/>
                </a:cxn>
                <a:cxn ang="0">
                  <a:pos x="connsiteX3" y="connsiteY3"/>
                </a:cxn>
              </a:cxnLst>
              <a:rect l="l" t="t" r="r" b="b"/>
              <a:pathLst>
                <a:path w="12778" h="10249">
                  <a:moveTo>
                    <a:pt x="10708" y="2300"/>
                  </a:moveTo>
                  <a:cubicBezTo>
                    <a:pt x="9756" y="2014"/>
                    <a:pt x="4231" y="-2272"/>
                    <a:pt x="802" y="1633"/>
                  </a:cubicBezTo>
                  <a:cubicBezTo>
                    <a:pt x="-2532" y="5444"/>
                    <a:pt x="5660" y="10873"/>
                    <a:pt x="4803" y="9920"/>
                  </a:cubicBezTo>
                  <a:cubicBezTo>
                    <a:pt x="7184" y="11730"/>
                    <a:pt x="16994" y="5634"/>
                    <a:pt x="10708" y="2300"/>
                  </a:cubicBezTo>
                  <a:close/>
                </a:path>
              </a:pathLst>
            </a:custGeom>
            <a:grpFill/>
            <a:ln w="9525" cap="flat">
              <a:noFill/>
              <a:prstDash val="solid"/>
              <a:miter/>
            </a:ln>
          </p:spPr>
          <p:txBody>
            <a:bodyPr rtlCol="0" anchor="ctr"/>
            <a:lstStyle/>
            <a:p>
              <a:endParaRPr lang="en-IN"/>
            </a:p>
          </p:txBody>
        </p:sp>
        <p:sp>
          <p:nvSpPr>
            <p:cNvPr id="184" name="Freeform: Shape 183">
              <a:extLst>
                <a:ext uri="{FF2B5EF4-FFF2-40B4-BE49-F238E27FC236}">
                  <a16:creationId xmlns:a16="http://schemas.microsoft.com/office/drawing/2014/main" id="{7043B21C-5427-FDAD-2173-1B9B4B61E65F}"/>
                </a:ext>
              </a:extLst>
            </p:cNvPr>
            <p:cNvSpPr/>
            <p:nvPr/>
          </p:nvSpPr>
          <p:spPr>
            <a:xfrm>
              <a:off x="4612213" y="1986930"/>
              <a:ext cx="15968" cy="15578"/>
            </a:xfrm>
            <a:custGeom>
              <a:avLst/>
              <a:gdLst>
                <a:gd name="connsiteX0" fmla="*/ 823 w 15968"/>
                <a:gd name="connsiteY0" fmla="*/ 12977 h 15578"/>
                <a:gd name="connsiteX1" fmla="*/ 15968 w 15968"/>
                <a:gd name="connsiteY1" fmla="*/ 3737 h 15578"/>
                <a:gd name="connsiteX2" fmla="*/ 11396 w 15968"/>
                <a:gd name="connsiteY2" fmla="*/ 689 h 15578"/>
                <a:gd name="connsiteX3" fmla="*/ 633 w 15968"/>
                <a:gd name="connsiteY3" fmla="*/ 12596 h 15578"/>
                <a:gd name="connsiteX4" fmla="*/ 823 w 15968"/>
                <a:gd name="connsiteY4" fmla="*/ 13072 h 15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68" h="15578">
                  <a:moveTo>
                    <a:pt x="823" y="12977"/>
                  </a:moveTo>
                  <a:cubicBezTo>
                    <a:pt x="4157" y="20215"/>
                    <a:pt x="15778" y="10786"/>
                    <a:pt x="15968" y="3737"/>
                  </a:cubicBezTo>
                  <a:cubicBezTo>
                    <a:pt x="15587" y="2785"/>
                    <a:pt x="15778" y="-1692"/>
                    <a:pt x="11396" y="689"/>
                  </a:cubicBezTo>
                  <a:cubicBezTo>
                    <a:pt x="8062" y="3261"/>
                    <a:pt x="-2701" y="5452"/>
                    <a:pt x="633" y="12596"/>
                  </a:cubicBezTo>
                  <a:lnTo>
                    <a:pt x="823" y="13072"/>
                  </a:lnTo>
                  <a:close/>
                </a:path>
              </a:pathLst>
            </a:custGeom>
            <a:grpFill/>
            <a:ln w="9525" cap="flat">
              <a:noFill/>
              <a:prstDash val="solid"/>
              <a:miter/>
            </a:ln>
          </p:spPr>
          <p:txBody>
            <a:bodyPr rtlCol="0" anchor="ctr"/>
            <a:lstStyle/>
            <a:p>
              <a:endParaRPr lang="en-IN"/>
            </a:p>
          </p:txBody>
        </p:sp>
        <p:sp>
          <p:nvSpPr>
            <p:cNvPr id="185" name="Freeform: Shape 184">
              <a:extLst>
                <a:ext uri="{FF2B5EF4-FFF2-40B4-BE49-F238E27FC236}">
                  <a16:creationId xmlns:a16="http://schemas.microsoft.com/office/drawing/2014/main" id="{2F56637B-72D1-8740-C109-6D511BAB1F8F}"/>
                </a:ext>
              </a:extLst>
            </p:cNvPr>
            <p:cNvSpPr/>
            <p:nvPr/>
          </p:nvSpPr>
          <p:spPr>
            <a:xfrm>
              <a:off x="4594057" y="2001443"/>
              <a:ext cx="11285" cy="13092"/>
            </a:xfrm>
            <a:custGeom>
              <a:avLst/>
              <a:gdLst>
                <a:gd name="connsiteX0" fmla="*/ 3549 w 11285"/>
                <a:gd name="connsiteY0" fmla="*/ 12751 h 13092"/>
                <a:gd name="connsiteX1" fmla="*/ 10883 w 11285"/>
                <a:gd name="connsiteY1" fmla="*/ 7513 h 13092"/>
                <a:gd name="connsiteX2" fmla="*/ 6502 w 11285"/>
                <a:gd name="connsiteY2" fmla="*/ 274 h 13092"/>
                <a:gd name="connsiteX3" fmla="*/ 406 w 11285"/>
                <a:gd name="connsiteY3" fmla="*/ 3798 h 13092"/>
                <a:gd name="connsiteX4" fmla="*/ 3644 w 11285"/>
                <a:gd name="connsiteY4" fmla="*/ 12751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85" h="13092">
                  <a:moveTo>
                    <a:pt x="3549" y="12751"/>
                  </a:moveTo>
                  <a:cubicBezTo>
                    <a:pt x="8883" y="14847"/>
                    <a:pt x="11645" y="6560"/>
                    <a:pt x="10883" y="7513"/>
                  </a:cubicBezTo>
                  <a:cubicBezTo>
                    <a:pt x="13074" y="1988"/>
                    <a:pt x="5549" y="-488"/>
                    <a:pt x="6502" y="274"/>
                  </a:cubicBezTo>
                  <a:cubicBezTo>
                    <a:pt x="3740" y="-679"/>
                    <a:pt x="977" y="940"/>
                    <a:pt x="406" y="3798"/>
                  </a:cubicBezTo>
                  <a:cubicBezTo>
                    <a:pt x="406" y="4751"/>
                    <a:pt x="-1690" y="10656"/>
                    <a:pt x="3644" y="12751"/>
                  </a:cubicBezTo>
                  <a:close/>
                </a:path>
              </a:pathLst>
            </a:custGeom>
            <a:grpFill/>
            <a:ln w="9525" cap="flat">
              <a:noFill/>
              <a:prstDash val="solid"/>
              <a:miter/>
            </a:ln>
          </p:spPr>
          <p:txBody>
            <a:bodyPr rtlCol="0" anchor="ctr"/>
            <a:lstStyle/>
            <a:p>
              <a:endParaRPr lang="en-IN"/>
            </a:p>
          </p:txBody>
        </p:sp>
        <p:sp>
          <p:nvSpPr>
            <p:cNvPr id="186" name="Freeform: Shape 185">
              <a:extLst>
                <a:ext uri="{FF2B5EF4-FFF2-40B4-BE49-F238E27FC236}">
                  <a16:creationId xmlns:a16="http://schemas.microsoft.com/office/drawing/2014/main" id="{DDCABD9B-C0A2-56F1-EF92-D7F430003B2A}"/>
                </a:ext>
              </a:extLst>
            </p:cNvPr>
            <p:cNvSpPr/>
            <p:nvPr/>
          </p:nvSpPr>
          <p:spPr>
            <a:xfrm>
              <a:off x="4922965" y="2477103"/>
              <a:ext cx="24582" cy="14173"/>
            </a:xfrm>
            <a:custGeom>
              <a:avLst/>
              <a:gdLst>
                <a:gd name="connsiteX0" fmla="*/ 17922 w 24582"/>
                <a:gd name="connsiteY0" fmla="*/ 12674 h 14173"/>
                <a:gd name="connsiteX1" fmla="*/ 22018 w 24582"/>
                <a:gd name="connsiteY1" fmla="*/ 2102 h 14173"/>
                <a:gd name="connsiteX2" fmla="*/ 8778 w 24582"/>
                <a:gd name="connsiteY2" fmla="*/ 482 h 14173"/>
                <a:gd name="connsiteX3" fmla="*/ 1634 w 24582"/>
                <a:gd name="connsiteY3" fmla="*/ 6674 h 14173"/>
                <a:gd name="connsiteX4" fmla="*/ 17922 w 24582"/>
                <a:gd name="connsiteY4" fmla="*/ 12674 h 14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2" h="14173">
                  <a:moveTo>
                    <a:pt x="17922" y="12674"/>
                  </a:moveTo>
                  <a:cubicBezTo>
                    <a:pt x="19256" y="10865"/>
                    <a:pt x="29162" y="4673"/>
                    <a:pt x="22018" y="2102"/>
                  </a:cubicBezTo>
                  <a:cubicBezTo>
                    <a:pt x="20875" y="1816"/>
                    <a:pt x="15446" y="-1137"/>
                    <a:pt x="8778" y="482"/>
                  </a:cubicBezTo>
                  <a:cubicBezTo>
                    <a:pt x="7254" y="1149"/>
                    <a:pt x="-4176" y="2197"/>
                    <a:pt x="1634" y="6674"/>
                  </a:cubicBezTo>
                  <a:cubicBezTo>
                    <a:pt x="1634" y="6674"/>
                    <a:pt x="12207" y="18199"/>
                    <a:pt x="17922" y="12674"/>
                  </a:cubicBezTo>
                  <a:close/>
                </a:path>
              </a:pathLst>
            </a:custGeom>
            <a:grpFill/>
            <a:ln w="9525" cap="flat">
              <a:noFill/>
              <a:prstDash val="solid"/>
              <a:miter/>
            </a:ln>
          </p:spPr>
          <p:txBody>
            <a:bodyPr rtlCol="0" anchor="ctr"/>
            <a:lstStyle/>
            <a:p>
              <a:endParaRPr lang="en-IN"/>
            </a:p>
          </p:txBody>
        </p:sp>
        <p:sp>
          <p:nvSpPr>
            <p:cNvPr id="187" name="Freeform: Shape 186">
              <a:extLst>
                <a:ext uri="{FF2B5EF4-FFF2-40B4-BE49-F238E27FC236}">
                  <a16:creationId xmlns:a16="http://schemas.microsoft.com/office/drawing/2014/main" id="{0B36D69C-6863-081C-058F-2416C2225417}"/>
                </a:ext>
              </a:extLst>
            </p:cNvPr>
            <p:cNvSpPr/>
            <p:nvPr/>
          </p:nvSpPr>
          <p:spPr>
            <a:xfrm>
              <a:off x="4561344" y="1908796"/>
              <a:ext cx="27344" cy="52145"/>
            </a:xfrm>
            <a:custGeom>
              <a:avLst/>
              <a:gdLst>
                <a:gd name="connsiteX0" fmla="*/ 9878 w 27344"/>
                <a:gd name="connsiteY0" fmla="*/ 46439 h 52145"/>
                <a:gd name="connsiteX1" fmla="*/ 19022 w 27344"/>
                <a:gd name="connsiteY1" fmla="*/ 49296 h 52145"/>
                <a:gd name="connsiteX2" fmla="*/ 22927 w 27344"/>
                <a:gd name="connsiteY2" fmla="*/ 15482 h 52145"/>
                <a:gd name="connsiteX3" fmla="*/ 23689 w 27344"/>
                <a:gd name="connsiteY3" fmla="*/ 147 h 52145"/>
                <a:gd name="connsiteX4" fmla="*/ 9211 w 27344"/>
                <a:gd name="connsiteY4" fmla="*/ 20340 h 52145"/>
                <a:gd name="connsiteX5" fmla="*/ 9973 w 27344"/>
                <a:gd name="connsiteY5" fmla="*/ 46439 h 52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44" h="52145">
                  <a:moveTo>
                    <a:pt x="9878" y="46439"/>
                  </a:moveTo>
                  <a:cubicBezTo>
                    <a:pt x="11307" y="47391"/>
                    <a:pt x="18450" y="56725"/>
                    <a:pt x="19022" y="49296"/>
                  </a:cubicBezTo>
                  <a:cubicBezTo>
                    <a:pt x="20260" y="32056"/>
                    <a:pt x="20165" y="22721"/>
                    <a:pt x="22927" y="15482"/>
                  </a:cubicBezTo>
                  <a:cubicBezTo>
                    <a:pt x="24070" y="10720"/>
                    <a:pt x="31785" y="-1472"/>
                    <a:pt x="23689" y="147"/>
                  </a:cubicBezTo>
                  <a:cubicBezTo>
                    <a:pt x="-20697" y="9100"/>
                    <a:pt x="11307" y="5386"/>
                    <a:pt x="9211" y="20340"/>
                  </a:cubicBezTo>
                  <a:cubicBezTo>
                    <a:pt x="6925" y="36151"/>
                    <a:pt x="4925" y="41771"/>
                    <a:pt x="9973" y="46439"/>
                  </a:cubicBezTo>
                  <a:close/>
                </a:path>
              </a:pathLst>
            </a:custGeom>
            <a:grpFill/>
            <a:ln w="9525" cap="flat">
              <a:noFill/>
              <a:prstDash val="solid"/>
              <a:miter/>
            </a:ln>
          </p:spPr>
          <p:txBody>
            <a:bodyPr rtlCol="0" anchor="ctr"/>
            <a:lstStyle/>
            <a:p>
              <a:endParaRPr lang="en-IN"/>
            </a:p>
          </p:txBody>
        </p:sp>
        <p:sp>
          <p:nvSpPr>
            <p:cNvPr id="188" name="Freeform: Shape 187">
              <a:extLst>
                <a:ext uri="{FF2B5EF4-FFF2-40B4-BE49-F238E27FC236}">
                  <a16:creationId xmlns:a16="http://schemas.microsoft.com/office/drawing/2014/main" id="{6DBE676E-2BBB-D78B-9A1F-AE9427B00792}"/>
                </a:ext>
              </a:extLst>
            </p:cNvPr>
            <p:cNvSpPr/>
            <p:nvPr/>
          </p:nvSpPr>
          <p:spPr>
            <a:xfrm>
              <a:off x="4558053" y="1962652"/>
              <a:ext cx="11615" cy="18921"/>
            </a:xfrm>
            <a:custGeom>
              <a:avLst/>
              <a:gdLst>
                <a:gd name="connsiteX0" fmla="*/ 881 w 11615"/>
                <a:gd name="connsiteY0" fmla="*/ 3060 h 18921"/>
                <a:gd name="connsiteX1" fmla="*/ 3357 w 11615"/>
                <a:gd name="connsiteY1" fmla="*/ 17538 h 18921"/>
                <a:gd name="connsiteX2" fmla="*/ 9453 w 11615"/>
                <a:gd name="connsiteY2" fmla="*/ 3346 h 18921"/>
                <a:gd name="connsiteX3" fmla="*/ 881 w 11615"/>
                <a:gd name="connsiteY3" fmla="*/ 3060 h 18921"/>
              </a:gdLst>
              <a:ahLst/>
              <a:cxnLst>
                <a:cxn ang="0">
                  <a:pos x="connsiteX0" y="connsiteY0"/>
                </a:cxn>
                <a:cxn ang="0">
                  <a:pos x="connsiteX1" y="connsiteY1"/>
                </a:cxn>
                <a:cxn ang="0">
                  <a:pos x="connsiteX2" y="connsiteY2"/>
                </a:cxn>
                <a:cxn ang="0">
                  <a:pos x="connsiteX3" y="connsiteY3"/>
                </a:cxn>
              </a:cxnLst>
              <a:rect l="l" t="t" r="r" b="b"/>
              <a:pathLst>
                <a:path w="11615" h="18921">
                  <a:moveTo>
                    <a:pt x="881" y="3060"/>
                  </a:moveTo>
                  <a:cubicBezTo>
                    <a:pt x="976" y="8394"/>
                    <a:pt x="-2358" y="23539"/>
                    <a:pt x="3357" y="17538"/>
                  </a:cubicBezTo>
                  <a:cubicBezTo>
                    <a:pt x="5739" y="14109"/>
                    <a:pt x="16026" y="7823"/>
                    <a:pt x="9453" y="3346"/>
                  </a:cubicBezTo>
                  <a:cubicBezTo>
                    <a:pt x="9453" y="3346"/>
                    <a:pt x="1357" y="-3988"/>
                    <a:pt x="881" y="3060"/>
                  </a:cubicBezTo>
                  <a:close/>
                </a:path>
              </a:pathLst>
            </a:custGeom>
            <a:grpFill/>
            <a:ln w="9525" cap="flat">
              <a:noFill/>
              <a:prstDash val="solid"/>
              <a:miter/>
            </a:ln>
          </p:spPr>
          <p:txBody>
            <a:bodyPr rtlCol="0" anchor="ctr"/>
            <a:lstStyle/>
            <a:p>
              <a:endParaRPr lang="en-IN"/>
            </a:p>
          </p:txBody>
        </p:sp>
        <p:sp>
          <p:nvSpPr>
            <p:cNvPr id="189" name="Freeform: Shape 188">
              <a:extLst>
                <a:ext uri="{FF2B5EF4-FFF2-40B4-BE49-F238E27FC236}">
                  <a16:creationId xmlns:a16="http://schemas.microsoft.com/office/drawing/2014/main" id="{85F9F43A-FB86-ADE4-698C-F075FADF8E9C}"/>
                </a:ext>
              </a:extLst>
            </p:cNvPr>
            <p:cNvSpPr/>
            <p:nvPr/>
          </p:nvSpPr>
          <p:spPr>
            <a:xfrm>
              <a:off x="4588000" y="1829649"/>
              <a:ext cx="56993" cy="67280"/>
            </a:xfrm>
            <a:custGeom>
              <a:avLst/>
              <a:gdLst>
                <a:gd name="connsiteX0" fmla="*/ 6938 w 56993"/>
                <a:gd name="connsiteY0" fmla="*/ 53291 h 67280"/>
                <a:gd name="connsiteX1" fmla="*/ 2366 w 56993"/>
                <a:gd name="connsiteY1" fmla="*/ 63959 h 67280"/>
                <a:gd name="connsiteX2" fmla="*/ 16844 w 56993"/>
                <a:gd name="connsiteY2" fmla="*/ 65483 h 67280"/>
                <a:gd name="connsiteX3" fmla="*/ 44181 w 56993"/>
                <a:gd name="connsiteY3" fmla="*/ 39575 h 67280"/>
                <a:gd name="connsiteX4" fmla="*/ 50087 w 56993"/>
                <a:gd name="connsiteY4" fmla="*/ 23287 h 67280"/>
                <a:gd name="connsiteX5" fmla="*/ 56849 w 56993"/>
                <a:gd name="connsiteY5" fmla="*/ 11762 h 67280"/>
                <a:gd name="connsiteX6" fmla="*/ 49896 w 56993"/>
                <a:gd name="connsiteY6" fmla="*/ 808 h 67280"/>
                <a:gd name="connsiteX7" fmla="*/ 1890 w 56993"/>
                <a:gd name="connsiteY7" fmla="*/ 35860 h 67280"/>
                <a:gd name="connsiteX8" fmla="*/ 6843 w 56993"/>
                <a:gd name="connsiteY8" fmla="*/ 53195 h 6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993" h="67280">
                  <a:moveTo>
                    <a:pt x="6938" y="53291"/>
                  </a:moveTo>
                  <a:cubicBezTo>
                    <a:pt x="5605" y="55005"/>
                    <a:pt x="-4492" y="60720"/>
                    <a:pt x="2366" y="63959"/>
                  </a:cubicBezTo>
                  <a:cubicBezTo>
                    <a:pt x="4367" y="64530"/>
                    <a:pt x="10939" y="70055"/>
                    <a:pt x="16844" y="65483"/>
                  </a:cubicBezTo>
                  <a:cubicBezTo>
                    <a:pt x="39609" y="47957"/>
                    <a:pt x="43324" y="46623"/>
                    <a:pt x="44181" y="39575"/>
                  </a:cubicBezTo>
                  <a:cubicBezTo>
                    <a:pt x="45134" y="35860"/>
                    <a:pt x="44181" y="28050"/>
                    <a:pt x="50087" y="23287"/>
                  </a:cubicBezTo>
                  <a:cubicBezTo>
                    <a:pt x="50944" y="22335"/>
                    <a:pt x="58088" y="18810"/>
                    <a:pt x="56849" y="11762"/>
                  </a:cubicBezTo>
                  <a:cubicBezTo>
                    <a:pt x="55802" y="8809"/>
                    <a:pt x="56564" y="-3192"/>
                    <a:pt x="49896" y="808"/>
                  </a:cubicBezTo>
                  <a:cubicBezTo>
                    <a:pt x="1033" y="30050"/>
                    <a:pt x="-2015" y="29954"/>
                    <a:pt x="1890" y="35860"/>
                  </a:cubicBezTo>
                  <a:cubicBezTo>
                    <a:pt x="4176" y="40718"/>
                    <a:pt x="12844" y="47862"/>
                    <a:pt x="6843" y="53195"/>
                  </a:cubicBezTo>
                  <a:close/>
                </a:path>
              </a:pathLst>
            </a:custGeom>
            <a:grpFill/>
            <a:ln w="9525" cap="flat">
              <a:noFill/>
              <a:prstDash val="solid"/>
              <a:miter/>
            </a:ln>
          </p:spPr>
          <p:txBody>
            <a:bodyPr rtlCol="0" anchor="ctr"/>
            <a:lstStyle/>
            <a:p>
              <a:endParaRPr lang="en-IN"/>
            </a:p>
          </p:txBody>
        </p:sp>
        <p:sp>
          <p:nvSpPr>
            <p:cNvPr id="190" name="Freeform: Shape 189">
              <a:extLst>
                <a:ext uri="{FF2B5EF4-FFF2-40B4-BE49-F238E27FC236}">
                  <a16:creationId xmlns:a16="http://schemas.microsoft.com/office/drawing/2014/main" id="{483CCABE-9AE8-E10E-1385-F7C6169CEEDF}"/>
                </a:ext>
              </a:extLst>
            </p:cNvPr>
            <p:cNvSpPr/>
            <p:nvPr/>
          </p:nvSpPr>
          <p:spPr>
            <a:xfrm>
              <a:off x="4809613" y="1790044"/>
              <a:ext cx="18325" cy="13296"/>
            </a:xfrm>
            <a:custGeom>
              <a:avLst/>
              <a:gdLst>
                <a:gd name="connsiteX0" fmla="*/ 15926 w 18325"/>
                <a:gd name="connsiteY0" fmla="*/ 3075 h 13296"/>
                <a:gd name="connsiteX1" fmla="*/ 686 w 18325"/>
                <a:gd name="connsiteY1" fmla="*/ 3551 h 13296"/>
                <a:gd name="connsiteX2" fmla="*/ 11163 w 18325"/>
                <a:gd name="connsiteY2" fmla="*/ 12124 h 13296"/>
                <a:gd name="connsiteX3" fmla="*/ 15926 w 18325"/>
                <a:gd name="connsiteY3" fmla="*/ 3075 h 13296"/>
              </a:gdLst>
              <a:ahLst/>
              <a:cxnLst>
                <a:cxn ang="0">
                  <a:pos x="connsiteX0" y="connsiteY0"/>
                </a:cxn>
                <a:cxn ang="0">
                  <a:pos x="connsiteX1" y="connsiteY1"/>
                </a:cxn>
                <a:cxn ang="0">
                  <a:pos x="connsiteX2" y="connsiteY2"/>
                </a:cxn>
                <a:cxn ang="0">
                  <a:pos x="connsiteX3" y="connsiteY3"/>
                </a:cxn>
              </a:cxnLst>
              <a:rect l="l" t="t" r="r" b="b"/>
              <a:pathLst>
                <a:path w="18325" h="13296">
                  <a:moveTo>
                    <a:pt x="15926" y="3075"/>
                  </a:moveTo>
                  <a:cubicBezTo>
                    <a:pt x="10592" y="2409"/>
                    <a:pt x="-3219" y="-3783"/>
                    <a:pt x="686" y="3551"/>
                  </a:cubicBezTo>
                  <a:cubicBezTo>
                    <a:pt x="2400" y="5742"/>
                    <a:pt x="5067" y="16886"/>
                    <a:pt x="11163" y="12124"/>
                  </a:cubicBezTo>
                  <a:cubicBezTo>
                    <a:pt x="11163" y="12124"/>
                    <a:pt x="23355" y="4790"/>
                    <a:pt x="15926" y="3075"/>
                  </a:cubicBezTo>
                  <a:close/>
                </a:path>
              </a:pathLst>
            </a:custGeom>
            <a:grpFill/>
            <a:ln w="9525" cap="flat">
              <a:noFill/>
              <a:prstDash val="solid"/>
              <a:miter/>
            </a:ln>
          </p:spPr>
          <p:txBody>
            <a:bodyPr rtlCol="0" anchor="ctr"/>
            <a:lstStyle/>
            <a:p>
              <a:endParaRPr lang="en-IN"/>
            </a:p>
          </p:txBody>
        </p:sp>
        <p:sp>
          <p:nvSpPr>
            <p:cNvPr id="191" name="Freeform: Shape 190">
              <a:extLst>
                <a:ext uri="{FF2B5EF4-FFF2-40B4-BE49-F238E27FC236}">
                  <a16:creationId xmlns:a16="http://schemas.microsoft.com/office/drawing/2014/main" id="{B660D776-1BB0-F838-DE33-D0CC2464F127}"/>
                </a:ext>
              </a:extLst>
            </p:cNvPr>
            <p:cNvSpPr/>
            <p:nvPr/>
          </p:nvSpPr>
          <p:spPr>
            <a:xfrm>
              <a:off x="4817175" y="1765029"/>
              <a:ext cx="38104" cy="38667"/>
            </a:xfrm>
            <a:custGeom>
              <a:avLst/>
              <a:gdLst>
                <a:gd name="connsiteX0" fmla="*/ 25509 w 38104"/>
                <a:gd name="connsiteY0" fmla="*/ 36948 h 38667"/>
                <a:gd name="connsiteX1" fmla="*/ 36558 w 38104"/>
                <a:gd name="connsiteY1" fmla="*/ 21804 h 38667"/>
                <a:gd name="connsiteX2" fmla="*/ 35701 w 38104"/>
                <a:gd name="connsiteY2" fmla="*/ 8849 h 38667"/>
                <a:gd name="connsiteX3" fmla="*/ 28081 w 38104"/>
                <a:gd name="connsiteY3" fmla="*/ 3134 h 38667"/>
                <a:gd name="connsiteX4" fmla="*/ 8555 w 38104"/>
                <a:gd name="connsiteY4" fmla="*/ 87 h 38667"/>
                <a:gd name="connsiteX5" fmla="*/ 554 w 38104"/>
                <a:gd name="connsiteY5" fmla="*/ 5421 h 38667"/>
                <a:gd name="connsiteX6" fmla="*/ 22842 w 38104"/>
                <a:gd name="connsiteY6" fmla="*/ 25328 h 38667"/>
                <a:gd name="connsiteX7" fmla="*/ 25414 w 38104"/>
                <a:gd name="connsiteY7" fmla="*/ 37043 h 3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4" h="38667">
                  <a:moveTo>
                    <a:pt x="25509" y="36948"/>
                  </a:moveTo>
                  <a:lnTo>
                    <a:pt x="36558" y="21804"/>
                  </a:lnTo>
                  <a:cubicBezTo>
                    <a:pt x="40559" y="16279"/>
                    <a:pt x="35511" y="7897"/>
                    <a:pt x="35701" y="8849"/>
                  </a:cubicBezTo>
                  <a:cubicBezTo>
                    <a:pt x="34463" y="6182"/>
                    <a:pt x="31034" y="3611"/>
                    <a:pt x="28081" y="3134"/>
                  </a:cubicBezTo>
                  <a:lnTo>
                    <a:pt x="8555" y="87"/>
                  </a:lnTo>
                  <a:cubicBezTo>
                    <a:pt x="2745" y="-866"/>
                    <a:pt x="-208" y="6373"/>
                    <a:pt x="554" y="5421"/>
                  </a:cubicBezTo>
                  <a:cubicBezTo>
                    <a:pt x="-4209" y="16470"/>
                    <a:pt x="23319" y="13136"/>
                    <a:pt x="22842" y="25328"/>
                  </a:cubicBezTo>
                  <a:cubicBezTo>
                    <a:pt x="23033" y="28757"/>
                    <a:pt x="20652" y="43521"/>
                    <a:pt x="25414" y="37043"/>
                  </a:cubicBezTo>
                  <a:close/>
                </a:path>
              </a:pathLst>
            </a:custGeom>
            <a:grpFill/>
            <a:ln w="9525" cap="flat">
              <a:noFill/>
              <a:prstDash val="solid"/>
              <a:miter/>
            </a:ln>
          </p:spPr>
          <p:txBody>
            <a:bodyPr rtlCol="0" anchor="ctr"/>
            <a:lstStyle/>
            <a:p>
              <a:endParaRPr lang="en-IN"/>
            </a:p>
          </p:txBody>
        </p:sp>
        <p:sp>
          <p:nvSpPr>
            <p:cNvPr id="192" name="Freeform: Shape 191">
              <a:extLst>
                <a:ext uri="{FF2B5EF4-FFF2-40B4-BE49-F238E27FC236}">
                  <a16:creationId xmlns:a16="http://schemas.microsoft.com/office/drawing/2014/main" id="{AF643CFD-FCCD-8AB3-B44C-DB6D1DC3FEED}"/>
                </a:ext>
              </a:extLst>
            </p:cNvPr>
            <p:cNvSpPr/>
            <p:nvPr/>
          </p:nvSpPr>
          <p:spPr>
            <a:xfrm>
              <a:off x="4858023" y="1749231"/>
              <a:ext cx="15783" cy="15556"/>
            </a:xfrm>
            <a:custGeom>
              <a:avLst/>
              <a:gdLst>
                <a:gd name="connsiteX0" fmla="*/ 9997 w 15783"/>
                <a:gd name="connsiteY0" fmla="*/ 1217 h 15556"/>
                <a:gd name="connsiteX1" fmla="*/ 2663 w 15783"/>
                <a:gd name="connsiteY1" fmla="*/ 13790 h 15556"/>
                <a:gd name="connsiteX2" fmla="*/ 15712 w 15783"/>
                <a:gd name="connsiteY2" fmla="*/ 11313 h 15556"/>
                <a:gd name="connsiteX3" fmla="*/ 9997 w 15783"/>
                <a:gd name="connsiteY3" fmla="*/ 1217 h 15556"/>
              </a:gdLst>
              <a:ahLst/>
              <a:cxnLst>
                <a:cxn ang="0">
                  <a:pos x="connsiteX0" y="connsiteY0"/>
                </a:cxn>
                <a:cxn ang="0">
                  <a:pos x="connsiteX1" y="connsiteY1"/>
                </a:cxn>
                <a:cxn ang="0">
                  <a:pos x="connsiteX2" y="connsiteY2"/>
                </a:cxn>
                <a:cxn ang="0">
                  <a:pos x="connsiteX3" y="connsiteY3"/>
                </a:cxn>
              </a:cxnLst>
              <a:rect l="l" t="t" r="r" b="b"/>
              <a:pathLst>
                <a:path w="15783" h="15556">
                  <a:moveTo>
                    <a:pt x="9997" y="1217"/>
                  </a:moveTo>
                  <a:cubicBezTo>
                    <a:pt x="6949" y="4741"/>
                    <a:pt x="-5338" y="12075"/>
                    <a:pt x="2663" y="13790"/>
                  </a:cubicBezTo>
                  <a:cubicBezTo>
                    <a:pt x="5902" y="13885"/>
                    <a:pt x="16760" y="19028"/>
                    <a:pt x="15712" y="11313"/>
                  </a:cubicBezTo>
                  <a:cubicBezTo>
                    <a:pt x="14950" y="8742"/>
                    <a:pt x="15712" y="-3927"/>
                    <a:pt x="9997" y="1217"/>
                  </a:cubicBezTo>
                  <a:close/>
                </a:path>
              </a:pathLst>
            </a:custGeom>
            <a:grpFill/>
            <a:ln w="9525" cap="flat">
              <a:noFill/>
              <a:prstDash val="solid"/>
              <a:miter/>
            </a:ln>
          </p:spPr>
          <p:txBody>
            <a:bodyPr rtlCol="0" anchor="ctr"/>
            <a:lstStyle/>
            <a:p>
              <a:endParaRPr lang="en-IN"/>
            </a:p>
          </p:txBody>
        </p:sp>
        <p:sp>
          <p:nvSpPr>
            <p:cNvPr id="193" name="Freeform: Shape 192">
              <a:extLst>
                <a:ext uri="{FF2B5EF4-FFF2-40B4-BE49-F238E27FC236}">
                  <a16:creationId xmlns:a16="http://schemas.microsoft.com/office/drawing/2014/main" id="{D688858C-585D-FF41-4FFF-1109809712FD}"/>
                </a:ext>
              </a:extLst>
            </p:cNvPr>
            <p:cNvSpPr/>
            <p:nvPr/>
          </p:nvSpPr>
          <p:spPr>
            <a:xfrm>
              <a:off x="4911984" y="1639624"/>
              <a:ext cx="35418" cy="62529"/>
            </a:xfrm>
            <a:custGeom>
              <a:avLst/>
              <a:gdLst>
                <a:gd name="connsiteX0" fmla="*/ 16996 w 35418"/>
                <a:gd name="connsiteY0" fmla="*/ 42910 h 62529"/>
                <a:gd name="connsiteX1" fmla="*/ 23569 w 35418"/>
                <a:gd name="connsiteY1" fmla="*/ 62436 h 62529"/>
                <a:gd name="connsiteX2" fmla="*/ 29188 w 35418"/>
                <a:gd name="connsiteY2" fmla="*/ 56340 h 62529"/>
                <a:gd name="connsiteX3" fmla="*/ 33094 w 35418"/>
                <a:gd name="connsiteY3" fmla="*/ 15097 h 62529"/>
                <a:gd name="connsiteX4" fmla="*/ 15377 w 35418"/>
                <a:gd name="connsiteY4" fmla="*/ 1667 h 62529"/>
                <a:gd name="connsiteX5" fmla="*/ 11091 w 35418"/>
                <a:gd name="connsiteY5" fmla="*/ 6239 h 62529"/>
                <a:gd name="connsiteX6" fmla="*/ 11091 w 35418"/>
                <a:gd name="connsiteY6" fmla="*/ 15668 h 62529"/>
                <a:gd name="connsiteX7" fmla="*/ 2423 w 35418"/>
                <a:gd name="connsiteY7" fmla="*/ 31480 h 62529"/>
                <a:gd name="connsiteX8" fmla="*/ 17092 w 35418"/>
                <a:gd name="connsiteY8" fmla="*/ 43005 h 6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18" h="62529">
                  <a:moveTo>
                    <a:pt x="16996" y="42910"/>
                  </a:moveTo>
                  <a:cubicBezTo>
                    <a:pt x="18520" y="50530"/>
                    <a:pt x="16234" y="63770"/>
                    <a:pt x="23569" y="62436"/>
                  </a:cubicBezTo>
                  <a:cubicBezTo>
                    <a:pt x="26045" y="61960"/>
                    <a:pt x="28617" y="59197"/>
                    <a:pt x="29188" y="56340"/>
                  </a:cubicBezTo>
                  <a:cubicBezTo>
                    <a:pt x="35380" y="25003"/>
                    <a:pt x="37475" y="20621"/>
                    <a:pt x="33094" y="15097"/>
                  </a:cubicBezTo>
                  <a:cubicBezTo>
                    <a:pt x="26426" y="8429"/>
                    <a:pt x="21187" y="-4620"/>
                    <a:pt x="15377" y="1667"/>
                  </a:cubicBezTo>
                  <a:lnTo>
                    <a:pt x="11091" y="6239"/>
                  </a:lnTo>
                  <a:cubicBezTo>
                    <a:pt x="7090" y="10525"/>
                    <a:pt x="11281" y="16621"/>
                    <a:pt x="11091" y="15668"/>
                  </a:cubicBezTo>
                  <a:cubicBezTo>
                    <a:pt x="16996" y="24527"/>
                    <a:pt x="-7578" y="27098"/>
                    <a:pt x="2423" y="31480"/>
                  </a:cubicBezTo>
                  <a:cubicBezTo>
                    <a:pt x="6709" y="34052"/>
                    <a:pt x="16330" y="35099"/>
                    <a:pt x="17092" y="43005"/>
                  </a:cubicBezTo>
                  <a:close/>
                </a:path>
              </a:pathLst>
            </a:custGeom>
            <a:grpFill/>
            <a:ln w="9525" cap="flat">
              <a:noFill/>
              <a:prstDash val="solid"/>
              <a:miter/>
            </a:ln>
          </p:spPr>
          <p:txBody>
            <a:bodyPr rtlCol="0" anchor="ctr"/>
            <a:lstStyle/>
            <a:p>
              <a:endParaRPr lang="en-IN"/>
            </a:p>
          </p:txBody>
        </p:sp>
        <p:sp>
          <p:nvSpPr>
            <p:cNvPr id="194" name="Freeform: Shape 193">
              <a:extLst>
                <a:ext uri="{FF2B5EF4-FFF2-40B4-BE49-F238E27FC236}">
                  <a16:creationId xmlns:a16="http://schemas.microsoft.com/office/drawing/2014/main" id="{703D4339-EDE6-4F4C-1B09-BC62FB5B3957}"/>
                </a:ext>
              </a:extLst>
            </p:cNvPr>
            <p:cNvSpPr/>
            <p:nvPr/>
          </p:nvSpPr>
          <p:spPr>
            <a:xfrm>
              <a:off x="4942879" y="1620557"/>
              <a:ext cx="20843" cy="24455"/>
            </a:xfrm>
            <a:custGeom>
              <a:avLst/>
              <a:gdLst>
                <a:gd name="connsiteX0" fmla="*/ 18963 w 20843"/>
                <a:gd name="connsiteY0" fmla="*/ 7303 h 24455"/>
                <a:gd name="connsiteX1" fmla="*/ 5532 w 20843"/>
                <a:gd name="connsiteY1" fmla="*/ 2065 h 24455"/>
                <a:gd name="connsiteX2" fmla="*/ 1818 w 20843"/>
                <a:gd name="connsiteY2" fmla="*/ 15685 h 24455"/>
                <a:gd name="connsiteX3" fmla="*/ 15819 w 20843"/>
                <a:gd name="connsiteY3" fmla="*/ 22258 h 24455"/>
                <a:gd name="connsiteX4" fmla="*/ 18963 w 20843"/>
                <a:gd name="connsiteY4" fmla="*/ 7399 h 24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43" h="24455">
                  <a:moveTo>
                    <a:pt x="18963" y="7303"/>
                  </a:moveTo>
                  <a:cubicBezTo>
                    <a:pt x="16010" y="5398"/>
                    <a:pt x="10200" y="-4127"/>
                    <a:pt x="5532" y="2065"/>
                  </a:cubicBezTo>
                  <a:cubicBezTo>
                    <a:pt x="4485" y="4160"/>
                    <a:pt x="-3516" y="10351"/>
                    <a:pt x="1818" y="15685"/>
                  </a:cubicBezTo>
                  <a:cubicBezTo>
                    <a:pt x="5247" y="18257"/>
                    <a:pt x="11533" y="29020"/>
                    <a:pt x="15819" y="22258"/>
                  </a:cubicBezTo>
                  <a:cubicBezTo>
                    <a:pt x="15819" y="22258"/>
                    <a:pt x="24582" y="12637"/>
                    <a:pt x="18963" y="7399"/>
                  </a:cubicBezTo>
                  <a:close/>
                </a:path>
              </a:pathLst>
            </a:custGeom>
            <a:grpFill/>
            <a:ln w="9525" cap="flat">
              <a:noFill/>
              <a:prstDash val="solid"/>
              <a:miter/>
            </a:ln>
          </p:spPr>
          <p:txBody>
            <a:bodyPr rtlCol="0" anchor="ctr"/>
            <a:lstStyle/>
            <a:p>
              <a:endParaRPr lang="en-IN"/>
            </a:p>
          </p:txBody>
        </p:sp>
        <p:sp>
          <p:nvSpPr>
            <p:cNvPr id="195" name="Freeform: Shape 194">
              <a:extLst>
                <a:ext uri="{FF2B5EF4-FFF2-40B4-BE49-F238E27FC236}">
                  <a16:creationId xmlns:a16="http://schemas.microsoft.com/office/drawing/2014/main" id="{794B4946-DC74-42B1-8D0D-9E1D64427512}"/>
                </a:ext>
              </a:extLst>
            </p:cNvPr>
            <p:cNvSpPr/>
            <p:nvPr/>
          </p:nvSpPr>
          <p:spPr>
            <a:xfrm>
              <a:off x="4963776" y="1597320"/>
              <a:ext cx="16291" cy="18598"/>
            </a:xfrm>
            <a:custGeom>
              <a:avLst/>
              <a:gdLst>
                <a:gd name="connsiteX0" fmla="*/ 6733 w 16291"/>
                <a:gd name="connsiteY0" fmla="*/ 1585 h 18598"/>
                <a:gd name="connsiteX1" fmla="*/ 3209 w 16291"/>
                <a:gd name="connsiteY1" fmla="*/ 17492 h 18598"/>
                <a:gd name="connsiteX2" fmla="*/ 15877 w 16291"/>
                <a:gd name="connsiteY2" fmla="*/ 14253 h 18598"/>
                <a:gd name="connsiteX3" fmla="*/ 6733 w 16291"/>
                <a:gd name="connsiteY3" fmla="*/ 1585 h 18598"/>
              </a:gdLst>
              <a:ahLst/>
              <a:cxnLst>
                <a:cxn ang="0">
                  <a:pos x="connsiteX0" y="connsiteY0"/>
                </a:cxn>
                <a:cxn ang="0">
                  <a:pos x="connsiteX1" y="connsiteY1"/>
                </a:cxn>
                <a:cxn ang="0">
                  <a:pos x="connsiteX2" y="connsiteY2"/>
                </a:cxn>
                <a:cxn ang="0">
                  <a:pos x="connsiteX3" y="connsiteY3"/>
                </a:cxn>
              </a:cxnLst>
              <a:rect l="l" t="t" r="r" b="b"/>
              <a:pathLst>
                <a:path w="16291" h="18598">
                  <a:moveTo>
                    <a:pt x="6733" y="1585"/>
                  </a:moveTo>
                  <a:cubicBezTo>
                    <a:pt x="4638" y="6633"/>
                    <a:pt x="-4887" y="16444"/>
                    <a:pt x="3209" y="17492"/>
                  </a:cubicBezTo>
                  <a:cubicBezTo>
                    <a:pt x="6828" y="17396"/>
                    <a:pt x="18639" y="21587"/>
                    <a:pt x="15877" y="14253"/>
                  </a:cubicBezTo>
                  <a:cubicBezTo>
                    <a:pt x="15877" y="14253"/>
                    <a:pt x="10924" y="-5654"/>
                    <a:pt x="6733" y="1585"/>
                  </a:cubicBezTo>
                  <a:close/>
                </a:path>
              </a:pathLst>
            </a:custGeom>
            <a:grpFill/>
            <a:ln w="9525" cap="flat">
              <a:noFill/>
              <a:prstDash val="solid"/>
              <a:miter/>
            </a:ln>
          </p:spPr>
          <p:txBody>
            <a:bodyPr rtlCol="0" anchor="ctr"/>
            <a:lstStyle/>
            <a:p>
              <a:endParaRPr lang="en-IN"/>
            </a:p>
          </p:txBody>
        </p:sp>
        <p:sp>
          <p:nvSpPr>
            <p:cNvPr id="196" name="Freeform: Shape 195">
              <a:extLst>
                <a:ext uri="{FF2B5EF4-FFF2-40B4-BE49-F238E27FC236}">
                  <a16:creationId xmlns:a16="http://schemas.microsoft.com/office/drawing/2014/main" id="{2EFEAC6B-BC19-43C3-9C26-13165616C2F7}"/>
                </a:ext>
              </a:extLst>
            </p:cNvPr>
            <p:cNvSpPr/>
            <p:nvPr/>
          </p:nvSpPr>
          <p:spPr>
            <a:xfrm>
              <a:off x="4567156" y="1478211"/>
              <a:ext cx="48786" cy="31711"/>
            </a:xfrm>
            <a:custGeom>
              <a:avLst/>
              <a:gdLst>
                <a:gd name="connsiteX0" fmla="*/ 29593 w 48786"/>
                <a:gd name="connsiteY0" fmla="*/ 26872 h 31711"/>
                <a:gd name="connsiteX1" fmla="*/ 41404 w 48786"/>
                <a:gd name="connsiteY1" fmla="*/ 28586 h 31711"/>
                <a:gd name="connsiteX2" fmla="*/ 42833 w 48786"/>
                <a:gd name="connsiteY2" fmla="*/ 22300 h 31711"/>
                <a:gd name="connsiteX3" fmla="*/ 45785 w 48786"/>
                <a:gd name="connsiteY3" fmla="*/ 14108 h 31711"/>
                <a:gd name="connsiteX4" fmla="*/ 24164 w 48786"/>
                <a:gd name="connsiteY4" fmla="*/ 106 h 31711"/>
                <a:gd name="connsiteX5" fmla="*/ 13115 w 48786"/>
                <a:gd name="connsiteY5" fmla="*/ 6774 h 31711"/>
                <a:gd name="connsiteX6" fmla="*/ 7019 w 48786"/>
                <a:gd name="connsiteY6" fmla="*/ 14965 h 31711"/>
                <a:gd name="connsiteX7" fmla="*/ 1208 w 48786"/>
                <a:gd name="connsiteY7" fmla="*/ 19823 h 31711"/>
                <a:gd name="connsiteX8" fmla="*/ 14067 w 48786"/>
                <a:gd name="connsiteY8" fmla="*/ 27348 h 31711"/>
                <a:gd name="connsiteX9" fmla="*/ 29593 w 48786"/>
                <a:gd name="connsiteY9" fmla="*/ 26777 h 3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86" h="31711">
                  <a:moveTo>
                    <a:pt x="29593" y="26872"/>
                  </a:moveTo>
                  <a:cubicBezTo>
                    <a:pt x="32927" y="28015"/>
                    <a:pt x="44357" y="36016"/>
                    <a:pt x="41404" y="28586"/>
                  </a:cubicBezTo>
                  <a:cubicBezTo>
                    <a:pt x="41213" y="27634"/>
                    <a:pt x="37022" y="20014"/>
                    <a:pt x="42833" y="22300"/>
                  </a:cubicBezTo>
                  <a:cubicBezTo>
                    <a:pt x="48548" y="24586"/>
                    <a:pt x="51310" y="19156"/>
                    <a:pt x="45785" y="14108"/>
                  </a:cubicBezTo>
                  <a:cubicBezTo>
                    <a:pt x="34070" y="3536"/>
                    <a:pt x="30926" y="-751"/>
                    <a:pt x="24164" y="106"/>
                  </a:cubicBezTo>
                  <a:cubicBezTo>
                    <a:pt x="22640" y="678"/>
                    <a:pt x="13781" y="-465"/>
                    <a:pt x="13115" y="6774"/>
                  </a:cubicBezTo>
                  <a:cubicBezTo>
                    <a:pt x="12734" y="7727"/>
                    <a:pt x="13591" y="14394"/>
                    <a:pt x="7019" y="14965"/>
                  </a:cubicBezTo>
                  <a:cubicBezTo>
                    <a:pt x="6066" y="15251"/>
                    <a:pt x="-3268" y="14585"/>
                    <a:pt x="1208" y="19823"/>
                  </a:cubicBezTo>
                  <a:cubicBezTo>
                    <a:pt x="3018" y="21347"/>
                    <a:pt x="6923" y="29348"/>
                    <a:pt x="14067" y="27348"/>
                  </a:cubicBezTo>
                  <a:cubicBezTo>
                    <a:pt x="15972" y="27062"/>
                    <a:pt x="23021" y="23633"/>
                    <a:pt x="29593" y="26777"/>
                  </a:cubicBezTo>
                  <a:close/>
                </a:path>
              </a:pathLst>
            </a:custGeom>
            <a:grpFill/>
            <a:ln w="9525" cap="flat">
              <a:noFill/>
              <a:prstDash val="solid"/>
              <a:miter/>
            </a:ln>
          </p:spPr>
          <p:txBody>
            <a:bodyPr rtlCol="0" anchor="ctr"/>
            <a:lstStyle/>
            <a:p>
              <a:endParaRPr lang="en-IN"/>
            </a:p>
          </p:txBody>
        </p:sp>
        <p:sp>
          <p:nvSpPr>
            <p:cNvPr id="197" name="Freeform: Shape 196">
              <a:extLst>
                <a:ext uri="{FF2B5EF4-FFF2-40B4-BE49-F238E27FC236}">
                  <a16:creationId xmlns:a16="http://schemas.microsoft.com/office/drawing/2014/main" id="{D35670EC-8690-DDBD-1199-706FE2697867}"/>
                </a:ext>
              </a:extLst>
            </p:cNvPr>
            <p:cNvSpPr/>
            <p:nvPr/>
          </p:nvSpPr>
          <p:spPr>
            <a:xfrm>
              <a:off x="4613142" y="1470851"/>
              <a:ext cx="25905" cy="19115"/>
            </a:xfrm>
            <a:custGeom>
              <a:avLst/>
              <a:gdLst>
                <a:gd name="connsiteX0" fmla="*/ 23040 w 25905"/>
                <a:gd name="connsiteY0" fmla="*/ 11754 h 19115"/>
                <a:gd name="connsiteX1" fmla="*/ 25326 w 25905"/>
                <a:gd name="connsiteY1" fmla="*/ 5658 h 19115"/>
                <a:gd name="connsiteX2" fmla="*/ 17611 w 25905"/>
                <a:gd name="connsiteY2" fmla="*/ 3753 h 19115"/>
                <a:gd name="connsiteX3" fmla="*/ 1228 w 25905"/>
                <a:gd name="connsiteY3" fmla="*/ 7467 h 19115"/>
                <a:gd name="connsiteX4" fmla="*/ 7038 w 25905"/>
                <a:gd name="connsiteY4" fmla="*/ 16040 h 19115"/>
                <a:gd name="connsiteX5" fmla="*/ 23040 w 25905"/>
                <a:gd name="connsiteY5" fmla="*/ 11849 h 1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05" h="19115">
                  <a:moveTo>
                    <a:pt x="23040" y="11754"/>
                  </a:moveTo>
                  <a:lnTo>
                    <a:pt x="25326" y="5658"/>
                  </a:lnTo>
                  <a:cubicBezTo>
                    <a:pt x="27803" y="-1010"/>
                    <a:pt x="21802" y="-1962"/>
                    <a:pt x="17611" y="3753"/>
                  </a:cubicBezTo>
                  <a:cubicBezTo>
                    <a:pt x="11800" y="11754"/>
                    <a:pt x="-4583" y="-1010"/>
                    <a:pt x="1228" y="7467"/>
                  </a:cubicBezTo>
                  <a:lnTo>
                    <a:pt x="7038" y="16040"/>
                  </a:lnTo>
                  <a:cubicBezTo>
                    <a:pt x="11134" y="22041"/>
                    <a:pt x="20659" y="18516"/>
                    <a:pt x="23040" y="11849"/>
                  </a:cubicBezTo>
                  <a:close/>
                </a:path>
              </a:pathLst>
            </a:custGeom>
            <a:grpFill/>
            <a:ln w="9525" cap="flat">
              <a:noFill/>
              <a:prstDash val="solid"/>
              <a:miter/>
            </a:ln>
          </p:spPr>
          <p:txBody>
            <a:bodyPr rtlCol="0" anchor="ctr"/>
            <a:lstStyle/>
            <a:p>
              <a:endParaRPr lang="en-IN"/>
            </a:p>
          </p:txBody>
        </p:sp>
        <p:sp>
          <p:nvSpPr>
            <p:cNvPr id="198" name="Freeform: Shape 197">
              <a:extLst>
                <a:ext uri="{FF2B5EF4-FFF2-40B4-BE49-F238E27FC236}">
                  <a16:creationId xmlns:a16="http://schemas.microsoft.com/office/drawing/2014/main" id="{1BF9B871-5003-60E6-3783-C0A8098DF2E0}"/>
                </a:ext>
              </a:extLst>
            </p:cNvPr>
            <p:cNvSpPr/>
            <p:nvPr/>
          </p:nvSpPr>
          <p:spPr>
            <a:xfrm>
              <a:off x="4597141" y="1517072"/>
              <a:ext cx="18276" cy="14254"/>
            </a:xfrm>
            <a:custGeom>
              <a:avLst/>
              <a:gdLst>
                <a:gd name="connsiteX0" fmla="*/ 18182 w 18276"/>
                <a:gd name="connsiteY0" fmla="*/ 10585 h 14254"/>
                <a:gd name="connsiteX1" fmla="*/ 13133 w 18276"/>
                <a:gd name="connsiteY1" fmla="*/ 3537 h 14254"/>
                <a:gd name="connsiteX2" fmla="*/ 179 w 18276"/>
                <a:gd name="connsiteY2" fmla="*/ 3632 h 14254"/>
                <a:gd name="connsiteX3" fmla="*/ 6847 w 18276"/>
                <a:gd name="connsiteY3" fmla="*/ 12204 h 14254"/>
                <a:gd name="connsiteX4" fmla="*/ 18277 w 18276"/>
                <a:gd name="connsiteY4" fmla="*/ 10585 h 14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 h="14254">
                  <a:moveTo>
                    <a:pt x="18182" y="10585"/>
                  </a:moveTo>
                  <a:cubicBezTo>
                    <a:pt x="18182" y="7728"/>
                    <a:pt x="15896" y="4489"/>
                    <a:pt x="13133" y="3537"/>
                  </a:cubicBezTo>
                  <a:cubicBezTo>
                    <a:pt x="9514" y="2775"/>
                    <a:pt x="-1535" y="-4083"/>
                    <a:pt x="179" y="3632"/>
                  </a:cubicBezTo>
                  <a:cubicBezTo>
                    <a:pt x="656" y="4584"/>
                    <a:pt x="846" y="10299"/>
                    <a:pt x="6847" y="12204"/>
                  </a:cubicBezTo>
                  <a:cubicBezTo>
                    <a:pt x="8657" y="12395"/>
                    <a:pt x="18277" y="17633"/>
                    <a:pt x="18277" y="10585"/>
                  </a:cubicBezTo>
                  <a:close/>
                </a:path>
              </a:pathLst>
            </a:custGeom>
            <a:grpFill/>
            <a:ln w="9525" cap="flat">
              <a:noFill/>
              <a:prstDash val="solid"/>
              <a:miter/>
            </a:ln>
          </p:spPr>
          <p:txBody>
            <a:bodyPr rtlCol="0" anchor="ctr"/>
            <a:lstStyle/>
            <a:p>
              <a:endParaRPr lang="en-IN"/>
            </a:p>
          </p:txBody>
        </p:sp>
        <p:sp>
          <p:nvSpPr>
            <p:cNvPr id="199" name="Freeform: Shape 198">
              <a:extLst>
                <a:ext uri="{FF2B5EF4-FFF2-40B4-BE49-F238E27FC236}">
                  <a16:creationId xmlns:a16="http://schemas.microsoft.com/office/drawing/2014/main" id="{55ED4E1A-0868-9C43-4CAB-192FAF5B78A4}"/>
                </a:ext>
              </a:extLst>
            </p:cNvPr>
            <p:cNvSpPr/>
            <p:nvPr/>
          </p:nvSpPr>
          <p:spPr>
            <a:xfrm>
              <a:off x="4595318" y="1539353"/>
              <a:ext cx="19031" cy="26423"/>
            </a:xfrm>
            <a:custGeom>
              <a:avLst/>
              <a:gdLst>
                <a:gd name="connsiteX0" fmla="*/ 18861 w 19031"/>
                <a:gd name="connsiteY0" fmla="*/ 23547 h 26423"/>
                <a:gd name="connsiteX1" fmla="*/ 10575 w 19031"/>
                <a:gd name="connsiteY1" fmla="*/ 3830 h 26423"/>
                <a:gd name="connsiteX2" fmla="*/ 573 w 19031"/>
                <a:gd name="connsiteY2" fmla="*/ 973 h 26423"/>
                <a:gd name="connsiteX3" fmla="*/ 18861 w 19031"/>
                <a:gd name="connsiteY3" fmla="*/ 23452 h 26423"/>
              </a:gdLst>
              <a:ahLst/>
              <a:cxnLst>
                <a:cxn ang="0">
                  <a:pos x="connsiteX0" y="connsiteY0"/>
                </a:cxn>
                <a:cxn ang="0">
                  <a:pos x="connsiteX1" y="connsiteY1"/>
                </a:cxn>
                <a:cxn ang="0">
                  <a:pos x="connsiteX2" y="connsiteY2"/>
                </a:cxn>
                <a:cxn ang="0">
                  <a:pos x="connsiteX3" y="connsiteY3"/>
                </a:cxn>
              </a:cxnLst>
              <a:rect l="l" t="t" r="r" b="b"/>
              <a:pathLst>
                <a:path w="19031" h="26423">
                  <a:moveTo>
                    <a:pt x="18861" y="23547"/>
                  </a:moveTo>
                  <a:cubicBezTo>
                    <a:pt x="16861" y="17261"/>
                    <a:pt x="17623" y="8021"/>
                    <a:pt x="10575" y="3830"/>
                  </a:cubicBezTo>
                  <a:cubicBezTo>
                    <a:pt x="9241" y="3259"/>
                    <a:pt x="2097" y="-2170"/>
                    <a:pt x="573" y="973"/>
                  </a:cubicBezTo>
                  <a:cubicBezTo>
                    <a:pt x="-4094" y="10307"/>
                    <a:pt x="21338" y="34882"/>
                    <a:pt x="18861" y="23452"/>
                  </a:cubicBezTo>
                  <a:close/>
                </a:path>
              </a:pathLst>
            </a:custGeom>
            <a:grpFill/>
            <a:ln w="9525" cap="flat">
              <a:noFill/>
              <a:prstDash val="solid"/>
              <a:miter/>
            </a:ln>
          </p:spPr>
          <p:txBody>
            <a:bodyPr rtlCol="0" anchor="ctr"/>
            <a:lstStyle/>
            <a:p>
              <a:endParaRPr lang="en-IN"/>
            </a:p>
          </p:txBody>
        </p:sp>
        <p:sp>
          <p:nvSpPr>
            <p:cNvPr id="200" name="Freeform: Shape 199">
              <a:extLst>
                <a:ext uri="{FF2B5EF4-FFF2-40B4-BE49-F238E27FC236}">
                  <a16:creationId xmlns:a16="http://schemas.microsoft.com/office/drawing/2014/main" id="{BEABF0BC-F443-A3EB-3EF9-4FEEB1503C93}"/>
                </a:ext>
              </a:extLst>
            </p:cNvPr>
            <p:cNvSpPr/>
            <p:nvPr/>
          </p:nvSpPr>
          <p:spPr>
            <a:xfrm>
              <a:off x="4487784" y="2105225"/>
              <a:ext cx="199642" cy="105279"/>
            </a:xfrm>
            <a:custGeom>
              <a:avLst/>
              <a:gdLst>
                <a:gd name="connsiteX0" fmla="*/ 89057 w 199642"/>
                <a:gd name="connsiteY0" fmla="*/ 103089 h 105279"/>
                <a:gd name="connsiteX1" fmla="*/ 96487 w 199642"/>
                <a:gd name="connsiteY1" fmla="*/ 87182 h 105279"/>
                <a:gd name="connsiteX2" fmla="*/ 111631 w 199642"/>
                <a:gd name="connsiteY2" fmla="*/ 80610 h 105279"/>
                <a:gd name="connsiteX3" fmla="*/ 128586 w 199642"/>
                <a:gd name="connsiteY3" fmla="*/ 103280 h 105279"/>
                <a:gd name="connsiteX4" fmla="*/ 172687 w 199642"/>
                <a:gd name="connsiteY4" fmla="*/ 105280 h 105279"/>
                <a:gd name="connsiteX5" fmla="*/ 174115 w 199642"/>
                <a:gd name="connsiteY5" fmla="*/ 99565 h 105279"/>
                <a:gd name="connsiteX6" fmla="*/ 195070 w 199642"/>
                <a:gd name="connsiteY6" fmla="*/ 88802 h 105279"/>
                <a:gd name="connsiteX7" fmla="*/ 198595 w 199642"/>
                <a:gd name="connsiteY7" fmla="*/ 81753 h 105279"/>
                <a:gd name="connsiteX8" fmla="*/ 196499 w 199642"/>
                <a:gd name="connsiteY8" fmla="*/ 65847 h 105279"/>
                <a:gd name="connsiteX9" fmla="*/ 189165 w 199642"/>
                <a:gd name="connsiteY9" fmla="*/ 61941 h 105279"/>
                <a:gd name="connsiteX10" fmla="*/ 177068 w 199642"/>
                <a:gd name="connsiteY10" fmla="*/ 64513 h 105279"/>
                <a:gd name="connsiteX11" fmla="*/ 174973 w 199642"/>
                <a:gd name="connsiteY11" fmla="*/ 55750 h 105279"/>
                <a:gd name="connsiteX12" fmla="*/ 183926 w 199642"/>
                <a:gd name="connsiteY12" fmla="*/ 46511 h 105279"/>
                <a:gd name="connsiteX13" fmla="*/ 164590 w 199642"/>
                <a:gd name="connsiteY13" fmla="*/ 22317 h 105279"/>
                <a:gd name="connsiteX14" fmla="*/ 161066 w 199642"/>
                <a:gd name="connsiteY14" fmla="*/ 12888 h 105279"/>
                <a:gd name="connsiteX15" fmla="*/ 135920 w 199642"/>
                <a:gd name="connsiteY15" fmla="*/ 11364 h 105279"/>
                <a:gd name="connsiteX16" fmla="*/ 109441 w 199642"/>
                <a:gd name="connsiteY16" fmla="*/ 21460 h 105279"/>
                <a:gd name="connsiteX17" fmla="*/ 99725 w 199642"/>
                <a:gd name="connsiteY17" fmla="*/ 28223 h 105279"/>
                <a:gd name="connsiteX18" fmla="*/ 90295 w 199642"/>
                <a:gd name="connsiteY18" fmla="*/ 22222 h 105279"/>
                <a:gd name="connsiteX19" fmla="*/ 99439 w 199642"/>
                <a:gd name="connsiteY19" fmla="*/ 12792 h 105279"/>
                <a:gd name="connsiteX20" fmla="*/ 103821 w 199642"/>
                <a:gd name="connsiteY20" fmla="*/ 7268 h 105279"/>
                <a:gd name="connsiteX21" fmla="*/ 82294 w 199642"/>
                <a:gd name="connsiteY21" fmla="*/ 1648 h 105279"/>
                <a:gd name="connsiteX22" fmla="*/ 75055 w 199642"/>
                <a:gd name="connsiteY22" fmla="*/ 12697 h 105279"/>
                <a:gd name="connsiteX23" fmla="*/ 72198 w 199642"/>
                <a:gd name="connsiteY23" fmla="*/ 21270 h 105279"/>
                <a:gd name="connsiteX24" fmla="*/ 57529 w 199642"/>
                <a:gd name="connsiteY24" fmla="*/ 12697 h 105279"/>
                <a:gd name="connsiteX25" fmla="*/ 19144 w 199642"/>
                <a:gd name="connsiteY25" fmla="*/ 35462 h 105279"/>
                <a:gd name="connsiteX26" fmla="*/ 18667 w 199642"/>
                <a:gd name="connsiteY26" fmla="*/ 47463 h 105279"/>
                <a:gd name="connsiteX27" fmla="*/ 6190 w 199642"/>
                <a:gd name="connsiteY27" fmla="*/ 50035 h 105279"/>
                <a:gd name="connsiteX28" fmla="*/ 94 w 199642"/>
                <a:gd name="connsiteY28" fmla="*/ 56893 h 105279"/>
                <a:gd name="connsiteX29" fmla="*/ 4666 w 199642"/>
                <a:gd name="connsiteY29" fmla="*/ 62798 h 105279"/>
                <a:gd name="connsiteX30" fmla="*/ 30478 w 199642"/>
                <a:gd name="connsiteY30" fmla="*/ 65561 h 105279"/>
                <a:gd name="connsiteX31" fmla="*/ 32288 w 199642"/>
                <a:gd name="connsiteY31" fmla="*/ 72133 h 105279"/>
                <a:gd name="connsiteX32" fmla="*/ 28859 w 199642"/>
                <a:gd name="connsiteY32" fmla="*/ 76133 h 105279"/>
                <a:gd name="connsiteX33" fmla="*/ 57148 w 199642"/>
                <a:gd name="connsiteY33" fmla="*/ 99184 h 105279"/>
                <a:gd name="connsiteX34" fmla="*/ 88962 w 199642"/>
                <a:gd name="connsiteY34" fmla="*/ 102994 h 10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9642" h="105279">
                  <a:moveTo>
                    <a:pt x="89057" y="103089"/>
                  </a:moveTo>
                  <a:lnTo>
                    <a:pt x="96487" y="87182"/>
                  </a:lnTo>
                  <a:lnTo>
                    <a:pt x="111631" y="80610"/>
                  </a:lnTo>
                  <a:lnTo>
                    <a:pt x="128586" y="103280"/>
                  </a:lnTo>
                  <a:lnTo>
                    <a:pt x="172687" y="105280"/>
                  </a:lnTo>
                  <a:cubicBezTo>
                    <a:pt x="173925" y="101851"/>
                    <a:pt x="174306" y="98898"/>
                    <a:pt x="174115" y="99565"/>
                  </a:cubicBezTo>
                  <a:cubicBezTo>
                    <a:pt x="175449" y="89088"/>
                    <a:pt x="190117" y="98708"/>
                    <a:pt x="195070" y="88802"/>
                  </a:cubicBezTo>
                  <a:lnTo>
                    <a:pt x="198595" y="81753"/>
                  </a:lnTo>
                  <a:cubicBezTo>
                    <a:pt x="201928" y="75086"/>
                    <a:pt x="196213" y="64894"/>
                    <a:pt x="196499" y="65847"/>
                  </a:cubicBezTo>
                  <a:cubicBezTo>
                    <a:pt x="195356" y="63084"/>
                    <a:pt x="192118" y="61370"/>
                    <a:pt x="189165" y="61941"/>
                  </a:cubicBezTo>
                  <a:lnTo>
                    <a:pt x="177068" y="64513"/>
                  </a:lnTo>
                  <a:cubicBezTo>
                    <a:pt x="170115" y="65942"/>
                    <a:pt x="168400" y="58607"/>
                    <a:pt x="174973" y="55750"/>
                  </a:cubicBezTo>
                  <a:cubicBezTo>
                    <a:pt x="177640" y="54035"/>
                    <a:pt x="189641" y="51749"/>
                    <a:pt x="183926" y="46511"/>
                  </a:cubicBezTo>
                  <a:cubicBezTo>
                    <a:pt x="167829" y="31652"/>
                    <a:pt x="163162" y="28985"/>
                    <a:pt x="164590" y="22317"/>
                  </a:cubicBezTo>
                  <a:cubicBezTo>
                    <a:pt x="164590" y="21365"/>
                    <a:pt x="167829" y="14126"/>
                    <a:pt x="161066" y="12888"/>
                  </a:cubicBezTo>
                  <a:cubicBezTo>
                    <a:pt x="150208" y="10887"/>
                    <a:pt x="142492" y="8315"/>
                    <a:pt x="135920" y="11364"/>
                  </a:cubicBezTo>
                  <a:cubicBezTo>
                    <a:pt x="117537" y="19841"/>
                    <a:pt x="114013" y="13935"/>
                    <a:pt x="109441" y="21460"/>
                  </a:cubicBezTo>
                  <a:cubicBezTo>
                    <a:pt x="108488" y="22413"/>
                    <a:pt x="106583" y="28889"/>
                    <a:pt x="99725" y="28223"/>
                  </a:cubicBezTo>
                  <a:cubicBezTo>
                    <a:pt x="97915" y="27651"/>
                    <a:pt x="86866" y="28889"/>
                    <a:pt x="90295" y="22222"/>
                  </a:cubicBezTo>
                  <a:cubicBezTo>
                    <a:pt x="91057" y="21174"/>
                    <a:pt x="92772" y="14983"/>
                    <a:pt x="99439" y="12792"/>
                  </a:cubicBezTo>
                  <a:cubicBezTo>
                    <a:pt x="100392" y="12221"/>
                    <a:pt x="110012" y="10411"/>
                    <a:pt x="103821" y="7268"/>
                  </a:cubicBezTo>
                  <a:cubicBezTo>
                    <a:pt x="96772" y="4506"/>
                    <a:pt x="88962" y="-3400"/>
                    <a:pt x="82294" y="1648"/>
                  </a:cubicBezTo>
                  <a:cubicBezTo>
                    <a:pt x="81437" y="2600"/>
                    <a:pt x="74579" y="5839"/>
                    <a:pt x="75055" y="12697"/>
                  </a:cubicBezTo>
                  <a:cubicBezTo>
                    <a:pt x="74865" y="14507"/>
                    <a:pt x="77437" y="26699"/>
                    <a:pt x="72198" y="21270"/>
                  </a:cubicBezTo>
                  <a:cubicBezTo>
                    <a:pt x="69436" y="19079"/>
                    <a:pt x="65054" y="10982"/>
                    <a:pt x="57529" y="12697"/>
                  </a:cubicBezTo>
                  <a:cubicBezTo>
                    <a:pt x="46480" y="15269"/>
                    <a:pt x="13048" y="21650"/>
                    <a:pt x="19144" y="35462"/>
                  </a:cubicBezTo>
                  <a:cubicBezTo>
                    <a:pt x="19525" y="37272"/>
                    <a:pt x="25906" y="45939"/>
                    <a:pt x="18667" y="47463"/>
                  </a:cubicBezTo>
                  <a:lnTo>
                    <a:pt x="6190" y="50035"/>
                  </a:lnTo>
                  <a:cubicBezTo>
                    <a:pt x="856" y="51178"/>
                    <a:pt x="-383" y="57846"/>
                    <a:pt x="94" y="56893"/>
                  </a:cubicBezTo>
                  <a:cubicBezTo>
                    <a:pt x="-287" y="59846"/>
                    <a:pt x="1713" y="62513"/>
                    <a:pt x="4666" y="62798"/>
                  </a:cubicBezTo>
                  <a:lnTo>
                    <a:pt x="30478" y="65561"/>
                  </a:lnTo>
                  <a:cubicBezTo>
                    <a:pt x="36574" y="66227"/>
                    <a:pt x="32193" y="73085"/>
                    <a:pt x="32288" y="72133"/>
                  </a:cubicBezTo>
                  <a:cubicBezTo>
                    <a:pt x="31526" y="73371"/>
                    <a:pt x="30288" y="74705"/>
                    <a:pt x="28859" y="76133"/>
                  </a:cubicBezTo>
                  <a:lnTo>
                    <a:pt x="57148" y="99184"/>
                  </a:lnTo>
                  <a:lnTo>
                    <a:pt x="88962" y="102994"/>
                  </a:lnTo>
                  <a:close/>
                </a:path>
              </a:pathLst>
            </a:custGeom>
            <a:solidFill>
              <a:schemeClr val="bg1">
                <a:lumMod val="95000"/>
              </a:schemeClr>
            </a:solidFill>
            <a:ln w="9525" cap="flat">
              <a:noFill/>
              <a:prstDash val="solid"/>
              <a:miter/>
            </a:ln>
          </p:spPr>
          <p:txBody>
            <a:bodyPr rtlCol="0" anchor="ctr"/>
            <a:lstStyle/>
            <a:p>
              <a:endParaRPr lang="en-IN"/>
            </a:p>
          </p:txBody>
        </p:sp>
      </p:grpSp>
      <p:sp>
        <p:nvSpPr>
          <p:cNvPr id="201" name="Freeform: Shape 200">
            <a:extLst>
              <a:ext uri="{FF2B5EF4-FFF2-40B4-BE49-F238E27FC236}">
                <a16:creationId xmlns:a16="http://schemas.microsoft.com/office/drawing/2014/main" id="{A7DA9C51-2A9E-5CD6-2EFB-0BF9FC5A3E3A}"/>
              </a:ext>
            </a:extLst>
          </p:cNvPr>
          <p:cNvSpPr/>
          <p:nvPr/>
        </p:nvSpPr>
        <p:spPr>
          <a:xfrm>
            <a:off x="7161719" y="2681219"/>
            <a:ext cx="177576" cy="141595"/>
          </a:xfrm>
          <a:custGeom>
            <a:avLst/>
            <a:gdLst>
              <a:gd name="connsiteX0" fmla="*/ 8096 w 177576"/>
              <a:gd name="connsiteY0" fmla="*/ 102584 h 141595"/>
              <a:gd name="connsiteX1" fmla="*/ 42386 w 177576"/>
              <a:gd name="connsiteY1" fmla="*/ 99346 h 141595"/>
              <a:gd name="connsiteX2" fmla="*/ 11525 w 177576"/>
              <a:gd name="connsiteY2" fmla="*/ 117443 h 141595"/>
              <a:gd name="connsiteX3" fmla="*/ 8001 w 177576"/>
              <a:gd name="connsiteY3" fmla="*/ 134969 h 141595"/>
              <a:gd name="connsiteX4" fmla="*/ 8858 w 177576"/>
              <a:gd name="connsiteY4" fmla="*/ 140303 h 141595"/>
              <a:gd name="connsiteX5" fmla="*/ 42291 w 177576"/>
              <a:gd name="connsiteY5" fmla="*/ 112966 h 141595"/>
              <a:gd name="connsiteX6" fmla="*/ 68675 w 177576"/>
              <a:gd name="connsiteY6" fmla="*/ 99251 h 141595"/>
              <a:gd name="connsiteX7" fmla="*/ 93536 w 177576"/>
              <a:gd name="connsiteY7" fmla="*/ 76010 h 141595"/>
              <a:gd name="connsiteX8" fmla="*/ 116014 w 177576"/>
              <a:gd name="connsiteY8" fmla="*/ 75438 h 141595"/>
              <a:gd name="connsiteX9" fmla="*/ 130778 w 177576"/>
              <a:gd name="connsiteY9" fmla="*/ 69913 h 141595"/>
              <a:gd name="connsiteX10" fmla="*/ 171640 w 177576"/>
              <a:gd name="connsiteY10" fmla="*/ 72390 h 141595"/>
              <a:gd name="connsiteX11" fmla="*/ 174784 w 177576"/>
              <a:gd name="connsiteY11" fmla="*/ 58007 h 141595"/>
              <a:gd name="connsiteX12" fmla="*/ 124015 w 177576"/>
              <a:gd name="connsiteY12" fmla="*/ 35338 h 141595"/>
              <a:gd name="connsiteX13" fmla="*/ 115253 w 177576"/>
              <a:gd name="connsiteY13" fmla="*/ 16859 h 141595"/>
              <a:gd name="connsiteX14" fmla="*/ 114967 w 177576"/>
              <a:gd name="connsiteY14" fmla="*/ 16859 h 141595"/>
              <a:gd name="connsiteX15" fmla="*/ 85820 w 177576"/>
              <a:gd name="connsiteY15" fmla="*/ 13621 h 141595"/>
              <a:gd name="connsiteX16" fmla="*/ 69152 w 177576"/>
              <a:gd name="connsiteY16" fmla="*/ 0 h 141595"/>
              <a:gd name="connsiteX17" fmla="*/ 28956 w 177576"/>
              <a:gd name="connsiteY17" fmla="*/ 10478 h 141595"/>
              <a:gd name="connsiteX18" fmla="*/ 15335 w 177576"/>
              <a:gd name="connsiteY18" fmla="*/ 29623 h 141595"/>
              <a:gd name="connsiteX19" fmla="*/ 33338 w 177576"/>
              <a:gd name="connsiteY19" fmla="*/ 33242 h 141595"/>
              <a:gd name="connsiteX20" fmla="*/ 36957 w 177576"/>
              <a:gd name="connsiteY20" fmla="*/ 57626 h 141595"/>
              <a:gd name="connsiteX21" fmla="*/ 17907 w 177576"/>
              <a:gd name="connsiteY21" fmla="*/ 64198 h 141595"/>
              <a:gd name="connsiteX22" fmla="*/ 18479 w 177576"/>
              <a:gd name="connsiteY22" fmla="*/ 77914 h 141595"/>
              <a:gd name="connsiteX23" fmla="*/ 0 w 177576"/>
              <a:gd name="connsiteY23" fmla="*/ 97536 h 141595"/>
              <a:gd name="connsiteX24" fmla="*/ 0 w 177576"/>
              <a:gd name="connsiteY24" fmla="*/ 97822 h 141595"/>
              <a:gd name="connsiteX25" fmla="*/ 8191 w 177576"/>
              <a:gd name="connsiteY25" fmla="*/ 102679 h 14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7576" h="141595">
                <a:moveTo>
                  <a:pt x="8096" y="102584"/>
                </a:moveTo>
                <a:cubicBezTo>
                  <a:pt x="36481" y="97631"/>
                  <a:pt x="42005" y="95821"/>
                  <a:pt x="42386" y="99346"/>
                </a:cubicBezTo>
                <a:cubicBezTo>
                  <a:pt x="42958" y="104013"/>
                  <a:pt x="10573" y="117920"/>
                  <a:pt x="11525" y="117443"/>
                </a:cubicBezTo>
                <a:cubicBezTo>
                  <a:pt x="4667" y="120872"/>
                  <a:pt x="10954" y="126778"/>
                  <a:pt x="8001" y="134969"/>
                </a:cubicBezTo>
                <a:cubicBezTo>
                  <a:pt x="7811" y="135922"/>
                  <a:pt x="3620" y="144875"/>
                  <a:pt x="8858" y="140303"/>
                </a:cubicBezTo>
                <a:cubicBezTo>
                  <a:pt x="32385" y="119348"/>
                  <a:pt x="35528" y="115729"/>
                  <a:pt x="42291" y="112966"/>
                </a:cubicBezTo>
                <a:cubicBezTo>
                  <a:pt x="54007" y="108109"/>
                  <a:pt x="63818" y="105251"/>
                  <a:pt x="68675" y="99251"/>
                </a:cubicBezTo>
                <a:cubicBezTo>
                  <a:pt x="84677" y="79534"/>
                  <a:pt x="86678" y="75057"/>
                  <a:pt x="93536" y="76010"/>
                </a:cubicBezTo>
                <a:cubicBezTo>
                  <a:pt x="102965" y="77248"/>
                  <a:pt x="110109" y="79438"/>
                  <a:pt x="116014" y="75438"/>
                </a:cubicBezTo>
                <a:cubicBezTo>
                  <a:pt x="117824" y="74486"/>
                  <a:pt x="123539" y="68580"/>
                  <a:pt x="130778" y="69913"/>
                </a:cubicBezTo>
                <a:cubicBezTo>
                  <a:pt x="165354" y="76295"/>
                  <a:pt x="168021" y="78010"/>
                  <a:pt x="171640" y="72390"/>
                </a:cubicBezTo>
                <a:cubicBezTo>
                  <a:pt x="173069" y="69152"/>
                  <a:pt x="182023" y="60674"/>
                  <a:pt x="174784" y="58007"/>
                </a:cubicBezTo>
                <a:cubicBezTo>
                  <a:pt x="129445" y="41148"/>
                  <a:pt x="127540" y="41529"/>
                  <a:pt x="124015" y="35338"/>
                </a:cubicBezTo>
                <a:cubicBezTo>
                  <a:pt x="121063" y="28670"/>
                  <a:pt x="114586" y="21336"/>
                  <a:pt x="115253" y="16859"/>
                </a:cubicBezTo>
                <a:lnTo>
                  <a:pt x="114967" y="16859"/>
                </a:lnTo>
                <a:cubicBezTo>
                  <a:pt x="114967" y="16859"/>
                  <a:pt x="85820" y="13621"/>
                  <a:pt x="85820" y="13621"/>
                </a:cubicBezTo>
                <a:lnTo>
                  <a:pt x="69152" y="0"/>
                </a:lnTo>
                <a:lnTo>
                  <a:pt x="28956" y="10478"/>
                </a:lnTo>
                <a:lnTo>
                  <a:pt x="15335" y="29623"/>
                </a:lnTo>
                <a:lnTo>
                  <a:pt x="33338" y="33242"/>
                </a:lnTo>
                <a:lnTo>
                  <a:pt x="36957" y="57626"/>
                </a:lnTo>
                <a:lnTo>
                  <a:pt x="17907" y="64198"/>
                </a:lnTo>
                <a:lnTo>
                  <a:pt x="18479" y="77914"/>
                </a:lnTo>
                <a:lnTo>
                  <a:pt x="0" y="97536"/>
                </a:lnTo>
                <a:lnTo>
                  <a:pt x="0" y="97822"/>
                </a:lnTo>
                <a:cubicBezTo>
                  <a:pt x="1429" y="100679"/>
                  <a:pt x="3715" y="103441"/>
                  <a:pt x="8191" y="102679"/>
                </a:cubicBezTo>
                <a:close/>
              </a:path>
            </a:pathLst>
          </a:custGeom>
          <a:solidFill>
            <a:schemeClr val="bg1">
              <a:lumMod val="95000"/>
            </a:schemeClr>
          </a:solidFill>
          <a:ln w="9525" cap="flat">
            <a:noFill/>
            <a:prstDash val="solid"/>
            <a:miter/>
          </a:ln>
        </p:spPr>
        <p:txBody>
          <a:bodyPr rtlCol="0" anchor="ctr"/>
          <a:lstStyle/>
          <a:p>
            <a:endParaRPr lang="en-IN"/>
          </a:p>
        </p:txBody>
      </p:sp>
      <p:sp>
        <p:nvSpPr>
          <p:cNvPr id="202" name="Freeform: Shape 201">
            <a:extLst>
              <a:ext uri="{FF2B5EF4-FFF2-40B4-BE49-F238E27FC236}">
                <a16:creationId xmlns:a16="http://schemas.microsoft.com/office/drawing/2014/main" id="{525BE391-1800-6930-9E37-347FFFA776FF}"/>
              </a:ext>
            </a:extLst>
          </p:cNvPr>
          <p:cNvSpPr/>
          <p:nvPr/>
        </p:nvSpPr>
        <p:spPr>
          <a:xfrm>
            <a:off x="5951853" y="2253355"/>
            <a:ext cx="280511" cy="156686"/>
          </a:xfrm>
          <a:custGeom>
            <a:avLst/>
            <a:gdLst>
              <a:gd name="connsiteX0" fmla="*/ 128778 w 280511"/>
              <a:gd name="connsiteY0" fmla="*/ 122206 h 156686"/>
              <a:gd name="connsiteX1" fmla="*/ 144685 w 280511"/>
              <a:gd name="connsiteY1" fmla="*/ 108871 h 156686"/>
              <a:gd name="connsiteX2" fmla="*/ 170783 w 280511"/>
              <a:gd name="connsiteY2" fmla="*/ 156686 h 156686"/>
              <a:gd name="connsiteX3" fmla="*/ 189262 w 280511"/>
              <a:gd name="connsiteY3" fmla="*/ 151829 h 156686"/>
              <a:gd name="connsiteX4" fmla="*/ 200120 w 280511"/>
              <a:gd name="connsiteY4" fmla="*/ 105728 h 156686"/>
              <a:gd name="connsiteX5" fmla="*/ 210979 w 280511"/>
              <a:gd name="connsiteY5" fmla="*/ 104013 h 156686"/>
              <a:gd name="connsiteX6" fmla="*/ 232886 w 280511"/>
              <a:gd name="connsiteY6" fmla="*/ 123730 h 156686"/>
              <a:gd name="connsiteX7" fmla="*/ 249746 w 280511"/>
              <a:gd name="connsiteY7" fmla="*/ 124587 h 156686"/>
              <a:gd name="connsiteX8" fmla="*/ 248793 w 280511"/>
              <a:gd name="connsiteY8" fmla="*/ 97060 h 156686"/>
              <a:gd name="connsiteX9" fmla="*/ 270605 w 280511"/>
              <a:gd name="connsiteY9" fmla="*/ 100108 h 156686"/>
              <a:gd name="connsiteX10" fmla="*/ 280511 w 280511"/>
              <a:gd name="connsiteY10" fmla="*/ 74009 h 156686"/>
              <a:gd name="connsiteX11" fmla="*/ 264795 w 280511"/>
              <a:gd name="connsiteY11" fmla="*/ 66961 h 156686"/>
              <a:gd name="connsiteX12" fmla="*/ 248126 w 280511"/>
              <a:gd name="connsiteY12" fmla="*/ 77248 h 156686"/>
              <a:gd name="connsiteX13" fmla="*/ 217170 w 280511"/>
              <a:gd name="connsiteY13" fmla="*/ 61436 h 156686"/>
              <a:gd name="connsiteX14" fmla="*/ 229076 w 280511"/>
              <a:gd name="connsiteY14" fmla="*/ 24098 h 156686"/>
              <a:gd name="connsiteX15" fmla="*/ 204978 w 280511"/>
              <a:gd name="connsiteY15" fmla="*/ 11525 h 156686"/>
              <a:gd name="connsiteX16" fmla="*/ 178499 w 280511"/>
              <a:gd name="connsiteY16" fmla="*/ 11525 h 156686"/>
              <a:gd name="connsiteX17" fmla="*/ 156496 w 280511"/>
              <a:gd name="connsiteY17" fmla="*/ 0 h 156686"/>
              <a:gd name="connsiteX18" fmla="*/ 146018 w 280511"/>
              <a:gd name="connsiteY18" fmla="*/ 10478 h 156686"/>
              <a:gd name="connsiteX19" fmla="*/ 150971 w 280511"/>
              <a:gd name="connsiteY19" fmla="*/ 31147 h 156686"/>
              <a:gd name="connsiteX20" fmla="*/ 96012 w 280511"/>
              <a:gd name="connsiteY20" fmla="*/ 23908 h 156686"/>
              <a:gd name="connsiteX21" fmla="*/ 62960 w 280511"/>
              <a:gd name="connsiteY21" fmla="*/ 33147 h 156686"/>
              <a:gd name="connsiteX22" fmla="*/ 8192 w 280511"/>
              <a:gd name="connsiteY22" fmla="*/ 99346 h 156686"/>
              <a:gd name="connsiteX23" fmla="*/ 0 w 280511"/>
              <a:gd name="connsiteY23" fmla="*/ 136684 h 156686"/>
              <a:gd name="connsiteX24" fmla="*/ 48958 w 280511"/>
              <a:gd name="connsiteY24" fmla="*/ 108871 h 156686"/>
              <a:gd name="connsiteX25" fmla="*/ 63246 w 280511"/>
              <a:gd name="connsiteY25" fmla="*/ 146876 h 156686"/>
              <a:gd name="connsiteX26" fmla="*/ 114014 w 280511"/>
              <a:gd name="connsiteY26" fmla="*/ 147923 h 156686"/>
              <a:gd name="connsiteX27" fmla="*/ 128778 w 280511"/>
              <a:gd name="connsiteY27" fmla="*/ 122206 h 15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0511" h="156686">
                <a:moveTo>
                  <a:pt x="128778" y="122206"/>
                </a:moveTo>
                <a:lnTo>
                  <a:pt x="144685" y="108871"/>
                </a:lnTo>
                <a:lnTo>
                  <a:pt x="170783" y="156686"/>
                </a:lnTo>
                <a:lnTo>
                  <a:pt x="189262" y="151829"/>
                </a:lnTo>
                <a:lnTo>
                  <a:pt x="200120" y="105728"/>
                </a:lnTo>
                <a:lnTo>
                  <a:pt x="210979" y="104013"/>
                </a:lnTo>
                <a:lnTo>
                  <a:pt x="232886" y="123730"/>
                </a:lnTo>
                <a:lnTo>
                  <a:pt x="249746" y="124587"/>
                </a:lnTo>
                <a:lnTo>
                  <a:pt x="248793" y="97060"/>
                </a:lnTo>
                <a:lnTo>
                  <a:pt x="270605" y="100108"/>
                </a:lnTo>
                <a:lnTo>
                  <a:pt x="280511" y="74009"/>
                </a:lnTo>
                <a:lnTo>
                  <a:pt x="264795" y="66961"/>
                </a:lnTo>
                <a:lnTo>
                  <a:pt x="248126" y="77248"/>
                </a:lnTo>
                <a:lnTo>
                  <a:pt x="217170" y="61436"/>
                </a:lnTo>
                <a:lnTo>
                  <a:pt x="229076" y="24098"/>
                </a:lnTo>
                <a:lnTo>
                  <a:pt x="204978" y="11525"/>
                </a:lnTo>
                <a:lnTo>
                  <a:pt x="178499" y="11525"/>
                </a:lnTo>
                <a:lnTo>
                  <a:pt x="156496" y="0"/>
                </a:lnTo>
                <a:lnTo>
                  <a:pt x="146018" y="10478"/>
                </a:lnTo>
                <a:lnTo>
                  <a:pt x="150971" y="31147"/>
                </a:lnTo>
                <a:lnTo>
                  <a:pt x="96012" y="23908"/>
                </a:lnTo>
                <a:lnTo>
                  <a:pt x="62960" y="33147"/>
                </a:lnTo>
                <a:lnTo>
                  <a:pt x="8192" y="99346"/>
                </a:lnTo>
                <a:lnTo>
                  <a:pt x="0" y="136684"/>
                </a:lnTo>
                <a:lnTo>
                  <a:pt x="48958" y="108871"/>
                </a:lnTo>
                <a:lnTo>
                  <a:pt x="63246" y="146876"/>
                </a:lnTo>
                <a:lnTo>
                  <a:pt x="114014" y="147923"/>
                </a:lnTo>
                <a:lnTo>
                  <a:pt x="128778" y="122206"/>
                </a:lnTo>
                <a:close/>
              </a:path>
            </a:pathLst>
          </a:custGeom>
          <a:solidFill>
            <a:schemeClr val="bg1">
              <a:lumMod val="95000"/>
            </a:schemeClr>
          </a:solidFill>
          <a:ln w="9525" cap="flat">
            <a:noFill/>
            <a:prstDash val="solid"/>
            <a:miter/>
          </a:ln>
        </p:spPr>
        <p:txBody>
          <a:bodyPr rtlCol="0" anchor="ctr"/>
          <a:lstStyle/>
          <a:p>
            <a:endParaRPr lang="en-IN"/>
          </a:p>
        </p:txBody>
      </p:sp>
      <p:grpSp>
        <p:nvGrpSpPr>
          <p:cNvPr id="203" name="Graphic 166">
            <a:extLst>
              <a:ext uri="{FF2B5EF4-FFF2-40B4-BE49-F238E27FC236}">
                <a16:creationId xmlns:a16="http://schemas.microsoft.com/office/drawing/2014/main" id="{1A42DD20-AA42-9DAF-1691-128B9D53ECEA}"/>
              </a:ext>
            </a:extLst>
          </p:cNvPr>
          <p:cNvGrpSpPr/>
          <p:nvPr/>
        </p:nvGrpSpPr>
        <p:grpSpPr>
          <a:xfrm>
            <a:off x="6261988" y="366263"/>
            <a:ext cx="782859" cy="1287604"/>
            <a:chOff x="5683361" y="817474"/>
            <a:chExt cx="782859" cy="1287604"/>
          </a:xfrm>
          <a:solidFill>
            <a:schemeClr val="bg1">
              <a:lumMod val="85000"/>
            </a:schemeClr>
          </a:solidFill>
        </p:grpSpPr>
        <p:sp>
          <p:nvSpPr>
            <p:cNvPr id="204" name="Freeform: Shape 203">
              <a:extLst>
                <a:ext uri="{FF2B5EF4-FFF2-40B4-BE49-F238E27FC236}">
                  <a16:creationId xmlns:a16="http://schemas.microsoft.com/office/drawing/2014/main" id="{8A82A866-4A4B-AFC2-3874-059BA44E0AA7}"/>
                </a:ext>
              </a:extLst>
            </p:cNvPr>
            <p:cNvSpPr/>
            <p:nvPr/>
          </p:nvSpPr>
          <p:spPr>
            <a:xfrm>
              <a:off x="6380110" y="1154611"/>
              <a:ext cx="12112" cy="9171"/>
            </a:xfrm>
            <a:custGeom>
              <a:avLst/>
              <a:gdLst>
                <a:gd name="connsiteX0" fmla="*/ 7720 w 12112"/>
                <a:gd name="connsiteY0" fmla="*/ 142 h 9171"/>
                <a:gd name="connsiteX1" fmla="*/ 100 w 12112"/>
                <a:gd name="connsiteY1" fmla="*/ 3952 h 9171"/>
                <a:gd name="connsiteX2" fmla="*/ 7339 w 12112"/>
                <a:gd name="connsiteY2" fmla="*/ 9096 h 9171"/>
                <a:gd name="connsiteX3" fmla="*/ 7720 w 12112"/>
                <a:gd name="connsiteY3" fmla="*/ 142 h 9171"/>
              </a:gdLst>
              <a:ahLst/>
              <a:cxnLst>
                <a:cxn ang="0">
                  <a:pos x="connsiteX0" y="connsiteY0"/>
                </a:cxn>
                <a:cxn ang="0">
                  <a:pos x="connsiteX1" y="connsiteY1"/>
                </a:cxn>
                <a:cxn ang="0">
                  <a:pos x="connsiteX2" y="connsiteY2"/>
                </a:cxn>
                <a:cxn ang="0">
                  <a:pos x="connsiteX3" y="connsiteY3"/>
                </a:cxn>
              </a:cxnLst>
              <a:rect l="l" t="t" r="r" b="b"/>
              <a:pathLst>
                <a:path w="12112" h="9171">
                  <a:moveTo>
                    <a:pt x="7720" y="142"/>
                  </a:moveTo>
                  <a:cubicBezTo>
                    <a:pt x="6577" y="333"/>
                    <a:pt x="-948" y="-1477"/>
                    <a:pt x="100" y="3952"/>
                  </a:cubicBezTo>
                  <a:cubicBezTo>
                    <a:pt x="1052" y="8524"/>
                    <a:pt x="8482" y="9477"/>
                    <a:pt x="7339" y="9096"/>
                  </a:cubicBezTo>
                  <a:cubicBezTo>
                    <a:pt x="10768" y="9286"/>
                    <a:pt x="15911" y="1000"/>
                    <a:pt x="7720" y="142"/>
                  </a:cubicBezTo>
                  <a:close/>
                </a:path>
              </a:pathLst>
            </a:custGeom>
            <a:grpFill/>
            <a:ln w="9525" cap="flat">
              <a:noFill/>
              <a:prstDash val="solid"/>
              <a:miter/>
            </a:ln>
          </p:spPr>
          <p:txBody>
            <a:bodyPr rtlCol="0" anchor="ctr"/>
            <a:lstStyle/>
            <a:p>
              <a:endParaRPr lang="en-IN"/>
            </a:p>
          </p:txBody>
        </p:sp>
        <p:sp>
          <p:nvSpPr>
            <p:cNvPr id="205" name="Freeform: Shape 204">
              <a:extLst>
                <a:ext uri="{FF2B5EF4-FFF2-40B4-BE49-F238E27FC236}">
                  <a16:creationId xmlns:a16="http://schemas.microsoft.com/office/drawing/2014/main" id="{09371515-DC45-7588-A171-31AB584C63D1}"/>
                </a:ext>
              </a:extLst>
            </p:cNvPr>
            <p:cNvSpPr/>
            <p:nvPr/>
          </p:nvSpPr>
          <p:spPr>
            <a:xfrm>
              <a:off x="6366579" y="1167486"/>
              <a:ext cx="10506" cy="13854"/>
            </a:xfrm>
            <a:custGeom>
              <a:avLst/>
              <a:gdLst>
                <a:gd name="connsiteX0" fmla="*/ 7630 w 10506"/>
                <a:gd name="connsiteY0" fmla="*/ 221 h 13854"/>
                <a:gd name="connsiteX1" fmla="*/ 296 w 10506"/>
                <a:gd name="connsiteY1" fmla="*/ 8413 h 13854"/>
                <a:gd name="connsiteX2" fmla="*/ 8964 w 10506"/>
                <a:gd name="connsiteY2" fmla="*/ 9270 h 13854"/>
                <a:gd name="connsiteX3" fmla="*/ 7535 w 10506"/>
                <a:gd name="connsiteY3" fmla="*/ 221 h 13854"/>
              </a:gdLst>
              <a:ahLst/>
              <a:cxnLst>
                <a:cxn ang="0">
                  <a:pos x="connsiteX0" y="connsiteY0"/>
                </a:cxn>
                <a:cxn ang="0">
                  <a:pos x="connsiteX1" y="connsiteY1"/>
                </a:cxn>
                <a:cxn ang="0">
                  <a:pos x="connsiteX2" y="connsiteY2"/>
                </a:cxn>
                <a:cxn ang="0">
                  <a:pos x="connsiteX3" y="connsiteY3"/>
                </a:cxn>
              </a:cxnLst>
              <a:rect l="l" t="t" r="r" b="b"/>
              <a:pathLst>
                <a:path w="10506" h="13854">
                  <a:moveTo>
                    <a:pt x="7630" y="221"/>
                  </a:moveTo>
                  <a:cubicBezTo>
                    <a:pt x="1725" y="-1684"/>
                    <a:pt x="-180" y="9365"/>
                    <a:pt x="296" y="8413"/>
                  </a:cubicBezTo>
                  <a:cubicBezTo>
                    <a:pt x="-1609" y="15271"/>
                    <a:pt x="6202" y="15747"/>
                    <a:pt x="8964" y="9270"/>
                  </a:cubicBezTo>
                  <a:cubicBezTo>
                    <a:pt x="8964" y="9270"/>
                    <a:pt x="13250" y="2126"/>
                    <a:pt x="7535" y="221"/>
                  </a:cubicBezTo>
                  <a:close/>
                </a:path>
              </a:pathLst>
            </a:custGeom>
            <a:grpFill/>
            <a:ln w="9525" cap="flat">
              <a:noFill/>
              <a:prstDash val="solid"/>
              <a:miter/>
            </a:ln>
          </p:spPr>
          <p:txBody>
            <a:bodyPr rtlCol="0" anchor="ctr"/>
            <a:lstStyle/>
            <a:p>
              <a:endParaRPr lang="en-IN"/>
            </a:p>
          </p:txBody>
        </p:sp>
        <p:sp>
          <p:nvSpPr>
            <p:cNvPr id="206" name="Freeform: Shape 205">
              <a:extLst>
                <a:ext uri="{FF2B5EF4-FFF2-40B4-BE49-F238E27FC236}">
                  <a16:creationId xmlns:a16="http://schemas.microsoft.com/office/drawing/2014/main" id="{DCFC5539-A645-2FFF-7B4E-6CDD24C7EAA3}"/>
                </a:ext>
              </a:extLst>
            </p:cNvPr>
            <p:cNvSpPr/>
            <p:nvPr/>
          </p:nvSpPr>
          <p:spPr>
            <a:xfrm>
              <a:off x="6135206" y="1410372"/>
              <a:ext cx="10974" cy="13704"/>
            </a:xfrm>
            <a:custGeom>
              <a:avLst/>
              <a:gdLst>
                <a:gd name="connsiteX0" fmla="*/ 8308 w 10974"/>
                <a:gd name="connsiteY0" fmla="*/ 128 h 13704"/>
                <a:gd name="connsiteX1" fmla="*/ 21 w 10974"/>
                <a:gd name="connsiteY1" fmla="*/ 6415 h 13704"/>
                <a:gd name="connsiteX2" fmla="*/ 4021 w 10974"/>
                <a:gd name="connsiteY2" fmla="*/ 12034 h 13704"/>
                <a:gd name="connsiteX3" fmla="*/ 8308 w 10974"/>
                <a:gd name="connsiteY3" fmla="*/ 33 h 13704"/>
              </a:gdLst>
              <a:ahLst/>
              <a:cxnLst>
                <a:cxn ang="0">
                  <a:pos x="connsiteX0" y="connsiteY0"/>
                </a:cxn>
                <a:cxn ang="0">
                  <a:pos x="connsiteX1" y="connsiteY1"/>
                </a:cxn>
                <a:cxn ang="0">
                  <a:pos x="connsiteX2" y="connsiteY2"/>
                </a:cxn>
                <a:cxn ang="0">
                  <a:pos x="connsiteX3" y="connsiteY3"/>
                </a:cxn>
              </a:cxnLst>
              <a:rect l="l" t="t" r="r" b="b"/>
              <a:pathLst>
                <a:path w="10974" h="13704">
                  <a:moveTo>
                    <a:pt x="8308" y="128"/>
                  </a:moveTo>
                  <a:cubicBezTo>
                    <a:pt x="7355" y="509"/>
                    <a:pt x="-456" y="-348"/>
                    <a:pt x="21" y="6415"/>
                  </a:cubicBezTo>
                  <a:cubicBezTo>
                    <a:pt x="307" y="7367"/>
                    <a:pt x="-265" y="17654"/>
                    <a:pt x="4021" y="12034"/>
                  </a:cubicBezTo>
                  <a:cubicBezTo>
                    <a:pt x="4021" y="12034"/>
                    <a:pt x="16213" y="-729"/>
                    <a:pt x="8308" y="33"/>
                  </a:cubicBezTo>
                  <a:close/>
                </a:path>
              </a:pathLst>
            </a:custGeom>
            <a:grpFill/>
            <a:ln w="9525" cap="flat">
              <a:noFill/>
              <a:prstDash val="solid"/>
              <a:miter/>
            </a:ln>
          </p:spPr>
          <p:txBody>
            <a:bodyPr rtlCol="0" anchor="ctr"/>
            <a:lstStyle/>
            <a:p>
              <a:endParaRPr lang="en-IN"/>
            </a:p>
          </p:txBody>
        </p:sp>
        <p:sp>
          <p:nvSpPr>
            <p:cNvPr id="207" name="Freeform: Shape 206">
              <a:extLst>
                <a:ext uri="{FF2B5EF4-FFF2-40B4-BE49-F238E27FC236}">
                  <a16:creationId xmlns:a16="http://schemas.microsoft.com/office/drawing/2014/main" id="{3B595EBB-E284-2875-71D0-F0B93C950054}"/>
                </a:ext>
              </a:extLst>
            </p:cNvPr>
            <p:cNvSpPr/>
            <p:nvPr/>
          </p:nvSpPr>
          <p:spPr>
            <a:xfrm>
              <a:off x="6148217" y="1742432"/>
              <a:ext cx="11022" cy="12926"/>
            </a:xfrm>
            <a:custGeom>
              <a:avLst/>
              <a:gdLst>
                <a:gd name="connsiteX0" fmla="*/ 2345 w 11022"/>
                <a:gd name="connsiteY0" fmla="*/ 2014 h 12926"/>
                <a:gd name="connsiteX1" fmla="*/ 6536 w 11022"/>
                <a:gd name="connsiteY1" fmla="*/ 11539 h 12926"/>
                <a:gd name="connsiteX2" fmla="*/ 9108 w 11022"/>
                <a:gd name="connsiteY2" fmla="*/ 9063 h 12926"/>
                <a:gd name="connsiteX3" fmla="*/ 2821 w 11022"/>
                <a:gd name="connsiteY3" fmla="*/ 1633 h 12926"/>
                <a:gd name="connsiteX4" fmla="*/ 2345 w 11022"/>
                <a:gd name="connsiteY4" fmla="*/ 2110 h 1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22" h="12926">
                  <a:moveTo>
                    <a:pt x="2345" y="2014"/>
                  </a:moveTo>
                  <a:cubicBezTo>
                    <a:pt x="-2799" y="6967"/>
                    <a:pt x="1392" y="16492"/>
                    <a:pt x="6536" y="11539"/>
                  </a:cubicBezTo>
                  <a:lnTo>
                    <a:pt x="9108" y="9063"/>
                  </a:lnTo>
                  <a:cubicBezTo>
                    <a:pt x="14251" y="4110"/>
                    <a:pt x="7965" y="-3320"/>
                    <a:pt x="2821" y="1633"/>
                  </a:cubicBezTo>
                  <a:lnTo>
                    <a:pt x="2345" y="2110"/>
                  </a:lnTo>
                  <a:close/>
                </a:path>
              </a:pathLst>
            </a:custGeom>
            <a:grpFill/>
            <a:ln w="9525" cap="flat">
              <a:noFill/>
              <a:prstDash val="solid"/>
              <a:miter/>
            </a:ln>
          </p:spPr>
          <p:txBody>
            <a:bodyPr rtlCol="0" anchor="ctr"/>
            <a:lstStyle/>
            <a:p>
              <a:endParaRPr lang="en-IN"/>
            </a:p>
          </p:txBody>
        </p:sp>
        <p:sp>
          <p:nvSpPr>
            <p:cNvPr id="208" name="Freeform: Shape 207">
              <a:extLst>
                <a:ext uri="{FF2B5EF4-FFF2-40B4-BE49-F238E27FC236}">
                  <a16:creationId xmlns:a16="http://schemas.microsoft.com/office/drawing/2014/main" id="{ED6EA8FF-F159-0957-910D-DFE99D381FB6}"/>
                </a:ext>
              </a:extLst>
            </p:cNvPr>
            <p:cNvSpPr/>
            <p:nvPr/>
          </p:nvSpPr>
          <p:spPr>
            <a:xfrm>
              <a:off x="6133944" y="1763235"/>
              <a:ext cx="15654" cy="11160"/>
            </a:xfrm>
            <a:custGeom>
              <a:avLst/>
              <a:gdLst>
                <a:gd name="connsiteX0" fmla="*/ 2425 w 15654"/>
                <a:gd name="connsiteY0" fmla="*/ 9501 h 11160"/>
                <a:gd name="connsiteX1" fmla="*/ 12617 w 15654"/>
                <a:gd name="connsiteY1" fmla="*/ 8358 h 11160"/>
                <a:gd name="connsiteX2" fmla="*/ 13284 w 15654"/>
                <a:gd name="connsiteY2" fmla="*/ 166 h 11160"/>
                <a:gd name="connsiteX3" fmla="*/ 4521 w 15654"/>
                <a:gd name="connsiteY3" fmla="*/ 2262 h 11160"/>
                <a:gd name="connsiteX4" fmla="*/ 2425 w 15654"/>
                <a:gd name="connsiteY4" fmla="*/ 9501 h 11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54" h="11160">
                  <a:moveTo>
                    <a:pt x="2425" y="9501"/>
                  </a:moveTo>
                  <a:cubicBezTo>
                    <a:pt x="3378" y="9691"/>
                    <a:pt x="8807" y="13787"/>
                    <a:pt x="12617" y="8358"/>
                  </a:cubicBezTo>
                  <a:cubicBezTo>
                    <a:pt x="12998" y="7405"/>
                    <a:pt x="18808" y="1404"/>
                    <a:pt x="13284" y="166"/>
                  </a:cubicBezTo>
                  <a:cubicBezTo>
                    <a:pt x="10903" y="-405"/>
                    <a:pt x="6902" y="547"/>
                    <a:pt x="4521" y="2262"/>
                  </a:cubicBezTo>
                  <a:cubicBezTo>
                    <a:pt x="3759" y="3214"/>
                    <a:pt x="-3766" y="6643"/>
                    <a:pt x="2425" y="9501"/>
                  </a:cubicBezTo>
                  <a:close/>
                </a:path>
              </a:pathLst>
            </a:custGeom>
            <a:grpFill/>
            <a:ln w="9525" cap="flat">
              <a:noFill/>
              <a:prstDash val="solid"/>
              <a:miter/>
            </a:ln>
          </p:spPr>
          <p:txBody>
            <a:bodyPr rtlCol="0" anchor="ctr"/>
            <a:lstStyle/>
            <a:p>
              <a:endParaRPr lang="en-IN"/>
            </a:p>
          </p:txBody>
        </p:sp>
        <p:sp>
          <p:nvSpPr>
            <p:cNvPr id="209" name="Freeform: Shape 208">
              <a:extLst>
                <a:ext uri="{FF2B5EF4-FFF2-40B4-BE49-F238E27FC236}">
                  <a16:creationId xmlns:a16="http://schemas.microsoft.com/office/drawing/2014/main" id="{2424238B-4488-2998-11A5-38EF96717EB5}"/>
                </a:ext>
              </a:extLst>
            </p:cNvPr>
            <p:cNvSpPr/>
            <p:nvPr/>
          </p:nvSpPr>
          <p:spPr>
            <a:xfrm>
              <a:off x="6117723" y="1777802"/>
              <a:ext cx="13257" cy="11460"/>
            </a:xfrm>
            <a:custGeom>
              <a:avLst/>
              <a:gdLst>
                <a:gd name="connsiteX0" fmla="*/ 12932 w 13257"/>
                <a:gd name="connsiteY0" fmla="*/ 8650 h 11460"/>
                <a:gd name="connsiteX1" fmla="*/ 8550 w 13257"/>
                <a:gd name="connsiteY1" fmla="*/ 172 h 11460"/>
                <a:gd name="connsiteX2" fmla="*/ 1692 w 13257"/>
                <a:gd name="connsiteY2" fmla="*/ 5983 h 11460"/>
                <a:gd name="connsiteX3" fmla="*/ 12932 w 13257"/>
                <a:gd name="connsiteY3" fmla="*/ 8650 h 11460"/>
              </a:gdLst>
              <a:ahLst/>
              <a:cxnLst>
                <a:cxn ang="0">
                  <a:pos x="connsiteX0" y="connsiteY0"/>
                </a:cxn>
                <a:cxn ang="0">
                  <a:pos x="connsiteX1" y="connsiteY1"/>
                </a:cxn>
                <a:cxn ang="0">
                  <a:pos x="connsiteX2" y="connsiteY2"/>
                </a:cxn>
                <a:cxn ang="0">
                  <a:pos x="connsiteX3" y="connsiteY3"/>
                </a:cxn>
              </a:cxnLst>
              <a:rect l="l" t="t" r="r" b="b"/>
              <a:pathLst>
                <a:path w="13257" h="11460">
                  <a:moveTo>
                    <a:pt x="12932" y="8650"/>
                  </a:moveTo>
                  <a:cubicBezTo>
                    <a:pt x="12741" y="7697"/>
                    <a:pt x="15313" y="-1351"/>
                    <a:pt x="8550" y="172"/>
                  </a:cubicBezTo>
                  <a:cubicBezTo>
                    <a:pt x="7122" y="839"/>
                    <a:pt x="-4213" y="1601"/>
                    <a:pt x="1692" y="5983"/>
                  </a:cubicBezTo>
                  <a:cubicBezTo>
                    <a:pt x="1692" y="5983"/>
                    <a:pt x="12170" y="16270"/>
                    <a:pt x="12932" y="8650"/>
                  </a:cubicBezTo>
                  <a:close/>
                </a:path>
              </a:pathLst>
            </a:custGeom>
            <a:grpFill/>
            <a:ln w="9525" cap="flat">
              <a:noFill/>
              <a:prstDash val="solid"/>
              <a:miter/>
            </a:ln>
          </p:spPr>
          <p:txBody>
            <a:bodyPr rtlCol="0" anchor="ctr"/>
            <a:lstStyle/>
            <a:p>
              <a:endParaRPr lang="en-IN"/>
            </a:p>
          </p:txBody>
        </p:sp>
        <p:sp>
          <p:nvSpPr>
            <p:cNvPr id="210" name="Freeform: Shape 209">
              <a:extLst>
                <a:ext uri="{FF2B5EF4-FFF2-40B4-BE49-F238E27FC236}">
                  <a16:creationId xmlns:a16="http://schemas.microsoft.com/office/drawing/2014/main" id="{836A5602-E196-854D-C329-1D3E944F04CD}"/>
                </a:ext>
              </a:extLst>
            </p:cNvPr>
            <p:cNvSpPr/>
            <p:nvPr/>
          </p:nvSpPr>
          <p:spPr>
            <a:xfrm>
              <a:off x="6103603" y="1792023"/>
              <a:ext cx="16274" cy="12478"/>
            </a:xfrm>
            <a:custGeom>
              <a:avLst/>
              <a:gdLst>
                <a:gd name="connsiteX0" fmla="*/ 3525 w 16274"/>
                <a:gd name="connsiteY0" fmla="*/ 12051 h 12478"/>
                <a:gd name="connsiteX1" fmla="*/ 14193 w 16274"/>
                <a:gd name="connsiteY1" fmla="*/ 3192 h 12478"/>
                <a:gd name="connsiteX2" fmla="*/ 1811 w 16274"/>
                <a:gd name="connsiteY2" fmla="*/ 3287 h 12478"/>
                <a:gd name="connsiteX3" fmla="*/ 3525 w 16274"/>
                <a:gd name="connsiteY3" fmla="*/ 12051 h 12478"/>
              </a:gdLst>
              <a:ahLst/>
              <a:cxnLst>
                <a:cxn ang="0">
                  <a:pos x="connsiteX0" y="connsiteY0"/>
                </a:cxn>
                <a:cxn ang="0">
                  <a:pos x="connsiteX1" y="connsiteY1"/>
                </a:cxn>
                <a:cxn ang="0">
                  <a:pos x="connsiteX2" y="connsiteY2"/>
                </a:cxn>
                <a:cxn ang="0">
                  <a:pos x="connsiteX3" y="connsiteY3"/>
                </a:cxn>
              </a:cxnLst>
              <a:rect l="l" t="t" r="r" b="b"/>
              <a:pathLst>
                <a:path w="16274" h="12478">
                  <a:moveTo>
                    <a:pt x="3525" y="12051"/>
                  </a:moveTo>
                  <a:cubicBezTo>
                    <a:pt x="7430" y="9860"/>
                    <a:pt x="21527" y="6717"/>
                    <a:pt x="14193" y="3192"/>
                  </a:cubicBezTo>
                  <a:cubicBezTo>
                    <a:pt x="12383" y="2811"/>
                    <a:pt x="4001" y="-3856"/>
                    <a:pt x="1811" y="3287"/>
                  </a:cubicBezTo>
                  <a:cubicBezTo>
                    <a:pt x="1811" y="3287"/>
                    <a:pt x="-3238" y="14813"/>
                    <a:pt x="3525" y="12051"/>
                  </a:cubicBezTo>
                  <a:close/>
                </a:path>
              </a:pathLst>
            </a:custGeom>
            <a:grpFill/>
            <a:ln w="9525" cap="flat">
              <a:noFill/>
              <a:prstDash val="solid"/>
              <a:miter/>
            </a:ln>
          </p:spPr>
          <p:txBody>
            <a:bodyPr rtlCol="0" anchor="ctr"/>
            <a:lstStyle/>
            <a:p>
              <a:endParaRPr lang="en-IN"/>
            </a:p>
          </p:txBody>
        </p:sp>
        <p:sp>
          <p:nvSpPr>
            <p:cNvPr id="211" name="Freeform: Shape 210">
              <a:extLst>
                <a:ext uri="{FF2B5EF4-FFF2-40B4-BE49-F238E27FC236}">
                  <a16:creationId xmlns:a16="http://schemas.microsoft.com/office/drawing/2014/main" id="{F0A7B8FC-F36C-1B6B-3308-8A30C99E26FF}"/>
                </a:ext>
              </a:extLst>
            </p:cNvPr>
            <p:cNvSpPr/>
            <p:nvPr/>
          </p:nvSpPr>
          <p:spPr>
            <a:xfrm>
              <a:off x="6161597" y="1878232"/>
              <a:ext cx="14247" cy="14372"/>
            </a:xfrm>
            <a:custGeom>
              <a:avLst/>
              <a:gdLst>
                <a:gd name="connsiteX0" fmla="*/ 12777 w 14247"/>
                <a:gd name="connsiteY0" fmla="*/ 708 h 14372"/>
                <a:gd name="connsiteX1" fmla="*/ 3156 w 14247"/>
                <a:gd name="connsiteY1" fmla="*/ 1851 h 14372"/>
                <a:gd name="connsiteX2" fmla="*/ 1156 w 14247"/>
                <a:gd name="connsiteY2" fmla="*/ 11947 h 14372"/>
                <a:gd name="connsiteX3" fmla="*/ 6681 w 14247"/>
                <a:gd name="connsiteY3" fmla="*/ 12995 h 14372"/>
                <a:gd name="connsiteX4" fmla="*/ 12777 w 14247"/>
                <a:gd name="connsiteY4" fmla="*/ 708 h 1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7" h="14372">
                  <a:moveTo>
                    <a:pt x="12777" y="708"/>
                  </a:moveTo>
                  <a:cubicBezTo>
                    <a:pt x="9062" y="-1483"/>
                    <a:pt x="2204" y="2137"/>
                    <a:pt x="3156" y="1851"/>
                  </a:cubicBezTo>
                  <a:cubicBezTo>
                    <a:pt x="-2558" y="4709"/>
                    <a:pt x="1252" y="12900"/>
                    <a:pt x="1156" y="11947"/>
                  </a:cubicBezTo>
                  <a:cubicBezTo>
                    <a:pt x="2204" y="14710"/>
                    <a:pt x="4681" y="15186"/>
                    <a:pt x="6681" y="12995"/>
                  </a:cubicBezTo>
                  <a:cubicBezTo>
                    <a:pt x="8395" y="10519"/>
                    <a:pt x="17825" y="3661"/>
                    <a:pt x="12777" y="708"/>
                  </a:cubicBezTo>
                  <a:close/>
                </a:path>
              </a:pathLst>
            </a:custGeom>
            <a:grpFill/>
            <a:ln w="9525" cap="flat">
              <a:noFill/>
              <a:prstDash val="solid"/>
              <a:miter/>
            </a:ln>
          </p:spPr>
          <p:txBody>
            <a:bodyPr rtlCol="0" anchor="ctr"/>
            <a:lstStyle/>
            <a:p>
              <a:endParaRPr lang="en-IN"/>
            </a:p>
          </p:txBody>
        </p:sp>
        <p:sp>
          <p:nvSpPr>
            <p:cNvPr id="212" name="Freeform: Shape 211">
              <a:extLst>
                <a:ext uri="{FF2B5EF4-FFF2-40B4-BE49-F238E27FC236}">
                  <a16:creationId xmlns:a16="http://schemas.microsoft.com/office/drawing/2014/main" id="{994ECC79-BDB1-BEA9-D69A-70A642457164}"/>
                </a:ext>
              </a:extLst>
            </p:cNvPr>
            <p:cNvSpPr/>
            <p:nvPr/>
          </p:nvSpPr>
          <p:spPr>
            <a:xfrm>
              <a:off x="6104717" y="1886047"/>
              <a:ext cx="51591" cy="68578"/>
            </a:xfrm>
            <a:custGeom>
              <a:avLst/>
              <a:gdLst>
                <a:gd name="connsiteX0" fmla="*/ 51370 w 51591"/>
                <a:gd name="connsiteY0" fmla="*/ 6703 h 68578"/>
                <a:gd name="connsiteX1" fmla="*/ 51084 w 51591"/>
                <a:gd name="connsiteY1" fmla="*/ 5560 h 68578"/>
                <a:gd name="connsiteX2" fmla="*/ 30605 w 51591"/>
                <a:gd name="connsiteY2" fmla="*/ 3941 h 68578"/>
                <a:gd name="connsiteX3" fmla="*/ 23938 w 51591"/>
                <a:gd name="connsiteY3" fmla="*/ 8704 h 68578"/>
                <a:gd name="connsiteX4" fmla="*/ 14603 w 51591"/>
                <a:gd name="connsiteY4" fmla="*/ 20324 h 68578"/>
                <a:gd name="connsiteX5" fmla="*/ 4030 w 51591"/>
                <a:gd name="connsiteY5" fmla="*/ 31373 h 68578"/>
                <a:gd name="connsiteX6" fmla="*/ 30 w 51591"/>
                <a:gd name="connsiteY6" fmla="*/ 39850 h 68578"/>
                <a:gd name="connsiteX7" fmla="*/ 1554 w 51591"/>
                <a:gd name="connsiteY7" fmla="*/ 59281 h 68578"/>
                <a:gd name="connsiteX8" fmla="*/ 7555 w 51591"/>
                <a:gd name="connsiteY8" fmla="*/ 67663 h 68578"/>
                <a:gd name="connsiteX9" fmla="*/ 16698 w 51591"/>
                <a:gd name="connsiteY9" fmla="*/ 67092 h 68578"/>
                <a:gd name="connsiteX10" fmla="*/ 44035 w 51591"/>
                <a:gd name="connsiteY10" fmla="*/ 47280 h 68578"/>
                <a:gd name="connsiteX11" fmla="*/ 43464 w 51591"/>
                <a:gd name="connsiteY11" fmla="*/ 39184 h 68578"/>
                <a:gd name="connsiteX12" fmla="*/ 45655 w 51591"/>
                <a:gd name="connsiteY12" fmla="*/ 15466 h 68578"/>
                <a:gd name="connsiteX13" fmla="*/ 51274 w 51591"/>
                <a:gd name="connsiteY13" fmla="*/ 6703 h 6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91" h="68578">
                  <a:moveTo>
                    <a:pt x="51370" y="6703"/>
                  </a:moveTo>
                  <a:lnTo>
                    <a:pt x="51084" y="5560"/>
                  </a:lnTo>
                  <a:cubicBezTo>
                    <a:pt x="48893" y="-2346"/>
                    <a:pt x="32224" y="-821"/>
                    <a:pt x="30605" y="3941"/>
                  </a:cubicBezTo>
                  <a:cubicBezTo>
                    <a:pt x="29462" y="7465"/>
                    <a:pt x="22985" y="9180"/>
                    <a:pt x="23938" y="8704"/>
                  </a:cubicBezTo>
                  <a:cubicBezTo>
                    <a:pt x="16889" y="10323"/>
                    <a:pt x="14127" y="21277"/>
                    <a:pt x="14603" y="20324"/>
                  </a:cubicBezTo>
                  <a:cubicBezTo>
                    <a:pt x="12031" y="26992"/>
                    <a:pt x="3078" y="32230"/>
                    <a:pt x="4030" y="31373"/>
                  </a:cubicBezTo>
                  <a:cubicBezTo>
                    <a:pt x="1554" y="33088"/>
                    <a:pt x="-256" y="36897"/>
                    <a:pt x="30" y="39850"/>
                  </a:cubicBezTo>
                  <a:lnTo>
                    <a:pt x="1554" y="59281"/>
                  </a:lnTo>
                  <a:cubicBezTo>
                    <a:pt x="2030" y="64996"/>
                    <a:pt x="8507" y="68521"/>
                    <a:pt x="7555" y="67663"/>
                  </a:cubicBezTo>
                  <a:cubicBezTo>
                    <a:pt x="10126" y="69092"/>
                    <a:pt x="14317" y="68806"/>
                    <a:pt x="16698" y="67092"/>
                  </a:cubicBezTo>
                  <a:lnTo>
                    <a:pt x="44035" y="47280"/>
                  </a:lnTo>
                  <a:cubicBezTo>
                    <a:pt x="48988" y="43755"/>
                    <a:pt x="43083" y="38231"/>
                    <a:pt x="43464" y="39184"/>
                  </a:cubicBezTo>
                  <a:cubicBezTo>
                    <a:pt x="38225" y="33945"/>
                    <a:pt x="38606" y="18991"/>
                    <a:pt x="45655" y="15466"/>
                  </a:cubicBezTo>
                  <a:cubicBezTo>
                    <a:pt x="46607" y="14609"/>
                    <a:pt x="53084" y="13085"/>
                    <a:pt x="51274" y="6703"/>
                  </a:cubicBezTo>
                  <a:close/>
                </a:path>
              </a:pathLst>
            </a:custGeom>
            <a:solidFill>
              <a:schemeClr val="bg1">
                <a:lumMod val="95000"/>
              </a:schemeClr>
            </a:solidFill>
            <a:ln w="9525" cap="flat">
              <a:noFill/>
              <a:prstDash val="solid"/>
              <a:miter/>
            </a:ln>
          </p:spPr>
          <p:txBody>
            <a:bodyPr rtlCol="0" anchor="ctr"/>
            <a:lstStyle/>
            <a:p>
              <a:endParaRPr lang="en-IN"/>
            </a:p>
          </p:txBody>
        </p:sp>
        <p:sp>
          <p:nvSpPr>
            <p:cNvPr id="213" name="Freeform: Shape 212">
              <a:extLst>
                <a:ext uri="{FF2B5EF4-FFF2-40B4-BE49-F238E27FC236}">
                  <a16:creationId xmlns:a16="http://schemas.microsoft.com/office/drawing/2014/main" id="{87FB75CF-86E4-C609-B8E4-9A33B0CB3261}"/>
                </a:ext>
              </a:extLst>
            </p:cNvPr>
            <p:cNvSpPr/>
            <p:nvPr/>
          </p:nvSpPr>
          <p:spPr>
            <a:xfrm>
              <a:off x="6104904" y="1960971"/>
              <a:ext cx="15744" cy="13879"/>
            </a:xfrm>
            <a:custGeom>
              <a:avLst/>
              <a:gdLst>
                <a:gd name="connsiteX0" fmla="*/ 2224 w 15744"/>
                <a:gd name="connsiteY0" fmla="*/ 13599 h 13879"/>
                <a:gd name="connsiteX1" fmla="*/ 14797 w 15744"/>
                <a:gd name="connsiteY1" fmla="*/ 4360 h 13879"/>
                <a:gd name="connsiteX2" fmla="*/ 2129 w 15744"/>
                <a:gd name="connsiteY2" fmla="*/ 4932 h 13879"/>
                <a:gd name="connsiteX3" fmla="*/ 2319 w 15744"/>
                <a:gd name="connsiteY3" fmla="*/ 13695 h 13879"/>
              </a:gdLst>
              <a:ahLst/>
              <a:cxnLst>
                <a:cxn ang="0">
                  <a:pos x="connsiteX0" y="connsiteY0"/>
                </a:cxn>
                <a:cxn ang="0">
                  <a:pos x="connsiteX1" y="connsiteY1"/>
                </a:cxn>
                <a:cxn ang="0">
                  <a:pos x="connsiteX2" y="connsiteY2"/>
                </a:cxn>
                <a:cxn ang="0">
                  <a:pos x="connsiteX3" y="connsiteY3"/>
                </a:cxn>
              </a:cxnLst>
              <a:rect l="l" t="t" r="r" b="b"/>
              <a:pathLst>
                <a:path w="15744" h="13879">
                  <a:moveTo>
                    <a:pt x="2224" y="13599"/>
                  </a:moveTo>
                  <a:cubicBezTo>
                    <a:pt x="8034" y="15885"/>
                    <a:pt x="15750" y="3408"/>
                    <a:pt x="14797" y="4360"/>
                  </a:cubicBezTo>
                  <a:cubicBezTo>
                    <a:pt x="19464" y="-1545"/>
                    <a:pt x="5558" y="-1545"/>
                    <a:pt x="2129" y="4932"/>
                  </a:cubicBezTo>
                  <a:cubicBezTo>
                    <a:pt x="1843" y="5884"/>
                    <a:pt x="-2634" y="11694"/>
                    <a:pt x="2319" y="13695"/>
                  </a:cubicBezTo>
                  <a:close/>
                </a:path>
              </a:pathLst>
            </a:custGeom>
            <a:grpFill/>
            <a:ln w="9525" cap="flat">
              <a:noFill/>
              <a:prstDash val="solid"/>
              <a:miter/>
            </a:ln>
          </p:spPr>
          <p:txBody>
            <a:bodyPr rtlCol="0" anchor="ctr"/>
            <a:lstStyle/>
            <a:p>
              <a:endParaRPr lang="en-IN"/>
            </a:p>
          </p:txBody>
        </p:sp>
        <p:sp>
          <p:nvSpPr>
            <p:cNvPr id="214" name="Freeform: Shape 213">
              <a:extLst>
                <a:ext uri="{FF2B5EF4-FFF2-40B4-BE49-F238E27FC236}">
                  <a16:creationId xmlns:a16="http://schemas.microsoft.com/office/drawing/2014/main" id="{417BBF41-1BDD-35A3-87FC-0DF2715A9CF9}"/>
                </a:ext>
              </a:extLst>
            </p:cNvPr>
            <p:cNvSpPr/>
            <p:nvPr/>
          </p:nvSpPr>
          <p:spPr>
            <a:xfrm>
              <a:off x="5999946" y="1935359"/>
              <a:ext cx="45643" cy="95952"/>
            </a:xfrm>
            <a:custGeom>
              <a:avLst/>
              <a:gdLst>
                <a:gd name="connsiteX0" fmla="*/ 42507 w 45643"/>
                <a:gd name="connsiteY0" fmla="*/ 350 h 95952"/>
                <a:gd name="connsiteX1" fmla="*/ 39745 w 45643"/>
                <a:gd name="connsiteY1" fmla="*/ 1207 h 95952"/>
                <a:gd name="connsiteX2" fmla="*/ 18694 w 45643"/>
                <a:gd name="connsiteY2" fmla="*/ 37402 h 95952"/>
                <a:gd name="connsiteX3" fmla="*/ 8884 w 45643"/>
                <a:gd name="connsiteY3" fmla="*/ 90361 h 95952"/>
                <a:gd name="connsiteX4" fmla="*/ 42507 w 45643"/>
                <a:gd name="connsiteY4" fmla="*/ 445 h 95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43" h="95952">
                  <a:moveTo>
                    <a:pt x="42507" y="350"/>
                  </a:moveTo>
                  <a:lnTo>
                    <a:pt x="39745" y="1207"/>
                  </a:lnTo>
                  <a:cubicBezTo>
                    <a:pt x="29076" y="4446"/>
                    <a:pt x="29076" y="27877"/>
                    <a:pt x="18694" y="37402"/>
                  </a:cubicBezTo>
                  <a:cubicBezTo>
                    <a:pt x="-9119" y="68454"/>
                    <a:pt x="-70" y="111411"/>
                    <a:pt x="8884" y="90361"/>
                  </a:cubicBezTo>
                  <a:cubicBezTo>
                    <a:pt x="46984" y="731"/>
                    <a:pt x="49650" y="-1745"/>
                    <a:pt x="42507" y="445"/>
                  </a:cubicBezTo>
                  <a:close/>
                </a:path>
              </a:pathLst>
            </a:custGeom>
            <a:solidFill>
              <a:schemeClr val="bg1">
                <a:lumMod val="95000"/>
              </a:schemeClr>
            </a:solidFill>
            <a:ln w="9525" cap="flat">
              <a:noFill/>
              <a:prstDash val="solid"/>
              <a:miter/>
            </a:ln>
          </p:spPr>
          <p:txBody>
            <a:bodyPr rtlCol="0" anchor="ctr"/>
            <a:lstStyle/>
            <a:p>
              <a:endParaRPr lang="en-IN"/>
            </a:p>
          </p:txBody>
        </p:sp>
        <p:sp>
          <p:nvSpPr>
            <p:cNvPr id="215" name="Freeform: Shape 214">
              <a:extLst>
                <a:ext uri="{FF2B5EF4-FFF2-40B4-BE49-F238E27FC236}">
                  <a16:creationId xmlns:a16="http://schemas.microsoft.com/office/drawing/2014/main" id="{D21E2BBB-D1A6-25C6-3860-99D9A1BE25C0}"/>
                </a:ext>
              </a:extLst>
            </p:cNvPr>
            <p:cNvSpPr/>
            <p:nvPr/>
          </p:nvSpPr>
          <p:spPr>
            <a:xfrm>
              <a:off x="5683361" y="817474"/>
              <a:ext cx="782859" cy="1287604"/>
            </a:xfrm>
            <a:custGeom>
              <a:avLst/>
              <a:gdLst>
                <a:gd name="connsiteX0" fmla="*/ 750570 w 782859"/>
                <a:gd name="connsiteY0" fmla="*/ 276606 h 1287604"/>
                <a:gd name="connsiteX1" fmla="*/ 766763 w 782859"/>
                <a:gd name="connsiteY1" fmla="*/ 264414 h 1287604"/>
                <a:gd name="connsiteX2" fmla="*/ 771525 w 782859"/>
                <a:gd name="connsiteY2" fmla="*/ 238696 h 1287604"/>
                <a:gd name="connsiteX3" fmla="*/ 745141 w 782859"/>
                <a:gd name="connsiteY3" fmla="*/ 203549 h 1287604"/>
                <a:gd name="connsiteX4" fmla="*/ 763429 w 782859"/>
                <a:gd name="connsiteY4" fmla="*/ 190024 h 1287604"/>
                <a:gd name="connsiteX5" fmla="*/ 762762 w 782859"/>
                <a:gd name="connsiteY5" fmla="*/ 174498 h 1287604"/>
                <a:gd name="connsiteX6" fmla="*/ 738378 w 782859"/>
                <a:gd name="connsiteY6" fmla="*/ 169069 h 1287604"/>
                <a:gd name="connsiteX7" fmla="*/ 751237 w 782859"/>
                <a:gd name="connsiteY7" fmla="*/ 124396 h 1287604"/>
                <a:gd name="connsiteX8" fmla="*/ 721423 w 782859"/>
                <a:gd name="connsiteY8" fmla="*/ 87154 h 1287604"/>
                <a:gd name="connsiteX9" fmla="*/ 658558 w 782859"/>
                <a:gd name="connsiteY9" fmla="*/ 71628 h 1287604"/>
                <a:gd name="connsiteX10" fmla="*/ 570738 w 782859"/>
                <a:gd name="connsiteY10" fmla="*/ 0 h 1287604"/>
                <a:gd name="connsiteX11" fmla="*/ 545973 w 782859"/>
                <a:gd name="connsiteY11" fmla="*/ 10096 h 1287604"/>
                <a:gd name="connsiteX12" fmla="*/ 531685 w 782859"/>
                <a:gd name="connsiteY12" fmla="*/ 91059 h 1287604"/>
                <a:gd name="connsiteX13" fmla="*/ 444341 w 782859"/>
                <a:gd name="connsiteY13" fmla="*/ 54578 h 1287604"/>
                <a:gd name="connsiteX14" fmla="*/ 415766 w 782859"/>
                <a:gd name="connsiteY14" fmla="*/ 68866 h 1287604"/>
                <a:gd name="connsiteX15" fmla="*/ 422148 w 782859"/>
                <a:gd name="connsiteY15" fmla="*/ 102203 h 1287604"/>
                <a:gd name="connsiteX16" fmla="*/ 403098 w 782859"/>
                <a:gd name="connsiteY16" fmla="*/ 124396 h 1287604"/>
                <a:gd name="connsiteX17" fmla="*/ 368141 w 782859"/>
                <a:gd name="connsiteY17" fmla="*/ 111728 h 1287604"/>
                <a:gd name="connsiteX18" fmla="*/ 304609 w 782859"/>
                <a:gd name="connsiteY18" fmla="*/ 176784 h 1287604"/>
                <a:gd name="connsiteX19" fmla="*/ 315754 w 782859"/>
                <a:gd name="connsiteY19" fmla="*/ 216503 h 1287604"/>
                <a:gd name="connsiteX20" fmla="*/ 260223 w 782859"/>
                <a:gd name="connsiteY20" fmla="*/ 268129 h 1287604"/>
                <a:gd name="connsiteX21" fmla="*/ 261366 w 782859"/>
                <a:gd name="connsiteY21" fmla="*/ 294322 h 1287604"/>
                <a:gd name="connsiteX22" fmla="*/ 204216 w 782859"/>
                <a:gd name="connsiteY22" fmla="*/ 310991 h 1287604"/>
                <a:gd name="connsiteX23" fmla="*/ 203073 w 782859"/>
                <a:gd name="connsiteY23" fmla="*/ 387191 h 1287604"/>
                <a:gd name="connsiteX24" fmla="*/ 151829 w 782859"/>
                <a:gd name="connsiteY24" fmla="*/ 456247 h 1287604"/>
                <a:gd name="connsiteX25" fmla="*/ 180404 w 782859"/>
                <a:gd name="connsiteY25" fmla="*/ 469392 h 1287604"/>
                <a:gd name="connsiteX26" fmla="*/ 178022 w 782859"/>
                <a:gd name="connsiteY26" fmla="*/ 512255 h 1287604"/>
                <a:gd name="connsiteX27" fmla="*/ 105442 w 782859"/>
                <a:gd name="connsiteY27" fmla="*/ 507492 h 1287604"/>
                <a:gd name="connsiteX28" fmla="*/ 48292 w 782859"/>
                <a:gd name="connsiteY28" fmla="*/ 587311 h 1287604"/>
                <a:gd name="connsiteX29" fmla="*/ 64960 w 782859"/>
                <a:gd name="connsiteY29" fmla="*/ 609981 h 1287604"/>
                <a:gd name="connsiteX30" fmla="*/ 53054 w 782859"/>
                <a:gd name="connsiteY30" fmla="*/ 644461 h 1287604"/>
                <a:gd name="connsiteX31" fmla="*/ 70961 w 782859"/>
                <a:gd name="connsiteY31" fmla="*/ 684943 h 1287604"/>
                <a:gd name="connsiteX32" fmla="*/ 57817 w 782859"/>
                <a:gd name="connsiteY32" fmla="*/ 728948 h 1287604"/>
                <a:gd name="connsiteX33" fmla="*/ 101822 w 782859"/>
                <a:gd name="connsiteY33" fmla="*/ 758666 h 1287604"/>
                <a:gd name="connsiteX34" fmla="*/ 89916 w 782859"/>
                <a:gd name="connsiteY34" fmla="*/ 788384 h 1287604"/>
                <a:gd name="connsiteX35" fmla="*/ 64960 w 782859"/>
                <a:gd name="connsiteY35" fmla="*/ 792004 h 1287604"/>
                <a:gd name="connsiteX36" fmla="*/ 89916 w 782859"/>
                <a:gd name="connsiteY36" fmla="*/ 844391 h 1287604"/>
                <a:gd name="connsiteX37" fmla="*/ 76771 w 782859"/>
                <a:gd name="connsiteY37" fmla="*/ 886111 h 1287604"/>
                <a:gd name="connsiteX38" fmla="*/ 37529 w 782859"/>
                <a:gd name="connsiteY38" fmla="*/ 903351 h 1287604"/>
                <a:gd name="connsiteX39" fmla="*/ 45910 w 782859"/>
                <a:gd name="connsiteY39" fmla="*/ 956310 h 1287604"/>
                <a:gd name="connsiteX40" fmla="*/ 25051 w 782859"/>
                <a:gd name="connsiteY40" fmla="*/ 988504 h 1287604"/>
                <a:gd name="connsiteX41" fmla="*/ 16097 w 782859"/>
                <a:gd name="connsiteY41" fmla="*/ 969454 h 1287604"/>
                <a:gd name="connsiteX42" fmla="*/ 0 w 782859"/>
                <a:gd name="connsiteY42" fmla="*/ 983742 h 1287604"/>
                <a:gd name="connsiteX43" fmla="*/ 0 w 782859"/>
                <a:gd name="connsiteY43" fmla="*/ 983742 h 1287604"/>
                <a:gd name="connsiteX44" fmla="*/ 6858 w 782859"/>
                <a:gd name="connsiteY44" fmla="*/ 1010507 h 1287604"/>
                <a:gd name="connsiteX45" fmla="*/ 10287 w 782859"/>
                <a:gd name="connsiteY45" fmla="*/ 1028033 h 1287604"/>
                <a:gd name="connsiteX46" fmla="*/ 20003 w 782859"/>
                <a:gd name="connsiteY46" fmla="*/ 1038511 h 1287604"/>
                <a:gd name="connsiteX47" fmla="*/ 18574 w 782859"/>
                <a:gd name="connsiteY47" fmla="*/ 1051751 h 1287604"/>
                <a:gd name="connsiteX48" fmla="*/ 23908 w 782859"/>
                <a:gd name="connsiteY48" fmla="*/ 1060133 h 1287604"/>
                <a:gd name="connsiteX49" fmla="*/ 33242 w 782859"/>
                <a:gd name="connsiteY49" fmla="*/ 1060990 h 1287604"/>
                <a:gd name="connsiteX50" fmla="*/ 35719 w 782859"/>
                <a:gd name="connsiteY50" fmla="*/ 1070419 h 1287604"/>
                <a:gd name="connsiteX51" fmla="*/ 39624 w 782859"/>
                <a:gd name="connsiteY51" fmla="*/ 1082993 h 1287604"/>
                <a:gd name="connsiteX52" fmla="*/ 43243 w 782859"/>
                <a:gd name="connsiteY52" fmla="*/ 1091470 h 1287604"/>
                <a:gd name="connsiteX53" fmla="*/ 48006 w 782859"/>
                <a:gd name="connsiteY53" fmla="*/ 1099185 h 1287604"/>
                <a:gd name="connsiteX54" fmla="*/ 47720 w 782859"/>
                <a:gd name="connsiteY54" fmla="*/ 1104805 h 1287604"/>
                <a:gd name="connsiteX55" fmla="*/ 54673 w 782859"/>
                <a:gd name="connsiteY55" fmla="*/ 1111758 h 1287604"/>
                <a:gd name="connsiteX56" fmla="*/ 59722 w 782859"/>
                <a:gd name="connsiteY56" fmla="*/ 1111186 h 1287604"/>
                <a:gd name="connsiteX57" fmla="*/ 62770 w 782859"/>
                <a:gd name="connsiteY57" fmla="*/ 1123188 h 1287604"/>
                <a:gd name="connsiteX58" fmla="*/ 71818 w 782859"/>
                <a:gd name="connsiteY58" fmla="*/ 1146143 h 1287604"/>
                <a:gd name="connsiteX59" fmla="*/ 88297 w 782859"/>
                <a:gd name="connsiteY59" fmla="*/ 1161764 h 1287604"/>
                <a:gd name="connsiteX60" fmla="*/ 101155 w 782859"/>
                <a:gd name="connsiteY60" fmla="*/ 1176814 h 1287604"/>
                <a:gd name="connsiteX61" fmla="*/ 107347 w 782859"/>
                <a:gd name="connsiteY61" fmla="*/ 1180243 h 1287604"/>
                <a:gd name="connsiteX62" fmla="*/ 109347 w 782859"/>
                <a:gd name="connsiteY62" fmla="*/ 1192530 h 1287604"/>
                <a:gd name="connsiteX63" fmla="*/ 100584 w 782859"/>
                <a:gd name="connsiteY63" fmla="*/ 1194149 h 1287604"/>
                <a:gd name="connsiteX64" fmla="*/ 93916 w 782859"/>
                <a:gd name="connsiteY64" fmla="*/ 1200436 h 1287604"/>
                <a:gd name="connsiteX65" fmla="*/ 100108 w 782859"/>
                <a:gd name="connsiteY65" fmla="*/ 1205484 h 1287604"/>
                <a:gd name="connsiteX66" fmla="*/ 95631 w 782859"/>
                <a:gd name="connsiteY66" fmla="*/ 1213009 h 1287604"/>
                <a:gd name="connsiteX67" fmla="*/ 84772 w 782859"/>
                <a:gd name="connsiteY67" fmla="*/ 1208246 h 1287604"/>
                <a:gd name="connsiteX68" fmla="*/ 84010 w 782859"/>
                <a:gd name="connsiteY68" fmla="*/ 1212818 h 1287604"/>
                <a:gd name="connsiteX69" fmla="*/ 99346 w 782859"/>
                <a:gd name="connsiteY69" fmla="*/ 1236726 h 1287604"/>
                <a:gd name="connsiteX70" fmla="*/ 110014 w 782859"/>
                <a:gd name="connsiteY70" fmla="*/ 1250347 h 1287604"/>
                <a:gd name="connsiteX71" fmla="*/ 114014 w 782859"/>
                <a:gd name="connsiteY71" fmla="*/ 1255681 h 1287604"/>
                <a:gd name="connsiteX72" fmla="*/ 112871 w 782859"/>
                <a:gd name="connsiteY72" fmla="*/ 1267301 h 1287604"/>
                <a:gd name="connsiteX73" fmla="*/ 109633 w 782859"/>
                <a:gd name="connsiteY73" fmla="*/ 1275969 h 1287604"/>
                <a:gd name="connsiteX74" fmla="*/ 106394 w 782859"/>
                <a:gd name="connsiteY74" fmla="*/ 1280922 h 1287604"/>
                <a:gd name="connsiteX75" fmla="*/ 108966 w 782859"/>
                <a:gd name="connsiteY75" fmla="*/ 1287018 h 1287604"/>
                <a:gd name="connsiteX76" fmla="*/ 130873 w 782859"/>
                <a:gd name="connsiteY76" fmla="*/ 1287590 h 1287604"/>
                <a:gd name="connsiteX77" fmla="*/ 172688 w 782859"/>
                <a:gd name="connsiteY77" fmla="*/ 1283303 h 1287604"/>
                <a:gd name="connsiteX78" fmla="*/ 193357 w 782859"/>
                <a:gd name="connsiteY78" fmla="*/ 1268159 h 1287604"/>
                <a:gd name="connsiteX79" fmla="*/ 192214 w 782859"/>
                <a:gd name="connsiteY79" fmla="*/ 1265301 h 1287604"/>
                <a:gd name="connsiteX80" fmla="*/ 184404 w 782859"/>
                <a:gd name="connsiteY80" fmla="*/ 1254252 h 1287604"/>
                <a:gd name="connsiteX81" fmla="*/ 191643 w 782859"/>
                <a:gd name="connsiteY81" fmla="*/ 1239012 h 1287604"/>
                <a:gd name="connsiteX82" fmla="*/ 209169 w 782859"/>
                <a:gd name="connsiteY82" fmla="*/ 1231106 h 1287604"/>
                <a:gd name="connsiteX83" fmla="*/ 209359 w 782859"/>
                <a:gd name="connsiteY83" fmla="*/ 1231297 h 1287604"/>
                <a:gd name="connsiteX84" fmla="*/ 216979 w 782859"/>
                <a:gd name="connsiteY84" fmla="*/ 1231963 h 1287604"/>
                <a:gd name="connsiteX85" fmla="*/ 215455 w 782859"/>
                <a:gd name="connsiteY85" fmla="*/ 1223010 h 1287604"/>
                <a:gd name="connsiteX86" fmla="*/ 217646 w 782859"/>
                <a:gd name="connsiteY86" fmla="*/ 1218438 h 1287604"/>
                <a:gd name="connsiteX87" fmla="*/ 250222 w 782859"/>
                <a:gd name="connsiteY87" fmla="*/ 1220343 h 1287604"/>
                <a:gd name="connsiteX88" fmla="*/ 256889 w 782859"/>
                <a:gd name="connsiteY88" fmla="*/ 1224058 h 1287604"/>
                <a:gd name="connsiteX89" fmla="*/ 269748 w 782859"/>
                <a:gd name="connsiteY89" fmla="*/ 1217771 h 1287604"/>
                <a:gd name="connsiteX90" fmla="*/ 279654 w 782859"/>
                <a:gd name="connsiteY90" fmla="*/ 1222724 h 1287604"/>
                <a:gd name="connsiteX91" fmla="*/ 284321 w 782859"/>
                <a:gd name="connsiteY91" fmla="*/ 1223582 h 1287604"/>
                <a:gd name="connsiteX92" fmla="*/ 292322 w 782859"/>
                <a:gd name="connsiteY92" fmla="*/ 1214628 h 1287604"/>
                <a:gd name="connsiteX93" fmla="*/ 296989 w 782859"/>
                <a:gd name="connsiteY93" fmla="*/ 1202245 h 1287604"/>
                <a:gd name="connsiteX94" fmla="*/ 304324 w 782859"/>
                <a:gd name="connsiteY94" fmla="*/ 1182434 h 1287604"/>
                <a:gd name="connsiteX95" fmla="*/ 316897 w 782859"/>
                <a:gd name="connsiteY95" fmla="*/ 1170146 h 1287604"/>
                <a:gd name="connsiteX96" fmla="*/ 324993 w 782859"/>
                <a:gd name="connsiteY96" fmla="*/ 1143095 h 1287604"/>
                <a:gd name="connsiteX97" fmla="*/ 326612 w 782859"/>
                <a:gd name="connsiteY97" fmla="*/ 1141190 h 1287604"/>
                <a:gd name="connsiteX98" fmla="*/ 325660 w 782859"/>
                <a:gd name="connsiteY98" fmla="*/ 1134999 h 1287604"/>
                <a:gd name="connsiteX99" fmla="*/ 324898 w 782859"/>
                <a:gd name="connsiteY99" fmla="*/ 1121283 h 1287604"/>
                <a:gd name="connsiteX100" fmla="*/ 336995 w 782859"/>
                <a:gd name="connsiteY100" fmla="*/ 1101566 h 1287604"/>
                <a:gd name="connsiteX101" fmla="*/ 336232 w 782859"/>
                <a:gd name="connsiteY101" fmla="*/ 1087374 h 1287604"/>
                <a:gd name="connsiteX102" fmla="*/ 341090 w 782859"/>
                <a:gd name="connsiteY102" fmla="*/ 1078706 h 1287604"/>
                <a:gd name="connsiteX103" fmla="*/ 343662 w 782859"/>
                <a:gd name="connsiteY103" fmla="*/ 1052893 h 1287604"/>
                <a:gd name="connsiteX104" fmla="*/ 346710 w 782859"/>
                <a:gd name="connsiteY104" fmla="*/ 1037653 h 1287604"/>
                <a:gd name="connsiteX105" fmla="*/ 349377 w 782859"/>
                <a:gd name="connsiteY105" fmla="*/ 1018127 h 1287604"/>
                <a:gd name="connsiteX106" fmla="*/ 347091 w 782859"/>
                <a:gd name="connsiteY106" fmla="*/ 1011269 h 1287604"/>
                <a:gd name="connsiteX107" fmla="*/ 346996 w 782859"/>
                <a:gd name="connsiteY107" fmla="*/ 1002125 h 1287604"/>
                <a:gd name="connsiteX108" fmla="*/ 360997 w 782859"/>
                <a:gd name="connsiteY108" fmla="*/ 996125 h 1287604"/>
                <a:gd name="connsiteX109" fmla="*/ 367570 w 782859"/>
                <a:gd name="connsiteY109" fmla="*/ 991934 h 1287604"/>
                <a:gd name="connsiteX110" fmla="*/ 377666 w 782859"/>
                <a:gd name="connsiteY110" fmla="*/ 993267 h 1287604"/>
                <a:gd name="connsiteX111" fmla="*/ 383191 w 782859"/>
                <a:gd name="connsiteY111" fmla="*/ 987171 h 1287604"/>
                <a:gd name="connsiteX112" fmla="*/ 392811 w 782859"/>
                <a:gd name="connsiteY112" fmla="*/ 980408 h 1287604"/>
                <a:gd name="connsiteX113" fmla="*/ 396430 w 782859"/>
                <a:gd name="connsiteY113" fmla="*/ 970026 h 1287604"/>
                <a:gd name="connsiteX114" fmla="*/ 407480 w 782859"/>
                <a:gd name="connsiteY114" fmla="*/ 981837 h 1287604"/>
                <a:gd name="connsiteX115" fmla="*/ 418338 w 782859"/>
                <a:gd name="connsiteY115" fmla="*/ 971645 h 1287604"/>
                <a:gd name="connsiteX116" fmla="*/ 426148 w 782859"/>
                <a:gd name="connsiteY116" fmla="*/ 956977 h 1287604"/>
                <a:gd name="connsiteX117" fmla="*/ 434912 w 782859"/>
                <a:gd name="connsiteY117" fmla="*/ 949833 h 1287604"/>
                <a:gd name="connsiteX118" fmla="*/ 442531 w 782859"/>
                <a:gd name="connsiteY118" fmla="*/ 940213 h 1287604"/>
                <a:gd name="connsiteX119" fmla="*/ 443198 w 782859"/>
                <a:gd name="connsiteY119" fmla="*/ 940594 h 1287604"/>
                <a:gd name="connsiteX120" fmla="*/ 453390 w 782859"/>
                <a:gd name="connsiteY120" fmla="*/ 940308 h 1287604"/>
                <a:gd name="connsiteX121" fmla="*/ 454438 w 782859"/>
                <a:gd name="connsiteY121" fmla="*/ 925735 h 1287604"/>
                <a:gd name="connsiteX122" fmla="*/ 454628 w 782859"/>
                <a:gd name="connsiteY122" fmla="*/ 924211 h 1287604"/>
                <a:gd name="connsiteX123" fmla="*/ 467392 w 782859"/>
                <a:gd name="connsiteY123" fmla="*/ 914686 h 1287604"/>
                <a:gd name="connsiteX124" fmla="*/ 473392 w 782859"/>
                <a:gd name="connsiteY124" fmla="*/ 903827 h 1287604"/>
                <a:gd name="connsiteX125" fmla="*/ 481965 w 782859"/>
                <a:gd name="connsiteY125" fmla="*/ 898684 h 1287604"/>
                <a:gd name="connsiteX126" fmla="*/ 481393 w 782859"/>
                <a:gd name="connsiteY126" fmla="*/ 890683 h 1287604"/>
                <a:gd name="connsiteX127" fmla="*/ 472726 w 782859"/>
                <a:gd name="connsiteY127" fmla="*/ 882205 h 1287604"/>
                <a:gd name="connsiteX128" fmla="*/ 461581 w 782859"/>
                <a:gd name="connsiteY128" fmla="*/ 861346 h 1287604"/>
                <a:gd name="connsiteX129" fmla="*/ 453104 w 782859"/>
                <a:gd name="connsiteY129" fmla="*/ 865346 h 1287604"/>
                <a:gd name="connsiteX130" fmla="*/ 451675 w 782859"/>
                <a:gd name="connsiteY130" fmla="*/ 854583 h 1287604"/>
                <a:gd name="connsiteX131" fmla="*/ 452152 w 782859"/>
                <a:gd name="connsiteY131" fmla="*/ 854202 h 1287604"/>
                <a:gd name="connsiteX132" fmla="*/ 449961 w 782859"/>
                <a:gd name="connsiteY132" fmla="*/ 846582 h 1287604"/>
                <a:gd name="connsiteX133" fmla="*/ 443293 w 782859"/>
                <a:gd name="connsiteY133" fmla="*/ 834104 h 1287604"/>
                <a:gd name="connsiteX134" fmla="*/ 436435 w 782859"/>
                <a:gd name="connsiteY134" fmla="*/ 832485 h 1287604"/>
                <a:gd name="connsiteX135" fmla="*/ 432149 w 782859"/>
                <a:gd name="connsiteY135" fmla="*/ 843058 h 1287604"/>
                <a:gd name="connsiteX136" fmla="*/ 421767 w 782859"/>
                <a:gd name="connsiteY136" fmla="*/ 834866 h 1287604"/>
                <a:gd name="connsiteX137" fmla="*/ 413766 w 782859"/>
                <a:gd name="connsiteY137" fmla="*/ 824960 h 1287604"/>
                <a:gd name="connsiteX138" fmla="*/ 413766 w 782859"/>
                <a:gd name="connsiteY138" fmla="*/ 824103 h 1287604"/>
                <a:gd name="connsiteX139" fmla="*/ 398145 w 782859"/>
                <a:gd name="connsiteY139" fmla="*/ 828484 h 1287604"/>
                <a:gd name="connsiteX140" fmla="*/ 392430 w 782859"/>
                <a:gd name="connsiteY140" fmla="*/ 827818 h 1287604"/>
                <a:gd name="connsiteX141" fmla="*/ 389191 w 782859"/>
                <a:gd name="connsiteY141" fmla="*/ 816293 h 1287604"/>
                <a:gd name="connsiteX142" fmla="*/ 373666 w 782859"/>
                <a:gd name="connsiteY142" fmla="*/ 812101 h 1287604"/>
                <a:gd name="connsiteX143" fmla="*/ 370904 w 782859"/>
                <a:gd name="connsiteY143" fmla="*/ 793051 h 1287604"/>
                <a:gd name="connsiteX144" fmla="*/ 367093 w 782859"/>
                <a:gd name="connsiteY144" fmla="*/ 790670 h 1287604"/>
                <a:gd name="connsiteX145" fmla="*/ 365570 w 782859"/>
                <a:gd name="connsiteY145" fmla="*/ 753237 h 1287604"/>
                <a:gd name="connsiteX146" fmla="*/ 362140 w 782859"/>
                <a:gd name="connsiteY146" fmla="*/ 744188 h 1287604"/>
                <a:gd name="connsiteX147" fmla="*/ 371380 w 782859"/>
                <a:gd name="connsiteY147" fmla="*/ 722852 h 1287604"/>
                <a:gd name="connsiteX148" fmla="*/ 383857 w 782859"/>
                <a:gd name="connsiteY148" fmla="*/ 724757 h 1287604"/>
                <a:gd name="connsiteX149" fmla="*/ 383667 w 782859"/>
                <a:gd name="connsiteY149" fmla="*/ 715137 h 1287604"/>
                <a:gd name="connsiteX150" fmla="*/ 376523 w 782859"/>
                <a:gd name="connsiteY150" fmla="*/ 698182 h 1287604"/>
                <a:gd name="connsiteX151" fmla="*/ 381286 w 782859"/>
                <a:gd name="connsiteY151" fmla="*/ 686086 h 1287604"/>
                <a:gd name="connsiteX152" fmla="*/ 394240 w 782859"/>
                <a:gd name="connsiteY152" fmla="*/ 673703 h 1287604"/>
                <a:gd name="connsiteX153" fmla="*/ 383953 w 782859"/>
                <a:gd name="connsiteY153" fmla="*/ 663416 h 1287604"/>
                <a:gd name="connsiteX154" fmla="*/ 385286 w 782859"/>
                <a:gd name="connsiteY154" fmla="*/ 656939 h 1287604"/>
                <a:gd name="connsiteX155" fmla="*/ 392525 w 782859"/>
                <a:gd name="connsiteY155" fmla="*/ 654272 h 1287604"/>
                <a:gd name="connsiteX156" fmla="*/ 396240 w 782859"/>
                <a:gd name="connsiteY156" fmla="*/ 650176 h 1287604"/>
                <a:gd name="connsiteX157" fmla="*/ 400240 w 782859"/>
                <a:gd name="connsiteY157" fmla="*/ 643223 h 1287604"/>
                <a:gd name="connsiteX158" fmla="*/ 412147 w 782859"/>
                <a:gd name="connsiteY158" fmla="*/ 639413 h 1287604"/>
                <a:gd name="connsiteX159" fmla="*/ 416528 w 782859"/>
                <a:gd name="connsiteY159" fmla="*/ 628745 h 1287604"/>
                <a:gd name="connsiteX160" fmla="*/ 429292 w 782859"/>
                <a:gd name="connsiteY160" fmla="*/ 622268 h 1287604"/>
                <a:gd name="connsiteX161" fmla="*/ 444817 w 782859"/>
                <a:gd name="connsiteY161" fmla="*/ 601027 h 1287604"/>
                <a:gd name="connsiteX162" fmla="*/ 451580 w 782859"/>
                <a:gd name="connsiteY162" fmla="*/ 585978 h 1287604"/>
                <a:gd name="connsiteX163" fmla="*/ 489109 w 782859"/>
                <a:gd name="connsiteY163" fmla="*/ 563689 h 1287604"/>
                <a:gd name="connsiteX164" fmla="*/ 489109 w 782859"/>
                <a:gd name="connsiteY164" fmla="*/ 562165 h 1287604"/>
                <a:gd name="connsiteX165" fmla="*/ 494347 w 782859"/>
                <a:gd name="connsiteY165" fmla="*/ 557593 h 1287604"/>
                <a:gd name="connsiteX166" fmla="*/ 501110 w 782859"/>
                <a:gd name="connsiteY166" fmla="*/ 551688 h 1287604"/>
                <a:gd name="connsiteX167" fmla="*/ 520541 w 782859"/>
                <a:gd name="connsiteY167" fmla="*/ 554260 h 1287604"/>
                <a:gd name="connsiteX168" fmla="*/ 530257 w 782859"/>
                <a:gd name="connsiteY168" fmla="*/ 543306 h 1287604"/>
                <a:gd name="connsiteX169" fmla="*/ 550831 w 782859"/>
                <a:gd name="connsiteY169" fmla="*/ 536543 h 1287604"/>
                <a:gd name="connsiteX170" fmla="*/ 550831 w 782859"/>
                <a:gd name="connsiteY170" fmla="*/ 536257 h 1287604"/>
                <a:gd name="connsiteX171" fmla="*/ 557498 w 782859"/>
                <a:gd name="connsiteY171" fmla="*/ 533972 h 1287604"/>
                <a:gd name="connsiteX172" fmla="*/ 563308 w 782859"/>
                <a:gd name="connsiteY172" fmla="*/ 530447 h 1287604"/>
                <a:gd name="connsiteX173" fmla="*/ 571976 w 782859"/>
                <a:gd name="connsiteY173" fmla="*/ 526542 h 1287604"/>
                <a:gd name="connsiteX174" fmla="*/ 597408 w 782859"/>
                <a:gd name="connsiteY174" fmla="*/ 485870 h 1287604"/>
                <a:gd name="connsiteX175" fmla="*/ 625507 w 782859"/>
                <a:gd name="connsiteY175" fmla="*/ 454723 h 1287604"/>
                <a:gd name="connsiteX176" fmla="*/ 608743 w 782859"/>
                <a:gd name="connsiteY176" fmla="*/ 441484 h 1287604"/>
                <a:gd name="connsiteX177" fmla="*/ 604647 w 782859"/>
                <a:gd name="connsiteY177" fmla="*/ 430244 h 1287604"/>
                <a:gd name="connsiteX178" fmla="*/ 630936 w 782859"/>
                <a:gd name="connsiteY178" fmla="*/ 389382 h 1287604"/>
                <a:gd name="connsiteX179" fmla="*/ 635317 w 782859"/>
                <a:gd name="connsiteY179" fmla="*/ 374618 h 1287604"/>
                <a:gd name="connsiteX180" fmla="*/ 647509 w 782859"/>
                <a:gd name="connsiteY180" fmla="*/ 381095 h 1287604"/>
                <a:gd name="connsiteX181" fmla="*/ 646843 w 782859"/>
                <a:gd name="connsiteY181" fmla="*/ 374618 h 1287604"/>
                <a:gd name="connsiteX182" fmla="*/ 649605 w 782859"/>
                <a:gd name="connsiteY182" fmla="*/ 363284 h 1287604"/>
                <a:gd name="connsiteX183" fmla="*/ 673132 w 782859"/>
                <a:gd name="connsiteY183" fmla="*/ 361569 h 1287604"/>
                <a:gd name="connsiteX184" fmla="*/ 674846 w 782859"/>
                <a:gd name="connsiteY184" fmla="*/ 330613 h 1287604"/>
                <a:gd name="connsiteX185" fmla="*/ 686181 w 782859"/>
                <a:gd name="connsiteY185" fmla="*/ 330136 h 1287604"/>
                <a:gd name="connsiteX186" fmla="*/ 693706 w 782859"/>
                <a:gd name="connsiteY186" fmla="*/ 327565 h 1287604"/>
                <a:gd name="connsiteX187" fmla="*/ 700754 w 782859"/>
                <a:gd name="connsiteY187" fmla="*/ 325850 h 1287604"/>
                <a:gd name="connsiteX188" fmla="*/ 714851 w 782859"/>
                <a:gd name="connsiteY188" fmla="*/ 335566 h 1287604"/>
                <a:gd name="connsiteX189" fmla="*/ 725424 w 782859"/>
                <a:gd name="connsiteY189" fmla="*/ 338614 h 1287604"/>
                <a:gd name="connsiteX190" fmla="*/ 729996 w 782859"/>
                <a:gd name="connsiteY190" fmla="*/ 332803 h 1287604"/>
                <a:gd name="connsiteX191" fmla="*/ 740950 w 782859"/>
                <a:gd name="connsiteY191" fmla="*/ 327755 h 1287604"/>
                <a:gd name="connsiteX192" fmla="*/ 751999 w 782859"/>
                <a:gd name="connsiteY192" fmla="*/ 334518 h 1287604"/>
                <a:gd name="connsiteX193" fmla="*/ 774763 w 782859"/>
                <a:gd name="connsiteY193" fmla="*/ 329851 h 1287604"/>
                <a:gd name="connsiteX194" fmla="*/ 782860 w 782859"/>
                <a:gd name="connsiteY194" fmla="*/ 330898 h 1287604"/>
                <a:gd name="connsiteX195" fmla="*/ 756380 w 782859"/>
                <a:gd name="connsiteY195" fmla="*/ 300895 h 1287604"/>
                <a:gd name="connsiteX196" fmla="*/ 750951 w 782859"/>
                <a:gd name="connsiteY196" fmla="*/ 276511 h 1287604"/>
                <a:gd name="connsiteX197" fmla="*/ 169831 w 782859"/>
                <a:gd name="connsiteY197" fmla="*/ 976503 h 1287604"/>
                <a:gd name="connsiteX198" fmla="*/ 158210 w 782859"/>
                <a:gd name="connsiteY198" fmla="*/ 981646 h 1287604"/>
                <a:gd name="connsiteX199" fmla="*/ 165640 w 782859"/>
                <a:gd name="connsiteY199" fmla="*/ 991934 h 1287604"/>
                <a:gd name="connsiteX200" fmla="*/ 152686 w 782859"/>
                <a:gd name="connsiteY200" fmla="*/ 998792 h 1287604"/>
                <a:gd name="connsiteX201" fmla="*/ 143256 w 782859"/>
                <a:gd name="connsiteY201" fmla="*/ 1002601 h 1287604"/>
                <a:gd name="connsiteX202" fmla="*/ 130207 w 782859"/>
                <a:gd name="connsiteY202" fmla="*/ 1014127 h 1287604"/>
                <a:gd name="connsiteX203" fmla="*/ 126873 w 782859"/>
                <a:gd name="connsiteY203" fmla="*/ 1013841 h 1287604"/>
                <a:gd name="connsiteX204" fmla="*/ 125635 w 782859"/>
                <a:gd name="connsiteY204" fmla="*/ 1002697 h 1287604"/>
                <a:gd name="connsiteX205" fmla="*/ 114967 w 782859"/>
                <a:gd name="connsiteY205" fmla="*/ 1001363 h 1287604"/>
                <a:gd name="connsiteX206" fmla="*/ 85249 w 782859"/>
                <a:gd name="connsiteY206" fmla="*/ 1023461 h 1287604"/>
                <a:gd name="connsiteX207" fmla="*/ 80296 w 782859"/>
                <a:gd name="connsiteY207" fmla="*/ 1016889 h 1287604"/>
                <a:gd name="connsiteX208" fmla="*/ 88773 w 782859"/>
                <a:gd name="connsiteY208" fmla="*/ 1006983 h 1287604"/>
                <a:gd name="connsiteX209" fmla="*/ 88773 w 782859"/>
                <a:gd name="connsiteY209" fmla="*/ 998410 h 1287604"/>
                <a:gd name="connsiteX210" fmla="*/ 87630 w 782859"/>
                <a:gd name="connsiteY210" fmla="*/ 989171 h 1287604"/>
                <a:gd name="connsiteX211" fmla="*/ 104204 w 782859"/>
                <a:gd name="connsiteY211" fmla="*/ 964692 h 1287604"/>
                <a:gd name="connsiteX212" fmla="*/ 108204 w 782859"/>
                <a:gd name="connsiteY212" fmla="*/ 965930 h 1287604"/>
                <a:gd name="connsiteX213" fmla="*/ 121920 w 782859"/>
                <a:gd name="connsiteY213" fmla="*/ 977836 h 1287604"/>
                <a:gd name="connsiteX214" fmla="*/ 128968 w 782859"/>
                <a:gd name="connsiteY214" fmla="*/ 972693 h 1287604"/>
                <a:gd name="connsiteX215" fmla="*/ 126587 w 782859"/>
                <a:gd name="connsiteY215" fmla="*/ 945166 h 1287604"/>
                <a:gd name="connsiteX216" fmla="*/ 140398 w 782859"/>
                <a:gd name="connsiteY216" fmla="*/ 945928 h 1287604"/>
                <a:gd name="connsiteX217" fmla="*/ 141922 w 782859"/>
                <a:gd name="connsiteY217" fmla="*/ 948404 h 1287604"/>
                <a:gd name="connsiteX218" fmla="*/ 149257 w 782859"/>
                <a:gd name="connsiteY218" fmla="*/ 951738 h 1287604"/>
                <a:gd name="connsiteX219" fmla="*/ 159829 w 782859"/>
                <a:gd name="connsiteY219" fmla="*/ 942308 h 1287604"/>
                <a:gd name="connsiteX220" fmla="*/ 176784 w 782859"/>
                <a:gd name="connsiteY220" fmla="*/ 953357 h 1287604"/>
                <a:gd name="connsiteX221" fmla="*/ 169640 w 782859"/>
                <a:gd name="connsiteY221" fmla="*/ 976693 h 1287604"/>
                <a:gd name="connsiteX222" fmla="*/ 222695 w 782859"/>
                <a:gd name="connsiteY222" fmla="*/ 1019366 h 1287604"/>
                <a:gd name="connsiteX223" fmla="*/ 212407 w 782859"/>
                <a:gd name="connsiteY223" fmla="*/ 1027176 h 1287604"/>
                <a:gd name="connsiteX224" fmla="*/ 201168 w 782859"/>
                <a:gd name="connsiteY224" fmla="*/ 1056132 h 1287604"/>
                <a:gd name="connsiteX225" fmla="*/ 191833 w 782859"/>
                <a:gd name="connsiteY225" fmla="*/ 1069848 h 1287604"/>
                <a:gd name="connsiteX226" fmla="*/ 187642 w 782859"/>
                <a:gd name="connsiteY226" fmla="*/ 1078135 h 1287604"/>
                <a:gd name="connsiteX227" fmla="*/ 183166 w 782859"/>
                <a:gd name="connsiteY227" fmla="*/ 1070801 h 1287604"/>
                <a:gd name="connsiteX228" fmla="*/ 202216 w 782859"/>
                <a:gd name="connsiteY228" fmla="*/ 1020985 h 1287604"/>
                <a:gd name="connsiteX229" fmla="*/ 205835 w 782859"/>
                <a:gd name="connsiteY229" fmla="*/ 1010602 h 1287604"/>
                <a:gd name="connsiteX230" fmla="*/ 222409 w 782859"/>
                <a:gd name="connsiteY230" fmla="*/ 992219 h 1287604"/>
                <a:gd name="connsiteX231" fmla="*/ 229171 w 782859"/>
                <a:gd name="connsiteY231" fmla="*/ 996982 h 1287604"/>
                <a:gd name="connsiteX232" fmla="*/ 229171 w 782859"/>
                <a:gd name="connsiteY232" fmla="*/ 1008412 h 1287604"/>
                <a:gd name="connsiteX233" fmla="*/ 222695 w 782859"/>
                <a:gd name="connsiteY233" fmla="*/ 1019461 h 128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782859" h="1287604">
                  <a:moveTo>
                    <a:pt x="750570" y="276606"/>
                  </a:moveTo>
                  <a:lnTo>
                    <a:pt x="766763" y="264414"/>
                  </a:lnTo>
                  <a:lnTo>
                    <a:pt x="771525" y="238696"/>
                  </a:lnTo>
                  <a:lnTo>
                    <a:pt x="745141" y="203549"/>
                  </a:lnTo>
                  <a:lnTo>
                    <a:pt x="763429" y="190024"/>
                  </a:lnTo>
                  <a:lnTo>
                    <a:pt x="762762" y="174498"/>
                  </a:lnTo>
                  <a:lnTo>
                    <a:pt x="738378" y="169069"/>
                  </a:lnTo>
                  <a:lnTo>
                    <a:pt x="751237" y="124396"/>
                  </a:lnTo>
                  <a:lnTo>
                    <a:pt x="721423" y="87154"/>
                  </a:lnTo>
                  <a:lnTo>
                    <a:pt x="658558" y="71628"/>
                  </a:lnTo>
                  <a:lnTo>
                    <a:pt x="570738" y="0"/>
                  </a:lnTo>
                  <a:lnTo>
                    <a:pt x="545973" y="10096"/>
                  </a:lnTo>
                  <a:lnTo>
                    <a:pt x="531685" y="91059"/>
                  </a:lnTo>
                  <a:lnTo>
                    <a:pt x="444341" y="54578"/>
                  </a:lnTo>
                  <a:lnTo>
                    <a:pt x="415766" y="68866"/>
                  </a:lnTo>
                  <a:lnTo>
                    <a:pt x="422148" y="102203"/>
                  </a:lnTo>
                  <a:lnTo>
                    <a:pt x="403098" y="124396"/>
                  </a:lnTo>
                  <a:lnTo>
                    <a:pt x="368141" y="111728"/>
                  </a:lnTo>
                  <a:lnTo>
                    <a:pt x="304609" y="176784"/>
                  </a:lnTo>
                  <a:lnTo>
                    <a:pt x="315754" y="216503"/>
                  </a:lnTo>
                  <a:lnTo>
                    <a:pt x="260223" y="268129"/>
                  </a:lnTo>
                  <a:lnTo>
                    <a:pt x="261366" y="294322"/>
                  </a:lnTo>
                  <a:lnTo>
                    <a:pt x="204216" y="310991"/>
                  </a:lnTo>
                  <a:lnTo>
                    <a:pt x="203073" y="387191"/>
                  </a:lnTo>
                  <a:lnTo>
                    <a:pt x="151829" y="456247"/>
                  </a:lnTo>
                  <a:lnTo>
                    <a:pt x="180404" y="469392"/>
                  </a:lnTo>
                  <a:lnTo>
                    <a:pt x="178022" y="512255"/>
                  </a:lnTo>
                  <a:lnTo>
                    <a:pt x="105442" y="507492"/>
                  </a:lnTo>
                  <a:lnTo>
                    <a:pt x="48292" y="587311"/>
                  </a:lnTo>
                  <a:lnTo>
                    <a:pt x="64960" y="609981"/>
                  </a:lnTo>
                  <a:lnTo>
                    <a:pt x="53054" y="644461"/>
                  </a:lnTo>
                  <a:lnTo>
                    <a:pt x="70961" y="684943"/>
                  </a:lnTo>
                  <a:lnTo>
                    <a:pt x="57817" y="728948"/>
                  </a:lnTo>
                  <a:lnTo>
                    <a:pt x="101822" y="758666"/>
                  </a:lnTo>
                  <a:lnTo>
                    <a:pt x="89916" y="788384"/>
                  </a:lnTo>
                  <a:lnTo>
                    <a:pt x="64960" y="792004"/>
                  </a:lnTo>
                  <a:lnTo>
                    <a:pt x="89916" y="844391"/>
                  </a:lnTo>
                  <a:lnTo>
                    <a:pt x="76771" y="886111"/>
                  </a:lnTo>
                  <a:lnTo>
                    <a:pt x="37529" y="903351"/>
                  </a:lnTo>
                  <a:lnTo>
                    <a:pt x="45910" y="956310"/>
                  </a:lnTo>
                  <a:lnTo>
                    <a:pt x="25051" y="988504"/>
                  </a:lnTo>
                  <a:lnTo>
                    <a:pt x="16097" y="969454"/>
                  </a:lnTo>
                  <a:lnTo>
                    <a:pt x="0" y="983742"/>
                  </a:lnTo>
                  <a:lnTo>
                    <a:pt x="0" y="983742"/>
                  </a:lnTo>
                  <a:cubicBezTo>
                    <a:pt x="6191" y="1001268"/>
                    <a:pt x="7429" y="1004697"/>
                    <a:pt x="6858" y="1010507"/>
                  </a:cubicBezTo>
                  <a:cubicBezTo>
                    <a:pt x="7048" y="1015079"/>
                    <a:pt x="2857" y="1024604"/>
                    <a:pt x="10287" y="1028033"/>
                  </a:cubicBezTo>
                  <a:cubicBezTo>
                    <a:pt x="12763" y="1029843"/>
                    <a:pt x="23431" y="1031653"/>
                    <a:pt x="20003" y="1038511"/>
                  </a:cubicBezTo>
                  <a:cubicBezTo>
                    <a:pt x="19621" y="1039749"/>
                    <a:pt x="14859" y="1045845"/>
                    <a:pt x="18574" y="1051751"/>
                  </a:cubicBezTo>
                  <a:lnTo>
                    <a:pt x="23908" y="1060133"/>
                  </a:lnTo>
                  <a:cubicBezTo>
                    <a:pt x="27241" y="1065371"/>
                    <a:pt x="34195" y="1060799"/>
                    <a:pt x="33242" y="1060990"/>
                  </a:cubicBezTo>
                  <a:cubicBezTo>
                    <a:pt x="39814" y="1057275"/>
                    <a:pt x="35719" y="1071372"/>
                    <a:pt x="35719" y="1070419"/>
                  </a:cubicBezTo>
                  <a:cubicBezTo>
                    <a:pt x="34195" y="1078706"/>
                    <a:pt x="41338" y="1074801"/>
                    <a:pt x="39624" y="1082993"/>
                  </a:cubicBezTo>
                  <a:cubicBezTo>
                    <a:pt x="39719" y="1083945"/>
                    <a:pt x="38100" y="1089088"/>
                    <a:pt x="43243" y="1091470"/>
                  </a:cubicBezTo>
                  <a:cubicBezTo>
                    <a:pt x="44196" y="1092422"/>
                    <a:pt x="48196" y="1094232"/>
                    <a:pt x="48006" y="1099185"/>
                  </a:cubicBezTo>
                  <a:lnTo>
                    <a:pt x="47720" y="1104805"/>
                  </a:lnTo>
                  <a:cubicBezTo>
                    <a:pt x="47339" y="1111853"/>
                    <a:pt x="51816" y="1118426"/>
                    <a:pt x="54673" y="1111758"/>
                  </a:cubicBezTo>
                  <a:cubicBezTo>
                    <a:pt x="55626" y="1110901"/>
                    <a:pt x="57245" y="1106995"/>
                    <a:pt x="59722" y="1111186"/>
                  </a:cubicBezTo>
                  <a:cubicBezTo>
                    <a:pt x="60103" y="1112139"/>
                    <a:pt x="65246" y="1118235"/>
                    <a:pt x="62770" y="1123188"/>
                  </a:cubicBezTo>
                  <a:cubicBezTo>
                    <a:pt x="59722" y="1129284"/>
                    <a:pt x="72390" y="1147191"/>
                    <a:pt x="71818" y="1146143"/>
                  </a:cubicBezTo>
                  <a:cubicBezTo>
                    <a:pt x="76581" y="1154525"/>
                    <a:pt x="83344" y="1153477"/>
                    <a:pt x="88297" y="1161764"/>
                  </a:cubicBezTo>
                  <a:cubicBezTo>
                    <a:pt x="94774" y="1172623"/>
                    <a:pt x="97917" y="1179767"/>
                    <a:pt x="101155" y="1176814"/>
                  </a:cubicBezTo>
                  <a:cubicBezTo>
                    <a:pt x="104013" y="1174147"/>
                    <a:pt x="108299" y="1181195"/>
                    <a:pt x="107347" y="1180243"/>
                  </a:cubicBezTo>
                  <a:cubicBezTo>
                    <a:pt x="110680" y="1185577"/>
                    <a:pt x="109347" y="1193483"/>
                    <a:pt x="109347" y="1192530"/>
                  </a:cubicBezTo>
                  <a:cubicBezTo>
                    <a:pt x="108585" y="1199197"/>
                    <a:pt x="99631" y="1194054"/>
                    <a:pt x="100584" y="1194149"/>
                  </a:cubicBezTo>
                  <a:cubicBezTo>
                    <a:pt x="94107" y="1191196"/>
                    <a:pt x="88392" y="1195864"/>
                    <a:pt x="93916" y="1200436"/>
                  </a:cubicBezTo>
                  <a:lnTo>
                    <a:pt x="100108" y="1205484"/>
                  </a:lnTo>
                  <a:cubicBezTo>
                    <a:pt x="105632" y="1209961"/>
                    <a:pt x="101537" y="1217009"/>
                    <a:pt x="95631" y="1213009"/>
                  </a:cubicBezTo>
                  <a:cubicBezTo>
                    <a:pt x="94679" y="1212533"/>
                    <a:pt x="89440" y="1208246"/>
                    <a:pt x="84772" y="1208246"/>
                  </a:cubicBezTo>
                  <a:cubicBezTo>
                    <a:pt x="82772" y="1208246"/>
                    <a:pt x="82391" y="1210246"/>
                    <a:pt x="84010" y="1212818"/>
                  </a:cubicBezTo>
                  <a:lnTo>
                    <a:pt x="99346" y="1236726"/>
                  </a:lnTo>
                  <a:cubicBezTo>
                    <a:pt x="103918" y="1243870"/>
                    <a:pt x="109538" y="1245013"/>
                    <a:pt x="110014" y="1250347"/>
                  </a:cubicBezTo>
                  <a:cubicBezTo>
                    <a:pt x="110204" y="1252347"/>
                    <a:pt x="112014" y="1254824"/>
                    <a:pt x="114014" y="1255681"/>
                  </a:cubicBezTo>
                  <a:cubicBezTo>
                    <a:pt x="124968" y="1260538"/>
                    <a:pt x="112204" y="1268254"/>
                    <a:pt x="112871" y="1267301"/>
                  </a:cubicBezTo>
                  <a:cubicBezTo>
                    <a:pt x="107537" y="1269778"/>
                    <a:pt x="109538" y="1276921"/>
                    <a:pt x="109633" y="1275969"/>
                  </a:cubicBezTo>
                  <a:cubicBezTo>
                    <a:pt x="110395" y="1278827"/>
                    <a:pt x="108871" y="1281112"/>
                    <a:pt x="106394" y="1280922"/>
                  </a:cubicBezTo>
                  <a:cubicBezTo>
                    <a:pt x="100393" y="1280541"/>
                    <a:pt x="101727" y="1286827"/>
                    <a:pt x="108966" y="1287018"/>
                  </a:cubicBezTo>
                  <a:lnTo>
                    <a:pt x="130873" y="1287590"/>
                  </a:lnTo>
                  <a:cubicBezTo>
                    <a:pt x="147733" y="1288066"/>
                    <a:pt x="165830" y="1276636"/>
                    <a:pt x="172688" y="1283303"/>
                  </a:cubicBezTo>
                  <a:cubicBezTo>
                    <a:pt x="184595" y="1294733"/>
                    <a:pt x="196024" y="1274540"/>
                    <a:pt x="193357" y="1268159"/>
                  </a:cubicBezTo>
                  <a:lnTo>
                    <a:pt x="192214" y="1265301"/>
                  </a:lnTo>
                  <a:cubicBezTo>
                    <a:pt x="189071" y="1257776"/>
                    <a:pt x="182404" y="1261682"/>
                    <a:pt x="184404" y="1254252"/>
                  </a:cubicBezTo>
                  <a:cubicBezTo>
                    <a:pt x="185166" y="1252061"/>
                    <a:pt x="185928" y="1243870"/>
                    <a:pt x="191643" y="1239012"/>
                  </a:cubicBezTo>
                  <a:cubicBezTo>
                    <a:pt x="196310" y="1236059"/>
                    <a:pt x="202501" y="1226249"/>
                    <a:pt x="209169" y="1231106"/>
                  </a:cubicBezTo>
                  <a:lnTo>
                    <a:pt x="209359" y="1231297"/>
                  </a:lnTo>
                  <a:cubicBezTo>
                    <a:pt x="211741" y="1233011"/>
                    <a:pt x="215170" y="1233392"/>
                    <a:pt x="216979" y="1231963"/>
                  </a:cubicBezTo>
                  <a:cubicBezTo>
                    <a:pt x="220885" y="1229011"/>
                    <a:pt x="215074" y="1222058"/>
                    <a:pt x="215455" y="1223010"/>
                  </a:cubicBezTo>
                  <a:cubicBezTo>
                    <a:pt x="213646" y="1220629"/>
                    <a:pt x="214693" y="1218533"/>
                    <a:pt x="217646" y="1218438"/>
                  </a:cubicBezTo>
                  <a:cubicBezTo>
                    <a:pt x="236506" y="1218438"/>
                    <a:pt x="248983" y="1214628"/>
                    <a:pt x="250222" y="1220343"/>
                  </a:cubicBezTo>
                  <a:cubicBezTo>
                    <a:pt x="250984" y="1223867"/>
                    <a:pt x="257842" y="1224343"/>
                    <a:pt x="256889" y="1224058"/>
                  </a:cubicBezTo>
                  <a:cubicBezTo>
                    <a:pt x="265176" y="1224534"/>
                    <a:pt x="261461" y="1217771"/>
                    <a:pt x="269748" y="1217771"/>
                  </a:cubicBezTo>
                  <a:cubicBezTo>
                    <a:pt x="270700" y="1217962"/>
                    <a:pt x="278321" y="1216438"/>
                    <a:pt x="279654" y="1222724"/>
                  </a:cubicBezTo>
                  <a:cubicBezTo>
                    <a:pt x="280225" y="1225391"/>
                    <a:pt x="282321" y="1225868"/>
                    <a:pt x="284321" y="1223582"/>
                  </a:cubicBezTo>
                  <a:lnTo>
                    <a:pt x="292322" y="1214628"/>
                  </a:lnTo>
                  <a:cubicBezTo>
                    <a:pt x="296608" y="1209770"/>
                    <a:pt x="297275" y="1201293"/>
                    <a:pt x="296989" y="1202245"/>
                  </a:cubicBezTo>
                  <a:cubicBezTo>
                    <a:pt x="298037" y="1194149"/>
                    <a:pt x="304800" y="1181481"/>
                    <a:pt x="304324" y="1182434"/>
                  </a:cubicBezTo>
                  <a:cubicBezTo>
                    <a:pt x="307753" y="1175004"/>
                    <a:pt x="315278" y="1177957"/>
                    <a:pt x="316897" y="1170146"/>
                  </a:cubicBezTo>
                  <a:cubicBezTo>
                    <a:pt x="319373" y="1157668"/>
                    <a:pt x="320135" y="1148715"/>
                    <a:pt x="324993" y="1143095"/>
                  </a:cubicBezTo>
                  <a:lnTo>
                    <a:pt x="326612" y="1141190"/>
                  </a:lnTo>
                  <a:cubicBezTo>
                    <a:pt x="328517" y="1138904"/>
                    <a:pt x="328136" y="1136142"/>
                    <a:pt x="325660" y="1134999"/>
                  </a:cubicBezTo>
                  <a:cubicBezTo>
                    <a:pt x="319564" y="1132142"/>
                    <a:pt x="319373" y="1122426"/>
                    <a:pt x="324898" y="1121283"/>
                  </a:cubicBezTo>
                  <a:cubicBezTo>
                    <a:pt x="331660" y="1119854"/>
                    <a:pt x="337375" y="1100614"/>
                    <a:pt x="336995" y="1101566"/>
                  </a:cubicBezTo>
                  <a:cubicBezTo>
                    <a:pt x="340042" y="1094137"/>
                    <a:pt x="329946" y="1092136"/>
                    <a:pt x="336232" y="1087374"/>
                  </a:cubicBezTo>
                  <a:cubicBezTo>
                    <a:pt x="340233" y="1082326"/>
                    <a:pt x="340805" y="1081659"/>
                    <a:pt x="341090" y="1078706"/>
                  </a:cubicBezTo>
                  <a:lnTo>
                    <a:pt x="343662" y="1052893"/>
                  </a:lnTo>
                  <a:cubicBezTo>
                    <a:pt x="344424" y="1044607"/>
                    <a:pt x="340233" y="1035844"/>
                    <a:pt x="346710" y="1037653"/>
                  </a:cubicBezTo>
                  <a:cubicBezTo>
                    <a:pt x="356140" y="1040416"/>
                    <a:pt x="342424" y="1025080"/>
                    <a:pt x="349377" y="1018127"/>
                  </a:cubicBezTo>
                  <a:cubicBezTo>
                    <a:pt x="353187" y="1014317"/>
                    <a:pt x="346234" y="1010317"/>
                    <a:pt x="347091" y="1011269"/>
                  </a:cubicBezTo>
                  <a:cubicBezTo>
                    <a:pt x="340995" y="1007650"/>
                    <a:pt x="339852" y="1002697"/>
                    <a:pt x="346996" y="1002125"/>
                  </a:cubicBezTo>
                  <a:cubicBezTo>
                    <a:pt x="349758" y="1001459"/>
                    <a:pt x="359283" y="1002983"/>
                    <a:pt x="360997" y="996125"/>
                  </a:cubicBezTo>
                  <a:cubicBezTo>
                    <a:pt x="361664" y="993458"/>
                    <a:pt x="364617" y="991552"/>
                    <a:pt x="367570" y="991934"/>
                  </a:cubicBezTo>
                  <a:lnTo>
                    <a:pt x="377666" y="993267"/>
                  </a:lnTo>
                  <a:cubicBezTo>
                    <a:pt x="383572" y="994029"/>
                    <a:pt x="383572" y="986218"/>
                    <a:pt x="383191" y="987171"/>
                  </a:cubicBezTo>
                  <a:cubicBezTo>
                    <a:pt x="383381" y="978789"/>
                    <a:pt x="392811" y="986885"/>
                    <a:pt x="392811" y="980408"/>
                  </a:cubicBezTo>
                  <a:cubicBezTo>
                    <a:pt x="392811" y="975932"/>
                    <a:pt x="396812" y="969074"/>
                    <a:pt x="396430" y="970026"/>
                  </a:cubicBezTo>
                  <a:cubicBezTo>
                    <a:pt x="402336" y="959644"/>
                    <a:pt x="399383" y="989457"/>
                    <a:pt x="407480" y="981837"/>
                  </a:cubicBezTo>
                  <a:lnTo>
                    <a:pt x="418338" y="971645"/>
                  </a:lnTo>
                  <a:cubicBezTo>
                    <a:pt x="424148" y="966216"/>
                    <a:pt x="418719" y="959072"/>
                    <a:pt x="426148" y="956977"/>
                  </a:cubicBezTo>
                  <a:cubicBezTo>
                    <a:pt x="428149" y="956024"/>
                    <a:pt x="440150" y="954881"/>
                    <a:pt x="434912" y="949833"/>
                  </a:cubicBezTo>
                  <a:cubicBezTo>
                    <a:pt x="430054" y="945261"/>
                    <a:pt x="435959" y="936974"/>
                    <a:pt x="442531" y="940213"/>
                  </a:cubicBezTo>
                  <a:lnTo>
                    <a:pt x="443198" y="940594"/>
                  </a:lnTo>
                  <a:cubicBezTo>
                    <a:pt x="448151" y="942975"/>
                    <a:pt x="454342" y="940118"/>
                    <a:pt x="453390" y="940308"/>
                  </a:cubicBezTo>
                  <a:cubicBezTo>
                    <a:pt x="460153" y="937069"/>
                    <a:pt x="453390" y="934117"/>
                    <a:pt x="454438" y="925735"/>
                  </a:cubicBezTo>
                  <a:lnTo>
                    <a:pt x="454628" y="924211"/>
                  </a:lnTo>
                  <a:cubicBezTo>
                    <a:pt x="455485" y="916686"/>
                    <a:pt x="468439" y="914114"/>
                    <a:pt x="467392" y="914686"/>
                  </a:cubicBezTo>
                  <a:cubicBezTo>
                    <a:pt x="474821" y="912114"/>
                    <a:pt x="466820" y="903637"/>
                    <a:pt x="473392" y="903827"/>
                  </a:cubicBezTo>
                  <a:cubicBezTo>
                    <a:pt x="478250" y="904018"/>
                    <a:pt x="482917" y="897922"/>
                    <a:pt x="481965" y="898684"/>
                  </a:cubicBezTo>
                  <a:cubicBezTo>
                    <a:pt x="483775" y="896302"/>
                    <a:pt x="483584" y="892683"/>
                    <a:pt x="481393" y="890683"/>
                  </a:cubicBezTo>
                  <a:lnTo>
                    <a:pt x="472726" y="882205"/>
                  </a:lnTo>
                  <a:cubicBezTo>
                    <a:pt x="466820" y="876395"/>
                    <a:pt x="461200" y="860298"/>
                    <a:pt x="461581" y="861346"/>
                  </a:cubicBezTo>
                  <a:cubicBezTo>
                    <a:pt x="458629" y="854393"/>
                    <a:pt x="458819" y="864965"/>
                    <a:pt x="453104" y="865346"/>
                  </a:cubicBezTo>
                  <a:cubicBezTo>
                    <a:pt x="448437" y="865727"/>
                    <a:pt x="446151" y="859726"/>
                    <a:pt x="451675" y="854583"/>
                  </a:cubicBezTo>
                  <a:lnTo>
                    <a:pt x="452152" y="854202"/>
                  </a:lnTo>
                  <a:cubicBezTo>
                    <a:pt x="456724" y="849916"/>
                    <a:pt x="449199" y="845630"/>
                    <a:pt x="449961" y="846582"/>
                  </a:cubicBezTo>
                  <a:cubicBezTo>
                    <a:pt x="444151" y="842867"/>
                    <a:pt x="442913" y="833056"/>
                    <a:pt x="443293" y="834104"/>
                  </a:cubicBezTo>
                  <a:cubicBezTo>
                    <a:pt x="441770" y="827056"/>
                    <a:pt x="436150" y="825341"/>
                    <a:pt x="436435" y="832485"/>
                  </a:cubicBezTo>
                  <a:cubicBezTo>
                    <a:pt x="436150" y="834866"/>
                    <a:pt x="439103" y="846106"/>
                    <a:pt x="432149" y="843058"/>
                  </a:cubicBezTo>
                  <a:cubicBezTo>
                    <a:pt x="430625" y="842105"/>
                    <a:pt x="421957" y="839724"/>
                    <a:pt x="421767" y="834866"/>
                  </a:cubicBezTo>
                  <a:cubicBezTo>
                    <a:pt x="421576" y="829913"/>
                    <a:pt x="413575" y="832390"/>
                    <a:pt x="413766" y="824960"/>
                  </a:cubicBezTo>
                  <a:lnTo>
                    <a:pt x="413766" y="824103"/>
                  </a:lnTo>
                  <a:cubicBezTo>
                    <a:pt x="413956" y="815721"/>
                    <a:pt x="399193" y="824293"/>
                    <a:pt x="398145" y="828484"/>
                  </a:cubicBezTo>
                  <a:cubicBezTo>
                    <a:pt x="397192" y="832390"/>
                    <a:pt x="391478" y="827342"/>
                    <a:pt x="392430" y="827818"/>
                  </a:cubicBezTo>
                  <a:cubicBezTo>
                    <a:pt x="386429" y="822674"/>
                    <a:pt x="397097" y="815721"/>
                    <a:pt x="389191" y="816293"/>
                  </a:cubicBezTo>
                  <a:cubicBezTo>
                    <a:pt x="384429" y="815911"/>
                    <a:pt x="372808" y="820102"/>
                    <a:pt x="373666" y="812101"/>
                  </a:cubicBezTo>
                  <a:cubicBezTo>
                    <a:pt x="373666" y="806672"/>
                    <a:pt x="377666" y="797338"/>
                    <a:pt x="370904" y="793051"/>
                  </a:cubicBezTo>
                  <a:lnTo>
                    <a:pt x="367093" y="790670"/>
                  </a:lnTo>
                  <a:cubicBezTo>
                    <a:pt x="356425" y="784003"/>
                    <a:pt x="375190" y="761333"/>
                    <a:pt x="365570" y="753237"/>
                  </a:cubicBezTo>
                  <a:cubicBezTo>
                    <a:pt x="364903" y="752284"/>
                    <a:pt x="361188" y="749427"/>
                    <a:pt x="362140" y="744188"/>
                  </a:cubicBezTo>
                  <a:cubicBezTo>
                    <a:pt x="365284" y="733330"/>
                    <a:pt x="364046" y="717994"/>
                    <a:pt x="371380" y="722852"/>
                  </a:cubicBezTo>
                  <a:cubicBezTo>
                    <a:pt x="373189" y="723614"/>
                    <a:pt x="380238" y="731139"/>
                    <a:pt x="383857" y="724757"/>
                  </a:cubicBezTo>
                  <a:cubicBezTo>
                    <a:pt x="384048" y="723805"/>
                    <a:pt x="387001" y="719518"/>
                    <a:pt x="383667" y="715137"/>
                  </a:cubicBezTo>
                  <a:cubicBezTo>
                    <a:pt x="381381" y="711232"/>
                    <a:pt x="373571" y="705517"/>
                    <a:pt x="376523" y="698182"/>
                  </a:cubicBezTo>
                  <a:lnTo>
                    <a:pt x="381286" y="686086"/>
                  </a:lnTo>
                  <a:cubicBezTo>
                    <a:pt x="384048" y="679037"/>
                    <a:pt x="395192" y="672941"/>
                    <a:pt x="394240" y="673703"/>
                  </a:cubicBezTo>
                  <a:cubicBezTo>
                    <a:pt x="402812" y="667988"/>
                    <a:pt x="381953" y="672941"/>
                    <a:pt x="383953" y="663416"/>
                  </a:cubicBezTo>
                  <a:lnTo>
                    <a:pt x="385286" y="656939"/>
                  </a:lnTo>
                  <a:cubicBezTo>
                    <a:pt x="386524" y="651129"/>
                    <a:pt x="393478" y="654368"/>
                    <a:pt x="392525" y="654272"/>
                  </a:cubicBezTo>
                  <a:cubicBezTo>
                    <a:pt x="397859" y="656558"/>
                    <a:pt x="396335" y="649224"/>
                    <a:pt x="396240" y="650176"/>
                  </a:cubicBezTo>
                  <a:cubicBezTo>
                    <a:pt x="395668" y="647224"/>
                    <a:pt x="397478" y="644176"/>
                    <a:pt x="400240" y="643223"/>
                  </a:cubicBezTo>
                  <a:lnTo>
                    <a:pt x="412147" y="639413"/>
                  </a:lnTo>
                  <a:cubicBezTo>
                    <a:pt x="420148" y="636842"/>
                    <a:pt x="408527" y="631031"/>
                    <a:pt x="416528" y="628745"/>
                  </a:cubicBezTo>
                  <a:cubicBezTo>
                    <a:pt x="417481" y="628364"/>
                    <a:pt x="424624" y="627317"/>
                    <a:pt x="429292" y="622268"/>
                  </a:cubicBezTo>
                  <a:cubicBezTo>
                    <a:pt x="441484" y="609409"/>
                    <a:pt x="444151" y="607314"/>
                    <a:pt x="444817" y="601027"/>
                  </a:cubicBezTo>
                  <a:cubicBezTo>
                    <a:pt x="445770" y="597503"/>
                    <a:pt x="444151" y="587311"/>
                    <a:pt x="451580" y="585978"/>
                  </a:cubicBezTo>
                  <a:cubicBezTo>
                    <a:pt x="460153" y="584454"/>
                    <a:pt x="487966" y="581977"/>
                    <a:pt x="489109" y="563689"/>
                  </a:cubicBezTo>
                  <a:lnTo>
                    <a:pt x="489109" y="562165"/>
                  </a:lnTo>
                  <a:cubicBezTo>
                    <a:pt x="489395" y="559213"/>
                    <a:pt x="491680" y="557117"/>
                    <a:pt x="494347" y="557593"/>
                  </a:cubicBezTo>
                  <a:cubicBezTo>
                    <a:pt x="499681" y="558451"/>
                    <a:pt x="501777" y="550735"/>
                    <a:pt x="501110" y="551688"/>
                  </a:cubicBezTo>
                  <a:cubicBezTo>
                    <a:pt x="504444" y="540448"/>
                    <a:pt x="513493" y="571595"/>
                    <a:pt x="520541" y="554260"/>
                  </a:cubicBezTo>
                  <a:cubicBezTo>
                    <a:pt x="521684" y="552545"/>
                    <a:pt x="522827" y="543973"/>
                    <a:pt x="530257" y="543306"/>
                  </a:cubicBezTo>
                  <a:cubicBezTo>
                    <a:pt x="537591" y="541877"/>
                    <a:pt x="548735" y="544639"/>
                    <a:pt x="550831" y="536543"/>
                  </a:cubicBezTo>
                  <a:lnTo>
                    <a:pt x="550831" y="536257"/>
                  </a:lnTo>
                  <a:cubicBezTo>
                    <a:pt x="552259" y="530828"/>
                    <a:pt x="558451" y="534067"/>
                    <a:pt x="557498" y="533972"/>
                  </a:cubicBezTo>
                  <a:cubicBezTo>
                    <a:pt x="562547" y="536829"/>
                    <a:pt x="563880" y="529495"/>
                    <a:pt x="563308" y="530447"/>
                  </a:cubicBezTo>
                  <a:cubicBezTo>
                    <a:pt x="564356" y="524161"/>
                    <a:pt x="572929" y="526447"/>
                    <a:pt x="571976" y="526542"/>
                  </a:cubicBezTo>
                  <a:cubicBezTo>
                    <a:pt x="582930" y="528542"/>
                    <a:pt x="585788" y="495967"/>
                    <a:pt x="597408" y="485870"/>
                  </a:cubicBezTo>
                  <a:cubicBezTo>
                    <a:pt x="625888" y="461010"/>
                    <a:pt x="631984" y="458152"/>
                    <a:pt x="625507" y="454723"/>
                  </a:cubicBezTo>
                  <a:cubicBezTo>
                    <a:pt x="618744" y="451009"/>
                    <a:pt x="611219" y="448246"/>
                    <a:pt x="608743" y="441484"/>
                  </a:cubicBezTo>
                  <a:lnTo>
                    <a:pt x="604647" y="430244"/>
                  </a:lnTo>
                  <a:cubicBezTo>
                    <a:pt x="600170" y="417862"/>
                    <a:pt x="630555" y="404050"/>
                    <a:pt x="630936" y="389382"/>
                  </a:cubicBezTo>
                  <a:cubicBezTo>
                    <a:pt x="631698" y="384048"/>
                    <a:pt x="629317" y="368998"/>
                    <a:pt x="635317" y="374618"/>
                  </a:cubicBezTo>
                  <a:cubicBezTo>
                    <a:pt x="639032" y="377476"/>
                    <a:pt x="648367" y="389192"/>
                    <a:pt x="647509" y="381095"/>
                  </a:cubicBezTo>
                  <a:lnTo>
                    <a:pt x="646843" y="374618"/>
                  </a:lnTo>
                  <a:cubicBezTo>
                    <a:pt x="646271" y="368713"/>
                    <a:pt x="649986" y="362331"/>
                    <a:pt x="649605" y="363284"/>
                  </a:cubicBezTo>
                  <a:cubicBezTo>
                    <a:pt x="655225" y="353187"/>
                    <a:pt x="672941" y="373094"/>
                    <a:pt x="673132" y="361569"/>
                  </a:cubicBezTo>
                  <a:cubicBezTo>
                    <a:pt x="673322" y="353282"/>
                    <a:pt x="674941" y="329660"/>
                    <a:pt x="674846" y="330613"/>
                  </a:cubicBezTo>
                  <a:cubicBezTo>
                    <a:pt x="675322" y="323183"/>
                    <a:pt x="687133" y="330327"/>
                    <a:pt x="686181" y="330136"/>
                  </a:cubicBezTo>
                  <a:cubicBezTo>
                    <a:pt x="691039" y="332327"/>
                    <a:pt x="694658" y="326803"/>
                    <a:pt x="693706" y="327565"/>
                  </a:cubicBezTo>
                  <a:cubicBezTo>
                    <a:pt x="695134" y="324993"/>
                    <a:pt x="698278" y="324231"/>
                    <a:pt x="700754" y="325850"/>
                  </a:cubicBezTo>
                  <a:lnTo>
                    <a:pt x="714851" y="335566"/>
                  </a:lnTo>
                  <a:cubicBezTo>
                    <a:pt x="719518" y="338709"/>
                    <a:pt x="726376" y="338804"/>
                    <a:pt x="725424" y="338614"/>
                  </a:cubicBezTo>
                  <a:cubicBezTo>
                    <a:pt x="730948" y="338614"/>
                    <a:pt x="730282" y="331851"/>
                    <a:pt x="729996" y="332803"/>
                  </a:cubicBezTo>
                  <a:cubicBezTo>
                    <a:pt x="728948" y="325469"/>
                    <a:pt x="741902" y="327565"/>
                    <a:pt x="740950" y="327755"/>
                  </a:cubicBezTo>
                  <a:cubicBezTo>
                    <a:pt x="747522" y="327946"/>
                    <a:pt x="752951" y="335280"/>
                    <a:pt x="751999" y="334518"/>
                  </a:cubicBezTo>
                  <a:cubicBezTo>
                    <a:pt x="762000" y="346329"/>
                    <a:pt x="766000" y="328613"/>
                    <a:pt x="774763" y="329851"/>
                  </a:cubicBezTo>
                  <a:lnTo>
                    <a:pt x="782860" y="330898"/>
                  </a:lnTo>
                  <a:lnTo>
                    <a:pt x="756380" y="300895"/>
                  </a:lnTo>
                  <a:lnTo>
                    <a:pt x="750951" y="276511"/>
                  </a:lnTo>
                  <a:close/>
                  <a:moveTo>
                    <a:pt x="169831" y="976503"/>
                  </a:moveTo>
                  <a:cubicBezTo>
                    <a:pt x="167830" y="976884"/>
                    <a:pt x="156686" y="974693"/>
                    <a:pt x="158210" y="981646"/>
                  </a:cubicBezTo>
                  <a:cubicBezTo>
                    <a:pt x="159925" y="989267"/>
                    <a:pt x="171164" y="986409"/>
                    <a:pt x="165640" y="991934"/>
                  </a:cubicBezTo>
                  <a:cubicBezTo>
                    <a:pt x="164401" y="992886"/>
                    <a:pt x="159829" y="999649"/>
                    <a:pt x="152686" y="998792"/>
                  </a:cubicBezTo>
                  <a:cubicBezTo>
                    <a:pt x="151733" y="998982"/>
                    <a:pt x="146399" y="997553"/>
                    <a:pt x="143256" y="1002601"/>
                  </a:cubicBezTo>
                  <a:cubicBezTo>
                    <a:pt x="140779" y="1005554"/>
                    <a:pt x="138017" y="1014793"/>
                    <a:pt x="130207" y="1014127"/>
                  </a:cubicBezTo>
                  <a:lnTo>
                    <a:pt x="126873" y="1013841"/>
                  </a:lnTo>
                  <a:cubicBezTo>
                    <a:pt x="119634" y="1013174"/>
                    <a:pt x="125730" y="1001744"/>
                    <a:pt x="125635" y="1002697"/>
                  </a:cubicBezTo>
                  <a:cubicBezTo>
                    <a:pt x="128206" y="995934"/>
                    <a:pt x="120015" y="996505"/>
                    <a:pt x="114967" y="1001363"/>
                  </a:cubicBezTo>
                  <a:cubicBezTo>
                    <a:pt x="94774" y="1020699"/>
                    <a:pt x="92107" y="1025461"/>
                    <a:pt x="85249" y="1023461"/>
                  </a:cubicBezTo>
                  <a:cubicBezTo>
                    <a:pt x="84296" y="1022890"/>
                    <a:pt x="75819" y="1022033"/>
                    <a:pt x="80296" y="1016889"/>
                  </a:cubicBezTo>
                  <a:lnTo>
                    <a:pt x="88773" y="1006983"/>
                  </a:lnTo>
                  <a:cubicBezTo>
                    <a:pt x="92297" y="1002887"/>
                    <a:pt x="88582" y="997458"/>
                    <a:pt x="88773" y="998410"/>
                  </a:cubicBezTo>
                  <a:cubicBezTo>
                    <a:pt x="86963" y="996029"/>
                    <a:pt x="86487" y="991934"/>
                    <a:pt x="87630" y="989171"/>
                  </a:cubicBezTo>
                  <a:cubicBezTo>
                    <a:pt x="96203" y="969645"/>
                    <a:pt x="97441" y="962596"/>
                    <a:pt x="104204" y="964692"/>
                  </a:cubicBezTo>
                  <a:lnTo>
                    <a:pt x="108204" y="965930"/>
                  </a:lnTo>
                  <a:cubicBezTo>
                    <a:pt x="115919" y="968216"/>
                    <a:pt x="114014" y="977836"/>
                    <a:pt x="121920" y="977836"/>
                  </a:cubicBezTo>
                  <a:cubicBezTo>
                    <a:pt x="122872" y="977551"/>
                    <a:pt x="130778" y="979170"/>
                    <a:pt x="128968" y="972693"/>
                  </a:cubicBezTo>
                  <a:cubicBezTo>
                    <a:pt x="126492" y="959834"/>
                    <a:pt x="118110" y="948118"/>
                    <a:pt x="126587" y="945166"/>
                  </a:cubicBezTo>
                  <a:cubicBezTo>
                    <a:pt x="128683" y="944880"/>
                    <a:pt x="136588" y="939641"/>
                    <a:pt x="140398" y="945928"/>
                  </a:cubicBezTo>
                  <a:lnTo>
                    <a:pt x="141922" y="948404"/>
                  </a:lnTo>
                  <a:cubicBezTo>
                    <a:pt x="143446" y="950976"/>
                    <a:pt x="146780" y="952405"/>
                    <a:pt x="149257" y="951738"/>
                  </a:cubicBezTo>
                  <a:cubicBezTo>
                    <a:pt x="156210" y="949833"/>
                    <a:pt x="152305" y="939832"/>
                    <a:pt x="159829" y="942308"/>
                  </a:cubicBezTo>
                  <a:cubicBezTo>
                    <a:pt x="165640" y="945070"/>
                    <a:pt x="177451" y="945166"/>
                    <a:pt x="176784" y="953357"/>
                  </a:cubicBezTo>
                  <a:cubicBezTo>
                    <a:pt x="176784" y="953357"/>
                    <a:pt x="178308" y="976693"/>
                    <a:pt x="169640" y="976693"/>
                  </a:cubicBezTo>
                  <a:close/>
                  <a:moveTo>
                    <a:pt x="222695" y="1019366"/>
                  </a:moveTo>
                  <a:cubicBezTo>
                    <a:pt x="221742" y="1019842"/>
                    <a:pt x="214408" y="1020509"/>
                    <a:pt x="212407" y="1027176"/>
                  </a:cubicBezTo>
                  <a:cubicBezTo>
                    <a:pt x="207740" y="1043178"/>
                    <a:pt x="206597" y="1050988"/>
                    <a:pt x="201168" y="1056132"/>
                  </a:cubicBezTo>
                  <a:cubicBezTo>
                    <a:pt x="199549" y="1058037"/>
                    <a:pt x="192596" y="1062418"/>
                    <a:pt x="191833" y="1069848"/>
                  </a:cubicBezTo>
                  <a:cubicBezTo>
                    <a:pt x="191548" y="1070801"/>
                    <a:pt x="191643" y="1076611"/>
                    <a:pt x="187642" y="1078135"/>
                  </a:cubicBezTo>
                  <a:cubicBezTo>
                    <a:pt x="183356" y="1079659"/>
                    <a:pt x="182880" y="1069848"/>
                    <a:pt x="183166" y="1070801"/>
                  </a:cubicBezTo>
                  <a:cubicBezTo>
                    <a:pt x="180499" y="1047464"/>
                    <a:pt x="203263" y="1019556"/>
                    <a:pt x="202216" y="1020985"/>
                  </a:cubicBezTo>
                  <a:cubicBezTo>
                    <a:pt x="205454" y="1016413"/>
                    <a:pt x="206121" y="1009650"/>
                    <a:pt x="205835" y="1010602"/>
                  </a:cubicBezTo>
                  <a:cubicBezTo>
                    <a:pt x="206597" y="1001649"/>
                    <a:pt x="216979" y="1000506"/>
                    <a:pt x="222409" y="992219"/>
                  </a:cubicBezTo>
                  <a:cubicBezTo>
                    <a:pt x="225647" y="987457"/>
                    <a:pt x="231648" y="990028"/>
                    <a:pt x="229171" y="996982"/>
                  </a:cubicBezTo>
                  <a:cubicBezTo>
                    <a:pt x="228886" y="998601"/>
                    <a:pt x="224028" y="1007554"/>
                    <a:pt x="229171" y="1008412"/>
                  </a:cubicBezTo>
                  <a:cubicBezTo>
                    <a:pt x="231267" y="1008793"/>
                    <a:pt x="230029" y="1017270"/>
                    <a:pt x="222695" y="1019461"/>
                  </a:cubicBezTo>
                  <a:close/>
                </a:path>
              </a:pathLst>
            </a:custGeom>
            <a:solidFill>
              <a:schemeClr val="bg1">
                <a:lumMod val="95000"/>
              </a:schemeClr>
            </a:solidFill>
            <a:ln w="9525" cap="flat">
              <a:noFill/>
              <a:prstDash val="solid"/>
              <a:miter/>
            </a:ln>
          </p:spPr>
          <p:txBody>
            <a:bodyPr rtlCol="0" anchor="ctr"/>
            <a:lstStyle/>
            <a:p>
              <a:endParaRPr lang="en-IN"/>
            </a:p>
          </p:txBody>
        </p:sp>
      </p:grpSp>
      <p:grpSp>
        <p:nvGrpSpPr>
          <p:cNvPr id="216" name="Graphic 166">
            <a:extLst>
              <a:ext uri="{FF2B5EF4-FFF2-40B4-BE49-F238E27FC236}">
                <a16:creationId xmlns:a16="http://schemas.microsoft.com/office/drawing/2014/main" id="{BAC299F8-2577-0092-8106-EB401E081E50}"/>
              </a:ext>
            </a:extLst>
          </p:cNvPr>
          <p:cNvGrpSpPr/>
          <p:nvPr/>
        </p:nvGrpSpPr>
        <p:grpSpPr>
          <a:xfrm>
            <a:off x="4494520" y="2556370"/>
            <a:ext cx="1358620" cy="1102446"/>
            <a:chOff x="3915893" y="3007581"/>
            <a:chExt cx="1358620" cy="1102446"/>
          </a:xfrm>
          <a:solidFill>
            <a:schemeClr val="bg1">
              <a:lumMod val="85000"/>
            </a:schemeClr>
          </a:solidFill>
        </p:grpSpPr>
        <p:grpSp>
          <p:nvGrpSpPr>
            <p:cNvPr id="217" name="Graphic 166">
              <a:extLst>
                <a:ext uri="{FF2B5EF4-FFF2-40B4-BE49-F238E27FC236}">
                  <a16:creationId xmlns:a16="http://schemas.microsoft.com/office/drawing/2014/main" id="{65A9433C-D477-E36D-716F-742F30BEDEB0}"/>
                </a:ext>
              </a:extLst>
            </p:cNvPr>
            <p:cNvGrpSpPr/>
            <p:nvPr/>
          </p:nvGrpSpPr>
          <p:grpSpPr>
            <a:xfrm>
              <a:off x="3915893" y="4002125"/>
              <a:ext cx="292879" cy="107903"/>
              <a:chOff x="3915893" y="4002125"/>
              <a:chExt cx="292879" cy="107903"/>
            </a:xfrm>
            <a:grpFill/>
          </p:grpSpPr>
          <p:sp>
            <p:nvSpPr>
              <p:cNvPr id="223" name="Freeform: Shape 222">
                <a:extLst>
                  <a:ext uri="{FF2B5EF4-FFF2-40B4-BE49-F238E27FC236}">
                    <a16:creationId xmlns:a16="http://schemas.microsoft.com/office/drawing/2014/main" id="{DA108EC6-D410-5102-D9EE-D673FC32E127}"/>
                  </a:ext>
                </a:extLst>
              </p:cNvPr>
              <p:cNvSpPr/>
              <p:nvPr/>
            </p:nvSpPr>
            <p:spPr>
              <a:xfrm>
                <a:off x="3972475" y="4070771"/>
                <a:ext cx="14911" cy="14038"/>
              </a:xfrm>
              <a:custGeom>
                <a:avLst/>
                <a:gdLst>
                  <a:gd name="connsiteX0" fmla="*/ 195 w 14911"/>
                  <a:gd name="connsiteY0" fmla="*/ 5872 h 14038"/>
                  <a:gd name="connsiteX1" fmla="*/ 5434 w 14911"/>
                  <a:gd name="connsiteY1" fmla="*/ 13873 h 14038"/>
                  <a:gd name="connsiteX2" fmla="*/ 13340 w 14911"/>
                  <a:gd name="connsiteY2" fmla="*/ 10443 h 14038"/>
                  <a:gd name="connsiteX3" fmla="*/ 13340 w 14911"/>
                  <a:gd name="connsiteY3" fmla="*/ 3014 h 14038"/>
                  <a:gd name="connsiteX4" fmla="*/ 195 w 14911"/>
                  <a:gd name="connsiteY4" fmla="*/ 5872 h 14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1" h="14038">
                    <a:moveTo>
                      <a:pt x="195" y="5872"/>
                    </a:moveTo>
                    <a:cubicBezTo>
                      <a:pt x="576" y="6824"/>
                      <a:pt x="1338" y="12634"/>
                      <a:pt x="5434" y="13873"/>
                    </a:cubicBezTo>
                    <a:cubicBezTo>
                      <a:pt x="9244" y="15016"/>
                      <a:pt x="14292" y="9872"/>
                      <a:pt x="13340" y="10443"/>
                    </a:cubicBezTo>
                    <a:cubicBezTo>
                      <a:pt x="15435" y="8348"/>
                      <a:pt x="15435" y="4919"/>
                      <a:pt x="13340" y="3014"/>
                    </a:cubicBezTo>
                    <a:cubicBezTo>
                      <a:pt x="8482" y="-1558"/>
                      <a:pt x="-1519" y="-1177"/>
                      <a:pt x="195" y="5872"/>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24" name="Freeform: Shape 223">
                <a:extLst>
                  <a:ext uri="{FF2B5EF4-FFF2-40B4-BE49-F238E27FC236}">
                    <a16:creationId xmlns:a16="http://schemas.microsoft.com/office/drawing/2014/main" id="{F6B1656C-55BE-990F-719B-81A3E77465C1}"/>
                  </a:ext>
                </a:extLst>
              </p:cNvPr>
              <p:cNvSpPr/>
              <p:nvPr/>
            </p:nvSpPr>
            <p:spPr>
              <a:xfrm>
                <a:off x="3999762" y="4048132"/>
                <a:ext cx="45949" cy="37315"/>
              </a:xfrm>
              <a:custGeom>
                <a:avLst/>
                <a:gdLst>
                  <a:gd name="connsiteX0" fmla="*/ 27297 w 45949"/>
                  <a:gd name="connsiteY0" fmla="*/ 5270 h 37315"/>
                  <a:gd name="connsiteX1" fmla="*/ 817 w 45949"/>
                  <a:gd name="connsiteY1" fmla="*/ 19653 h 37315"/>
                  <a:gd name="connsiteX2" fmla="*/ 16819 w 45949"/>
                  <a:gd name="connsiteY2" fmla="*/ 37178 h 37315"/>
                  <a:gd name="connsiteX3" fmla="*/ 25106 w 45949"/>
                  <a:gd name="connsiteY3" fmla="*/ 31178 h 37315"/>
                  <a:gd name="connsiteX4" fmla="*/ 37679 w 45949"/>
                  <a:gd name="connsiteY4" fmla="*/ 11080 h 37315"/>
                  <a:gd name="connsiteX5" fmla="*/ 45870 w 45949"/>
                  <a:gd name="connsiteY5" fmla="*/ 2317 h 37315"/>
                  <a:gd name="connsiteX6" fmla="*/ 27297 w 45949"/>
                  <a:gd name="connsiteY6" fmla="*/ 5270 h 37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49" h="37315">
                    <a:moveTo>
                      <a:pt x="27297" y="5270"/>
                    </a:moveTo>
                    <a:cubicBezTo>
                      <a:pt x="20153" y="15652"/>
                      <a:pt x="-4803" y="9937"/>
                      <a:pt x="817" y="19653"/>
                    </a:cubicBezTo>
                    <a:cubicBezTo>
                      <a:pt x="6246" y="27177"/>
                      <a:pt x="8437" y="38703"/>
                      <a:pt x="16819" y="37178"/>
                    </a:cubicBezTo>
                    <a:cubicBezTo>
                      <a:pt x="17772" y="36702"/>
                      <a:pt x="22725" y="36131"/>
                      <a:pt x="25106" y="31178"/>
                    </a:cubicBezTo>
                    <a:cubicBezTo>
                      <a:pt x="29487" y="21843"/>
                      <a:pt x="31773" y="14985"/>
                      <a:pt x="37679" y="11080"/>
                    </a:cubicBezTo>
                    <a:cubicBezTo>
                      <a:pt x="38917" y="10032"/>
                      <a:pt x="46823" y="6127"/>
                      <a:pt x="45870" y="2317"/>
                    </a:cubicBezTo>
                    <a:cubicBezTo>
                      <a:pt x="44918" y="-1112"/>
                      <a:pt x="31773" y="-1207"/>
                      <a:pt x="27297" y="5270"/>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25" name="Freeform: Shape 224">
                <a:extLst>
                  <a:ext uri="{FF2B5EF4-FFF2-40B4-BE49-F238E27FC236}">
                    <a16:creationId xmlns:a16="http://schemas.microsoft.com/office/drawing/2014/main" id="{6A1F6C9D-88FF-00BA-FB16-6248CC0FC189}"/>
                  </a:ext>
                </a:extLst>
              </p:cNvPr>
              <p:cNvSpPr/>
              <p:nvPr/>
            </p:nvSpPr>
            <p:spPr>
              <a:xfrm>
                <a:off x="4182861" y="4002125"/>
                <a:ext cx="25911" cy="29059"/>
              </a:xfrm>
              <a:custGeom>
                <a:avLst/>
                <a:gdLst>
                  <a:gd name="connsiteX0" fmla="*/ 12218 w 25911"/>
                  <a:gd name="connsiteY0" fmla="*/ 10129 h 29059"/>
                  <a:gd name="connsiteX1" fmla="*/ 788 w 25911"/>
                  <a:gd name="connsiteY1" fmla="*/ 18892 h 29059"/>
                  <a:gd name="connsiteX2" fmla="*/ 3360 w 25911"/>
                  <a:gd name="connsiteY2" fmla="*/ 28893 h 29059"/>
                  <a:gd name="connsiteX3" fmla="*/ 25268 w 25911"/>
                  <a:gd name="connsiteY3" fmla="*/ 14987 h 29059"/>
                  <a:gd name="connsiteX4" fmla="*/ 22981 w 25911"/>
                  <a:gd name="connsiteY4" fmla="*/ 509 h 29059"/>
                  <a:gd name="connsiteX5" fmla="*/ 12123 w 25911"/>
                  <a:gd name="connsiteY5" fmla="*/ 10129 h 2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11" h="29059">
                    <a:moveTo>
                      <a:pt x="12218" y="10129"/>
                    </a:moveTo>
                    <a:cubicBezTo>
                      <a:pt x="10599" y="10986"/>
                      <a:pt x="2217" y="11748"/>
                      <a:pt x="788" y="18892"/>
                    </a:cubicBezTo>
                    <a:cubicBezTo>
                      <a:pt x="788" y="19845"/>
                      <a:pt x="-2165" y="27560"/>
                      <a:pt x="3360" y="28893"/>
                    </a:cubicBezTo>
                    <a:cubicBezTo>
                      <a:pt x="9075" y="30227"/>
                      <a:pt x="24506" y="23369"/>
                      <a:pt x="25268" y="14987"/>
                    </a:cubicBezTo>
                    <a:cubicBezTo>
                      <a:pt x="25268" y="12606"/>
                      <a:pt x="27744" y="3271"/>
                      <a:pt x="22981" y="509"/>
                    </a:cubicBezTo>
                    <a:cubicBezTo>
                      <a:pt x="18124" y="-2349"/>
                      <a:pt x="19552" y="7652"/>
                      <a:pt x="12123" y="10129"/>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26" name="Freeform: Shape 225">
                <a:extLst>
                  <a:ext uri="{FF2B5EF4-FFF2-40B4-BE49-F238E27FC236}">
                    <a16:creationId xmlns:a16="http://schemas.microsoft.com/office/drawing/2014/main" id="{2E651F55-1428-67A0-DAB4-27E9ED961954}"/>
                  </a:ext>
                </a:extLst>
              </p:cNvPr>
              <p:cNvSpPr/>
              <p:nvPr/>
            </p:nvSpPr>
            <p:spPr>
              <a:xfrm>
                <a:off x="4144943" y="4039495"/>
                <a:ext cx="39629" cy="42743"/>
              </a:xfrm>
              <a:custGeom>
                <a:avLst/>
                <a:gdLst>
                  <a:gd name="connsiteX0" fmla="*/ 10226 w 39629"/>
                  <a:gd name="connsiteY0" fmla="*/ 33242 h 42743"/>
                  <a:gd name="connsiteX1" fmla="*/ 2130 w 39629"/>
                  <a:gd name="connsiteY1" fmla="*/ 41529 h 42743"/>
                  <a:gd name="connsiteX2" fmla="*/ 2606 w 39629"/>
                  <a:gd name="connsiteY2" fmla="*/ 41815 h 42743"/>
                  <a:gd name="connsiteX3" fmla="*/ 12417 w 39629"/>
                  <a:gd name="connsiteY3" fmla="*/ 41815 h 42743"/>
                  <a:gd name="connsiteX4" fmla="*/ 34896 w 39629"/>
                  <a:gd name="connsiteY4" fmla="*/ 26860 h 42743"/>
                  <a:gd name="connsiteX5" fmla="*/ 35563 w 39629"/>
                  <a:gd name="connsiteY5" fmla="*/ 0 h 42743"/>
                  <a:gd name="connsiteX6" fmla="*/ 27848 w 39629"/>
                  <a:gd name="connsiteY6" fmla="*/ 3715 h 42743"/>
                  <a:gd name="connsiteX7" fmla="*/ 10131 w 39629"/>
                  <a:gd name="connsiteY7" fmla="*/ 33242 h 4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29" h="42743">
                    <a:moveTo>
                      <a:pt x="10226" y="33242"/>
                    </a:moveTo>
                    <a:cubicBezTo>
                      <a:pt x="7559" y="35052"/>
                      <a:pt x="-4918" y="38290"/>
                      <a:pt x="2130" y="41529"/>
                    </a:cubicBezTo>
                    <a:lnTo>
                      <a:pt x="2606" y="41815"/>
                    </a:lnTo>
                    <a:cubicBezTo>
                      <a:pt x="5273" y="43053"/>
                      <a:pt x="9750" y="43053"/>
                      <a:pt x="12417" y="41815"/>
                    </a:cubicBezTo>
                    <a:cubicBezTo>
                      <a:pt x="28419" y="34480"/>
                      <a:pt x="33372" y="33433"/>
                      <a:pt x="34896" y="26860"/>
                    </a:cubicBezTo>
                    <a:cubicBezTo>
                      <a:pt x="36611" y="13906"/>
                      <a:pt x="44231" y="1905"/>
                      <a:pt x="35563" y="0"/>
                    </a:cubicBezTo>
                    <a:cubicBezTo>
                      <a:pt x="34610" y="190"/>
                      <a:pt x="30038" y="-953"/>
                      <a:pt x="27848" y="3715"/>
                    </a:cubicBezTo>
                    <a:cubicBezTo>
                      <a:pt x="27848" y="3715"/>
                      <a:pt x="17180" y="30004"/>
                      <a:pt x="10131" y="33242"/>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27" name="Freeform: Shape 226">
                <a:extLst>
                  <a:ext uri="{FF2B5EF4-FFF2-40B4-BE49-F238E27FC236}">
                    <a16:creationId xmlns:a16="http://schemas.microsoft.com/office/drawing/2014/main" id="{02CE7406-6A10-A562-1024-65290D6781D3}"/>
                  </a:ext>
                </a:extLst>
              </p:cNvPr>
              <p:cNvSpPr/>
              <p:nvPr/>
            </p:nvSpPr>
            <p:spPr>
              <a:xfrm>
                <a:off x="4064646" y="4074583"/>
                <a:ext cx="25510" cy="26371"/>
              </a:xfrm>
              <a:custGeom>
                <a:avLst/>
                <a:gdLst>
                  <a:gd name="connsiteX0" fmla="*/ 6323 w 25510"/>
                  <a:gd name="connsiteY0" fmla="*/ 4155 h 26371"/>
                  <a:gd name="connsiteX1" fmla="*/ 1179 w 25510"/>
                  <a:gd name="connsiteY1" fmla="*/ 12537 h 26371"/>
                  <a:gd name="connsiteX2" fmla="*/ 15086 w 25510"/>
                  <a:gd name="connsiteY2" fmla="*/ 25872 h 26371"/>
                  <a:gd name="connsiteX3" fmla="*/ 25468 w 25510"/>
                  <a:gd name="connsiteY3" fmla="*/ 15871 h 26371"/>
                  <a:gd name="connsiteX4" fmla="*/ 18705 w 25510"/>
                  <a:gd name="connsiteY4" fmla="*/ 1107 h 26371"/>
                  <a:gd name="connsiteX5" fmla="*/ 6323 w 25510"/>
                  <a:gd name="connsiteY5" fmla="*/ 4060 h 2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10" h="26371">
                    <a:moveTo>
                      <a:pt x="6323" y="4155"/>
                    </a:moveTo>
                    <a:cubicBezTo>
                      <a:pt x="4513" y="7680"/>
                      <a:pt x="3846" y="9965"/>
                      <a:pt x="1179" y="12537"/>
                    </a:cubicBezTo>
                    <a:cubicBezTo>
                      <a:pt x="-3774" y="17205"/>
                      <a:pt x="8037" y="28920"/>
                      <a:pt x="15086" y="25872"/>
                    </a:cubicBezTo>
                    <a:cubicBezTo>
                      <a:pt x="16610" y="24920"/>
                      <a:pt x="26230" y="23205"/>
                      <a:pt x="25468" y="15871"/>
                    </a:cubicBezTo>
                    <a:cubicBezTo>
                      <a:pt x="24611" y="12632"/>
                      <a:pt x="26325" y="2631"/>
                      <a:pt x="18705" y="1107"/>
                    </a:cubicBezTo>
                    <a:cubicBezTo>
                      <a:pt x="17086" y="1107"/>
                      <a:pt x="8704" y="-2798"/>
                      <a:pt x="6323" y="4060"/>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28" name="Freeform: Shape 227">
                <a:extLst>
                  <a:ext uri="{FF2B5EF4-FFF2-40B4-BE49-F238E27FC236}">
                    <a16:creationId xmlns:a16="http://schemas.microsoft.com/office/drawing/2014/main" id="{64D9DA3C-FD2F-83DD-CEB8-6251435E2E85}"/>
                  </a:ext>
                </a:extLst>
              </p:cNvPr>
              <p:cNvSpPr/>
              <p:nvPr/>
            </p:nvSpPr>
            <p:spPr>
              <a:xfrm>
                <a:off x="3928988" y="4031484"/>
                <a:ext cx="18616" cy="24671"/>
              </a:xfrm>
              <a:custGeom>
                <a:avLst/>
                <a:gdLst>
                  <a:gd name="connsiteX0" fmla="*/ 12535 w 18616"/>
                  <a:gd name="connsiteY0" fmla="*/ 23537 h 24671"/>
                  <a:gd name="connsiteX1" fmla="*/ 14726 w 18616"/>
                  <a:gd name="connsiteY1" fmla="*/ 21156 h 24671"/>
                  <a:gd name="connsiteX2" fmla="*/ 18346 w 18616"/>
                  <a:gd name="connsiteY2" fmla="*/ 5154 h 24671"/>
                  <a:gd name="connsiteX3" fmla="*/ 12916 w 18616"/>
                  <a:gd name="connsiteY3" fmla="*/ 11 h 24671"/>
                  <a:gd name="connsiteX4" fmla="*/ 439 w 18616"/>
                  <a:gd name="connsiteY4" fmla="*/ 5630 h 24671"/>
                  <a:gd name="connsiteX5" fmla="*/ 12535 w 18616"/>
                  <a:gd name="connsiteY5" fmla="*/ 23633 h 2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16" h="24671">
                    <a:moveTo>
                      <a:pt x="12535" y="23537"/>
                    </a:moveTo>
                    <a:lnTo>
                      <a:pt x="14726" y="21156"/>
                    </a:lnTo>
                    <a:cubicBezTo>
                      <a:pt x="19774" y="15727"/>
                      <a:pt x="18536" y="4201"/>
                      <a:pt x="18346" y="5154"/>
                    </a:cubicBezTo>
                    <a:cubicBezTo>
                      <a:pt x="18346" y="2201"/>
                      <a:pt x="15964" y="-180"/>
                      <a:pt x="12916" y="11"/>
                    </a:cubicBezTo>
                    <a:cubicBezTo>
                      <a:pt x="9487" y="773"/>
                      <a:pt x="-2419" y="-1704"/>
                      <a:pt x="439" y="5630"/>
                    </a:cubicBezTo>
                    <a:cubicBezTo>
                      <a:pt x="439" y="5630"/>
                      <a:pt x="6630" y="29919"/>
                      <a:pt x="12535" y="23633"/>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29" name="Freeform: Shape 228">
                <a:extLst>
                  <a:ext uri="{FF2B5EF4-FFF2-40B4-BE49-F238E27FC236}">
                    <a16:creationId xmlns:a16="http://schemas.microsoft.com/office/drawing/2014/main" id="{DCA681AB-01D1-EE40-1F8E-B884E5253619}"/>
                  </a:ext>
                </a:extLst>
              </p:cNvPr>
              <p:cNvSpPr/>
              <p:nvPr/>
            </p:nvSpPr>
            <p:spPr>
              <a:xfrm>
                <a:off x="3915893" y="4096019"/>
                <a:ext cx="23713" cy="14008"/>
              </a:xfrm>
              <a:custGeom>
                <a:avLst/>
                <a:gdLst>
                  <a:gd name="connsiteX0" fmla="*/ 18392 w 23713"/>
                  <a:gd name="connsiteY0" fmla="*/ 11580 h 14008"/>
                  <a:gd name="connsiteX1" fmla="*/ 20487 w 23713"/>
                  <a:gd name="connsiteY1" fmla="*/ 55 h 14008"/>
                  <a:gd name="connsiteX2" fmla="*/ 1628 w 23713"/>
                  <a:gd name="connsiteY2" fmla="*/ 5865 h 14008"/>
                  <a:gd name="connsiteX3" fmla="*/ 18392 w 23713"/>
                  <a:gd name="connsiteY3" fmla="*/ 11580 h 14008"/>
                </a:gdLst>
                <a:ahLst/>
                <a:cxnLst>
                  <a:cxn ang="0">
                    <a:pos x="connsiteX0" y="connsiteY0"/>
                  </a:cxn>
                  <a:cxn ang="0">
                    <a:pos x="connsiteX1" y="connsiteY1"/>
                  </a:cxn>
                  <a:cxn ang="0">
                    <a:pos x="connsiteX2" y="connsiteY2"/>
                  </a:cxn>
                  <a:cxn ang="0">
                    <a:pos x="connsiteX3" y="connsiteY3"/>
                  </a:cxn>
                </a:cxnLst>
                <a:rect l="l" t="t" r="r" b="b"/>
                <a:pathLst>
                  <a:path w="23713" h="14008">
                    <a:moveTo>
                      <a:pt x="18392" y="11580"/>
                    </a:moveTo>
                    <a:cubicBezTo>
                      <a:pt x="19630" y="8627"/>
                      <a:pt x="28298" y="-803"/>
                      <a:pt x="20487" y="55"/>
                    </a:cubicBezTo>
                    <a:cubicBezTo>
                      <a:pt x="6772" y="1579"/>
                      <a:pt x="-4278" y="1484"/>
                      <a:pt x="1628" y="5865"/>
                    </a:cubicBezTo>
                    <a:cubicBezTo>
                      <a:pt x="6676" y="8627"/>
                      <a:pt x="14106" y="18533"/>
                      <a:pt x="18392" y="11580"/>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grpSp>
        <p:grpSp>
          <p:nvGrpSpPr>
            <p:cNvPr id="218" name="Graphic 166">
              <a:extLst>
                <a:ext uri="{FF2B5EF4-FFF2-40B4-BE49-F238E27FC236}">
                  <a16:creationId xmlns:a16="http://schemas.microsoft.com/office/drawing/2014/main" id="{A142B6B4-D246-24C8-E5FD-CA4B830D11D5}"/>
                </a:ext>
              </a:extLst>
            </p:cNvPr>
            <p:cNvGrpSpPr/>
            <p:nvPr/>
          </p:nvGrpSpPr>
          <p:grpSpPr>
            <a:xfrm>
              <a:off x="4456523" y="3007581"/>
              <a:ext cx="817990" cy="547600"/>
              <a:chOff x="4456523" y="3007581"/>
              <a:chExt cx="817990" cy="547600"/>
            </a:xfrm>
            <a:grpFill/>
          </p:grpSpPr>
          <p:sp>
            <p:nvSpPr>
              <p:cNvPr id="219" name="Freeform: Shape 218">
                <a:extLst>
                  <a:ext uri="{FF2B5EF4-FFF2-40B4-BE49-F238E27FC236}">
                    <a16:creationId xmlns:a16="http://schemas.microsoft.com/office/drawing/2014/main" id="{71EB9AE2-9232-BD3B-DF90-1A1D2E211CD9}"/>
                  </a:ext>
                </a:extLst>
              </p:cNvPr>
              <p:cNvSpPr/>
              <p:nvPr/>
            </p:nvSpPr>
            <p:spPr>
              <a:xfrm>
                <a:off x="5242538" y="3273162"/>
                <a:ext cx="31975" cy="18383"/>
              </a:xfrm>
              <a:custGeom>
                <a:avLst/>
                <a:gdLst>
                  <a:gd name="connsiteX0" fmla="*/ 12007 w 31975"/>
                  <a:gd name="connsiteY0" fmla="*/ 237 h 18383"/>
                  <a:gd name="connsiteX1" fmla="*/ 100 w 31975"/>
                  <a:gd name="connsiteY1" fmla="*/ 7667 h 18383"/>
                  <a:gd name="connsiteX2" fmla="*/ 6292 w 31975"/>
                  <a:gd name="connsiteY2" fmla="*/ 13858 h 18383"/>
                  <a:gd name="connsiteX3" fmla="*/ 31438 w 31975"/>
                  <a:gd name="connsiteY3" fmla="*/ 14525 h 18383"/>
                  <a:gd name="connsiteX4" fmla="*/ 23151 w 31975"/>
                  <a:gd name="connsiteY4" fmla="*/ 2809 h 18383"/>
                  <a:gd name="connsiteX5" fmla="*/ 11911 w 31975"/>
                  <a:gd name="connsiteY5" fmla="*/ 237 h 1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75" h="18383">
                    <a:moveTo>
                      <a:pt x="12007" y="237"/>
                    </a:moveTo>
                    <a:cubicBezTo>
                      <a:pt x="9435" y="1190"/>
                      <a:pt x="-1138" y="523"/>
                      <a:pt x="100" y="7667"/>
                    </a:cubicBezTo>
                    <a:cubicBezTo>
                      <a:pt x="577" y="10429"/>
                      <a:pt x="3339" y="13192"/>
                      <a:pt x="6292" y="13858"/>
                    </a:cubicBezTo>
                    <a:cubicBezTo>
                      <a:pt x="26389" y="18049"/>
                      <a:pt x="34200" y="21193"/>
                      <a:pt x="31438" y="14525"/>
                    </a:cubicBezTo>
                    <a:cubicBezTo>
                      <a:pt x="30866" y="13573"/>
                      <a:pt x="29056" y="6429"/>
                      <a:pt x="23151" y="2809"/>
                    </a:cubicBezTo>
                    <a:cubicBezTo>
                      <a:pt x="22198" y="2428"/>
                      <a:pt x="17912" y="-905"/>
                      <a:pt x="11911" y="237"/>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20" name="Freeform: Shape 219">
                <a:extLst>
                  <a:ext uri="{FF2B5EF4-FFF2-40B4-BE49-F238E27FC236}">
                    <a16:creationId xmlns:a16="http://schemas.microsoft.com/office/drawing/2014/main" id="{3B2FFF27-1C90-DAEC-21E1-2D78FADC9D13}"/>
                  </a:ext>
                </a:extLst>
              </p:cNvPr>
              <p:cNvSpPr/>
              <p:nvPr/>
            </p:nvSpPr>
            <p:spPr>
              <a:xfrm>
                <a:off x="5157970" y="3282905"/>
                <a:ext cx="65713" cy="47494"/>
              </a:xfrm>
              <a:custGeom>
                <a:avLst/>
                <a:gdLst>
                  <a:gd name="connsiteX0" fmla="*/ 44188 w 65713"/>
                  <a:gd name="connsiteY0" fmla="*/ 305 h 47494"/>
                  <a:gd name="connsiteX1" fmla="*/ 19804 w 65713"/>
                  <a:gd name="connsiteY1" fmla="*/ 8687 h 47494"/>
                  <a:gd name="connsiteX2" fmla="*/ 1706 w 65713"/>
                  <a:gd name="connsiteY2" fmla="*/ 30023 h 47494"/>
                  <a:gd name="connsiteX3" fmla="*/ 10374 w 65713"/>
                  <a:gd name="connsiteY3" fmla="*/ 31166 h 47494"/>
                  <a:gd name="connsiteX4" fmla="*/ 21899 w 65713"/>
                  <a:gd name="connsiteY4" fmla="*/ 30404 h 47494"/>
                  <a:gd name="connsiteX5" fmla="*/ 28376 w 65713"/>
                  <a:gd name="connsiteY5" fmla="*/ 41072 h 47494"/>
                  <a:gd name="connsiteX6" fmla="*/ 47235 w 65713"/>
                  <a:gd name="connsiteY6" fmla="*/ 44882 h 47494"/>
                  <a:gd name="connsiteX7" fmla="*/ 62666 w 65713"/>
                  <a:gd name="connsiteY7" fmla="*/ 13830 h 47494"/>
                  <a:gd name="connsiteX8" fmla="*/ 46759 w 65713"/>
                  <a:gd name="connsiteY8" fmla="*/ 6877 h 47494"/>
                  <a:gd name="connsiteX9" fmla="*/ 44188 w 65713"/>
                  <a:gd name="connsiteY9" fmla="*/ 210 h 47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713" h="47494">
                    <a:moveTo>
                      <a:pt x="44188" y="305"/>
                    </a:moveTo>
                    <a:cubicBezTo>
                      <a:pt x="33710" y="2877"/>
                      <a:pt x="25423" y="4210"/>
                      <a:pt x="19804" y="8687"/>
                    </a:cubicBezTo>
                    <a:cubicBezTo>
                      <a:pt x="3516" y="21736"/>
                      <a:pt x="-3533" y="25070"/>
                      <a:pt x="1706" y="30023"/>
                    </a:cubicBezTo>
                    <a:cubicBezTo>
                      <a:pt x="2659" y="30404"/>
                      <a:pt x="5992" y="33642"/>
                      <a:pt x="10374" y="31166"/>
                    </a:cubicBezTo>
                    <a:cubicBezTo>
                      <a:pt x="12184" y="30595"/>
                      <a:pt x="20375" y="23070"/>
                      <a:pt x="21899" y="30404"/>
                    </a:cubicBezTo>
                    <a:cubicBezTo>
                      <a:pt x="22375" y="31642"/>
                      <a:pt x="22280" y="37929"/>
                      <a:pt x="28376" y="41072"/>
                    </a:cubicBezTo>
                    <a:cubicBezTo>
                      <a:pt x="34091" y="43167"/>
                      <a:pt x="42568" y="51740"/>
                      <a:pt x="47235" y="44882"/>
                    </a:cubicBezTo>
                    <a:cubicBezTo>
                      <a:pt x="64285" y="19927"/>
                      <a:pt x="69810" y="14592"/>
                      <a:pt x="62666" y="13830"/>
                    </a:cubicBezTo>
                    <a:cubicBezTo>
                      <a:pt x="57046" y="12497"/>
                      <a:pt x="44092" y="14688"/>
                      <a:pt x="46759" y="6877"/>
                    </a:cubicBezTo>
                    <a:cubicBezTo>
                      <a:pt x="46759" y="6877"/>
                      <a:pt x="50664" y="-1410"/>
                      <a:pt x="44188" y="210"/>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21" name="Freeform: Shape 220">
                <a:extLst>
                  <a:ext uri="{FF2B5EF4-FFF2-40B4-BE49-F238E27FC236}">
                    <a16:creationId xmlns:a16="http://schemas.microsoft.com/office/drawing/2014/main" id="{8D6014A0-CEE1-8AEB-FF1B-9D843BBAD4DB}"/>
                  </a:ext>
                </a:extLst>
              </p:cNvPr>
              <p:cNvSpPr/>
              <p:nvPr/>
            </p:nvSpPr>
            <p:spPr>
              <a:xfrm>
                <a:off x="5087049" y="3341794"/>
                <a:ext cx="24979" cy="17687"/>
              </a:xfrm>
              <a:custGeom>
                <a:avLst/>
                <a:gdLst>
                  <a:gd name="connsiteX0" fmla="*/ 12619 w 24979"/>
                  <a:gd name="connsiteY0" fmla="*/ 852 h 17687"/>
                  <a:gd name="connsiteX1" fmla="*/ 904 w 24979"/>
                  <a:gd name="connsiteY1" fmla="*/ 10377 h 17687"/>
                  <a:gd name="connsiteX2" fmla="*/ 15477 w 24979"/>
                  <a:gd name="connsiteY2" fmla="*/ 15330 h 17687"/>
                  <a:gd name="connsiteX3" fmla="*/ 24716 w 24979"/>
                  <a:gd name="connsiteY3" fmla="*/ 2091 h 17687"/>
                  <a:gd name="connsiteX4" fmla="*/ 18144 w 24979"/>
                  <a:gd name="connsiteY4" fmla="*/ 90 h 17687"/>
                  <a:gd name="connsiteX5" fmla="*/ 12524 w 24979"/>
                  <a:gd name="connsiteY5" fmla="*/ 947 h 1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79" h="17687">
                    <a:moveTo>
                      <a:pt x="12619" y="852"/>
                    </a:moveTo>
                    <a:cubicBezTo>
                      <a:pt x="5571" y="1900"/>
                      <a:pt x="47" y="11330"/>
                      <a:pt x="904" y="10377"/>
                    </a:cubicBezTo>
                    <a:cubicBezTo>
                      <a:pt x="-3668" y="16664"/>
                      <a:pt x="10334" y="20378"/>
                      <a:pt x="15477" y="15330"/>
                    </a:cubicBezTo>
                    <a:cubicBezTo>
                      <a:pt x="21573" y="9234"/>
                      <a:pt x="26145" y="5329"/>
                      <a:pt x="24716" y="2091"/>
                    </a:cubicBezTo>
                    <a:cubicBezTo>
                      <a:pt x="24050" y="566"/>
                      <a:pt x="21097" y="-291"/>
                      <a:pt x="18144" y="90"/>
                    </a:cubicBezTo>
                    <a:lnTo>
                      <a:pt x="12524" y="947"/>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22" name="Freeform: Shape 221">
                <a:extLst>
                  <a:ext uri="{FF2B5EF4-FFF2-40B4-BE49-F238E27FC236}">
                    <a16:creationId xmlns:a16="http://schemas.microsoft.com/office/drawing/2014/main" id="{35EB0EF2-87D1-F82B-B111-410A8B18CD1A}"/>
                  </a:ext>
                </a:extLst>
              </p:cNvPr>
              <p:cNvSpPr/>
              <p:nvPr/>
            </p:nvSpPr>
            <p:spPr>
              <a:xfrm>
                <a:off x="4456523" y="3007581"/>
                <a:ext cx="756967" cy="547600"/>
              </a:xfrm>
              <a:custGeom>
                <a:avLst/>
                <a:gdLst>
                  <a:gd name="connsiteX0" fmla="*/ 754779 w 756967"/>
                  <a:gd name="connsiteY0" fmla="*/ 102941 h 547600"/>
                  <a:gd name="connsiteX1" fmla="*/ 745445 w 756967"/>
                  <a:gd name="connsiteY1" fmla="*/ 90272 h 547600"/>
                  <a:gd name="connsiteX2" fmla="*/ 714203 w 756967"/>
                  <a:gd name="connsiteY2" fmla="*/ 106560 h 547600"/>
                  <a:gd name="connsiteX3" fmla="*/ 672864 w 756967"/>
                  <a:gd name="connsiteY3" fmla="*/ 102179 h 547600"/>
                  <a:gd name="connsiteX4" fmla="*/ 647432 w 756967"/>
                  <a:gd name="connsiteY4" fmla="*/ 106751 h 547600"/>
                  <a:gd name="connsiteX5" fmla="*/ 641908 w 756967"/>
                  <a:gd name="connsiteY5" fmla="*/ 79223 h 547600"/>
                  <a:gd name="connsiteX6" fmla="*/ 606189 w 756967"/>
                  <a:gd name="connsiteY6" fmla="*/ 69603 h 547600"/>
                  <a:gd name="connsiteX7" fmla="*/ 598569 w 756967"/>
                  <a:gd name="connsiteY7" fmla="*/ 72461 h 547600"/>
                  <a:gd name="connsiteX8" fmla="*/ 598855 w 756967"/>
                  <a:gd name="connsiteY8" fmla="*/ 81605 h 547600"/>
                  <a:gd name="connsiteX9" fmla="*/ 557802 w 756967"/>
                  <a:gd name="connsiteY9" fmla="*/ 81605 h 547600"/>
                  <a:gd name="connsiteX10" fmla="*/ 549229 w 756967"/>
                  <a:gd name="connsiteY10" fmla="*/ 71985 h 547600"/>
                  <a:gd name="connsiteX11" fmla="*/ 526560 w 756967"/>
                  <a:gd name="connsiteY11" fmla="*/ 74747 h 547600"/>
                  <a:gd name="connsiteX12" fmla="*/ 514844 w 756967"/>
                  <a:gd name="connsiteY12" fmla="*/ 61602 h 547600"/>
                  <a:gd name="connsiteX13" fmla="*/ 478554 w 756967"/>
                  <a:gd name="connsiteY13" fmla="*/ 55030 h 547600"/>
                  <a:gd name="connsiteX14" fmla="*/ 477792 w 756967"/>
                  <a:gd name="connsiteY14" fmla="*/ 43410 h 547600"/>
                  <a:gd name="connsiteX15" fmla="*/ 452932 w 756967"/>
                  <a:gd name="connsiteY15" fmla="*/ 29122 h 547600"/>
                  <a:gd name="connsiteX16" fmla="*/ 452932 w 756967"/>
                  <a:gd name="connsiteY16" fmla="*/ 29122 h 547600"/>
                  <a:gd name="connsiteX17" fmla="*/ 387400 w 756967"/>
                  <a:gd name="connsiteY17" fmla="*/ 23026 h 547600"/>
                  <a:gd name="connsiteX18" fmla="*/ 377875 w 756967"/>
                  <a:gd name="connsiteY18" fmla="*/ 27884 h 547600"/>
                  <a:gd name="connsiteX19" fmla="*/ 342537 w 756967"/>
                  <a:gd name="connsiteY19" fmla="*/ 19026 h 547600"/>
                  <a:gd name="connsiteX20" fmla="*/ 283863 w 756967"/>
                  <a:gd name="connsiteY20" fmla="*/ 26836 h 547600"/>
                  <a:gd name="connsiteX21" fmla="*/ 212807 w 756967"/>
                  <a:gd name="connsiteY21" fmla="*/ 11882 h 547600"/>
                  <a:gd name="connsiteX22" fmla="*/ 209854 w 756967"/>
                  <a:gd name="connsiteY22" fmla="*/ 9405 h 547600"/>
                  <a:gd name="connsiteX23" fmla="*/ 194042 w 756967"/>
                  <a:gd name="connsiteY23" fmla="*/ 14549 h 547600"/>
                  <a:gd name="connsiteX24" fmla="*/ 119747 w 756967"/>
                  <a:gd name="connsiteY24" fmla="*/ 10548 h 547600"/>
                  <a:gd name="connsiteX25" fmla="*/ 104983 w 756967"/>
                  <a:gd name="connsiteY25" fmla="*/ 4071 h 547600"/>
                  <a:gd name="connsiteX26" fmla="*/ 92887 w 756967"/>
                  <a:gd name="connsiteY26" fmla="*/ 2071 h 547600"/>
                  <a:gd name="connsiteX27" fmla="*/ 78409 w 756967"/>
                  <a:gd name="connsiteY27" fmla="*/ 928 h 547600"/>
                  <a:gd name="connsiteX28" fmla="*/ 57930 w 756967"/>
                  <a:gd name="connsiteY28" fmla="*/ 16358 h 547600"/>
                  <a:gd name="connsiteX29" fmla="*/ 63836 w 756967"/>
                  <a:gd name="connsiteY29" fmla="*/ 19883 h 547600"/>
                  <a:gd name="connsiteX30" fmla="*/ 68027 w 756967"/>
                  <a:gd name="connsiteY30" fmla="*/ 27884 h 547600"/>
                  <a:gd name="connsiteX31" fmla="*/ 60883 w 756967"/>
                  <a:gd name="connsiteY31" fmla="*/ 29789 h 547600"/>
                  <a:gd name="connsiteX32" fmla="*/ 43261 w 756967"/>
                  <a:gd name="connsiteY32" fmla="*/ 32646 h 547600"/>
                  <a:gd name="connsiteX33" fmla="*/ 31450 w 756967"/>
                  <a:gd name="connsiteY33" fmla="*/ 32265 h 547600"/>
                  <a:gd name="connsiteX34" fmla="*/ 19068 w 756967"/>
                  <a:gd name="connsiteY34" fmla="*/ 36361 h 547600"/>
                  <a:gd name="connsiteX35" fmla="*/ 10972 w 756967"/>
                  <a:gd name="connsiteY35" fmla="*/ 42076 h 547600"/>
                  <a:gd name="connsiteX36" fmla="*/ 304 w 756967"/>
                  <a:gd name="connsiteY36" fmla="*/ 60173 h 547600"/>
                  <a:gd name="connsiteX37" fmla="*/ 5161 w 756967"/>
                  <a:gd name="connsiteY37" fmla="*/ 62650 h 547600"/>
                  <a:gd name="connsiteX38" fmla="*/ 9733 w 756967"/>
                  <a:gd name="connsiteY38" fmla="*/ 67889 h 547600"/>
                  <a:gd name="connsiteX39" fmla="*/ 14782 w 756967"/>
                  <a:gd name="connsiteY39" fmla="*/ 72556 h 547600"/>
                  <a:gd name="connsiteX40" fmla="*/ 15544 w 756967"/>
                  <a:gd name="connsiteY40" fmla="*/ 80462 h 547600"/>
                  <a:gd name="connsiteX41" fmla="*/ 21068 w 756967"/>
                  <a:gd name="connsiteY41" fmla="*/ 86843 h 547600"/>
                  <a:gd name="connsiteX42" fmla="*/ 31641 w 756967"/>
                  <a:gd name="connsiteY42" fmla="*/ 81510 h 547600"/>
                  <a:gd name="connsiteX43" fmla="*/ 30212 w 756967"/>
                  <a:gd name="connsiteY43" fmla="*/ 108465 h 547600"/>
                  <a:gd name="connsiteX44" fmla="*/ 31355 w 756967"/>
                  <a:gd name="connsiteY44" fmla="*/ 108465 h 547600"/>
                  <a:gd name="connsiteX45" fmla="*/ 24688 w 756967"/>
                  <a:gd name="connsiteY45" fmla="*/ 126848 h 547600"/>
                  <a:gd name="connsiteX46" fmla="*/ 27450 w 756967"/>
                  <a:gd name="connsiteY46" fmla="*/ 140755 h 547600"/>
                  <a:gd name="connsiteX47" fmla="*/ 68979 w 756967"/>
                  <a:gd name="connsiteY47" fmla="*/ 120943 h 547600"/>
                  <a:gd name="connsiteX48" fmla="*/ 77361 w 756967"/>
                  <a:gd name="connsiteY48" fmla="*/ 147137 h 547600"/>
                  <a:gd name="connsiteX49" fmla="*/ 161943 w 756967"/>
                  <a:gd name="connsiteY49" fmla="*/ 132849 h 547600"/>
                  <a:gd name="connsiteX50" fmla="*/ 186899 w 756967"/>
                  <a:gd name="connsiteY50" fmla="*/ 165044 h 547600"/>
                  <a:gd name="connsiteX51" fmla="*/ 146417 w 756967"/>
                  <a:gd name="connsiteY51" fmla="*/ 204287 h 547600"/>
                  <a:gd name="connsiteX52" fmla="*/ 140512 w 756967"/>
                  <a:gd name="connsiteY52" fmla="*/ 295917 h 547600"/>
                  <a:gd name="connsiteX53" fmla="*/ 108317 w 756967"/>
                  <a:gd name="connsiteY53" fmla="*/ 300680 h 547600"/>
                  <a:gd name="connsiteX54" fmla="*/ 136892 w 756967"/>
                  <a:gd name="connsiteY54" fmla="*/ 343542 h 547600"/>
                  <a:gd name="connsiteX55" fmla="*/ 117842 w 756967"/>
                  <a:gd name="connsiteY55" fmla="*/ 381642 h 547600"/>
                  <a:gd name="connsiteX56" fmla="*/ 141655 w 756967"/>
                  <a:gd name="connsiteY56" fmla="*/ 403073 h 547600"/>
                  <a:gd name="connsiteX57" fmla="*/ 134511 w 756967"/>
                  <a:gd name="connsiteY57" fmla="*/ 418504 h 547600"/>
                  <a:gd name="connsiteX58" fmla="*/ 111841 w 756967"/>
                  <a:gd name="connsiteY58" fmla="*/ 433363 h 547600"/>
                  <a:gd name="connsiteX59" fmla="*/ 113175 w 756967"/>
                  <a:gd name="connsiteY59" fmla="*/ 468986 h 547600"/>
                  <a:gd name="connsiteX60" fmla="*/ 140131 w 756967"/>
                  <a:gd name="connsiteY60" fmla="*/ 463367 h 547600"/>
                  <a:gd name="connsiteX61" fmla="*/ 143750 w 756967"/>
                  <a:gd name="connsiteY61" fmla="*/ 464986 h 547600"/>
                  <a:gd name="connsiteX62" fmla="*/ 170896 w 756967"/>
                  <a:gd name="connsiteY62" fmla="*/ 487941 h 547600"/>
                  <a:gd name="connsiteX63" fmla="*/ 178326 w 756967"/>
                  <a:gd name="connsiteY63" fmla="*/ 504134 h 547600"/>
                  <a:gd name="connsiteX64" fmla="*/ 185279 w 756967"/>
                  <a:gd name="connsiteY64" fmla="*/ 509468 h 547600"/>
                  <a:gd name="connsiteX65" fmla="*/ 184136 w 756967"/>
                  <a:gd name="connsiteY65" fmla="*/ 513849 h 547600"/>
                  <a:gd name="connsiteX66" fmla="*/ 183279 w 756967"/>
                  <a:gd name="connsiteY66" fmla="*/ 518040 h 547600"/>
                  <a:gd name="connsiteX67" fmla="*/ 201948 w 756967"/>
                  <a:gd name="connsiteY67" fmla="*/ 537471 h 547600"/>
                  <a:gd name="connsiteX68" fmla="*/ 218903 w 756967"/>
                  <a:gd name="connsiteY68" fmla="*/ 545948 h 547600"/>
                  <a:gd name="connsiteX69" fmla="*/ 231857 w 756967"/>
                  <a:gd name="connsiteY69" fmla="*/ 541567 h 547600"/>
                  <a:gd name="connsiteX70" fmla="*/ 241858 w 756967"/>
                  <a:gd name="connsiteY70" fmla="*/ 535185 h 547600"/>
                  <a:gd name="connsiteX71" fmla="*/ 255860 w 756967"/>
                  <a:gd name="connsiteY71" fmla="*/ 518707 h 547600"/>
                  <a:gd name="connsiteX72" fmla="*/ 282815 w 756967"/>
                  <a:gd name="connsiteY72" fmla="*/ 510420 h 547600"/>
                  <a:gd name="connsiteX73" fmla="*/ 297579 w 756967"/>
                  <a:gd name="connsiteY73" fmla="*/ 500419 h 547600"/>
                  <a:gd name="connsiteX74" fmla="*/ 348728 w 756967"/>
                  <a:gd name="connsiteY74" fmla="*/ 500705 h 547600"/>
                  <a:gd name="connsiteX75" fmla="*/ 376160 w 756967"/>
                  <a:gd name="connsiteY75" fmla="*/ 498228 h 547600"/>
                  <a:gd name="connsiteX76" fmla="*/ 388733 w 756967"/>
                  <a:gd name="connsiteY76" fmla="*/ 501467 h 547600"/>
                  <a:gd name="connsiteX77" fmla="*/ 401211 w 756967"/>
                  <a:gd name="connsiteY77" fmla="*/ 497180 h 547600"/>
                  <a:gd name="connsiteX78" fmla="*/ 424071 w 756967"/>
                  <a:gd name="connsiteY78" fmla="*/ 497466 h 547600"/>
                  <a:gd name="connsiteX79" fmla="*/ 431310 w 756967"/>
                  <a:gd name="connsiteY79" fmla="*/ 497180 h 547600"/>
                  <a:gd name="connsiteX80" fmla="*/ 445216 w 756967"/>
                  <a:gd name="connsiteY80" fmla="*/ 480512 h 547600"/>
                  <a:gd name="connsiteX81" fmla="*/ 450550 w 756967"/>
                  <a:gd name="connsiteY81" fmla="*/ 467367 h 547600"/>
                  <a:gd name="connsiteX82" fmla="*/ 471791 w 756967"/>
                  <a:gd name="connsiteY82" fmla="*/ 446317 h 547600"/>
                  <a:gd name="connsiteX83" fmla="*/ 513320 w 756967"/>
                  <a:gd name="connsiteY83" fmla="*/ 436506 h 547600"/>
                  <a:gd name="connsiteX84" fmla="*/ 511320 w 756967"/>
                  <a:gd name="connsiteY84" fmla="*/ 423362 h 547600"/>
                  <a:gd name="connsiteX85" fmla="*/ 538657 w 756967"/>
                  <a:gd name="connsiteY85" fmla="*/ 378785 h 547600"/>
                  <a:gd name="connsiteX86" fmla="*/ 567327 w 756967"/>
                  <a:gd name="connsiteY86" fmla="*/ 361163 h 547600"/>
                  <a:gd name="connsiteX87" fmla="*/ 565517 w 756967"/>
                  <a:gd name="connsiteY87" fmla="*/ 351448 h 547600"/>
                  <a:gd name="connsiteX88" fmla="*/ 545039 w 756967"/>
                  <a:gd name="connsiteY88" fmla="*/ 334208 h 547600"/>
                  <a:gd name="connsiteX89" fmla="*/ 541610 w 756967"/>
                  <a:gd name="connsiteY89" fmla="*/ 301727 h 547600"/>
                  <a:gd name="connsiteX90" fmla="*/ 588949 w 756967"/>
                  <a:gd name="connsiteY90" fmla="*/ 234957 h 547600"/>
                  <a:gd name="connsiteX91" fmla="*/ 605522 w 756967"/>
                  <a:gd name="connsiteY91" fmla="*/ 224861 h 547600"/>
                  <a:gd name="connsiteX92" fmla="*/ 605237 w 756967"/>
                  <a:gd name="connsiteY92" fmla="*/ 217145 h 547600"/>
                  <a:gd name="connsiteX93" fmla="*/ 605332 w 756967"/>
                  <a:gd name="connsiteY93" fmla="*/ 209430 h 547600"/>
                  <a:gd name="connsiteX94" fmla="*/ 614952 w 756967"/>
                  <a:gd name="connsiteY94" fmla="*/ 199810 h 547600"/>
                  <a:gd name="connsiteX95" fmla="*/ 688009 w 756967"/>
                  <a:gd name="connsiteY95" fmla="*/ 175997 h 547600"/>
                  <a:gd name="connsiteX96" fmla="*/ 706678 w 756967"/>
                  <a:gd name="connsiteY96" fmla="*/ 159138 h 547600"/>
                  <a:gd name="connsiteX97" fmla="*/ 750969 w 756967"/>
                  <a:gd name="connsiteY97" fmla="*/ 133040 h 547600"/>
                  <a:gd name="connsiteX98" fmla="*/ 747921 w 756967"/>
                  <a:gd name="connsiteY98" fmla="*/ 122943 h 547600"/>
                  <a:gd name="connsiteX99" fmla="*/ 750016 w 756967"/>
                  <a:gd name="connsiteY99" fmla="*/ 111989 h 547600"/>
                  <a:gd name="connsiteX100" fmla="*/ 750302 w 756967"/>
                  <a:gd name="connsiteY100" fmla="*/ 111989 h 547600"/>
                  <a:gd name="connsiteX101" fmla="*/ 754589 w 756967"/>
                  <a:gd name="connsiteY101" fmla="*/ 102750 h 54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756967" h="547600">
                    <a:moveTo>
                      <a:pt x="754779" y="102941"/>
                    </a:moveTo>
                    <a:cubicBezTo>
                      <a:pt x="750302" y="97226"/>
                      <a:pt x="747349" y="93606"/>
                      <a:pt x="745445" y="90272"/>
                    </a:cubicBezTo>
                    <a:lnTo>
                      <a:pt x="714203" y="106560"/>
                    </a:lnTo>
                    <a:lnTo>
                      <a:pt x="672864" y="102179"/>
                    </a:lnTo>
                    <a:lnTo>
                      <a:pt x="647432" y="106751"/>
                    </a:lnTo>
                    <a:lnTo>
                      <a:pt x="641908" y="79223"/>
                    </a:lnTo>
                    <a:lnTo>
                      <a:pt x="606189" y="69603"/>
                    </a:lnTo>
                    <a:lnTo>
                      <a:pt x="598569" y="72461"/>
                    </a:lnTo>
                    <a:lnTo>
                      <a:pt x="598855" y="81605"/>
                    </a:lnTo>
                    <a:lnTo>
                      <a:pt x="557802" y="81605"/>
                    </a:lnTo>
                    <a:cubicBezTo>
                      <a:pt x="557802" y="81605"/>
                      <a:pt x="549229" y="71985"/>
                      <a:pt x="549229" y="71985"/>
                    </a:cubicBezTo>
                    <a:lnTo>
                      <a:pt x="526560" y="74747"/>
                    </a:lnTo>
                    <a:lnTo>
                      <a:pt x="514844" y="61602"/>
                    </a:lnTo>
                    <a:lnTo>
                      <a:pt x="478554" y="55030"/>
                    </a:lnTo>
                    <a:lnTo>
                      <a:pt x="477792" y="43410"/>
                    </a:lnTo>
                    <a:lnTo>
                      <a:pt x="452932" y="29122"/>
                    </a:lnTo>
                    <a:lnTo>
                      <a:pt x="452932" y="29122"/>
                    </a:lnTo>
                    <a:cubicBezTo>
                      <a:pt x="400068" y="43124"/>
                      <a:pt x="408926" y="21026"/>
                      <a:pt x="387400" y="23026"/>
                    </a:cubicBezTo>
                    <a:cubicBezTo>
                      <a:pt x="386447" y="23312"/>
                      <a:pt x="380446" y="23026"/>
                      <a:pt x="377875" y="27884"/>
                    </a:cubicBezTo>
                    <a:cubicBezTo>
                      <a:pt x="372731" y="37694"/>
                      <a:pt x="349586" y="17882"/>
                      <a:pt x="342537" y="19026"/>
                    </a:cubicBezTo>
                    <a:cubicBezTo>
                      <a:pt x="293388" y="27312"/>
                      <a:pt x="291102" y="28551"/>
                      <a:pt x="283863" y="26836"/>
                    </a:cubicBezTo>
                    <a:cubicBezTo>
                      <a:pt x="207377" y="8643"/>
                      <a:pt x="220712" y="18644"/>
                      <a:pt x="212807" y="11882"/>
                    </a:cubicBezTo>
                    <a:lnTo>
                      <a:pt x="209854" y="9405"/>
                    </a:lnTo>
                    <a:cubicBezTo>
                      <a:pt x="203948" y="4357"/>
                      <a:pt x="202043" y="14644"/>
                      <a:pt x="194042" y="14549"/>
                    </a:cubicBezTo>
                    <a:cubicBezTo>
                      <a:pt x="125367" y="13787"/>
                      <a:pt x="125557" y="14930"/>
                      <a:pt x="119747" y="10548"/>
                    </a:cubicBezTo>
                    <a:cubicBezTo>
                      <a:pt x="116223" y="8453"/>
                      <a:pt x="109079" y="261"/>
                      <a:pt x="104983" y="4071"/>
                    </a:cubicBezTo>
                    <a:cubicBezTo>
                      <a:pt x="100507" y="8262"/>
                      <a:pt x="98697" y="-3073"/>
                      <a:pt x="92887" y="2071"/>
                    </a:cubicBezTo>
                    <a:cubicBezTo>
                      <a:pt x="87362" y="7024"/>
                      <a:pt x="85362" y="-2977"/>
                      <a:pt x="78409" y="928"/>
                    </a:cubicBezTo>
                    <a:cubicBezTo>
                      <a:pt x="62407" y="9977"/>
                      <a:pt x="57644" y="11691"/>
                      <a:pt x="57930" y="16358"/>
                    </a:cubicBezTo>
                    <a:cubicBezTo>
                      <a:pt x="58120" y="20168"/>
                      <a:pt x="64788" y="20168"/>
                      <a:pt x="63836" y="19883"/>
                    </a:cubicBezTo>
                    <a:cubicBezTo>
                      <a:pt x="70217" y="19692"/>
                      <a:pt x="68217" y="28836"/>
                      <a:pt x="68027" y="27884"/>
                    </a:cubicBezTo>
                    <a:cubicBezTo>
                      <a:pt x="67169" y="33980"/>
                      <a:pt x="59930" y="29693"/>
                      <a:pt x="60883" y="29789"/>
                    </a:cubicBezTo>
                    <a:cubicBezTo>
                      <a:pt x="54025" y="26169"/>
                      <a:pt x="42309" y="32932"/>
                      <a:pt x="43261" y="32646"/>
                    </a:cubicBezTo>
                    <a:cubicBezTo>
                      <a:pt x="37642" y="35027"/>
                      <a:pt x="30498" y="32075"/>
                      <a:pt x="31450" y="32265"/>
                    </a:cubicBezTo>
                    <a:cubicBezTo>
                      <a:pt x="24307" y="29598"/>
                      <a:pt x="16401" y="33027"/>
                      <a:pt x="19068" y="36361"/>
                    </a:cubicBezTo>
                    <a:cubicBezTo>
                      <a:pt x="21925" y="40076"/>
                      <a:pt x="10019" y="42457"/>
                      <a:pt x="10972" y="42076"/>
                    </a:cubicBezTo>
                    <a:cubicBezTo>
                      <a:pt x="2971" y="44362"/>
                      <a:pt x="-77" y="61126"/>
                      <a:pt x="304" y="60173"/>
                    </a:cubicBezTo>
                    <a:cubicBezTo>
                      <a:pt x="-1601" y="65984"/>
                      <a:pt x="6114" y="62650"/>
                      <a:pt x="5161" y="62650"/>
                    </a:cubicBezTo>
                    <a:cubicBezTo>
                      <a:pt x="10972" y="60269"/>
                      <a:pt x="10019" y="68841"/>
                      <a:pt x="9733" y="67889"/>
                    </a:cubicBezTo>
                    <a:cubicBezTo>
                      <a:pt x="9448" y="73127"/>
                      <a:pt x="15734" y="72842"/>
                      <a:pt x="14782" y="72556"/>
                    </a:cubicBezTo>
                    <a:cubicBezTo>
                      <a:pt x="21640" y="71603"/>
                      <a:pt x="15258" y="81414"/>
                      <a:pt x="15544" y="80462"/>
                    </a:cubicBezTo>
                    <a:cubicBezTo>
                      <a:pt x="12210" y="86748"/>
                      <a:pt x="16211" y="91987"/>
                      <a:pt x="21068" y="86843"/>
                    </a:cubicBezTo>
                    <a:cubicBezTo>
                      <a:pt x="22211" y="85986"/>
                      <a:pt x="27355" y="77985"/>
                      <a:pt x="31641" y="81510"/>
                    </a:cubicBezTo>
                    <a:cubicBezTo>
                      <a:pt x="38213" y="86843"/>
                      <a:pt x="14401" y="107036"/>
                      <a:pt x="30212" y="108465"/>
                    </a:cubicBezTo>
                    <a:lnTo>
                      <a:pt x="31355" y="108465"/>
                    </a:lnTo>
                    <a:cubicBezTo>
                      <a:pt x="41642" y="109513"/>
                      <a:pt x="22687" y="116657"/>
                      <a:pt x="24688" y="126848"/>
                    </a:cubicBezTo>
                    <a:cubicBezTo>
                      <a:pt x="25640" y="131897"/>
                      <a:pt x="26593" y="136469"/>
                      <a:pt x="27450" y="140755"/>
                    </a:cubicBezTo>
                    <a:lnTo>
                      <a:pt x="68979" y="120943"/>
                    </a:lnTo>
                    <a:lnTo>
                      <a:pt x="77361" y="147137"/>
                    </a:lnTo>
                    <a:lnTo>
                      <a:pt x="161943" y="132849"/>
                    </a:lnTo>
                    <a:lnTo>
                      <a:pt x="186899" y="165044"/>
                    </a:lnTo>
                    <a:lnTo>
                      <a:pt x="146417" y="204287"/>
                    </a:lnTo>
                    <a:lnTo>
                      <a:pt x="140512" y="295917"/>
                    </a:lnTo>
                    <a:lnTo>
                      <a:pt x="108317" y="300680"/>
                    </a:lnTo>
                    <a:lnTo>
                      <a:pt x="136892" y="343542"/>
                    </a:lnTo>
                    <a:lnTo>
                      <a:pt x="117842" y="381642"/>
                    </a:lnTo>
                    <a:lnTo>
                      <a:pt x="141655" y="403073"/>
                    </a:lnTo>
                    <a:lnTo>
                      <a:pt x="134511" y="418504"/>
                    </a:lnTo>
                    <a:lnTo>
                      <a:pt x="111841" y="433363"/>
                    </a:lnTo>
                    <a:lnTo>
                      <a:pt x="113175" y="468986"/>
                    </a:lnTo>
                    <a:cubicBezTo>
                      <a:pt x="132987" y="467748"/>
                      <a:pt x="137654" y="468034"/>
                      <a:pt x="140131" y="463367"/>
                    </a:cubicBezTo>
                    <a:cubicBezTo>
                      <a:pt x="142226" y="459366"/>
                      <a:pt x="144417" y="465938"/>
                      <a:pt x="143750" y="464986"/>
                    </a:cubicBezTo>
                    <a:cubicBezTo>
                      <a:pt x="146989" y="476606"/>
                      <a:pt x="167944" y="476226"/>
                      <a:pt x="170896" y="487941"/>
                    </a:cubicBezTo>
                    <a:cubicBezTo>
                      <a:pt x="173087" y="496799"/>
                      <a:pt x="174325" y="505753"/>
                      <a:pt x="178326" y="504134"/>
                    </a:cubicBezTo>
                    <a:cubicBezTo>
                      <a:pt x="181755" y="502800"/>
                      <a:pt x="186136" y="510420"/>
                      <a:pt x="185279" y="509468"/>
                    </a:cubicBezTo>
                    <a:cubicBezTo>
                      <a:pt x="186803" y="512039"/>
                      <a:pt x="186327" y="514040"/>
                      <a:pt x="184136" y="513849"/>
                    </a:cubicBezTo>
                    <a:cubicBezTo>
                      <a:pt x="181945" y="513659"/>
                      <a:pt x="181565" y="515659"/>
                      <a:pt x="183279" y="518040"/>
                    </a:cubicBezTo>
                    <a:cubicBezTo>
                      <a:pt x="191185" y="529185"/>
                      <a:pt x="194995" y="536900"/>
                      <a:pt x="201948" y="537471"/>
                    </a:cubicBezTo>
                    <a:cubicBezTo>
                      <a:pt x="209473" y="538043"/>
                      <a:pt x="219855" y="546615"/>
                      <a:pt x="218903" y="545948"/>
                    </a:cubicBezTo>
                    <a:cubicBezTo>
                      <a:pt x="224427" y="549758"/>
                      <a:pt x="231571" y="546425"/>
                      <a:pt x="231857" y="541567"/>
                    </a:cubicBezTo>
                    <a:cubicBezTo>
                      <a:pt x="232142" y="536519"/>
                      <a:pt x="238143" y="541853"/>
                      <a:pt x="241858" y="535185"/>
                    </a:cubicBezTo>
                    <a:cubicBezTo>
                      <a:pt x="245573" y="529851"/>
                      <a:pt x="247763" y="520231"/>
                      <a:pt x="255860" y="518707"/>
                    </a:cubicBezTo>
                    <a:cubicBezTo>
                      <a:pt x="268337" y="516326"/>
                      <a:pt x="277672" y="515849"/>
                      <a:pt x="282815" y="510420"/>
                    </a:cubicBezTo>
                    <a:cubicBezTo>
                      <a:pt x="285863" y="507848"/>
                      <a:pt x="289959" y="500705"/>
                      <a:pt x="297579" y="500419"/>
                    </a:cubicBezTo>
                    <a:cubicBezTo>
                      <a:pt x="339013" y="498514"/>
                      <a:pt x="342251" y="497466"/>
                      <a:pt x="348728" y="500705"/>
                    </a:cubicBezTo>
                    <a:cubicBezTo>
                      <a:pt x="356158" y="504419"/>
                      <a:pt x="377113" y="498038"/>
                      <a:pt x="376160" y="498228"/>
                    </a:cubicBezTo>
                    <a:cubicBezTo>
                      <a:pt x="382447" y="496895"/>
                      <a:pt x="389686" y="501848"/>
                      <a:pt x="388733" y="501467"/>
                    </a:cubicBezTo>
                    <a:cubicBezTo>
                      <a:pt x="394829" y="505086"/>
                      <a:pt x="402259" y="496609"/>
                      <a:pt x="401211" y="497180"/>
                    </a:cubicBezTo>
                    <a:cubicBezTo>
                      <a:pt x="413594" y="486131"/>
                      <a:pt x="426452" y="498990"/>
                      <a:pt x="424071" y="497466"/>
                    </a:cubicBezTo>
                    <a:cubicBezTo>
                      <a:pt x="426166" y="499562"/>
                      <a:pt x="429405" y="499466"/>
                      <a:pt x="431310" y="497180"/>
                    </a:cubicBezTo>
                    <a:lnTo>
                      <a:pt x="445216" y="480512"/>
                    </a:lnTo>
                    <a:cubicBezTo>
                      <a:pt x="449503" y="475368"/>
                      <a:pt x="450836" y="466415"/>
                      <a:pt x="450550" y="467367"/>
                    </a:cubicBezTo>
                    <a:cubicBezTo>
                      <a:pt x="452265" y="458985"/>
                      <a:pt x="472744" y="445555"/>
                      <a:pt x="471791" y="446317"/>
                    </a:cubicBezTo>
                    <a:cubicBezTo>
                      <a:pt x="482174" y="438221"/>
                      <a:pt x="518940" y="446698"/>
                      <a:pt x="513320" y="436506"/>
                    </a:cubicBezTo>
                    <a:cubicBezTo>
                      <a:pt x="512939" y="435363"/>
                      <a:pt x="508082" y="429458"/>
                      <a:pt x="511320" y="423362"/>
                    </a:cubicBezTo>
                    <a:cubicBezTo>
                      <a:pt x="532180" y="384119"/>
                      <a:pt x="532275" y="381833"/>
                      <a:pt x="538657" y="378785"/>
                    </a:cubicBezTo>
                    <a:cubicBezTo>
                      <a:pt x="560183" y="368688"/>
                      <a:pt x="564755" y="367545"/>
                      <a:pt x="567327" y="361163"/>
                    </a:cubicBezTo>
                    <a:cubicBezTo>
                      <a:pt x="567327" y="360211"/>
                      <a:pt x="570946" y="354782"/>
                      <a:pt x="565517" y="351448"/>
                    </a:cubicBezTo>
                    <a:cubicBezTo>
                      <a:pt x="550753" y="342209"/>
                      <a:pt x="546562" y="340494"/>
                      <a:pt x="545039" y="334208"/>
                    </a:cubicBezTo>
                    <a:cubicBezTo>
                      <a:pt x="539800" y="311538"/>
                      <a:pt x="537514" y="307443"/>
                      <a:pt x="541610" y="301727"/>
                    </a:cubicBezTo>
                    <a:lnTo>
                      <a:pt x="588949" y="234957"/>
                    </a:lnTo>
                    <a:cubicBezTo>
                      <a:pt x="593521" y="228480"/>
                      <a:pt x="606475" y="224480"/>
                      <a:pt x="605522" y="224861"/>
                    </a:cubicBezTo>
                    <a:cubicBezTo>
                      <a:pt x="611333" y="222384"/>
                      <a:pt x="604856" y="216193"/>
                      <a:pt x="605237" y="217145"/>
                    </a:cubicBezTo>
                    <a:cubicBezTo>
                      <a:pt x="603236" y="214955"/>
                      <a:pt x="603236" y="211526"/>
                      <a:pt x="605332" y="209430"/>
                    </a:cubicBezTo>
                    <a:lnTo>
                      <a:pt x="614952" y="199810"/>
                    </a:lnTo>
                    <a:cubicBezTo>
                      <a:pt x="625715" y="189047"/>
                      <a:pt x="677912" y="186570"/>
                      <a:pt x="688009" y="175997"/>
                    </a:cubicBezTo>
                    <a:cubicBezTo>
                      <a:pt x="695629" y="167996"/>
                      <a:pt x="700201" y="162186"/>
                      <a:pt x="706678" y="159138"/>
                    </a:cubicBezTo>
                    <a:cubicBezTo>
                      <a:pt x="746111" y="140374"/>
                      <a:pt x="749921" y="140279"/>
                      <a:pt x="750969" y="133040"/>
                    </a:cubicBezTo>
                    <a:cubicBezTo>
                      <a:pt x="750874" y="132087"/>
                      <a:pt x="752303" y="126848"/>
                      <a:pt x="747921" y="122943"/>
                    </a:cubicBezTo>
                    <a:cubicBezTo>
                      <a:pt x="742682" y="118276"/>
                      <a:pt x="743063" y="110180"/>
                      <a:pt x="750016" y="111989"/>
                    </a:cubicBezTo>
                    <a:lnTo>
                      <a:pt x="750302" y="111989"/>
                    </a:lnTo>
                    <a:cubicBezTo>
                      <a:pt x="757160" y="113799"/>
                      <a:pt x="758970" y="108370"/>
                      <a:pt x="754589" y="102750"/>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grpSp>
      </p:grpSp>
      <p:sp>
        <p:nvSpPr>
          <p:cNvPr id="230" name="Freeform: Shape 229">
            <a:extLst>
              <a:ext uri="{FF2B5EF4-FFF2-40B4-BE49-F238E27FC236}">
                <a16:creationId xmlns:a16="http://schemas.microsoft.com/office/drawing/2014/main" id="{E553E34D-8FBB-58EB-4143-0A5E717FA7EF}"/>
              </a:ext>
            </a:extLst>
          </p:cNvPr>
          <p:cNvSpPr/>
          <p:nvPr/>
        </p:nvSpPr>
        <p:spPr>
          <a:xfrm>
            <a:off x="6396766" y="2322983"/>
            <a:ext cx="195167" cy="111061"/>
          </a:xfrm>
          <a:custGeom>
            <a:avLst/>
            <a:gdLst>
              <a:gd name="connsiteX0" fmla="*/ 66580 w 195167"/>
              <a:gd name="connsiteY0" fmla="*/ 106870 h 111061"/>
              <a:gd name="connsiteX1" fmla="*/ 76105 w 195167"/>
              <a:gd name="connsiteY1" fmla="*/ 94964 h 111061"/>
              <a:gd name="connsiteX2" fmla="*/ 121348 w 195167"/>
              <a:gd name="connsiteY2" fmla="*/ 111061 h 111061"/>
              <a:gd name="connsiteX3" fmla="*/ 117157 w 195167"/>
              <a:gd name="connsiteY3" fmla="*/ 89630 h 111061"/>
              <a:gd name="connsiteX4" fmla="*/ 142113 w 195167"/>
              <a:gd name="connsiteY4" fmla="*/ 81248 h 111061"/>
              <a:gd name="connsiteX5" fmla="*/ 134398 w 195167"/>
              <a:gd name="connsiteY5" fmla="*/ 58579 h 111061"/>
              <a:gd name="connsiteX6" fmla="*/ 195167 w 195167"/>
              <a:gd name="connsiteY6" fmla="*/ 36576 h 111061"/>
              <a:gd name="connsiteX7" fmla="*/ 174307 w 195167"/>
              <a:gd name="connsiteY7" fmla="*/ 286 h 111061"/>
              <a:gd name="connsiteX8" fmla="*/ 173736 w 195167"/>
              <a:gd name="connsiteY8" fmla="*/ 0 h 111061"/>
              <a:gd name="connsiteX9" fmla="*/ 158020 w 195167"/>
              <a:gd name="connsiteY9" fmla="*/ 4000 h 111061"/>
              <a:gd name="connsiteX10" fmla="*/ 159163 w 195167"/>
              <a:gd name="connsiteY10" fmla="*/ 21907 h 111061"/>
              <a:gd name="connsiteX11" fmla="*/ 93250 w 195167"/>
              <a:gd name="connsiteY11" fmla="*/ 25527 h 111061"/>
              <a:gd name="connsiteX12" fmla="*/ 73057 w 195167"/>
              <a:gd name="connsiteY12" fmla="*/ 42958 h 111061"/>
              <a:gd name="connsiteX13" fmla="*/ 20669 w 195167"/>
              <a:gd name="connsiteY13" fmla="*/ 33051 h 111061"/>
              <a:gd name="connsiteX14" fmla="*/ 0 w 195167"/>
              <a:gd name="connsiteY14" fmla="*/ 52864 h 111061"/>
              <a:gd name="connsiteX15" fmla="*/ 18288 w 195167"/>
              <a:gd name="connsiteY15" fmla="*/ 61626 h 111061"/>
              <a:gd name="connsiteX16" fmla="*/ 11621 w 195167"/>
              <a:gd name="connsiteY16" fmla="*/ 88201 h 111061"/>
              <a:gd name="connsiteX17" fmla="*/ 15812 w 195167"/>
              <a:gd name="connsiteY17" fmla="*/ 87534 h 111061"/>
              <a:gd name="connsiteX18" fmla="*/ 10954 w 195167"/>
              <a:gd name="connsiteY18" fmla="*/ 107156 h 111061"/>
              <a:gd name="connsiteX19" fmla="*/ 10954 w 195167"/>
              <a:gd name="connsiteY19" fmla="*/ 107156 h 111061"/>
              <a:gd name="connsiteX20" fmla="*/ 66485 w 195167"/>
              <a:gd name="connsiteY20" fmla="*/ 106870 h 11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5167" h="111061">
                <a:moveTo>
                  <a:pt x="66580" y="106870"/>
                </a:moveTo>
                <a:lnTo>
                  <a:pt x="76105" y="94964"/>
                </a:lnTo>
                <a:lnTo>
                  <a:pt x="121348" y="111061"/>
                </a:lnTo>
                <a:lnTo>
                  <a:pt x="117157" y="89630"/>
                </a:lnTo>
                <a:lnTo>
                  <a:pt x="142113" y="81248"/>
                </a:lnTo>
                <a:lnTo>
                  <a:pt x="134398" y="58579"/>
                </a:lnTo>
                <a:lnTo>
                  <a:pt x="195167" y="36576"/>
                </a:lnTo>
                <a:lnTo>
                  <a:pt x="174307" y="286"/>
                </a:lnTo>
                <a:lnTo>
                  <a:pt x="173736" y="0"/>
                </a:lnTo>
                <a:lnTo>
                  <a:pt x="158020" y="4000"/>
                </a:lnTo>
                <a:lnTo>
                  <a:pt x="159163" y="21907"/>
                </a:lnTo>
                <a:lnTo>
                  <a:pt x="93250" y="25527"/>
                </a:lnTo>
                <a:lnTo>
                  <a:pt x="73057" y="42958"/>
                </a:lnTo>
                <a:lnTo>
                  <a:pt x="20669" y="33051"/>
                </a:lnTo>
                <a:lnTo>
                  <a:pt x="0" y="52864"/>
                </a:lnTo>
                <a:lnTo>
                  <a:pt x="18288" y="61626"/>
                </a:lnTo>
                <a:lnTo>
                  <a:pt x="11621" y="88201"/>
                </a:lnTo>
                <a:cubicBezTo>
                  <a:pt x="12097" y="87344"/>
                  <a:pt x="13049" y="86963"/>
                  <a:pt x="15812" y="87534"/>
                </a:cubicBezTo>
                <a:cubicBezTo>
                  <a:pt x="34671" y="95917"/>
                  <a:pt x="16002" y="99060"/>
                  <a:pt x="10954" y="107156"/>
                </a:cubicBezTo>
                <a:lnTo>
                  <a:pt x="10954" y="107156"/>
                </a:lnTo>
                <a:cubicBezTo>
                  <a:pt x="10954" y="107156"/>
                  <a:pt x="66485" y="106870"/>
                  <a:pt x="66485" y="106870"/>
                </a:cubicBezTo>
                <a:close/>
              </a:path>
            </a:pathLst>
          </a:custGeom>
          <a:solidFill>
            <a:schemeClr val="bg1">
              <a:lumMod val="95000"/>
            </a:schemeClr>
          </a:solidFill>
          <a:ln w="9525" cap="flat">
            <a:noFill/>
            <a:prstDash val="solid"/>
            <a:miter/>
          </a:ln>
        </p:spPr>
        <p:txBody>
          <a:bodyPr rtlCol="0" anchor="ctr"/>
          <a:lstStyle/>
          <a:p>
            <a:endParaRPr lang="en-IN"/>
          </a:p>
        </p:txBody>
      </p:sp>
      <p:sp>
        <p:nvSpPr>
          <p:cNvPr id="231" name="Freeform: Shape 230">
            <a:extLst>
              <a:ext uri="{FF2B5EF4-FFF2-40B4-BE49-F238E27FC236}">
                <a16:creationId xmlns:a16="http://schemas.microsoft.com/office/drawing/2014/main" id="{3B79EFA5-7661-A8B6-3D47-E0A4966E11D1}"/>
              </a:ext>
            </a:extLst>
          </p:cNvPr>
          <p:cNvSpPr/>
          <p:nvPr/>
        </p:nvSpPr>
        <p:spPr>
          <a:xfrm>
            <a:off x="6604792" y="2120863"/>
            <a:ext cx="344900" cy="143160"/>
          </a:xfrm>
          <a:custGeom>
            <a:avLst/>
            <a:gdLst>
              <a:gd name="connsiteX0" fmla="*/ 307562 w 344900"/>
              <a:gd name="connsiteY0" fmla="*/ 18955 h 143160"/>
              <a:gd name="connsiteX1" fmla="*/ 265081 w 344900"/>
              <a:gd name="connsiteY1" fmla="*/ 11716 h 143160"/>
              <a:gd name="connsiteX2" fmla="*/ 246412 w 344900"/>
              <a:gd name="connsiteY2" fmla="*/ 23431 h 143160"/>
              <a:gd name="connsiteX3" fmla="*/ 231172 w 344900"/>
              <a:gd name="connsiteY3" fmla="*/ 14573 h 143160"/>
              <a:gd name="connsiteX4" fmla="*/ 207073 w 344900"/>
              <a:gd name="connsiteY4" fmla="*/ 17050 h 143160"/>
              <a:gd name="connsiteX5" fmla="*/ 195644 w 344900"/>
              <a:gd name="connsiteY5" fmla="*/ 31051 h 143160"/>
              <a:gd name="connsiteX6" fmla="*/ 176308 w 344900"/>
              <a:gd name="connsiteY6" fmla="*/ 29432 h 143160"/>
              <a:gd name="connsiteX7" fmla="*/ 177260 w 344900"/>
              <a:gd name="connsiteY7" fmla="*/ 11049 h 143160"/>
              <a:gd name="connsiteX8" fmla="*/ 157639 w 344900"/>
              <a:gd name="connsiteY8" fmla="*/ 0 h 143160"/>
              <a:gd name="connsiteX9" fmla="*/ 140494 w 344900"/>
              <a:gd name="connsiteY9" fmla="*/ 19907 h 143160"/>
              <a:gd name="connsiteX10" fmla="*/ 119063 w 344900"/>
              <a:gd name="connsiteY10" fmla="*/ 4953 h 143160"/>
              <a:gd name="connsiteX11" fmla="*/ 79438 w 344900"/>
              <a:gd name="connsiteY11" fmla="*/ 23241 h 143160"/>
              <a:gd name="connsiteX12" fmla="*/ 64294 w 344900"/>
              <a:gd name="connsiteY12" fmla="*/ 51054 h 143160"/>
              <a:gd name="connsiteX13" fmla="*/ 18288 w 344900"/>
              <a:gd name="connsiteY13" fmla="*/ 55816 h 143160"/>
              <a:gd name="connsiteX14" fmla="*/ 0 w 344900"/>
              <a:gd name="connsiteY14" fmla="*/ 94678 h 143160"/>
              <a:gd name="connsiteX15" fmla="*/ 19050 w 344900"/>
              <a:gd name="connsiteY15" fmla="*/ 120872 h 143160"/>
              <a:gd name="connsiteX16" fmla="*/ 62103 w 344900"/>
              <a:gd name="connsiteY16" fmla="*/ 143161 h 143160"/>
              <a:gd name="connsiteX17" fmla="*/ 111823 w 344900"/>
              <a:gd name="connsiteY17" fmla="*/ 140684 h 143160"/>
              <a:gd name="connsiteX18" fmla="*/ 122492 w 344900"/>
              <a:gd name="connsiteY18" fmla="*/ 119348 h 143160"/>
              <a:gd name="connsiteX19" fmla="*/ 154496 w 344900"/>
              <a:gd name="connsiteY19" fmla="*/ 116776 h 143160"/>
              <a:gd name="connsiteX20" fmla="*/ 167069 w 344900"/>
              <a:gd name="connsiteY20" fmla="*/ 102965 h 143160"/>
              <a:gd name="connsiteX21" fmla="*/ 201644 w 344900"/>
              <a:gd name="connsiteY21" fmla="*/ 109252 h 143160"/>
              <a:gd name="connsiteX22" fmla="*/ 220504 w 344900"/>
              <a:gd name="connsiteY22" fmla="*/ 81629 h 143160"/>
              <a:gd name="connsiteX23" fmla="*/ 253174 w 344900"/>
              <a:gd name="connsiteY23" fmla="*/ 84106 h 143160"/>
              <a:gd name="connsiteX24" fmla="*/ 276511 w 344900"/>
              <a:gd name="connsiteY24" fmla="*/ 76581 h 143160"/>
              <a:gd name="connsiteX25" fmla="*/ 295370 w 344900"/>
              <a:gd name="connsiteY25" fmla="*/ 98584 h 143160"/>
              <a:gd name="connsiteX26" fmla="*/ 319278 w 344900"/>
              <a:gd name="connsiteY26" fmla="*/ 90488 h 143160"/>
              <a:gd name="connsiteX27" fmla="*/ 344900 w 344900"/>
              <a:gd name="connsiteY27" fmla="*/ 39909 h 143160"/>
              <a:gd name="connsiteX28" fmla="*/ 315754 w 344900"/>
              <a:gd name="connsiteY28" fmla="*/ 31051 h 143160"/>
              <a:gd name="connsiteX29" fmla="*/ 307562 w 344900"/>
              <a:gd name="connsiteY29" fmla="*/ 18955 h 14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44900" h="143160">
                <a:moveTo>
                  <a:pt x="307562" y="18955"/>
                </a:moveTo>
                <a:lnTo>
                  <a:pt x="265081" y="11716"/>
                </a:lnTo>
                <a:lnTo>
                  <a:pt x="246412" y="23431"/>
                </a:lnTo>
                <a:lnTo>
                  <a:pt x="231172" y="14573"/>
                </a:lnTo>
                <a:lnTo>
                  <a:pt x="207073" y="17050"/>
                </a:lnTo>
                <a:lnTo>
                  <a:pt x="195644" y="31051"/>
                </a:lnTo>
                <a:lnTo>
                  <a:pt x="176308" y="29432"/>
                </a:lnTo>
                <a:lnTo>
                  <a:pt x="177260" y="11049"/>
                </a:lnTo>
                <a:lnTo>
                  <a:pt x="157639" y="0"/>
                </a:lnTo>
                <a:lnTo>
                  <a:pt x="140494" y="19907"/>
                </a:lnTo>
                <a:lnTo>
                  <a:pt x="119063" y="4953"/>
                </a:lnTo>
                <a:lnTo>
                  <a:pt x="79438" y="23241"/>
                </a:lnTo>
                <a:lnTo>
                  <a:pt x="64294" y="51054"/>
                </a:lnTo>
                <a:lnTo>
                  <a:pt x="18288" y="55816"/>
                </a:lnTo>
                <a:lnTo>
                  <a:pt x="0" y="94678"/>
                </a:lnTo>
                <a:lnTo>
                  <a:pt x="19050" y="120872"/>
                </a:lnTo>
                <a:lnTo>
                  <a:pt x="62103" y="143161"/>
                </a:lnTo>
                <a:lnTo>
                  <a:pt x="111823" y="140684"/>
                </a:lnTo>
                <a:lnTo>
                  <a:pt x="122492" y="119348"/>
                </a:lnTo>
                <a:lnTo>
                  <a:pt x="154496" y="116776"/>
                </a:lnTo>
                <a:lnTo>
                  <a:pt x="167069" y="102965"/>
                </a:lnTo>
                <a:lnTo>
                  <a:pt x="201644" y="109252"/>
                </a:lnTo>
                <a:lnTo>
                  <a:pt x="220504" y="81629"/>
                </a:lnTo>
                <a:lnTo>
                  <a:pt x="253174" y="84106"/>
                </a:lnTo>
                <a:lnTo>
                  <a:pt x="276511" y="76581"/>
                </a:lnTo>
                <a:lnTo>
                  <a:pt x="295370" y="98584"/>
                </a:lnTo>
                <a:lnTo>
                  <a:pt x="319278" y="90488"/>
                </a:lnTo>
                <a:lnTo>
                  <a:pt x="344900" y="39909"/>
                </a:lnTo>
                <a:lnTo>
                  <a:pt x="315754" y="31051"/>
                </a:lnTo>
                <a:lnTo>
                  <a:pt x="307562" y="18955"/>
                </a:lnTo>
                <a:close/>
              </a:path>
            </a:pathLst>
          </a:custGeom>
          <a:solidFill>
            <a:schemeClr val="bg1">
              <a:lumMod val="95000"/>
            </a:schemeClr>
          </a:solidFill>
          <a:ln w="9525" cap="flat">
            <a:noFill/>
            <a:prstDash val="solid"/>
            <a:miter/>
          </a:ln>
        </p:spPr>
        <p:txBody>
          <a:bodyPr rtlCol="0" anchor="ctr"/>
          <a:lstStyle/>
          <a:p>
            <a:endParaRPr lang="en-IN"/>
          </a:p>
        </p:txBody>
      </p:sp>
      <p:sp>
        <p:nvSpPr>
          <p:cNvPr id="232" name="Freeform: Shape 231">
            <a:extLst>
              <a:ext uri="{FF2B5EF4-FFF2-40B4-BE49-F238E27FC236}">
                <a16:creationId xmlns:a16="http://schemas.microsoft.com/office/drawing/2014/main" id="{62C111B0-3CCD-CF66-B737-E0EBEE219B2C}"/>
              </a:ext>
            </a:extLst>
          </p:cNvPr>
          <p:cNvSpPr/>
          <p:nvPr/>
        </p:nvSpPr>
        <p:spPr>
          <a:xfrm>
            <a:off x="6727093" y="2379752"/>
            <a:ext cx="249174" cy="300608"/>
          </a:xfrm>
          <a:custGeom>
            <a:avLst/>
            <a:gdLst>
              <a:gd name="connsiteX0" fmla="*/ 209550 w 249174"/>
              <a:gd name="connsiteY0" fmla="*/ 184213 h 300608"/>
              <a:gd name="connsiteX1" fmla="*/ 235744 w 249174"/>
              <a:gd name="connsiteY1" fmla="*/ 149352 h 300608"/>
              <a:gd name="connsiteX2" fmla="*/ 219837 w 249174"/>
              <a:gd name="connsiteY2" fmla="*/ 137446 h 300608"/>
              <a:gd name="connsiteX3" fmla="*/ 233363 w 249174"/>
              <a:gd name="connsiteY3" fmla="*/ 122301 h 300608"/>
              <a:gd name="connsiteX4" fmla="*/ 212693 w 249174"/>
              <a:gd name="connsiteY4" fmla="*/ 109633 h 300608"/>
              <a:gd name="connsiteX5" fmla="*/ 194405 w 249174"/>
              <a:gd name="connsiteY5" fmla="*/ 125539 h 300608"/>
              <a:gd name="connsiteX6" fmla="*/ 154781 w 249174"/>
              <a:gd name="connsiteY6" fmla="*/ 108013 h 300608"/>
              <a:gd name="connsiteX7" fmla="*/ 155543 w 249174"/>
              <a:gd name="connsiteY7" fmla="*/ 76295 h 300608"/>
              <a:gd name="connsiteX8" fmla="*/ 116681 w 249174"/>
              <a:gd name="connsiteY8" fmla="*/ 56483 h 300608"/>
              <a:gd name="connsiteX9" fmla="*/ 82963 w 249174"/>
              <a:gd name="connsiteY9" fmla="*/ 0 h 300608"/>
              <a:gd name="connsiteX10" fmla="*/ 42005 w 249174"/>
              <a:gd name="connsiteY10" fmla="*/ 2476 h 300608"/>
              <a:gd name="connsiteX11" fmla="*/ 0 w 249174"/>
              <a:gd name="connsiteY11" fmla="*/ 23146 h 300608"/>
              <a:gd name="connsiteX12" fmla="*/ 11239 w 249174"/>
              <a:gd name="connsiteY12" fmla="*/ 59817 h 300608"/>
              <a:gd name="connsiteX13" fmla="*/ 31813 w 249174"/>
              <a:gd name="connsiteY13" fmla="*/ 66580 h 300608"/>
              <a:gd name="connsiteX14" fmla="*/ 32290 w 249174"/>
              <a:gd name="connsiteY14" fmla="*/ 78296 h 300608"/>
              <a:gd name="connsiteX15" fmla="*/ 14192 w 249174"/>
              <a:gd name="connsiteY15" fmla="*/ 81153 h 300608"/>
              <a:gd name="connsiteX16" fmla="*/ 3524 w 249174"/>
              <a:gd name="connsiteY16" fmla="*/ 100965 h 300608"/>
              <a:gd name="connsiteX17" fmla="*/ 30956 w 249174"/>
              <a:gd name="connsiteY17" fmla="*/ 102965 h 300608"/>
              <a:gd name="connsiteX18" fmla="*/ 16478 w 249174"/>
              <a:gd name="connsiteY18" fmla="*/ 138017 h 300608"/>
              <a:gd name="connsiteX19" fmla="*/ 41053 w 249174"/>
              <a:gd name="connsiteY19" fmla="*/ 160782 h 300608"/>
              <a:gd name="connsiteX20" fmla="*/ 24955 w 249174"/>
              <a:gd name="connsiteY20" fmla="*/ 170307 h 300608"/>
              <a:gd name="connsiteX21" fmla="*/ 40672 w 249174"/>
              <a:gd name="connsiteY21" fmla="*/ 192405 h 300608"/>
              <a:gd name="connsiteX22" fmla="*/ 29718 w 249174"/>
              <a:gd name="connsiteY22" fmla="*/ 205073 h 300608"/>
              <a:gd name="connsiteX23" fmla="*/ 88392 w 249174"/>
              <a:gd name="connsiteY23" fmla="*/ 243745 h 300608"/>
              <a:gd name="connsiteX24" fmla="*/ 119444 w 249174"/>
              <a:gd name="connsiteY24" fmla="*/ 226600 h 300608"/>
              <a:gd name="connsiteX25" fmla="*/ 173260 w 249174"/>
              <a:gd name="connsiteY25" fmla="*/ 264605 h 300608"/>
              <a:gd name="connsiteX26" fmla="*/ 158591 w 249174"/>
              <a:gd name="connsiteY26" fmla="*/ 300609 h 300608"/>
              <a:gd name="connsiteX27" fmla="*/ 211931 w 249174"/>
              <a:gd name="connsiteY27" fmla="*/ 287464 h 300608"/>
              <a:gd name="connsiteX28" fmla="*/ 218218 w 249174"/>
              <a:gd name="connsiteY28" fmla="*/ 250126 h 300608"/>
              <a:gd name="connsiteX29" fmla="*/ 249174 w 249174"/>
              <a:gd name="connsiteY29" fmla="*/ 227076 h 300608"/>
              <a:gd name="connsiteX30" fmla="*/ 209550 w 249174"/>
              <a:gd name="connsiteY30" fmla="*/ 184213 h 30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9174" h="300608">
                <a:moveTo>
                  <a:pt x="209550" y="184213"/>
                </a:moveTo>
                <a:lnTo>
                  <a:pt x="235744" y="149352"/>
                </a:lnTo>
                <a:lnTo>
                  <a:pt x="219837" y="137446"/>
                </a:lnTo>
                <a:lnTo>
                  <a:pt x="233363" y="122301"/>
                </a:lnTo>
                <a:lnTo>
                  <a:pt x="212693" y="109633"/>
                </a:lnTo>
                <a:lnTo>
                  <a:pt x="194405" y="125539"/>
                </a:lnTo>
                <a:lnTo>
                  <a:pt x="154781" y="108013"/>
                </a:lnTo>
                <a:lnTo>
                  <a:pt x="155543" y="76295"/>
                </a:lnTo>
                <a:lnTo>
                  <a:pt x="116681" y="56483"/>
                </a:lnTo>
                <a:lnTo>
                  <a:pt x="82963" y="0"/>
                </a:lnTo>
                <a:lnTo>
                  <a:pt x="42005" y="2476"/>
                </a:lnTo>
                <a:lnTo>
                  <a:pt x="0" y="23146"/>
                </a:lnTo>
                <a:lnTo>
                  <a:pt x="11239" y="59817"/>
                </a:lnTo>
                <a:lnTo>
                  <a:pt x="31813" y="66580"/>
                </a:lnTo>
                <a:lnTo>
                  <a:pt x="32290" y="78296"/>
                </a:lnTo>
                <a:lnTo>
                  <a:pt x="14192" y="81153"/>
                </a:lnTo>
                <a:lnTo>
                  <a:pt x="3524" y="100965"/>
                </a:lnTo>
                <a:lnTo>
                  <a:pt x="30956" y="102965"/>
                </a:lnTo>
                <a:lnTo>
                  <a:pt x="16478" y="138017"/>
                </a:lnTo>
                <a:lnTo>
                  <a:pt x="41053" y="160782"/>
                </a:lnTo>
                <a:lnTo>
                  <a:pt x="24955" y="170307"/>
                </a:lnTo>
                <a:lnTo>
                  <a:pt x="40672" y="192405"/>
                </a:lnTo>
                <a:lnTo>
                  <a:pt x="29718" y="205073"/>
                </a:lnTo>
                <a:lnTo>
                  <a:pt x="88392" y="243745"/>
                </a:lnTo>
                <a:lnTo>
                  <a:pt x="119444" y="226600"/>
                </a:lnTo>
                <a:lnTo>
                  <a:pt x="173260" y="264605"/>
                </a:lnTo>
                <a:lnTo>
                  <a:pt x="158591" y="300609"/>
                </a:lnTo>
                <a:lnTo>
                  <a:pt x="211931" y="287464"/>
                </a:lnTo>
                <a:lnTo>
                  <a:pt x="218218" y="250126"/>
                </a:lnTo>
                <a:lnTo>
                  <a:pt x="249174" y="227076"/>
                </a:lnTo>
                <a:lnTo>
                  <a:pt x="209550" y="184213"/>
                </a:lnTo>
                <a:close/>
              </a:path>
            </a:pathLst>
          </a:custGeom>
          <a:solidFill>
            <a:schemeClr val="bg1">
              <a:lumMod val="95000"/>
            </a:schemeClr>
          </a:solidFill>
          <a:ln w="9525" cap="flat">
            <a:noFill/>
            <a:prstDash val="solid"/>
            <a:miter/>
          </a:ln>
        </p:spPr>
        <p:txBody>
          <a:bodyPr rtlCol="0" anchor="ctr"/>
          <a:lstStyle/>
          <a:p>
            <a:endParaRPr lang="en-IN"/>
          </a:p>
        </p:txBody>
      </p:sp>
      <p:grpSp>
        <p:nvGrpSpPr>
          <p:cNvPr id="233" name="Graphic 166">
            <a:extLst>
              <a:ext uri="{FF2B5EF4-FFF2-40B4-BE49-F238E27FC236}">
                <a16:creationId xmlns:a16="http://schemas.microsoft.com/office/drawing/2014/main" id="{001E2CE2-A977-F1D7-3035-8C467C3E847B}"/>
              </a:ext>
            </a:extLst>
          </p:cNvPr>
          <p:cNvGrpSpPr/>
          <p:nvPr/>
        </p:nvGrpSpPr>
        <p:grpSpPr>
          <a:xfrm>
            <a:off x="6777924" y="-1131134"/>
            <a:ext cx="2793048" cy="3877408"/>
            <a:chOff x="6199297" y="-679923"/>
            <a:chExt cx="2793048" cy="3877408"/>
          </a:xfrm>
          <a:solidFill>
            <a:schemeClr val="bg1">
              <a:lumMod val="85000"/>
            </a:schemeClr>
          </a:solidFill>
        </p:grpSpPr>
        <p:sp>
          <p:nvSpPr>
            <p:cNvPr id="234" name="Freeform: Shape 233">
              <a:extLst>
                <a:ext uri="{FF2B5EF4-FFF2-40B4-BE49-F238E27FC236}">
                  <a16:creationId xmlns:a16="http://schemas.microsoft.com/office/drawing/2014/main" id="{83283176-1A16-C165-E082-1F1010B9250A}"/>
                </a:ext>
              </a:extLst>
            </p:cNvPr>
            <p:cNvSpPr/>
            <p:nvPr/>
          </p:nvSpPr>
          <p:spPr>
            <a:xfrm>
              <a:off x="7150059" y="1209657"/>
              <a:ext cx="25350" cy="18895"/>
            </a:xfrm>
            <a:custGeom>
              <a:avLst/>
              <a:gdLst>
                <a:gd name="connsiteX0" fmla="*/ 19202 w 25350"/>
                <a:gd name="connsiteY0" fmla="*/ 18058 h 18895"/>
                <a:gd name="connsiteX1" fmla="*/ 22916 w 25350"/>
                <a:gd name="connsiteY1" fmla="*/ 16343 h 18895"/>
                <a:gd name="connsiteX2" fmla="*/ 24155 w 25350"/>
                <a:gd name="connsiteY2" fmla="*/ 10057 h 18895"/>
                <a:gd name="connsiteX3" fmla="*/ 9010 w 25350"/>
                <a:gd name="connsiteY3" fmla="*/ 246 h 18895"/>
                <a:gd name="connsiteX4" fmla="*/ 1295 w 25350"/>
                <a:gd name="connsiteY4" fmla="*/ 6914 h 18895"/>
                <a:gd name="connsiteX5" fmla="*/ 19106 w 25350"/>
                <a:gd name="connsiteY5" fmla="*/ 18153 h 18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50" h="18895">
                  <a:moveTo>
                    <a:pt x="19202" y="18058"/>
                  </a:moveTo>
                  <a:lnTo>
                    <a:pt x="22916" y="16343"/>
                  </a:lnTo>
                  <a:cubicBezTo>
                    <a:pt x="25583" y="15105"/>
                    <a:pt x="26155" y="12248"/>
                    <a:pt x="24155" y="10057"/>
                  </a:cubicBezTo>
                  <a:cubicBezTo>
                    <a:pt x="20726" y="7104"/>
                    <a:pt x="16725" y="-1564"/>
                    <a:pt x="9010" y="246"/>
                  </a:cubicBezTo>
                  <a:cubicBezTo>
                    <a:pt x="7486" y="913"/>
                    <a:pt x="-3754" y="1580"/>
                    <a:pt x="1295" y="6914"/>
                  </a:cubicBezTo>
                  <a:cubicBezTo>
                    <a:pt x="6438" y="11200"/>
                    <a:pt x="11581" y="21773"/>
                    <a:pt x="19106" y="18153"/>
                  </a:cubicBezTo>
                  <a:close/>
                </a:path>
              </a:pathLst>
            </a:custGeom>
            <a:grpFill/>
            <a:ln w="9525" cap="flat">
              <a:noFill/>
              <a:prstDash val="solid"/>
              <a:miter/>
            </a:ln>
          </p:spPr>
          <p:txBody>
            <a:bodyPr rtlCol="0" anchor="ctr"/>
            <a:lstStyle/>
            <a:p>
              <a:endParaRPr lang="en-IN"/>
            </a:p>
          </p:txBody>
        </p:sp>
        <p:sp>
          <p:nvSpPr>
            <p:cNvPr id="235" name="Freeform: Shape 234">
              <a:extLst>
                <a:ext uri="{FF2B5EF4-FFF2-40B4-BE49-F238E27FC236}">
                  <a16:creationId xmlns:a16="http://schemas.microsoft.com/office/drawing/2014/main" id="{C21A3630-10A9-ED8B-2EFB-EA34F9D5AED5}"/>
                </a:ext>
              </a:extLst>
            </p:cNvPr>
            <p:cNvSpPr/>
            <p:nvPr/>
          </p:nvSpPr>
          <p:spPr>
            <a:xfrm>
              <a:off x="7565302" y="1052113"/>
              <a:ext cx="14931" cy="10372"/>
            </a:xfrm>
            <a:custGeom>
              <a:avLst/>
              <a:gdLst>
                <a:gd name="connsiteX0" fmla="*/ 14867 w 14931"/>
                <a:gd name="connsiteY0" fmla="*/ 6343 h 10372"/>
                <a:gd name="connsiteX1" fmla="*/ 4675 w 14931"/>
                <a:gd name="connsiteY1" fmla="*/ 152 h 10372"/>
                <a:gd name="connsiteX2" fmla="*/ 5914 w 14931"/>
                <a:gd name="connsiteY2" fmla="*/ 9010 h 10372"/>
                <a:gd name="connsiteX3" fmla="*/ 14867 w 14931"/>
                <a:gd name="connsiteY3" fmla="*/ 6439 h 10372"/>
              </a:gdLst>
              <a:ahLst/>
              <a:cxnLst>
                <a:cxn ang="0">
                  <a:pos x="connsiteX0" y="connsiteY0"/>
                </a:cxn>
                <a:cxn ang="0">
                  <a:pos x="connsiteX1" y="connsiteY1"/>
                </a:cxn>
                <a:cxn ang="0">
                  <a:pos x="connsiteX2" y="connsiteY2"/>
                </a:cxn>
                <a:cxn ang="0">
                  <a:pos x="connsiteX3" y="connsiteY3"/>
                </a:cxn>
              </a:cxnLst>
              <a:rect l="l" t="t" r="r" b="b"/>
              <a:pathLst>
                <a:path w="14931" h="10372">
                  <a:moveTo>
                    <a:pt x="14867" y="6343"/>
                  </a:moveTo>
                  <a:cubicBezTo>
                    <a:pt x="14010" y="-419"/>
                    <a:pt x="3723" y="-229"/>
                    <a:pt x="4675" y="152"/>
                  </a:cubicBezTo>
                  <a:cubicBezTo>
                    <a:pt x="-2373" y="-515"/>
                    <a:pt x="-1039" y="7010"/>
                    <a:pt x="5914" y="9010"/>
                  </a:cubicBezTo>
                  <a:cubicBezTo>
                    <a:pt x="5914" y="9010"/>
                    <a:pt x="15820" y="13392"/>
                    <a:pt x="14867" y="6439"/>
                  </a:cubicBezTo>
                  <a:close/>
                </a:path>
              </a:pathLst>
            </a:custGeom>
            <a:grpFill/>
            <a:ln w="9525" cap="flat">
              <a:noFill/>
              <a:prstDash val="solid"/>
              <a:miter/>
            </a:ln>
          </p:spPr>
          <p:txBody>
            <a:bodyPr rtlCol="0" anchor="ctr"/>
            <a:lstStyle/>
            <a:p>
              <a:endParaRPr lang="en-IN"/>
            </a:p>
          </p:txBody>
        </p:sp>
        <p:sp>
          <p:nvSpPr>
            <p:cNvPr id="236" name="Freeform: Shape 235">
              <a:extLst>
                <a:ext uri="{FF2B5EF4-FFF2-40B4-BE49-F238E27FC236}">
                  <a16:creationId xmlns:a16="http://schemas.microsoft.com/office/drawing/2014/main" id="{52861B4B-6030-9140-38AD-87ED1BE3CBE3}"/>
                </a:ext>
              </a:extLst>
            </p:cNvPr>
            <p:cNvSpPr/>
            <p:nvPr/>
          </p:nvSpPr>
          <p:spPr>
            <a:xfrm>
              <a:off x="6936718" y="720082"/>
              <a:ext cx="66985" cy="38104"/>
            </a:xfrm>
            <a:custGeom>
              <a:avLst/>
              <a:gdLst>
                <a:gd name="connsiteX0" fmla="*/ 21183 w 66985"/>
                <a:gd name="connsiteY0" fmla="*/ 31574 h 38104"/>
                <a:gd name="connsiteX1" fmla="*/ 36423 w 66985"/>
                <a:gd name="connsiteY1" fmla="*/ 35098 h 38104"/>
                <a:gd name="connsiteX2" fmla="*/ 53282 w 66985"/>
                <a:gd name="connsiteY2" fmla="*/ 37765 h 38104"/>
                <a:gd name="connsiteX3" fmla="*/ 60426 w 66985"/>
                <a:gd name="connsiteY3" fmla="*/ 18905 h 38104"/>
                <a:gd name="connsiteX4" fmla="*/ 32232 w 66985"/>
                <a:gd name="connsiteY4" fmla="*/ 14048 h 38104"/>
                <a:gd name="connsiteX5" fmla="*/ 31851 w 66985"/>
                <a:gd name="connsiteY5" fmla="*/ 13476 h 38104"/>
                <a:gd name="connsiteX6" fmla="*/ 2895 w 66985"/>
                <a:gd name="connsiteY6" fmla="*/ 46 h 38104"/>
                <a:gd name="connsiteX7" fmla="*/ 1085 w 66985"/>
                <a:gd name="connsiteY7" fmla="*/ 4237 h 38104"/>
                <a:gd name="connsiteX8" fmla="*/ 12230 w 66985"/>
                <a:gd name="connsiteY8" fmla="*/ 16810 h 38104"/>
                <a:gd name="connsiteX9" fmla="*/ 21183 w 66985"/>
                <a:gd name="connsiteY9" fmla="*/ 31383 h 3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985" h="38104">
                  <a:moveTo>
                    <a:pt x="21183" y="31574"/>
                  </a:moveTo>
                  <a:cubicBezTo>
                    <a:pt x="23564" y="31859"/>
                    <a:pt x="32042" y="31002"/>
                    <a:pt x="36423" y="35098"/>
                  </a:cubicBezTo>
                  <a:cubicBezTo>
                    <a:pt x="40995" y="39384"/>
                    <a:pt x="54235" y="37860"/>
                    <a:pt x="53282" y="37765"/>
                  </a:cubicBezTo>
                  <a:cubicBezTo>
                    <a:pt x="67189" y="37479"/>
                    <a:pt x="72142" y="19096"/>
                    <a:pt x="60426" y="18905"/>
                  </a:cubicBezTo>
                  <a:cubicBezTo>
                    <a:pt x="41281" y="18715"/>
                    <a:pt x="36042" y="19763"/>
                    <a:pt x="32232" y="14048"/>
                  </a:cubicBezTo>
                  <a:lnTo>
                    <a:pt x="31851" y="13476"/>
                  </a:lnTo>
                  <a:cubicBezTo>
                    <a:pt x="23183" y="427"/>
                    <a:pt x="-153" y="-240"/>
                    <a:pt x="2895" y="46"/>
                  </a:cubicBezTo>
                  <a:cubicBezTo>
                    <a:pt x="-58" y="141"/>
                    <a:pt x="-915" y="2046"/>
                    <a:pt x="1085" y="4237"/>
                  </a:cubicBezTo>
                  <a:lnTo>
                    <a:pt x="12230" y="16810"/>
                  </a:lnTo>
                  <a:cubicBezTo>
                    <a:pt x="17754" y="23001"/>
                    <a:pt x="13563" y="31097"/>
                    <a:pt x="21183" y="31383"/>
                  </a:cubicBezTo>
                  <a:close/>
                </a:path>
              </a:pathLst>
            </a:custGeom>
            <a:grpFill/>
            <a:ln w="9525" cap="flat">
              <a:noFill/>
              <a:prstDash val="solid"/>
              <a:miter/>
            </a:ln>
          </p:spPr>
          <p:txBody>
            <a:bodyPr rtlCol="0" anchor="ctr"/>
            <a:lstStyle/>
            <a:p>
              <a:endParaRPr lang="en-IN"/>
            </a:p>
          </p:txBody>
        </p:sp>
        <p:grpSp>
          <p:nvGrpSpPr>
            <p:cNvPr id="237" name="Graphic 166">
              <a:extLst>
                <a:ext uri="{FF2B5EF4-FFF2-40B4-BE49-F238E27FC236}">
                  <a16:creationId xmlns:a16="http://schemas.microsoft.com/office/drawing/2014/main" id="{DF2D2F3C-A1F2-B1DE-2433-691B2960D27A}"/>
                </a:ext>
              </a:extLst>
            </p:cNvPr>
            <p:cNvGrpSpPr/>
            <p:nvPr/>
          </p:nvGrpSpPr>
          <p:grpSpPr>
            <a:xfrm>
              <a:off x="6199297" y="-679923"/>
              <a:ext cx="2793048" cy="3877408"/>
              <a:chOff x="6199297" y="-679923"/>
              <a:chExt cx="2793048" cy="3877408"/>
            </a:xfrm>
            <a:grpFill/>
          </p:grpSpPr>
          <p:sp>
            <p:nvSpPr>
              <p:cNvPr id="239" name="Freeform: Shape 238">
                <a:extLst>
                  <a:ext uri="{FF2B5EF4-FFF2-40B4-BE49-F238E27FC236}">
                    <a16:creationId xmlns:a16="http://schemas.microsoft.com/office/drawing/2014/main" id="{37034B97-EAB8-417D-9118-8D7DB19B4E2A}"/>
                  </a:ext>
                </a:extLst>
              </p:cNvPr>
              <p:cNvSpPr/>
              <p:nvPr/>
            </p:nvSpPr>
            <p:spPr>
              <a:xfrm>
                <a:off x="6199297" y="2114207"/>
                <a:ext cx="188723" cy="80295"/>
              </a:xfrm>
              <a:custGeom>
                <a:avLst/>
                <a:gdLst>
                  <a:gd name="connsiteX0" fmla="*/ 90616 w 188723"/>
                  <a:gd name="connsiteY0" fmla="*/ 12001 h 80295"/>
                  <a:gd name="connsiteX1" fmla="*/ 87377 w 188723"/>
                  <a:gd name="connsiteY1" fmla="*/ 30004 h 80295"/>
                  <a:gd name="connsiteX2" fmla="*/ 55468 w 188723"/>
                  <a:gd name="connsiteY2" fmla="*/ 24194 h 80295"/>
                  <a:gd name="connsiteX3" fmla="*/ 61088 w 188723"/>
                  <a:gd name="connsiteY3" fmla="*/ 17050 h 80295"/>
                  <a:gd name="connsiteX4" fmla="*/ 58516 w 188723"/>
                  <a:gd name="connsiteY4" fmla="*/ 12763 h 80295"/>
                  <a:gd name="connsiteX5" fmla="*/ 38514 w 188723"/>
                  <a:gd name="connsiteY5" fmla="*/ 25813 h 80295"/>
                  <a:gd name="connsiteX6" fmla="*/ 14416 w 188723"/>
                  <a:gd name="connsiteY6" fmla="*/ 31051 h 80295"/>
                  <a:gd name="connsiteX7" fmla="*/ 11653 w 188723"/>
                  <a:gd name="connsiteY7" fmla="*/ 46672 h 80295"/>
                  <a:gd name="connsiteX8" fmla="*/ 2128 w 188723"/>
                  <a:gd name="connsiteY8" fmla="*/ 62579 h 80295"/>
                  <a:gd name="connsiteX9" fmla="*/ 17559 w 188723"/>
                  <a:gd name="connsiteY9" fmla="*/ 50959 h 80295"/>
                  <a:gd name="connsiteX10" fmla="*/ 35657 w 188723"/>
                  <a:gd name="connsiteY10" fmla="*/ 50768 h 80295"/>
                  <a:gd name="connsiteX11" fmla="*/ 36514 w 188723"/>
                  <a:gd name="connsiteY11" fmla="*/ 54959 h 80295"/>
                  <a:gd name="connsiteX12" fmla="*/ 27846 w 188723"/>
                  <a:gd name="connsiteY12" fmla="*/ 60770 h 80295"/>
                  <a:gd name="connsiteX13" fmla="*/ 11939 w 188723"/>
                  <a:gd name="connsiteY13" fmla="*/ 65818 h 80295"/>
                  <a:gd name="connsiteX14" fmla="*/ 7272 w 188723"/>
                  <a:gd name="connsiteY14" fmla="*/ 69342 h 80295"/>
                  <a:gd name="connsiteX15" fmla="*/ 175198 w 188723"/>
                  <a:gd name="connsiteY15" fmla="*/ 80296 h 80295"/>
                  <a:gd name="connsiteX16" fmla="*/ 188723 w 188723"/>
                  <a:gd name="connsiteY16" fmla="*/ 24765 h 80295"/>
                  <a:gd name="connsiteX17" fmla="*/ 96712 w 188723"/>
                  <a:gd name="connsiteY17" fmla="*/ 0 h 80295"/>
                  <a:gd name="connsiteX18" fmla="*/ 90520 w 188723"/>
                  <a:gd name="connsiteY18" fmla="*/ 12001 h 80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8723" h="80295">
                    <a:moveTo>
                      <a:pt x="90616" y="12001"/>
                    </a:moveTo>
                    <a:cubicBezTo>
                      <a:pt x="90520" y="18383"/>
                      <a:pt x="95664" y="30385"/>
                      <a:pt x="87377" y="30004"/>
                    </a:cubicBezTo>
                    <a:cubicBezTo>
                      <a:pt x="59659" y="28765"/>
                      <a:pt x="50896" y="30004"/>
                      <a:pt x="55468" y="24194"/>
                    </a:cubicBezTo>
                    <a:lnTo>
                      <a:pt x="61088" y="17050"/>
                    </a:lnTo>
                    <a:cubicBezTo>
                      <a:pt x="64517" y="12668"/>
                      <a:pt x="57564" y="12382"/>
                      <a:pt x="58516" y="12763"/>
                    </a:cubicBezTo>
                    <a:cubicBezTo>
                      <a:pt x="47944" y="12763"/>
                      <a:pt x="48896" y="25908"/>
                      <a:pt x="38514" y="25813"/>
                    </a:cubicBezTo>
                    <a:cubicBezTo>
                      <a:pt x="27274" y="26861"/>
                      <a:pt x="14130" y="22384"/>
                      <a:pt x="14416" y="31051"/>
                    </a:cubicBezTo>
                    <a:cubicBezTo>
                      <a:pt x="14225" y="33052"/>
                      <a:pt x="15940" y="40767"/>
                      <a:pt x="11653" y="46672"/>
                    </a:cubicBezTo>
                    <a:cubicBezTo>
                      <a:pt x="3938" y="57436"/>
                      <a:pt x="-3872" y="67151"/>
                      <a:pt x="2128" y="62579"/>
                    </a:cubicBezTo>
                    <a:lnTo>
                      <a:pt x="17559" y="50959"/>
                    </a:lnTo>
                    <a:cubicBezTo>
                      <a:pt x="23750" y="46291"/>
                      <a:pt x="36609" y="50863"/>
                      <a:pt x="35657" y="50768"/>
                    </a:cubicBezTo>
                    <a:cubicBezTo>
                      <a:pt x="38514" y="51435"/>
                      <a:pt x="38895" y="53245"/>
                      <a:pt x="36514" y="54959"/>
                    </a:cubicBezTo>
                    <a:lnTo>
                      <a:pt x="27846" y="60770"/>
                    </a:lnTo>
                    <a:cubicBezTo>
                      <a:pt x="20988" y="65437"/>
                      <a:pt x="18511" y="60960"/>
                      <a:pt x="11939" y="65818"/>
                    </a:cubicBezTo>
                    <a:cubicBezTo>
                      <a:pt x="10225" y="67056"/>
                      <a:pt x="8796" y="68104"/>
                      <a:pt x="7272" y="69342"/>
                    </a:cubicBezTo>
                    <a:lnTo>
                      <a:pt x="175198" y="80296"/>
                    </a:lnTo>
                    <a:lnTo>
                      <a:pt x="188723" y="24765"/>
                    </a:lnTo>
                    <a:lnTo>
                      <a:pt x="96712" y="0"/>
                    </a:lnTo>
                    <a:cubicBezTo>
                      <a:pt x="94235" y="4286"/>
                      <a:pt x="89854" y="6382"/>
                      <a:pt x="90520" y="12001"/>
                    </a:cubicBezTo>
                    <a:close/>
                  </a:path>
                </a:pathLst>
              </a:custGeom>
              <a:solidFill>
                <a:schemeClr val="bg1">
                  <a:lumMod val="95000"/>
                </a:schemeClr>
              </a:solidFill>
              <a:ln w="9525" cap="flat">
                <a:noFill/>
                <a:prstDash val="solid"/>
                <a:miter/>
              </a:ln>
            </p:spPr>
            <p:txBody>
              <a:bodyPr rtlCol="0" anchor="ctr"/>
              <a:lstStyle/>
              <a:p>
                <a:endParaRPr lang="en-IN"/>
              </a:p>
            </p:txBody>
          </p:sp>
          <p:grpSp>
            <p:nvGrpSpPr>
              <p:cNvPr id="240" name="Graphic 166">
                <a:extLst>
                  <a:ext uri="{FF2B5EF4-FFF2-40B4-BE49-F238E27FC236}">
                    <a16:creationId xmlns:a16="http://schemas.microsoft.com/office/drawing/2014/main" id="{5B869C6B-C795-9240-4E38-8363AAB8D14E}"/>
                  </a:ext>
                </a:extLst>
              </p:cNvPr>
              <p:cNvGrpSpPr/>
              <p:nvPr/>
            </p:nvGrpSpPr>
            <p:grpSpPr>
              <a:xfrm>
                <a:off x="6661197" y="-679923"/>
                <a:ext cx="2331148" cy="3877408"/>
                <a:chOff x="6661197" y="-679923"/>
                <a:chExt cx="2331148" cy="3877408"/>
              </a:xfrm>
              <a:grpFill/>
            </p:grpSpPr>
            <p:sp>
              <p:nvSpPr>
                <p:cNvPr id="241" name="Freeform: Shape 240">
                  <a:extLst>
                    <a:ext uri="{FF2B5EF4-FFF2-40B4-BE49-F238E27FC236}">
                      <a16:creationId xmlns:a16="http://schemas.microsoft.com/office/drawing/2014/main" id="{E3DCB035-6BB6-1777-46E1-9A73F781F455}"/>
                    </a:ext>
                  </a:extLst>
                </p:cNvPr>
                <p:cNvSpPr/>
                <p:nvPr/>
              </p:nvSpPr>
              <p:spPr>
                <a:xfrm>
                  <a:off x="7915067" y="766759"/>
                  <a:ext cx="122865" cy="85049"/>
                </a:xfrm>
                <a:custGeom>
                  <a:avLst/>
                  <a:gdLst>
                    <a:gd name="connsiteX0" fmla="*/ 122588 w 122865"/>
                    <a:gd name="connsiteY0" fmla="*/ 38618 h 85049"/>
                    <a:gd name="connsiteX1" fmla="*/ 114491 w 122865"/>
                    <a:gd name="connsiteY1" fmla="*/ 24807 h 85049"/>
                    <a:gd name="connsiteX2" fmla="*/ 35338 w 122865"/>
                    <a:gd name="connsiteY2" fmla="*/ 4328 h 85049"/>
                    <a:gd name="connsiteX3" fmla="*/ 4192 w 122865"/>
                    <a:gd name="connsiteY3" fmla="*/ 33093 h 85049"/>
                    <a:gd name="connsiteX4" fmla="*/ 3430 w 122865"/>
                    <a:gd name="connsiteY4" fmla="*/ 68431 h 85049"/>
                    <a:gd name="connsiteX5" fmla="*/ 33338 w 122865"/>
                    <a:gd name="connsiteY5" fmla="*/ 84528 h 85049"/>
                    <a:gd name="connsiteX6" fmla="*/ 90107 w 122865"/>
                    <a:gd name="connsiteY6" fmla="*/ 63669 h 85049"/>
                    <a:gd name="connsiteX7" fmla="*/ 111538 w 122865"/>
                    <a:gd name="connsiteY7" fmla="*/ 42999 h 85049"/>
                    <a:gd name="connsiteX8" fmla="*/ 115158 w 122865"/>
                    <a:gd name="connsiteY8" fmla="*/ 49191 h 85049"/>
                    <a:gd name="connsiteX9" fmla="*/ 122588 w 122865"/>
                    <a:gd name="connsiteY9" fmla="*/ 38713 h 8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865" h="85049">
                      <a:moveTo>
                        <a:pt x="122588" y="38618"/>
                      </a:moveTo>
                      <a:cubicBezTo>
                        <a:pt x="121063" y="35094"/>
                        <a:pt x="121635" y="28236"/>
                        <a:pt x="114491" y="24807"/>
                      </a:cubicBezTo>
                      <a:cubicBezTo>
                        <a:pt x="102775" y="20425"/>
                        <a:pt x="55531" y="-11388"/>
                        <a:pt x="35338" y="4328"/>
                      </a:cubicBezTo>
                      <a:cubicBezTo>
                        <a:pt x="9430" y="24426"/>
                        <a:pt x="5335" y="26045"/>
                        <a:pt x="4192" y="33093"/>
                      </a:cubicBezTo>
                      <a:cubicBezTo>
                        <a:pt x="96" y="58906"/>
                        <a:pt x="-2381" y="64240"/>
                        <a:pt x="3430" y="68431"/>
                      </a:cubicBezTo>
                      <a:cubicBezTo>
                        <a:pt x="24003" y="83100"/>
                        <a:pt x="26861" y="86529"/>
                        <a:pt x="33338" y="84528"/>
                      </a:cubicBezTo>
                      <a:cubicBezTo>
                        <a:pt x="83440" y="68812"/>
                        <a:pt x="85345" y="69003"/>
                        <a:pt x="90107" y="63669"/>
                      </a:cubicBezTo>
                      <a:cubicBezTo>
                        <a:pt x="99156" y="53572"/>
                        <a:pt x="106300" y="44333"/>
                        <a:pt x="111538" y="42999"/>
                      </a:cubicBezTo>
                      <a:cubicBezTo>
                        <a:pt x="115634" y="41952"/>
                        <a:pt x="115348" y="50143"/>
                        <a:pt x="115158" y="49191"/>
                      </a:cubicBezTo>
                      <a:cubicBezTo>
                        <a:pt x="115158" y="56811"/>
                        <a:pt x="124587" y="45762"/>
                        <a:pt x="122588" y="38713"/>
                      </a:cubicBezTo>
                      <a:close/>
                    </a:path>
                  </a:pathLst>
                </a:custGeom>
                <a:grpFill/>
                <a:ln w="9525" cap="flat">
                  <a:noFill/>
                  <a:prstDash val="solid"/>
                  <a:miter/>
                </a:ln>
              </p:spPr>
              <p:txBody>
                <a:bodyPr rtlCol="0" anchor="ctr"/>
                <a:lstStyle/>
                <a:p>
                  <a:endParaRPr lang="en-IN"/>
                </a:p>
              </p:txBody>
            </p:sp>
            <p:grpSp>
              <p:nvGrpSpPr>
                <p:cNvPr id="242" name="Graphic 166">
                  <a:extLst>
                    <a:ext uri="{FF2B5EF4-FFF2-40B4-BE49-F238E27FC236}">
                      <a16:creationId xmlns:a16="http://schemas.microsoft.com/office/drawing/2014/main" id="{1A9F9E34-9F58-0A96-A3EC-6AD8440CA917}"/>
                    </a:ext>
                  </a:extLst>
                </p:cNvPr>
                <p:cNvGrpSpPr/>
                <p:nvPr/>
              </p:nvGrpSpPr>
              <p:grpSpPr>
                <a:xfrm>
                  <a:off x="7836771" y="-679923"/>
                  <a:ext cx="852263" cy="201842"/>
                  <a:chOff x="7836771" y="-679923"/>
                  <a:chExt cx="852263" cy="201842"/>
                </a:xfrm>
                <a:grpFill/>
              </p:grpSpPr>
              <p:sp>
                <p:nvSpPr>
                  <p:cNvPr id="246" name="Freeform: Shape 245">
                    <a:extLst>
                      <a:ext uri="{FF2B5EF4-FFF2-40B4-BE49-F238E27FC236}">
                        <a16:creationId xmlns:a16="http://schemas.microsoft.com/office/drawing/2014/main" id="{D7E0B02C-ACC7-9039-6316-99BA850F1475}"/>
                      </a:ext>
                    </a:extLst>
                  </p:cNvPr>
                  <p:cNvSpPr/>
                  <p:nvPr/>
                </p:nvSpPr>
                <p:spPr>
                  <a:xfrm>
                    <a:off x="8164821" y="-538455"/>
                    <a:ext cx="62571" cy="23266"/>
                  </a:xfrm>
                  <a:custGeom>
                    <a:avLst/>
                    <a:gdLst>
                      <a:gd name="connsiteX0" fmla="*/ 62476 w 62571"/>
                      <a:gd name="connsiteY0" fmla="*/ 19096 h 23266"/>
                      <a:gd name="connsiteX1" fmla="*/ 34664 w 62571"/>
                      <a:gd name="connsiteY1" fmla="*/ 3665 h 23266"/>
                      <a:gd name="connsiteX2" fmla="*/ 27996 w 62571"/>
                      <a:gd name="connsiteY2" fmla="*/ 331 h 23266"/>
                      <a:gd name="connsiteX3" fmla="*/ 1802 w 62571"/>
                      <a:gd name="connsiteY3" fmla="*/ 14333 h 23266"/>
                      <a:gd name="connsiteX4" fmla="*/ 19519 w 62571"/>
                      <a:gd name="connsiteY4" fmla="*/ 23096 h 23266"/>
                      <a:gd name="connsiteX5" fmla="*/ 62572 w 62571"/>
                      <a:gd name="connsiteY5" fmla="*/ 19096 h 23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571" h="23266">
                        <a:moveTo>
                          <a:pt x="62476" y="19096"/>
                        </a:moveTo>
                        <a:cubicBezTo>
                          <a:pt x="62476" y="9761"/>
                          <a:pt x="38188" y="14905"/>
                          <a:pt x="34664" y="3665"/>
                        </a:cubicBezTo>
                        <a:cubicBezTo>
                          <a:pt x="33806" y="808"/>
                          <a:pt x="30758" y="-716"/>
                          <a:pt x="27996" y="331"/>
                        </a:cubicBezTo>
                        <a:cubicBezTo>
                          <a:pt x="4850" y="8523"/>
                          <a:pt x="-4199" y="10142"/>
                          <a:pt x="1802" y="14333"/>
                        </a:cubicBezTo>
                        <a:cubicBezTo>
                          <a:pt x="8088" y="18810"/>
                          <a:pt x="12756" y="23096"/>
                          <a:pt x="19519" y="23096"/>
                        </a:cubicBezTo>
                        <a:cubicBezTo>
                          <a:pt x="55713" y="23096"/>
                          <a:pt x="62572" y="24525"/>
                          <a:pt x="62572" y="19096"/>
                        </a:cubicBezTo>
                        <a:close/>
                      </a:path>
                    </a:pathLst>
                  </a:custGeom>
                  <a:grpFill/>
                  <a:ln w="9525" cap="flat">
                    <a:noFill/>
                    <a:prstDash val="solid"/>
                    <a:miter/>
                  </a:ln>
                </p:spPr>
                <p:txBody>
                  <a:bodyPr rtlCol="0" anchor="ctr"/>
                  <a:lstStyle/>
                  <a:p>
                    <a:endParaRPr lang="en-IN"/>
                  </a:p>
                </p:txBody>
              </p:sp>
              <p:sp>
                <p:nvSpPr>
                  <p:cNvPr id="247" name="Freeform: Shape 246">
                    <a:extLst>
                      <a:ext uri="{FF2B5EF4-FFF2-40B4-BE49-F238E27FC236}">
                        <a16:creationId xmlns:a16="http://schemas.microsoft.com/office/drawing/2014/main" id="{A66A81AE-8A8A-F080-7647-215606EC0B24}"/>
                      </a:ext>
                    </a:extLst>
                  </p:cNvPr>
                  <p:cNvSpPr/>
                  <p:nvPr/>
                </p:nvSpPr>
                <p:spPr>
                  <a:xfrm>
                    <a:off x="8017448" y="-495273"/>
                    <a:ext cx="83488" cy="17192"/>
                  </a:xfrm>
                  <a:custGeom>
                    <a:avLst/>
                    <a:gdLst>
                      <a:gd name="connsiteX0" fmla="*/ 83167 w 83488"/>
                      <a:gd name="connsiteY0" fmla="*/ 12395 h 17192"/>
                      <a:gd name="connsiteX1" fmla="*/ 66308 w 83488"/>
                      <a:gd name="connsiteY1" fmla="*/ 12 h 17192"/>
                      <a:gd name="connsiteX2" fmla="*/ 2014 w 83488"/>
                      <a:gd name="connsiteY2" fmla="*/ 5822 h 17192"/>
                      <a:gd name="connsiteX3" fmla="*/ 34209 w 83488"/>
                      <a:gd name="connsiteY3" fmla="*/ 17157 h 17192"/>
                      <a:gd name="connsiteX4" fmla="*/ 83167 w 83488"/>
                      <a:gd name="connsiteY4" fmla="*/ 12395 h 17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88" h="17192">
                        <a:moveTo>
                          <a:pt x="83167" y="12395"/>
                        </a:moveTo>
                        <a:cubicBezTo>
                          <a:pt x="78595" y="8299"/>
                          <a:pt x="74404" y="-369"/>
                          <a:pt x="66308" y="12"/>
                        </a:cubicBezTo>
                        <a:cubicBezTo>
                          <a:pt x="4586" y="3346"/>
                          <a:pt x="-5130" y="2774"/>
                          <a:pt x="2014" y="5822"/>
                        </a:cubicBezTo>
                        <a:cubicBezTo>
                          <a:pt x="18397" y="12776"/>
                          <a:pt x="26493" y="17252"/>
                          <a:pt x="34209" y="17157"/>
                        </a:cubicBezTo>
                        <a:cubicBezTo>
                          <a:pt x="34209" y="17157"/>
                          <a:pt x="88120" y="17919"/>
                          <a:pt x="83167" y="12395"/>
                        </a:cubicBezTo>
                        <a:close/>
                      </a:path>
                    </a:pathLst>
                  </a:custGeom>
                  <a:grpFill/>
                  <a:ln w="9525" cap="flat">
                    <a:noFill/>
                    <a:prstDash val="solid"/>
                    <a:miter/>
                  </a:ln>
                </p:spPr>
                <p:txBody>
                  <a:bodyPr rtlCol="0" anchor="ctr"/>
                  <a:lstStyle/>
                  <a:p>
                    <a:endParaRPr lang="en-IN"/>
                  </a:p>
                </p:txBody>
              </p:sp>
              <p:sp>
                <p:nvSpPr>
                  <p:cNvPr id="248" name="Freeform: Shape 247">
                    <a:extLst>
                      <a:ext uri="{FF2B5EF4-FFF2-40B4-BE49-F238E27FC236}">
                        <a16:creationId xmlns:a16="http://schemas.microsoft.com/office/drawing/2014/main" id="{6BA9800E-15F4-D863-21DA-4C7572F1BE9C}"/>
                      </a:ext>
                    </a:extLst>
                  </p:cNvPr>
                  <p:cNvSpPr/>
                  <p:nvPr/>
                </p:nvSpPr>
                <p:spPr>
                  <a:xfrm>
                    <a:off x="7836771" y="-529668"/>
                    <a:ext cx="27702" cy="12725"/>
                  </a:xfrm>
                  <a:custGeom>
                    <a:avLst/>
                    <a:gdLst>
                      <a:gd name="connsiteX0" fmla="*/ 26386 w 27702"/>
                      <a:gd name="connsiteY0" fmla="*/ 4022 h 12725"/>
                      <a:gd name="connsiteX1" fmla="*/ 24767 w 27702"/>
                      <a:gd name="connsiteY1" fmla="*/ 2308 h 12725"/>
                      <a:gd name="connsiteX2" fmla="*/ 16861 w 27702"/>
                      <a:gd name="connsiteY2" fmla="*/ 593 h 12725"/>
                      <a:gd name="connsiteX3" fmla="*/ 3240 w 27702"/>
                      <a:gd name="connsiteY3" fmla="*/ 498 h 12725"/>
                      <a:gd name="connsiteX4" fmla="*/ 10765 w 27702"/>
                      <a:gd name="connsiteY4" fmla="*/ 12595 h 12725"/>
                      <a:gd name="connsiteX5" fmla="*/ 26386 w 27702"/>
                      <a:gd name="connsiteY5" fmla="*/ 4022 h 12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2" h="12725">
                        <a:moveTo>
                          <a:pt x="26386" y="4022"/>
                        </a:moveTo>
                        <a:lnTo>
                          <a:pt x="24767" y="2308"/>
                        </a:lnTo>
                        <a:cubicBezTo>
                          <a:pt x="22671" y="117"/>
                          <a:pt x="19147" y="-645"/>
                          <a:pt x="16861" y="593"/>
                        </a:cubicBezTo>
                        <a:cubicBezTo>
                          <a:pt x="11527" y="3355"/>
                          <a:pt x="2288" y="403"/>
                          <a:pt x="3240" y="498"/>
                        </a:cubicBezTo>
                        <a:cubicBezTo>
                          <a:pt x="-4761" y="-1407"/>
                          <a:pt x="3717" y="14309"/>
                          <a:pt x="10765" y="12595"/>
                        </a:cubicBezTo>
                        <a:cubicBezTo>
                          <a:pt x="16766" y="10404"/>
                          <a:pt x="32292" y="10213"/>
                          <a:pt x="26386" y="4022"/>
                        </a:cubicBezTo>
                        <a:close/>
                      </a:path>
                    </a:pathLst>
                  </a:custGeom>
                  <a:grpFill/>
                  <a:ln w="9525" cap="flat">
                    <a:noFill/>
                    <a:prstDash val="solid"/>
                    <a:miter/>
                  </a:ln>
                </p:spPr>
                <p:txBody>
                  <a:bodyPr rtlCol="0" anchor="ctr"/>
                  <a:lstStyle/>
                  <a:p>
                    <a:endParaRPr lang="en-IN"/>
                  </a:p>
                </p:txBody>
              </p:sp>
              <p:sp>
                <p:nvSpPr>
                  <p:cNvPr id="249" name="Freeform: Shape 248">
                    <a:extLst>
                      <a:ext uri="{FF2B5EF4-FFF2-40B4-BE49-F238E27FC236}">
                        <a16:creationId xmlns:a16="http://schemas.microsoft.com/office/drawing/2014/main" id="{4FD65B30-74AE-3166-7AF1-992E7803B2E5}"/>
                      </a:ext>
                    </a:extLst>
                  </p:cNvPr>
                  <p:cNvSpPr/>
                  <p:nvPr/>
                </p:nvSpPr>
                <p:spPr>
                  <a:xfrm>
                    <a:off x="7980778" y="-503875"/>
                    <a:ext cx="16489" cy="9705"/>
                  </a:xfrm>
                  <a:custGeom>
                    <a:avLst/>
                    <a:gdLst>
                      <a:gd name="connsiteX0" fmla="*/ 1156 w 16489"/>
                      <a:gd name="connsiteY0" fmla="*/ 5280 h 9705"/>
                      <a:gd name="connsiteX1" fmla="*/ 2585 w 16489"/>
                      <a:gd name="connsiteY1" fmla="*/ 6899 h 9705"/>
                      <a:gd name="connsiteX2" fmla="*/ 13157 w 16489"/>
                      <a:gd name="connsiteY2" fmla="*/ 8995 h 9705"/>
                      <a:gd name="connsiteX3" fmla="*/ 8205 w 16489"/>
                      <a:gd name="connsiteY3" fmla="*/ 41 h 9705"/>
                      <a:gd name="connsiteX4" fmla="*/ 1156 w 16489"/>
                      <a:gd name="connsiteY4" fmla="*/ 5185 h 9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9" h="9705">
                        <a:moveTo>
                          <a:pt x="1156" y="5280"/>
                        </a:moveTo>
                        <a:lnTo>
                          <a:pt x="2585" y="6899"/>
                        </a:lnTo>
                        <a:cubicBezTo>
                          <a:pt x="6585" y="11662"/>
                          <a:pt x="14110" y="8899"/>
                          <a:pt x="13157" y="8995"/>
                        </a:cubicBezTo>
                        <a:cubicBezTo>
                          <a:pt x="20015" y="6994"/>
                          <a:pt x="15253" y="-626"/>
                          <a:pt x="8205" y="41"/>
                        </a:cubicBezTo>
                        <a:cubicBezTo>
                          <a:pt x="6966" y="422"/>
                          <a:pt x="-3416" y="-245"/>
                          <a:pt x="1156" y="5185"/>
                        </a:cubicBezTo>
                        <a:close/>
                      </a:path>
                    </a:pathLst>
                  </a:custGeom>
                  <a:grpFill/>
                  <a:ln w="9525" cap="flat">
                    <a:noFill/>
                    <a:prstDash val="solid"/>
                    <a:miter/>
                  </a:ln>
                </p:spPr>
                <p:txBody>
                  <a:bodyPr rtlCol="0" anchor="ctr"/>
                  <a:lstStyle/>
                  <a:p>
                    <a:endParaRPr lang="en-IN"/>
                  </a:p>
                </p:txBody>
              </p:sp>
              <p:sp>
                <p:nvSpPr>
                  <p:cNvPr id="250" name="Freeform: Shape 249">
                    <a:extLst>
                      <a:ext uri="{FF2B5EF4-FFF2-40B4-BE49-F238E27FC236}">
                        <a16:creationId xmlns:a16="http://schemas.microsoft.com/office/drawing/2014/main" id="{D030D658-3132-6063-65D9-5FBFE6465FE3}"/>
                      </a:ext>
                    </a:extLst>
                  </p:cNvPr>
                  <p:cNvSpPr/>
                  <p:nvPr/>
                </p:nvSpPr>
                <p:spPr>
                  <a:xfrm>
                    <a:off x="7997840" y="-518517"/>
                    <a:ext cx="17233" cy="11185"/>
                  </a:xfrm>
                  <a:custGeom>
                    <a:avLst/>
                    <a:gdLst>
                      <a:gd name="connsiteX0" fmla="*/ 11716 w 17233"/>
                      <a:gd name="connsiteY0" fmla="*/ 1062 h 11185"/>
                      <a:gd name="connsiteX1" fmla="*/ 0 w 17233"/>
                      <a:gd name="connsiteY1" fmla="*/ 2872 h 11185"/>
                      <a:gd name="connsiteX2" fmla="*/ 12382 w 17233"/>
                      <a:gd name="connsiteY2" fmla="*/ 10873 h 11185"/>
                      <a:gd name="connsiteX3" fmla="*/ 11716 w 17233"/>
                      <a:gd name="connsiteY3" fmla="*/ 1062 h 11185"/>
                    </a:gdLst>
                    <a:ahLst/>
                    <a:cxnLst>
                      <a:cxn ang="0">
                        <a:pos x="connsiteX0" y="connsiteY0"/>
                      </a:cxn>
                      <a:cxn ang="0">
                        <a:pos x="connsiteX1" y="connsiteY1"/>
                      </a:cxn>
                      <a:cxn ang="0">
                        <a:pos x="connsiteX2" y="connsiteY2"/>
                      </a:cxn>
                      <a:cxn ang="0">
                        <a:pos x="connsiteX3" y="connsiteY3"/>
                      </a:cxn>
                    </a:cxnLst>
                    <a:rect l="l" t="t" r="r" b="b"/>
                    <a:pathLst>
                      <a:path w="17233" h="11185">
                        <a:moveTo>
                          <a:pt x="11716" y="1062"/>
                        </a:moveTo>
                        <a:cubicBezTo>
                          <a:pt x="9811" y="1062"/>
                          <a:pt x="0" y="-2271"/>
                          <a:pt x="0" y="2872"/>
                        </a:cubicBezTo>
                        <a:cubicBezTo>
                          <a:pt x="0" y="8016"/>
                          <a:pt x="13335" y="11349"/>
                          <a:pt x="12382" y="10873"/>
                        </a:cubicBezTo>
                        <a:cubicBezTo>
                          <a:pt x="19050" y="13159"/>
                          <a:pt x="18860" y="2205"/>
                          <a:pt x="11716" y="1062"/>
                        </a:cubicBezTo>
                        <a:close/>
                      </a:path>
                    </a:pathLst>
                  </a:custGeom>
                  <a:grpFill/>
                  <a:ln w="9525" cap="flat">
                    <a:noFill/>
                    <a:prstDash val="solid"/>
                    <a:miter/>
                  </a:ln>
                </p:spPr>
                <p:txBody>
                  <a:bodyPr rtlCol="0" anchor="ctr"/>
                  <a:lstStyle/>
                  <a:p>
                    <a:endParaRPr lang="en-IN"/>
                  </a:p>
                </p:txBody>
              </p:sp>
              <p:sp>
                <p:nvSpPr>
                  <p:cNvPr id="251" name="Freeform: Shape 250">
                    <a:extLst>
                      <a:ext uri="{FF2B5EF4-FFF2-40B4-BE49-F238E27FC236}">
                        <a16:creationId xmlns:a16="http://schemas.microsoft.com/office/drawing/2014/main" id="{DC0AFB96-9BE2-1AED-4142-74BB5396DE3A}"/>
                      </a:ext>
                    </a:extLst>
                  </p:cNvPr>
                  <p:cNvSpPr/>
                  <p:nvPr/>
                </p:nvSpPr>
                <p:spPr>
                  <a:xfrm>
                    <a:off x="8632141" y="-644235"/>
                    <a:ext cx="56893" cy="24357"/>
                  </a:xfrm>
                  <a:custGeom>
                    <a:avLst/>
                    <a:gdLst>
                      <a:gd name="connsiteX0" fmla="*/ 56071 w 56893"/>
                      <a:gd name="connsiteY0" fmla="*/ 8957 h 24357"/>
                      <a:gd name="connsiteX1" fmla="*/ 45117 w 56893"/>
                      <a:gd name="connsiteY1" fmla="*/ 3 h 24357"/>
                      <a:gd name="connsiteX2" fmla="*/ 5779 w 56893"/>
                      <a:gd name="connsiteY2" fmla="*/ 5052 h 24357"/>
                      <a:gd name="connsiteX3" fmla="*/ 2731 w 56893"/>
                      <a:gd name="connsiteY3" fmla="*/ 15529 h 24357"/>
                      <a:gd name="connsiteX4" fmla="*/ 44356 w 56893"/>
                      <a:gd name="connsiteY4" fmla="*/ 22578 h 24357"/>
                      <a:gd name="connsiteX5" fmla="*/ 55976 w 56893"/>
                      <a:gd name="connsiteY5" fmla="*/ 8957 h 2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93" h="24357">
                        <a:moveTo>
                          <a:pt x="56071" y="8957"/>
                        </a:moveTo>
                        <a:cubicBezTo>
                          <a:pt x="55118" y="7814"/>
                          <a:pt x="52356" y="-187"/>
                          <a:pt x="45117" y="3"/>
                        </a:cubicBezTo>
                        <a:cubicBezTo>
                          <a:pt x="13494" y="956"/>
                          <a:pt x="10446" y="3"/>
                          <a:pt x="5779" y="5052"/>
                        </a:cubicBezTo>
                        <a:cubicBezTo>
                          <a:pt x="4827" y="6671"/>
                          <a:pt x="-4508" y="13624"/>
                          <a:pt x="2731" y="15529"/>
                        </a:cubicBezTo>
                        <a:cubicBezTo>
                          <a:pt x="34925" y="24102"/>
                          <a:pt x="38355" y="26388"/>
                          <a:pt x="44356" y="22578"/>
                        </a:cubicBezTo>
                        <a:cubicBezTo>
                          <a:pt x="48356" y="19149"/>
                          <a:pt x="60262" y="15910"/>
                          <a:pt x="55976" y="8957"/>
                        </a:cubicBezTo>
                        <a:close/>
                      </a:path>
                    </a:pathLst>
                  </a:custGeom>
                  <a:grpFill/>
                  <a:ln w="9525" cap="flat">
                    <a:noFill/>
                    <a:prstDash val="solid"/>
                    <a:miter/>
                  </a:ln>
                </p:spPr>
                <p:txBody>
                  <a:bodyPr rtlCol="0" anchor="ctr"/>
                  <a:lstStyle/>
                  <a:p>
                    <a:endParaRPr lang="en-IN"/>
                  </a:p>
                </p:txBody>
              </p:sp>
              <p:sp>
                <p:nvSpPr>
                  <p:cNvPr id="252" name="Freeform: Shape 251">
                    <a:extLst>
                      <a:ext uri="{FF2B5EF4-FFF2-40B4-BE49-F238E27FC236}">
                        <a16:creationId xmlns:a16="http://schemas.microsoft.com/office/drawing/2014/main" id="{CF1FB079-E54A-F7FF-7E77-BA10BC45161F}"/>
                      </a:ext>
                    </a:extLst>
                  </p:cNvPr>
                  <p:cNvSpPr/>
                  <p:nvPr/>
                </p:nvSpPr>
                <p:spPr>
                  <a:xfrm>
                    <a:off x="8359702" y="-601050"/>
                    <a:ext cx="96882" cy="25100"/>
                  </a:xfrm>
                  <a:custGeom>
                    <a:avLst/>
                    <a:gdLst>
                      <a:gd name="connsiteX0" fmla="*/ 62762 w 96882"/>
                      <a:gd name="connsiteY0" fmla="*/ 2824 h 25100"/>
                      <a:gd name="connsiteX1" fmla="*/ 39616 w 96882"/>
                      <a:gd name="connsiteY1" fmla="*/ 1586 h 25100"/>
                      <a:gd name="connsiteX2" fmla="*/ 36854 w 96882"/>
                      <a:gd name="connsiteY2" fmla="*/ 7682 h 25100"/>
                      <a:gd name="connsiteX3" fmla="*/ 10470 w 96882"/>
                      <a:gd name="connsiteY3" fmla="*/ 8444 h 25100"/>
                      <a:gd name="connsiteX4" fmla="*/ 2659 w 96882"/>
                      <a:gd name="connsiteY4" fmla="*/ 20731 h 25100"/>
                      <a:gd name="connsiteX5" fmla="*/ 25996 w 96882"/>
                      <a:gd name="connsiteY5" fmla="*/ 24827 h 25100"/>
                      <a:gd name="connsiteX6" fmla="*/ 67049 w 96882"/>
                      <a:gd name="connsiteY6" fmla="*/ 21112 h 25100"/>
                      <a:gd name="connsiteX7" fmla="*/ 75716 w 96882"/>
                      <a:gd name="connsiteY7" fmla="*/ 14445 h 25100"/>
                      <a:gd name="connsiteX8" fmla="*/ 83717 w 96882"/>
                      <a:gd name="connsiteY8" fmla="*/ 10158 h 25100"/>
                      <a:gd name="connsiteX9" fmla="*/ 95052 w 96882"/>
                      <a:gd name="connsiteY9" fmla="*/ 8920 h 25100"/>
                      <a:gd name="connsiteX10" fmla="*/ 62857 w 96882"/>
                      <a:gd name="connsiteY10" fmla="*/ 2919 h 2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82" h="25100">
                        <a:moveTo>
                          <a:pt x="62762" y="2824"/>
                        </a:moveTo>
                        <a:lnTo>
                          <a:pt x="39616" y="1586"/>
                        </a:lnTo>
                        <a:cubicBezTo>
                          <a:pt x="33616" y="1300"/>
                          <a:pt x="36950" y="8634"/>
                          <a:pt x="36854" y="7682"/>
                        </a:cubicBezTo>
                        <a:cubicBezTo>
                          <a:pt x="41522" y="18636"/>
                          <a:pt x="19138" y="919"/>
                          <a:pt x="10470" y="8444"/>
                        </a:cubicBezTo>
                        <a:cubicBezTo>
                          <a:pt x="7232" y="12063"/>
                          <a:pt x="-5437" y="19302"/>
                          <a:pt x="2659" y="20731"/>
                        </a:cubicBezTo>
                        <a:lnTo>
                          <a:pt x="25996" y="24827"/>
                        </a:lnTo>
                        <a:cubicBezTo>
                          <a:pt x="34569" y="26351"/>
                          <a:pt x="68001" y="21017"/>
                          <a:pt x="67049" y="21112"/>
                        </a:cubicBezTo>
                        <a:cubicBezTo>
                          <a:pt x="72954" y="20350"/>
                          <a:pt x="76574" y="13492"/>
                          <a:pt x="75716" y="14445"/>
                        </a:cubicBezTo>
                        <a:cubicBezTo>
                          <a:pt x="77145" y="11873"/>
                          <a:pt x="80765" y="9968"/>
                          <a:pt x="83717" y="10158"/>
                        </a:cubicBezTo>
                        <a:cubicBezTo>
                          <a:pt x="88766" y="10539"/>
                          <a:pt x="101624" y="12540"/>
                          <a:pt x="95052" y="8920"/>
                        </a:cubicBezTo>
                        <a:cubicBezTo>
                          <a:pt x="65715" y="-7272"/>
                          <a:pt x="77812" y="3681"/>
                          <a:pt x="62857" y="2919"/>
                        </a:cubicBezTo>
                        <a:close/>
                      </a:path>
                    </a:pathLst>
                  </a:custGeom>
                  <a:grpFill/>
                  <a:ln w="9525" cap="flat">
                    <a:noFill/>
                    <a:prstDash val="solid"/>
                    <a:miter/>
                  </a:ln>
                </p:spPr>
                <p:txBody>
                  <a:bodyPr rtlCol="0" anchor="ctr"/>
                  <a:lstStyle/>
                  <a:p>
                    <a:endParaRPr lang="en-IN"/>
                  </a:p>
                </p:txBody>
              </p:sp>
              <p:sp>
                <p:nvSpPr>
                  <p:cNvPr id="253" name="Freeform: Shape 252">
                    <a:extLst>
                      <a:ext uri="{FF2B5EF4-FFF2-40B4-BE49-F238E27FC236}">
                        <a16:creationId xmlns:a16="http://schemas.microsoft.com/office/drawing/2014/main" id="{3DD6C982-2EE5-CC3F-400E-BEE1635B5541}"/>
                      </a:ext>
                    </a:extLst>
                  </p:cNvPr>
                  <p:cNvSpPr/>
                  <p:nvPr/>
                </p:nvSpPr>
                <p:spPr>
                  <a:xfrm>
                    <a:off x="8380619" y="-679923"/>
                    <a:ext cx="58661" cy="21188"/>
                  </a:xfrm>
                  <a:custGeom>
                    <a:avLst/>
                    <a:gdLst>
                      <a:gd name="connsiteX0" fmla="*/ 57562 w 58661"/>
                      <a:gd name="connsiteY0" fmla="*/ 5402 h 21188"/>
                      <a:gd name="connsiteX1" fmla="*/ 34512 w 58661"/>
                      <a:gd name="connsiteY1" fmla="*/ 3592 h 21188"/>
                      <a:gd name="connsiteX2" fmla="*/ 25844 w 58661"/>
                      <a:gd name="connsiteY2" fmla="*/ 4926 h 21188"/>
                      <a:gd name="connsiteX3" fmla="*/ 9270 w 58661"/>
                      <a:gd name="connsiteY3" fmla="*/ 1211 h 21188"/>
                      <a:gd name="connsiteX4" fmla="*/ 2222 w 58661"/>
                      <a:gd name="connsiteY4" fmla="*/ 10164 h 21188"/>
                      <a:gd name="connsiteX5" fmla="*/ 35464 w 58661"/>
                      <a:gd name="connsiteY5" fmla="*/ 19975 h 21188"/>
                      <a:gd name="connsiteX6" fmla="*/ 57562 w 58661"/>
                      <a:gd name="connsiteY6" fmla="*/ 5307 h 2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61" h="21188">
                        <a:moveTo>
                          <a:pt x="57562" y="5402"/>
                        </a:moveTo>
                        <a:cubicBezTo>
                          <a:pt x="49656" y="3878"/>
                          <a:pt x="40417" y="-2313"/>
                          <a:pt x="34512" y="3592"/>
                        </a:cubicBezTo>
                        <a:cubicBezTo>
                          <a:pt x="33559" y="4068"/>
                          <a:pt x="30321" y="7307"/>
                          <a:pt x="25844" y="4926"/>
                        </a:cubicBezTo>
                        <a:cubicBezTo>
                          <a:pt x="22510" y="3687"/>
                          <a:pt x="15938" y="-2599"/>
                          <a:pt x="9270" y="1211"/>
                        </a:cubicBezTo>
                        <a:cubicBezTo>
                          <a:pt x="7270" y="2830"/>
                          <a:pt x="-4922" y="7116"/>
                          <a:pt x="2222" y="10164"/>
                        </a:cubicBezTo>
                        <a:cubicBezTo>
                          <a:pt x="25748" y="20261"/>
                          <a:pt x="28987" y="23118"/>
                          <a:pt x="35464" y="19975"/>
                        </a:cubicBezTo>
                        <a:cubicBezTo>
                          <a:pt x="35464" y="19975"/>
                          <a:pt x="64611" y="7402"/>
                          <a:pt x="57562" y="5307"/>
                        </a:cubicBezTo>
                        <a:close/>
                      </a:path>
                    </a:pathLst>
                  </a:custGeom>
                  <a:grpFill/>
                  <a:ln w="9525" cap="flat">
                    <a:noFill/>
                    <a:prstDash val="solid"/>
                    <a:miter/>
                  </a:ln>
                </p:spPr>
                <p:txBody>
                  <a:bodyPr rtlCol="0" anchor="ctr"/>
                  <a:lstStyle/>
                  <a:p>
                    <a:endParaRPr lang="en-IN"/>
                  </a:p>
                </p:txBody>
              </p:sp>
              <p:sp>
                <p:nvSpPr>
                  <p:cNvPr id="254" name="Freeform: Shape 253">
                    <a:extLst>
                      <a:ext uri="{FF2B5EF4-FFF2-40B4-BE49-F238E27FC236}">
                        <a16:creationId xmlns:a16="http://schemas.microsoft.com/office/drawing/2014/main" id="{364D5622-27F4-1AB6-FD31-81E858484BF0}"/>
                      </a:ext>
                    </a:extLst>
                  </p:cNvPr>
                  <p:cNvSpPr/>
                  <p:nvPr/>
                </p:nvSpPr>
                <p:spPr>
                  <a:xfrm>
                    <a:off x="8417800" y="-628780"/>
                    <a:ext cx="70979" cy="23990"/>
                  </a:xfrm>
                  <a:custGeom>
                    <a:avLst/>
                    <a:gdLst>
                      <a:gd name="connsiteX0" fmla="*/ 53337 w 70979"/>
                      <a:gd name="connsiteY0" fmla="*/ 23219 h 23990"/>
                      <a:gd name="connsiteX1" fmla="*/ 68482 w 70979"/>
                      <a:gd name="connsiteY1" fmla="*/ 9408 h 23990"/>
                      <a:gd name="connsiteX2" fmla="*/ 44765 w 70979"/>
                      <a:gd name="connsiteY2" fmla="*/ 8074 h 23990"/>
                      <a:gd name="connsiteX3" fmla="*/ 44384 w 70979"/>
                      <a:gd name="connsiteY3" fmla="*/ 8265 h 23990"/>
                      <a:gd name="connsiteX4" fmla="*/ 1331 w 70979"/>
                      <a:gd name="connsiteY4" fmla="*/ 2550 h 23990"/>
                      <a:gd name="connsiteX5" fmla="*/ 19428 w 70979"/>
                      <a:gd name="connsiteY5" fmla="*/ 17409 h 23990"/>
                      <a:gd name="connsiteX6" fmla="*/ 53337 w 70979"/>
                      <a:gd name="connsiteY6" fmla="*/ 23124 h 23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79" h="23990">
                        <a:moveTo>
                          <a:pt x="53337" y="23219"/>
                        </a:moveTo>
                        <a:cubicBezTo>
                          <a:pt x="66768" y="14932"/>
                          <a:pt x="75530" y="10932"/>
                          <a:pt x="68482" y="9408"/>
                        </a:cubicBezTo>
                        <a:cubicBezTo>
                          <a:pt x="54861" y="6455"/>
                          <a:pt x="50289" y="4645"/>
                          <a:pt x="44765" y="8074"/>
                        </a:cubicBezTo>
                        <a:lnTo>
                          <a:pt x="44384" y="8265"/>
                        </a:lnTo>
                        <a:cubicBezTo>
                          <a:pt x="34478" y="14456"/>
                          <a:pt x="-8004" y="-7166"/>
                          <a:pt x="1331" y="2550"/>
                        </a:cubicBezTo>
                        <a:cubicBezTo>
                          <a:pt x="8284" y="9789"/>
                          <a:pt x="12570" y="15409"/>
                          <a:pt x="19428" y="17409"/>
                        </a:cubicBezTo>
                        <a:cubicBezTo>
                          <a:pt x="19428" y="17409"/>
                          <a:pt x="47431" y="26839"/>
                          <a:pt x="53337" y="23124"/>
                        </a:cubicBezTo>
                        <a:close/>
                      </a:path>
                    </a:pathLst>
                  </a:custGeom>
                  <a:grpFill/>
                  <a:ln w="9525" cap="flat">
                    <a:noFill/>
                    <a:prstDash val="solid"/>
                    <a:miter/>
                  </a:ln>
                </p:spPr>
                <p:txBody>
                  <a:bodyPr rtlCol="0" anchor="ctr"/>
                  <a:lstStyle/>
                  <a:p>
                    <a:endParaRPr lang="en-IN"/>
                  </a:p>
                </p:txBody>
              </p:sp>
              <p:sp>
                <p:nvSpPr>
                  <p:cNvPr id="255" name="Freeform: Shape 254">
                    <a:extLst>
                      <a:ext uri="{FF2B5EF4-FFF2-40B4-BE49-F238E27FC236}">
                        <a16:creationId xmlns:a16="http://schemas.microsoft.com/office/drawing/2014/main" id="{6E81F249-CE55-1BBA-4F16-42FCB5927EB8}"/>
                      </a:ext>
                    </a:extLst>
                  </p:cNvPr>
                  <p:cNvSpPr/>
                  <p:nvPr/>
                </p:nvSpPr>
                <p:spPr>
                  <a:xfrm>
                    <a:off x="8479935" y="-637055"/>
                    <a:ext cx="32750" cy="16526"/>
                  </a:xfrm>
                  <a:custGeom>
                    <a:avLst/>
                    <a:gdLst>
                      <a:gd name="connsiteX0" fmla="*/ 30731 w 32750"/>
                      <a:gd name="connsiteY0" fmla="*/ 9587 h 16526"/>
                      <a:gd name="connsiteX1" fmla="*/ 7871 w 32750"/>
                      <a:gd name="connsiteY1" fmla="*/ 158 h 16526"/>
                      <a:gd name="connsiteX2" fmla="*/ 1775 w 32750"/>
                      <a:gd name="connsiteY2" fmla="*/ 4730 h 16526"/>
                      <a:gd name="connsiteX3" fmla="*/ 25112 w 32750"/>
                      <a:gd name="connsiteY3" fmla="*/ 15874 h 16526"/>
                      <a:gd name="connsiteX4" fmla="*/ 30827 w 32750"/>
                      <a:gd name="connsiteY4" fmla="*/ 9587 h 16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50" h="16526">
                        <a:moveTo>
                          <a:pt x="30731" y="9587"/>
                        </a:moveTo>
                        <a:cubicBezTo>
                          <a:pt x="17587" y="1872"/>
                          <a:pt x="14253" y="-700"/>
                          <a:pt x="7871" y="158"/>
                        </a:cubicBezTo>
                        <a:cubicBezTo>
                          <a:pt x="6823" y="539"/>
                          <a:pt x="-4225" y="539"/>
                          <a:pt x="1775" y="4730"/>
                        </a:cubicBezTo>
                        <a:cubicBezTo>
                          <a:pt x="15396" y="14445"/>
                          <a:pt x="18634" y="18160"/>
                          <a:pt x="25112" y="15874"/>
                        </a:cubicBezTo>
                        <a:cubicBezTo>
                          <a:pt x="26064" y="15302"/>
                          <a:pt x="37113" y="13207"/>
                          <a:pt x="30827" y="9587"/>
                        </a:cubicBezTo>
                        <a:close/>
                      </a:path>
                    </a:pathLst>
                  </a:custGeom>
                  <a:grpFill/>
                  <a:ln w="9525" cap="flat">
                    <a:noFill/>
                    <a:prstDash val="solid"/>
                    <a:miter/>
                  </a:ln>
                </p:spPr>
                <p:txBody>
                  <a:bodyPr rtlCol="0" anchor="ctr"/>
                  <a:lstStyle/>
                  <a:p>
                    <a:endParaRPr lang="en-IN"/>
                  </a:p>
                </p:txBody>
              </p:sp>
              <p:sp>
                <p:nvSpPr>
                  <p:cNvPr id="256" name="Freeform: Shape 255">
                    <a:extLst>
                      <a:ext uri="{FF2B5EF4-FFF2-40B4-BE49-F238E27FC236}">
                        <a16:creationId xmlns:a16="http://schemas.microsoft.com/office/drawing/2014/main" id="{036D1D27-4997-58E0-DF49-FA7CBB8BFD68}"/>
                      </a:ext>
                    </a:extLst>
                  </p:cNvPr>
                  <p:cNvSpPr/>
                  <p:nvPr/>
                </p:nvSpPr>
                <p:spPr>
                  <a:xfrm>
                    <a:off x="8491965" y="-610664"/>
                    <a:ext cx="42481" cy="16372"/>
                  </a:xfrm>
                  <a:custGeom>
                    <a:avLst/>
                    <a:gdLst>
                      <a:gd name="connsiteX0" fmla="*/ 32417 w 42481"/>
                      <a:gd name="connsiteY0" fmla="*/ 3198 h 16372"/>
                      <a:gd name="connsiteX1" fmla="*/ 8700 w 42481"/>
                      <a:gd name="connsiteY1" fmla="*/ 1865 h 16372"/>
                      <a:gd name="connsiteX2" fmla="*/ 2508 w 42481"/>
                      <a:gd name="connsiteY2" fmla="*/ 10056 h 16372"/>
                      <a:gd name="connsiteX3" fmla="*/ 41751 w 42481"/>
                      <a:gd name="connsiteY3" fmla="*/ 12628 h 16372"/>
                      <a:gd name="connsiteX4" fmla="*/ 32322 w 42481"/>
                      <a:gd name="connsiteY4" fmla="*/ 3198 h 16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1" h="16372">
                        <a:moveTo>
                          <a:pt x="32417" y="3198"/>
                        </a:moveTo>
                        <a:cubicBezTo>
                          <a:pt x="18796" y="245"/>
                          <a:pt x="14224" y="-1564"/>
                          <a:pt x="8700" y="1865"/>
                        </a:cubicBezTo>
                        <a:cubicBezTo>
                          <a:pt x="6890" y="3389"/>
                          <a:pt x="-5112" y="8723"/>
                          <a:pt x="2508" y="10056"/>
                        </a:cubicBezTo>
                        <a:cubicBezTo>
                          <a:pt x="37846" y="16343"/>
                          <a:pt x="45085" y="19200"/>
                          <a:pt x="41751" y="12628"/>
                        </a:cubicBezTo>
                        <a:cubicBezTo>
                          <a:pt x="41751" y="12628"/>
                          <a:pt x="39085" y="4722"/>
                          <a:pt x="32322" y="3198"/>
                        </a:cubicBezTo>
                        <a:close/>
                      </a:path>
                    </a:pathLst>
                  </a:custGeom>
                  <a:grpFill/>
                  <a:ln w="9525" cap="flat">
                    <a:noFill/>
                    <a:prstDash val="solid"/>
                    <a:miter/>
                  </a:ln>
                </p:spPr>
                <p:txBody>
                  <a:bodyPr rtlCol="0" anchor="ctr"/>
                  <a:lstStyle/>
                  <a:p>
                    <a:endParaRPr lang="en-IN"/>
                  </a:p>
                </p:txBody>
              </p:sp>
              <p:sp>
                <p:nvSpPr>
                  <p:cNvPr id="257" name="Freeform: Shape 256">
                    <a:extLst>
                      <a:ext uri="{FF2B5EF4-FFF2-40B4-BE49-F238E27FC236}">
                        <a16:creationId xmlns:a16="http://schemas.microsoft.com/office/drawing/2014/main" id="{6C767525-911B-0637-D88B-CB240263AB6F}"/>
                      </a:ext>
                    </a:extLst>
                  </p:cNvPr>
                  <p:cNvSpPr/>
                  <p:nvPr/>
                </p:nvSpPr>
                <p:spPr>
                  <a:xfrm>
                    <a:off x="8430226" y="-537048"/>
                    <a:ext cx="17466" cy="29594"/>
                  </a:xfrm>
                  <a:custGeom>
                    <a:avLst/>
                    <a:gdLst>
                      <a:gd name="connsiteX0" fmla="*/ 8051 w 17466"/>
                      <a:gd name="connsiteY0" fmla="*/ 29595 h 29594"/>
                      <a:gd name="connsiteX1" fmla="*/ 16433 w 17466"/>
                      <a:gd name="connsiteY1" fmla="*/ 24166 h 29594"/>
                      <a:gd name="connsiteX2" fmla="*/ 12336 w 17466"/>
                      <a:gd name="connsiteY2" fmla="*/ 67 h 29594"/>
                      <a:gd name="connsiteX3" fmla="*/ 49 w 17466"/>
                      <a:gd name="connsiteY3" fmla="*/ 7116 h 29594"/>
                      <a:gd name="connsiteX4" fmla="*/ 8051 w 17466"/>
                      <a:gd name="connsiteY4" fmla="*/ 29500 h 29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66" h="29594">
                        <a:moveTo>
                          <a:pt x="8051" y="29595"/>
                        </a:moveTo>
                        <a:cubicBezTo>
                          <a:pt x="9003" y="29309"/>
                          <a:pt x="16051" y="30928"/>
                          <a:pt x="16433" y="24166"/>
                        </a:cubicBezTo>
                        <a:cubicBezTo>
                          <a:pt x="15956" y="12545"/>
                          <a:pt x="21004" y="-1076"/>
                          <a:pt x="12336" y="67"/>
                        </a:cubicBezTo>
                        <a:cubicBezTo>
                          <a:pt x="9765" y="925"/>
                          <a:pt x="-808" y="-504"/>
                          <a:pt x="49" y="7116"/>
                        </a:cubicBezTo>
                        <a:cubicBezTo>
                          <a:pt x="49" y="7116"/>
                          <a:pt x="-522" y="29500"/>
                          <a:pt x="8051" y="29500"/>
                        </a:cubicBezTo>
                        <a:close/>
                      </a:path>
                    </a:pathLst>
                  </a:custGeom>
                  <a:grpFill/>
                  <a:ln w="9525" cap="flat">
                    <a:noFill/>
                    <a:prstDash val="solid"/>
                    <a:miter/>
                  </a:ln>
                </p:spPr>
                <p:txBody>
                  <a:bodyPr rtlCol="0" anchor="ctr"/>
                  <a:lstStyle/>
                  <a:p>
                    <a:endParaRPr lang="en-IN"/>
                  </a:p>
                </p:txBody>
              </p:sp>
              <p:sp>
                <p:nvSpPr>
                  <p:cNvPr id="258" name="Freeform: Shape 257">
                    <a:extLst>
                      <a:ext uri="{FF2B5EF4-FFF2-40B4-BE49-F238E27FC236}">
                        <a16:creationId xmlns:a16="http://schemas.microsoft.com/office/drawing/2014/main" id="{B86DEAB5-6400-6C12-399C-5737EBC342D3}"/>
                      </a:ext>
                    </a:extLst>
                  </p:cNvPr>
                  <p:cNvSpPr/>
                  <p:nvPr/>
                </p:nvSpPr>
                <p:spPr>
                  <a:xfrm>
                    <a:off x="8381243" y="-534345"/>
                    <a:ext cx="37022" cy="28558"/>
                  </a:xfrm>
                  <a:custGeom>
                    <a:avLst/>
                    <a:gdLst>
                      <a:gd name="connsiteX0" fmla="*/ 34364 w 37022"/>
                      <a:gd name="connsiteY0" fmla="*/ 23178 h 28558"/>
                      <a:gd name="connsiteX1" fmla="*/ 33316 w 37022"/>
                      <a:gd name="connsiteY1" fmla="*/ 2127 h 28558"/>
                      <a:gd name="connsiteX2" fmla="*/ 22457 w 37022"/>
                      <a:gd name="connsiteY2" fmla="*/ 318 h 28558"/>
                      <a:gd name="connsiteX3" fmla="*/ 6932 w 37022"/>
                      <a:gd name="connsiteY3" fmla="*/ 9271 h 28558"/>
                      <a:gd name="connsiteX4" fmla="*/ 4074 w 37022"/>
                      <a:gd name="connsiteY4" fmla="*/ 20415 h 28558"/>
                      <a:gd name="connsiteX5" fmla="*/ 2931 w 37022"/>
                      <a:gd name="connsiteY5" fmla="*/ 27178 h 28558"/>
                      <a:gd name="connsiteX6" fmla="*/ 34268 w 37022"/>
                      <a:gd name="connsiteY6" fmla="*/ 23273 h 2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22" h="28558">
                        <a:moveTo>
                          <a:pt x="34364" y="23178"/>
                        </a:moveTo>
                        <a:cubicBezTo>
                          <a:pt x="34935" y="16224"/>
                          <a:pt x="40650" y="6033"/>
                          <a:pt x="33316" y="2127"/>
                        </a:cubicBezTo>
                        <a:cubicBezTo>
                          <a:pt x="32363" y="1842"/>
                          <a:pt x="28077" y="-921"/>
                          <a:pt x="22457" y="318"/>
                        </a:cubicBezTo>
                        <a:cubicBezTo>
                          <a:pt x="17504" y="2223"/>
                          <a:pt x="5979" y="1270"/>
                          <a:pt x="6932" y="9271"/>
                        </a:cubicBezTo>
                        <a:cubicBezTo>
                          <a:pt x="6932" y="10224"/>
                          <a:pt x="8551" y="15843"/>
                          <a:pt x="4074" y="20415"/>
                        </a:cubicBezTo>
                        <a:cubicBezTo>
                          <a:pt x="3503" y="21368"/>
                          <a:pt x="-4022" y="26797"/>
                          <a:pt x="2931" y="27178"/>
                        </a:cubicBezTo>
                        <a:cubicBezTo>
                          <a:pt x="2931" y="27178"/>
                          <a:pt x="32554" y="32131"/>
                          <a:pt x="34268" y="23273"/>
                        </a:cubicBezTo>
                        <a:close/>
                      </a:path>
                    </a:pathLst>
                  </a:custGeom>
                  <a:grpFill/>
                  <a:ln w="9525" cap="flat">
                    <a:noFill/>
                    <a:prstDash val="solid"/>
                    <a:miter/>
                  </a:ln>
                </p:spPr>
                <p:txBody>
                  <a:bodyPr rtlCol="0" anchor="ctr"/>
                  <a:lstStyle/>
                  <a:p>
                    <a:endParaRPr lang="en-IN"/>
                  </a:p>
                </p:txBody>
              </p:sp>
              <p:sp>
                <p:nvSpPr>
                  <p:cNvPr id="259" name="Freeform: Shape 258">
                    <a:extLst>
                      <a:ext uri="{FF2B5EF4-FFF2-40B4-BE49-F238E27FC236}">
                        <a16:creationId xmlns:a16="http://schemas.microsoft.com/office/drawing/2014/main" id="{7ACCF255-E463-9E43-CFF8-E90588F4FB66}"/>
                      </a:ext>
                    </a:extLst>
                  </p:cNvPr>
                  <p:cNvSpPr/>
                  <p:nvPr/>
                </p:nvSpPr>
                <p:spPr>
                  <a:xfrm>
                    <a:off x="8459469" y="-550551"/>
                    <a:ext cx="66643" cy="38105"/>
                  </a:xfrm>
                  <a:custGeom>
                    <a:avLst/>
                    <a:gdLst>
                      <a:gd name="connsiteX0" fmla="*/ 30719 w 66643"/>
                      <a:gd name="connsiteY0" fmla="*/ 45 h 38105"/>
                      <a:gd name="connsiteX1" fmla="*/ 1954 w 66643"/>
                      <a:gd name="connsiteY1" fmla="*/ 8522 h 38105"/>
                      <a:gd name="connsiteX2" fmla="*/ 2239 w 66643"/>
                      <a:gd name="connsiteY2" fmla="*/ 23381 h 38105"/>
                      <a:gd name="connsiteX3" fmla="*/ 17575 w 66643"/>
                      <a:gd name="connsiteY3" fmla="*/ 36239 h 38105"/>
                      <a:gd name="connsiteX4" fmla="*/ 29386 w 66643"/>
                      <a:gd name="connsiteY4" fmla="*/ 34525 h 38105"/>
                      <a:gd name="connsiteX5" fmla="*/ 30147 w 66643"/>
                      <a:gd name="connsiteY5" fmla="*/ 25476 h 38105"/>
                      <a:gd name="connsiteX6" fmla="*/ 64438 w 66643"/>
                      <a:gd name="connsiteY6" fmla="*/ 9570 h 38105"/>
                      <a:gd name="connsiteX7" fmla="*/ 30814 w 66643"/>
                      <a:gd name="connsiteY7" fmla="*/ 140 h 3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43" h="38105">
                        <a:moveTo>
                          <a:pt x="30719" y="45"/>
                        </a:moveTo>
                        <a:cubicBezTo>
                          <a:pt x="9954" y="2521"/>
                          <a:pt x="3953" y="1854"/>
                          <a:pt x="1954" y="8522"/>
                        </a:cubicBezTo>
                        <a:cubicBezTo>
                          <a:pt x="1763" y="10236"/>
                          <a:pt x="-2524" y="17761"/>
                          <a:pt x="2239" y="23381"/>
                        </a:cubicBezTo>
                        <a:cubicBezTo>
                          <a:pt x="7954" y="30144"/>
                          <a:pt x="11097" y="34906"/>
                          <a:pt x="17575" y="36239"/>
                        </a:cubicBezTo>
                        <a:cubicBezTo>
                          <a:pt x="20908" y="36430"/>
                          <a:pt x="33386" y="41288"/>
                          <a:pt x="29386" y="34525"/>
                        </a:cubicBezTo>
                        <a:cubicBezTo>
                          <a:pt x="29100" y="33573"/>
                          <a:pt x="23766" y="27667"/>
                          <a:pt x="30147" y="25476"/>
                        </a:cubicBezTo>
                        <a:cubicBezTo>
                          <a:pt x="62056" y="14142"/>
                          <a:pt x="71486" y="12141"/>
                          <a:pt x="64438" y="9570"/>
                        </a:cubicBezTo>
                        <a:cubicBezTo>
                          <a:pt x="46435" y="3188"/>
                          <a:pt x="38529" y="-813"/>
                          <a:pt x="30814" y="140"/>
                        </a:cubicBezTo>
                        <a:close/>
                      </a:path>
                    </a:pathLst>
                  </a:custGeom>
                  <a:grpFill/>
                  <a:ln w="9525" cap="flat">
                    <a:noFill/>
                    <a:prstDash val="solid"/>
                    <a:miter/>
                  </a:ln>
                </p:spPr>
                <p:txBody>
                  <a:bodyPr rtlCol="0" anchor="ctr"/>
                  <a:lstStyle/>
                  <a:p>
                    <a:endParaRPr lang="en-IN"/>
                  </a:p>
                </p:txBody>
              </p:sp>
              <p:sp>
                <p:nvSpPr>
                  <p:cNvPr id="260" name="Freeform: Shape 259">
                    <a:extLst>
                      <a:ext uri="{FF2B5EF4-FFF2-40B4-BE49-F238E27FC236}">
                        <a16:creationId xmlns:a16="http://schemas.microsoft.com/office/drawing/2014/main" id="{2B3ECE3E-1B1A-6BF3-8B8F-5689DD84F5ED}"/>
                      </a:ext>
                    </a:extLst>
                  </p:cNvPr>
                  <p:cNvSpPr/>
                  <p:nvPr/>
                </p:nvSpPr>
                <p:spPr>
                  <a:xfrm>
                    <a:off x="8553588" y="-502988"/>
                    <a:ext cx="56536" cy="24211"/>
                  </a:xfrm>
                  <a:custGeom>
                    <a:avLst/>
                    <a:gdLst>
                      <a:gd name="connsiteX0" fmla="*/ 36611 w 56536"/>
                      <a:gd name="connsiteY0" fmla="*/ 23634 h 24211"/>
                      <a:gd name="connsiteX1" fmla="*/ 54042 w 56536"/>
                      <a:gd name="connsiteY1" fmla="*/ 9156 h 24211"/>
                      <a:gd name="connsiteX2" fmla="*/ 16228 w 56536"/>
                      <a:gd name="connsiteY2" fmla="*/ 4393 h 24211"/>
                      <a:gd name="connsiteX3" fmla="*/ 7179 w 56536"/>
                      <a:gd name="connsiteY3" fmla="*/ 1536 h 24211"/>
                      <a:gd name="connsiteX4" fmla="*/ 2417 w 56536"/>
                      <a:gd name="connsiteY4" fmla="*/ 12680 h 24211"/>
                      <a:gd name="connsiteX5" fmla="*/ 36611 w 56536"/>
                      <a:gd name="connsiteY5" fmla="*/ 23634 h 2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36" h="24211">
                        <a:moveTo>
                          <a:pt x="36611" y="23634"/>
                        </a:moveTo>
                        <a:cubicBezTo>
                          <a:pt x="50994" y="14585"/>
                          <a:pt x="61567" y="9251"/>
                          <a:pt x="54042" y="9156"/>
                        </a:cubicBezTo>
                        <a:cubicBezTo>
                          <a:pt x="25849" y="8775"/>
                          <a:pt x="20609" y="10013"/>
                          <a:pt x="16228" y="4393"/>
                        </a:cubicBezTo>
                        <a:cubicBezTo>
                          <a:pt x="15275" y="3727"/>
                          <a:pt x="12133" y="-2941"/>
                          <a:pt x="7179" y="1536"/>
                        </a:cubicBezTo>
                        <a:cubicBezTo>
                          <a:pt x="5560" y="3631"/>
                          <a:pt x="-4536" y="9442"/>
                          <a:pt x="2417" y="12680"/>
                        </a:cubicBezTo>
                        <a:cubicBezTo>
                          <a:pt x="2417" y="12680"/>
                          <a:pt x="30897" y="27253"/>
                          <a:pt x="36611" y="23634"/>
                        </a:cubicBezTo>
                        <a:close/>
                      </a:path>
                    </a:pathLst>
                  </a:custGeom>
                  <a:grpFill/>
                  <a:ln w="9525" cap="flat">
                    <a:noFill/>
                    <a:prstDash val="solid"/>
                    <a:miter/>
                  </a:ln>
                </p:spPr>
                <p:txBody>
                  <a:bodyPr rtlCol="0" anchor="ctr"/>
                  <a:lstStyle/>
                  <a:p>
                    <a:endParaRPr lang="en-IN"/>
                  </a:p>
                </p:txBody>
              </p:sp>
              <p:sp>
                <p:nvSpPr>
                  <p:cNvPr id="261" name="Freeform: Shape 260">
                    <a:extLst>
                      <a:ext uri="{FF2B5EF4-FFF2-40B4-BE49-F238E27FC236}">
                        <a16:creationId xmlns:a16="http://schemas.microsoft.com/office/drawing/2014/main" id="{23426D3E-8D48-F963-6290-74ACC70CD115}"/>
                      </a:ext>
                    </a:extLst>
                  </p:cNvPr>
                  <p:cNvSpPr/>
                  <p:nvPr/>
                </p:nvSpPr>
                <p:spPr>
                  <a:xfrm>
                    <a:off x="8449077" y="-662201"/>
                    <a:ext cx="22292" cy="14700"/>
                  </a:xfrm>
                  <a:custGeom>
                    <a:avLst/>
                    <a:gdLst>
                      <a:gd name="connsiteX0" fmla="*/ 22251 w 22292"/>
                      <a:gd name="connsiteY0" fmla="*/ 5300 h 14700"/>
                      <a:gd name="connsiteX1" fmla="*/ 16250 w 22292"/>
                      <a:gd name="connsiteY1" fmla="*/ 62 h 14700"/>
                      <a:gd name="connsiteX2" fmla="*/ 1010 w 22292"/>
                      <a:gd name="connsiteY2" fmla="*/ 6729 h 14700"/>
                      <a:gd name="connsiteX3" fmla="*/ 13012 w 22292"/>
                      <a:gd name="connsiteY3" fmla="*/ 14254 h 14700"/>
                      <a:gd name="connsiteX4" fmla="*/ 22251 w 22292"/>
                      <a:gd name="connsiteY4" fmla="*/ 5396 h 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2" h="14700">
                        <a:moveTo>
                          <a:pt x="22251" y="5300"/>
                        </a:moveTo>
                        <a:cubicBezTo>
                          <a:pt x="21775" y="4348"/>
                          <a:pt x="21680" y="-605"/>
                          <a:pt x="16250" y="62"/>
                        </a:cubicBezTo>
                        <a:cubicBezTo>
                          <a:pt x="10631" y="1490"/>
                          <a:pt x="-3943" y="62"/>
                          <a:pt x="1010" y="6729"/>
                        </a:cubicBezTo>
                        <a:cubicBezTo>
                          <a:pt x="2534" y="8158"/>
                          <a:pt x="6154" y="16730"/>
                          <a:pt x="13012" y="14254"/>
                        </a:cubicBezTo>
                        <a:cubicBezTo>
                          <a:pt x="13012" y="14254"/>
                          <a:pt x="23013" y="12635"/>
                          <a:pt x="22251" y="5396"/>
                        </a:cubicBezTo>
                        <a:close/>
                      </a:path>
                    </a:pathLst>
                  </a:custGeom>
                  <a:grpFill/>
                  <a:ln w="9525" cap="flat">
                    <a:noFill/>
                    <a:prstDash val="solid"/>
                    <a:miter/>
                  </a:ln>
                </p:spPr>
                <p:txBody>
                  <a:bodyPr rtlCol="0" anchor="ctr"/>
                  <a:lstStyle/>
                  <a:p>
                    <a:endParaRPr lang="en-IN"/>
                  </a:p>
                </p:txBody>
              </p:sp>
              <p:sp>
                <p:nvSpPr>
                  <p:cNvPr id="262" name="Freeform: Shape 261">
                    <a:extLst>
                      <a:ext uri="{FF2B5EF4-FFF2-40B4-BE49-F238E27FC236}">
                        <a16:creationId xmlns:a16="http://schemas.microsoft.com/office/drawing/2014/main" id="{16C76737-1724-B157-A215-F4F36EB57B05}"/>
                      </a:ext>
                    </a:extLst>
                  </p:cNvPr>
                  <p:cNvSpPr/>
                  <p:nvPr/>
                </p:nvSpPr>
                <p:spPr>
                  <a:xfrm>
                    <a:off x="8344657" y="-611602"/>
                    <a:ext cx="20549" cy="12765"/>
                  </a:xfrm>
                  <a:custGeom>
                    <a:avLst/>
                    <a:gdLst>
                      <a:gd name="connsiteX0" fmla="*/ 18753 w 20549"/>
                      <a:gd name="connsiteY0" fmla="*/ 5946 h 12765"/>
                      <a:gd name="connsiteX1" fmla="*/ 84 w 20549"/>
                      <a:gd name="connsiteY1" fmla="*/ 3565 h 12765"/>
                      <a:gd name="connsiteX2" fmla="*/ 6846 w 20549"/>
                      <a:gd name="connsiteY2" fmla="*/ 12518 h 12765"/>
                      <a:gd name="connsiteX3" fmla="*/ 18753 w 20549"/>
                      <a:gd name="connsiteY3" fmla="*/ 5946 h 12765"/>
                    </a:gdLst>
                    <a:ahLst/>
                    <a:cxnLst>
                      <a:cxn ang="0">
                        <a:pos x="connsiteX0" y="connsiteY0"/>
                      </a:cxn>
                      <a:cxn ang="0">
                        <a:pos x="connsiteX1" y="connsiteY1"/>
                      </a:cxn>
                      <a:cxn ang="0">
                        <a:pos x="connsiteX2" y="connsiteY2"/>
                      </a:cxn>
                      <a:cxn ang="0">
                        <a:pos x="connsiteX3" y="connsiteY3"/>
                      </a:cxn>
                    </a:cxnLst>
                    <a:rect l="l" t="t" r="r" b="b"/>
                    <a:pathLst>
                      <a:path w="20549" h="12765">
                        <a:moveTo>
                          <a:pt x="18753" y="5946"/>
                        </a:moveTo>
                        <a:cubicBezTo>
                          <a:pt x="11609" y="3946"/>
                          <a:pt x="-1154" y="-4817"/>
                          <a:pt x="84" y="3565"/>
                        </a:cubicBezTo>
                        <a:cubicBezTo>
                          <a:pt x="560" y="4708"/>
                          <a:pt x="-107" y="14423"/>
                          <a:pt x="6846" y="12518"/>
                        </a:cubicBezTo>
                        <a:cubicBezTo>
                          <a:pt x="6846" y="12518"/>
                          <a:pt x="26468" y="8994"/>
                          <a:pt x="18753" y="5946"/>
                        </a:cubicBezTo>
                        <a:close/>
                      </a:path>
                    </a:pathLst>
                  </a:custGeom>
                  <a:grpFill/>
                  <a:ln w="9525" cap="flat">
                    <a:noFill/>
                    <a:prstDash val="solid"/>
                    <a:miter/>
                  </a:ln>
                </p:spPr>
                <p:txBody>
                  <a:bodyPr rtlCol="0" anchor="ctr"/>
                  <a:lstStyle/>
                  <a:p>
                    <a:endParaRPr lang="en-IN"/>
                  </a:p>
                </p:txBody>
              </p:sp>
              <p:sp>
                <p:nvSpPr>
                  <p:cNvPr id="263" name="Freeform: Shape 262">
                    <a:extLst>
                      <a:ext uri="{FF2B5EF4-FFF2-40B4-BE49-F238E27FC236}">
                        <a16:creationId xmlns:a16="http://schemas.microsoft.com/office/drawing/2014/main" id="{092CD381-84BA-3A3F-8C52-70C60212A9DE}"/>
                      </a:ext>
                    </a:extLst>
                  </p:cNvPr>
                  <p:cNvSpPr/>
                  <p:nvPr/>
                </p:nvSpPr>
                <p:spPr>
                  <a:xfrm>
                    <a:off x="8305974" y="-608651"/>
                    <a:ext cx="17525" cy="14092"/>
                  </a:xfrm>
                  <a:custGeom>
                    <a:avLst/>
                    <a:gdLst>
                      <a:gd name="connsiteX0" fmla="*/ 12478 w 17525"/>
                      <a:gd name="connsiteY0" fmla="*/ 2710 h 14092"/>
                      <a:gd name="connsiteX1" fmla="*/ 0 w 17525"/>
                      <a:gd name="connsiteY1" fmla="*/ 3853 h 14092"/>
                      <a:gd name="connsiteX2" fmla="*/ 5143 w 17525"/>
                      <a:gd name="connsiteY2" fmla="*/ 11663 h 14092"/>
                      <a:gd name="connsiteX3" fmla="*/ 17526 w 17525"/>
                      <a:gd name="connsiteY3" fmla="*/ 10139 h 14092"/>
                      <a:gd name="connsiteX4" fmla="*/ 12382 w 17525"/>
                      <a:gd name="connsiteY4" fmla="*/ 2710 h 14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5" h="14092">
                        <a:moveTo>
                          <a:pt x="12478" y="2710"/>
                        </a:moveTo>
                        <a:cubicBezTo>
                          <a:pt x="10001" y="2329"/>
                          <a:pt x="0" y="-3862"/>
                          <a:pt x="0" y="3853"/>
                        </a:cubicBezTo>
                        <a:cubicBezTo>
                          <a:pt x="285" y="4805"/>
                          <a:pt x="-95" y="9949"/>
                          <a:pt x="5143" y="11663"/>
                        </a:cubicBezTo>
                        <a:cubicBezTo>
                          <a:pt x="7525" y="11949"/>
                          <a:pt x="17526" y="17855"/>
                          <a:pt x="17526" y="10139"/>
                        </a:cubicBezTo>
                        <a:cubicBezTo>
                          <a:pt x="17526" y="10139"/>
                          <a:pt x="17431" y="4424"/>
                          <a:pt x="12382" y="2710"/>
                        </a:cubicBezTo>
                        <a:close/>
                      </a:path>
                    </a:pathLst>
                  </a:custGeom>
                  <a:grpFill/>
                  <a:ln w="9525" cap="flat">
                    <a:noFill/>
                    <a:prstDash val="solid"/>
                    <a:miter/>
                  </a:ln>
                </p:spPr>
                <p:txBody>
                  <a:bodyPr rtlCol="0" anchor="ctr"/>
                  <a:lstStyle/>
                  <a:p>
                    <a:endParaRPr lang="en-IN"/>
                  </a:p>
                </p:txBody>
              </p:sp>
            </p:grpSp>
            <p:sp>
              <p:nvSpPr>
                <p:cNvPr id="243" name="Freeform: Shape 242">
                  <a:extLst>
                    <a:ext uri="{FF2B5EF4-FFF2-40B4-BE49-F238E27FC236}">
                      <a16:creationId xmlns:a16="http://schemas.microsoft.com/office/drawing/2014/main" id="{3BA2AB65-7F07-7971-FC99-DD64465D7540}"/>
                    </a:ext>
                  </a:extLst>
                </p:cNvPr>
                <p:cNvSpPr/>
                <p:nvPr/>
              </p:nvSpPr>
              <p:spPr>
                <a:xfrm>
                  <a:off x="8531160" y="667997"/>
                  <a:ext cx="118597" cy="78982"/>
                </a:xfrm>
                <a:custGeom>
                  <a:avLst/>
                  <a:gdLst>
                    <a:gd name="connsiteX0" fmla="*/ 96378 w 118597"/>
                    <a:gd name="connsiteY0" fmla="*/ 78230 h 78982"/>
                    <a:gd name="connsiteX1" fmla="*/ 118000 w 118597"/>
                    <a:gd name="connsiteY1" fmla="*/ 64514 h 78982"/>
                    <a:gd name="connsiteX2" fmla="*/ 114476 w 118597"/>
                    <a:gd name="connsiteY2" fmla="*/ 49560 h 78982"/>
                    <a:gd name="connsiteX3" fmla="*/ 28084 w 118597"/>
                    <a:gd name="connsiteY3" fmla="*/ 601 h 78982"/>
                    <a:gd name="connsiteX4" fmla="*/ 12559 w 118597"/>
                    <a:gd name="connsiteY4" fmla="*/ 10126 h 78982"/>
                    <a:gd name="connsiteX5" fmla="*/ 8939 w 118597"/>
                    <a:gd name="connsiteY5" fmla="*/ 24318 h 78982"/>
                    <a:gd name="connsiteX6" fmla="*/ 1128 w 118597"/>
                    <a:gd name="connsiteY6" fmla="*/ 27938 h 78982"/>
                    <a:gd name="connsiteX7" fmla="*/ 23512 w 118597"/>
                    <a:gd name="connsiteY7" fmla="*/ 49941 h 78982"/>
                    <a:gd name="connsiteX8" fmla="*/ 69137 w 118597"/>
                    <a:gd name="connsiteY8" fmla="*/ 68705 h 78982"/>
                    <a:gd name="connsiteX9" fmla="*/ 69613 w 118597"/>
                    <a:gd name="connsiteY9" fmla="*/ 76325 h 78982"/>
                    <a:gd name="connsiteX10" fmla="*/ 96283 w 118597"/>
                    <a:gd name="connsiteY10" fmla="*/ 78135 h 7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597" h="78982">
                      <a:moveTo>
                        <a:pt x="96378" y="78230"/>
                      </a:moveTo>
                      <a:cubicBezTo>
                        <a:pt x="105713" y="73563"/>
                        <a:pt x="117238" y="73086"/>
                        <a:pt x="118000" y="64514"/>
                      </a:cubicBezTo>
                      <a:cubicBezTo>
                        <a:pt x="117810" y="61942"/>
                        <a:pt x="120953" y="53560"/>
                        <a:pt x="114476" y="49560"/>
                      </a:cubicBezTo>
                      <a:cubicBezTo>
                        <a:pt x="31132" y="-2256"/>
                        <a:pt x="35037" y="-1209"/>
                        <a:pt x="28084" y="601"/>
                      </a:cubicBezTo>
                      <a:cubicBezTo>
                        <a:pt x="22940" y="2697"/>
                        <a:pt x="11606" y="2125"/>
                        <a:pt x="12559" y="10126"/>
                      </a:cubicBezTo>
                      <a:cubicBezTo>
                        <a:pt x="12368" y="13650"/>
                        <a:pt x="16654" y="24699"/>
                        <a:pt x="8939" y="24318"/>
                      </a:cubicBezTo>
                      <a:cubicBezTo>
                        <a:pt x="7701" y="24509"/>
                        <a:pt x="-3539" y="22318"/>
                        <a:pt x="1128" y="27938"/>
                      </a:cubicBezTo>
                      <a:cubicBezTo>
                        <a:pt x="10749" y="39463"/>
                        <a:pt x="16083" y="47750"/>
                        <a:pt x="23512" y="49941"/>
                      </a:cubicBezTo>
                      <a:cubicBezTo>
                        <a:pt x="68089" y="63085"/>
                        <a:pt x="73423" y="62704"/>
                        <a:pt x="69137" y="68705"/>
                      </a:cubicBezTo>
                      <a:cubicBezTo>
                        <a:pt x="68851" y="69657"/>
                        <a:pt x="63041" y="75182"/>
                        <a:pt x="69613" y="76325"/>
                      </a:cubicBezTo>
                      <a:cubicBezTo>
                        <a:pt x="69613" y="76325"/>
                        <a:pt x="89520" y="80802"/>
                        <a:pt x="96283" y="78135"/>
                      </a:cubicBezTo>
                      <a:close/>
                    </a:path>
                  </a:pathLst>
                </a:custGeom>
                <a:grpFill/>
                <a:ln w="9525" cap="flat">
                  <a:noFill/>
                  <a:prstDash val="solid"/>
                  <a:miter/>
                </a:ln>
              </p:spPr>
              <p:txBody>
                <a:bodyPr rtlCol="0" anchor="ctr"/>
                <a:lstStyle/>
                <a:p>
                  <a:endParaRPr lang="en-IN"/>
                </a:p>
              </p:txBody>
            </p:sp>
            <p:sp>
              <p:nvSpPr>
                <p:cNvPr id="244" name="Freeform: Shape 243">
                  <a:extLst>
                    <a:ext uri="{FF2B5EF4-FFF2-40B4-BE49-F238E27FC236}">
                      <a16:creationId xmlns:a16="http://schemas.microsoft.com/office/drawing/2014/main" id="{9845AD1D-6F4E-D56D-C318-23452BF42378}"/>
                    </a:ext>
                  </a:extLst>
                </p:cNvPr>
                <p:cNvSpPr/>
                <p:nvPr/>
              </p:nvSpPr>
              <p:spPr>
                <a:xfrm>
                  <a:off x="8157687" y="570940"/>
                  <a:ext cx="55305" cy="39404"/>
                </a:xfrm>
                <a:custGeom>
                  <a:avLst/>
                  <a:gdLst>
                    <a:gd name="connsiteX0" fmla="*/ 173 w 55305"/>
                    <a:gd name="connsiteY0" fmla="*/ 8694 h 39404"/>
                    <a:gd name="connsiteX1" fmla="*/ 26462 w 55305"/>
                    <a:gd name="connsiteY1" fmla="*/ 19553 h 39404"/>
                    <a:gd name="connsiteX2" fmla="*/ 49037 w 55305"/>
                    <a:gd name="connsiteY2" fmla="*/ 36888 h 39404"/>
                    <a:gd name="connsiteX3" fmla="*/ 53037 w 55305"/>
                    <a:gd name="connsiteY3" fmla="*/ 13362 h 39404"/>
                    <a:gd name="connsiteX4" fmla="*/ 33987 w 55305"/>
                    <a:gd name="connsiteY4" fmla="*/ 27 h 39404"/>
                    <a:gd name="connsiteX5" fmla="*/ 173 w 55305"/>
                    <a:gd name="connsiteY5" fmla="*/ 8028 h 39404"/>
                    <a:gd name="connsiteX6" fmla="*/ 173 w 55305"/>
                    <a:gd name="connsiteY6" fmla="*/ 8790 h 39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305" h="39404">
                      <a:moveTo>
                        <a:pt x="173" y="8694"/>
                      </a:moveTo>
                      <a:cubicBezTo>
                        <a:pt x="2078" y="19362"/>
                        <a:pt x="18080" y="10409"/>
                        <a:pt x="26462" y="19553"/>
                      </a:cubicBezTo>
                      <a:cubicBezTo>
                        <a:pt x="42178" y="36698"/>
                        <a:pt x="46369" y="43556"/>
                        <a:pt x="49037" y="36888"/>
                      </a:cubicBezTo>
                      <a:cubicBezTo>
                        <a:pt x="51513" y="28125"/>
                        <a:pt x="59038" y="19362"/>
                        <a:pt x="53037" y="13362"/>
                      </a:cubicBezTo>
                      <a:cubicBezTo>
                        <a:pt x="46941" y="8218"/>
                        <a:pt x="42178" y="-545"/>
                        <a:pt x="33987" y="27"/>
                      </a:cubicBezTo>
                      <a:cubicBezTo>
                        <a:pt x="4745" y="2313"/>
                        <a:pt x="-1160" y="1074"/>
                        <a:pt x="173" y="8028"/>
                      </a:cubicBezTo>
                      <a:lnTo>
                        <a:pt x="173" y="8790"/>
                      </a:lnTo>
                      <a:close/>
                    </a:path>
                  </a:pathLst>
                </a:custGeom>
                <a:grpFill/>
                <a:ln w="9525" cap="flat">
                  <a:noFill/>
                  <a:prstDash val="solid"/>
                  <a:miter/>
                </a:ln>
              </p:spPr>
              <p:txBody>
                <a:bodyPr rtlCol="0" anchor="ctr"/>
                <a:lstStyle/>
                <a:p>
                  <a:endParaRPr lang="en-IN"/>
                </a:p>
              </p:txBody>
            </p:sp>
            <p:sp>
              <p:nvSpPr>
                <p:cNvPr id="245" name="Freeform: Shape 244">
                  <a:extLst>
                    <a:ext uri="{FF2B5EF4-FFF2-40B4-BE49-F238E27FC236}">
                      <a16:creationId xmlns:a16="http://schemas.microsoft.com/office/drawing/2014/main" id="{937C0CC4-FB49-11AC-CC7B-328CEED1CA7F}"/>
                    </a:ext>
                  </a:extLst>
                </p:cNvPr>
                <p:cNvSpPr/>
                <p:nvPr/>
              </p:nvSpPr>
              <p:spPr>
                <a:xfrm>
                  <a:off x="6661197" y="731538"/>
                  <a:ext cx="2331148" cy="2465947"/>
                </a:xfrm>
                <a:custGeom>
                  <a:avLst/>
                  <a:gdLst>
                    <a:gd name="connsiteX0" fmla="*/ 2330482 w 2331148"/>
                    <a:gd name="connsiteY0" fmla="*/ 232621 h 2465947"/>
                    <a:gd name="connsiteX1" fmla="*/ 2314575 w 2331148"/>
                    <a:gd name="connsiteY1" fmla="*/ 209571 h 2465947"/>
                    <a:gd name="connsiteX2" fmla="*/ 2280475 w 2331148"/>
                    <a:gd name="connsiteY2" fmla="*/ 209571 h 2465947"/>
                    <a:gd name="connsiteX3" fmla="*/ 2271713 w 2331148"/>
                    <a:gd name="connsiteY3" fmla="*/ 177852 h 2465947"/>
                    <a:gd name="connsiteX4" fmla="*/ 2293906 w 2331148"/>
                    <a:gd name="connsiteY4" fmla="*/ 145277 h 2465947"/>
                    <a:gd name="connsiteX5" fmla="*/ 2276475 w 2331148"/>
                    <a:gd name="connsiteY5" fmla="*/ 120702 h 2465947"/>
                    <a:gd name="connsiteX6" fmla="*/ 2230469 w 2331148"/>
                    <a:gd name="connsiteY6" fmla="*/ 114321 h 2465947"/>
                    <a:gd name="connsiteX7" fmla="*/ 2243423 w 2331148"/>
                    <a:gd name="connsiteY7" fmla="*/ 73363 h 2465947"/>
                    <a:gd name="connsiteX8" fmla="*/ 2243614 w 2331148"/>
                    <a:gd name="connsiteY8" fmla="*/ 73077 h 2465947"/>
                    <a:gd name="connsiteX9" fmla="*/ 2243138 w 2331148"/>
                    <a:gd name="connsiteY9" fmla="*/ 70029 h 2465947"/>
                    <a:gd name="connsiteX10" fmla="*/ 2240946 w 2331148"/>
                    <a:gd name="connsiteY10" fmla="*/ 49455 h 2465947"/>
                    <a:gd name="connsiteX11" fmla="*/ 2163127 w 2331148"/>
                    <a:gd name="connsiteY11" fmla="*/ 18880 h 2465947"/>
                    <a:gd name="connsiteX12" fmla="*/ 2044256 w 2331148"/>
                    <a:gd name="connsiteY12" fmla="*/ 5259 h 2465947"/>
                    <a:gd name="connsiteX13" fmla="*/ 2029777 w 2331148"/>
                    <a:gd name="connsiteY13" fmla="*/ 21 h 2465947"/>
                    <a:gd name="connsiteX14" fmla="*/ 2005775 w 2331148"/>
                    <a:gd name="connsiteY14" fmla="*/ 6879 h 2465947"/>
                    <a:gd name="connsiteX15" fmla="*/ 1999964 w 2331148"/>
                    <a:gd name="connsiteY15" fmla="*/ 17356 h 2465947"/>
                    <a:gd name="connsiteX16" fmla="*/ 1979390 w 2331148"/>
                    <a:gd name="connsiteY16" fmla="*/ 22976 h 2465947"/>
                    <a:gd name="connsiteX17" fmla="*/ 1976533 w 2331148"/>
                    <a:gd name="connsiteY17" fmla="*/ 34882 h 2465947"/>
                    <a:gd name="connsiteX18" fmla="*/ 1993106 w 2331148"/>
                    <a:gd name="connsiteY18" fmla="*/ 56123 h 2465947"/>
                    <a:gd name="connsiteX19" fmla="*/ 1996726 w 2331148"/>
                    <a:gd name="connsiteY19" fmla="*/ 66314 h 2465947"/>
                    <a:gd name="connsiteX20" fmla="*/ 2009204 w 2331148"/>
                    <a:gd name="connsiteY20" fmla="*/ 74696 h 2465947"/>
                    <a:gd name="connsiteX21" fmla="*/ 2014633 w 2331148"/>
                    <a:gd name="connsiteY21" fmla="*/ 76887 h 2465947"/>
                    <a:gd name="connsiteX22" fmla="*/ 2016443 w 2331148"/>
                    <a:gd name="connsiteY22" fmla="*/ 101081 h 2465947"/>
                    <a:gd name="connsiteX23" fmla="*/ 1982724 w 2331148"/>
                    <a:gd name="connsiteY23" fmla="*/ 121464 h 2465947"/>
                    <a:gd name="connsiteX24" fmla="*/ 1950148 w 2331148"/>
                    <a:gd name="connsiteY24" fmla="*/ 124512 h 2465947"/>
                    <a:gd name="connsiteX25" fmla="*/ 1949958 w 2331148"/>
                    <a:gd name="connsiteY25" fmla="*/ 124893 h 2465947"/>
                    <a:gd name="connsiteX26" fmla="*/ 1957197 w 2331148"/>
                    <a:gd name="connsiteY26" fmla="*/ 143753 h 2465947"/>
                    <a:gd name="connsiteX27" fmla="*/ 1951672 w 2331148"/>
                    <a:gd name="connsiteY27" fmla="*/ 151849 h 2465947"/>
                    <a:gd name="connsiteX28" fmla="*/ 1931194 w 2331148"/>
                    <a:gd name="connsiteY28" fmla="*/ 157183 h 2465947"/>
                    <a:gd name="connsiteX29" fmla="*/ 1906619 w 2331148"/>
                    <a:gd name="connsiteY29" fmla="*/ 144896 h 2465947"/>
                    <a:gd name="connsiteX30" fmla="*/ 1914430 w 2331148"/>
                    <a:gd name="connsiteY30" fmla="*/ 121274 h 2465947"/>
                    <a:gd name="connsiteX31" fmla="*/ 1928717 w 2331148"/>
                    <a:gd name="connsiteY31" fmla="*/ 117178 h 2465947"/>
                    <a:gd name="connsiteX32" fmla="*/ 1911668 w 2331148"/>
                    <a:gd name="connsiteY32" fmla="*/ 96318 h 2465947"/>
                    <a:gd name="connsiteX33" fmla="*/ 1918430 w 2331148"/>
                    <a:gd name="connsiteY33" fmla="*/ 93461 h 2465947"/>
                    <a:gd name="connsiteX34" fmla="*/ 1910906 w 2331148"/>
                    <a:gd name="connsiteY34" fmla="*/ 85746 h 2465947"/>
                    <a:gd name="connsiteX35" fmla="*/ 1817179 w 2331148"/>
                    <a:gd name="connsiteY35" fmla="*/ 112416 h 2465947"/>
                    <a:gd name="connsiteX36" fmla="*/ 1799368 w 2331148"/>
                    <a:gd name="connsiteY36" fmla="*/ 116892 h 2465947"/>
                    <a:gd name="connsiteX37" fmla="*/ 1810702 w 2331148"/>
                    <a:gd name="connsiteY37" fmla="*/ 120417 h 2465947"/>
                    <a:gd name="connsiteX38" fmla="*/ 1810702 w 2331148"/>
                    <a:gd name="connsiteY38" fmla="*/ 128799 h 2465947"/>
                    <a:gd name="connsiteX39" fmla="*/ 1795748 w 2331148"/>
                    <a:gd name="connsiteY39" fmla="*/ 137847 h 2465947"/>
                    <a:gd name="connsiteX40" fmla="*/ 1785652 w 2331148"/>
                    <a:gd name="connsiteY40" fmla="*/ 137847 h 2465947"/>
                    <a:gd name="connsiteX41" fmla="*/ 1763935 w 2331148"/>
                    <a:gd name="connsiteY41" fmla="*/ 129465 h 2465947"/>
                    <a:gd name="connsiteX42" fmla="*/ 1750695 w 2331148"/>
                    <a:gd name="connsiteY42" fmla="*/ 130894 h 2465947"/>
                    <a:gd name="connsiteX43" fmla="*/ 1715834 w 2331148"/>
                    <a:gd name="connsiteY43" fmla="*/ 128132 h 2465947"/>
                    <a:gd name="connsiteX44" fmla="*/ 1705070 w 2331148"/>
                    <a:gd name="connsiteY44" fmla="*/ 133942 h 2465947"/>
                    <a:gd name="connsiteX45" fmla="*/ 1692402 w 2331148"/>
                    <a:gd name="connsiteY45" fmla="*/ 135085 h 2465947"/>
                    <a:gd name="connsiteX46" fmla="*/ 1659827 w 2331148"/>
                    <a:gd name="connsiteY46" fmla="*/ 155564 h 2465947"/>
                    <a:gd name="connsiteX47" fmla="*/ 1650111 w 2331148"/>
                    <a:gd name="connsiteY47" fmla="*/ 178043 h 2465947"/>
                    <a:gd name="connsiteX48" fmla="*/ 1638014 w 2331148"/>
                    <a:gd name="connsiteY48" fmla="*/ 174042 h 2465947"/>
                    <a:gd name="connsiteX49" fmla="*/ 1625727 w 2331148"/>
                    <a:gd name="connsiteY49" fmla="*/ 160707 h 2465947"/>
                    <a:gd name="connsiteX50" fmla="*/ 1601343 w 2331148"/>
                    <a:gd name="connsiteY50" fmla="*/ 172233 h 2465947"/>
                    <a:gd name="connsiteX51" fmla="*/ 1554385 w 2331148"/>
                    <a:gd name="connsiteY51" fmla="*/ 172995 h 2465947"/>
                    <a:gd name="connsiteX52" fmla="*/ 1552004 w 2331148"/>
                    <a:gd name="connsiteY52" fmla="*/ 168422 h 2465947"/>
                    <a:gd name="connsiteX53" fmla="*/ 1566291 w 2331148"/>
                    <a:gd name="connsiteY53" fmla="*/ 155278 h 2465947"/>
                    <a:gd name="connsiteX54" fmla="*/ 1594580 w 2331148"/>
                    <a:gd name="connsiteY54" fmla="*/ 151563 h 2465947"/>
                    <a:gd name="connsiteX55" fmla="*/ 1584960 w 2331148"/>
                    <a:gd name="connsiteY55" fmla="*/ 124798 h 2465947"/>
                    <a:gd name="connsiteX56" fmla="*/ 1603724 w 2331148"/>
                    <a:gd name="connsiteY56" fmla="*/ 100414 h 2465947"/>
                    <a:gd name="connsiteX57" fmla="*/ 1639157 w 2331148"/>
                    <a:gd name="connsiteY57" fmla="*/ 92889 h 2465947"/>
                    <a:gd name="connsiteX58" fmla="*/ 1627537 w 2331148"/>
                    <a:gd name="connsiteY58" fmla="*/ 87270 h 2465947"/>
                    <a:gd name="connsiteX59" fmla="*/ 1584103 w 2331148"/>
                    <a:gd name="connsiteY59" fmla="*/ 92984 h 2465947"/>
                    <a:gd name="connsiteX60" fmla="*/ 1467993 w 2331148"/>
                    <a:gd name="connsiteY60" fmla="*/ 140609 h 2465947"/>
                    <a:gd name="connsiteX61" fmla="*/ 1416653 w 2331148"/>
                    <a:gd name="connsiteY61" fmla="*/ 146705 h 2465947"/>
                    <a:gd name="connsiteX62" fmla="*/ 1365028 w 2331148"/>
                    <a:gd name="connsiteY62" fmla="*/ 184710 h 2465947"/>
                    <a:gd name="connsiteX63" fmla="*/ 1300353 w 2331148"/>
                    <a:gd name="connsiteY63" fmla="*/ 210618 h 2465947"/>
                    <a:gd name="connsiteX64" fmla="*/ 1285399 w 2331148"/>
                    <a:gd name="connsiteY64" fmla="*/ 215952 h 2465947"/>
                    <a:gd name="connsiteX65" fmla="*/ 1277779 w 2331148"/>
                    <a:gd name="connsiteY65" fmla="*/ 228811 h 2465947"/>
                    <a:gd name="connsiteX66" fmla="*/ 1233202 w 2331148"/>
                    <a:gd name="connsiteY66" fmla="*/ 241193 h 2465947"/>
                    <a:gd name="connsiteX67" fmla="*/ 1232154 w 2331148"/>
                    <a:gd name="connsiteY67" fmla="*/ 255481 h 2465947"/>
                    <a:gd name="connsiteX68" fmla="*/ 1227010 w 2331148"/>
                    <a:gd name="connsiteY68" fmla="*/ 265959 h 2465947"/>
                    <a:gd name="connsiteX69" fmla="*/ 1227010 w 2331148"/>
                    <a:gd name="connsiteY69" fmla="*/ 266149 h 2465947"/>
                    <a:gd name="connsiteX70" fmla="*/ 1224058 w 2331148"/>
                    <a:gd name="connsiteY70" fmla="*/ 283866 h 2465947"/>
                    <a:gd name="connsiteX71" fmla="*/ 1223772 w 2331148"/>
                    <a:gd name="connsiteY71" fmla="*/ 295486 h 2465947"/>
                    <a:gd name="connsiteX72" fmla="*/ 1218343 w 2331148"/>
                    <a:gd name="connsiteY72" fmla="*/ 305392 h 2465947"/>
                    <a:gd name="connsiteX73" fmla="*/ 1208246 w 2331148"/>
                    <a:gd name="connsiteY73" fmla="*/ 308154 h 2465947"/>
                    <a:gd name="connsiteX74" fmla="*/ 1163288 w 2331148"/>
                    <a:gd name="connsiteY74" fmla="*/ 315203 h 2465947"/>
                    <a:gd name="connsiteX75" fmla="*/ 1145667 w 2331148"/>
                    <a:gd name="connsiteY75" fmla="*/ 311393 h 2465947"/>
                    <a:gd name="connsiteX76" fmla="*/ 1133380 w 2331148"/>
                    <a:gd name="connsiteY76" fmla="*/ 315298 h 2465947"/>
                    <a:gd name="connsiteX77" fmla="*/ 1115663 w 2331148"/>
                    <a:gd name="connsiteY77" fmla="*/ 313964 h 2465947"/>
                    <a:gd name="connsiteX78" fmla="*/ 1088707 w 2331148"/>
                    <a:gd name="connsiteY78" fmla="*/ 280341 h 2465947"/>
                    <a:gd name="connsiteX79" fmla="*/ 1054894 w 2331148"/>
                    <a:gd name="connsiteY79" fmla="*/ 261482 h 2465947"/>
                    <a:gd name="connsiteX80" fmla="*/ 1059466 w 2331148"/>
                    <a:gd name="connsiteY80" fmla="*/ 246909 h 2465947"/>
                    <a:gd name="connsiteX81" fmla="*/ 1078706 w 2331148"/>
                    <a:gd name="connsiteY81" fmla="*/ 233002 h 2465947"/>
                    <a:gd name="connsiteX82" fmla="*/ 1114711 w 2331148"/>
                    <a:gd name="connsiteY82" fmla="*/ 218619 h 2465947"/>
                    <a:gd name="connsiteX83" fmla="*/ 1133094 w 2331148"/>
                    <a:gd name="connsiteY83" fmla="*/ 212142 h 2465947"/>
                    <a:gd name="connsiteX84" fmla="*/ 1160145 w 2331148"/>
                    <a:gd name="connsiteY84" fmla="*/ 207475 h 2465947"/>
                    <a:gd name="connsiteX85" fmla="*/ 1150620 w 2331148"/>
                    <a:gd name="connsiteY85" fmla="*/ 185282 h 2465947"/>
                    <a:gd name="connsiteX86" fmla="*/ 1146715 w 2331148"/>
                    <a:gd name="connsiteY86" fmla="*/ 175947 h 2465947"/>
                    <a:gd name="connsiteX87" fmla="*/ 1124236 w 2331148"/>
                    <a:gd name="connsiteY87" fmla="*/ 160993 h 2465947"/>
                    <a:gd name="connsiteX88" fmla="*/ 1116711 w 2331148"/>
                    <a:gd name="connsiteY88" fmla="*/ 154516 h 2465947"/>
                    <a:gd name="connsiteX89" fmla="*/ 1108234 w 2331148"/>
                    <a:gd name="connsiteY89" fmla="*/ 141657 h 2465947"/>
                    <a:gd name="connsiteX90" fmla="*/ 1068800 w 2331148"/>
                    <a:gd name="connsiteY90" fmla="*/ 132513 h 2465947"/>
                    <a:gd name="connsiteX91" fmla="*/ 998982 w 2331148"/>
                    <a:gd name="connsiteY91" fmla="*/ 135561 h 2465947"/>
                    <a:gd name="connsiteX92" fmla="*/ 971931 w 2331148"/>
                    <a:gd name="connsiteY92" fmla="*/ 123369 h 2465947"/>
                    <a:gd name="connsiteX93" fmla="*/ 958501 w 2331148"/>
                    <a:gd name="connsiteY93" fmla="*/ 123369 h 2465947"/>
                    <a:gd name="connsiteX94" fmla="*/ 1011746 w 2331148"/>
                    <a:gd name="connsiteY94" fmla="*/ 170613 h 2465947"/>
                    <a:gd name="connsiteX95" fmla="*/ 1007745 w 2331148"/>
                    <a:gd name="connsiteY95" fmla="*/ 217762 h 2465947"/>
                    <a:gd name="connsiteX96" fmla="*/ 995077 w 2331148"/>
                    <a:gd name="connsiteY96" fmla="*/ 281484 h 2465947"/>
                    <a:gd name="connsiteX97" fmla="*/ 1011650 w 2331148"/>
                    <a:gd name="connsiteY97" fmla="*/ 286628 h 2465947"/>
                    <a:gd name="connsiteX98" fmla="*/ 1027176 w 2331148"/>
                    <a:gd name="connsiteY98" fmla="*/ 312250 h 2465947"/>
                    <a:gd name="connsiteX99" fmla="*/ 1022985 w 2331148"/>
                    <a:gd name="connsiteY99" fmla="*/ 323299 h 2465947"/>
                    <a:gd name="connsiteX100" fmla="*/ 1024795 w 2331148"/>
                    <a:gd name="connsiteY100" fmla="*/ 327871 h 2465947"/>
                    <a:gd name="connsiteX101" fmla="*/ 1005745 w 2331148"/>
                    <a:gd name="connsiteY101" fmla="*/ 377401 h 2465947"/>
                    <a:gd name="connsiteX102" fmla="*/ 1009555 w 2331148"/>
                    <a:gd name="connsiteY102" fmla="*/ 385688 h 2465947"/>
                    <a:gd name="connsiteX103" fmla="*/ 1000601 w 2331148"/>
                    <a:gd name="connsiteY103" fmla="*/ 390926 h 2465947"/>
                    <a:gd name="connsiteX104" fmla="*/ 983266 w 2331148"/>
                    <a:gd name="connsiteY104" fmla="*/ 379496 h 2465947"/>
                    <a:gd name="connsiteX105" fmla="*/ 969073 w 2331148"/>
                    <a:gd name="connsiteY105" fmla="*/ 378354 h 2465947"/>
                    <a:gd name="connsiteX106" fmla="*/ 970979 w 2331148"/>
                    <a:gd name="connsiteY106" fmla="*/ 366924 h 2465947"/>
                    <a:gd name="connsiteX107" fmla="*/ 946213 w 2331148"/>
                    <a:gd name="connsiteY107" fmla="*/ 356351 h 2465947"/>
                    <a:gd name="connsiteX108" fmla="*/ 931259 w 2331148"/>
                    <a:gd name="connsiteY108" fmla="*/ 359304 h 2465947"/>
                    <a:gd name="connsiteX109" fmla="*/ 899255 w 2331148"/>
                    <a:gd name="connsiteY109" fmla="*/ 348635 h 2465947"/>
                    <a:gd name="connsiteX110" fmla="*/ 882396 w 2331148"/>
                    <a:gd name="connsiteY110" fmla="*/ 352255 h 2465947"/>
                    <a:gd name="connsiteX111" fmla="*/ 845153 w 2331148"/>
                    <a:gd name="connsiteY111" fmla="*/ 387783 h 2465947"/>
                    <a:gd name="connsiteX112" fmla="*/ 799243 w 2331148"/>
                    <a:gd name="connsiteY112" fmla="*/ 403214 h 2465947"/>
                    <a:gd name="connsiteX113" fmla="*/ 781907 w 2331148"/>
                    <a:gd name="connsiteY113" fmla="*/ 420359 h 2465947"/>
                    <a:gd name="connsiteX114" fmla="*/ 744379 w 2331148"/>
                    <a:gd name="connsiteY114" fmla="*/ 442457 h 2465947"/>
                    <a:gd name="connsiteX115" fmla="*/ 743998 w 2331148"/>
                    <a:gd name="connsiteY115" fmla="*/ 463697 h 2465947"/>
                    <a:gd name="connsiteX116" fmla="*/ 769144 w 2331148"/>
                    <a:gd name="connsiteY116" fmla="*/ 496368 h 2465947"/>
                    <a:gd name="connsiteX117" fmla="*/ 777716 w 2331148"/>
                    <a:gd name="connsiteY117" fmla="*/ 502655 h 2465947"/>
                    <a:gd name="connsiteX118" fmla="*/ 783050 w 2331148"/>
                    <a:gd name="connsiteY118" fmla="*/ 520847 h 2465947"/>
                    <a:gd name="connsiteX119" fmla="*/ 756761 w 2331148"/>
                    <a:gd name="connsiteY119" fmla="*/ 520181 h 2465947"/>
                    <a:gd name="connsiteX120" fmla="*/ 740092 w 2331148"/>
                    <a:gd name="connsiteY120" fmla="*/ 537612 h 2465947"/>
                    <a:gd name="connsiteX121" fmla="*/ 721709 w 2331148"/>
                    <a:gd name="connsiteY121" fmla="*/ 536088 h 2465947"/>
                    <a:gd name="connsiteX122" fmla="*/ 659321 w 2331148"/>
                    <a:gd name="connsiteY122" fmla="*/ 517609 h 2465947"/>
                    <a:gd name="connsiteX123" fmla="*/ 651415 w 2331148"/>
                    <a:gd name="connsiteY123" fmla="*/ 523229 h 2465947"/>
                    <a:gd name="connsiteX124" fmla="*/ 641604 w 2331148"/>
                    <a:gd name="connsiteY124" fmla="*/ 521609 h 2465947"/>
                    <a:gd name="connsiteX125" fmla="*/ 646176 w 2331148"/>
                    <a:gd name="connsiteY125" fmla="*/ 514656 h 2465947"/>
                    <a:gd name="connsiteX126" fmla="*/ 649414 w 2331148"/>
                    <a:gd name="connsiteY126" fmla="*/ 506750 h 2465947"/>
                    <a:gd name="connsiteX127" fmla="*/ 621221 w 2331148"/>
                    <a:gd name="connsiteY127" fmla="*/ 496083 h 2465947"/>
                    <a:gd name="connsiteX128" fmla="*/ 618363 w 2331148"/>
                    <a:gd name="connsiteY128" fmla="*/ 491034 h 2465947"/>
                    <a:gd name="connsiteX129" fmla="*/ 591026 w 2331148"/>
                    <a:gd name="connsiteY129" fmla="*/ 479700 h 2465947"/>
                    <a:gd name="connsiteX130" fmla="*/ 568547 w 2331148"/>
                    <a:gd name="connsiteY130" fmla="*/ 485414 h 2465947"/>
                    <a:gd name="connsiteX131" fmla="*/ 568547 w 2331148"/>
                    <a:gd name="connsiteY131" fmla="*/ 490463 h 2465947"/>
                    <a:gd name="connsiteX132" fmla="*/ 552164 w 2331148"/>
                    <a:gd name="connsiteY132" fmla="*/ 500274 h 2465947"/>
                    <a:gd name="connsiteX133" fmla="*/ 547688 w 2331148"/>
                    <a:gd name="connsiteY133" fmla="*/ 503607 h 2465947"/>
                    <a:gd name="connsiteX134" fmla="*/ 554641 w 2331148"/>
                    <a:gd name="connsiteY134" fmla="*/ 521991 h 2465947"/>
                    <a:gd name="connsiteX135" fmla="*/ 566642 w 2331148"/>
                    <a:gd name="connsiteY135" fmla="*/ 528372 h 2465947"/>
                    <a:gd name="connsiteX136" fmla="*/ 599027 w 2331148"/>
                    <a:gd name="connsiteY136" fmla="*/ 555995 h 2465947"/>
                    <a:gd name="connsiteX137" fmla="*/ 626078 w 2331148"/>
                    <a:gd name="connsiteY137" fmla="*/ 551328 h 2465947"/>
                    <a:gd name="connsiteX138" fmla="*/ 637889 w 2331148"/>
                    <a:gd name="connsiteY138" fmla="*/ 566282 h 2465947"/>
                    <a:gd name="connsiteX139" fmla="*/ 635984 w 2331148"/>
                    <a:gd name="connsiteY139" fmla="*/ 577140 h 2465947"/>
                    <a:gd name="connsiteX140" fmla="*/ 637127 w 2331148"/>
                    <a:gd name="connsiteY140" fmla="*/ 598762 h 2465947"/>
                    <a:gd name="connsiteX141" fmla="*/ 612934 w 2331148"/>
                    <a:gd name="connsiteY141" fmla="*/ 608859 h 2465947"/>
                    <a:gd name="connsiteX142" fmla="*/ 602742 w 2331148"/>
                    <a:gd name="connsiteY142" fmla="*/ 613621 h 2465947"/>
                    <a:gd name="connsiteX143" fmla="*/ 580644 w 2331148"/>
                    <a:gd name="connsiteY143" fmla="*/ 602667 h 2465947"/>
                    <a:gd name="connsiteX144" fmla="*/ 538924 w 2331148"/>
                    <a:gd name="connsiteY144" fmla="*/ 595047 h 2465947"/>
                    <a:gd name="connsiteX145" fmla="*/ 531305 w 2331148"/>
                    <a:gd name="connsiteY145" fmla="*/ 579617 h 2465947"/>
                    <a:gd name="connsiteX146" fmla="*/ 513016 w 2331148"/>
                    <a:gd name="connsiteY146" fmla="*/ 568187 h 2465947"/>
                    <a:gd name="connsiteX147" fmla="*/ 506158 w 2331148"/>
                    <a:gd name="connsiteY147" fmla="*/ 558852 h 2465947"/>
                    <a:gd name="connsiteX148" fmla="*/ 476059 w 2331148"/>
                    <a:gd name="connsiteY148" fmla="*/ 561138 h 2465947"/>
                    <a:gd name="connsiteX149" fmla="*/ 471773 w 2331148"/>
                    <a:gd name="connsiteY149" fmla="*/ 556852 h 2465947"/>
                    <a:gd name="connsiteX150" fmla="*/ 451771 w 2331148"/>
                    <a:gd name="connsiteY150" fmla="*/ 538183 h 2465947"/>
                    <a:gd name="connsiteX151" fmla="*/ 453676 w 2331148"/>
                    <a:gd name="connsiteY151" fmla="*/ 527610 h 2465947"/>
                    <a:gd name="connsiteX152" fmla="*/ 450532 w 2331148"/>
                    <a:gd name="connsiteY152" fmla="*/ 516275 h 2465947"/>
                    <a:gd name="connsiteX153" fmla="*/ 451485 w 2331148"/>
                    <a:gd name="connsiteY153" fmla="*/ 514751 h 2465947"/>
                    <a:gd name="connsiteX154" fmla="*/ 451771 w 2331148"/>
                    <a:gd name="connsiteY154" fmla="*/ 505322 h 2465947"/>
                    <a:gd name="connsiteX155" fmla="*/ 430911 w 2331148"/>
                    <a:gd name="connsiteY155" fmla="*/ 472746 h 2465947"/>
                    <a:gd name="connsiteX156" fmla="*/ 422053 w 2331148"/>
                    <a:gd name="connsiteY156" fmla="*/ 464555 h 2465947"/>
                    <a:gd name="connsiteX157" fmla="*/ 424243 w 2331148"/>
                    <a:gd name="connsiteY157" fmla="*/ 454839 h 2465947"/>
                    <a:gd name="connsiteX158" fmla="*/ 438626 w 2331148"/>
                    <a:gd name="connsiteY158" fmla="*/ 444552 h 2465947"/>
                    <a:gd name="connsiteX159" fmla="*/ 442722 w 2331148"/>
                    <a:gd name="connsiteY159" fmla="*/ 420645 h 2465947"/>
                    <a:gd name="connsiteX160" fmla="*/ 449675 w 2331148"/>
                    <a:gd name="connsiteY160" fmla="*/ 425026 h 2465947"/>
                    <a:gd name="connsiteX161" fmla="*/ 455105 w 2331148"/>
                    <a:gd name="connsiteY161" fmla="*/ 416549 h 2465947"/>
                    <a:gd name="connsiteX162" fmla="*/ 436055 w 2331148"/>
                    <a:gd name="connsiteY162" fmla="*/ 395213 h 2465947"/>
                    <a:gd name="connsiteX163" fmla="*/ 396049 w 2331148"/>
                    <a:gd name="connsiteY163" fmla="*/ 371210 h 2465947"/>
                    <a:gd name="connsiteX164" fmla="*/ 373380 w 2331148"/>
                    <a:gd name="connsiteY164" fmla="*/ 359970 h 2465947"/>
                    <a:gd name="connsiteX165" fmla="*/ 371665 w 2331148"/>
                    <a:gd name="connsiteY165" fmla="*/ 351588 h 2465947"/>
                    <a:gd name="connsiteX166" fmla="*/ 355378 w 2331148"/>
                    <a:gd name="connsiteY166" fmla="*/ 347588 h 2465947"/>
                    <a:gd name="connsiteX167" fmla="*/ 355568 w 2331148"/>
                    <a:gd name="connsiteY167" fmla="*/ 341492 h 2465947"/>
                    <a:gd name="connsiteX168" fmla="*/ 354806 w 2331148"/>
                    <a:gd name="connsiteY168" fmla="*/ 335396 h 2465947"/>
                    <a:gd name="connsiteX169" fmla="*/ 313658 w 2331148"/>
                    <a:gd name="connsiteY169" fmla="*/ 313679 h 2465947"/>
                    <a:gd name="connsiteX170" fmla="*/ 309943 w 2331148"/>
                    <a:gd name="connsiteY170" fmla="*/ 303773 h 2465947"/>
                    <a:gd name="connsiteX171" fmla="*/ 302323 w 2331148"/>
                    <a:gd name="connsiteY171" fmla="*/ 295676 h 2465947"/>
                    <a:gd name="connsiteX172" fmla="*/ 294418 w 2331148"/>
                    <a:gd name="connsiteY172" fmla="*/ 287771 h 2465947"/>
                    <a:gd name="connsiteX173" fmla="*/ 297656 w 2331148"/>
                    <a:gd name="connsiteY173" fmla="*/ 283389 h 2465947"/>
                    <a:gd name="connsiteX174" fmla="*/ 325183 w 2331148"/>
                    <a:gd name="connsiteY174" fmla="*/ 291009 h 2465947"/>
                    <a:gd name="connsiteX175" fmla="*/ 335185 w 2331148"/>
                    <a:gd name="connsiteY175" fmla="*/ 306725 h 2465947"/>
                    <a:gd name="connsiteX176" fmla="*/ 364522 w 2331148"/>
                    <a:gd name="connsiteY176" fmla="*/ 322346 h 2465947"/>
                    <a:gd name="connsiteX177" fmla="*/ 371475 w 2331148"/>
                    <a:gd name="connsiteY177" fmla="*/ 318822 h 2465947"/>
                    <a:gd name="connsiteX178" fmla="*/ 401669 w 2331148"/>
                    <a:gd name="connsiteY178" fmla="*/ 328633 h 2465947"/>
                    <a:gd name="connsiteX179" fmla="*/ 424720 w 2331148"/>
                    <a:gd name="connsiteY179" fmla="*/ 336063 h 2465947"/>
                    <a:gd name="connsiteX180" fmla="*/ 425005 w 2331148"/>
                    <a:gd name="connsiteY180" fmla="*/ 336539 h 2465947"/>
                    <a:gd name="connsiteX181" fmla="*/ 448818 w 2331148"/>
                    <a:gd name="connsiteY181" fmla="*/ 338158 h 2465947"/>
                    <a:gd name="connsiteX182" fmla="*/ 485870 w 2331148"/>
                    <a:gd name="connsiteY182" fmla="*/ 355779 h 2465947"/>
                    <a:gd name="connsiteX183" fmla="*/ 584740 w 2331148"/>
                    <a:gd name="connsiteY183" fmla="*/ 371972 h 2465947"/>
                    <a:gd name="connsiteX184" fmla="*/ 628745 w 2331148"/>
                    <a:gd name="connsiteY184" fmla="*/ 386831 h 2465947"/>
                    <a:gd name="connsiteX185" fmla="*/ 677513 w 2331148"/>
                    <a:gd name="connsiteY185" fmla="*/ 387497 h 2465947"/>
                    <a:gd name="connsiteX186" fmla="*/ 753047 w 2331148"/>
                    <a:gd name="connsiteY186" fmla="*/ 371305 h 2465947"/>
                    <a:gd name="connsiteX187" fmla="*/ 836105 w 2331148"/>
                    <a:gd name="connsiteY187" fmla="*/ 302058 h 2465947"/>
                    <a:gd name="connsiteX188" fmla="*/ 834390 w 2331148"/>
                    <a:gd name="connsiteY188" fmla="*/ 277484 h 2465947"/>
                    <a:gd name="connsiteX189" fmla="*/ 824293 w 2331148"/>
                    <a:gd name="connsiteY189" fmla="*/ 267292 h 2465947"/>
                    <a:gd name="connsiteX190" fmla="*/ 825817 w 2331148"/>
                    <a:gd name="connsiteY190" fmla="*/ 262530 h 2465947"/>
                    <a:gd name="connsiteX191" fmla="*/ 822388 w 2331148"/>
                    <a:gd name="connsiteY191" fmla="*/ 251862 h 2465947"/>
                    <a:gd name="connsiteX192" fmla="*/ 814864 w 2331148"/>
                    <a:gd name="connsiteY192" fmla="*/ 225287 h 2465947"/>
                    <a:gd name="connsiteX193" fmla="*/ 794766 w 2331148"/>
                    <a:gd name="connsiteY193" fmla="*/ 213380 h 2465947"/>
                    <a:gd name="connsiteX194" fmla="*/ 790480 w 2331148"/>
                    <a:gd name="connsiteY194" fmla="*/ 217762 h 2465947"/>
                    <a:gd name="connsiteX195" fmla="*/ 785813 w 2331148"/>
                    <a:gd name="connsiteY195" fmla="*/ 220905 h 2465947"/>
                    <a:gd name="connsiteX196" fmla="*/ 777240 w 2331148"/>
                    <a:gd name="connsiteY196" fmla="*/ 217000 h 2465947"/>
                    <a:gd name="connsiteX197" fmla="*/ 781240 w 2331148"/>
                    <a:gd name="connsiteY197" fmla="*/ 208237 h 2465947"/>
                    <a:gd name="connsiteX198" fmla="*/ 765143 w 2331148"/>
                    <a:gd name="connsiteY198" fmla="*/ 198236 h 2465947"/>
                    <a:gd name="connsiteX199" fmla="*/ 757333 w 2331148"/>
                    <a:gd name="connsiteY199" fmla="*/ 191283 h 2465947"/>
                    <a:gd name="connsiteX200" fmla="*/ 746855 w 2331148"/>
                    <a:gd name="connsiteY200" fmla="*/ 182043 h 2465947"/>
                    <a:gd name="connsiteX201" fmla="*/ 746665 w 2331148"/>
                    <a:gd name="connsiteY201" fmla="*/ 184425 h 2465947"/>
                    <a:gd name="connsiteX202" fmla="*/ 649796 w 2331148"/>
                    <a:gd name="connsiteY202" fmla="*/ 145181 h 2465947"/>
                    <a:gd name="connsiteX203" fmla="*/ 623506 w 2331148"/>
                    <a:gd name="connsiteY203" fmla="*/ 123941 h 2465947"/>
                    <a:gd name="connsiteX204" fmla="*/ 533305 w 2331148"/>
                    <a:gd name="connsiteY204" fmla="*/ 76030 h 2465947"/>
                    <a:gd name="connsiteX205" fmla="*/ 471868 w 2331148"/>
                    <a:gd name="connsiteY205" fmla="*/ 64600 h 2465947"/>
                    <a:gd name="connsiteX206" fmla="*/ 467392 w 2331148"/>
                    <a:gd name="connsiteY206" fmla="*/ 67458 h 2465947"/>
                    <a:gd name="connsiteX207" fmla="*/ 429577 w 2331148"/>
                    <a:gd name="connsiteY207" fmla="*/ 59361 h 2465947"/>
                    <a:gd name="connsiteX208" fmla="*/ 422434 w 2331148"/>
                    <a:gd name="connsiteY208" fmla="*/ 50027 h 2465947"/>
                    <a:gd name="connsiteX209" fmla="*/ 400907 w 2331148"/>
                    <a:gd name="connsiteY209" fmla="*/ 50217 h 2465947"/>
                    <a:gd name="connsiteX210" fmla="*/ 371189 w 2331148"/>
                    <a:gd name="connsiteY210" fmla="*/ 61552 h 2465947"/>
                    <a:gd name="connsiteX211" fmla="*/ 370618 w 2331148"/>
                    <a:gd name="connsiteY211" fmla="*/ 63267 h 2465947"/>
                    <a:gd name="connsiteX212" fmla="*/ 365093 w 2331148"/>
                    <a:gd name="connsiteY212" fmla="*/ 64409 h 2465947"/>
                    <a:gd name="connsiteX213" fmla="*/ 362617 w 2331148"/>
                    <a:gd name="connsiteY213" fmla="*/ 54218 h 2465947"/>
                    <a:gd name="connsiteX214" fmla="*/ 363379 w 2331148"/>
                    <a:gd name="connsiteY214" fmla="*/ 43835 h 2465947"/>
                    <a:gd name="connsiteX215" fmla="*/ 308229 w 2331148"/>
                    <a:gd name="connsiteY215" fmla="*/ 38597 h 2465947"/>
                    <a:gd name="connsiteX216" fmla="*/ 294989 w 2331148"/>
                    <a:gd name="connsiteY216" fmla="*/ 30691 h 2465947"/>
                    <a:gd name="connsiteX217" fmla="*/ 278416 w 2331148"/>
                    <a:gd name="connsiteY217" fmla="*/ 22880 h 2465947"/>
                    <a:gd name="connsiteX218" fmla="*/ 277844 w 2331148"/>
                    <a:gd name="connsiteY218" fmla="*/ 9546 h 2465947"/>
                    <a:gd name="connsiteX219" fmla="*/ 261556 w 2331148"/>
                    <a:gd name="connsiteY219" fmla="*/ 4688 h 2465947"/>
                    <a:gd name="connsiteX220" fmla="*/ 259175 w 2331148"/>
                    <a:gd name="connsiteY220" fmla="*/ 17356 h 2465947"/>
                    <a:gd name="connsiteX221" fmla="*/ 243935 w 2331148"/>
                    <a:gd name="connsiteY221" fmla="*/ 15927 h 2465947"/>
                    <a:gd name="connsiteX222" fmla="*/ 224599 w 2331148"/>
                    <a:gd name="connsiteY222" fmla="*/ 5640 h 2465947"/>
                    <a:gd name="connsiteX223" fmla="*/ 209931 w 2331148"/>
                    <a:gd name="connsiteY223" fmla="*/ 3450 h 2465947"/>
                    <a:gd name="connsiteX224" fmla="*/ 209931 w 2331148"/>
                    <a:gd name="connsiteY224" fmla="*/ 3450 h 2465947"/>
                    <a:gd name="connsiteX225" fmla="*/ 205549 w 2331148"/>
                    <a:gd name="connsiteY225" fmla="*/ 43169 h 2465947"/>
                    <a:gd name="connsiteX226" fmla="*/ 171259 w 2331148"/>
                    <a:gd name="connsiteY226" fmla="*/ 40883 h 2465947"/>
                    <a:gd name="connsiteX227" fmla="*/ 113442 w 2331148"/>
                    <a:gd name="connsiteY227" fmla="*/ 100319 h 2465947"/>
                    <a:gd name="connsiteX228" fmla="*/ 94392 w 2331148"/>
                    <a:gd name="connsiteY228" fmla="*/ 90508 h 2465947"/>
                    <a:gd name="connsiteX229" fmla="*/ 66961 w 2331148"/>
                    <a:gd name="connsiteY229" fmla="*/ 113844 h 2465947"/>
                    <a:gd name="connsiteX230" fmla="*/ 90011 w 2331148"/>
                    <a:gd name="connsiteY230" fmla="*/ 122607 h 2465947"/>
                    <a:gd name="connsiteX231" fmla="*/ 63817 w 2331148"/>
                    <a:gd name="connsiteY231" fmla="*/ 150420 h 2465947"/>
                    <a:gd name="connsiteX232" fmla="*/ 79724 w 2331148"/>
                    <a:gd name="connsiteY232" fmla="*/ 184520 h 2465947"/>
                    <a:gd name="connsiteX233" fmla="*/ 121539 w 2331148"/>
                    <a:gd name="connsiteY233" fmla="*/ 195474 h 2465947"/>
                    <a:gd name="connsiteX234" fmla="*/ 131635 w 2331148"/>
                    <a:gd name="connsiteY234" fmla="*/ 216809 h 2465947"/>
                    <a:gd name="connsiteX235" fmla="*/ 158591 w 2331148"/>
                    <a:gd name="connsiteY235" fmla="*/ 233669 h 2465947"/>
                    <a:gd name="connsiteX236" fmla="*/ 150685 w 2331148"/>
                    <a:gd name="connsiteY236" fmla="*/ 258434 h 2465947"/>
                    <a:gd name="connsiteX237" fmla="*/ 100108 w 2331148"/>
                    <a:gd name="connsiteY237" fmla="*/ 314631 h 2465947"/>
                    <a:gd name="connsiteX238" fmla="*/ 167545 w 2331148"/>
                    <a:gd name="connsiteY238" fmla="*/ 435980 h 2465947"/>
                    <a:gd name="connsiteX239" fmla="*/ 136112 w 2331148"/>
                    <a:gd name="connsiteY239" fmla="*/ 443885 h 2465947"/>
                    <a:gd name="connsiteX240" fmla="*/ 146209 w 2331148"/>
                    <a:gd name="connsiteY240" fmla="*/ 487700 h 2465947"/>
                    <a:gd name="connsiteX241" fmla="*/ 130492 w 2331148"/>
                    <a:gd name="connsiteY241" fmla="*/ 500083 h 2465947"/>
                    <a:gd name="connsiteX242" fmla="*/ 138398 w 2331148"/>
                    <a:gd name="connsiteY242" fmla="*/ 519228 h 2465947"/>
                    <a:gd name="connsiteX243" fmla="*/ 163163 w 2331148"/>
                    <a:gd name="connsiteY243" fmla="*/ 524848 h 2465947"/>
                    <a:gd name="connsiteX244" fmla="*/ 169450 w 2331148"/>
                    <a:gd name="connsiteY244" fmla="*/ 540183 h 2465947"/>
                    <a:gd name="connsiteX245" fmla="*/ 154400 w 2331148"/>
                    <a:gd name="connsiteY245" fmla="*/ 548089 h 2465947"/>
                    <a:gd name="connsiteX246" fmla="*/ 163163 w 2331148"/>
                    <a:gd name="connsiteY246" fmla="*/ 566377 h 2465947"/>
                    <a:gd name="connsiteX247" fmla="*/ 184594 w 2331148"/>
                    <a:gd name="connsiteY247" fmla="*/ 571139 h 2465947"/>
                    <a:gd name="connsiteX248" fmla="*/ 195739 w 2331148"/>
                    <a:gd name="connsiteY248" fmla="*/ 597333 h 2465947"/>
                    <a:gd name="connsiteX249" fmla="*/ 155257 w 2331148"/>
                    <a:gd name="connsiteY249" fmla="*/ 627528 h 2465947"/>
                    <a:gd name="connsiteX250" fmla="*/ 250507 w 2331148"/>
                    <a:gd name="connsiteY250" fmla="*/ 698965 h 2465947"/>
                    <a:gd name="connsiteX251" fmla="*/ 230696 w 2331148"/>
                    <a:gd name="connsiteY251" fmla="*/ 742971 h 2465947"/>
                    <a:gd name="connsiteX252" fmla="*/ 128302 w 2331148"/>
                    <a:gd name="connsiteY252" fmla="*/ 837078 h 2465947"/>
                    <a:gd name="connsiteX253" fmla="*/ 34099 w 2331148"/>
                    <a:gd name="connsiteY253" fmla="*/ 915183 h 2465947"/>
                    <a:gd name="connsiteX254" fmla="*/ 75724 w 2331148"/>
                    <a:gd name="connsiteY254" fmla="*/ 902609 h 2465947"/>
                    <a:gd name="connsiteX255" fmla="*/ 75533 w 2331148"/>
                    <a:gd name="connsiteY255" fmla="*/ 909087 h 2465947"/>
                    <a:gd name="connsiteX256" fmla="*/ 71628 w 2331148"/>
                    <a:gd name="connsiteY256" fmla="*/ 920517 h 2465947"/>
                    <a:gd name="connsiteX257" fmla="*/ 104394 w 2331148"/>
                    <a:gd name="connsiteY257" fmla="*/ 945567 h 2465947"/>
                    <a:gd name="connsiteX258" fmla="*/ 129730 w 2331148"/>
                    <a:gd name="connsiteY258" fmla="*/ 943472 h 2465947"/>
                    <a:gd name="connsiteX259" fmla="*/ 150114 w 2331148"/>
                    <a:gd name="connsiteY259" fmla="*/ 945663 h 2465947"/>
                    <a:gd name="connsiteX260" fmla="*/ 157829 w 2331148"/>
                    <a:gd name="connsiteY260" fmla="*/ 956140 h 2465947"/>
                    <a:gd name="connsiteX261" fmla="*/ 166402 w 2331148"/>
                    <a:gd name="connsiteY261" fmla="*/ 963188 h 2465947"/>
                    <a:gd name="connsiteX262" fmla="*/ 168878 w 2331148"/>
                    <a:gd name="connsiteY262" fmla="*/ 972904 h 2465947"/>
                    <a:gd name="connsiteX263" fmla="*/ 162020 w 2331148"/>
                    <a:gd name="connsiteY263" fmla="*/ 976714 h 2465947"/>
                    <a:gd name="connsiteX264" fmla="*/ 113252 w 2331148"/>
                    <a:gd name="connsiteY264" fmla="*/ 962522 h 2465947"/>
                    <a:gd name="connsiteX265" fmla="*/ 104775 w 2331148"/>
                    <a:gd name="connsiteY265" fmla="*/ 962807 h 2465947"/>
                    <a:gd name="connsiteX266" fmla="*/ 101441 w 2331148"/>
                    <a:gd name="connsiteY266" fmla="*/ 971475 h 2465947"/>
                    <a:gd name="connsiteX267" fmla="*/ 97441 w 2331148"/>
                    <a:gd name="connsiteY267" fmla="*/ 978524 h 2465947"/>
                    <a:gd name="connsiteX268" fmla="*/ 87344 w 2331148"/>
                    <a:gd name="connsiteY268" fmla="*/ 982048 h 2465947"/>
                    <a:gd name="connsiteX269" fmla="*/ 65341 w 2331148"/>
                    <a:gd name="connsiteY269" fmla="*/ 981191 h 2465947"/>
                    <a:gd name="connsiteX270" fmla="*/ 57817 w 2331148"/>
                    <a:gd name="connsiteY270" fmla="*/ 991954 h 2465947"/>
                    <a:gd name="connsiteX271" fmla="*/ 49911 w 2331148"/>
                    <a:gd name="connsiteY271" fmla="*/ 986620 h 2465947"/>
                    <a:gd name="connsiteX272" fmla="*/ 49149 w 2331148"/>
                    <a:gd name="connsiteY272" fmla="*/ 984524 h 2465947"/>
                    <a:gd name="connsiteX273" fmla="*/ 39243 w 2331148"/>
                    <a:gd name="connsiteY273" fmla="*/ 994335 h 2465947"/>
                    <a:gd name="connsiteX274" fmla="*/ 41434 w 2331148"/>
                    <a:gd name="connsiteY274" fmla="*/ 1004337 h 2465947"/>
                    <a:gd name="connsiteX275" fmla="*/ 34480 w 2331148"/>
                    <a:gd name="connsiteY275" fmla="*/ 1016243 h 2465947"/>
                    <a:gd name="connsiteX276" fmla="*/ 36576 w 2331148"/>
                    <a:gd name="connsiteY276" fmla="*/ 1017195 h 2465947"/>
                    <a:gd name="connsiteX277" fmla="*/ 19145 w 2331148"/>
                    <a:gd name="connsiteY277" fmla="*/ 1062058 h 2465947"/>
                    <a:gd name="connsiteX278" fmla="*/ 26479 w 2331148"/>
                    <a:gd name="connsiteY278" fmla="*/ 1101968 h 2465947"/>
                    <a:gd name="connsiteX279" fmla="*/ 6858 w 2331148"/>
                    <a:gd name="connsiteY279" fmla="*/ 1123971 h 2465947"/>
                    <a:gd name="connsiteX280" fmla="*/ 11811 w 2331148"/>
                    <a:gd name="connsiteY280" fmla="*/ 1134257 h 2465947"/>
                    <a:gd name="connsiteX281" fmla="*/ 37052 w 2331148"/>
                    <a:gd name="connsiteY281" fmla="*/ 1133496 h 2465947"/>
                    <a:gd name="connsiteX282" fmla="*/ 48768 w 2331148"/>
                    <a:gd name="connsiteY282" fmla="*/ 1157689 h 2465947"/>
                    <a:gd name="connsiteX283" fmla="*/ 33718 w 2331148"/>
                    <a:gd name="connsiteY283" fmla="*/ 1160261 h 2465947"/>
                    <a:gd name="connsiteX284" fmla="*/ 0 w 2331148"/>
                    <a:gd name="connsiteY284" fmla="*/ 1193979 h 2465947"/>
                    <a:gd name="connsiteX285" fmla="*/ 28384 w 2331148"/>
                    <a:gd name="connsiteY285" fmla="*/ 1209600 h 2465947"/>
                    <a:gd name="connsiteX286" fmla="*/ 16478 w 2331148"/>
                    <a:gd name="connsiteY286" fmla="*/ 1245319 h 2465947"/>
                    <a:gd name="connsiteX287" fmla="*/ 48673 w 2331148"/>
                    <a:gd name="connsiteY287" fmla="*/ 1282276 h 2465947"/>
                    <a:gd name="connsiteX288" fmla="*/ 45910 w 2331148"/>
                    <a:gd name="connsiteY288" fmla="*/ 1306851 h 2465947"/>
                    <a:gd name="connsiteX289" fmla="*/ 83248 w 2331148"/>
                    <a:gd name="connsiteY289" fmla="*/ 1325139 h 2465947"/>
                    <a:gd name="connsiteX290" fmla="*/ 118205 w 2331148"/>
                    <a:gd name="connsiteY290" fmla="*/ 1319614 h 2465947"/>
                    <a:gd name="connsiteX291" fmla="*/ 122967 w 2331148"/>
                    <a:gd name="connsiteY291" fmla="*/ 1344189 h 2465947"/>
                    <a:gd name="connsiteX292" fmla="*/ 173736 w 2331148"/>
                    <a:gd name="connsiteY292" fmla="*/ 1332282 h 2465947"/>
                    <a:gd name="connsiteX293" fmla="*/ 214217 w 2331148"/>
                    <a:gd name="connsiteY293" fmla="*/ 1356857 h 2465947"/>
                    <a:gd name="connsiteX294" fmla="*/ 204692 w 2331148"/>
                    <a:gd name="connsiteY294" fmla="*/ 1379907 h 2465947"/>
                    <a:gd name="connsiteX295" fmla="*/ 218218 w 2331148"/>
                    <a:gd name="connsiteY295" fmla="*/ 1395814 h 2465947"/>
                    <a:gd name="connsiteX296" fmla="*/ 203168 w 2331148"/>
                    <a:gd name="connsiteY296" fmla="*/ 1421246 h 2465947"/>
                    <a:gd name="connsiteX297" fmla="*/ 227552 w 2331148"/>
                    <a:gd name="connsiteY297" fmla="*/ 1435724 h 2465947"/>
                    <a:gd name="connsiteX298" fmla="*/ 221932 w 2331148"/>
                    <a:gd name="connsiteY298" fmla="*/ 1446868 h 2465947"/>
                    <a:gd name="connsiteX299" fmla="*/ 244221 w 2331148"/>
                    <a:gd name="connsiteY299" fmla="*/ 1472681 h 2465947"/>
                    <a:gd name="connsiteX300" fmla="*/ 267843 w 2331148"/>
                    <a:gd name="connsiteY300" fmla="*/ 1481730 h 2465947"/>
                    <a:gd name="connsiteX301" fmla="*/ 261842 w 2331148"/>
                    <a:gd name="connsiteY301" fmla="*/ 1503161 h 2465947"/>
                    <a:gd name="connsiteX302" fmla="*/ 304800 w 2331148"/>
                    <a:gd name="connsiteY302" fmla="*/ 1510019 h 2465947"/>
                    <a:gd name="connsiteX303" fmla="*/ 303943 w 2331148"/>
                    <a:gd name="connsiteY303" fmla="*/ 1521163 h 2465947"/>
                    <a:gd name="connsiteX304" fmla="*/ 322421 w 2331148"/>
                    <a:gd name="connsiteY304" fmla="*/ 1531450 h 2465947"/>
                    <a:gd name="connsiteX305" fmla="*/ 320326 w 2331148"/>
                    <a:gd name="connsiteY305" fmla="*/ 1541356 h 2465947"/>
                    <a:gd name="connsiteX306" fmla="*/ 286798 w 2331148"/>
                    <a:gd name="connsiteY306" fmla="*/ 1561930 h 2465947"/>
                    <a:gd name="connsiteX307" fmla="*/ 247269 w 2331148"/>
                    <a:gd name="connsiteY307" fmla="*/ 1549929 h 2465947"/>
                    <a:gd name="connsiteX308" fmla="*/ 234410 w 2331148"/>
                    <a:gd name="connsiteY308" fmla="*/ 1565835 h 2465947"/>
                    <a:gd name="connsiteX309" fmla="*/ 251555 w 2331148"/>
                    <a:gd name="connsiteY309" fmla="*/ 1586028 h 2465947"/>
                    <a:gd name="connsiteX310" fmla="*/ 260604 w 2331148"/>
                    <a:gd name="connsiteY310" fmla="*/ 1640988 h 2465947"/>
                    <a:gd name="connsiteX311" fmla="*/ 292894 w 2331148"/>
                    <a:gd name="connsiteY311" fmla="*/ 1643655 h 2465947"/>
                    <a:gd name="connsiteX312" fmla="*/ 300609 w 2331148"/>
                    <a:gd name="connsiteY312" fmla="*/ 1624033 h 2465947"/>
                    <a:gd name="connsiteX313" fmla="*/ 335756 w 2331148"/>
                    <a:gd name="connsiteY313" fmla="*/ 1629367 h 2465947"/>
                    <a:gd name="connsiteX314" fmla="*/ 353663 w 2331148"/>
                    <a:gd name="connsiteY314" fmla="*/ 1618032 h 2465947"/>
                    <a:gd name="connsiteX315" fmla="*/ 388144 w 2331148"/>
                    <a:gd name="connsiteY315" fmla="*/ 1620985 h 2465947"/>
                    <a:gd name="connsiteX316" fmla="*/ 422624 w 2331148"/>
                    <a:gd name="connsiteY316" fmla="*/ 1669181 h 2465947"/>
                    <a:gd name="connsiteX317" fmla="*/ 402431 w 2331148"/>
                    <a:gd name="connsiteY317" fmla="*/ 1676325 h 2465947"/>
                    <a:gd name="connsiteX318" fmla="*/ 411385 w 2331148"/>
                    <a:gd name="connsiteY318" fmla="*/ 1710806 h 2465947"/>
                    <a:gd name="connsiteX319" fmla="*/ 464915 w 2331148"/>
                    <a:gd name="connsiteY319" fmla="*/ 1713187 h 2465947"/>
                    <a:gd name="connsiteX320" fmla="*/ 485204 w 2331148"/>
                    <a:gd name="connsiteY320" fmla="*/ 1747382 h 2465947"/>
                    <a:gd name="connsiteX321" fmla="*/ 478250 w 2331148"/>
                    <a:gd name="connsiteY321" fmla="*/ 1762336 h 2465947"/>
                    <a:gd name="connsiteX322" fmla="*/ 496729 w 2331148"/>
                    <a:gd name="connsiteY322" fmla="*/ 1783672 h 2465947"/>
                    <a:gd name="connsiteX323" fmla="*/ 519208 w 2331148"/>
                    <a:gd name="connsiteY323" fmla="*/ 1773861 h 2465947"/>
                    <a:gd name="connsiteX324" fmla="*/ 555498 w 2331148"/>
                    <a:gd name="connsiteY324" fmla="*/ 1791768 h 2465947"/>
                    <a:gd name="connsiteX325" fmla="*/ 568166 w 2331148"/>
                    <a:gd name="connsiteY325" fmla="*/ 1781386 h 2465947"/>
                    <a:gd name="connsiteX326" fmla="*/ 601599 w 2331148"/>
                    <a:gd name="connsiteY326" fmla="*/ 1773290 h 2465947"/>
                    <a:gd name="connsiteX327" fmla="*/ 637889 w 2331148"/>
                    <a:gd name="connsiteY327" fmla="*/ 1814247 h 2465947"/>
                    <a:gd name="connsiteX328" fmla="*/ 653986 w 2331148"/>
                    <a:gd name="connsiteY328" fmla="*/ 1802151 h 2465947"/>
                    <a:gd name="connsiteX329" fmla="*/ 691610 w 2331148"/>
                    <a:gd name="connsiteY329" fmla="*/ 1821296 h 2465947"/>
                    <a:gd name="connsiteX330" fmla="*/ 712184 w 2331148"/>
                    <a:gd name="connsiteY330" fmla="*/ 1820248 h 2465947"/>
                    <a:gd name="connsiteX331" fmla="*/ 744188 w 2331148"/>
                    <a:gd name="connsiteY331" fmla="*/ 1840822 h 2465947"/>
                    <a:gd name="connsiteX332" fmla="*/ 764286 w 2331148"/>
                    <a:gd name="connsiteY332" fmla="*/ 1839774 h 2465947"/>
                    <a:gd name="connsiteX333" fmla="*/ 766381 w 2331148"/>
                    <a:gd name="connsiteY333" fmla="*/ 1867111 h 2465947"/>
                    <a:gd name="connsiteX334" fmla="*/ 739045 w 2331148"/>
                    <a:gd name="connsiteY334" fmla="*/ 1882065 h 2465947"/>
                    <a:gd name="connsiteX335" fmla="*/ 743712 w 2331148"/>
                    <a:gd name="connsiteY335" fmla="*/ 1891305 h 2465947"/>
                    <a:gd name="connsiteX336" fmla="*/ 760190 w 2331148"/>
                    <a:gd name="connsiteY336" fmla="*/ 1897496 h 2465947"/>
                    <a:gd name="connsiteX337" fmla="*/ 737044 w 2331148"/>
                    <a:gd name="connsiteY337" fmla="*/ 1917117 h 2465947"/>
                    <a:gd name="connsiteX338" fmla="*/ 756094 w 2331148"/>
                    <a:gd name="connsiteY338" fmla="*/ 1943882 h 2465947"/>
                    <a:gd name="connsiteX339" fmla="*/ 742188 w 2331148"/>
                    <a:gd name="connsiteY339" fmla="*/ 1975315 h 2465947"/>
                    <a:gd name="connsiteX340" fmla="*/ 685990 w 2331148"/>
                    <a:gd name="connsiteY340" fmla="*/ 1974267 h 2465947"/>
                    <a:gd name="connsiteX341" fmla="*/ 679323 w 2331148"/>
                    <a:gd name="connsiteY341" fmla="*/ 1989222 h 2465947"/>
                    <a:gd name="connsiteX342" fmla="*/ 656177 w 2331148"/>
                    <a:gd name="connsiteY342" fmla="*/ 1993889 h 2465947"/>
                    <a:gd name="connsiteX343" fmla="*/ 649033 w 2331148"/>
                    <a:gd name="connsiteY343" fmla="*/ 2025607 h 2465947"/>
                    <a:gd name="connsiteX344" fmla="*/ 694277 w 2331148"/>
                    <a:gd name="connsiteY344" fmla="*/ 2017987 h 2465947"/>
                    <a:gd name="connsiteX345" fmla="*/ 715613 w 2331148"/>
                    <a:gd name="connsiteY345" fmla="*/ 2018939 h 2465947"/>
                    <a:gd name="connsiteX346" fmla="*/ 712470 w 2331148"/>
                    <a:gd name="connsiteY346" fmla="*/ 2032274 h 2465947"/>
                    <a:gd name="connsiteX347" fmla="*/ 707422 w 2331148"/>
                    <a:gd name="connsiteY347" fmla="*/ 2032274 h 2465947"/>
                    <a:gd name="connsiteX348" fmla="*/ 693896 w 2331148"/>
                    <a:gd name="connsiteY348" fmla="*/ 2039132 h 2465947"/>
                    <a:gd name="connsiteX349" fmla="*/ 673322 w 2331148"/>
                    <a:gd name="connsiteY349" fmla="*/ 2042943 h 2465947"/>
                    <a:gd name="connsiteX350" fmla="*/ 667893 w 2331148"/>
                    <a:gd name="connsiteY350" fmla="*/ 2053134 h 2465947"/>
                    <a:gd name="connsiteX351" fmla="*/ 670369 w 2331148"/>
                    <a:gd name="connsiteY351" fmla="*/ 2053991 h 2465947"/>
                    <a:gd name="connsiteX352" fmla="*/ 662273 w 2331148"/>
                    <a:gd name="connsiteY352" fmla="*/ 2066279 h 2465947"/>
                    <a:gd name="connsiteX353" fmla="*/ 626459 w 2331148"/>
                    <a:gd name="connsiteY353" fmla="*/ 2063707 h 2465947"/>
                    <a:gd name="connsiteX354" fmla="*/ 639604 w 2331148"/>
                    <a:gd name="connsiteY354" fmla="*/ 2080566 h 2465947"/>
                    <a:gd name="connsiteX355" fmla="*/ 646557 w 2331148"/>
                    <a:gd name="connsiteY355" fmla="*/ 2080757 h 2465947"/>
                    <a:gd name="connsiteX356" fmla="*/ 668369 w 2331148"/>
                    <a:gd name="connsiteY356" fmla="*/ 2096282 h 2465947"/>
                    <a:gd name="connsiteX357" fmla="*/ 671798 w 2331148"/>
                    <a:gd name="connsiteY357" fmla="*/ 2107141 h 2465947"/>
                    <a:gd name="connsiteX358" fmla="*/ 666369 w 2331148"/>
                    <a:gd name="connsiteY358" fmla="*/ 2109903 h 2465947"/>
                    <a:gd name="connsiteX359" fmla="*/ 655606 w 2331148"/>
                    <a:gd name="connsiteY359" fmla="*/ 2103998 h 2465947"/>
                    <a:gd name="connsiteX360" fmla="*/ 640747 w 2331148"/>
                    <a:gd name="connsiteY360" fmla="*/ 2105617 h 2465947"/>
                    <a:gd name="connsiteX361" fmla="*/ 630746 w 2331148"/>
                    <a:gd name="connsiteY361" fmla="*/ 2123238 h 2465947"/>
                    <a:gd name="connsiteX362" fmla="*/ 621697 w 2331148"/>
                    <a:gd name="connsiteY362" fmla="*/ 2131716 h 2465947"/>
                    <a:gd name="connsiteX363" fmla="*/ 607028 w 2331148"/>
                    <a:gd name="connsiteY363" fmla="*/ 2155528 h 2465947"/>
                    <a:gd name="connsiteX364" fmla="*/ 586930 w 2331148"/>
                    <a:gd name="connsiteY364" fmla="*/ 2156671 h 2465947"/>
                    <a:gd name="connsiteX365" fmla="*/ 572738 w 2331148"/>
                    <a:gd name="connsiteY365" fmla="*/ 2151528 h 2465947"/>
                    <a:gd name="connsiteX366" fmla="*/ 571500 w 2331148"/>
                    <a:gd name="connsiteY366" fmla="*/ 2159814 h 2465947"/>
                    <a:gd name="connsiteX367" fmla="*/ 572452 w 2331148"/>
                    <a:gd name="connsiteY367" fmla="*/ 2160195 h 2465947"/>
                    <a:gd name="connsiteX368" fmla="*/ 557784 w 2331148"/>
                    <a:gd name="connsiteY368" fmla="*/ 2172959 h 2465947"/>
                    <a:gd name="connsiteX369" fmla="*/ 557784 w 2331148"/>
                    <a:gd name="connsiteY369" fmla="*/ 2173245 h 2465947"/>
                    <a:gd name="connsiteX370" fmla="*/ 581215 w 2331148"/>
                    <a:gd name="connsiteY370" fmla="*/ 2172292 h 2465947"/>
                    <a:gd name="connsiteX371" fmla="*/ 587026 w 2331148"/>
                    <a:gd name="connsiteY371" fmla="*/ 2177055 h 2465947"/>
                    <a:gd name="connsiteX372" fmla="*/ 586930 w 2331148"/>
                    <a:gd name="connsiteY372" fmla="*/ 2177055 h 2465947"/>
                    <a:gd name="connsiteX373" fmla="*/ 598837 w 2331148"/>
                    <a:gd name="connsiteY373" fmla="*/ 2191342 h 2465947"/>
                    <a:gd name="connsiteX374" fmla="*/ 611314 w 2331148"/>
                    <a:gd name="connsiteY374" fmla="*/ 2207249 h 2465947"/>
                    <a:gd name="connsiteX375" fmla="*/ 626840 w 2331148"/>
                    <a:gd name="connsiteY375" fmla="*/ 2205534 h 2465947"/>
                    <a:gd name="connsiteX376" fmla="*/ 642747 w 2331148"/>
                    <a:gd name="connsiteY376" fmla="*/ 2218965 h 2465947"/>
                    <a:gd name="connsiteX377" fmla="*/ 658082 w 2331148"/>
                    <a:gd name="connsiteY377" fmla="*/ 2228108 h 2465947"/>
                    <a:gd name="connsiteX378" fmla="*/ 690848 w 2331148"/>
                    <a:gd name="connsiteY378" fmla="*/ 2239348 h 2465947"/>
                    <a:gd name="connsiteX379" fmla="*/ 750094 w 2331148"/>
                    <a:gd name="connsiteY379" fmla="*/ 2296212 h 2465947"/>
                    <a:gd name="connsiteX380" fmla="*/ 761143 w 2331148"/>
                    <a:gd name="connsiteY380" fmla="*/ 2302689 h 2465947"/>
                    <a:gd name="connsiteX381" fmla="*/ 761143 w 2331148"/>
                    <a:gd name="connsiteY381" fmla="*/ 2302689 h 2465947"/>
                    <a:gd name="connsiteX382" fmla="*/ 774954 w 2331148"/>
                    <a:gd name="connsiteY382" fmla="*/ 2287259 h 2465947"/>
                    <a:gd name="connsiteX383" fmla="*/ 871347 w 2331148"/>
                    <a:gd name="connsiteY383" fmla="*/ 2319453 h 2465947"/>
                    <a:gd name="connsiteX384" fmla="*/ 927354 w 2331148"/>
                    <a:gd name="connsiteY384" fmla="*/ 2317072 h 2465947"/>
                    <a:gd name="connsiteX385" fmla="*/ 994029 w 2331148"/>
                    <a:gd name="connsiteY385" fmla="*/ 2364697 h 2465947"/>
                    <a:gd name="connsiteX386" fmla="*/ 1046416 w 2331148"/>
                    <a:gd name="connsiteY386" fmla="*/ 2351553 h 2465947"/>
                    <a:gd name="connsiteX387" fmla="*/ 1102423 w 2331148"/>
                    <a:gd name="connsiteY387" fmla="*/ 2370603 h 2465947"/>
                    <a:gd name="connsiteX388" fmla="*/ 1100042 w 2331148"/>
                    <a:gd name="connsiteY388" fmla="*/ 2393272 h 2465947"/>
                    <a:gd name="connsiteX389" fmla="*/ 1173861 w 2331148"/>
                    <a:gd name="connsiteY389" fmla="*/ 2424228 h 2465947"/>
                    <a:gd name="connsiteX390" fmla="*/ 1197673 w 2331148"/>
                    <a:gd name="connsiteY390" fmla="*/ 2456423 h 2465947"/>
                    <a:gd name="connsiteX391" fmla="*/ 1233392 w 2331148"/>
                    <a:gd name="connsiteY391" fmla="*/ 2465948 h 2465947"/>
                    <a:gd name="connsiteX392" fmla="*/ 1281208 w 2331148"/>
                    <a:gd name="connsiteY392" fmla="*/ 2424228 h 2465947"/>
                    <a:gd name="connsiteX393" fmla="*/ 1281208 w 2331148"/>
                    <a:gd name="connsiteY393" fmla="*/ 2424228 h 2465947"/>
                    <a:gd name="connsiteX394" fmla="*/ 1276826 w 2331148"/>
                    <a:gd name="connsiteY394" fmla="*/ 2418799 h 2465947"/>
                    <a:gd name="connsiteX395" fmla="*/ 1259872 w 2331148"/>
                    <a:gd name="connsiteY395" fmla="*/ 2408798 h 2465947"/>
                    <a:gd name="connsiteX396" fmla="*/ 1228439 w 2331148"/>
                    <a:gd name="connsiteY396" fmla="*/ 2361078 h 2465947"/>
                    <a:gd name="connsiteX397" fmla="*/ 1223200 w 2331148"/>
                    <a:gd name="connsiteY397" fmla="*/ 2346599 h 2465947"/>
                    <a:gd name="connsiteX398" fmla="*/ 1208627 w 2331148"/>
                    <a:gd name="connsiteY398" fmla="*/ 2326502 h 2465947"/>
                    <a:gd name="connsiteX399" fmla="*/ 1212342 w 2331148"/>
                    <a:gd name="connsiteY399" fmla="*/ 2311929 h 2465947"/>
                    <a:gd name="connsiteX400" fmla="*/ 1209675 w 2331148"/>
                    <a:gd name="connsiteY400" fmla="*/ 2299832 h 2465947"/>
                    <a:gd name="connsiteX401" fmla="*/ 1224820 w 2331148"/>
                    <a:gd name="connsiteY401" fmla="*/ 2258684 h 2465947"/>
                    <a:gd name="connsiteX402" fmla="*/ 1213675 w 2331148"/>
                    <a:gd name="connsiteY402" fmla="*/ 2265828 h 2465947"/>
                    <a:gd name="connsiteX403" fmla="*/ 1207580 w 2331148"/>
                    <a:gd name="connsiteY403" fmla="*/ 2265256 h 2465947"/>
                    <a:gd name="connsiteX404" fmla="*/ 1197864 w 2331148"/>
                    <a:gd name="connsiteY404" fmla="*/ 2247349 h 2465947"/>
                    <a:gd name="connsiteX405" fmla="*/ 1183291 w 2331148"/>
                    <a:gd name="connsiteY405" fmla="*/ 2237253 h 2465947"/>
                    <a:gd name="connsiteX406" fmla="*/ 1174432 w 2331148"/>
                    <a:gd name="connsiteY406" fmla="*/ 2232014 h 2465947"/>
                    <a:gd name="connsiteX407" fmla="*/ 1166813 w 2331148"/>
                    <a:gd name="connsiteY407" fmla="*/ 2229918 h 2465947"/>
                    <a:gd name="connsiteX408" fmla="*/ 1164526 w 2331148"/>
                    <a:gd name="connsiteY408" fmla="*/ 2213059 h 2465947"/>
                    <a:gd name="connsiteX409" fmla="*/ 1186243 w 2331148"/>
                    <a:gd name="connsiteY409" fmla="*/ 2197533 h 2465947"/>
                    <a:gd name="connsiteX410" fmla="*/ 1186529 w 2331148"/>
                    <a:gd name="connsiteY410" fmla="*/ 2197533 h 2465947"/>
                    <a:gd name="connsiteX411" fmla="*/ 1199769 w 2331148"/>
                    <a:gd name="connsiteY411" fmla="*/ 2171149 h 2465947"/>
                    <a:gd name="connsiteX412" fmla="*/ 1213104 w 2331148"/>
                    <a:gd name="connsiteY412" fmla="*/ 2139812 h 2465947"/>
                    <a:gd name="connsiteX413" fmla="*/ 1218248 w 2331148"/>
                    <a:gd name="connsiteY413" fmla="*/ 2133811 h 2465947"/>
                    <a:gd name="connsiteX414" fmla="*/ 1227963 w 2331148"/>
                    <a:gd name="connsiteY414" fmla="*/ 2141812 h 2465947"/>
                    <a:gd name="connsiteX415" fmla="*/ 1236345 w 2331148"/>
                    <a:gd name="connsiteY415" fmla="*/ 2144479 h 2465947"/>
                    <a:gd name="connsiteX416" fmla="*/ 1242060 w 2331148"/>
                    <a:gd name="connsiteY416" fmla="*/ 2136097 h 2465947"/>
                    <a:gd name="connsiteX417" fmla="*/ 1264825 w 2331148"/>
                    <a:gd name="connsiteY417" fmla="*/ 2132858 h 2465947"/>
                    <a:gd name="connsiteX418" fmla="*/ 1270444 w 2331148"/>
                    <a:gd name="connsiteY418" fmla="*/ 2118285 h 2465947"/>
                    <a:gd name="connsiteX419" fmla="*/ 1278255 w 2331148"/>
                    <a:gd name="connsiteY419" fmla="*/ 2126477 h 2465947"/>
                    <a:gd name="connsiteX420" fmla="*/ 1281303 w 2331148"/>
                    <a:gd name="connsiteY420" fmla="*/ 2136859 h 2465947"/>
                    <a:gd name="connsiteX421" fmla="*/ 1288732 w 2331148"/>
                    <a:gd name="connsiteY421" fmla="*/ 2132382 h 2465947"/>
                    <a:gd name="connsiteX422" fmla="*/ 1293495 w 2331148"/>
                    <a:gd name="connsiteY422" fmla="*/ 2109237 h 2465947"/>
                    <a:gd name="connsiteX423" fmla="*/ 1296257 w 2331148"/>
                    <a:gd name="connsiteY423" fmla="*/ 2099807 h 2465947"/>
                    <a:gd name="connsiteX424" fmla="*/ 1296638 w 2331148"/>
                    <a:gd name="connsiteY424" fmla="*/ 2099521 h 2465947"/>
                    <a:gd name="connsiteX425" fmla="*/ 1299496 w 2331148"/>
                    <a:gd name="connsiteY425" fmla="*/ 2098092 h 2465947"/>
                    <a:gd name="connsiteX426" fmla="*/ 1299496 w 2331148"/>
                    <a:gd name="connsiteY426" fmla="*/ 2097902 h 2465947"/>
                    <a:gd name="connsiteX427" fmla="*/ 1266063 w 2331148"/>
                    <a:gd name="connsiteY427" fmla="*/ 2064183 h 2465947"/>
                    <a:gd name="connsiteX428" fmla="*/ 1294638 w 2331148"/>
                    <a:gd name="connsiteY428" fmla="*/ 2045133 h 2465947"/>
                    <a:gd name="connsiteX429" fmla="*/ 1241489 w 2331148"/>
                    <a:gd name="connsiteY429" fmla="*/ 1978554 h 2465947"/>
                    <a:gd name="connsiteX430" fmla="*/ 1196245 w 2331148"/>
                    <a:gd name="connsiteY430" fmla="*/ 1978554 h 2465947"/>
                    <a:gd name="connsiteX431" fmla="*/ 1149286 w 2331148"/>
                    <a:gd name="connsiteY431" fmla="*/ 1924642 h 2465947"/>
                    <a:gd name="connsiteX432" fmla="*/ 1178814 w 2331148"/>
                    <a:gd name="connsiteY432" fmla="*/ 1875969 h 2465947"/>
                    <a:gd name="connsiteX433" fmla="*/ 1166622 w 2331148"/>
                    <a:gd name="connsiteY433" fmla="*/ 1835964 h 2465947"/>
                    <a:gd name="connsiteX434" fmla="*/ 1213580 w 2331148"/>
                    <a:gd name="connsiteY434" fmla="*/ 1771575 h 2465947"/>
                    <a:gd name="connsiteX435" fmla="*/ 1258824 w 2331148"/>
                    <a:gd name="connsiteY435" fmla="*/ 1823772 h 2465947"/>
                    <a:gd name="connsiteX436" fmla="*/ 1290161 w 2331148"/>
                    <a:gd name="connsiteY436" fmla="*/ 1808151 h 2465947"/>
                    <a:gd name="connsiteX437" fmla="*/ 1283208 w 2331148"/>
                    <a:gd name="connsiteY437" fmla="*/ 1761193 h 2465947"/>
                    <a:gd name="connsiteX438" fmla="*/ 1408462 w 2331148"/>
                    <a:gd name="connsiteY438" fmla="*/ 1672515 h 2465947"/>
                    <a:gd name="connsiteX439" fmla="*/ 1504093 w 2331148"/>
                    <a:gd name="connsiteY439" fmla="*/ 1670801 h 2465947"/>
                    <a:gd name="connsiteX440" fmla="*/ 1608487 w 2331148"/>
                    <a:gd name="connsiteY440" fmla="*/ 1728237 h 2465947"/>
                    <a:gd name="connsiteX441" fmla="*/ 1610201 w 2331148"/>
                    <a:gd name="connsiteY441" fmla="*/ 1761288 h 2465947"/>
                    <a:gd name="connsiteX442" fmla="*/ 1639728 w 2331148"/>
                    <a:gd name="connsiteY442" fmla="*/ 1768241 h 2465947"/>
                    <a:gd name="connsiteX443" fmla="*/ 1648397 w 2331148"/>
                    <a:gd name="connsiteY443" fmla="*/ 1735190 h 2465947"/>
                    <a:gd name="connsiteX444" fmla="*/ 1704022 w 2331148"/>
                    <a:gd name="connsiteY444" fmla="*/ 1764813 h 2465947"/>
                    <a:gd name="connsiteX445" fmla="*/ 1747552 w 2331148"/>
                    <a:gd name="connsiteY445" fmla="*/ 1724807 h 2465947"/>
                    <a:gd name="connsiteX446" fmla="*/ 1865852 w 2331148"/>
                    <a:gd name="connsiteY446" fmla="*/ 1721283 h 2465947"/>
                    <a:gd name="connsiteX447" fmla="*/ 1928431 w 2331148"/>
                    <a:gd name="connsiteY447" fmla="*/ 1764813 h 2465947"/>
                    <a:gd name="connsiteX448" fmla="*/ 2040636 w 2331148"/>
                    <a:gd name="connsiteY448" fmla="*/ 1746906 h 2465947"/>
                    <a:gd name="connsiteX449" fmla="*/ 2058067 w 2331148"/>
                    <a:gd name="connsiteY449" fmla="*/ 1704043 h 2465947"/>
                    <a:gd name="connsiteX450" fmla="*/ 1956435 w 2331148"/>
                    <a:gd name="connsiteY450" fmla="*/ 1650036 h 2465947"/>
                    <a:gd name="connsiteX451" fmla="*/ 1975485 w 2331148"/>
                    <a:gd name="connsiteY451" fmla="*/ 1611936 h 2465947"/>
                    <a:gd name="connsiteX452" fmla="*/ 1926241 w 2331148"/>
                    <a:gd name="connsiteY452" fmla="*/ 1599268 h 2465947"/>
                    <a:gd name="connsiteX453" fmla="*/ 1905572 w 2331148"/>
                    <a:gd name="connsiteY453" fmla="*/ 1627843 h 2465947"/>
                    <a:gd name="connsiteX454" fmla="*/ 1878616 w 2331148"/>
                    <a:gd name="connsiteY454" fmla="*/ 1605650 h 2465947"/>
                    <a:gd name="connsiteX455" fmla="*/ 1891284 w 2331148"/>
                    <a:gd name="connsiteY455" fmla="*/ 1497731 h 2465947"/>
                    <a:gd name="connsiteX456" fmla="*/ 1940528 w 2331148"/>
                    <a:gd name="connsiteY456" fmla="*/ 1475538 h 2465947"/>
                    <a:gd name="connsiteX457" fmla="*/ 1950053 w 2331148"/>
                    <a:gd name="connsiteY457" fmla="*/ 1408863 h 2465947"/>
                    <a:gd name="connsiteX458" fmla="*/ 1834134 w 2331148"/>
                    <a:gd name="connsiteY458" fmla="*/ 1453345 h 2465947"/>
                    <a:gd name="connsiteX459" fmla="*/ 1784890 w 2331148"/>
                    <a:gd name="connsiteY459" fmla="*/ 1396195 h 2465947"/>
                    <a:gd name="connsiteX460" fmla="*/ 1835658 w 2331148"/>
                    <a:gd name="connsiteY460" fmla="*/ 1364477 h 2465947"/>
                    <a:gd name="connsiteX461" fmla="*/ 1851565 w 2331148"/>
                    <a:gd name="connsiteY461" fmla="*/ 1404196 h 2465947"/>
                    <a:gd name="connsiteX462" fmla="*/ 1934147 w 2331148"/>
                    <a:gd name="connsiteY462" fmla="*/ 1348665 h 2465947"/>
                    <a:gd name="connsiteX463" fmla="*/ 1912429 w 2331148"/>
                    <a:gd name="connsiteY463" fmla="*/ 1302279 h 2465947"/>
                    <a:gd name="connsiteX464" fmla="*/ 1808797 w 2331148"/>
                    <a:gd name="connsiteY464" fmla="*/ 1298945 h 2465947"/>
                    <a:gd name="connsiteX465" fmla="*/ 1788986 w 2331148"/>
                    <a:gd name="connsiteY465" fmla="*/ 1247129 h 2465947"/>
                    <a:gd name="connsiteX466" fmla="*/ 1845183 w 2331148"/>
                    <a:gd name="connsiteY466" fmla="*/ 1228364 h 2465947"/>
                    <a:gd name="connsiteX467" fmla="*/ 1837468 w 2331148"/>
                    <a:gd name="connsiteY467" fmla="*/ 1173215 h 2465947"/>
                    <a:gd name="connsiteX468" fmla="*/ 1872710 w 2331148"/>
                    <a:gd name="connsiteY468" fmla="*/ 1182073 h 2465947"/>
                    <a:gd name="connsiteX469" fmla="*/ 1889284 w 2331148"/>
                    <a:gd name="connsiteY469" fmla="*/ 1161118 h 2465947"/>
                    <a:gd name="connsiteX470" fmla="*/ 1874996 w 2331148"/>
                    <a:gd name="connsiteY470" fmla="*/ 1135781 h 2465947"/>
                    <a:gd name="connsiteX471" fmla="*/ 1888236 w 2331148"/>
                    <a:gd name="connsiteY471" fmla="*/ 1118160 h 2465947"/>
                    <a:gd name="connsiteX472" fmla="*/ 1912525 w 2331148"/>
                    <a:gd name="connsiteY472" fmla="*/ 1118160 h 2465947"/>
                    <a:gd name="connsiteX473" fmla="*/ 1925764 w 2331148"/>
                    <a:gd name="connsiteY473" fmla="*/ 1082918 h 2465947"/>
                    <a:gd name="connsiteX474" fmla="*/ 1903666 w 2331148"/>
                    <a:gd name="connsiteY474" fmla="*/ 1066344 h 2465947"/>
                    <a:gd name="connsiteX475" fmla="*/ 1904809 w 2331148"/>
                    <a:gd name="connsiteY475" fmla="*/ 1035483 h 2465947"/>
                    <a:gd name="connsiteX476" fmla="*/ 1859566 w 2331148"/>
                    <a:gd name="connsiteY476" fmla="*/ 999383 h 2465947"/>
                    <a:gd name="connsiteX477" fmla="*/ 1923859 w 2331148"/>
                    <a:gd name="connsiteY477" fmla="*/ 898228 h 2465947"/>
                    <a:gd name="connsiteX478" fmla="*/ 1909572 w 2331148"/>
                    <a:gd name="connsiteY478" fmla="*/ 825647 h 2465947"/>
                    <a:gd name="connsiteX479" fmla="*/ 1932241 w 2331148"/>
                    <a:gd name="connsiteY479" fmla="*/ 737541 h 2465947"/>
                    <a:gd name="connsiteX480" fmla="*/ 1907286 w 2331148"/>
                    <a:gd name="connsiteY480" fmla="*/ 680391 h 2465947"/>
                    <a:gd name="connsiteX481" fmla="*/ 1947196 w 2331148"/>
                    <a:gd name="connsiteY481" fmla="*/ 586380 h 2465947"/>
                    <a:gd name="connsiteX482" fmla="*/ 1924717 w 2331148"/>
                    <a:gd name="connsiteY482" fmla="*/ 538755 h 2465947"/>
                    <a:gd name="connsiteX483" fmla="*/ 1968722 w 2331148"/>
                    <a:gd name="connsiteY483" fmla="*/ 484843 h 2465947"/>
                    <a:gd name="connsiteX484" fmla="*/ 1999297 w 2331148"/>
                    <a:gd name="connsiteY484" fmla="*/ 505512 h 2465947"/>
                    <a:gd name="connsiteX485" fmla="*/ 2063972 w 2331148"/>
                    <a:gd name="connsiteY485" fmla="*/ 439028 h 2465947"/>
                    <a:gd name="connsiteX486" fmla="*/ 2125123 w 2331148"/>
                    <a:gd name="connsiteY486" fmla="*/ 415977 h 2465947"/>
                    <a:gd name="connsiteX487" fmla="*/ 2152555 w 2331148"/>
                    <a:gd name="connsiteY487" fmla="*/ 365971 h 2465947"/>
                    <a:gd name="connsiteX488" fmla="*/ 2259711 w 2331148"/>
                    <a:gd name="connsiteY488" fmla="*/ 318346 h 2465947"/>
                    <a:gd name="connsiteX489" fmla="*/ 2268093 w 2331148"/>
                    <a:gd name="connsiteY489" fmla="*/ 288628 h 2465947"/>
                    <a:gd name="connsiteX490" fmla="*/ 2320100 w 2331148"/>
                    <a:gd name="connsiteY490" fmla="*/ 254909 h 2465947"/>
                    <a:gd name="connsiteX491" fmla="*/ 2308955 w 2331148"/>
                    <a:gd name="connsiteY491" fmla="*/ 243003 h 2465947"/>
                    <a:gd name="connsiteX492" fmla="*/ 2331149 w 2331148"/>
                    <a:gd name="connsiteY492" fmla="*/ 232716 h 2465947"/>
                    <a:gd name="connsiteX493" fmla="*/ 250412 w 2331148"/>
                    <a:gd name="connsiteY493" fmla="*/ 321394 h 2465947"/>
                    <a:gd name="connsiteX494" fmla="*/ 268414 w 2331148"/>
                    <a:gd name="connsiteY494" fmla="*/ 308630 h 2465947"/>
                    <a:gd name="connsiteX495" fmla="*/ 293656 w 2331148"/>
                    <a:gd name="connsiteY495" fmla="*/ 325204 h 2465947"/>
                    <a:gd name="connsiteX496" fmla="*/ 292989 w 2331148"/>
                    <a:gd name="connsiteY496" fmla="*/ 357208 h 2465947"/>
                    <a:gd name="connsiteX497" fmla="*/ 275463 w 2331148"/>
                    <a:gd name="connsiteY497" fmla="*/ 353398 h 2465947"/>
                    <a:gd name="connsiteX498" fmla="*/ 250317 w 2331148"/>
                    <a:gd name="connsiteY498" fmla="*/ 321394 h 2465947"/>
                    <a:gd name="connsiteX499" fmla="*/ 240601 w 2331148"/>
                    <a:gd name="connsiteY499" fmla="*/ 428455 h 2465947"/>
                    <a:gd name="connsiteX500" fmla="*/ 275654 w 2331148"/>
                    <a:gd name="connsiteY500" fmla="*/ 411405 h 2465947"/>
                    <a:gd name="connsiteX501" fmla="*/ 313372 w 2331148"/>
                    <a:gd name="connsiteY501" fmla="*/ 454554 h 2465947"/>
                    <a:gd name="connsiteX502" fmla="*/ 304038 w 2331148"/>
                    <a:gd name="connsiteY502" fmla="*/ 471603 h 2465947"/>
                    <a:gd name="connsiteX503" fmla="*/ 240506 w 2331148"/>
                    <a:gd name="connsiteY503" fmla="*/ 428455 h 2465947"/>
                    <a:gd name="connsiteX504" fmla="*/ 254508 w 2331148"/>
                    <a:gd name="connsiteY504" fmla="*/ 1127304 h 2465947"/>
                    <a:gd name="connsiteX505" fmla="*/ 242697 w 2331148"/>
                    <a:gd name="connsiteY505" fmla="*/ 1127304 h 2465947"/>
                    <a:gd name="connsiteX506" fmla="*/ 233172 w 2331148"/>
                    <a:gd name="connsiteY506" fmla="*/ 1131019 h 2465947"/>
                    <a:gd name="connsiteX507" fmla="*/ 215551 w 2331148"/>
                    <a:gd name="connsiteY507" fmla="*/ 1122542 h 2465947"/>
                    <a:gd name="connsiteX508" fmla="*/ 237744 w 2331148"/>
                    <a:gd name="connsiteY508" fmla="*/ 1107873 h 2465947"/>
                    <a:gd name="connsiteX509" fmla="*/ 255460 w 2331148"/>
                    <a:gd name="connsiteY509" fmla="*/ 1117113 h 2465947"/>
                    <a:gd name="connsiteX510" fmla="*/ 254413 w 2331148"/>
                    <a:gd name="connsiteY510" fmla="*/ 1127399 h 2465947"/>
                    <a:gd name="connsiteX511" fmla="*/ 332232 w 2331148"/>
                    <a:gd name="connsiteY511" fmla="*/ 906610 h 2465947"/>
                    <a:gd name="connsiteX512" fmla="*/ 329374 w 2331148"/>
                    <a:gd name="connsiteY512" fmla="*/ 912706 h 2465947"/>
                    <a:gd name="connsiteX513" fmla="*/ 318706 w 2331148"/>
                    <a:gd name="connsiteY513" fmla="*/ 914611 h 2465947"/>
                    <a:gd name="connsiteX514" fmla="*/ 306419 w 2331148"/>
                    <a:gd name="connsiteY514" fmla="*/ 946710 h 2465947"/>
                    <a:gd name="connsiteX515" fmla="*/ 288798 w 2331148"/>
                    <a:gd name="connsiteY515" fmla="*/ 946234 h 2465947"/>
                    <a:gd name="connsiteX516" fmla="*/ 278892 w 2331148"/>
                    <a:gd name="connsiteY516" fmla="*/ 940329 h 2465947"/>
                    <a:gd name="connsiteX517" fmla="*/ 266224 w 2331148"/>
                    <a:gd name="connsiteY517" fmla="*/ 939852 h 2465947"/>
                    <a:gd name="connsiteX518" fmla="*/ 249364 w 2331148"/>
                    <a:gd name="connsiteY518" fmla="*/ 959664 h 2465947"/>
                    <a:gd name="connsiteX519" fmla="*/ 245554 w 2331148"/>
                    <a:gd name="connsiteY519" fmla="*/ 969380 h 2465947"/>
                    <a:gd name="connsiteX520" fmla="*/ 223933 w 2331148"/>
                    <a:gd name="connsiteY520" fmla="*/ 962427 h 2465947"/>
                    <a:gd name="connsiteX521" fmla="*/ 220123 w 2331148"/>
                    <a:gd name="connsiteY521" fmla="*/ 943281 h 2465947"/>
                    <a:gd name="connsiteX522" fmla="*/ 197453 w 2331148"/>
                    <a:gd name="connsiteY522" fmla="*/ 910420 h 2465947"/>
                    <a:gd name="connsiteX523" fmla="*/ 189547 w 2331148"/>
                    <a:gd name="connsiteY523" fmla="*/ 902133 h 2465947"/>
                    <a:gd name="connsiteX524" fmla="*/ 189738 w 2331148"/>
                    <a:gd name="connsiteY524" fmla="*/ 891942 h 2465947"/>
                    <a:gd name="connsiteX525" fmla="*/ 163354 w 2331148"/>
                    <a:gd name="connsiteY525" fmla="*/ 851365 h 2465947"/>
                    <a:gd name="connsiteX526" fmla="*/ 173069 w 2331148"/>
                    <a:gd name="connsiteY526" fmla="*/ 834696 h 2465947"/>
                    <a:gd name="connsiteX527" fmla="*/ 177451 w 2331148"/>
                    <a:gd name="connsiteY527" fmla="*/ 823838 h 2465947"/>
                    <a:gd name="connsiteX528" fmla="*/ 194691 w 2331148"/>
                    <a:gd name="connsiteY528" fmla="*/ 820218 h 2465947"/>
                    <a:gd name="connsiteX529" fmla="*/ 203359 w 2331148"/>
                    <a:gd name="connsiteY529" fmla="*/ 806979 h 2465947"/>
                    <a:gd name="connsiteX530" fmla="*/ 208502 w 2331148"/>
                    <a:gd name="connsiteY530" fmla="*/ 800121 h 2465947"/>
                    <a:gd name="connsiteX531" fmla="*/ 220408 w 2331148"/>
                    <a:gd name="connsiteY531" fmla="*/ 808884 h 2465947"/>
                    <a:gd name="connsiteX532" fmla="*/ 228124 w 2331148"/>
                    <a:gd name="connsiteY532" fmla="*/ 818694 h 2465947"/>
                    <a:gd name="connsiteX533" fmla="*/ 244602 w 2331148"/>
                    <a:gd name="connsiteY533" fmla="*/ 822504 h 2465947"/>
                    <a:gd name="connsiteX534" fmla="*/ 258889 w 2331148"/>
                    <a:gd name="connsiteY534" fmla="*/ 845650 h 2465947"/>
                    <a:gd name="connsiteX535" fmla="*/ 308800 w 2331148"/>
                    <a:gd name="connsiteY535" fmla="*/ 860223 h 2465947"/>
                    <a:gd name="connsiteX536" fmla="*/ 332232 w 2331148"/>
                    <a:gd name="connsiteY536" fmla="*/ 906515 h 2465947"/>
                    <a:gd name="connsiteX537" fmla="*/ 412623 w 2331148"/>
                    <a:gd name="connsiteY537" fmla="*/ 624099 h 2465947"/>
                    <a:gd name="connsiteX538" fmla="*/ 420338 w 2331148"/>
                    <a:gd name="connsiteY538" fmla="*/ 606763 h 2465947"/>
                    <a:gd name="connsiteX539" fmla="*/ 437579 w 2331148"/>
                    <a:gd name="connsiteY539" fmla="*/ 613716 h 2465947"/>
                    <a:gd name="connsiteX540" fmla="*/ 462343 w 2331148"/>
                    <a:gd name="connsiteY540" fmla="*/ 637719 h 2465947"/>
                    <a:gd name="connsiteX541" fmla="*/ 481774 w 2331148"/>
                    <a:gd name="connsiteY541" fmla="*/ 646482 h 2465947"/>
                    <a:gd name="connsiteX542" fmla="*/ 483870 w 2331148"/>
                    <a:gd name="connsiteY542" fmla="*/ 652864 h 2465947"/>
                    <a:gd name="connsiteX543" fmla="*/ 450247 w 2331148"/>
                    <a:gd name="connsiteY543" fmla="*/ 660675 h 2465947"/>
                    <a:gd name="connsiteX544" fmla="*/ 441865 w 2331148"/>
                    <a:gd name="connsiteY544" fmla="*/ 669628 h 2465947"/>
                    <a:gd name="connsiteX545" fmla="*/ 412432 w 2331148"/>
                    <a:gd name="connsiteY545" fmla="*/ 624194 h 2465947"/>
                    <a:gd name="connsiteX546" fmla="*/ 541020 w 2331148"/>
                    <a:gd name="connsiteY546" fmla="*/ 853460 h 2465947"/>
                    <a:gd name="connsiteX547" fmla="*/ 505682 w 2331148"/>
                    <a:gd name="connsiteY547" fmla="*/ 889465 h 2465947"/>
                    <a:gd name="connsiteX548" fmla="*/ 486346 w 2331148"/>
                    <a:gd name="connsiteY548" fmla="*/ 882988 h 2465947"/>
                    <a:gd name="connsiteX549" fmla="*/ 489585 w 2331148"/>
                    <a:gd name="connsiteY549" fmla="*/ 855366 h 2465947"/>
                    <a:gd name="connsiteX550" fmla="*/ 468535 w 2331148"/>
                    <a:gd name="connsiteY550" fmla="*/ 834125 h 2465947"/>
                    <a:gd name="connsiteX551" fmla="*/ 438245 w 2331148"/>
                    <a:gd name="connsiteY551" fmla="*/ 825743 h 2465947"/>
                    <a:gd name="connsiteX552" fmla="*/ 416338 w 2331148"/>
                    <a:gd name="connsiteY552" fmla="*/ 796977 h 2465947"/>
                    <a:gd name="connsiteX553" fmla="*/ 436055 w 2331148"/>
                    <a:gd name="connsiteY553" fmla="*/ 776118 h 2465947"/>
                    <a:gd name="connsiteX554" fmla="*/ 430149 w 2331148"/>
                    <a:gd name="connsiteY554" fmla="*/ 752876 h 2465947"/>
                    <a:gd name="connsiteX555" fmla="*/ 436912 w 2331148"/>
                    <a:gd name="connsiteY555" fmla="*/ 746209 h 2465947"/>
                    <a:gd name="connsiteX556" fmla="*/ 461772 w 2331148"/>
                    <a:gd name="connsiteY556" fmla="*/ 768688 h 2465947"/>
                    <a:gd name="connsiteX557" fmla="*/ 482060 w 2331148"/>
                    <a:gd name="connsiteY557" fmla="*/ 764592 h 2465947"/>
                    <a:gd name="connsiteX558" fmla="*/ 484441 w 2331148"/>
                    <a:gd name="connsiteY558" fmla="*/ 741161 h 2465947"/>
                    <a:gd name="connsiteX559" fmla="*/ 500729 w 2331148"/>
                    <a:gd name="connsiteY559" fmla="*/ 748019 h 2465947"/>
                    <a:gd name="connsiteX560" fmla="*/ 503206 w 2331148"/>
                    <a:gd name="connsiteY560" fmla="*/ 790310 h 2465947"/>
                    <a:gd name="connsiteX561" fmla="*/ 541115 w 2331148"/>
                    <a:gd name="connsiteY561" fmla="*/ 853556 h 2465947"/>
                    <a:gd name="connsiteX562" fmla="*/ 594360 w 2331148"/>
                    <a:gd name="connsiteY562" fmla="*/ 947949 h 2465947"/>
                    <a:gd name="connsiteX563" fmla="*/ 601408 w 2331148"/>
                    <a:gd name="connsiteY563" fmla="*/ 935376 h 2465947"/>
                    <a:gd name="connsiteX564" fmla="*/ 636746 w 2331148"/>
                    <a:gd name="connsiteY564" fmla="*/ 937376 h 2465947"/>
                    <a:gd name="connsiteX565" fmla="*/ 639032 w 2331148"/>
                    <a:gd name="connsiteY565" fmla="*/ 951473 h 2465947"/>
                    <a:gd name="connsiteX566" fmla="*/ 627221 w 2331148"/>
                    <a:gd name="connsiteY566" fmla="*/ 960140 h 2465947"/>
                    <a:gd name="connsiteX567" fmla="*/ 594360 w 2331148"/>
                    <a:gd name="connsiteY567" fmla="*/ 947949 h 2465947"/>
                    <a:gd name="connsiteX568" fmla="*/ 692182 w 2331148"/>
                    <a:gd name="connsiteY568" fmla="*/ 1110636 h 2465947"/>
                    <a:gd name="connsiteX569" fmla="*/ 680752 w 2331148"/>
                    <a:gd name="connsiteY569" fmla="*/ 1125495 h 2465947"/>
                    <a:gd name="connsiteX570" fmla="*/ 667607 w 2331148"/>
                    <a:gd name="connsiteY570" fmla="*/ 1133781 h 2465947"/>
                    <a:gd name="connsiteX571" fmla="*/ 656749 w 2331148"/>
                    <a:gd name="connsiteY571" fmla="*/ 1127590 h 2465947"/>
                    <a:gd name="connsiteX572" fmla="*/ 621601 w 2331148"/>
                    <a:gd name="connsiteY572" fmla="*/ 1108731 h 2465947"/>
                    <a:gd name="connsiteX573" fmla="*/ 619982 w 2331148"/>
                    <a:gd name="connsiteY573" fmla="*/ 1099491 h 2465947"/>
                    <a:gd name="connsiteX574" fmla="*/ 644366 w 2331148"/>
                    <a:gd name="connsiteY574" fmla="*/ 1094824 h 2465947"/>
                    <a:gd name="connsiteX575" fmla="*/ 638651 w 2331148"/>
                    <a:gd name="connsiteY575" fmla="*/ 1074440 h 2465947"/>
                    <a:gd name="connsiteX576" fmla="*/ 633031 w 2331148"/>
                    <a:gd name="connsiteY576" fmla="*/ 1057677 h 2465947"/>
                    <a:gd name="connsiteX577" fmla="*/ 639604 w 2331148"/>
                    <a:gd name="connsiteY577" fmla="*/ 1057200 h 2465947"/>
                    <a:gd name="connsiteX578" fmla="*/ 676465 w 2331148"/>
                    <a:gd name="connsiteY578" fmla="*/ 1094729 h 2465947"/>
                    <a:gd name="connsiteX579" fmla="*/ 692277 w 2331148"/>
                    <a:gd name="connsiteY579" fmla="*/ 1110636 h 2465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Lst>
                  <a:rect l="l" t="t" r="r" b="b"/>
                  <a:pathLst>
                    <a:path w="2331148" h="2465947">
                      <a:moveTo>
                        <a:pt x="2330482" y="232621"/>
                      </a:moveTo>
                      <a:lnTo>
                        <a:pt x="2314575" y="209571"/>
                      </a:lnTo>
                      <a:lnTo>
                        <a:pt x="2280475" y="209571"/>
                      </a:lnTo>
                      <a:lnTo>
                        <a:pt x="2271713" y="177852"/>
                      </a:lnTo>
                      <a:lnTo>
                        <a:pt x="2293906" y="145277"/>
                      </a:lnTo>
                      <a:lnTo>
                        <a:pt x="2276475" y="120702"/>
                      </a:lnTo>
                      <a:lnTo>
                        <a:pt x="2230469" y="114321"/>
                      </a:lnTo>
                      <a:lnTo>
                        <a:pt x="2243423" y="73363"/>
                      </a:lnTo>
                      <a:lnTo>
                        <a:pt x="2243614" y="73077"/>
                      </a:lnTo>
                      <a:cubicBezTo>
                        <a:pt x="2243233" y="72315"/>
                        <a:pt x="2242947" y="71363"/>
                        <a:pt x="2243138" y="70029"/>
                      </a:cubicBezTo>
                      <a:cubicBezTo>
                        <a:pt x="2243328" y="63362"/>
                        <a:pt x="2248662" y="52694"/>
                        <a:pt x="2240946" y="49455"/>
                      </a:cubicBezTo>
                      <a:cubicBezTo>
                        <a:pt x="2171414" y="20595"/>
                        <a:pt x="2170747" y="19547"/>
                        <a:pt x="2163127" y="18880"/>
                      </a:cubicBezTo>
                      <a:cubicBezTo>
                        <a:pt x="2048447" y="8021"/>
                        <a:pt x="2050732" y="9164"/>
                        <a:pt x="2044256" y="5259"/>
                      </a:cubicBezTo>
                      <a:cubicBezTo>
                        <a:pt x="2043017" y="4688"/>
                        <a:pt x="2036921" y="-361"/>
                        <a:pt x="2029777" y="21"/>
                      </a:cubicBezTo>
                      <a:cubicBezTo>
                        <a:pt x="2018919" y="1830"/>
                        <a:pt x="2006156" y="-1789"/>
                        <a:pt x="2005775" y="6879"/>
                      </a:cubicBezTo>
                      <a:cubicBezTo>
                        <a:pt x="2005393" y="8307"/>
                        <a:pt x="2007298" y="16784"/>
                        <a:pt x="1999964" y="17356"/>
                      </a:cubicBezTo>
                      <a:cubicBezTo>
                        <a:pt x="1993582" y="18499"/>
                        <a:pt x="1984438" y="16594"/>
                        <a:pt x="1979390" y="22976"/>
                      </a:cubicBezTo>
                      <a:cubicBezTo>
                        <a:pt x="1978914" y="23928"/>
                        <a:pt x="1972247" y="29358"/>
                        <a:pt x="1976533" y="34882"/>
                      </a:cubicBezTo>
                      <a:lnTo>
                        <a:pt x="1993106" y="56123"/>
                      </a:lnTo>
                      <a:cubicBezTo>
                        <a:pt x="1996440" y="60504"/>
                        <a:pt x="1997011" y="67267"/>
                        <a:pt x="1996726" y="66314"/>
                      </a:cubicBezTo>
                      <a:cubicBezTo>
                        <a:pt x="1997107" y="73077"/>
                        <a:pt x="2003965" y="78697"/>
                        <a:pt x="2009204" y="74696"/>
                      </a:cubicBezTo>
                      <a:cubicBezTo>
                        <a:pt x="2011299" y="73077"/>
                        <a:pt x="2013775" y="74030"/>
                        <a:pt x="2014633" y="76887"/>
                      </a:cubicBezTo>
                      <a:cubicBezTo>
                        <a:pt x="2016443" y="86317"/>
                        <a:pt x="2023396" y="96033"/>
                        <a:pt x="2016443" y="101081"/>
                      </a:cubicBezTo>
                      <a:cubicBezTo>
                        <a:pt x="1993106" y="118035"/>
                        <a:pt x="1989868" y="121845"/>
                        <a:pt x="1982724" y="121464"/>
                      </a:cubicBezTo>
                      <a:cubicBezTo>
                        <a:pt x="1958244" y="120226"/>
                        <a:pt x="1953768" y="118797"/>
                        <a:pt x="1950148" y="124512"/>
                      </a:cubicBezTo>
                      <a:lnTo>
                        <a:pt x="1949958" y="124893"/>
                      </a:lnTo>
                      <a:cubicBezTo>
                        <a:pt x="1944814" y="133180"/>
                        <a:pt x="1958340" y="133466"/>
                        <a:pt x="1957197" y="143753"/>
                      </a:cubicBezTo>
                      <a:cubicBezTo>
                        <a:pt x="1956816" y="144705"/>
                        <a:pt x="1956625" y="149658"/>
                        <a:pt x="1951672" y="151849"/>
                      </a:cubicBezTo>
                      <a:cubicBezTo>
                        <a:pt x="1941195" y="156516"/>
                        <a:pt x="1937290" y="158802"/>
                        <a:pt x="1931194" y="157183"/>
                      </a:cubicBezTo>
                      <a:cubicBezTo>
                        <a:pt x="1918525" y="152421"/>
                        <a:pt x="1905667" y="153563"/>
                        <a:pt x="1906619" y="144896"/>
                      </a:cubicBezTo>
                      <a:cubicBezTo>
                        <a:pt x="1908905" y="133942"/>
                        <a:pt x="1905857" y="120988"/>
                        <a:pt x="1914430" y="121274"/>
                      </a:cubicBezTo>
                      <a:cubicBezTo>
                        <a:pt x="1916525" y="120988"/>
                        <a:pt x="1925384" y="123369"/>
                        <a:pt x="1928717" y="117178"/>
                      </a:cubicBezTo>
                      <a:cubicBezTo>
                        <a:pt x="1934051" y="107177"/>
                        <a:pt x="1900238" y="101176"/>
                        <a:pt x="1911668" y="96318"/>
                      </a:cubicBezTo>
                      <a:lnTo>
                        <a:pt x="1918430" y="93461"/>
                      </a:lnTo>
                      <a:cubicBezTo>
                        <a:pt x="1925002" y="90699"/>
                        <a:pt x="1917954" y="84507"/>
                        <a:pt x="1910906" y="85746"/>
                      </a:cubicBezTo>
                      <a:cubicBezTo>
                        <a:pt x="1842516" y="97747"/>
                        <a:pt x="1837563" y="109939"/>
                        <a:pt x="1817179" y="112416"/>
                      </a:cubicBezTo>
                      <a:cubicBezTo>
                        <a:pt x="1806893" y="113654"/>
                        <a:pt x="1801273" y="113844"/>
                        <a:pt x="1799368" y="116892"/>
                      </a:cubicBezTo>
                      <a:cubicBezTo>
                        <a:pt x="1797082" y="120512"/>
                        <a:pt x="1811655" y="120512"/>
                        <a:pt x="1810702" y="120417"/>
                      </a:cubicBezTo>
                      <a:cubicBezTo>
                        <a:pt x="1817561" y="120893"/>
                        <a:pt x="1810417" y="129846"/>
                        <a:pt x="1810702" y="128799"/>
                      </a:cubicBezTo>
                      <a:cubicBezTo>
                        <a:pt x="1806511" y="135085"/>
                        <a:pt x="1794796" y="138324"/>
                        <a:pt x="1795748" y="137847"/>
                      </a:cubicBezTo>
                      <a:cubicBezTo>
                        <a:pt x="1792986" y="138895"/>
                        <a:pt x="1788414" y="138895"/>
                        <a:pt x="1785652" y="137847"/>
                      </a:cubicBezTo>
                      <a:lnTo>
                        <a:pt x="1763935" y="129465"/>
                      </a:lnTo>
                      <a:cubicBezTo>
                        <a:pt x="1757743" y="127084"/>
                        <a:pt x="1749743" y="131180"/>
                        <a:pt x="1750695" y="130894"/>
                      </a:cubicBezTo>
                      <a:cubicBezTo>
                        <a:pt x="1739360" y="135561"/>
                        <a:pt x="1726311" y="122512"/>
                        <a:pt x="1715834" y="128132"/>
                      </a:cubicBezTo>
                      <a:lnTo>
                        <a:pt x="1705070" y="133942"/>
                      </a:lnTo>
                      <a:cubicBezTo>
                        <a:pt x="1699450" y="136990"/>
                        <a:pt x="1691450" y="135085"/>
                        <a:pt x="1692402" y="135085"/>
                      </a:cubicBezTo>
                      <a:cubicBezTo>
                        <a:pt x="1682686" y="133371"/>
                        <a:pt x="1661160" y="148896"/>
                        <a:pt x="1659827" y="155564"/>
                      </a:cubicBezTo>
                      <a:cubicBezTo>
                        <a:pt x="1656874" y="165279"/>
                        <a:pt x="1658684" y="177376"/>
                        <a:pt x="1650111" y="178043"/>
                      </a:cubicBezTo>
                      <a:cubicBezTo>
                        <a:pt x="1649159" y="177947"/>
                        <a:pt x="1641348" y="180138"/>
                        <a:pt x="1638014" y="174042"/>
                      </a:cubicBezTo>
                      <a:cubicBezTo>
                        <a:pt x="1635728" y="170899"/>
                        <a:pt x="1633442" y="161850"/>
                        <a:pt x="1625727" y="160707"/>
                      </a:cubicBezTo>
                      <a:cubicBezTo>
                        <a:pt x="1616678" y="160707"/>
                        <a:pt x="1618107" y="155468"/>
                        <a:pt x="1601343" y="172233"/>
                      </a:cubicBezTo>
                      <a:cubicBezTo>
                        <a:pt x="1599533" y="174042"/>
                        <a:pt x="1554385" y="172995"/>
                        <a:pt x="1554385" y="172995"/>
                      </a:cubicBezTo>
                      <a:cubicBezTo>
                        <a:pt x="1551432" y="172995"/>
                        <a:pt x="1550384" y="170804"/>
                        <a:pt x="1552004" y="168422"/>
                      </a:cubicBezTo>
                      <a:cubicBezTo>
                        <a:pt x="1555432" y="164422"/>
                        <a:pt x="1558385" y="154992"/>
                        <a:pt x="1566291" y="155278"/>
                      </a:cubicBezTo>
                      <a:cubicBezTo>
                        <a:pt x="1583055" y="154611"/>
                        <a:pt x="1598962" y="159469"/>
                        <a:pt x="1594580" y="151563"/>
                      </a:cubicBezTo>
                      <a:cubicBezTo>
                        <a:pt x="1585341" y="134990"/>
                        <a:pt x="1581626" y="130799"/>
                        <a:pt x="1584960" y="124798"/>
                      </a:cubicBezTo>
                      <a:cubicBezTo>
                        <a:pt x="1595533" y="106129"/>
                        <a:pt x="1596866" y="101081"/>
                        <a:pt x="1603724" y="100414"/>
                      </a:cubicBezTo>
                      <a:cubicBezTo>
                        <a:pt x="1637062" y="97271"/>
                        <a:pt x="1644301" y="98033"/>
                        <a:pt x="1639157" y="92889"/>
                      </a:cubicBezTo>
                      <a:cubicBezTo>
                        <a:pt x="1638205" y="92222"/>
                        <a:pt x="1634300" y="86412"/>
                        <a:pt x="1627537" y="87270"/>
                      </a:cubicBezTo>
                      <a:lnTo>
                        <a:pt x="1584103" y="92984"/>
                      </a:lnTo>
                      <a:cubicBezTo>
                        <a:pt x="1568482" y="95080"/>
                        <a:pt x="1482281" y="139752"/>
                        <a:pt x="1467993" y="140609"/>
                      </a:cubicBezTo>
                      <a:cubicBezTo>
                        <a:pt x="1425511" y="143181"/>
                        <a:pt x="1422368" y="142419"/>
                        <a:pt x="1416653" y="146705"/>
                      </a:cubicBezTo>
                      <a:lnTo>
                        <a:pt x="1365028" y="184710"/>
                      </a:lnTo>
                      <a:cubicBezTo>
                        <a:pt x="1357408" y="190330"/>
                        <a:pt x="1308544" y="210618"/>
                        <a:pt x="1300353" y="210618"/>
                      </a:cubicBezTo>
                      <a:cubicBezTo>
                        <a:pt x="1296733" y="211190"/>
                        <a:pt x="1286827" y="208237"/>
                        <a:pt x="1285399" y="215952"/>
                      </a:cubicBezTo>
                      <a:cubicBezTo>
                        <a:pt x="1284637" y="217953"/>
                        <a:pt x="1284923" y="227763"/>
                        <a:pt x="1277779" y="228811"/>
                      </a:cubicBezTo>
                      <a:cubicBezTo>
                        <a:pt x="1236631" y="235288"/>
                        <a:pt x="1231201" y="234145"/>
                        <a:pt x="1233202" y="241193"/>
                      </a:cubicBezTo>
                      <a:cubicBezTo>
                        <a:pt x="1233392" y="243194"/>
                        <a:pt x="1237964" y="250718"/>
                        <a:pt x="1232154" y="255481"/>
                      </a:cubicBezTo>
                      <a:cubicBezTo>
                        <a:pt x="1231392" y="256434"/>
                        <a:pt x="1225296" y="259386"/>
                        <a:pt x="1227010" y="265959"/>
                      </a:cubicBezTo>
                      <a:lnTo>
                        <a:pt x="1227010" y="266149"/>
                      </a:lnTo>
                      <a:cubicBezTo>
                        <a:pt x="1229106" y="274150"/>
                        <a:pt x="1221486" y="276055"/>
                        <a:pt x="1224058" y="283866"/>
                      </a:cubicBezTo>
                      <a:cubicBezTo>
                        <a:pt x="1224153" y="284818"/>
                        <a:pt x="1226820" y="289866"/>
                        <a:pt x="1223772" y="295486"/>
                      </a:cubicBezTo>
                      <a:lnTo>
                        <a:pt x="1218343" y="305392"/>
                      </a:lnTo>
                      <a:cubicBezTo>
                        <a:pt x="1215295" y="310917"/>
                        <a:pt x="1207294" y="308154"/>
                        <a:pt x="1208246" y="308154"/>
                      </a:cubicBezTo>
                      <a:cubicBezTo>
                        <a:pt x="1199579" y="305868"/>
                        <a:pt x="1162336" y="315393"/>
                        <a:pt x="1163288" y="315203"/>
                      </a:cubicBezTo>
                      <a:cubicBezTo>
                        <a:pt x="1155287" y="316917"/>
                        <a:pt x="1153382" y="308916"/>
                        <a:pt x="1145667" y="311393"/>
                      </a:cubicBezTo>
                      <a:lnTo>
                        <a:pt x="1133380" y="315298"/>
                      </a:lnTo>
                      <a:cubicBezTo>
                        <a:pt x="1126046" y="317584"/>
                        <a:pt x="1114711" y="313774"/>
                        <a:pt x="1115663" y="313964"/>
                      </a:cubicBezTo>
                      <a:cubicBezTo>
                        <a:pt x="1103185" y="311012"/>
                        <a:pt x="1101281" y="285389"/>
                        <a:pt x="1088707" y="280341"/>
                      </a:cubicBezTo>
                      <a:cubicBezTo>
                        <a:pt x="1060323" y="269006"/>
                        <a:pt x="1055084" y="268625"/>
                        <a:pt x="1054894" y="261482"/>
                      </a:cubicBezTo>
                      <a:cubicBezTo>
                        <a:pt x="1055180" y="259100"/>
                        <a:pt x="1052513" y="249861"/>
                        <a:pt x="1059466" y="246909"/>
                      </a:cubicBezTo>
                      <a:cubicBezTo>
                        <a:pt x="1067848" y="242241"/>
                        <a:pt x="1079944" y="241384"/>
                        <a:pt x="1078706" y="233002"/>
                      </a:cubicBezTo>
                      <a:cubicBezTo>
                        <a:pt x="1081183" y="211190"/>
                        <a:pt x="1099661" y="226239"/>
                        <a:pt x="1114711" y="218619"/>
                      </a:cubicBezTo>
                      <a:cubicBezTo>
                        <a:pt x="1120902" y="215571"/>
                        <a:pt x="1126331" y="212142"/>
                        <a:pt x="1133094" y="212142"/>
                      </a:cubicBezTo>
                      <a:cubicBezTo>
                        <a:pt x="1155668" y="212142"/>
                        <a:pt x="1163669" y="213666"/>
                        <a:pt x="1160145" y="207475"/>
                      </a:cubicBezTo>
                      <a:cubicBezTo>
                        <a:pt x="1154906" y="198331"/>
                        <a:pt x="1150239" y="192616"/>
                        <a:pt x="1150620" y="185282"/>
                      </a:cubicBezTo>
                      <a:cubicBezTo>
                        <a:pt x="1150430" y="184329"/>
                        <a:pt x="1151001" y="179376"/>
                        <a:pt x="1146715" y="175947"/>
                      </a:cubicBezTo>
                      <a:cubicBezTo>
                        <a:pt x="1137094" y="168137"/>
                        <a:pt x="1131284" y="162422"/>
                        <a:pt x="1124236" y="160993"/>
                      </a:cubicBezTo>
                      <a:cubicBezTo>
                        <a:pt x="1123283" y="160517"/>
                        <a:pt x="1118235" y="159850"/>
                        <a:pt x="1116711" y="154516"/>
                      </a:cubicBezTo>
                      <a:cubicBezTo>
                        <a:pt x="1115663" y="152325"/>
                        <a:pt x="1115377" y="143562"/>
                        <a:pt x="1108234" y="141657"/>
                      </a:cubicBezTo>
                      <a:cubicBezTo>
                        <a:pt x="1083755" y="134990"/>
                        <a:pt x="1076420" y="132323"/>
                        <a:pt x="1068800" y="132513"/>
                      </a:cubicBezTo>
                      <a:cubicBezTo>
                        <a:pt x="993648" y="134323"/>
                        <a:pt x="1007650" y="139467"/>
                        <a:pt x="998982" y="135561"/>
                      </a:cubicBezTo>
                      <a:lnTo>
                        <a:pt x="971931" y="123369"/>
                      </a:lnTo>
                      <a:cubicBezTo>
                        <a:pt x="965930" y="120607"/>
                        <a:pt x="957548" y="123369"/>
                        <a:pt x="958501" y="123369"/>
                      </a:cubicBezTo>
                      <a:cubicBezTo>
                        <a:pt x="943261" y="127370"/>
                        <a:pt x="1013079" y="155659"/>
                        <a:pt x="1011746" y="170613"/>
                      </a:cubicBezTo>
                      <a:lnTo>
                        <a:pt x="1007745" y="217762"/>
                      </a:lnTo>
                      <a:cubicBezTo>
                        <a:pt x="1006221" y="235002"/>
                        <a:pt x="969073" y="279579"/>
                        <a:pt x="995077" y="281484"/>
                      </a:cubicBezTo>
                      <a:cubicBezTo>
                        <a:pt x="998887" y="282246"/>
                        <a:pt x="1006792" y="280722"/>
                        <a:pt x="1011650" y="286628"/>
                      </a:cubicBezTo>
                      <a:cubicBezTo>
                        <a:pt x="1025557" y="303296"/>
                        <a:pt x="1028986" y="305773"/>
                        <a:pt x="1027176" y="312250"/>
                      </a:cubicBezTo>
                      <a:cubicBezTo>
                        <a:pt x="1027176" y="312250"/>
                        <a:pt x="1024414" y="322823"/>
                        <a:pt x="1022985" y="323299"/>
                      </a:cubicBezTo>
                      <a:cubicBezTo>
                        <a:pt x="1021556" y="323775"/>
                        <a:pt x="1024795" y="327871"/>
                        <a:pt x="1024795" y="327871"/>
                      </a:cubicBezTo>
                      <a:cubicBezTo>
                        <a:pt x="1033367" y="338920"/>
                        <a:pt x="999839" y="364447"/>
                        <a:pt x="1005745" y="377401"/>
                      </a:cubicBezTo>
                      <a:lnTo>
                        <a:pt x="1009555" y="385688"/>
                      </a:lnTo>
                      <a:cubicBezTo>
                        <a:pt x="1012507" y="392165"/>
                        <a:pt x="1005554" y="395975"/>
                        <a:pt x="1000601" y="390926"/>
                      </a:cubicBezTo>
                      <a:cubicBezTo>
                        <a:pt x="995839" y="386926"/>
                        <a:pt x="991267" y="378068"/>
                        <a:pt x="983266" y="379496"/>
                      </a:cubicBezTo>
                      <a:cubicBezTo>
                        <a:pt x="978408" y="379878"/>
                        <a:pt x="964216" y="384926"/>
                        <a:pt x="969073" y="378354"/>
                      </a:cubicBezTo>
                      <a:cubicBezTo>
                        <a:pt x="969645" y="377115"/>
                        <a:pt x="977074" y="370543"/>
                        <a:pt x="970979" y="366924"/>
                      </a:cubicBezTo>
                      <a:cubicBezTo>
                        <a:pt x="958501" y="359494"/>
                        <a:pt x="953262" y="354922"/>
                        <a:pt x="946213" y="356351"/>
                      </a:cubicBezTo>
                      <a:lnTo>
                        <a:pt x="931259" y="359304"/>
                      </a:lnTo>
                      <a:cubicBezTo>
                        <a:pt x="920401" y="361494"/>
                        <a:pt x="911923" y="348921"/>
                        <a:pt x="899255" y="348635"/>
                      </a:cubicBezTo>
                      <a:cubicBezTo>
                        <a:pt x="896207" y="348921"/>
                        <a:pt x="887635" y="346730"/>
                        <a:pt x="882396" y="352255"/>
                      </a:cubicBezTo>
                      <a:cubicBezTo>
                        <a:pt x="853440" y="383211"/>
                        <a:pt x="852011" y="385974"/>
                        <a:pt x="845153" y="387783"/>
                      </a:cubicBezTo>
                      <a:cubicBezTo>
                        <a:pt x="810768" y="396927"/>
                        <a:pt x="804100" y="397499"/>
                        <a:pt x="799243" y="403214"/>
                      </a:cubicBezTo>
                      <a:cubicBezTo>
                        <a:pt x="792480" y="411310"/>
                        <a:pt x="788575" y="417311"/>
                        <a:pt x="781907" y="420359"/>
                      </a:cubicBezTo>
                      <a:cubicBezTo>
                        <a:pt x="749332" y="435408"/>
                        <a:pt x="745903" y="435599"/>
                        <a:pt x="744379" y="442457"/>
                      </a:cubicBezTo>
                      <a:cubicBezTo>
                        <a:pt x="743617" y="448743"/>
                        <a:pt x="739045" y="457221"/>
                        <a:pt x="743998" y="463697"/>
                      </a:cubicBezTo>
                      <a:lnTo>
                        <a:pt x="769144" y="496368"/>
                      </a:lnTo>
                      <a:cubicBezTo>
                        <a:pt x="772477" y="500655"/>
                        <a:pt x="778669" y="503226"/>
                        <a:pt x="777716" y="502655"/>
                      </a:cubicBezTo>
                      <a:cubicBezTo>
                        <a:pt x="784860" y="505417"/>
                        <a:pt x="790670" y="522562"/>
                        <a:pt x="783050" y="520847"/>
                      </a:cubicBezTo>
                      <a:cubicBezTo>
                        <a:pt x="771811" y="519419"/>
                        <a:pt x="761619" y="512942"/>
                        <a:pt x="756761" y="520181"/>
                      </a:cubicBezTo>
                      <a:cubicBezTo>
                        <a:pt x="748665" y="532278"/>
                        <a:pt x="746760" y="537040"/>
                        <a:pt x="740092" y="537612"/>
                      </a:cubicBezTo>
                      <a:cubicBezTo>
                        <a:pt x="733520" y="538183"/>
                        <a:pt x="727424" y="539326"/>
                        <a:pt x="721709" y="536088"/>
                      </a:cubicBezTo>
                      <a:cubicBezTo>
                        <a:pt x="720280" y="535516"/>
                        <a:pt x="675704" y="505988"/>
                        <a:pt x="659321" y="517609"/>
                      </a:cubicBezTo>
                      <a:lnTo>
                        <a:pt x="651415" y="523229"/>
                      </a:lnTo>
                      <a:cubicBezTo>
                        <a:pt x="646462" y="526753"/>
                        <a:pt x="640651" y="521133"/>
                        <a:pt x="641604" y="521609"/>
                      </a:cubicBezTo>
                      <a:cubicBezTo>
                        <a:pt x="636460" y="517133"/>
                        <a:pt x="647129" y="513989"/>
                        <a:pt x="646176" y="514656"/>
                      </a:cubicBezTo>
                      <a:cubicBezTo>
                        <a:pt x="652653" y="512084"/>
                        <a:pt x="656558" y="506750"/>
                        <a:pt x="649414" y="506750"/>
                      </a:cubicBezTo>
                      <a:cubicBezTo>
                        <a:pt x="639794" y="506750"/>
                        <a:pt x="617220" y="501607"/>
                        <a:pt x="621221" y="496083"/>
                      </a:cubicBezTo>
                      <a:cubicBezTo>
                        <a:pt x="622363" y="494463"/>
                        <a:pt x="621030" y="492177"/>
                        <a:pt x="618363" y="491034"/>
                      </a:cubicBezTo>
                      <a:lnTo>
                        <a:pt x="591026" y="479700"/>
                      </a:lnTo>
                      <a:cubicBezTo>
                        <a:pt x="585311" y="477318"/>
                        <a:pt x="568547" y="476842"/>
                        <a:pt x="568547" y="485414"/>
                      </a:cubicBezTo>
                      <a:lnTo>
                        <a:pt x="568547" y="490463"/>
                      </a:lnTo>
                      <a:cubicBezTo>
                        <a:pt x="568547" y="505703"/>
                        <a:pt x="550355" y="500559"/>
                        <a:pt x="552164" y="500274"/>
                      </a:cubicBezTo>
                      <a:cubicBezTo>
                        <a:pt x="549402" y="499130"/>
                        <a:pt x="547402" y="500655"/>
                        <a:pt x="547688" y="503607"/>
                      </a:cubicBezTo>
                      <a:cubicBezTo>
                        <a:pt x="549021" y="509322"/>
                        <a:pt x="546925" y="519705"/>
                        <a:pt x="554641" y="521991"/>
                      </a:cubicBezTo>
                      <a:cubicBezTo>
                        <a:pt x="555784" y="522467"/>
                        <a:pt x="562070" y="523419"/>
                        <a:pt x="566642" y="528372"/>
                      </a:cubicBezTo>
                      <a:cubicBezTo>
                        <a:pt x="590455" y="553995"/>
                        <a:pt x="592264" y="558281"/>
                        <a:pt x="599027" y="555995"/>
                      </a:cubicBezTo>
                      <a:cubicBezTo>
                        <a:pt x="615886" y="550184"/>
                        <a:pt x="620554" y="547422"/>
                        <a:pt x="626078" y="551328"/>
                      </a:cubicBezTo>
                      <a:cubicBezTo>
                        <a:pt x="630650" y="555614"/>
                        <a:pt x="642175" y="559329"/>
                        <a:pt x="637889" y="566282"/>
                      </a:cubicBezTo>
                      <a:cubicBezTo>
                        <a:pt x="637508" y="567234"/>
                        <a:pt x="634174" y="571330"/>
                        <a:pt x="635984" y="577140"/>
                      </a:cubicBezTo>
                      <a:cubicBezTo>
                        <a:pt x="637604" y="585713"/>
                        <a:pt x="645319" y="596571"/>
                        <a:pt x="637127" y="598762"/>
                      </a:cubicBezTo>
                      <a:cubicBezTo>
                        <a:pt x="624173" y="602286"/>
                        <a:pt x="617220" y="603048"/>
                        <a:pt x="612934" y="608859"/>
                      </a:cubicBezTo>
                      <a:cubicBezTo>
                        <a:pt x="611981" y="609716"/>
                        <a:pt x="608743" y="617241"/>
                        <a:pt x="602742" y="613621"/>
                      </a:cubicBezTo>
                      <a:cubicBezTo>
                        <a:pt x="593407" y="608097"/>
                        <a:pt x="587502" y="604001"/>
                        <a:pt x="580644" y="602667"/>
                      </a:cubicBezTo>
                      <a:lnTo>
                        <a:pt x="538924" y="595047"/>
                      </a:lnTo>
                      <a:cubicBezTo>
                        <a:pt x="531019" y="593618"/>
                        <a:pt x="531019" y="578569"/>
                        <a:pt x="531305" y="579617"/>
                      </a:cubicBezTo>
                      <a:cubicBezTo>
                        <a:pt x="529590" y="569044"/>
                        <a:pt x="514540" y="578569"/>
                        <a:pt x="513016" y="568187"/>
                      </a:cubicBezTo>
                      <a:cubicBezTo>
                        <a:pt x="512540" y="566949"/>
                        <a:pt x="513207" y="557233"/>
                        <a:pt x="506158" y="558852"/>
                      </a:cubicBezTo>
                      <a:cubicBezTo>
                        <a:pt x="485775" y="563615"/>
                        <a:pt x="480822" y="565996"/>
                        <a:pt x="476059" y="561138"/>
                      </a:cubicBezTo>
                      <a:lnTo>
                        <a:pt x="471773" y="556852"/>
                      </a:lnTo>
                      <a:cubicBezTo>
                        <a:pt x="461486" y="546470"/>
                        <a:pt x="445675" y="545422"/>
                        <a:pt x="451771" y="538183"/>
                      </a:cubicBezTo>
                      <a:cubicBezTo>
                        <a:pt x="452247" y="537230"/>
                        <a:pt x="458152" y="532659"/>
                        <a:pt x="453676" y="527610"/>
                      </a:cubicBezTo>
                      <a:cubicBezTo>
                        <a:pt x="453199" y="526658"/>
                        <a:pt x="447008" y="522181"/>
                        <a:pt x="450532" y="516275"/>
                      </a:cubicBezTo>
                      <a:lnTo>
                        <a:pt x="451485" y="514751"/>
                      </a:lnTo>
                      <a:cubicBezTo>
                        <a:pt x="453009" y="512180"/>
                        <a:pt x="453199" y="507989"/>
                        <a:pt x="451771" y="505322"/>
                      </a:cubicBezTo>
                      <a:cubicBezTo>
                        <a:pt x="437864" y="478652"/>
                        <a:pt x="437007" y="475509"/>
                        <a:pt x="430911" y="472746"/>
                      </a:cubicBezTo>
                      <a:cubicBezTo>
                        <a:pt x="429958" y="472080"/>
                        <a:pt x="424339" y="470651"/>
                        <a:pt x="422053" y="464555"/>
                      </a:cubicBezTo>
                      <a:cubicBezTo>
                        <a:pt x="422053" y="463602"/>
                        <a:pt x="417766" y="456935"/>
                        <a:pt x="424243" y="454839"/>
                      </a:cubicBezTo>
                      <a:cubicBezTo>
                        <a:pt x="428149" y="452839"/>
                        <a:pt x="438817" y="452744"/>
                        <a:pt x="438626" y="444552"/>
                      </a:cubicBezTo>
                      <a:cubicBezTo>
                        <a:pt x="438245" y="425502"/>
                        <a:pt x="436626" y="416834"/>
                        <a:pt x="442722" y="420645"/>
                      </a:cubicBezTo>
                      <a:lnTo>
                        <a:pt x="449675" y="425026"/>
                      </a:lnTo>
                      <a:cubicBezTo>
                        <a:pt x="455676" y="428836"/>
                        <a:pt x="459486" y="422073"/>
                        <a:pt x="455105" y="416549"/>
                      </a:cubicBezTo>
                      <a:cubicBezTo>
                        <a:pt x="446246" y="405309"/>
                        <a:pt x="442246" y="399213"/>
                        <a:pt x="436055" y="395213"/>
                      </a:cubicBezTo>
                      <a:cubicBezTo>
                        <a:pt x="409384" y="377782"/>
                        <a:pt x="403479" y="373115"/>
                        <a:pt x="396049" y="371210"/>
                      </a:cubicBezTo>
                      <a:cubicBezTo>
                        <a:pt x="384810" y="367209"/>
                        <a:pt x="369380" y="367971"/>
                        <a:pt x="373380" y="359970"/>
                      </a:cubicBezTo>
                      <a:cubicBezTo>
                        <a:pt x="373571" y="359018"/>
                        <a:pt x="378047" y="353208"/>
                        <a:pt x="371665" y="351588"/>
                      </a:cubicBezTo>
                      <a:lnTo>
                        <a:pt x="355378" y="347588"/>
                      </a:lnTo>
                      <a:cubicBezTo>
                        <a:pt x="349377" y="346064"/>
                        <a:pt x="356140" y="340539"/>
                        <a:pt x="355568" y="341492"/>
                      </a:cubicBezTo>
                      <a:cubicBezTo>
                        <a:pt x="357759" y="339492"/>
                        <a:pt x="357473" y="336825"/>
                        <a:pt x="354806" y="335396"/>
                      </a:cubicBezTo>
                      <a:lnTo>
                        <a:pt x="313658" y="313679"/>
                      </a:lnTo>
                      <a:cubicBezTo>
                        <a:pt x="308134" y="310821"/>
                        <a:pt x="309848" y="302820"/>
                        <a:pt x="309943" y="303773"/>
                      </a:cubicBezTo>
                      <a:cubicBezTo>
                        <a:pt x="310896" y="297200"/>
                        <a:pt x="301371" y="295010"/>
                        <a:pt x="302323" y="295676"/>
                      </a:cubicBezTo>
                      <a:cubicBezTo>
                        <a:pt x="296704" y="293771"/>
                        <a:pt x="293751" y="286818"/>
                        <a:pt x="294418" y="287771"/>
                      </a:cubicBezTo>
                      <a:cubicBezTo>
                        <a:pt x="293180" y="285009"/>
                        <a:pt x="294704" y="283104"/>
                        <a:pt x="297656" y="283389"/>
                      </a:cubicBezTo>
                      <a:cubicBezTo>
                        <a:pt x="317182" y="285389"/>
                        <a:pt x="322707" y="284723"/>
                        <a:pt x="325183" y="291009"/>
                      </a:cubicBezTo>
                      <a:cubicBezTo>
                        <a:pt x="327088" y="294724"/>
                        <a:pt x="328231" y="303106"/>
                        <a:pt x="335185" y="306725"/>
                      </a:cubicBezTo>
                      <a:lnTo>
                        <a:pt x="364522" y="322346"/>
                      </a:lnTo>
                      <a:cubicBezTo>
                        <a:pt x="369665" y="325109"/>
                        <a:pt x="372332" y="317870"/>
                        <a:pt x="371475" y="318822"/>
                      </a:cubicBezTo>
                      <a:cubicBezTo>
                        <a:pt x="374904" y="309107"/>
                        <a:pt x="387667" y="327014"/>
                        <a:pt x="401669" y="328633"/>
                      </a:cubicBezTo>
                      <a:cubicBezTo>
                        <a:pt x="410623" y="330538"/>
                        <a:pt x="421196" y="328347"/>
                        <a:pt x="424720" y="336063"/>
                      </a:cubicBezTo>
                      <a:lnTo>
                        <a:pt x="425005" y="336539"/>
                      </a:lnTo>
                      <a:cubicBezTo>
                        <a:pt x="429196" y="345778"/>
                        <a:pt x="438436" y="333300"/>
                        <a:pt x="448818" y="338158"/>
                      </a:cubicBezTo>
                      <a:lnTo>
                        <a:pt x="485870" y="355779"/>
                      </a:lnTo>
                      <a:cubicBezTo>
                        <a:pt x="499396" y="362161"/>
                        <a:pt x="569595" y="366162"/>
                        <a:pt x="584740" y="371972"/>
                      </a:cubicBezTo>
                      <a:cubicBezTo>
                        <a:pt x="614648" y="383402"/>
                        <a:pt x="621030" y="386640"/>
                        <a:pt x="628745" y="386831"/>
                      </a:cubicBezTo>
                      <a:lnTo>
                        <a:pt x="677513" y="387497"/>
                      </a:lnTo>
                      <a:cubicBezTo>
                        <a:pt x="686943" y="387593"/>
                        <a:pt x="753999" y="371114"/>
                        <a:pt x="753047" y="371305"/>
                      </a:cubicBezTo>
                      <a:cubicBezTo>
                        <a:pt x="768667" y="367685"/>
                        <a:pt x="833818" y="318060"/>
                        <a:pt x="836105" y="302058"/>
                      </a:cubicBezTo>
                      <a:cubicBezTo>
                        <a:pt x="836581" y="291676"/>
                        <a:pt x="842200" y="280817"/>
                        <a:pt x="834390" y="277484"/>
                      </a:cubicBezTo>
                      <a:cubicBezTo>
                        <a:pt x="832104" y="275960"/>
                        <a:pt x="822007" y="274531"/>
                        <a:pt x="824293" y="267292"/>
                      </a:cubicBezTo>
                      <a:lnTo>
                        <a:pt x="825817" y="262530"/>
                      </a:lnTo>
                      <a:cubicBezTo>
                        <a:pt x="827722" y="256624"/>
                        <a:pt x="821817" y="250909"/>
                        <a:pt x="822388" y="251862"/>
                      </a:cubicBezTo>
                      <a:cubicBezTo>
                        <a:pt x="814483" y="243194"/>
                        <a:pt x="824198" y="230811"/>
                        <a:pt x="814864" y="225287"/>
                      </a:cubicBezTo>
                      <a:lnTo>
                        <a:pt x="794766" y="213380"/>
                      </a:lnTo>
                      <a:cubicBezTo>
                        <a:pt x="789527" y="210237"/>
                        <a:pt x="790194" y="218714"/>
                        <a:pt x="790480" y="217762"/>
                      </a:cubicBezTo>
                      <a:cubicBezTo>
                        <a:pt x="790670" y="220715"/>
                        <a:pt x="788480" y="222143"/>
                        <a:pt x="785813" y="220905"/>
                      </a:cubicBezTo>
                      <a:lnTo>
                        <a:pt x="777240" y="217000"/>
                      </a:lnTo>
                      <a:cubicBezTo>
                        <a:pt x="769906" y="213666"/>
                        <a:pt x="782288" y="211380"/>
                        <a:pt x="781240" y="208237"/>
                      </a:cubicBezTo>
                      <a:cubicBezTo>
                        <a:pt x="780669" y="206427"/>
                        <a:pt x="765143" y="198236"/>
                        <a:pt x="765143" y="198236"/>
                      </a:cubicBezTo>
                      <a:cubicBezTo>
                        <a:pt x="762476" y="196807"/>
                        <a:pt x="758952" y="193664"/>
                        <a:pt x="757333" y="191283"/>
                      </a:cubicBezTo>
                      <a:cubicBezTo>
                        <a:pt x="754189" y="187568"/>
                        <a:pt x="747522" y="173852"/>
                        <a:pt x="746855" y="182043"/>
                      </a:cubicBezTo>
                      <a:lnTo>
                        <a:pt x="746665" y="184425"/>
                      </a:lnTo>
                      <a:cubicBezTo>
                        <a:pt x="744950" y="203665"/>
                        <a:pt x="650843" y="146039"/>
                        <a:pt x="649796" y="145181"/>
                      </a:cubicBezTo>
                      <a:cubicBezTo>
                        <a:pt x="634270" y="131656"/>
                        <a:pt x="629888" y="127370"/>
                        <a:pt x="623506" y="123941"/>
                      </a:cubicBezTo>
                      <a:cubicBezTo>
                        <a:pt x="539877" y="77935"/>
                        <a:pt x="540353" y="77745"/>
                        <a:pt x="533305" y="76030"/>
                      </a:cubicBezTo>
                      <a:cubicBezTo>
                        <a:pt x="477869" y="62314"/>
                        <a:pt x="470725" y="58885"/>
                        <a:pt x="471868" y="64600"/>
                      </a:cubicBezTo>
                      <a:cubicBezTo>
                        <a:pt x="472249" y="66791"/>
                        <a:pt x="470249" y="68029"/>
                        <a:pt x="467392" y="67458"/>
                      </a:cubicBezTo>
                      <a:lnTo>
                        <a:pt x="429577" y="59361"/>
                      </a:lnTo>
                      <a:cubicBezTo>
                        <a:pt x="421386" y="57647"/>
                        <a:pt x="430530" y="51646"/>
                        <a:pt x="422434" y="50027"/>
                      </a:cubicBezTo>
                      <a:cubicBezTo>
                        <a:pt x="412242" y="48884"/>
                        <a:pt x="398050" y="42121"/>
                        <a:pt x="400907" y="50217"/>
                      </a:cubicBezTo>
                      <a:cubicBezTo>
                        <a:pt x="405003" y="61647"/>
                        <a:pt x="375190" y="50027"/>
                        <a:pt x="371189" y="61552"/>
                      </a:cubicBezTo>
                      <a:lnTo>
                        <a:pt x="370618" y="63267"/>
                      </a:lnTo>
                      <a:cubicBezTo>
                        <a:pt x="369665" y="66029"/>
                        <a:pt x="367189" y="66600"/>
                        <a:pt x="365093" y="64409"/>
                      </a:cubicBezTo>
                      <a:cubicBezTo>
                        <a:pt x="364617" y="63457"/>
                        <a:pt x="359283" y="59838"/>
                        <a:pt x="362617" y="54218"/>
                      </a:cubicBezTo>
                      <a:cubicBezTo>
                        <a:pt x="363283" y="52408"/>
                        <a:pt x="370808" y="44026"/>
                        <a:pt x="363379" y="43835"/>
                      </a:cubicBezTo>
                      <a:cubicBezTo>
                        <a:pt x="316992" y="42312"/>
                        <a:pt x="313754" y="43550"/>
                        <a:pt x="308229" y="38597"/>
                      </a:cubicBezTo>
                      <a:cubicBezTo>
                        <a:pt x="307181" y="37835"/>
                        <a:pt x="302133" y="31739"/>
                        <a:pt x="294989" y="30691"/>
                      </a:cubicBezTo>
                      <a:cubicBezTo>
                        <a:pt x="288798" y="28881"/>
                        <a:pt x="275463" y="30691"/>
                        <a:pt x="278416" y="22880"/>
                      </a:cubicBezTo>
                      <a:cubicBezTo>
                        <a:pt x="278701" y="21166"/>
                        <a:pt x="284035" y="13451"/>
                        <a:pt x="277844" y="9546"/>
                      </a:cubicBezTo>
                      <a:cubicBezTo>
                        <a:pt x="273653" y="7641"/>
                        <a:pt x="265938" y="-551"/>
                        <a:pt x="261556" y="4688"/>
                      </a:cubicBezTo>
                      <a:cubicBezTo>
                        <a:pt x="257175" y="9926"/>
                        <a:pt x="266890" y="16213"/>
                        <a:pt x="259175" y="17356"/>
                      </a:cubicBezTo>
                      <a:cubicBezTo>
                        <a:pt x="257365" y="17356"/>
                        <a:pt x="249936" y="19928"/>
                        <a:pt x="243935" y="15927"/>
                      </a:cubicBezTo>
                      <a:cubicBezTo>
                        <a:pt x="237268" y="11355"/>
                        <a:pt x="231648" y="6688"/>
                        <a:pt x="224599" y="5640"/>
                      </a:cubicBezTo>
                      <a:cubicBezTo>
                        <a:pt x="219361" y="4878"/>
                        <a:pt x="214598" y="4116"/>
                        <a:pt x="209931" y="3450"/>
                      </a:cubicBezTo>
                      <a:lnTo>
                        <a:pt x="209931" y="3450"/>
                      </a:lnTo>
                      <a:cubicBezTo>
                        <a:pt x="209931" y="3450"/>
                        <a:pt x="205549" y="43169"/>
                        <a:pt x="205549" y="43169"/>
                      </a:cubicBezTo>
                      <a:lnTo>
                        <a:pt x="171259" y="40883"/>
                      </a:lnTo>
                      <a:lnTo>
                        <a:pt x="113442" y="100319"/>
                      </a:lnTo>
                      <a:lnTo>
                        <a:pt x="94392" y="90508"/>
                      </a:lnTo>
                      <a:lnTo>
                        <a:pt x="66961" y="113844"/>
                      </a:lnTo>
                      <a:lnTo>
                        <a:pt x="90011" y="122607"/>
                      </a:lnTo>
                      <a:lnTo>
                        <a:pt x="63817" y="150420"/>
                      </a:lnTo>
                      <a:lnTo>
                        <a:pt x="79724" y="184520"/>
                      </a:lnTo>
                      <a:lnTo>
                        <a:pt x="121539" y="195474"/>
                      </a:lnTo>
                      <a:lnTo>
                        <a:pt x="131635" y="216809"/>
                      </a:lnTo>
                      <a:lnTo>
                        <a:pt x="158591" y="233669"/>
                      </a:lnTo>
                      <a:lnTo>
                        <a:pt x="150685" y="258434"/>
                      </a:lnTo>
                      <a:lnTo>
                        <a:pt x="100108" y="314631"/>
                      </a:lnTo>
                      <a:lnTo>
                        <a:pt x="167545" y="435980"/>
                      </a:lnTo>
                      <a:lnTo>
                        <a:pt x="136112" y="443885"/>
                      </a:lnTo>
                      <a:lnTo>
                        <a:pt x="146209" y="487700"/>
                      </a:lnTo>
                      <a:lnTo>
                        <a:pt x="130492" y="500083"/>
                      </a:lnTo>
                      <a:lnTo>
                        <a:pt x="138398" y="519228"/>
                      </a:lnTo>
                      <a:lnTo>
                        <a:pt x="163163" y="524848"/>
                      </a:lnTo>
                      <a:lnTo>
                        <a:pt x="169450" y="540183"/>
                      </a:lnTo>
                      <a:lnTo>
                        <a:pt x="154400" y="548089"/>
                      </a:lnTo>
                      <a:lnTo>
                        <a:pt x="163163" y="566377"/>
                      </a:lnTo>
                      <a:lnTo>
                        <a:pt x="184594" y="571139"/>
                      </a:lnTo>
                      <a:lnTo>
                        <a:pt x="195739" y="597333"/>
                      </a:lnTo>
                      <a:lnTo>
                        <a:pt x="155257" y="627528"/>
                      </a:lnTo>
                      <a:lnTo>
                        <a:pt x="250507" y="698965"/>
                      </a:lnTo>
                      <a:lnTo>
                        <a:pt x="230696" y="742971"/>
                      </a:lnTo>
                      <a:lnTo>
                        <a:pt x="128302" y="837078"/>
                      </a:lnTo>
                      <a:lnTo>
                        <a:pt x="34099" y="915183"/>
                      </a:lnTo>
                      <a:cubicBezTo>
                        <a:pt x="50578" y="918612"/>
                        <a:pt x="76105" y="889941"/>
                        <a:pt x="75724" y="902609"/>
                      </a:cubicBezTo>
                      <a:lnTo>
                        <a:pt x="75533" y="909087"/>
                      </a:lnTo>
                      <a:cubicBezTo>
                        <a:pt x="75247" y="917183"/>
                        <a:pt x="65817" y="915183"/>
                        <a:pt x="71628" y="920517"/>
                      </a:cubicBezTo>
                      <a:cubicBezTo>
                        <a:pt x="94583" y="941472"/>
                        <a:pt x="97250" y="945472"/>
                        <a:pt x="104394" y="945567"/>
                      </a:cubicBezTo>
                      <a:cubicBezTo>
                        <a:pt x="114681" y="945281"/>
                        <a:pt x="125063" y="947282"/>
                        <a:pt x="129730" y="943472"/>
                      </a:cubicBezTo>
                      <a:cubicBezTo>
                        <a:pt x="134398" y="939757"/>
                        <a:pt x="151066" y="945948"/>
                        <a:pt x="150114" y="945663"/>
                      </a:cubicBezTo>
                      <a:cubicBezTo>
                        <a:pt x="156686" y="947377"/>
                        <a:pt x="158305" y="957093"/>
                        <a:pt x="157829" y="956140"/>
                      </a:cubicBezTo>
                      <a:cubicBezTo>
                        <a:pt x="159448" y="962046"/>
                        <a:pt x="167354" y="963665"/>
                        <a:pt x="166402" y="963188"/>
                      </a:cubicBezTo>
                      <a:cubicBezTo>
                        <a:pt x="172783" y="964808"/>
                        <a:pt x="168878" y="973856"/>
                        <a:pt x="168878" y="972904"/>
                      </a:cubicBezTo>
                      <a:cubicBezTo>
                        <a:pt x="167926" y="975762"/>
                        <a:pt x="164878" y="977476"/>
                        <a:pt x="162020" y="976714"/>
                      </a:cubicBezTo>
                      <a:cubicBezTo>
                        <a:pt x="124873" y="967380"/>
                        <a:pt x="118205" y="966427"/>
                        <a:pt x="113252" y="962522"/>
                      </a:cubicBezTo>
                      <a:cubicBezTo>
                        <a:pt x="109633" y="959664"/>
                        <a:pt x="103727" y="963093"/>
                        <a:pt x="104775" y="962807"/>
                      </a:cubicBezTo>
                      <a:cubicBezTo>
                        <a:pt x="100108" y="965760"/>
                        <a:pt x="101346" y="972428"/>
                        <a:pt x="101441" y="971475"/>
                      </a:cubicBezTo>
                      <a:cubicBezTo>
                        <a:pt x="102108" y="974333"/>
                        <a:pt x="100298" y="977571"/>
                        <a:pt x="97441" y="978524"/>
                      </a:cubicBezTo>
                      <a:lnTo>
                        <a:pt x="87344" y="982048"/>
                      </a:lnTo>
                      <a:cubicBezTo>
                        <a:pt x="76771" y="985763"/>
                        <a:pt x="67246" y="971571"/>
                        <a:pt x="65341" y="981191"/>
                      </a:cubicBezTo>
                      <a:cubicBezTo>
                        <a:pt x="64675" y="982810"/>
                        <a:pt x="65151" y="992240"/>
                        <a:pt x="57817" y="991954"/>
                      </a:cubicBezTo>
                      <a:cubicBezTo>
                        <a:pt x="56864" y="991573"/>
                        <a:pt x="51721" y="991954"/>
                        <a:pt x="49911" y="986620"/>
                      </a:cubicBezTo>
                      <a:lnTo>
                        <a:pt x="49149" y="984524"/>
                      </a:lnTo>
                      <a:cubicBezTo>
                        <a:pt x="46577" y="977286"/>
                        <a:pt x="34385" y="988430"/>
                        <a:pt x="39243" y="994335"/>
                      </a:cubicBezTo>
                      <a:cubicBezTo>
                        <a:pt x="39719" y="995288"/>
                        <a:pt x="43529" y="998907"/>
                        <a:pt x="41434" y="1004337"/>
                      </a:cubicBezTo>
                      <a:cubicBezTo>
                        <a:pt x="40196" y="1006527"/>
                        <a:pt x="39148" y="1013862"/>
                        <a:pt x="34480" y="1016243"/>
                      </a:cubicBezTo>
                      <a:lnTo>
                        <a:pt x="36576" y="1017195"/>
                      </a:lnTo>
                      <a:lnTo>
                        <a:pt x="19145" y="1062058"/>
                      </a:lnTo>
                      <a:lnTo>
                        <a:pt x="26479" y="1101968"/>
                      </a:lnTo>
                      <a:lnTo>
                        <a:pt x="6858" y="1123971"/>
                      </a:lnTo>
                      <a:lnTo>
                        <a:pt x="11811" y="1134257"/>
                      </a:lnTo>
                      <a:lnTo>
                        <a:pt x="37052" y="1133496"/>
                      </a:lnTo>
                      <a:lnTo>
                        <a:pt x="48768" y="1157689"/>
                      </a:lnTo>
                      <a:lnTo>
                        <a:pt x="33718" y="1160261"/>
                      </a:lnTo>
                      <a:lnTo>
                        <a:pt x="0" y="1193979"/>
                      </a:lnTo>
                      <a:lnTo>
                        <a:pt x="28384" y="1209600"/>
                      </a:lnTo>
                      <a:lnTo>
                        <a:pt x="16478" y="1245319"/>
                      </a:lnTo>
                      <a:lnTo>
                        <a:pt x="48673" y="1282276"/>
                      </a:lnTo>
                      <a:lnTo>
                        <a:pt x="45910" y="1306851"/>
                      </a:lnTo>
                      <a:lnTo>
                        <a:pt x="83248" y="1325139"/>
                      </a:lnTo>
                      <a:lnTo>
                        <a:pt x="118205" y="1319614"/>
                      </a:lnTo>
                      <a:lnTo>
                        <a:pt x="122967" y="1344189"/>
                      </a:lnTo>
                      <a:lnTo>
                        <a:pt x="173736" y="1332282"/>
                      </a:lnTo>
                      <a:lnTo>
                        <a:pt x="214217" y="1356857"/>
                      </a:lnTo>
                      <a:lnTo>
                        <a:pt x="204692" y="1379907"/>
                      </a:lnTo>
                      <a:lnTo>
                        <a:pt x="218218" y="1395814"/>
                      </a:lnTo>
                      <a:lnTo>
                        <a:pt x="203168" y="1421246"/>
                      </a:lnTo>
                      <a:lnTo>
                        <a:pt x="227552" y="1435724"/>
                      </a:lnTo>
                      <a:cubicBezTo>
                        <a:pt x="227552" y="1435724"/>
                        <a:pt x="221932" y="1445630"/>
                        <a:pt x="221932" y="1446868"/>
                      </a:cubicBezTo>
                      <a:cubicBezTo>
                        <a:pt x="221932" y="1448106"/>
                        <a:pt x="244221" y="1472681"/>
                        <a:pt x="244221" y="1472681"/>
                      </a:cubicBezTo>
                      <a:lnTo>
                        <a:pt x="267843" y="1481730"/>
                      </a:lnTo>
                      <a:lnTo>
                        <a:pt x="261842" y="1503161"/>
                      </a:lnTo>
                      <a:lnTo>
                        <a:pt x="304800" y="1510019"/>
                      </a:lnTo>
                      <a:lnTo>
                        <a:pt x="303943" y="1521163"/>
                      </a:lnTo>
                      <a:lnTo>
                        <a:pt x="322421" y="1531450"/>
                      </a:lnTo>
                      <a:lnTo>
                        <a:pt x="320326" y="1541356"/>
                      </a:lnTo>
                      <a:lnTo>
                        <a:pt x="286798" y="1561930"/>
                      </a:lnTo>
                      <a:lnTo>
                        <a:pt x="247269" y="1549929"/>
                      </a:lnTo>
                      <a:lnTo>
                        <a:pt x="234410" y="1565835"/>
                      </a:lnTo>
                      <a:lnTo>
                        <a:pt x="251555" y="1586028"/>
                      </a:lnTo>
                      <a:lnTo>
                        <a:pt x="260604" y="1640988"/>
                      </a:lnTo>
                      <a:lnTo>
                        <a:pt x="292894" y="1643655"/>
                      </a:lnTo>
                      <a:lnTo>
                        <a:pt x="300609" y="1624033"/>
                      </a:lnTo>
                      <a:lnTo>
                        <a:pt x="335756" y="1629367"/>
                      </a:lnTo>
                      <a:lnTo>
                        <a:pt x="353663" y="1618032"/>
                      </a:lnTo>
                      <a:lnTo>
                        <a:pt x="388144" y="1620985"/>
                      </a:lnTo>
                      <a:lnTo>
                        <a:pt x="422624" y="1669181"/>
                      </a:lnTo>
                      <a:lnTo>
                        <a:pt x="402431" y="1676325"/>
                      </a:lnTo>
                      <a:lnTo>
                        <a:pt x="411385" y="1710806"/>
                      </a:lnTo>
                      <a:lnTo>
                        <a:pt x="464915" y="1713187"/>
                      </a:lnTo>
                      <a:lnTo>
                        <a:pt x="485204" y="1747382"/>
                      </a:lnTo>
                      <a:lnTo>
                        <a:pt x="478250" y="1762336"/>
                      </a:lnTo>
                      <a:lnTo>
                        <a:pt x="496729" y="1783672"/>
                      </a:lnTo>
                      <a:lnTo>
                        <a:pt x="519208" y="1773861"/>
                      </a:lnTo>
                      <a:lnTo>
                        <a:pt x="555498" y="1791768"/>
                      </a:lnTo>
                      <a:lnTo>
                        <a:pt x="568166" y="1781386"/>
                      </a:lnTo>
                      <a:lnTo>
                        <a:pt x="601599" y="1773290"/>
                      </a:lnTo>
                      <a:lnTo>
                        <a:pt x="637889" y="1814247"/>
                      </a:lnTo>
                      <a:lnTo>
                        <a:pt x="653986" y="1802151"/>
                      </a:lnTo>
                      <a:lnTo>
                        <a:pt x="691610" y="1821296"/>
                      </a:lnTo>
                      <a:lnTo>
                        <a:pt x="712184" y="1820248"/>
                      </a:lnTo>
                      <a:lnTo>
                        <a:pt x="744188" y="1840822"/>
                      </a:lnTo>
                      <a:lnTo>
                        <a:pt x="764286" y="1839774"/>
                      </a:lnTo>
                      <a:lnTo>
                        <a:pt x="766381" y="1867111"/>
                      </a:lnTo>
                      <a:lnTo>
                        <a:pt x="739045" y="1882065"/>
                      </a:lnTo>
                      <a:lnTo>
                        <a:pt x="743712" y="1891305"/>
                      </a:lnTo>
                      <a:lnTo>
                        <a:pt x="760190" y="1897496"/>
                      </a:lnTo>
                      <a:lnTo>
                        <a:pt x="737044" y="1917117"/>
                      </a:lnTo>
                      <a:lnTo>
                        <a:pt x="756094" y="1943882"/>
                      </a:lnTo>
                      <a:lnTo>
                        <a:pt x="742188" y="1975315"/>
                      </a:lnTo>
                      <a:lnTo>
                        <a:pt x="685990" y="1974267"/>
                      </a:lnTo>
                      <a:lnTo>
                        <a:pt x="679323" y="1989222"/>
                      </a:lnTo>
                      <a:lnTo>
                        <a:pt x="656177" y="1993889"/>
                      </a:lnTo>
                      <a:lnTo>
                        <a:pt x="649033" y="2025607"/>
                      </a:lnTo>
                      <a:cubicBezTo>
                        <a:pt x="688753" y="2022940"/>
                        <a:pt x="691801" y="2022940"/>
                        <a:pt x="694277" y="2017987"/>
                      </a:cubicBezTo>
                      <a:cubicBezTo>
                        <a:pt x="697516" y="2011510"/>
                        <a:pt x="714375" y="2011510"/>
                        <a:pt x="715613" y="2018939"/>
                      </a:cubicBezTo>
                      <a:cubicBezTo>
                        <a:pt x="715613" y="2021797"/>
                        <a:pt x="720185" y="2032274"/>
                        <a:pt x="712470" y="2032274"/>
                      </a:cubicBezTo>
                      <a:lnTo>
                        <a:pt x="707422" y="2032274"/>
                      </a:lnTo>
                      <a:cubicBezTo>
                        <a:pt x="700278" y="2032274"/>
                        <a:pt x="692944" y="2039704"/>
                        <a:pt x="693896" y="2039132"/>
                      </a:cubicBezTo>
                      <a:cubicBezTo>
                        <a:pt x="687610" y="2044371"/>
                        <a:pt x="672370" y="2042943"/>
                        <a:pt x="673322" y="2042943"/>
                      </a:cubicBezTo>
                      <a:cubicBezTo>
                        <a:pt x="666179" y="2043038"/>
                        <a:pt x="661130" y="2050848"/>
                        <a:pt x="667893" y="2053134"/>
                      </a:cubicBezTo>
                      <a:lnTo>
                        <a:pt x="670369" y="2053991"/>
                      </a:lnTo>
                      <a:cubicBezTo>
                        <a:pt x="677513" y="2056468"/>
                        <a:pt x="669512" y="2067612"/>
                        <a:pt x="662273" y="2066279"/>
                      </a:cubicBezTo>
                      <a:cubicBezTo>
                        <a:pt x="630841" y="2060278"/>
                        <a:pt x="623030" y="2057230"/>
                        <a:pt x="626459" y="2063707"/>
                      </a:cubicBezTo>
                      <a:cubicBezTo>
                        <a:pt x="631126" y="2072470"/>
                        <a:pt x="635698" y="2085043"/>
                        <a:pt x="639604" y="2080566"/>
                      </a:cubicBezTo>
                      <a:cubicBezTo>
                        <a:pt x="641032" y="2078947"/>
                        <a:pt x="644176" y="2079042"/>
                        <a:pt x="646557" y="2080757"/>
                      </a:cubicBezTo>
                      <a:lnTo>
                        <a:pt x="668369" y="2096282"/>
                      </a:lnTo>
                      <a:cubicBezTo>
                        <a:pt x="673513" y="2099997"/>
                        <a:pt x="671989" y="2108094"/>
                        <a:pt x="671798" y="2107141"/>
                      </a:cubicBezTo>
                      <a:cubicBezTo>
                        <a:pt x="671417" y="2110094"/>
                        <a:pt x="669036" y="2111332"/>
                        <a:pt x="666369" y="2109903"/>
                      </a:cubicBezTo>
                      <a:lnTo>
                        <a:pt x="655606" y="2103998"/>
                      </a:lnTo>
                      <a:cubicBezTo>
                        <a:pt x="649319" y="2100569"/>
                        <a:pt x="639794" y="2105903"/>
                        <a:pt x="640747" y="2105617"/>
                      </a:cubicBezTo>
                      <a:cubicBezTo>
                        <a:pt x="633222" y="2108760"/>
                        <a:pt x="630269" y="2124191"/>
                        <a:pt x="630746" y="2123238"/>
                      </a:cubicBezTo>
                      <a:cubicBezTo>
                        <a:pt x="628745" y="2129239"/>
                        <a:pt x="620744" y="2132382"/>
                        <a:pt x="621697" y="2131716"/>
                      </a:cubicBezTo>
                      <a:cubicBezTo>
                        <a:pt x="611029" y="2136573"/>
                        <a:pt x="617887" y="2153337"/>
                        <a:pt x="607028" y="2155528"/>
                      </a:cubicBezTo>
                      <a:cubicBezTo>
                        <a:pt x="599980" y="2156957"/>
                        <a:pt x="593407" y="2158957"/>
                        <a:pt x="586930" y="2156671"/>
                      </a:cubicBezTo>
                      <a:lnTo>
                        <a:pt x="572738" y="2151528"/>
                      </a:lnTo>
                      <a:cubicBezTo>
                        <a:pt x="566071" y="2149051"/>
                        <a:pt x="564928" y="2157052"/>
                        <a:pt x="571500" y="2159814"/>
                      </a:cubicBezTo>
                      <a:lnTo>
                        <a:pt x="572452" y="2160195"/>
                      </a:lnTo>
                      <a:cubicBezTo>
                        <a:pt x="583216" y="2164767"/>
                        <a:pt x="555212" y="2162958"/>
                        <a:pt x="557784" y="2172959"/>
                      </a:cubicBezTo>
                      <a:lnTo>
                        <a:pt x="557784" y="2173245"/>
                      </a:lnTo>
                      <a:cubicBezTo>
                        <a:pt x="560165" y="2182293"/>
                        <a:pt x="569309" y="2171054"/>
                        <a:pt x="581215" y="2172292"/>
                      </a:cubicBezTo>
                      <a:cubicBezTo>
                        <a:pt x="582168" y="2172578"/>
                        <a:pt x="592074" y="2172292"/>
                        <a:pt x="587026" y="2177055"/>
                      </a:cubicBezTo>
                      <a:lnTo>
                        <a:pt x="586930" y="2177055"/>
                      </a:lnTo>
                      <a:cubicBezTo>
                        <a:pt x="580549" y="2183246"/>
                        <a:pt x="594550" y="2182293"/>
                        <a:pt x="598837" y="2191342"/>
                      </a:cubicBezTo>
                      <a:cubicBezTo>
                        <a:pt x="601980" y="2196390"/>
                        <a:pt x="603409" y="2205915"/>
                        <a:pt x="611314" y="2207249"/>
                      </a:cubicBezTo>
                      <a:cubicBezTo>
                        <a:pt x="614648" y="2207344"/>
                        <a:pt x="624268" y="2211249"/>
                        <a:pt x="626840" y="2205534"/>
                      </a:cubicBezTo>
                      <a:cubicBezTo>
                        <a:pt x="629888" y="2198772"/>
                        <a:pt x="633603" y="2213535"/>
                        <a:pt x="642747" y="2218965"/>
                      </a:cubicBezTo>
                      <a:lnTo>
                        <a:pt x="658082" y="2228108"/>
                      </a:lnTo>
                      <a:cubicBezTo>
                        <a:pt x="668655" y="2234395"/>
                        <a:pt x="683133" y="2232014"/>
                        <a:pt x="690848" y="2239348"/>
                      </a:cubicBezTo>
                      <a:lnTo>
                        <a:pt x="750094" y="2296212"/>
                      </a:lnTo>
                      <a:cubicBezTo>
                        <a:pt x="753523" y="2299451"/>
                        <a:pt x="757428" y="2301261"/>
                        <a:pt x="761143" y="2302689"/>
                      </a:cubicBezTo>
                      <a:lnTo>
                        <a:pt x="761143" y="2302689"/>
                      </a:lnTo>
                      <a:cubicBezTo>
                        <a:pt x="761143" y="2302689"/>
                        <a:pt x="774954" y="2287259"/>
                        <a:pt x="774954" y="2287259"/>
                      </a:cubicBezTo>
                      <a:lnTo>
                        <a:pt x="871347" y="2319453"/>
                      </a:lnTo>
                      <a:lnTo>
                        <a:pt x="927354" y="2317072"/>
                      </a:lnTo>
                      <a:lnTo>
                        <a:pt x="994029" y="2364697"/>
                      </a:lnTo>
                      <a:lnTo>
                        <a:pt x="1046416" y="2351553"/>
                      </a:lnTo>
                      <a:lnTo>
                        <a:pt x="1102423" y="2370603"/>
                      </a:lnTo>
                      <a:lnTo>
                        <a:pt x="1100042" y="2393272"/>
                      </a:lnTo>
                      <a:lnTo>
                        <a:pt x="1173861" y="2424228"/>
                      </a:lnTo>
                      <a:lnTo>
                        <a:pt x="1197673" y="2456423"/>
                      </a:lnTo>
                      <a:lnTo>
                        <a:pt x="1233392" y="2465948"/>
                      </a:lnTo>
                      <a:lnTo>
                        <a:pt x="1281208" y="2424228"/>
                      </a:lnTo>
                      <a:lnTo>
                        <a:pt x="1281208" y="2424228"/>
                      </a:lnTo>
                      <a:cubicBezTo>
                        <a:pt x="1281208" y="2424228"/>
                        <a:pt x="1276826" y="2418799"/>
                        <a:pt x="1276826" y="2418799"/>
                      </a:cubicBezTo>
                      <a:cubicBezTo>
                        <a:pt x="1271588" y="2412513"/>
                        <a:pt x="1263967" y="2415656"/>
                        <a:pt x="1259872" y="2408798"/>
                      </a:cubicBezTo>
                      <a:cubicBezTo>
                        <a:pt x="1233583" y="2365173"/>
                        <a:pt x="1232725" y="2362602"/>
                        <a:pt x="1228439" y="2361078"/>
                      </a:cubicBezTo>
                      <a:cubicBezTo>
                        <a:pt x="1223677" y="2359363"/>
                        <a:pt x="1222915" y="2345647"/>
                        <a:pt x="1223200" y="2346599"/>
                      </a:cubicBezTo>
                      <a:cubicBezTo>
                        <a:pt x="1221581" y="2335551"/>
                        <a:pt x="1206151" y="2336503"/>
                        <a:pt x="1208627" y="2326502"/>
                      </a:cubicBezTo>
                      <a:lnTo>
                        <a:pt x="1212342" y="2311929"/>
                      </a:lnTo>
                      <a:cubicBezTo>
                        <a:pt x="1214342" y="2304023"/>
                        <a:pt x="1206151" y="2307166"/>
                        <a:pt x="1209675" y="2299832"/>
                      </a:cubicBezTo>
                      <a:cubicBezTo>
                        <a:pt x="1226344" y="2265923"/>
                        <a:pt x="1231964" y="2258684"/>
                        <a:pt x="1224820" y="2258684"/>
                      </a:cubicBezTo>
                      <a:cubicBezTo>
                        <a:pt x="1218438" y="2258684"/>
                        <a:pt x="1212723" y="2266685"/>
                        <a:pt x="1213675" y="2265828"/>
                      </a:cubicBezTo>
                      <a:cubicBezTo>
                        <a:pt x="1211771" y="2268114"/>
                        <a:pt x="1209008" y="2267828"/>
                        <a:pt x="1207580" y="2265256"/>
                      </a:cubicBezTo>
                      <a:lnTo>
                        <a:pt x="1197864" y="2247349"/>
                      </a:lnTo>
                      <a:cubicBezTo>
                        <a:pt x="1193864" y="2240015"/>
                        <a:pt x="1187196" y="2244682"/>
                        <a:pt x="1183291" y="2237253"/>
                      </a:cubicBezTo>
                      <a:cubicBezTo>
                        <a:pt x="1182433" y="2236300"/>
                        <a:pt x="1180624" y="2228775"/>
                        <a:pt x="1174432" y="2232014"/>
                      </a:cubicBezTo>
                      <a:cubicBezTo>
                        <a:pt x="1173480" y="2232014"/>
                        <a:pt x="1169098" y="2234966"/>
                        <a:pt x="1166813" y="2229918"/>
                      </a:cubicBezTo>
                      <a:cubicBezTo>
                        <a:pt x="1165765" y="2226489"/>
                        <a:pt x="1159288" y="2218488"/>
                        <a:pt x="1164526" y="2213059"/>
                      </a:cubicBezTo>
                      <a:cubicBezTo>
                        <a:pt x="1176718" y="2200486"/>
                        <a:pt x="1179671" y="2195724"/>
                        <a:pt x="1186243" y="2197533"/>
                      </a:cubicBezTo>
                      <a:lnTo>
                        <a:pt x="1186529" y="2197533"/>
                      </a:lnTo>
                      <a:cubicBezTo>
                        <a:pt x="1195768" y="2200200"/>
                        <a:pt x="1192339" y="2184198"/>
                        <a:pt x="1199769" y="2171149"/>
                      </a:cubicBezTo>
                      <a:cubicBezTo>
                        <a:pt x="1211675" y="2150194"/>
                        <a:pt x="1215581" y="2146003"/>
                        <a:pt x="1213104" y="2139812"/>
                      </a:cubicBezTo>
                      <a:cubicBezTo>
                        <a:pt x="1210913" y="2134478"/>
                        <a:pt x="1219200" y="2133240"/>
                        <a:pt x="1218248" y="2133811"/>
                      </a:cubicBezTo>
                      <a:cubicBezTo>
                        <a:pt x="1225010" y="2132478"/>
                        <a:pt x="1228725" y="2142765"/>
                        <a:pt x="1227963" y="2141812"/>
                      </a:cubicBezTo>
                      <a:cubicBezTo>
                        <a:pt x="1230535" y="2147051"/>
                        <a:pt x="1237298" y="2144479"/>
                        <a:pt x="1236345" y="2144479"/>
                      </a:cubicBezTo>
                      <a:cubicBezTo>
                        <a:pt x="1241869" y="2142479"/>
                        <a:pt x="1242441" y="2135145"/>
                        <a:pt x="1242060" y="2136097"/>
                      </a:cubicBezTo>
                      <a:cubicBezTo>
                        <a:pt x="1243203" y="2124381"/>
                        <a:pt x="1260539" y="2143812"/>
                        <a:pt x="1264825" y="2132858"/>
                      </a:cubicBezTo>
                      <a:lnTo>
                        <a:pt x="1270444" y="2118285"/>
                      </a:lnTo>
                      <a:cubicBezTo>
                        <a:pt x="1273016" y="2111618"/>
                        <a:pt x="1279969" y="2119428"/>
                        <a:pt x="1278255" y="2126477"/>
                      </a:cubicBezTo>
                      <a:cubicBezTo>
                        <a:pt x="1278255" y="2127429"/>
                        <a:pt x="1274255" y="2136097"/>
                        <a:pt x="1281303" y="2136859"/>
                      </a:cubicBezTo>
                      <a:cubicBezTo>
                        <a:pt x="1282256" y="2136573"/>
                        <a:pt x="1287113" y="2137431"/>
                        <a:pt x="1288732" y="2132382"/>
                      </a:cubicBezTo>
                      <a:cubicBezTo>
                        <a:pt x="1291971" y="2122667"/>
                        <a:pt x="1294924" y="2116190"/>
                        <a:pt x="1293495" y="2109237"/>
                      </a:cubicBezTo>
                      <a:cubicBezTo>
                        <a:pt x="1293495" y="2108284"/>
                        <a:pt x="1292257" y="2103426"/>
                        <a:pt x="1296257" y="2099807"/>
                      </a:cubicBezTo>
                      <a:lnTo>
                        <a:pt x="1296638" y="2099521"/>
                      </a:lnTo>
                      <a:cubicBezTo>
                        <a:pt x="1297686" y="2098569"/>
                        <a:pt x="1298639" y="2098283"/>
                        <a:pt x="1299496" y="2098092"/>
                      </a:cubicBezTo>
                      <a:lnTo>
                        <a:pt x="1299496" y="2097902"/>
                      </a:lnTo>
                      <a:cubicBezTo>
                        <a:pt x="1299496" y="2097902"/>
                        <a:pt x="1266063" y="2064183"/>
                        <a:pt x="1266063" y="2064183"/>
                      </a:cubicBezTo>
                      <a:lnTo>
                        <a:pt x="1294638" y="2045133"/>
                      </a:lnTo>
                      <a:lnTo>
                        <a:pt x="1241489" y="1978554"/>
                      </a:lnTo>
                      <a:lnTo>
                        <a:pt x="1196245" y="1978554"/>
                      </a:lnTo>
                      <a:lnTo>
                        <a:pt x="1149286" y="1924642"/>
                      </a:lnTo>
                      <a:lnTo>
                        <a:pt x="1178814" y="1875969"/>
                      </a:lnTo>
                      <a:lnTo>
                        <a:pt x="1166622" y="1835964"/>
                      </a:lnTo>
                      <a:lnTo>
                        <a:pt x="1213580" y="1771575"/>
                      </a:lnTo>
                      <a:lnTo>
                        <a:pt x="1258824" y="1823772"/>
                      </a:lnTo>
                      <a:lnTo>
                        <a:pt x="1290161" y="1808151"/>
                      </a:lnTo>
                      <a:lnTo>
                        <a:pt x="1283208" y="1761193"/>
                      </a:lnTo>
                      <a:lnTo>
                        <a:pt x="1408462" y="1672515"/>
                      </a:lnTo>
                      <a:lnTo>
                        <a:pt x="1504093" y="1670801"/>
                      </a:lnTo>
                      <a:lnTo>
                        <a:pt x="1608487" y="1728237"/>
                      </a:lnTo>
                      <a:lnTo>
                        <a:pt x="1610201" y="1761288"/>
                      </a:lnTo>
                      <a:lnTo>
                        <a:pt x="1639728" y="1768241"/>
                      </a:lnTo>
                      <a:lnTo>
                        <a:pt x="1648397" y="1735190"/>
                      </a:lnTo>
                      <a:lnTo>
                        <a:pt x="1704022" y="1764813"/>
                      </a:lnTo>
                      <a:lnTo>
                        <a:pt x="1747552" y="1724807"/>
                      </a:lnTo>
                      <a:lnTo>
                        <a:pt x="1865852" y="1721283"/>
                      </a:lnTo>
                      <a:lnTo>
                        <a:pt x="1928431" y="1764813"/>
                      </a:lnTo>
                      <a:lnTo>
                        <a:pt x="2040636" y="1746906"/>
                      </a:lnTo>
                      <a:lnTo>
                        <a:pt x="2058067" y="1704043"/>
                      </a:lnTo>
                      <a:lnTo>
                        <a:pt x="1956435" y="1650036"/>
                      </a:lnTo>
                      <a:lnTo>
                        <a:pt x="1975485" y="1611936"/>
                      </a:lnTo>
                      <a:lnTo>
                        <a:pt x="1926241" y="1599268"/>
                      </a:lnTo>
                      <a:lnTo>
                        <a:pt x="1905572" y="1627843"/>
                      </a:lnTo>
                      <a:lnTo>
                        <a:pt x="1878616" y="1605650"/>
                      </a:lnTo>
                      <a:lnTo>
                        <a:pt x="1891284" y="1497731"/>
                      </a:lnTo>
                      <a:lnTo>
                        <a:pt x="1940528" y="1475538"/>
                      </a:lnTo>
                      <a:lnTo>
                        <a:pt x="1950053" y="1408863"/>
                      </a:lnTo>
                      <a:lnTo>
                        <a:pt x="1834134" y="1453345"/>
                      </a:lnTo>
                      <a:lnTo>
                        <a:pt x="1784890" y="1396195"/>
                      </a:lnTo>
                      <a:lnTo>
                        <a:pt x="1835658" y="1364477"/>
                      </a:lnTo>
                      <a:lnTo>
                        <a:pt x="1851565" y="1404196"/>
                      </a:lnTo>
                      <a:lnTo>
                        <a:pt x="1934147" y="1348665"/>
                      </a:lnTo>
                      <a:lnTo>
                        <a:pt x="1912429" y="1302279"/>
                      </a:lnTo>
                      <a:lnTo>
                        <a:pt x="1808797" y="1298945"/>
                      </a:lnTo>
                      <a:lnTo>
                        <a:pt x="1788986" y="1247129"/>
                      </a:lnTo>
                      <a:lnTo>
                        <a:pt x="1845183" y="1228364"/>
                      </a:lnTo>
                      <a:lnTo>
                        <a:pt x="1837468" y="1173215"/>
                      </a:lnTo>
                      <a:lnTo>
                        <a:pt x="1872710" y="1182073"/>
                      </a:lnTo>
                      <a:lnTo>
                        <a:pt x="1889284" y="1161118"/>
                      </a:lnTo>
                      <a:lnTo>
                        <a:pt x="1874996" y="1135781"/>
                      </a:lnTo>
                      <a:lnTo>
                        <a:pt x="1888236" y="1118160"/>
                      </a:lnTo>
                      <a:lnTo>
                        <a:pt x="1912525" y="1118160"/>
                      </a:lnTo>
                      <a:lnTo>
                        <a:pt x="1925764" y="1082918"/>
                      </a:lnTo>
                      <a:lnTo>
                        <a:pt x="1903666" y="1066344"/>
                      </a:lnTo>
                      <a:lnTo>
                        <a:pt x="1904809" y="1035483"/>
                      </a:lnTo>
                      <a:lnTo>
                        <a:pt x="1859566" y="999383"/>
                      </a:lnTo>
                      <a:lnTo>
                        <a:pt x="1923859" y="898228"/>
                      </a:lnTo>
                      <a:lnTo>
                        <a:pt x="1909572" y="825647"/>
                      </a:lnTo>
                      <a:lnTo>
                        <a:pt x="1932241" y="737541"/>
                      </a:lnTo>
                      <a:lnTo>
                        <a:pt x="1907286" y="680391"/>
                      </a:lnTo>
                      <a:lnTo>
                        <a:pt x="1947196" y="586380"/>
                      </a:lnTo>
                      <a:lnTo>
                        <a:pt x="1924717" y="538755"/>
                      </a:lnTo>
                      <a:lnTo>
                        <a:pt x="1968722" y="484843"/>
                      </a:lnTo>
                      <a:lnTo>
                        <a:pt x="1999297" y="505512"/>
                      </a:lnTo>
                      <a:lnTo>
                        <a:pt x="2063972" y="439028"/>
                      </a:lnTo>
                      <a:lnTo>
                        <a:pt x="2125123" y="415977"/>
                      </a:lnTo>
                      <a:lnTo>
                        <a:pt x="2152555" y="365971"/>
                      </a:lnTo>
                      <a:lnTo>
                        <a:pt x="2259711" y="318346"/>
                      </a:lnTo>
                      <a:lnTo>
                        <a:pt x="2268093" y="288628"/>
                      </a:lnTo>
                      <a:lnTo>
                        <a:pt x="2320100" y="254909"/>
                      </a:lnTo>
                      <a:lnTo>
                        <a:pt x="2308955" y="243003"/>
                      </a:lnTo>
                      <a:lnTo>
                        <a:pt x="2331149" y="232716"/>
                      </a:lnTo>
                      <a:close/>
                      <a:moveTo>
                        <a:pt x="250412" y="321394"/>
                      </a:moveTo>
                      <a:cubicBezTo>
                        <a:pt x="250412" y="321394"/>
                        <a:pt x="260794" y="305106"/>
                        <a:pt x="268414" y="308630"/>
                      </a:cubicBezTo>
                      <a:cubicBezTo>
                        <a:pt x="287083" y="317203"/>
                        <a:pt x="292608" y="318346"/>
                        <a:pt x="293656" y="325204"/>
                      </a:cubicBezTo>
                      <a:cubicBezTo>
                        <a:pt x="297466" y="350541"/>
                        <a:pt x="300133" y="357208"/>
                        <a:pt x="292989" y="357208"/>
                      </a:cubicBezTo>
                      <a:cubicBezTo>
                        <a:pt x="288988" y="356732"/>
                        <a:pt x="280892" y="358732"/>
                        <a:pt x="275463" y="353398"/>
                      </a:cubicBezTo>
                      <a:cubicBezTo>
                        <a:pt x="249174" y="327680"/>
                        <a:pt x="245745" y="326538"/>
                        <a:pt x="250317" y="321394"/>
                      </a:cubicBezTo>
                      <a:close/>
                      <a:moveTo>
                        <a:pt x="240601" y="428455"/>
                      </a:moveTo>
                      <a:cubicBezTo>
                        <a:pt x="266700" y="411120"/>
                        <a:pt x="270510" y="406357"/>
                        <a:pt x="275654" y="411405"/>
                      </a:cubicBezTo>
                      <a:cubicBezTo>
                        <a:pt x="312420" y="447124"/>
                        <a:pt x="315087" y="447600"/>
                        <a:pt x="313372" y="454554"/>
                      </a:cubicBezTo>
                      <a:cubicBezTo>
                        <a:pt x="310896" y="461221"/>
                        <a:pt x="311277" y="475889"/>
                        <a:pt x="304038" y="471603"/>
                      </a:cubicBezTo>
                      <a:cubicBezTo>
                        <a:pt x="238696" y="433122"/>
                        <a:pt x="234220" y="432646"/>
                        <a:pt x="240506" y="428455"/>
                      </a:cubicBezTo>
                      <a:close/>
                      <a:moveTo>
                        <a:pt x="254508" y="1127304"/>
                      </a:moveTo>
                      <a:cubicBezTo>
                        <a:pt x="253555" y="1127114"/>
                        <a:pt x="247174" y="1122065"/>
                        <a:pt x="242697" y="1127304"/>
                      </a:cubicBezTo>
                      <a:cubicBezTo>
                        <a:pt x="241744" y="1127971"/>
                        <a:pt x="238887" y="1132257"/>
                        <a:pt x="233172" y="1131019"/>
                      </a:cubicBezTo>
                      <a:cubicBezTo>
                        <a:pt x="225076" y="1128352"/>
                        <a:pt x="209359" y="1128447"/>
                        <a:pt x="215551" y="1122542"/>
                      </a:cubicBezTo>
                      <a:cubicBezTo>
                        <a:pt x="227933" y="1110826"/>
                        <a:pt x="231076" y="1106254"/>
                        <a:pt x="237744" y="1107873"/>
                      </a:cubicBezTo>
                      <a:cubicBezTo>
                        <a:pt x="243268" y="1109969"/>
                        <a:pt x="253174" y="1109302"/>
                        <a:pt x="255460" y="1117113"/>
                      </a:cubicBezTo>
                      <a:cubicBezTo>
                        <a:pt x="255746" y="1119303"/>
                        <a:pt x="261271" y="1130829"/>
                        <a:pt x="254413" y="1127399"/>
                      </a:cubicBezTo>
                      <a:close/>
                      <a:moveTo>
                        <a:pt x="332232" y="906610"/>
                      </a:moveTo>
                      <a:lnTo>
                        <a:pt x="329374" y="912706"/>
                      </a:lnTo>
                      <a:cubicBezTo>
                        <a:pt x="326517" y="918707"/>
                        <a:pt x="317659" y="914516"/>
                        <a:pt x="318706" y="914611"/>
                      </a:cubicBezTo>
                      <a:cubicBezTo>
                        <a:pt x="306800" y="910420"/>
                        <a:pt x="318802" y="943472"/>
                        <a:pt x="306419" y="946710"/>
                      </a:cubicBezTo>
                      <a:cubicBezTo>
                        <a:pt x="302228" y="947187"/>
                        <a:pt x="293751" y="952425"/>
                        <a:pt x="288798" y="946234"/>
                      </a:cubicBezTo>
                      <a:cubicBezTo>
                        <a:pt x="287846" y="945472"/>
                        <a:pt x="285179" y="940519"/>
                        <a:pt x="278892" y="940329"/>
                      </a:cubicBezTo>
                      <a:lnTo>
                        <a:pt x="266224" y="939852"/>
                      </a:lnTo>
                      <a:cubicBezTo>
                        <a:pt x="258223" y="939567"/>
                        <a:pt x="248221" y="952330"/>
                        <a:pt x="249364" y="959664"/>
                      </a:cubicBezTo>
                      <a:cubicBezTo>
                        <a:pt x="249364" y="960617"/>
                        <a:pt x="252603" y="969951"/>
                        <a:pt x="245554" y="969380"/>
                      </a:cubicBezTo>
                      <a:cubicBezTo>
                        <a:pt x="236887" y="967761"/>
                        <a:pt x="224599" y="970808"/>
                        <a:pt x="223933" y="962427"/>
                      </a:cubicBezTo>
                      <a:cubicBezTo>
                        <a:pt x="223361" y="955664"/>
                        <a:pt x="223456" y="949092"/>
                        <a:pt x="220123" y="943281"/>
                      </a:cubicBezTo>
                      <a:cubicBezTo>
                        <a:pt x="204406" y="915563"/>
                        <a:pt x="203930" y="912801"/>
                        <a:pt x="197453" y="910420"/>
                      </a:cubicBezTo>
                      <a:cubicBezTo>
                        <a:pt x="196501" y="909753"/>
                        <a:pt x="189452" y="908991"/>
                        <a:pt x="189547" y="902133"/>
                      </a:cubicBezTo>
                      <a:lnTo>
                        <a:pt x="189738" y="891942"/>
                      </a:lnTo>
                      <a:cubicBezTo>
                        <a:pt x="190024" y="877178"/>
                        <a:pt x="154876" y="860795"/>
                        <a:pt x="163354" y="851365"/>
                      </a:cubicBezTo>
                      <a:cubicBezTo>
                        <a:pt x="165925" y="847936"/>
                        <a:pt x="173831" y="842602"/>
                        <a:pt x="173069" y="834696"/>
                      </a:cubicBezTo>
                      <a:cubicBezTo>
                        <a:pt x="173260" y="833363"/>
                        <a:pt x="170116" y="823838"/>
                        <a:pt x="177451" y="823838"/>
                      </a:cubicBezTo>
                      <a:cubicBezTo>
                        <a:pt x="181261" y="823457"/>
                        <a:pt x="189071" y="825362"/>
                        <a:pt x="194691" y="820218"/>
                      </a:cubicBezTo>
                      <a:cubicBezTo>
                        <a:pt x="196024" y="818599"/>
                        <a:pt x="203359" y="814313"/>
                        <a:pt x="203359" y="806979"/>
                      </a:cubicBezTo>
                      <a:cubicBezTo>
                        <a:pt x="203644" y="806026"/>
                        <a:pt x="202025" y="798025"/>
                        <a:pt x="208502" y="800121"/>
                      </a:cubicBezTo>
                      <a:cubicBezTo>
                        <a:pt x="210121" y="800978"/>
                        <a:pt x="218789" y="801740"/>
                        <a:pt x="220408" y="808884"/>
                      </a:cubicBezTo>
                      <a:cubicBezTo>
                        <a:pt x="221075" y="810312"/>
                        <a:pt x="220885" y="819266"/>
                        <a:pt x="228124" y="818694"/>
                      </a:cubicBezTo>
                      <a:cubicBezTo>
                        <a:pt x="231743" y="818980"/>
                        <a:pt x="241744" y="815551"/>
                        <a:pt x="244602" y="822504"/>
                      </a:cubicBezTo>
                      <a:cubicBezTo>
                        <a:pt x="251174" y="838316"/>
                        <a:pt x="252222" y="844221"/>
                        <a:pt x="258889" y="845650"/>
                      </a:cubicBezTo>
                      <a:cubicBezTo>
                        <a:pt x="301561" y="854699"/>
                        <a:pt x="304990" y="854032"/>
                        <a:pt x="308800" y="860223"/>
                      </a:cubicBezTo>
                      <a:cubicBezTo>
                        <a:pt x="331851" y="897466"/>
                        <a:pt x="335375" y="899847"/>
                        <a:pt x="332232" y="906515"/>
                      </a:cubicBezTo>
                      <a:close/>
                      <a:moveTo>
                        <a:pt x="412623" y="624099"/>
                      </a:moveTo>
                      <a:cubicBezTo>
                        <a:pt x="414338" y="617717"/>
                        <a:pt x="412242" y="605049"/>
                        <a:pt x="420338" y="606763"/>
                      </a:cubicBezTo>
                      <a:cubicBezTo>
                        <a:pt x="424243" y="608001"/>
                        <a:pt x="432435" y="607716"/>
                        <a:pt x="437579" y="613716"/>
                      </a:cubicBezTo>
                      <a:cubicBezTo>
                        <a:pt x="452247" y="630766"/>
                        <a:pt x="455200" y="636195"/>
                        <a:pt x="462343" y="637719"/>
                      </a:cubicBezTo>
                      <a:cubicBezTo>
                        <a:pt x="468535" y="639720"/>
                        <a:pt x="479203" y="638672"/>
                        <a:pt x="481774" y="646482"/>
                      </a:cubicBezTo>
                      <a:lnTo>
                        <a:pt x="483870" y="652864"/>
                      </a:lnTo>
                      <a:cubicBezTo>
                        <a:pt x="487871" y="664961"/>
                        <a:pt x="454914" y="648768"/>
                        <a:pt x="450247" y="660675"/>
                      </a:cubicBezTo>
                      <a:cubicBezTo>
                        <a:pt x="448627" y="663342"/>
                        <a:pt x="446532" y="675819"/>
                        <a:pt x="441865" y="669628"/>
                      </a:cubicBezTo>
                      <a:cubicBezTo>
                        <a:pt x="414338" y="632766"/>
                        <a:pt x="411480" y="631433"/>
                        <a:pt x="412432" y="624194"/>
                      </a:cubicBezTo>
                      <a:close/>
                      <a:moveTo>
                        <a:pt x="541020" y="853460"/>
                      </a:moveTo>
                      <a:cubicBezTo>
                        <a:pt x="541020" y="853460"/>
                        <a:pt x="513016" y="889846"/>
                        <a:pt x="505682" y="889465"/>
                      </a:cubicBezTo>
                      <a:cubicBezTo>
                        <a:pt x="497681" y="888036"/>
                        <a:pt x="484060" y="891180"/>
                        <a:pt x="486346" y="882988"/>
                      </a:cubicBezTo>
                      <a:cubicBezTo>
                        <a:pt x="490918" y="866414"/>
                        <a:pt x="493871" y="860890"/>
                        <a:pt x="489585" y="855366"/>
                      </a:cubicBezTo>
                      <a:cubicBezTo>
                        <a:pt x="478346" y="840888"/>
                        <a:pt x="475488" y="835363"/>
                        <a:pt x="468535" y="834125"/>
                      </a:cubicBezTo>
                      <a:cubicBezTo>
                        <a:pt x="453771" y="831553"/>
                        <a:pt x="443770" y="831077"/>
                        <a:pt x="438245" y="825743"/>
                      </a:cubicBezTo>
                      <a:cubicBezTo>
                        <a:pt x="416528" y="804597"/>
                        <a:pt x="410432" y="801263"/>
                        <a:pt x="416338" y="796977"/>
                      </a:cubicBezTo>
                      <a:cubicBezTo>
                        <a:pt x="433102" y="784785"/>
                        <a:pt x="438721" y="782404"/>
                        <a:pt x="436055" y="776118"/>
                      </a:cubicBezTo>
                      <a:cubicBezTo>
                        <a:pt x="432149" y="766783"/>
                        <a:pt x="428054" y="759734"/>
                        <a:pt x="430149" y="752876"/>
                      </a:cubicBezTo>
                      <a:cubicBezTo>
                        <a:pt x="430816" y="751734"/>
                        <a:pt x="432054" y="740780"/>
                        <a:pt x="436912" y="746209"/>
                      </a:cubicBezTo>
                      <a:cubicBezTo>
                        <a:pt x="452723" y="764211"/>
                        <a:pt x="454914" y="768307"/>
                        <a:pt x="461772" y="768688"/>
                      </a:cubicBezTo>
                      <a:cubicBezTo>
                        <a:pt x="469963" y="768212"/>
                        <a:pt x="482917" y="772974"/>
                        <a:pt x="482060" y="764592"/>
                      </a:cubicBezTo>
                      <a:cubicBezTo>
                        <a:pt x="480250" y="746780"/>
                        <a:pt x="477774" y="738303"/>
                        <a:pt x="484441" y="741161"/>
                      </a:cubicBezTo>
                      <a:lnTo>
                        <a:pt x="500729" y="748019"/>
                      </a:lnTo>
                      <a:cubicBezTo>
                        <a:pt x="511492" y="752591"/>
                        <a:pt x="495586" y="779356"/>
                        <a:pt x="503206" y="790310"/>
                      </a:cubicBezTo>
                      <a:cubicBezTo>
                        <a:pt x="541782" y="845459"/>
                        <a:pt x="545973" y="847650"/>
                        <a:pt x="541115" y="853556"/>
                      </a:cubicBezTo>
                      <a:close/>
                      <a:moveTo>
                        <a:pt x="594360" y="947949"/>
                      </a:moveTo>
                      <a:cubicBezTo>
                        <a:pt x="595027" y="945758"/>
                        <a:pt x="593979" y="936042"/>
                        <a:pt x="601408" y="935376"/>
                      </a:cubicBezTo>
                      <a:cubicBezTo>
                        <a:pt x="628364" y="933089"/>
                        <a:pt x="633317" y="931184"/>
                        <a:pt x="636746" y="937376"/>
                      </a:cubicBezTo>
                      <a:cubicBezTo>
                        <a:pt x="637508" y="939471"/>
                        <a:pt x="643223" y="945281"/>
                        <a:pt x="639032" y="951473"/>
                      </a:cubicBezTo>
                      <a:cubicBezTo>
                        <a:pt x="637413" y="953187"/>
                        <a:pt x="634365" y="961664"/>
                        <a:pt x="627221" y="960140"/>
                      </a:cubicBezTo>
                      <a:cubicBezTo>
                        <a:pt x="598456" y="954235"/>
                        <a:pt x="593407" y="954711"/>
                        <a:pt x="594360" y="947949"/>
                      </a:cubicBezTo>
                      <a:close/>
                      <a:moveTo>
                        <a:pt x="692182" y="1110636"/>
                      </a:moveTo>
                      <a:cubicBezTo>
                        <a:pt x="689515" y="1115112"/>
                        <a:pt x="687800" y="1124923"/>
                        <a:pt x="680752" y="1125495"/>
                      </a:cubicBezTo>
                      <a:cubicBezTo>
                        <a:pt x="673894" y="1126066"/>
                        <a:pt x="675132" y="1135496"/>
                        <a:pt x="667607" y="1133781"/>
                      </a:cubicBezTo>
                      <a:cubicBezTo>
                        <a:pt x="666655" y="1133400"/>
                        <a:pt x="660178" y="1133114"/>
                        <a:pt x="656749" y="1127590"/>
                      </a:cubicBezTo>
                      <a:cubicBezTo>
                        <a:pt x="652272" y="1120637"/>
                        <a:pt x="620649" y="1108349"/>
                        <a:pt x="621601" y="1108731"/>
                      </a:cubicBezTo>
                      <a:cubicBezTo>
                        <a:pt x="615791" y="1106159"/>
                        <a:pt x="620077" y="1098539"/>
                        <a:pt x="619982" y="1099491"/>
                      </a:cubicBezTo>
                      <a:cubicBezTo>
                        <a:pt x="625030" y="1088728"/>
                        <a:pt x="646366" y="1106635"/>
                        <a:pt x="644366" y="1094824"/>
                      </a:cubicBezTo>
                      <a:cubicBezTo>
                        <a:pt x="642938" y="1086442"/>
                        <a:pt x="642461" y="1080060"/>
                        <a:pt x="638651" y="1074440"/>
                      </a:cubicBezTo>
                      <a:cubicBezTo>
                        <a:pt x="636556" y="1070345"/>
                        <a:pt x="628936" y="1064058"/>
                        <a:pt x="633031" y="1057677"/>
                      </a:cubicBezTo>
                      <a:cubicBezTo>
                        <a:pt x="634555" y="1055295"/>
                        <a:pt x="637508" y="1055010"/>
                        <a:pt x="639604" y="1057200"/>
                      </a:cubicBezTo>
                      <a:lnTo>
                        <a:pt x="676465" y="1094729"/>
                      </a:lnTo>
                      <a:cubicBezTo>
                        <a:pt x="684752" y="1103111"/>
                        <a:pt x="695801" y="1102920"/>
                        <a:pt x="692277" y="1110636"/>
                      </a:cubicBezTo>
                      <a:close/>
                    </a:path>
                  </a:pathLst>
                </a:custGeom>
                <a:solidFill>
                  <a:schemeClr val="bg1">
                    <a:lumMod val="95000"/>
                  </a:schemeClr>
                </a:solidFill>
                <a:ln w="9525" cap="flat">
                  <a:noFill/>
                  <a:prstDash val="solid"/>
                  <a:miter/>
                </a:ln>
              </p:spPr>
              <p:txBody>
                <a:bodyPr rtlCol="0" anchor="ctr"/>
                <a:lstStyle/>
                <a:p>
                  <a:endParaRPr lang="en-IN"/>
                </a:p>
              </p:txBody>
            </p:sp>
          </p:grpSp>
        </p:grpSp>
        <p:sp>
          <p:nvSpPr>
            <p:cNvPr id="238" name="Freeform: Shape 237">
              <a:extLst>
                <a:ext uri="{FF2B5EF4-FFF2-40B4-BE49-F238E27FC236}">
                  <a16:creationId xmlns:a16="http://schemas.microsoft.com/office/drawing/2014/main" id="{C5FEE30C-75DE-F5D6-38BD-6DDA11406C3C}"/>
                </a:ext>
              </a:extLst>
            </p:cNvPr>
            <p:cNvSpPr/>
            <p:nvPr/>
          </p:nvSpPr>
          <p:spPr>
            <a:xfrm>
              <a:off x="6721934" y="1660283"/>
              <a:ext cx="13716" cy="15000"/>
            </a:xfrm>
            <a:custGeom>
              <a:avLst/>
              <a:gdLst>
                <a:gd name="connsiteX0" fmla="*/ 9939 w 13716"/>
                <a:gd name="connsiteY0" fmla="*/ 3963 h 15000"/>
                <a:gd name="connsiteX1" fmla="*/ 224 w 13716"/>
                <a:gd name="connsiteY1" fmla="*/ 3106 h 15000"/>
                <a:gd name="connsiteX2" fmla="*/ 33 w 13716"/>
                <a:gd name="connsiteY2" fmla="*/ 4535 h 15000"/>
                <a:gd name="connsiteX3" fmla="*/ 8129 w 13716"/>
                <a:gd name="connsiteY3" fmla="*/ 14345 h 15000"/>
                <a:gd name="connsiteX4" fmla="*/ 9939 w 13716"/>
                <a:gd name="connsiteY4" fmla="*/ 3963 h 1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 h="15000">
                  <a:moveTo>
                    <a:pt x="9939" y="3963"/>
                  </a:moveTo>
                  <a:cubicBezTo>
                    <a:pt x="8701" y="3487"/>
                    <a:pt x="890" y="-4133"/>
                    <a:pt x="224" y="3106"/>
                  </a:cubicBezTo>
                  <a:lnTo>
                    <a:pt x="33" y="4535"/>
                  </a:lnTo>
                  <a:cubicBezTo>
                    <a:pt x="-634" y="11297"/>
                    <a:pt x="9082" y="15107"/>
                    <a:pt x="8129" y="14345"/>
                  </a:cubicBezTo>
                  <a:cubicBezTo>
                    <a:pt x="14511" y="17584"/>
                    <a:pt x="15844" y="7964"/>
                    <a:pt x="9939" y="3963"/>
                  </a:cubicBezTo>
                  <a:close/>
                </a:path>
              </a:pathLst>
            </a:custGeom>
            <a:grpFill/>
            <a:ln w="9525" cap="flat">
              <a:noFill/>
              <a:prstDash val="solid"/>
              <a:miter/>
            </a:ln>
          </p:spPr>
          <p:txBody>
            <a:bodyPr rtlCol="0" anchor="ctr"/>
            <a:lstStyle/>
            <a:p>
              <a:endParaRPr lang="en-IN"/>
            </a:p>
          </p:txBody>
        </p:sp>
      </p:grpSp>
      <p:sp>
        <p:nvSpPr>
          <p:cNvPr id="264" name="Freeform: Shape 263">
            <a:extLst>
              <a:ext uri="{FF2B5EF4-FFF2-40B4-BE49-F238E27FC236}">
                <a16:creationId xmlns:a16="http://schemas.microsoft.com/office/drawing/2014/main" id="{E82991D1-15EB-24AC-105C-F5D71287F9AA}"/>
              </a:ext>
            </a:extLst>
          </p:cNvPr>
          <p:cNvSpPr/>
          <p:nvPr/>
        </p:nvSpPr>
        <p:spPr>
          <a:xfrm>
            <a:off x="6809961" y="2215446"/>
            <a:ext cx="569118" cy="355663"/>
          </a:xfrm>
          <a:custGeom>
            <a:avLst/>
            <a:gdLst>
              <a:gd name="connsiteX0" fmla="*/ 168688 w 569118"/>
              <a:gd name="connsiteY0" fmla="*/ 342995 h 355663"/>
              <a:gd name="connsiteX1" fmla="*/ 325850 w 569118"/>
              <a:gd name="connsiteY1" fmla="*/ 355663 h 355663"/>
              <a:gd name="connsiteX2" fmla="*/ 355187 w 569118"/>
              <a:gd name="connsiteY2" fmla="*/ 327850 h 355663"/>
              <a:gd name="connsiteX3" fmla="*/ 421100 w 569118"/>
              <a:gd name="connsiteY3" fmla="*/ 317563 h 355663"/>
              <a:gd name="connsiteX4" fmla="*/ 459962 w 569118"/>
              <a:gd name="connsiteY4" fmla="*/ 338995 h 355663"/>
              <a:gd name="connsiteX5" fmla="*/ 503587 w 569118"/>
              <a:gd name="connsiteY5" fmla="*/ 342138 h 355663"/>
              <a:gd name="connsiteX6" fmla="*/ 503777 w 569118"/>
              <a:gd name="connsiteY6" fmla="*/ 342138 h 355663"/>
              <a:gd name="connsiteX7" fmla="*/ 506158 w 569118"/>
              <a:gd name="connsiteY7" fmla="*/ 304800 h 355663"/>
              <a:gd name="connsiteX8" fmla="*/ 519874 w 569118"/>
              <a:gd name="connsiteY8" fmla="*/ 274891 h 355663"/>
              <a:gd name="connsiteX9" fmla="*/ 519017 w 569118"/>
              <a:gd name="connsiteY9" fmla="*/ 257651 h 355663"/>
              <a:gd name="connsiteX10" fmla="*/ 525971 w 569118"/>
              <a:gd name="connsiteY10" fmla="*/ 249460 h 355663"/>
              <a:gd name="connsiteX11" fmla="*/ 538258 w 569118"/>
              <a:gd name="connsiteY11" fmla="*/ 265366 h 355663"/>
              <a:gd name="connsiteX12" fmla="*/ 565023 w 569118"/>
              <a:gd name="connsiteY12" fmla="*/ 253937 h 355663"/>
              <a:gd name="connsiteX13" fmla="*/ 569119 w 569118"/>
              <a:gd name="connsiteY13" fmla="*/ 236887 h 355663"/>
              <a:gd name="connsiteX14" fmla="*/ 568833 w 569118"/>
              <a:gd name="connsiteY14" fmla="*/ 236601 h 355663"/>
              <a:gd name="connsiteX15" fmla="*/ 529971 w 569118"/>
              <a:gd name="connsiteY15" fmla="*/ 219932 h 355663"/>
              <a:gd name="connsiteX16" fmla="*/ 506158 w 569118"/>
              <a:gd name="connsiteY16" fmla="*/ 237649 h 355663"/>
              <a:gd name="connsiteX17" fmla="*/ 470059 w 569118"/>
              <a:gd name="connsiteY17" fmla="*/ 214884 h 355663"/>
              <a:gd name="connsiteX18" fmla="*/ 480060 w 569118"/>
              <a:gd name="connsiteY18" fmla="*/ 138874 h 355663"/>
              <a:gd name="connsiteX19" fmla="*/ 386810 w 569118"/>
              <a:gd name="connsiteY19" fmla="*/ 0 h 355663"/>
              <a:gd name="connsiteX20" fmla="*/ 359855 w 569118"/>
              <a:gd name="connsiteY20" fmla="*/ 30194 h 355663"/>
              <a:gd name="connsiteX21" fmla="*/ 309086 w 569118"/>
              <a:gd name="connsiteY21" fmla="*/ 34957 h 355663"/>
              <a:gd name="connsiteX22" fmla="*/ 286036 w 569118"/>
              <a:gd name="connsiteY22" fmla="*/ 53245 h 355663"/>
              <a:gd name="connsiteX23" fmla="*/ 259080 w 569118"/>
              <a:gd name="connsiteY23" fmla="*/ 33433 h 355663"/>
              <a:gd name="connsiteX24" fmla="*/ 158115 w 569118"/>
              <a:gd name="connsiteY24" fmla="*/ 31623 h 355663"/>
              <a:gd name="connsiteX25" fmla="*/ 142494 w 569118"/>
              <a:gd name="connsiteY25" fmla="*/ 49244 h 355663"/>
              <a:gd name="connsiteX26" fmla="*/ 119443 w 569118"/>
              <a:gd name="connsiteY26" fmla="*/ 47625 h 355663"/>
              <a:gd name="connsiteX27" fmla="*/ 52006 w 569118"/>
              <a:gd name="connsiteY27" fmla="*/ 161163 h 355663"/>
              <a:gd name="connsiteX28" fmla="*/ 0 w 569118"/>
              <a:gd name="connsiteY28" fmla="*/ 164306 h 355663"/>
              <a:gd name="connsiteX29" fmla="*/ 33718 w 569118"/>
              <a:gd name="connsiteY29" fmla="*/ 220694 h 355663"/>
              <a:gd name="connsiteX30" fmla="*/ 72580 w 569118"/>
              <a:gd name="connsiteY30" fmla="*/ 240506 h 355663"/>
              <a:gd name="connsiteX31" fmla="*/ 71818 w 569118"/>
              <a:gd name="connsiteY31" fmla="*/ 272224 h 355663"/>
              <a:gd name="connsiteX32" fmla="*/ 111538 w 569118"/>
              <a:gd name="connsiteY32" fmla="*/ 289655 h 355663"/>
              <a:gd name="connsiteX33" fmla="*/ 129826 w 569118"/>
              <a:gd name="connsiteY33" fmla="*/ 273748 h 355663"/>
              <a:gd name="connsiteX34" fmla="*/ 150495 w 569118"/>
              <a:gd name="connsiteY34" fmla="*/ 286417 h 355663"/>
              <a:gd name="connsiteX35" fmla="*/ 136970 w 569118"/>
              <a:gd name="connsiteY35" fmla="*/ 301466 h 355663"/>
              <a:gd name="connsiteX36" fmla="*/ 152876 w 569118"/>
              <a:gd name="connsiteY36" fmla="*/ 313372 h 355663"/>
              <a:gd name="connsiteX37" fmla="*/ 179070 w 569118"/>
              <a:gd name="connsiteY37" fmla="*/ 319754 h 355663"/>
              <a:gd name="connsiteX38" fmla="*/ 168783 w 569118"/>
              <a:gd name="connsiteY38" fmla="*/ 342805 h 35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69118" h="355663">
                <a:moveTo>
                  <a:pt x="168688" y="342995"/>
                </a:moveTo>
                <a:lnTo>
                  <a:pt x="325850" y="355663"/>
                </a:lnTo>
                <a:lnTo>
                  <a:pt x="355187" y="327850"/>
                </a:lnTo>
                <a:lnTo>
                  <a:pt x="421100" y="317563"/>
                </a:lnTo>
                <a:lnTo>
                  <a:pt x="459962" y="338995"/>
                </a:lnTo>
                <a:lnTo>
                  <a:pt x="503587" y="342138"/>
                </a:lnTo>
                <a:lnTo>
                  <a:pt x="503777" y="342138"/>
                </a:lnTo>
                <a:cubicBezTo>
                  <a:pt x="503777" y="342138"/>
                  <a:pt x="506158" y="304800"/>
                  <a:pt x="506158" y="304800"/>
                </a:cubicBezTo>
                <a:cubicBezTo>
                  <a:pt x="506921" y="292894"/>
                  <a:pt x="520446" y="286131"/>
                  <a:pt x="519874" y="274891"/>
                </a:cubicBezTo>
                <a:lnTo>
                  <a:pt x="519017" y="257651"/>
                </a:lnTo>
                <a:cubicBezTo>
                  <a:pt x="518731" y="251270"/>
                  <a:pt x="527018" y="248698"/>
                  <a:pt x="525971" y="249460"/>
                </a:cubicBezTo>
                <a:cubicBezTo>
                  <a:pt x="536448" y="245364"/>
                  <a:pt x="527495" y="267938"/>
                  <a:pt x="538258" y="265366"/>
                </a:cubicBezTo>
                <a:cubicBezTo>
                  <a:pt x="557879" y="260509"/>
                  <a:pt x="563404" y="260509"/>
                  <a:pt x="565023" y="253937"/>
                </a:cubicBezTo>
                <a:lnTo>
                  <a:pt x="569119" y="236887"/>
                </a:lnTo>
                <a:lnTo>
                  <a:pt x="568833" y="236601"/>
                </a:lnTo>
                <a:lnTo>
                  <a:pt x="529971" y="219932"/>
                </a:lnTo>
                <a:lnTo>
                  <a:pt x="506158" y="237649"/>
                </a:lnTo>
                <a:lnTo>
                  <a:pt x="470059" y="214884"/>
                </a:lnTo>
                <a:lnTo>
                  <a:pt x="480060" y="138874"/>
                </a:lnTo>
                <a:lnTo>
                  <a:pt x="386810" y="0"/>
                </a:lnTo>
                <a:lnTo>
                  <a:pt x="359855" y="30194"/>
                </a:lnTo>
                <a:lnTo>
                  <a:pt x="309086" y="34957"/>
                </a:lnTo>
                <a:lnTo>
                  <a:pt x="286036" y="53245"/>
                </a:lnTo>
                <a:lnTo>
                  <a:pt x="259080" y="33433"/>
                </a:lnTo>
                <a:lnTo>
                  <a:pt x="158115" y="31623"/>
                </a:lnTo>
                <a:lnTo>
                  <a:pt x="142494" y="49244"/>
                </a:lnTo>
                <a:lnTo>
                  <a:pt x="119443" y="47625"/>
                </a:lnTo>
                <a:lnTo>
                  <a:pt x="52006" y="161163"/>
                </a:lnTo>
                <a:lnTo>
                  <a:pt x="0" y="164306"/>
                </a:lnTo>
                <a:lnTo>
                  <a:pt x="33718" y="220694"/>
                </a:lnTo>
                <a:lnTo>
                  <a:pt x="72580" y="240506"/>
                </a:lnTo>
                <a:lnTo>
                  <a:pt x="71818" y="272224"/>
                </a:lnTo>
                <a:lnTo>
                  <a:pt x="111538" y="289655"/>
                </a:lnTo>
                <a:lnTo>
                  <a:pt x="129826" y="273748"/>
                </a:lnTo>
                <a:lnTo>
                  <a:pt x="150495" y="286417"/>
                </a:lnTo>
                <a:lnTo>
                  <a:pt x="136970" y="301466"/>
                </a:lnTo>
                <a:lnTo>
                  <a:pt x="152876" y="313372"/>
                </a:lnTo>
                <a:lnTo>
                  <a:pt x="179070" y="319754"/>
                </a:lnTo>
                <a:lnTo>
                  <a:pt x="168783" y="342805"/>
                </a:lnTo>
                <a:close/>
              </a:path>
            </a:pathLst>
          </a:custGeom>
          <a:solidFill>
            <a:schemeClr val="bg1">
              <a:lumMod val="95000"/>
            </a:schemeClr>
          </a:solidFill>
          <a:ln w="9525" cap="flat">
            <a:noFill/>
            <a:prstDash val="solid"/>
            <a:miter/>
          </a:ln>
        </p:spPr>
        <p:txBody>
          <a:bodyPr rtlCol="0" anchor="ctr"/>
          <a:lstStyle/>
          <a:p>
            <a:endParaRPr lang="en-IN"/>
          </a:p>
        </p:txBody>
      </p:sp>
      <p:grpSp>
        <p:nvGrpSpPr>
          <p:cNvPr id="265" name="Graphic 166">
            <a:extLst>
              <a:ext uri="{FF2B5EF4-FFF2-40B4-BE49-F238E27FC236}">
                <a16:creationId xmlns:a16="http://schemas.microsoft.com/office/drawing/2014/main" id="{48894AB2-2C27-A1D2-63C2-023760A5F7F0}"/>
              </a:ext>
            </a:extLst>
          </p:cNvPr>
          <p:cNvGrpSpPr/>
          <p:nvPr/>
        </p:nvGrpSpPr>
        <p:grpSpPr>
          <a:xfrm>
            <a:off x="3718472" y="2677599"/>
            <a:ext cx="1503671" cy="651414"/>
            <a:chOff x="3139845" y="3128810"/>
            <a:chExt cx="1503671" cy="651414"/>
          </a:xfrm>
          <a:solidFill>
            <a:schemeClr val="bg1">
              <a:lumMod val="85000"/>
            </a:schemeClr>
          </a:solidFill>
        </p:grpSpPr>
        <p:grpSp>
          <p:nvGrpSpPr>
            <p:cNvPr id="266" name="Graphic 166">
              <a:extLst>
                <a:ext uri="{FF2B5EF4-FFF2-40B4-BE49-F238E27FC236}">
                  <a16:creationId xmlns:a16="http://schemas.microsoft.com/office/drawing/2014/main" id="{E521D218-60C3-7CAB-AAC3-8BCD7D5E53A6}"/>
                </a:ext>
              </a:extLst>
            </p:cNvPr>
            <p:cNvGrpSpPr/>
            <p:nvPr/>
          </p:nvGrpSpPr>
          <p:grpSpPr>
            <a:xfrm>
              <a:off x="3977909" y="3744355"/>
              <a:ext cx="63309" cy="35869"/>
              <a:chOff x="3977909" y="3744355"/>
              <a:chExt cx="63309" cy="35869"/>
            </a:xfrm>
            <a:grpFill/>
          </p:grpSpPr>
          <p:sp>
            <p:nvSpPr>
              <p:cNvPr id="277" name="Freeform: Shape 276">
                <a:extLst>
                  <a:ext uri="{FF2B5EF4-FFF2-40B4-BE49-F238E27FC236}">
                    <a16:creationId xmlns:a16="http://schemas.microsoft.com/office/drawing/2014/main" id="{4D8A19ED-B727-EF10-69FE-C57357F1ACD5}"/>
                  </a:ext>
                </a:extLst>
              </p:cNvPr>
              <p:cNvSpPr/>
              <p:nvPr/>
            </p:nvSpPr>
            <p:spPr>
              <a:xfrm>
                <a:off x="3977909" y="3763633"/>
                <a:ext cx="31261" cy="16591"/>
              </a:xfrm>
              <a:custGeom>
                <a:avLst/>
                <a:gdLst>
                  <a:gd name="connsiteX0" fmla="*/ 30004 w 31261"/>
                  <a:gd name="connsiteY0" fmla="*/ 12972 h 16591"/>
                  <a:gd name="connsiteX1" fmla="*/ 30290 w 31261"/>
                  <a:gd name="connsiteY1" fmla="*/ 12591 h 16591"/>
                  <a:gd name="connsiteX2" fmla="*/ 28671 w 31261"/>
                  <a:gd name="connsiteY2" fmla="*/ 4590 h 16591"/>
                  <a:gd name="connsiteX3" fmla="*/ 9525 w 31261"/>
                  <a:gd name="connsiteY3" fmla="*/ 1352 h 16591"/>
                  <a:gd name="connsiteX4" fmla="*/ 1429 w 31261"/>
                  <a:gd name="connsiteY4" fmla="*/ 6876 h 16591"/>
                  <a:gd name="connsiteX5" fmla="*/ 13526 w 31261"/>
                  <a:gd name="connsiteY5" fmla="*/ 15258 h 16591"/>
                  <a:gd name="connsiteX6" fmla="*/ 30004 w 31261"/>
                  <a:gd name="connsiteY6" fmla="*/ 12972 h 16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1" h="16591">
                    <a:moveTo>
                      <a:pt x="30004" y="12972"/>
                    </a:moveTo>
                    <a:lnTo>
                      <a:pt x="30290" y="12591"/>
                    </a:lnTo>
                    <a:cubicBezTo>
                      <a:pt x="33338" y="8019"/>
                      <a:pt x="28194" y="3638"/>
                      <a:pt x="28671" y="4590"/>
                    </a:cubicBezTo>
                    <a:cubicBezTo>
                      <a:pt x="21717" y="-744"/>
                      <a:pt x="15145" y="5638"/>
                      <a:pt x="9525" y="1352"/>
                    </a:cubicBezTo>
                    <a:cubicBezTo>
                      <a:pt x="4954" y="-2172"/>
                      <a:pt x="-3333" y="1733"/>
                      <a:pt x="1429" y="6876"/>
                    </a:cubicBezTo>
                    <a:cubicBezTo>
                      <a:pt x="2382" y="7733"/>
                      <a:pt x="6477" y="14115"/>
                      <a:pt x="13526" y="15258"/>
                    </a:cubicBezTo>
                    <a:cubicBezTo>
                      <a:pt x="13526" y="15258"/>
                      <a:pt x="25718" y="19449"/>
                      <a:pt x="30004" y="12972"/>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78" name="Freeform: Shape 277">
                <a:extLst>
                  <a:ext uri="{FF2B5EF4-FFF2-40B4-BE49-F238E27FC236}">
                    <a16:creationId xmlns:a16="http://schemas.microsoft.com/office/drawing/2014/main" id="{743018D3-4D6E-5EEA-E247-039DC2951361}"/>
                  </a:ext>
                </a:extLst>
              </p:cNvPr>
              <p:cNvSpPr/>
              <p:nvPr/>
            </p:nvSpPr>
            <p:spPr>
              <a:xfrm>
                <a:off x="4026254" y="3744355"/>
                <a:ext cx="14964" cy="12152"/>
              </a:xfrm>
              <a:custGeom>
                <a:avLst/>
                <a:gdLst>
                  <a:gd name="connsiteX0" fmla="*/ 6995 w 14964"/>
                  <a:gd name="connsiteY0" fmla="*/ 437 h 12152"/>
                  <a:gd name="connsiteX1" fmla="*/ 6900 w 14964"/>
                  <a:gd name="connsiteY1" fmla="*/ 12152 h 12152"/>
                  <a:gd name="connsiteX2" fmla="*/ 8710 w 14964"/>
                  <a:gd name="connsiteY2" fmla="*/ 12152 h 12152"/>
                  <a:gd name="connsiteX3" fmla="*/ 6995 w 14964"/>
                  <a:gd name="connsiteY3" fmla="*/ 437 h 12152"/>
                </a:gdLst>
                <a:ahLst/>
                <a:cxnLst>
                  <a:cxn ang="0">
                    <a:pos x="connsiteX0" y="connsiteY0"/>
                  </a:cxn>
                  <a:cxn ang="0">
                    <a:pos x="connsiteX1" y="connsiteY1"/>
                  </a:cxn>
                  <a:cxn ang="0">
                    <a:pos x="connsiteX2" y="connsiteY2"/>
                  </a:cxn>
                  <a:cxn ang="0">
                    <a:pos x="connsiteX3" y="connsiteY3"/>
                  </a:cxn>
                </a:cxnLst>
                <a:rect l="l" t="t" r="r" b="b"/>
                <a:pathLst>
                  <a:path w="14964" h="12152">
                    <a:moveTo>
                      <a:pt x="6995" y="437"/>
                    </a:moveTo>
                    <a:cubicBezTo>
                      <a:pt x="-1387" y="3866"/>
                      <a:pt x="-3196" y="12152"/>
                      <a:pt x="6900" y="12152"/>
                    </a:cubicBezTo>
                    <a:lnTo>
                      <a:pt x="8710" y="12152"/>
                    </a:lnTo>
                    <a:cubicBezTo>
                      <a:pt x="19283" y="12152"/>
                      <a:pt x="14901" y="-2707"/>
                      <a:pt x="6995" y="437"/>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grpSp>
        <p:grpSp>
          <p:nvGrpSpPr>
            <p:cNvPr id="267" name="Graphic 166">
              <a:extLst>
                <a:ext uri="{FF2B5EF4-FFF2-40B4-BE49-F238E27FC236}">
                  <a16:creationId xmlns:a16="http://schemas.microsoft.com/office/drawing/2014/main" id="{73FC838B-4CDA-3612-A692-A0D78F0436A7}"/>
                </a:ext>
              </a:extLst>
            </p:cNvPr>
            <p:cNvGrpSpPr/>
            <p:nvPr/>
          </p:nvGrpSpPr>
          <p:grpSpPr>
            <a:xfrm>
              <a:off x="3139845" y="3317299"/>
              <a:ext cx="370945" cy="176949"/>
              <a:chOff x="3139845" y="3317299"/>
              <a:chExt cx="370945" cy="176949"/>
            </a:xfrm>
            <a:grpFill/>
          </p:grpSpPr>
          <p:sp>
            <p:nvSpPr>
              <p:cNvPr id="269" name="Freeform: Shape 268">
                <a:extLst>
                  <a:ext uri="{FF2B5EF4-FFF2-40B4-BE49-F238E27FC236}">
                    <a16:creationId xmlns:a16="http://schemas.microsoft.com/office/drawing/2014/main" id="{2D151AA7-07AB-423E-74B2-1970EE11971F}"/>
                  </a:ext>
                </a:extLst>
              </p:cNvPr>
              <p:cNvSpPr/>
              <p:nvPr/>
            </p:nvSpPr>
            <p:spPr>
              <a:xfrm>
                <a:off x="3456522" y="3420331"/>
                <a:ext cx="44785" cy="17096"/>
              </a:xfrm>
              <a:custGeom>
                <a:avLst/>
                <a:gdLst>
                  <a:gd name="connsiteX0" fmla="*/ 44089 w 44785"/>
                  <a:gd name="connsiteY0" fmla="*/ 8897 h 17096"/>
                  <a:gd name="connsiteX1" fmla="*/ 12181 w 44785"/>
                  <a:gd name="connsiteY1" fmla="*/ 2801 h 17096"/>
                  <a:gd name="connsiteX2" fmla="*/ 11514 w 44785"/>
                  <a:gd name="connsiteY2" fmla="*/ 2134 h 17096"/>
                  <a:gd name="connsiteX3" fmla="*/ 2465 w 44785"/>
                  <a:gd name="connsiteY3" fmla="*/ 801 h 17096"/>
                  <a:gd name="connsiteX4" fmla="*/ 13133 w 44785"/>
                  <a:gd name="connsiteY4" fmla="*/ 17089 h 17096"/>
                  <a:gd name="connsiteX5" fmla="*/ 44566 w 44785"/>
                  <a:gd name="connsiteY5" fmla="*/ 10326 h 17096"/>
                  <a:gd name="connsiteX6" fmla="*/ 44185 w 44785"/>
                  <a:gd name="connsiteY6" fmla="*/ 8897 h 1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85" h="17096">
                    <a:moveTo>
                      <a:pt x="44089" y="8897"/>
                    </a:moveTo>
                    <a:cubicBezTo>
                      <a:pt x="41422" y="-1866"/>
                      <a:pt x="20848" y="11469"/>
                      <a:pt x="12181" y="2801"/>
                    </a:cubicBezTo>
                    <a:lnTo>
                      <a:pt x="11514" y="2134"/>
                    </a:lnTo>
                    <a:cubicBezTo>
                      <a:pt x="7609" y="-1771"/>
                      <a:pt x="1513" y="896"/>
                      <a:pt x="2465" y="801"/>
                    </a:cubicBezTo>
                    <a:cubicBezTo>
                      <a:pt x="-4869" y="4230"/>
                      <a:pt x="5799" y="17470"/>
                      <a:pt x="13133" y="17089"/>
                    </a:cubicBezTo>
                    <a:cubicBezTo>
                      <a:pt x="38184" y="15946"/>
                      <a:pt x="46280" y="17374"/>
                      <a:pt x="44566" y="10326"/>
                    </a:cubicBezTo>
                    <a:lnTo>
                      <a:pt x="44185" y="8897"/>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70" name="Freeform: Shape 269">
                <a:extLst>
                  <a:ext uri="{FF2B5EF4-FFF2-40B4-BE49-F238E27FC236}">
                    <a16:creationId xmlns:a16="http://schemas.microsoft.com/office/drawing/2014/main" id="{1ADF44D7-79FF-DB90-E1D7-737F806A741E}"/>
                  </a:ext>
                </a:extLst>
              </p:cNvPr>
              <p:cNvSpPr/>
              <p:nvPr/>
            </p:nvSpPr>
            <p:spPr>
              <a:xfrm>
                <a:off x="3297370" y="3378481"/>
                <a:ext cx="29603" cy="14328"/>
              </a:xfrm>
              <a:custGeom>
                <a:avLst/>
                <a:gdLst>
                  <a:gd name="connsiteX0" fmla="*/ 550 w 29603"/>
                  <a:gd name="connsiteY0" fmla="*/ 4265 h 14328"/>
                  <a:gd name="connsiteX1" fmla="*/ 169 w 29603"/>
                  <a:gd name="connsiteY1" fmla="*/ 5694 h 14328"/>
                  <a:gd name="connsiteX2" fmla="*/ 4169 w 29603"/>
                  <a:gd name="connsiteY2" fmla="*/ 11599 h 14328"/>
                  <a:gd name="connsiteX3" fmla="*/ 29506 w 29603"/>
                  <a:gd name="connsiteY3" fmla="*/ 9694 h 14328"/>
                  <a:gd name="connsiteX4" fmla="*/ 23314 w 29603"/>
                  <a:gd name="connsiteY4" fmla="*/ 3217 h 14328"/>
                  <a:gd name="connsiteX5" fmla="*/ 550 w 29603"/>
                  <a:gd name="connsiteY5" fmla="*/ 4170 h 1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3" h="14328">
                    <a:moveTo>
                      <a:pt x="550" y="4265"/>
                    </a:moveTo>
                    <a:lnTo>
                      <a:pt x="169" y="5694"/>
                    </a:lnTo>
                    <a:cubicBezTo>
                      <a:pt x="-593" y="8551"/>
                      <a:pt x="1312" y="11218"/>
                      <a:pt x="4169" y="11599"/>
                    </a:cubicBezTo>
                    <a:cubicBezTo>
                      <a:pt x="16456" y="12076"/>
                      <a:pt x="30934" y="18553"/>
                      <a:pt x="29506" y="9694"/>
                    </a:cubicBezTo>
                    <a:cubicBezTo>
                      <a:pt x="28934" y="8742"/>
                      <a:pt x="28267" y="4265"/>
                      <a:pt x="23314" y="3217"/>
                    </a:cubicBezTo>
                    <a:cubicBezTo>
                      <a:pt x="13980" y="2360"/>
                      <a:pt x="2550" y="-4117"/>
                      <a:pt x="550" y="4170"/>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71" name="Freeform: Shape 270">
                <a:extLst>
                  <a:ext uri="{FF2B5EF4-FFF2-40B4-BE49-F238E27FC236}">
                    <a16:creationId xmlns:a16="http://schemas.microsoft.com/office/drawing/2014/main" id="{FA1C6711-9F04-141D-31B5-F94FE83E5E2B}"/>
                  </a:ext>
                </a:extLst>
              </p:cNvPr>
              <p:cNvSpPr/>
              <p:nvPr/>
            </p:nvSpPr>
            <p:spPr>
              <a:xfrm>
                <a:off x="3366138" y="3358429"/>
                <a:ext cx="21165" cy="15099"/>
              </a:xfrm>
              <a:custGeom>
                <a:avLst/>
                <a:gdLst>
                  <a:gd name="connsiteX0" fmla="*/ 266 w 21165"/>
                  <a:gd name="connsiteY0" fmla="*/ 5743 h 15099"/>
                  <a:gd name="connsiteX1" fmla="*/ 1600 w 21165"/>
                  <a:gd name="connsiteY1" fmla="*/ 9744 h 15099"/>
                  <a:gd name="connsiteX2" fmla="*/ 21031 w 21165"/>
                  <a:gd name="connsiteY2" fmla="*/ 9077 h 15099"/>
                  <a:gd name="connsiteX3" fmla="*/ 13411 w 21165"/>
                  <a:gd name="connsiteY3" fmla="*/ 219 h 15099"/>
                  <a:gd name="connsiteX4" fmla="*/ 266 w 21165"/>
                  <a:gd name="connsiteY4" fmla="*/ 5743 h 15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65" h="15099">
                    <a:moveTo>
                      <a:pt x="266" y="5743"/>
                    </a:moveTo>
                    <a:lnTo>
                      <a:pt x="1600" y="9744"/>
                    </a:lnTo>
                    <a:cubicBezTo>
                      <a:pt x="4076" y="17269"/>
                      <a:pt x="22936" y="16697"/>
                      <a:pt x="21031" y="9077"/>
                    </a:cubicBezTo>
                    <a:cubicBezTo>
                      <a:pt x="20554" y="8125"/>
                      <a:pt x="20269" y="-67"/>
                      <a:pt x="13411" y="219"/>
                    </a:cubicBezTo>
                    <a:cubicBezTo>
                      <a:pt x="13411" y="219"/>
                      <a:pt x="-2210" y="-1686"/>
                      <a:pt x="266" y="5743"/>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72" name="Freeform: Shape 271">
                <a:extLst>
                  <a:ext uri="{FF2B5EF4-FFF2-40B4-BE49-F238E27FC236}">
                    <a16:creationId xmlns:a16="http://schemas.microsoft.com/office/drawing/2014/main" id="{BE592D03-ACD9-7295-1E90-9FC085327AAB}"/>
                  </a:ext>
                </a:extLst>
              </p:cNvPr>
              <p:cNvSpPr/>
              <p:nvPr/>
            </p:nvSpPr>
            <p:spPr>
              <a:xfrm>
                <a:off x="3315138" y="3362382"/>
                <a:ext cx="25217" cy="15642"/>
              </a:xfrm>
              <a:custGeom>
                <a:avLst/>
                <a:gdLst>
                  <a:gd name="connsiteX0" fmla="*/ 2118 w 25217"/>
                  <a:gd name="connsiteY0" fmla="*/ 5601 h 15642"/>
                  <a:gd name="connsiteX1" fmla="*/ 24501 w 25217"/>
                  <a:gd name="connsiteY1" fmla="*/ 12745 h 15642"/>
                  <a:gd name="connsiteX2" fmla="*/ 12119 w 25217"/>
                  <a:gd name="connsiteY2" fmla="*/ 171 h 15642"/>
                  <a:gd name="connsiteX3" fmla="*/ 2022 w 25217"/>
                  <a:gd name="connsiteY3" fmla="*/ 5601 h 15642"/>
                </a:gdLst>
                <a:ahLst/>
                <a:cxnLst>
                  <a:cxn ang="0">
                    <a:pos x="connsiteX0" y="connsiteY0"/>
                  </a:cxn>
                  <a:cxn ang="0">
                    <a:pos x="connsiteX1" y="connsiteY1"/>
                  </a:cxn>
                  <a:cxn ang="0">
                    <a:pos x="connsiteX2" y="connsiteY2"/>
                  </a:cxn>
                  <a:cxn ang="0">
                    <a:pos x="connsiteX3" y="connsiteY3"/>
                  </a:cxn>
                </a:cxnLst>
                <a:rect l="l" t="t" r="r" b="b"/>
                <a:pathLst>
                  <a:path w="25217" h="15642">
                    <a:moveTo>
                      <a:pt x="2118" y="5601"/>
                    </a:moveTo>
                    <a:cubicBezTo>
                      <a:pt x="18215" y="13316"/>
                      <a:pt x="28026" y="19507"/>
                      <a:pt x="24501" y="12745"/>
                    </a:cubicBezTo>
                    <a:cubicBezTo>
                      <a:pt x="21739" y="8839"/>
                      <a:pt x="20215" y="-1448"/>
                      <a:pt x="12119" y="171"/>
                    </a:cubicBezTo>
                    <a:cubicBezTo>
                      <a:pt x="8690" y="1314"/>
                      <a:pt x="-5121" y="2172"/>
                      <a:pt x="2022" y="5601"/>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73" name="Freeform: Shape 272">
                <a:extLst>
                  <a:ext uri="{FF2B5EF4-FFF2-40B4-BE49-F238E27FC236}">
                    <a16:creationId xmlns:a16="http://schemas.microsoft.com/office/drawing/2014/main" id="{32E3F100-A7E1-DC5D-A26A-801848FF5F1A}"/>
                  </a:ext>
                </a:extLst>
              </p:cNvPr>
              <p:cNvSpPr/>
              <p:nvPr/>
            </p:nvSpPr>
            <p:spPr>
              <a:xfrm>
                <a:off x="3275293" y="3365917"/>
                <a:ext cx="14792" cy="15022"/>
              </a:xfrm>
              <a:custGeom>
                <a:avLst/>
                <a:gdLst>
                  <a:gd name="connsiteX0" fmla="*/ 1862 w 14792"/>
                  <a:gd name="connsiteY0" fmla="*/ 11305 h 15022"/>
                  <a:gd name="connsiteX1" fmla="*/ 14150 w 14792"/>
                  <a:gd name="connsiteY1" fmla="*/ 12257 h 15022"/>
                  <a:gd name="connsiteX2" fmla="*/ 12245 w 14792"/>
                  <a:gd name="connsiteY2" fmla="*/ 1780 h 15022"/>
                  <a:gd name="connsiteX3" fmla="*/ 1958 w 14792"/>
                  <a:gd name="connsiteY3" fmla="*/ 11305 h 15022"/>
                </a:gdLst>
                <a:ahLst/>
                <a:cxnLst>
                  <a:cxn ang="0">
                    <a:pos x="connsiteX0" y="connsiteY0"/>
                  </a:cxn>
                  <a:cxn ang="0">
                    <a:pos x="connsiteX1" y="connsiteY1"/>
                  </a:cxn>
                  <a:cxn ang="0">
                    <a:pos x="connsiteX2" y="connsiteY2"/>
                  </a:cxn>
                  <a:cxn ang="0">
                    <a:pos x="connsiteX3" y="connsiteY3"/>
                  </a:cxn>
                </a:cxnLst>
                <a:rect l="l" t="t" r="r" b="b"/>
                <a:pathLst>
                  <a:path w="14792" h="15022">
                    <a:moveTo>
                      <a:pt x="1862" y="11305"/>
                    </a:moveTo>
                    <a:cubicBezTo>
                      <a:pt x="3577" y="11877"/>
                      <a:pt x="11292" y="18735"/>
                      <a:pt x="14150" y="12257"/>
                    </a:cubicBezTo>
                    <a:cubicBezTo>
                      <a:pt x="16436" y="7019"/>
                      <a:pt x="11864" y="828"/>
                      <a:pt x="12245" y="1780"/>
                    </a:cubicBezTo>
                    <a:cubicBezTo>
                      <a:pt x="7768" y="-4506"/>
                      <a:pt x="-4805" y="7590"/>
                      <a:pt x="1958" y="11305"/>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74" name="Freeform: Shape 273">
                <a:extLst>
                  <a:ext uri="{FF2B5EF4-FFF2-40B4-BE49-F238E27FC236}">
                    <a16:creationId xmlns:a16="http://schemas.microsoft.com/office/drawing/2014/main" id="{D325A40D-DA00-46AD-3628-C7E3A637ABFB}"/>
                  </a:ext>
                </a:extLst>
              </p:cNvPr>
              <p:cNvSpPr/>
              <p:nvPr/>
            </p:nvSpPr>
            <p:spPr>
              <a:xfrm>
                <a:off x="3495699" y="3484082"/>
                <a:ext cx="15091" cy="10166"/>
              </a:xfrm>
              <a:custGeom>
                <a:avLst/>
                <a:gdLst>
                  <a:gd name="connsiteX0" fmla="*/ 2913 w 15091"/>
                  <a:gd name="connsiteY0" fmla="*/ 8012 h 10166"/>
                  <a:gd name="connsiteX1" fmla="*/ 14533 w 15091"/>
                  <a:gd name="connsiteY1" fmla="*/ 5916 h 10166"/>
                  <a:gd name="connsiteX2" fmla="*/ 5961 w 15091"/>
                  <a:gd name="connsiteY2" fmla="*/ 1059 h 10166"/>
                  <a:gd name="connsiteX3" fmla="*/ 2913 w 15091"/>
                  <a:gd name="connsiteY3" fmla="*/ 8012 h 10166"/>
                </a:gdLst>
                <a:ahLst/>
                <a:cxnLst>
                  <a:cxn ang="0">
                    <a:pos x="connsiteX0" y="connsiteY0"/>
                  </a:cxn>
                  <a:cxn ang="0">
                    <a:pos x="connsiteX1" y="connsiteY1"/>
                  </a:cxn>
                  <a:cxn ang="0">
                    <a:pos x="connsiteX2" y="connsiteY2"/>
                  </a:cxn>
                  <a:cxn ang="0">
                    <a:pos x="connsiteX3" y="connsiteY3"/>
                  </a:cxn>
                </a:cxnLst>
                <a:rect l="l" t="t" r="r" b="b"/>
                <a:pathLst>
                  <a:path w="15091" h="10166">
                    <a:moveTo>
                      <a:pt x="2913" y="8012"/>
                    </a:moveTo>
                    <a:cubicBezTo>
                      <a:pt x="5294" y="8202"/>
                      <a:pt x="17867" y="13917"/>
                      <a:pt x="14533" y="5916"/>
                    </a:cubicBezTo>
                    <a:cubicBezTo>
                      <a:pt x="13581" y="4869"/>
                      <a:pt x="12247" y="-2751"/>
                      <a:pt x="5961" y="1059"/>
                    </a:cubicBezTo>
                    <a:cubicBezTo>
                      <a:pt x="4913" y="2106"/>
                      <a:pt x="-4707" y="6011"/>
                      <a:pt x="2913" y="8012"/>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75" name="Freeform: Shape 274">
                <a:extLst>
                  <a:ext uri="{FF2B5EF4-FFF2-40B4-BE49-F238E27FC236}">
                    <a16:creationId xmlns:a16="http://schemas.microsoft.com/office/drawing/2014/main" id="{9A465408-7930-D79E-4D20-5ABA2F77B089}"/>
                  </a:ext>
                </a:extLst>
              </p:cNvPr>
              <p:cNvSpPr/>
              <p:nvPr/>
            </p:nvSpPr>
            <p:spPr>
              <a:xfrm>
                <a:off x="3139845" y="3317299"/>
                <a:ext cx="15091" cy="10166"/>
              </a:xfrm>
              <a:custGeom>
                <a:avLst/>
                <a:gdLst>
                  <a:gd name="connsiteX0" fmla="*/ 2913 w 15091"/>
                  <a:gd name="connsiteY0" fmla="*/ 8012 h 10166"/>
                  <a:gd name="connsiteX1" fmla="*/ 14533 w 15091"/>
                  <a:gd name="connsiteY1" fmla="*/ 5916 h 10166"/>
                  <a:gd name="connsiteX2" fmla="*/ 5961 w 15091"/>
                  <a:gd name="connsiteY2" fmla="*/ 1059 h 10166"/>
                  <a:gd name="connsiteX3" fmla="*/ 2913 w 15091"/>
                  <a:gd name="connsiteY3" fmla="*/ 8012 h 10166"/>
                </a:gdLst>
                <a:ahLst/>
                <a:cxnLst>
                  <a:cxn ang="0">
                    <a:pos x="connsiteX0" y="connsiteY0"/>
                  </a:cxn>
                  <a:cxn ang="0">
                    <a:pos x="connsiteX1" y="connsiteY1"/>
                  </a:cxn>
                  <a:cxn ang="0">
                    <a:pos x="connsiteX2" y="connsiteY2"/>
                  </a:cxn>
                  <a:cxn ang="0">
                    <a:pos x="connsiteX3" y="connsiteY3"/>
                  </a:cxn>
                </a:cxnLst>
                <a:rect l="l" t="t" r="r" b="b"/>
                <a:pathLst>
                  <a:path w="15091" h="10166">
                    <a:moveTo>
                      <a:pt x="2913" y="8012"/>
                    </a:moveTo>
                    <a:cubicBezTo>
                      <a:pt x="5294" y="8202"/>
                      <a:pt x="17867" y="13917"/>
                      <a:pt x="14533" y="5916"/>
                    </a:cubicBezTo>
                    <a:cubicBezTo>
                      <a:pt x="13581" y="4869"/>
                      <a:pt x="12247" y="-2751"/>
                      <a:pt x="5961" y="1059"/>
                    </a:cubicBezTo>
                    <a:cubicBezTo>
                      <a:pt x="4913" y="2106"/>
                      <a:pt x="-4707" y="6012"/>
                      <a:pt x="2913" y="8012"/>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276" name="Freeform: Shape 275">
                <a:extLst>
                  <a:ext uri="{FF2B5EF4-FFF2-40B4-BE49-F238E27FC236}">
                    <a16:creationId xmlns:a16="http://schemas.microsoft.com/office/drawing/2014/main" id="{7D25B234-0587-21F6-510E-FF3CA02ED857}"/>
                  </a:ext>
                </a:extLst>
              </p:cNvPr>
              <p:cNvSpPr/>
              <p:nvPr/>
            </p:nvSpPr>
            <p:spPr>
              <a:xfrm>
                <a:off x="3330345" y="3342254"/>
                <a:ext cx="15091" cy="10166"/>
              </a:xfrm>
              <a:custGeom>
                <a:avLst/>
                <a:gdLst>
                  <a:gd name="connsiteX0" fmla="*/ 2913 w 15091"/>
                  <a:gd name="connsiteY0" fmla="*/ 8012 h 10166"/>
                  <a:gd name="connsiteX1" fmla="*/ 14533 w 15091"/>
                  <a:gd name="connsiteY1" fmla="*/ 5916 h 10166"/>
                  <a:gd name="connsiteX2" fmla="*/ 5961 w 15091"/>
                  <a:gd name="connsiteY2" fmla="*/ 1059 h 10166"/>
                  <a:gd name="connsiteX3" fmla="*/ 2913 w 15091"/>
                  <a:gd name="connsiteY3" fmla="*/ 8012 h 10166"/>
                </a:gdLst>
                <a:ahLst/>
                <a:cxnLst>
                  <a:cxn ang="0">
                    <a:pos x="connsiteX0" y="connsiteY0"/>
                  </a:cxn>
                  <a:cxn ang="0">
                    <a:pos x="connsiteX1" y="connsiteY1"/>
                  </a:cxn>
                  <a:cxn ang="0">
                    <a:pos x="connsiteX2" y="connsiteY2"/>
                  </a:cxn>
                  <a:cxn ang="0">
                    <a:pos x="connsiteX3" y="connsiteY3"/>
                  </a:cxn>
                </a:cxnLst>
                <a:rect l="l" t="t" r="r" b="b"/>
                <a:pathLst>
                  <a:path w="15091" h="10166">
                    <a:moveTo>
                      <a:pt x="2913" y="8012"/>
                    </a:moveTo>
                    <a:cubicBezTo>
                      <a:pt x="5294" y="8202"/>
                      <a:pt x="17867" y="13917"/>
                      <a:pt x="14533" y="5916"/>
                    </a:cubicBezTo>
                    <a:cubicBezTo>
                      <a:pt x="13581" y="4869"/>
                      <a:pt x="12247" y="-2752"/>
                      <a:pt x="5961" y="1059"/>
                    </a:cubicBezTo>
                    <a:cubicBezTo>
                      <a:pt x="4913" y="2106"/>
                      <a:pt x="-4707" y="6012"/>
                      <a:pt x="2913" y="8012"/>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grpSp>
        <p:sp>
          <p:nvSpPr>
            <p:cNvPr id="268" name="Freeform: Shape 267">
              <a:extLst>
                <a:ext uri="{FF2B5EF4-FFF2-40B4-BE49-F238E27FC236}">
                  <a16:creationId xmlns:a16="http://schemas.microsoft.com/office/drawing/2014/main" id="{1B9DBFE1-A4CE-D0E8-BB98-73443C0E253F}"/>
                </a:ext>
              </a:extLst>
            </p:cNvPr>
            <p:cNvSpPr/>
            <p:nvPr/>
          </p:nvSpPr>
          <p:spPr>
            <a:xfrm>
              <a:off x="4446144" y="3128810"/>
              <a:ext cx="197371" cy="359260"/>
            </a:xfrm>
            <a:custGeom>
              <a:avLst/>
              <a:gdLst>
                <a:gd name="connsiteX0" fmla="*/ 144984 w 197371"/>
                <a:gd name="connsiteY0" fmla="*/ 297561 h 359260"/>
                <a:gd name="connsiteX1" fmla="*/ 152128 w 197371"/>
                <a:gd name="connsiteY1" fmla="*/ 282130 h 359260"/>
                <a:gd name="connsiteX2" fmla="*/ 128316 w 197371"/>
                <a:gd name="connsiteY2" fmla="*/ 260699 h 359260"/>
                <a:gd name="connsiteX3" fmla="*/ 147366 w 197371"/>
                <a:gd name="connsiteY3" fmla="*/ 222599 h 359260"/>
                <a:gd name="connsiteX4" fmla="*/ 118791 w 197371"/>
                <a:gd name="connsiteY4" fmla="*/ 179737 h 359260"/>
                <a:gd name="connsiteX5" fmla="*/ 150985 w 197371"/>
                <a:gd name="connsiteY5" fmla="*/ 174974 h 359260"/>
                <a:gd name="connsiteX6" fmla="*/ 156891 w 197371"/>
                <a:gd name="connsiteY6" fmla="*/ 83344 h 359260"/>
                <a:gd name="connsiteX7" fmla="*/ 197372 w 197371"/>
                <a:gd name="connsiteY7" fmla="*/ 44101 h 359260"/>
                <a:gd name="connsiteX8" fmla="*/ 172416 w 197371"/>
                <a:gd name="connsiteY8" fmla="*/ 11906 h 359260"/>
                <a:gd name="connsiteX9" fmla="*/ 87834 w 197371"/>
                <a:gd name="connsiteY9" fmla="*/ 26194 h 359260"/>
                <a:gd name="connsiteX10" fmla="*/ 79452 w 197371"/>
                <a:gd name="connsiteY10" fmla="*/ 0 h 359260"/>
                <a:gd name="connsiteX11" fmla="*/ 37923 w 197371"/>
                <a:gd name="connsiteY11" fmla="*/ 19812 h 359260"/>
                <a:gd name="connsiteX12" fmla="*/ 47067 w 197371"/>
                <a:gd name="connsiteY12" fmla="*/ 76200 h 359260"/>
                <a:gd name="connsiteX13" fmla="*/ 35161 w 197371"/>
                <a:gd name="connsiteY13" fmla="*/ 143732 h 359260"/>
                <a:gd name="connsiteX14" fmla="*/ 14682 w 197371"/>
                <a:gd name="connsiteY14" fmla="*/ 188119 h 359260"/>
                <a:gd name="connsiteX15" fmla="*/ 4872 w 197371"/>
                <a:gd name="connsiteY15" fmla="*/ 201263 h 359260"/>
                <a:gd name="connsiteX16" fmla="*/ 4491 w 197371"/>
                <a:gd name="connsiteY16" fmla="*/ 241363 h 359260"/>
                <a:gd name="connsiteX17" fmla="*/ 13920 w 197371"/>
                <a:gd name="connsiteY17" fmla="*/ 247079 h 359260"/>
                <a:gd name="connsiteX18" fmla="*/ 16873 w 197371"/>
                <a:gd name="connsiteY18" fmla="*/ 261938 h 359260"/>
                <a:gd name="connsiteX19" fmla="*/ 39543 w 197371"/>
                <a:gd name="connsiteY19" fmla="*/ 263176 h 359260"/>
                <a:gd name="connsiteX20" fmla="*/ 37638 w 197371"/>
                <a:gd name="connsiteY20" fmla="*/ 328327 h 359260"/>
                <a:gd name="connsiteX21" fmla="*/ 36399 w 197371"/>
                <a:gd name="connsiteY21" fmla="*/ 357854 h 359260"/>
                <a:gd name="connsiteX22" fmla="*/ 58021 w 197371"/>
                <a:gd name="connsiteY22" fmla="*/ 353378 h 359260"/>
                <a:gd name="connsiteX23" fmla="*/ 100693 w 197371"/>
                <a:gd name="connsiteY23" fmla="*/ 357283 h 359260"/>
                <a:gd name="connsiteX24" fmla="*/ 119362 w 197371"/>
                <a:gd name="connsiteY24" fmla="*/ 348520 h 359260"/>
                <a:gd name="connsiteX25" fmla="*/ 123648 w 197371"/>
                <a:gd name="connsiteY25" fmla="*/ 348234 h 359260"/>
                <a:gd name="connsiteX26" fmla="*/ 122315 w 197371"/>
                <a:gd name="connsiteY26" fmla="*/ 312611 h 359260"/>
                <a:gd name="connsiteX27" fmla="*/ 144984 w 197371"/>
                <a:gd name="connsiteY27" fmla="*/ 297752 h 359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7371" h="359260">
                  <a:moveTo>
                    <a:pt x="144984" y="297561"/>
                  </a:moveTo>
                  <a:lnTo>
                    <a:pt x="152128" y="282130"/>
                  </a:lnTo>
                  <a:lnTo>
                    <a:pt x="128316" y="260699"/>
                  </a:lnTo>
                  <a:lnTo>
                    <a:pt x="147366" y="222599"/>
                  </a:lnTo>
                  <a:lnTo>
                    <a:pt x="118791" y="179737"/>
                  </a:lnTo>
                  <a:lnTo>
                    <a:pt x="150985" y="174974"/>
                  </a:lnTo>
                  <a:lnTo>
                    <a:pt x="156891" y="83344"/>
                  </a:lnTo>
                  <a:lnTo>
                    <a:pt x="197372" y="44101"/>
                  </a:lnTo>
                  <a:lnTo>
                    <a:pt x="172416" y="11906"/>
                  </a:lnTo>
                  <a:lnTo>
                    <a:pt x="87834" y="26194"/>
                  </a:lnTo>
                  <a:lnTo>
                    <a:pt x="79452" y="0"/>
                  </a:lnTo>
                  <a:lnTo>
                    <a:pt x="37923" y="19812"/>
                  </a:lnTo>
                  <a:cubicBezTo>
                    <a:pt x="47639" y="69247"/>
                    <a:pt x="48115" y="69533"/>
                    <a:pt x="47067" y="76200"/>
                  </a:cubicBezTo>
                  <a:cubicBezTo>
                    <a:pt x="37733" y="135827"/>
                    <a:pt x="37828" y="137160"/>
                    <a:pt x="35161" y="143732"/>
                  </a:cubicBezTo>
                  <a:cubicBezTo>
                    <a:pt x="21540" y="177451"/>
                    <a:pt x="20397" y="183166"/>
                    <a:pt x="14682" y="188119"/>
                  </a:cubicBezTo>
                  <a:cubicBezTo>
                    <a:pt x="13254" y="189738"/>
                    <a:pt x="5919" y="193929"/>
                    <a:pt x="4872" y="201263"/>
                  </a:cubicBezTo>
                  <a:cubicBezTo>
                    <a:pt x="-81" y="235363"/>
                    <a:pt x="-2844" y="241078"/>
                    <a:pt x="4491" y="241363"/>
                  </a:cubicBezTo>
                  <a:cubicBezTo>
                    <a:pt x="5443" y="241649"/>
                    <a:pt x="13254" y="240221"/>
                    <a:pt x="13920" y="247079"/>
                  </a:cubicBezTo>
                  <a:cubicBezTo>
                    <a:pt x="13920" y="247079"/>
                    <a:pt x="15730" y="263747"/>
                    <a:pt x="16873" y="261938"/>
                  </a:cubicBezTo>
                  <a:cubicBezTo>
                    <a:pt x="17540" y="260985"/>
                    <a:pt x="39543" y="253651"/>
                    <a:pt x="39543" y="263176"/>
                  </a:cubicBezTo>
                  <a:cubicBezTo>
                    <a:pt x="39543" y="319469"/>
                    <a:pt x="40305" y="321373"/>
                    <a:pt x="37638" y="328327"/>
                  </a:cubicBezTo>
                  <a:cubicBezTo>
                    <a:pt x="35828" y="335661"/>
                    <a:pt x="19731" y="363474"/>
                    <a:pt x="36399" y="357854"/>
                  </a:cubicBezTo>
                  <a:cubicBezTo>
                    <a:pt x="44496" y="355187"/>
                    <a:pt x="51068" y="352139"/>
                    <a:pt x="58021" y="353378"/>
                  </a:cubicBezTo>
                  <a:cubicBezTo>
                    <a:pt x="90597" y="359188"/>
                    <a:pt x="94597" y="361093"/>
                    <a:pt x="100693" y="357283"/>
                  </a:cubicBezTo>
                  <a:cubicBezTo>
                    <a:pt x="106884" y="353378"/>
                    <a:pt x="112409" y="348996"/>
                    <a:pt x="119362" y="348520"/>
                  </a:cubicBezTo>
                  <a:cubicBezTo>
                    <a:pt x="120981" y="348425"/>
                    <a:pt x="122220" y="348329"/>
                    <a:pt x="123648" y="348234"/>
                  </a:cubicBezTo>
                  <a:lnTo>
                    <a:pt x="122315" y="312611"/>
                  </a:lnTo>
                  <a:lnTo>
                    <a:pt x="144984" y="297752"/>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grpSp>
      <p:sp>
        <p:nvSpPr>
          <p:cNvPr id="279" name="Freeform: Shape 278">
            <a:extLst>
              <a:ext uri="{FF2B5EF4-FFF2-40B4-BE49-F238E27FC236}">
                <a16:creationId xmlns:a16="http://schemas.microsoft.com/office/drawing/2014/main" id="{2877E817-AE42-D830-E38F-53E5E340D25F}"/>
              </a:ext>
            </a:extLst>
          </p:cNvPr>
          <p:cNvSpPr/>
          <p:nvPr/>
        </p:nvSpPr>
        <p:spPr>
          <a:xfrm>
            <a:off x="6435593" y="1699070"/>
            <a:ext cx="610397" cy="466274"/>
          </a:xfrm>
          <a:custGeom>
            <a:avLst/>
            <a:gdLst>
              <a:gd name="connsiteX0" fmla="*/ 574012 w 610397"/>
              <a:gd name="connsiteY0" fmla="*/ 271202 h 466274"/>
              <a:gd name="connsiteX1" fmla="*/ 578013 w 610397"/>
              <a:gd name="connsiteY1" fmla="*/ 225197 h 466274"/>
              <a:gd name="connsiteX2" fmla="*/ 548676 w 610397"/>
              <a:gd name="connsiteY2" fmla="*/ 211671 h 466274"/>
              <a:gd name="connsiteX3" fmla="*/ 562201 w 610397"/>
              <a:gd name="connsiteY3" fmla="*/ 187858 h 466274"/>
              <a:gd name="connsiteX4" fmla="*/ 593919 w 610397"/>
              <a:gd name="connsiteY4" fmla="*/ 174333 h 466274"/>
              <a:gd name="connsiteX5" fmla="*/ 593919 w 610397"/>
              <a:gd name="connsiteY5" fmla="*/ 136995 h 466274"/>
              <a:gd name="connsiteX6" fmla="*/ 567726 w 610397"/>
              <a:gd name="connsiteY6" fmla="*/ 57652 h 466274"/>
              <a:gd name="connsiteX7" fmla="*/ 539151 w 610397"/>
              <a:gd name="connsiteY7" fmla="*/ 35458 h 466274"/>
              <a:gd name="connsiteX8" fmla="*/ 517719 w 610397"/>
              <a:gd name="connsiteY8" fmla="*/ 44222 h 466274"/>
              <a:gd name="connsiteX9" fmla="*/ 349794 w 610397"/>
              <a:gd name="connsiteY9" fmla="*/ 33268 h 466274"/>
              <a:gd name="connsiteX10" fmla="*/ 320076 w 610397"/>
              <a:gd name="connsiteY10" fmla="*/ 50508 h 466274"/>
              <a:gd name="connsiteX11" fmla="*/ 328458 w 610397"/>
              <a:gd name="connsiteY11" fmla="*/ 38126 h 466274"/>
              <a:gd name="connsiteX12" fmla="*/ 272927 w 610397"/>
              <a:gd name="connsiteY12" fmla="*/ 29267 h 466274"/>
              <a:gd name="connsiteX13" fmla="*/ 270736 w 610397"/>
              <a:gd name="connsiteY13" fmla="*/ 13646 h 466274"/>
              <a:gd name="connsiteX14" fmla="*/ 288167 w 610397"/>
              <a:gd name="connsiteY14" fmla="*/ 18123 h 466274"/>
              <a:gd name="connsiteX15" fmla="*/ 256449 w 610397"/>
              <a:gd name="connsiteY15" fmla="*/ 26 h 466274"/>
              <a:gd name="connsiteX16" fmla="*/ 200156 w 610397"/>
              <a:gd name="connsiteY16" fmla="*/ 7646 h 466274"/>
              <a:gd name="connsiteX17" fmla="*/ 176915 w 610397"/>
              <a:gd name="connsiteY17" fmla="*/ 19933 h 466274"/>
              <a:gd name="connsiteX18" fmla="*/ 150150 w 610397"/>
              <a:gd name="connsiteY18" fmla="*/ 27934 h 466274"/>
              <a:gd name="connsiteX19" fmla="*/ 131385 w 610397"/>
              <a:gd name="connsiteY19" fmla="*/ 47841 h 466274"/>
              <a:gd name="connsiteX20" fmla="*/ 112431 w 610397"/>
              <a:gd name="connsiteY20" fmla="*/ 51461 h 466274"/>
              <a:gd name="connsiteX21" fmla="*/ 22038 w 610397"/>
              <a:gd name="connsiteY21" fmla="*/ 74987 h 466274"/>
              <a:gd name="connsiteX22" fmla="*/ 22038 w 610397"/>
              <a:gd name="connsiteY22" fmla="*/ 74987 h 466274"/>
              <a:gd name="connsiteX23" fmla="*/ 22038 w 610397"/>
              <a:gd name="connsiteY23" fmla="*/ 74987 h 466274"/>
              <a:gd name="connsiteX24" fmla="*/ 6322 w 610397"/>
              <a:gd name="connsiteY24" fmla="*/ 70415 h 466274"/>
              <a:gd name="connsiteX25" fmla="*/ 131 w 610397"/>
              <a:gd name="connsiteY25" fmla="*/ 74892 h 466274"/>
              <a:gd name="connsiteX26" fmla="*/ 23753 w 610397"/>
              <a:gd name="connsiteY26" fmla="*/ 84798 h 466274"/>
              <a:gd name="connsiteX27" fmla="*/ 40802 w 610397"/>
              <a:gd name="connsiteY27" fmla="*/ 82988 h 466274"/>
              <a:gd name="connsiteX28" fmla="*/ 25658 w 610397"/>
              <a:gd name="connsiteY28" fmla="*/ 97562 h 466274"/>
              <a:gd name="connsiteX29" fmla="*/ 15561 w 610397"/>
              <a:gd name="connsiteY29" fmla="*/ 94990 h 466274"/>
              <a:gd name="connsiteX30" fmla="*/ 15561 w 610397"/>
              <a:gd name="connsiteY30" fmla="*/ 94990 h 466274"/>
              <a:gd name="connsiteX31" fmla="*/ 24610 w 610397"/>
              <a:gd name="connsiteY31" fmla="*/ 129470 h 466274"/>
              <a:gd name="connsiteX32" fmla="*/ 11942 w 610397"/>
              <a:gd name="connsiteY32" fmla="*/ 164046 h 466274"/>
              <a:gd name="connsiteX33" fmla="*/ 39374 w 610397"/>
              <a:gd name="connsiteY33" fmla="*/ 189002 h 466274"/>
              <a:gd name="connsiteX34" fmla="*/ 38231 w 610397"/>
              <a:gd name="connsiteY34" fmla="*/ 252057 h 466274"/>
              <a:gd name="connsiteX35" fmla="*/ 58424 w 610397"/>
              <a:gd name="connsiteY35" fmla="*/ 280632 h 466274"/>
              <a:gd name="connsiteX36" fmla="*/ 58424 w 610397"/>
              <a:gd name="connsiteY36" fmla="*/ 304540 h 466274"/>
              <a:gd name="connsiteX37" fmla="*/ 78236 w 610397"/>
              <a:gd name="connsiteY37" fmla="*/ 306064 h 466274"/>
              <a:gd name="connsiteX38" fmla="*/ 86142 w 610397"/>
              <a:gd name="connsiteY38" fmla="*/ 328257 h 466274"/>
              <a:gd name="connsiteX39" fmla="*/ 144911 w 610397"/>
              <a:gd name="connsiteY39" fmla="*/ 340163 h 466274"/>
              <a:gd name="connsiteX40" fmla="*/ 132243 w 610397"/>
              <a:gd name="connsiteY40" fmla="*/ 357594 h 466274"/>
              <a:gd name="connsiteX41" fmla="*/ 160056 w 610397"/>
              <a:gd name="connsiteY41" fmla="*/ 383788 h 466274"/>
              <a:gd name="connsiteX42" fmla="*/ 178344 w 610397"/>
              <a:gd name="connsiteY42" fmla="*/ 372644 h 466274"/>
              <a:gd name="connsiteX43" fmla="*/ 177582 w 610397"/>
              <a:gd name="connsiteY43" fmla="*/ 355975 h 466274"/>
              <a:gd name="connsiteX44" fmla="*/ 227588 w 610397"/>
              <a:gd name="connsiteY44" fmla="*/ 367881 h 466274"/>
              <a:gd name="connsiteX45" fmla="*/ 218063 w 610397"/>
              <a:gd name="connsiteY45" fmla="*/ 386931 h 466274"/>
              <a:gd name="connsiteX46" fmla="*/ 271212 w 610397"/>
              <a:gd name="connsiteY46" fmla="*/ 395694 h 466274"/>
              <a:gd name="connsiteX47" fmla="*/ 288643 w 610397"/>
              <a:gd name="connsiteY47" fmla="*/ 426650 h 466274"/>
              <a:gd name="connsiteX48" fmla="*/ 310074 w 610397"/>
              <a:gd name="connsiteY48" fmla="*/ 441605 h 466274"/>
              <a:gd name="connsiteX49" fmla="*/ 327219 w 610397"/>
              <a:gd name="connsiteY49" fmla="*/ 421602 h 466274"/>
              <a:gd name="connsiteX50" fmla="*/ 346841 w 610397"/>
              <a:gd name="connsiteY50" fmla="*/ 432651 h 466274"/>
              <a:gd name="connsiteX51" fmla="*/ 345888 w 610397"/>
              <a:gd name="connsiteY51" fmla="*/ 451034 h 466274"/>
              <a:gd name="connsiteX52" fmla="*/ 365224 w 610397"/>
              <a:gd name="connsiteY52" fmla="*/ 452654 h 466274"/>
              <a:gd name="connsiteX53" fmla="*/ 376654 w 610397"/>
              <a:gd name="connsiteY53" fmla="*/ 438747 h 466274"/>
              <a:gd name="connsiteX54" fmla="*/ 400752 w 610397"/>
              <a:gd name="connsiteY54" fmla="*/ 436175 h 466274"/>
              <a:gd name="connsiteX55" fmla="*/ 415992 w 610397"/>
              <a:gd name="connsiteY55" fmla="*/ 445033 h 466274"/>
              <a:gd name="connsiteX56" fmla="*/ 434661 w 610397"/>
              <a:gd name="connsiteY56" fmla="*/ 433318 h 466274"/>
              <a:gd name="connsiteX57" fmla="*/ 477143 w 610397"/>
              <a:gd name="connsiteY57" fmla="*/ 440652 h 466274"/>
              <a:gd name="connsiteX58" fmla="*/ 485430 w 610397"/>
              <a:gd name="connsiteY58" fmla="*/ 452654 h 466274"/>
              <a:gd name="connsiteX59" fmla="*/ 514576 w 610397"/>
              <a:gd name="connsiteY59" fmla="*/ 461512 h 466274"/>
              <a:gd name="connsiteX60" fmla="*/ 536579 w 610397"/>
              <a:gd name="connsiteY60" fmla="*/ 466274 h 466274"/>
              <a:gd name="connsiteX61" fmla="*/ 521720 w 610397"/>
              <a:gd name="connsiteY61" fmla="*/ 425222 h 466274"/>
              <a:gd name="connsiteX62" fmla="*/ 581251 w 610397"/>
              <a:gd name="connsiteY62" fmla="*/ 358547 h 466274"/>
              <a:gd name="connsiteX63" fmla="*/ 600301 w 610397"/>
              <a:gd name="connsiteY63" fmla="*/ 361499 h 466274"/>
              <a:gd name="connsiteX64" fmla="*/ 610398 w 610397"/>
              <a:gd name="connsiteY64" fmla="*/ 344831 h 466274"/>
              <a:gd name="connsiteX65" fmla="*/ 574488 w 610397"/>
              <a:gd name="connsiteY65" fmla="*/ 271012 h 466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10397" h="466274">
                <a:moveTo>
                  <a:pt x="574012" y="271202"/>
                </a:moveTo>
                <a:lnTo>
                  <a:pt x="578013" y="225197"/>
                </a:lnTo>
                <a:lnTo>
                  <a:pt x="548676" y="211671"/>
                </a:lnTo>
                <a:lnTo>
                  <a:pt x="562201" y="187858"/>
                </a:lnTo>
                <a:lnTo>
                  <a:pt x="593919" y="174333"/>
                </a:lnTo>
                <a:lnTo>
                  <a:pt x="593919" y="136995"/>
                </a:lnTo>
                <a:lnTo>
                  <a:pt x="567726" y="57652"/>
                </a:lnTo>
                <a:lnTo>
                  <a:pt x="539151" y="35458"/>
                </a:lnTo>
                <a:lnTo>
                  <a:pt x="517719" y="44222"/>
                </a:lnTo>
                <a:lnTo>
                  <a:pt x="349794" y="33268"/>
                </a:lnTo>
                <a:cubicBezTo>
                  <a:pt x="328172" y="49556"/>
                  <a:pt x="324457" y="53270"/>
                  <a:pt x="320076" y="50508"/>
                </a:cubicBezTo>
                <a:cubicBezTo>
                  <a:pt x="314646" y="47079"/>
                  <a:pt x="329315" y="37173"/>
                  <a:pt x="328458" y="38126"/>
                </a:cubicBezTo>
                <a:cubicBezTo>
                  <a:pt x="339411" y="28791"/>
                  <a:pt x="283214" y="56318"/>
                  <a:pt x="272927" y="29267"/>
                </a:cubicBezTo>
                <a:cubicBezTo>
                  <a:pt x="271308" y="23552"/>
                  <a:pt x="263307" y="9646"/>
                  <a:pt x="270736" y="13646"/>
                </a:cubicBezTo>
                <a:cubicBezTo>
                  <a:pt x="277594" y="16504"/>
                  <a:pt x="289310" y="26219"/>
                  <a:pt x="288167" y="18123"/>
                </a:cubicBezTo>
                <a:cubicBezTo>
                  <a:pt x="286833" y="8503"/>
                  <a:pt x="262354" y="-546"/>
                  <a:pt x="256449" y="26"/>
                </a:cubicBezTo>
                <a:cubicBezTo>
                  <a:pt x="209586" y="4693"/>
                  <a:pt x="206633" y="4216"/>
                  <a:pt x="200156" y="7646"/>
                </a:cubicBezTo>
                <a:lnTo>
                  <a:pt x="176915" y="19933"/>
                </a:lnTo>
                <a:cubicBezTo>
                  <a:pt x="166628" y="25267"/>
                  <a:pt x="156912" y="20885"/>
                  <a:pt x="150150" y="27934"/>
                </a:cubicBezTo>
                <a:lnTo>
                  <a:pt x="131385" y="47841"/>
                </a:lnTo>
                <a:cubicBezTo>
                  <a:pt x="125956" y="53556"/>
                  <a:pt x="111478" y="51556"/>
                  <a:pt x="112431" y="51461"/>
                </a:cubicBezTo>
                <a:cubicBezTo>
                  <a:pt x="103858" y="51270"/>
                  <a:pt x="26706" y="73558"/>
                  <a:pt x="22038" y="74987"/>
                </a:cubicBezTo>
                <a:cubicBezTo>
                  <a:pt x="22038" y="74987"/>
                  <a:pt x="22038" y="74987"/>
                  <a:pt x="22038" y="74987"/>
                </a:cubicBezTo>
                <a:cubicBezTo>
                  <a:pt x="22038" y="74987"/>
                  <a:pt x="22038" y="74987"/>
                  <a:pt x="22038" y="74987"/>
                </a:cubicBezTo>
                <a:cubicBezTo>
                  <a:pt x="14894" y="76988"/>
                  <a:pt x="5369" y="69939"/>
                  <a:pt x="6322" y="70415"/>
                </a:cubicBezTo>
                <a:cubicBezTo>
                  <a:pt x="893" y="67272"/>
                  <a:pt x="-441" y="75845"/>
                  <a:pt x="131" y="74892"/>
                </a:cubicBezTo>
                <a:cubicBezTo>
                  <a:pt x="-1774" y="83655"/>
                  <a:pt x="17657" y="86703"/>
                  <a:pt x="23753" y="84798"/>
                </a:cubicBezTo>
                <a:cubicBezTo>
                  <a:pt x="35469" y="80988"/>
                  <a:pt x="44613" y="76892"/>
                  <a:pt x="40802" y="82988"/>
                </a:cubicBezTo>
                <a:cubicBezTo>
                  <a:pt x="36516" y="88322"/>
                  <a:pt x="33754" y="99657"/>
                  <a:pt x="25658" y="97562"/>
                </a:cubicBezTo>
                <a:cubicBezTo>
                  <a:pt x="21752" y="96609"/>
                  <a:pt x="18514" y="95752"/>
                  <a:pt x="15561" y="94990"/>
                </a:cubicBezTo>
                <a:lnTo>
                  <a:pt x="15561" y="94990"/>
                </a:lnTo>
                <a:cubicBezTo>
                  <a:pt x="15561" y="94990"/>
                  <a:pt x="24610" y="129470"/>
                  <a:pt x="24610" y="129470"/>
                </a:cubicBezTo>
                <a:lnTo>
                  <a:pt x="11942" y="164046"/>
                </a:lnTo>
                <a:lnTo>
                  <a:pt x="39374" y="189002"/>
                </a:lnTo>
                <a:lnTo>
                  <a:pt x="38231" y="252057"/>
                </a:lnTo>
                <a:lnTo>
                  <a:pt x="58424" y="280632"/>
                </a:lnTo>
                <a:lnTo>
                  <a:pt x="58424" y="304540"/>
                </a:lnTo>
                <a:lnTo>
                  <a:pt x="78236" y="306064"/>
                </a:lnTo>
                <a:lnTo>
                  <a:pt x="86142" y="328257"/>
                </a:lnTo>
                <a:lnTo>
                  <a:pt x="144911" y="340163"/>
                </a:lnTo>
                <a:lnTo>
                  <a:pt x="132243" y="357594"/>
                </a:lnTo>
                <a:lnTo>
                  <a:pt x="160056" y="383788"/>
                </a:lnTo>
                <a:lnTo>
                  <a:pt x="178344" y="372644"/>
                </a:lnTo>
                <a:lnTo>
                  <a:pt x="177582" y="355975"/>
                </a:lnTo>
                <a:lnTo>
                  <a:pt x="227588" y="367881"/>
                </a:lnTo>
                <a:lnTo>
                  <a:pt x="218063" y="386931"/>
                </a:lnTo>
                <a:lnTo>
                  <a:pt x="271212" y="395694"/>
                </a:lnTo>
                <a:lnTo>
                  <a:pt x="288643" y="426650"/>
                </a:lnTo>
                <a:lnTo>
                  <a:pt x="310074" y="441605"/>
                </a:lnTo>
                <a:lnTo>
                  <a:pt x="327219" y="421602"/>
                </a:lnTo>
                <a:lnTo>
                  <a:pt x="346841" y="432651"/>
                </a:lnTo>
                <a:lnTo>
                  <a:pt x="345888" y="451034"/>
                </a:lnTo>
                <a:lnTo>
                  <a:pt x="365224" y="452654"/>
                </a:lnTo>
                <a:lnTo>
                  <a:pt x="376654" y="438747"/>
                </a:lnTo>
                <a:lnTo>
                  <a:pt x="400752" y="436175"/>
                </a:lnTo>
                <a:lnTo>
                  <a:pt x="415992" y="445033"/>
                </a:lnTo>
                <a:lnTo>
                  <a:pt x="434661" y="433318"/>
                </a:lnTo>
                <a:lnTo>
                  <a:pt x="477143" y="440652"/>
                </a:lnTo>
                <a:lnTo>
                  <a:pt x="485430" y="452654"/>
                </a:lnTo>
                <a:lnTo>
                  <a:pt x="514576" y="461512"/>
                </a:lnTo>
                <a:lnTo>
                  <a:pt x="536579" y="466274"/>
                </a:lnTo>
                <a:lnTo>
                  <a:pt x="521720" y="425222"/>
                </a:lnTo>
                <a:lnTo>
                  <a:pt x="581251" y="358547"/>
                </a:lnTo>
                <a:lnTo>
                  <a:pt x="600301" y="361499"/>
                </a:lnTo>
                <a:lnTo>
                  <a:pt x="610398" y="344831"/>
                </a:lnTo>
                <a:lnTo>
                  <a:pt x="574488" y="271012"/>
                </a:lnTo>
                <a:close/>
              </a:path>
            </a:pathLst>
          </a:custGeom>
          <a:solidFill>
            <a:schemeClr val="bg1">
              <a:lumMod val="95000"/>
            </a:schemeClr>
          </a:solidFill>
          <a:ln w="9525" cap="flat">
            <a:noFill/>
            <a:prstDash val="solid"/>
            <a:miter/>
          </a:ln>
        </p:spPr>
        <p:txBody>
          <a:bodyPr rtlCol="0" anchor="ctr"/>
          <a:lstStyle/>
          <a:p>
            <a:endParaRPr lang="en-IN"/>
          </a:p>
        </p:txBody>
      </p:sp>
      <p:grpSp>
        <p:nvGrpSpPr>
          <p:cNvPr id="280" name="Graphic 166">
            <a:extLst>
              <a:ext uri="{FF2B5EF4-FFF2-40B4-BE49-F238E27FC236}">
                <a16:creationId xmlns:a16="http://schemas.microsoft.com/office/drawing/2014/main" id="{14D04F16-C919-FF14-D52D-C458B87F46B9}"/>
              </a:ext>
            </a:extLst>
          </p:cNvPr>
          <p:cNvGrpSpPr/>
          <p:nvPr/>
        </p:nvGrpSpPr>
        <p:grpSpPr>
          <a:xfrm>
            <a:off x="5050693" y="-253019"/>
            <a:ext cx="2409011" cy="1682293"/>
            <a:chOff x="4472066" y="198192"/>
            <a:chExt cx="2409011" cy="1682293"/>
          </a:xfrm>
          <a:solidFill>
            <a:schemeClr val="bg1">
              <a:lumMod val="85000"/>
            </a:schemeClr>
          </a:solidFill>
        </p:grpSpPr>
        <p:sp>
          <p:nvSpPr>
            <p:cNvPr id="281" name="Freeform: Shape 280">
              <a:extLst>
                <a:ext uri="{FF2B5EF4-FFF2-40B4-BE49-F238E27FC236}">
                  <a16:creationId xmlns:a16="http://schemas.microsoft.com/office/drawing/2014/main" id="{9AD47A69-8026-27D1-ADC5-B09F27FDAAA1}"/>
                </a:ext>
              </a:extLst>
            </p:cNvPr>
            <p:cNvSpPr/>
            <p:nvPr/>
          </p:nvSpPr>
          <p:spPr>
            <a:xfrm>
              <a:off x="5663476" y="1776706"/>
              <a:ext cx="7324" cy="7950"/>
            </a:xfrm>
            <a:custGeom>
              <a:avLst/>
              <a:gdLst>
                <a:gd name="connsiteX0" fmla="*/ 264 w 7324"/>
                <a:gd name="connsiteY0" fmla="*/ 5269 h 7950"/>
                <a:gd name="connsiteX1" fmla="*/ 6074 w 7324"/>
                <a:gd name="connsiteY1" fmla="*/ 5650 h 7950"/>
                <a:gd name="connsiteX2" fmla="*/ 4359 w 7324"/>
                <a:gd name="connsiteY2" fmla="*/ 221 h 7950"/>
                <a:gd name="connsiteX3" fmla="*/ 73 w 7324"/>
                <a:gd name="connsiteY3" fmla="*/ 4031 h 7950"/>
                <a:gd name="connsiteX4" fmla="*/ 264 w 7324"/>
                <a:gd name="connsiteY4" fmla="*/ 5269 h 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4" h="7950">
                  <a:moveTo>
                    <a:pt x="264" y="5269"/>
                  </a:moveTo>
                  <a:cubicBezTo>
                    <a:pt x="1216" y="11270"/>
                    <a:pt x="7026" y="5269"/>
                    <a:pt x="6074" y="5650"/>
                  </a:cubicBezTo>
                  <a:cubicBezTo>
                    <a:pt x="9979" y="1745"/>
                    <a:pt x="3407" y="-636"/>
                    <a:pt x="4359" y="221"/>
                  </a:cubicBezTo>
                  <a:cubicBezTo>
                    <a:pt x="1502" y="-636"/>
                    <a:pt x="-403" y="1078"/>
                    <a:pt x="73" y="4031"/>
                  </a:cubicBezTo>
                  <a:lnTo>
                    <a:pt x="264" y="5269"/>
                  </a:lnTo>
                  <a:close/>
                </a:path>
              </a:pathLst>
            </a:custGeom>
            <a:grpFill/>
            <a:ln w="9525" cap="flat">
              <a:noFill/>
              <a:prstDash val="solid"/>
              <a:miter/>
            </a:ln>
          </p:spPr>
          <p:txBody>
            <a:bodyPr rtlCol="0" anchor="ctr"/>
            <a:lstStyle/>
            <a:p>
              <a:endParaRPr lang="en-IN"/>
            </a:p>
          </p:txBody>
        </p:sp>
        <p:sp>
          <p:nvSpPr>
            <p:cNvPr id="282" name="Freeform: Shape 281">
              <a:extLst>
                <a:ext uri="{FF2B5EF4-FFF2-40B4-BE49-F238E27FC236}">
                  <a16:creationId xmlns:a16="http://schemas.microsoft.com/office/drawing/2014/main" id="{B126EFDE-7A76-BF41-2B46-E8D8B8C6057E}"/>
                </a:ext>
              </a:extLst>
            </p:cNvPr>
            <p:cNvSpPr/>
            <p:nvPr/>
          </p:nvSpPr>
          <p:spPr>
            <a:xfrm>
              <a:off x="5350596" y="1772069"/>
              <a:ext cx="11421" cy="9781"/>
            </a:xfrm>
            <a:custGeom>
              <a:avLst/>
              <a:gdLst>
                <a:gd name="connsiteX0" fmla="*/ 7200 w 11421"/>
                <a:gd name="connsiteY0" fmla="*/ 0 h 9781"/>
                <a:gd name="connsiteX1" fmla="*/ 3675 w 11421"/>
                <a:gd name="connsiteY1" fmla="*/ 9239 h 9781"/>
                <a:gd name="connsiteX2" fmla="*/ 4247 w 11421"/>
                <a:gd name="connsiteY2" fmla="*/ 9430 h 9781"/>
                <a:gd name="connsiteX3" fmla="*/ 11200 w 11421"/>
                <a:gd name="connsiteY3" fmla="*/ 5144 h 9781"/>
                <a:gd name="connsiteX4" fmla="*/ 7390 w 11421"/>
                <a:gd name="connsiteY4" fmla="*/ 0 h 9781"/>
                <a:gd name="connsiteX5" fmla="*/ 7200 w 11421"/>
                <a:gd name="connsiteY5" fmla="*/ 0 h 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21" h="9781">
                  <a:moveTo>
                    <a:pt x="7200" y="0"/>
                  </a:moveTo>
                  <a:cubicBezTo>
                    <a:pt x="151" y="0"/>
                    <a:pt x="-2992" y="6763"/>
                    <a:pt x="3675" y="9239"/>
                  </a:cubicBezTo>
                  <a:lnTo>
                    <a:pt x="4247" y="9430"/>
                  </a:lnTo>
                  <a:cubicBezTo>
                    <a:pt x="9771" y="11430"/>
                    <a:pt x="11962" y="4191"/>
                    <a:pt x="11200" y="5144"/>
                  </a:cubicBezTo>
                  <a:cubicBezTo>
                    <a:pt x="12057" y="2286"/>
                    <a:pt x="10343" y="0"/>
                    <a:pt x="7390" y="0"/>
                  </a:cubicBezTo>
                  <a:lnTo>
                    <a:pt x="7200" y="0"/>
                  </a:lnTo>
                  <a:close/>
                </a:path>
              </a:pathLst>
            </a:custGeom>
            <a:grpFill/>
            <a:ln w="9525" cap="flat">
              <a:noFill/>
              <a:prstDash val="solid"/>
              <a:miter/>
            </a:ln>
          </p:spPr>
          <p:txBody>
            <a:bodyPr rtlCol="0" anchor="ctr"/>
            <a:lstStyle/>
            <a:p>
              <a:endParaRPr lang="en-IN"/>
            </a:p>
          </p:txBody>
        </p:sp>
        <p:sp>
          <p:nvSpPr>
            <p:cNvPr id="283" name="Freeform: Shape 282">
              <a:extLst>
                <a:ext uri="{FF2B5EF4-FFF2-40B4-BE49-F238E27FC236}">
                  <a16:creationId xmlns:a16="http://schemas.microsoft.com/office/drawing/2014/main" id="{ED985BE5-E97D-1155-8CBD-2FA64F9463CF}"/>
                </a:ext>
              </a:extLst>
            </p:cNvPr>
            <p:cNvSpPr/>
            <p:nvPr/>
          </p:nvSpPr>
          <p:spPr>
            <a:xfrm>
              <a:off x="5320704" y="1682991"/>
              <a:ext cx="11127" cy="11938"/>
            </a:xfrm>
            <a:custGeom>
              <a:avLst/>
              <a:gdLst>
                <a:gd name="connsiteX0" fmla="*/ 3660 w 11127"/>
                <a:gd name="connsiteY0" fmla="*/ 3258 h 11938"/>
                <a:gd name="connsiteX1" fmla="*/ 2898 w 11127"/>
                <a:gd name="connsiteY1" fmla="*/ 11925 h 11938"/>
                <a:gd name="connsiteX2" fmla="*/ 3660 w 11127"/>
                <a:gd name="connsiteY2" fmla="*/ 3258 h 11938"/>
              </a:gdLst>
              <a:ahLst/>
              <a:cxnLst>
                <a:cxn ang="0">
                  <a:pos x="connsiteX0" y="connsiteY0"/>
                </a:cxn>
                <a:cxn ang="0">
                  <a:pos x="connsiteX1" y="connsiteY1"/>
                </a:cxn>
                <a:cxn ang="0">
                  <a:pos x="connsiteX2" y="connsiteY2"/>
                </a:cxn>
              </a:cxnLst>
              <a:rect l="l" t="t" r="r" b="b"/>
              <a:pathLst>
                <a:path w="11127" h="11938">
                  <a:moveTo>
                    <a:pt x="3660" y="3258"/>
                  </a:moveTo>
                  <a:cubicBezTo>
                    <a:pt x="3278" y="4210"/>
                    <a:pt x="-3865" y="12307"/>
                    <a:pt x="2898" y="11925"/>
                  </a:cubicBezTo>
                  <a:cubicBezTo>
                    <a:pt x="16709" y="11164"/>
                    <a:pt x="10422" y="-7315"/>
                    <a:pt x="3660" y="3258"/>
                  </a:cubicBezTo>
                  <a:close/>
                </a:path>
              </a:pathLst>
            </a:custGeom>
            <a:grpFill/>
            <a:ln w="9525" cap="flat">
              <a:noFill/>
              <a:prstDash val="solid"/>
              <a:miter/>
            </a:ln>
          </p:spPr>
          <p:txBody>
            <a:bodyPr rtlCol="0" anchor="ctr"/>
            <a:lstStyle/>
            <a:p>
              <a:endParaRPr lang="en-IN"/>
            </a:p>
          </p:txBody>
        </p:sp>
        <p:sp>
          <p:nvSpPr>
            <p:cNvPr id="284" name="Freeform: Shape 283">
              <a:extLst>
                <a:ext uri="{FF2B5EF4-FFF2-40B4-BE49-F238E27FC236}">
                  <a16:creationId xmlns:a16="http://schemas.microsoft.com/office/drawing/2014/main" id="{B75AE10E-85B3-2D5E-CCEC-DC4D18660F52}"/>
                </a:ext>
              </a:extLst>
            </p:cNvPr>
            <p:cNvSpPr/>
            <p:nvPr/>
          </p:nvSpPr>
          <p:spPr>
            <a:xfrm>
              <a:off x="5297391" y="1536562"/>
              <a:ext cx="11991" cy="18712"/>
            </a:xfrm>
            <a:custGeom>
              <a:avLst/>
              <a:gdLst>
                <a:gd name="connsiteX0" fmla="*/ 1160 w 11991"/>
                <a:gd name="connsiteY0" fmla="*/ 2716 h 18712"/>
                <a:gd name="connsiteX1" fmla="*/ 3541 w 11991"/>
                <a:gd name="connsiteY1" fmla="*/ 17575 h 18712"/>
                <a:gd name="connsiteX2" fmla="*/ 10208 w 11991"/>
                <a:gd name="connsiteY2" fmla="*/ 4812 h 18712"/>
                <a:gd name="connsiteX3" fmla="*/ 1065 w 11991"/>
                <a:gd name="connsiteY3" fmla="*/ 2811 h 18712"/>
              </a:gdLst>
              <a:ahLst/>
              <a:cxnLst>
                <a:cxn ang="0">
                  <a:pos x="connsiteX0" y="connsiteY0"/>
                </a:cxn>
                <a:cxn ang="0">
                  <a:pos x="connsiteX1" y="connsiteY1"/>
                </a:cxn>
                <a:cxn ang="0">
                  <a:pos x="connsiteX2" y="connsiteY2"/>
                </a:cxn>
                <a:cxn ang="0">
                  <a:pos x="connsiteX3" y="connsiteY3"/>
                </a:cxn>
              </a:cxnLst>
              <a:rect l="l" t="t" r="r" b="b"/>
              <a:pathLst>
                <a:path w="11991" h="18712">
                  <a:moveTo>
                    <a:pt x="1160" y="2716"/>
                  </a:moveTo>
                  <a:cubicBezTo>
                    <a:pt x="1160" y="8050"/>
                    <a:pt x="-2650" y="22909"/>
                    <a:pt x="3541" y="17575"/>
                  </a:cubicBezTo>
                  <a:cubicBezTo>
                    <a:pt x="5637" y="15003"/>
                    <a:pt x="16114" y="9764"/>
                    <a:pt x="10208" y="4812"/>
                  </a:cubicBezTo>
                  <a:cubicBezTo>
                    <a:pt x="10208" y="4812"/>
                    <a:pt x="1731" y="-4523"/>
                    <a:pt x="1065" y="2811"/>
                  </a:cubicBezTo>
                  <a:close/>
                </a:path>
              </a:pathLst>
            </a:custGeom>
            <a:grpFill/>
            <a:ln w="9525" cap="flat">
              <a:noFill/>
              <a:prstDash val="solid"/>
              <a:miter/>
            </a:ln>
          </p:spPr>
          <p:txBody>
            <a:bodyPr rtlCol="0" anchor="ctr"/>
            <a:lstStyle/>
            <a:p>
              <a:endParaRPr lang="en-IN"/>
            </a:p>
          </p:txBody>
        </p:sp>
        <p:sp>
          <p:nvSpPr>
            <p:cNvPr id="285" name="Freeform: Shape 284">
              <a:extLst>
                <a:ext uri="{FF2B5EF4-FFF2-40B4-BE49-F238E27FC236}">
                  <a16:creationId xmlns:a16="http://schemas.microsoft.com/office/drawing/2014/main" id="{7091EB05-6857-8FBB-786D-4743A415F714}"/>
                </a:ext>
              </a:extLst>
            </p:cNvPr>
            <p:cNvSpPr/>
            <p:nvPr/>
          </p:nvSpPr>
          <p:spPr>
            <a:xfrm>
              <a:off x="5340331" y="1465893"/>
              <a:ext cx="14973" cy="11736"/>
            </a:xfrm>
            <a:custGeom>
              <a:avLst/>
              <a:gdLst>
                <a:gd name="connsiteX0" fmla="*/ 14131 w 14973"/>
                <a:gd name="connsiteY0" fmla="*/ 5377 h 11736"/>
                <a:gd name="connsiteX1" fmla="*/ 13179 w 14973"/>
                <a:gd name="connsiteY1" fmla="*/ 3757 h 11736"/>
                <a:gd name="connsiteX2" fmla="*/ 4035 w 14973"/>
                <a:gd name="connsiteY2" fmla="*/ 233 h 11736"/>
                <a:gd name="connsiteX3" fmla="*/ 415 w 14973"/>
                <a:gd name="connsiteY3" fmla="*/ 7377 h 11736"/>
                <a:gd name="connsiteX4" fmla="*/ 7178 w 14973"/>
                <a:gd name="connsiteY4" fmla="*/ 11663 h 11736"/>
                <a:gd name="connsiteX5" fmla="*/ 14131 w 14973"/>
                <a:gd name="connsiteY5" fmla="*/ 5377 h 1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3" h="11736">
                  <a:moveTo>
                    <a:pt x="14131" y="5377"/>
                  </a:moveTo>
                  <a:lnTo>
                    <a:pt x="13179" y="3757"/>
                  </a:lnTo>
                  <a:cubicBezTo>
                    <a:pt x="10131" y="-1195"/>
                    <a:pt x="3082" y="138"/>
                    <a:pt x="4035" y="233"/>
                  </a:cubicBezTo>
                  <a:cubicBezTo>
                    <a:pt x="-1680" y="1186"/>
                    <a:pt x="320" y="8330"/>
                    <a:pt x="415" y="7377"/>
                  </a:cubicBezTo>
                  <a:cubicBezTo>
                    <a:pt x="1177" y="10235"/>
                    <a:pt x="4225" y="12140"/>
                    <a:pt x="7178" y="11663"/>
                  </a:cubicBezTo>
                  <a:cubicBezTo>
                    <a:pt x="8131" y="11282"/>
                    <a:pt x="17846" y="11377"/>
                    <a:pt x="14131" y="5377"/>
                  </a:cubicBezTo>
                  <a:close/>
                </a:path>
              </a:pathLst>
            </a:custGeom>
            <a:grpFill/>
            <a:ln w="9525" cap="flat">
              <a:noFill/>
              <a:prstDash val="solid"/>
              <a:miter/>
            </a:ln>
          </p:spPr>
          <p:txBody>
            <a:bodyPr rtlCol="0" anchor="ctr"/>
            <a:lstStyle/>
            <a:p>
              <a:endParaRPr lang="en-IN"/>
            </a:p>
          </p:txBody>
        </p:sp>
        <p:sp>
          <p:nvSpPr>
            <p:cNvPr id="286" name="Freeform: Shape 285">
              <a:extLst>
                <a:ext uri="{FF2B5EF4-FFF2-40B4-BE49-F238E27FC236}">
                  <a16:creationId xmlns:a16="http://schemas.microsoft.com/office/drawing/2014/main" id="{6081940E-810D-3A0D-B8B7-52AE542D4C8A}"/>
                </a:ext>
              </a:extLst>
            </p:cNvPr>
            <p:cNvSpPr/>
            <p:nvPr/>
          </p:nvSpPr>
          <p:spPr>
            <a:xfrm>
              <a:off x="5383965" y="1436735"/>
              <a:ext cx="18761" cy="17038"/>
            </a:xfrm>
            <a:custGeom>
              <a:avLst/>
              <a:gdLst>
                <a:gd name="connsiteX0" fmla="*/ 3740 w 18761"/>
                <a:gd name="connsiteY0" fmla="*/ 3387 h 17038"/>
                <a:gd name="connsiteX1" fmla="*/ 2977 w 18761"/>
                <a:gd name="connsiteY1" fmla="*/ 16151 h 17038"/>
                <a:gd name="connsiteX2" fmla="*/ 16408 w 18761"/>
                <a:gd name="connsiteY2" fmla="*/ 2340 h 17038"/>
                <a:gd name="connsiteX3" fmla="*/ 3644 w 18761"/>
                <a:gd name="connsiteY3" fmla="*/ 3387 h 17038"/>
              </a:gdLst>
              <a:ahLst/>
              <a:cxnLst>
                <a:cxn ang="0">
                  <a:pos x="connsiteX0" y="connsiteY0"/>
                </a:cxn>
                <a:cxn ang="0">
                  <a:pos x="connsiteX1" y="connsiteY1"/>
                </a:cxn>
                <a:cxn ang="0">
                  <a:pos x="connsiteX2" y="connsiteY2"/>
                </a:cxn>
                <a:cxn ang="0">
                  <a:pos x="connsiteX3" y="connsiteY3"/>
                </a:cxn>
              </a:cxnLst>
              <a:rect l="l" t="t" r="r" b="b"/>
              <a:pathLst>
                <a:path w="18761" h="17038">
                  <a:moveTo>
                    <a:pt x="3740" y="3387"/>
                  </a:moveTo>
                  <a:cubicBezTo>
                    <a:pt x="2787" y="7483"/>
                    <a:pt x="-3690" y="20533"/>
                    <a:pt x="2977" y="16151"/>
                  </a:cubicBezTo>
                  <a:cubicBezTo>
                    <a:pt x="9645" y="10912"/>
                    <a:pt x="24504" y="5292"/>
                    <a:pt x="16408" y="2340"/>
                  </a:cubicBezTo>
                  <a:cubicBezTo>
                    <a:pt x="16408" y="2340"/>
                    <a:pt x="6026" y="-3566"/>
                    <a:pt x="3644" y="3387"/>
                  </a:cubicBezTo>
                  <a:close/>
                </a:path>
              </a:pathLst>
            </a:custGeom>
            <a:grpFill/>
            <a:ln w="9525" cap="flat">
              <a:noFill/>
              <a:prstDash val="solid"/>
              <a:miter/>
            </a:ln>
          </p:spPr>
          <p:txBody>
            <a:bodyPr rtlCol="0" anchor="ctr"/>
            <a:lstStyle/>
            <a:p>
              <a:endParaRPr lang="en-IN"/>
            </a:p>
          </p:txBody>
        </p:sp>
        <p:sp>
          <p:nvSpPr>
            <p:cNvPr id="287" name="Freeform: Shape 286">
              <a:extLst>
                <a:ext uri="{FF2B5EF4-FFF2-40B4-BE49-F238E27FC236}">
                  <a16:creationId xmlns:a16="http://schemas.microsoft.com/office/drawing/2014/main" id="{57C0F4C2-6C1E-95B7-239C-28D07F0FF151}"/>
                </a:ext>
              </a:extLst>
            </p:cNvPr>
            <p:cNvSpPr/>
            <p:nvPr/>
          </p:nvSpPr>
          <p:spPr>
            <a:xfrm>
              <a:off x="5462125" y="1403857"/>
              <a:ext cx="24320" cy="14897"/>
            </a:xfrm>
            <a:custGeom>
              <a:avLst/>
              <a:gdLst>
                <a:gd name="connsiteX0" fmla="*/ 24068 w 24320"/>
                <a:gd name="connsiteY0" fmla="*/ 3405 h 14897"/>
                <a:gd name="connsiteX1" fmla="*/ 17591 w 24320"/>
                <a:gd name="connsiteY1" fmla="*/ 357 h 14897"/>
                <a:gd name="connsiteX2" fmla="*/ 1304 w 24320"/>
                <a:gd name="connsiteY2" fmla="*/ 11977 h 14897"/>
                <a:gd name="connsiteX3" fmla="*/ 10257 w 24320"/>
                <a:gd name="connsiteY3" fmla="*/ 14358 h 14897"/>
                <a:gd name="connsiteX4" fmla="*/ 24068 w 24320"/>
                <a:gd name="connsiteY4" fmla="*/ 3405 h 1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0" h="14897">
                  <a:moveTo>
                    <a:pt x="24068" y="3405"/>
                  </a:moveTo>
                  <a:cubicBezTo>
                    <a:pt x="23306" y="642"/>
                    <a:pt x="20449" y="-691"/>
                    <a:pt x="17591" y="357"/>
                  </a:cubicBezTo>
                  <a:cubicBezTo>
                    <a:pt x="10067" y="4167"/>
                    <a:pt x="-4411" y="5691"/>
                    <a:pt x="1304" y="11977"/>
                  </a:cubicBezTo>
                  <a:cubicBezTo>
                    <a:pt x="2256" y="12549"/>
                    <a:pt x="5304" y="16263"/>
                    <a:pt x="10257" y="14358"/>
                  </a:cubicBezTo>
                  <a:cubicBezTo>
                    <a:pt x="14639" y="11882"/>
                    <a:pt x="26164" y="10834"/>
                    <a:pt x="24068" y="3405"/>
                  </a:cubicBezTo>
                  <a:close/>
                </a:path>
              </a:pathLst>
            </a:custGeom>
            <a:grpFill/>
            <a:ln w="9525" cap="flat">
              <a:noFill/>
              <a:prstDash val="solid"/>
              <a:miter/>
            </a:ln>
          </p:spPr>
          <p:txBody>
            <a:bodyPr rtlCol="0" anchor="ctr"/>
            <a:lstStyle/>
            <a:p>
              <a:endParaRPr lang="en-IN"/>
            </a:p>
          </p:txBody>
        </p:sp>
        <p:sp>
          <p:nvSpPr>
            <p:cNvPr id="288" name="Freeform: Shape 287">
              <a:extLst>
                <a:ext uri="{FF2B5EF4-FFF2-40B4-BE49-F238E27FC236}">
                  <a16:creationId xmlns:a16="http://schemas.microsoft.com/office/drawing/2014/main" id="{D31FF5B6-DA2F-A9C5-C24D-69E660E285E3}"/>
                </a:ext>
              </a:extLst>
            </p:cNvPr>
            <p:cNvSpPr/>
            <p:nvPr/>
          </p:nvSpPr>
          <p:spPr>
            <a:xfrm>
              <a:off x="5483512" y="1373672"/>
              <a:ext cx="20710" cy="15644"/>
            </a:xfrm>
            <a:custGeom>
              <a:avLst/>
              <a:gdLst>
                <a:gd name="connsiteX0" fmla="*/ 18302 w 20710"/>
                <a:gd name="connsiteY0" fmla="*/ 13492 h 15644"/>
                <a:gd name="connsiteX1" fmla="*/ 14 w 20710"/>
                <a:gd name="connsiteY1" fmla="*/ 8539 h 15644"/>
                <a:gd name="connsiteX2" fmla="*/ 3920 w 20710"/>
                <a:gd name="connsiteY2" fmla="*/ 12539 h 15644"/>
                <a:gd name="connsiteX3" fmla="*/ 18302 w 20710"/>
                <a:gd name="connsiteY3" fmla="*/ 13492 h 15644"/>
              </a:gdLst>
              <a:ahLst/>
              <a:cxnLst>
                <a:cxn ang="0">
                  <a:pos x="connsiteX0" y="connsiteY0"/>
                </a:cxn>
                <a:cxn ang="0">
                  <a:pos x="connsiteX1" y="connsiteY1"/>
                </a:cxn>
                <a:cxn ang="0">
                  <a:pos x="connsiteX2" y="connsiteY2"/>
                </a:cxn>
                <a:cxn ang="0">
                  <a:pos x="connsiteX3" y="connsiteY3"/>
                </a:cxn>
              </a:cxnLst>
              <a:rect l="l" t="t" r="r" b="b"/>
              <a:pathLst>
                <a:path w="20710" h="15644">
                  <a:moveTo>
                    <a:pt x="18302" y="13492"/>
                  </a:moveTo>
                  <a:cubicBezTo>
                    <a:pt x="28971" y="-7177"/>
                    <a:pt x="776" y="-129"/>
                    <a:pt x="14" y="8539"/>
                  </a:cubicBezTo>
                  <a:cubicBezTo>
                    <a:pt x="-176" y="11015"/>
                    <a:pt x="1538" y="12825"/>
                    <a:pt x="3920" y="12539"/>
                  </a:cubicBezTo>
                  <a:cubicBezTo>
                    <a:pt x="10968" y="11873"/>
                    <a:pt x="13064" y="19112"/>
                    <a:pt x="18302" y="13492"/>
                  </a:cubicBezTo>
                  <a:close/>
                </a:path>
              </a:pathLst>
            </a:custGeom>
            <a:grpFill/>
            <a:ln w="9525" cap="flat">
              <a:noFill/>
              <a:prstDash val="solid"/>
              <a:miter/>
            </a:ln>
          </p:spPr>
          <p:txBody>
            <a:bodyPr rtlCol="0" anchor="ctr"/>
            <a:lstStyle/>
            <a:p>
              <a:endParaRPr lang="en-IN"/>
            </a:p>
          </p:txBody>
        </p:sp>
        <p:sp>
          <p:nvSpPr>
            <p:cNvPr id="289" name="Freeform: Shape 288">
              <a:extLst>
                <a:ext uri="{FF2B5EF4-FFF2-40B4-BE49-F238E27FC236}">
                  <a16:creationId xmlns:a16="http://schemas.microsoft.com/office/drawing/2014/main" id="{4F6ED081-55F0-B5D6-63FA-42C1626180A2}"/>
                </a:ext>
              </a:extLst>
            </p:cNvPr>
            <p:cNvSpPr/>
            <p:nvPr/>
          </p:nvSpPr>
          <p:spPr>
            <a:xfrm>
              <a:off x="5517187" y="1354413"/>
              <a:ext cx="47147" cy="20096"/>
            </a:xfrm>
            <a:custGeom>
              <a:avLst/>
              <a:gdLst>
                <a:gd name="connsiteX0" fmla="*/ 6440 w 47147"/>
                <a:gd name="connsiteY0" fmla="*/ 9891 h 20096"/>
                <a:gd name="connsiteX1" fmla="*/ 4058 w 47147"/>
                <a:gd name="connsiteY1" fmla="*/ 19511 h 20096"/>
                <a:gd name="connsiteX2" fmla="*/ 15679 w 47147"/>
                <a:gd name="connsiteY2" fmla="*/ 17606 h 20096"/>
                <a:gd name="connsiteX3" fmla="*/ 45587 w 47147"/>
                <a:gd name="connsiteY3" fmla="*/ 9796 h 20096"/>
                <a:gd name="connsiteX4" fmla="*/ 45016 w 47147"/>
                <a:gd name="connsiteY4" fmla="*/ 80 h 20096"/>
                <a:gd name="connsiteX5" fmla="*/ 33205 w 47147"/>
                <a:gd name="connsiteY5" fmla="*/ 5224 h 20096"/>
                <a:gd name="connsiteX6" fmla="*/ 21108 w 47147"/>
                <a:gd name="connsiteY6" fmla="*/ 4748 h 20096"/>
                <a:gd name="connsiteX7" fmla="*/ 6440 w 47147"/>
                <a:gd name="connsiteY7" fmla="*/ 9891 h 2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47" h="20096">
                  <a:moveTo>
                    <a:pt x="6440" y="9891"/>
                  </a:moveTo>
                  <a:cubicBezTo>
                    <a:pt x="153" y="9129"/>
                    <a:pt x="-3085" y="18178"/>
                    <a:pt x="4058" y="19511"/>
                  </a:cubicBezTo>
                  <a:cubicBezTo>
                    <a:pt x="5011" y="19511"/>
                    <a:pt x="10916" y="21702"/>
                    <a:pt x="15679" y="17606"/>
                  </a:cubicBezTo>
                  <a:cubicBezTo>
                    <a:pt x="25013" y="9701"/>
                    <a:pt x="42254" y="20369"/>
                    <a:pt x="45587" y="9796"/>
                  </a:cubicBezTo>
                  <a:cubicBezTo>
                    <a:pt x="45683" y="8843"/>
                    <a:pt x="49397" y="842"/>
                    <a:pt x="45016" y="80"/>
                  </a:cubicBezTo>
                  <a:cubicBezTo>
                    <a:pt x="40158" y="-777"/>
                    <a:pt x="40825" y="5510"/>
                    <a:pt x="33205" y="5224"/>
                  </a:cubicBezTo>
                  <a:lnTo>
                    <a:pt x="21108" y="4748"/>
                  </a:lnTo>
                  <a:cubicBezTo>
                    <a:pt x="13679" y="4462"/>
                    <a:pt x="13107" y="10748"/>
                    <a:pt x="6440" y="9891"/>
                  </a:cubicBezTo>
                  <a:close/>
                </a:path>
              </a:pathLst>
            </a:custGeom>
            <a:grpFill/>
            <a:ln w="9525" cap="flat">
              <a:noFill/>
              <a:prstDash val="solid"/>
              <a:miter/>
            </a:ln>
          </p:spPr>
          <p:txBody>
            <a:bodyPr rtlCol="0" anchor="ctr"/>
            <a:lstStyle/>
            <a:p>
              <a:endParaRPr lang="en-IN"/>
            </a:p>
          </p:txBody>
        </p:sp>
        <p:sp>
          <p:nvSpPr>
            <p:cNvPr id="290" name="Freeform: Shape 289">
              <a:extLst>
                <a:ext uri="{FF2B5EF4-FFF2-40B4-BE49-F238E27FC236}">
                  <a16:creationId xmlns:a16="http://schemas.microsoft.com/office/drawing/2014/main" id="{A5E6B758-B6A6-EBA2-8C3E-B2F9CC74A79A}"/>
                </a:ext>
              </a:extLst>
            </p:cNvPr>
            <p:cNvSpPr/>
            <p:nvPr/>
          </p:nvSpPr>
          <p:spPr>
            <a:xfrm>
              <a:off x="5514679" y="1336834"/>
              <a:ext cx="31712" cy="16085"/>
            </a:xfrm>
            <a:custGeom>
              <a:avLst/>
              <a:gdLst>
                <a:gd name="connsiteX0" fmla="*/ 31617 w 31712"/>
                <a:gd name="connsiteY0" fmla="*/ 5562 h 16085"/>
                <a:gd name="connsiteX1" fmla="*/ 19139 w 31712"/>
                <a:gd name="connsiteY1" fmla="*/ 2705 h 16085"/>
                <a:gd name="connsiteX2" fmla="*/ 8280 w 31712"/>
                <a:gd name="connsiteY2" fmla="*/ 8039 h 16085"/>
                <a:gd name="connsiteX3" fmla="*/ 3423 w 31712"/>
                <a:gd name="connsiteY3" fmla="*/ 16040 h 16085"/>
                <a:gd name="connsiteX4" fmla="*/ 22568 w 31712"/>
                <a:gd name="connsiteY4" fmla="*/ 13182 h 16085"/>
                <a:gd name="connsiteX5" fmla="*/ 31712 w 31712"/>
                <a:gd name="connsiteY5" fmla="*/ 5467 h 1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12" h="16085">
                  <a:moveTo>
                    <a:pt x="31617" y="5562"/>
                  </a:moveTo>
                  <a:cubicBezTo>
                    <a:pt x="31998" y="-1010"/>
                    <a:pt x="22758" y="-1486"/>
                    <a:pt x="19139" y="2705"/>
                  </a:cubicBezTo>
                  <a:cubicBezTo>
                    <a:pt x="15900" y="6420"/>
                    <a:pt x="7328" y="8420"/>
                    <a:pt x="8280" y="8039"/>
                  </a:cubicBezTo>
                  <a:cubicBezTo>
                    <a:pt x="1137" y="9944"/>
                    <a:pt x="-3530" y="16707"/>
                    <a:pt x="3423" y="16040"/>
                  </a:cubicBezTo>
                  <a:cubicBezTo>
                    <a:pt x="10090" y="15373"/>
                    <a:pt x="16091" y="15087"/>
                    <a:pt x="22568" y="13182"/>
                  </a:cubicBezTo>
                  <a:cubicBezTo>
                    <a:pt x="23521" y="12611"/>
                    <a:pt x="31331" y="11944"/>
                    <a:pt x="31712" y="5467"/>
                  </a:cubicBezTo>
                  <a:close/>
                </a:path>
              </a:pathLst>
            </a:custGeom>
            <a:grpFill/>
            <a:ln w="9525" cap="flat">
              <a:noFill/>
              <a:prstDash val="solid"/>
              <a:miter/>
            </a:ln>
          </p:spPr>
          <p:txBody>
            <a:bodyPr rtlCol="0" anchor="ctr"/>
            <a:lstStyle/>
            <a:p>
              <a:endParaRPr lang="en-IN"/>
            </a:p>
          </p:txBody>
        </p:sp>
        <p:sp>
          <p:nvSpPr>
            <p:cNvPr id="291" name="Freeform: Shape 290">
              <a:extLst>
                <a:ext uri="{FF2B5EF4-FFF2-40B4-BE49-F238E27FC236}">
                  <a16:creationId xmlns:a16="http://schemas.microsoft.com/office/drawing/2014/main" id="{332F8099-0681-D98A-2DC0-00255213C83C}"/>
                </a:ext>
              </a:extLst>
            </p:cNvPr>
            <p:cNvSpPr/>
            <p:nvPr/>
          </p:nvSpPr>
          <p:spPr>
            <a:xfrm>
              <a:off x="5704902" y="1210231"/>
              <a:ext cx="15395" cy="10913"/>
            </a:xfrm>
            <a:custGeom>
              <a:avLst/>
              <a:gdLst>
                <a:gd name="connsiteX0" fmla="*/ 3700 w 15395"/>
                <a:gd name="connsiteY0" fmla="*/ 10912 h 10913"/>
                <a:gd name="connsiteX1" fmla="*/ 13892 w 15395"/>
                <a:gd name="connsiteY1" fmla="*/ 6055 h 10913"/>
                <a:gd name="connsiteX2" fmla="*/ 11986 w 15395"/>
                <a:gd name="connsiteY2" fmla="*/ 54 h 10913"/>
                <a:gd name="connsiteX3" fmla="*/ 7891 w 15395"/>
                <a:gd name="connsiteY3" fmla="*/ 530 h 10913"/>
                <a:gd name="connsiteX4" fmla="*/ 3700 w 15395"/>
                <a:gd name="connsiteY4" fmla="*/ 10912 h 10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95" h="10913">
                  <a:moveTo>
                    <a:pt x="3700" y="10912"/>
                  </a:moveTo>
                  <a:cubicBezTo>
                    <a:pt x="4652" y="10627"/>
                    <a:pt x="10844" y="11770"/>
                    <a:pt x="13892" y="6055"/>
                  </a:cubicBezTo>
                  <a:cubicBezTo>
                    <a:pt x="14082" y="5102"/>
                    <a:pt x="18178" y="-613"/>
                    <a:pt x="11986" y="54"/>
                  </a:cubicBezTo>
                  <a:lnTo>
                    <a:pt x="7891" y="530"/>
                  </a:lnTo>
                  <a:cubicBezTo>
                    <a:pt x="747" y="1292"/>
                    <a:pt x="-3444" y="11008"/>
                    <a:pt x="3700" y="10912"/>
                  </a:cubicBezTo>
                  <a:close/>
                </a:path>
              </a:pathLst>
            </a:custGeom>
            <a:grpFill/>
            <a:ln w="9525" cap="flat">
              <a:noFill/>
              <a:prstDash val="solid"/>
              <a:miter/>
            </a:ln>
          </p:spPr>
          <p:txBody>
            <a:bodyPr rtlCol="0" anchor="ctr"/>
            <a:lstStyle/>
            <a:p>
              <a:endParaRPr lang="en-IN"/>
            </a:p>
          </p:txBody>
        </p:sp>
        <p:sp>
          <p:nvSpPr>
            <p:cNvPr id="292" name="Freeform: Shape 291">
              <a:extLst>
                <a:ext uri="{FF2B5EF4-FFF2-40B4-BE49-F238E27FC236}">
                  <a16:creationId xmlns:a16="http://schemas.microsoft.com/office/drawing/2014/main" id="{FF28196D-424F-5D32-9552-1DC4D29BF948}"/>
                </a:ext>
              </a:extLst>
            </p:cNvPr>
            <p:cNvSpPr/>
            <p:nvPr/>
          </p:nvSpPr>
          <p:spPr>
            <a:xfrm>
              <a:off x="5722602" y="1155977"/>
              <a:ext cx="20047" cy="13067"/>
            </a:xfrm>
            <a:custGeom>
              <a:avLst/>
              <a:gdLst>
                <a:gd name="connsiteX0" fmla="*/ 17432 w 20047"/>
                <a:gd name="connsiteY0" fmla="*/ 873 h 13067"/>
                <a:gd name="connsiteX1" fmla="*/ 3050 w 20047"/>
                <a:gd name="connsiteY1" fmla="*/ 3635 h 13067"/>
                <a:gd name="connsiteX2" fmla="*/ 3050 w 20047"/>
                <a:gd name="connsiteY2" fmla="*/ 12398 h 13067"/>
                <a:gd name="connsiteX3" fmla="*/ 14099 w 20047"/>
                <a:gd name="connsiteY3" fmla="*/ 10302 h 13067"/>
                <a:gd name="connsiteX4" fmla="*/ 17432 w 20047"/>
                <a:gd name="connsiteY4" fmla="*/ 873 h 13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7" h="13067">
                  <a:moveTo>
                    <a:pt x="17432" y="873"/>
                  </a:moveTo>
                  <a:cubicBezTo>
                    <a:pt x="15337" y="873"/>
                    <a:pt x="7241" y="-2366"/>
                    <a:pt x="3050" y="3635"/>
                  </a:cubicBezTo>
                  <a:cubicBezTo>
                    <a:pt x="2669" y="4587"/>
                    <a:pt x="-3618" y="10779"/>
                    <a:pt x="3050" y="12398"/>
                  </a:cubicBezTo>
                  <a:cubicBezTo>
                    <a:pt x="4002" y="12398"/>
                    <a:pt x="9527" y="14874"/>
                    <a:pt x="14099" y="10302"/>
                  </a:cubicBezTo>
                  <a:cubicBezTo>
                    <a:pt x="14099" y="10302"/>
                    <a:pt x="24862" y="1920"/>
                    <a:pt x="17432" y="873"/>
                  </a:cubicBezTo>
                  <a:close/>
                </a:path>
              </a:pathLst>
            </a:custGeom>
            <a:grpFill/>
            <a:ln w="9525" cap="flat">
              <a:noFill/>
              <a:prstDash val="solid"/>
              <a:miter/>
            </a:ln>
          </p:spPr>
          <p:txBody>
            <a:bodyPr rtlCol="0" anchor="ctr"/>
            <a:lstStyle/>
            <a:p>
              <a:endParaRPr lang="en-IN"/>
            </a:p>
          </p:txBody>
        </p:sp>
        <p:sp>
          <p:nvSpPr>
            <p:cNvPr id="293" name="Freeform: Shape 292">
              <a:extLst>
                <a:ext uri="{FF2B5EF4-FFF2-40B4-BE49-F238E27FC236}">
                  <a16:creationId xmlns:a16="http://schemas.microsoft.com/office/drawing/2014/main" id="{35599BF4-F5AF-7327-2A6A-595F72DC6425}"/>
                </a:ext>
              </a:extLst>
            </p:cNvPr>
            <p:cNvSpPr/>
            <p:nvPr/>
          </p:nvSpPr>
          <p:spPr>
            <a:xfrm>
              <a:off x="5755870" y="1105766"/>
              <a:ext cx="17799" cy="20934"/>
            </a:xfrm>
            <a:custGeom>
              <a:avLst/>
              <a:gdLst>
                <a:gd name="connsiteX0" fmla="*/ 3215 w 17799"/>
                <a:gd name="connsiteY0" fmla="*/ 20127 h 20934"/>
                <a:gd name="connsiteX1" fmla="*/ 17502 w 17799"/>
                <a:gd name="connsiteY1" fmla="*/ 7364 h 20934"/>
                <a:gd name="connsiteX2" fmla="*/ 14169 w 17799"/>
                <a:gd name="connsiteY2" fmla="*/ 1173 h 20934"/>
                <a:gd name="connsiteX3" fmla="*/ 643 w 17799"/>
                <a:gd name="connsiteY3" fmla="*/ 16317 h 20934"/>
                <a:gd name="connsiteX4" fmla="*/ 3215 w 17799"/>
                <a:gd name="connsiteY4" fmla="*/ 20223 h 20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 h="20934">
                  <a:moveTo>
                    <a:pt x="3215" y="20127"/>
                  </a:moveTo>
                  <a:cubicBezTo>
                    <a:pt x="7501" y="17175"/>
                    <a:pt x="16931" y="15270"/>
                    <a:pt x="17502" y="7364"/>
                  </a:cubicBezTo>
                  <a:cubicBezTo>
                    <a:pt x="17407" y="6411"/>
                    <a:pt x="19407" y="-3304"/>
                    <a:pt x="14169" y="1173"/>
                  </a:cubicBezTo>
                  <a:cubicBezTo>
                    <a:pt x="8644" y="5840"/>
                    <a:pt x="2929" y="9745"/>
                    <a:pt x="643" y="16317"/>
                  </a:cubicBezTo>
                  <a:cubicBezTo>
                    <a:pt x="643" y="17270"/>
                    <a:pt x="-1929" y="22890"/>
                    <a:pt x="3215" y="20223"/>
                  </a:cubicBezTo>
                  <a:close/>
                </a:path>
              </a:pathLst>
            </a:custGeom>
            <a:grpFill/>
            <a:ln w="9525" cap="flat">
              <a:noFill/>
              <a:prstDash val="solid"/>
              <a:miter/>
            </a:ln>
          </p:spPr>
          <p:txBody>
            <a:bodyPr rtlCol="0" anchor="ctr"/>
            <a:lstStyle/>
            <a:p>
              <a:endParaRPr lang="en-IN"/>
            </a:p>
          </p:txBody>
        </p:sp>
        <p:sp>
          <p:nvSpPr>
            <p:cNvPr id="294" name="Freeform: Shape 293">
              <a:extLst>
                <a:ext uri="{FF2B5EF4-FFF2-40B4-BE49-F238E27FC236}">
                  <a16:creationId xmlns:a16="http://schemas.microsoft.com/office/drawing/2014/main" id="{613693DF-C1A1-9F49-A96C-3D8415B16313}"/>
                </a:ext>
              </a:extLst>
            </p:cNvPr>
            <p:cNvSpPr/>
            <p:nvPr/>
          </p:nvSpPr>
          <p:spPr>
            <a:xfrm>
              <a:off x="5780166" y="1075906"/>
              <a:ext cx="10062" cy="13976"/>
            </a:xfrm>
            <a:custGeom>
              <a:avLst/>
              <a:gdLst>
                <a:gd name="connsiteX0" fmla="*/ 5779 w 10062"/>
                <a:gd name="connsiteY0" fmla="*/ 13792 h 13976"/>
                <a:gd name="connsiteX1" fmla="*/ 9780 w 10062"/>
                <a:gd name="connsiteY1" fmla="*/ 4172 h 13976"/>
                <a:gd name="connsiteX2" fmla="*/ 64 w 10062"/>
                <a:gd name="connsiteY2" fmla="*/ 6935 h 13976"/>
                <a:gd name="connsiteX3" fmla="*/ 5874 w 10062"/>
                <a:gd name="connsiteY3" fmla="*/ 13792 h 13976"/>
              </a:gdLst>
              <a:ahLst/>
              <a:cxnLst>
                <a:cxn ang="0">
                  <a:pos x="connsiteX0" y="connsiteY0"/>
                </a:cxn>
                <a:cxn ang="0">
                  <a:pos x="connsiteX1" y="connsiteY1"/>
                </a:cxn>
                <a:cxn ang="0">
                  <a:pos x="connsiteX2" y="connsiteY2"/>
                </a:cxn>
                <a:cxn ang="0">
                  <a:pos x="connsiteX3" y="connsiteY3"/>
                </a:cxn>
              </a:cxnLst>
              <a:rect l="l" t="t" r="r" b="b"/>
              <a:pathLst>
                <a:path w="10062" h="13976">
                  <a:moveTo>
                    <a:pt x="5779" y="13792"/>
                  </a:moveTo>
                  <a:cubicBezTo>
                    <a:pt x="11494" y="12364"/>
                    <a:pt x="9875" y="3220"/>
                    <a:pt x="9780" y="4172"/>
                  </a:cubicBezTo>
                  <a:cubicBezTo>
                    <a:pt x="9113" y="-2972"/>
                    <a:pt x="-889" y="-209"/>
                    <a:pt x="64" y="6935"/>
                  </a:cubicBezTo>
                  <a:cubicBezTo>
                    <a:pt x="445" y="7887"/>
                    <a:pt x="-31" y="15221"/>
                    <a:pt x="5874" y="13792"/>
                  </a:cubicBezTo>
                  <a:close/>
                </a:path>
              </a:pathLst>
            </a:custGeom>
            <a:grpFill/>
            <a:ln w="9525" cap="flat">
              <a:noFill/>
              <a:prstDash val="solid"/>
              <a:miter/>
            </a:ln>
          </p:spPr>
          <p:txBody>
            <a:bodyPr rtlCol="0" anchor="ctr"/>
            <a:lstStyle/>
            <a:p>
              <a:endParaRPr lang="en-IN"/>
            </a:p>
          </p:txBody>
        </p:sp>
        <p:sp>
          <p:nvSpPr>
            <p:cNvPr id="295" name="Freeform: Shape 294">
              <a:extLst>
                <a:ext uri="{FF2B5EF4-FFF2-40B4-BE49-F238E27FC236}">
                  <a16:creationId xmlns:a16="http://schemas.microsoft.com/office/drawing/2014/main" id="{245D346D-DDBA-5C52-1E9D-22FF5AEA1411}"/>
                </a:ext>
              </a:extLst>
            </p:cNvPr>
            <p:cNvSpPr/>
            <p:nvPr/>
          </p:nvSpPr>
          <p:spPr>
            <a:xfrm>
              <a:off x="5869317" y="980294"/>
              <a:ext cx="11735" cy="11384"/>
            </a:xfrm>
            <a:custGeom>
              <a:avLst/>
              <a:gdLst>
                <a:gd name="connsiteX0" fmla="*/ 7019 w 11735"/>
                <a:gd name="connsiteY0" fmla="*/ 57 h 11384"/>
                <a:gd name="connsiteX1" fmla="*/ 257 w 11735"/>
                <a:gd name="connsiteY1" fmla="*/ 6629 h 11384"/>
                <a:gd name="connsiteX2" fmla="*/ 5877 w 11735"/>
                <a:gd name="connsiteY2" fmla="*/ 11106 h 11384"/>
                <a:gd name="connsiteX3" fmla="*/ 7115 w 11735"/>
                <a:gd name="connsiteY3" fmla="*/ 57 h 11384"/>
              </a:gdLst>
              <a:ahLst/>
              <a:cxnLst>
                <a:cxn ang="0">
                  <a:pos x="connsiteX0" y="connsiteY0"/>
                </a:cxn>
                <a:cxn ang="0">
                  <a:pos x="connsiteX1" y="connsiteY1"/>
                </a:cxn>
                <a:cxn ang="0">
                  <a:pos x="connsiteX2" y="connsiteY2"/>
                </a:cxn>
                <a:cxn ang="0">
                  <a:pos x="connsiteX3" y="connsiteY3"/>
                </a:cxn>
              </a:cxnLst>
              <a:rect l="l" t="t" r="r" b="b"/>
              <a:pathLst>
                <a:path w="11735" h="11384">
                  <a:moveTo>
                    <a:pt x="7019" y="57"/>
                  </a:moveTo>
                  <a:cubicBezTo>
                    <a:pt x="1781" y="819"/>
                    <a:pt x="-410" y="7582"/>
                    <a:pt x="257" y="6629"/>
                  </a:cubicBezTo>
                  <a:cubicBezTo>
                    <a:pt x="-1553" y="12535"/>
                    <a:pt x="6829" y="11392"/>
                    <a:pt x="5877" y="11106"/>
                  </a:cubicBezTo>
                  <a:cubicBezTo>
                    <a:pt x="13116" y="10439"/>
                    <a:pt x="13782" y="-896"/>
                    <a:pt x="7115" y="57"/>
                  </a:cubicBezTo>
                  <a:close/>
                </a:path>
              </a:pathLst>
            </a:custGeom>
            <a:grpFill/>
            <a:ln w="9525" cap="flat">
              <a:noFill/>
              <a:prstDash val="solid"/>
              <a:miter/>
            </a:ln>
          </p:spPr>
          <p:txBody>
            <a:bodyPr rtlCol="0" anchor="ctr"/>
            <a:lstStyle/>
            <a:p>
              <a:endParaRPr lang="en-IN"/>
            </a:p>
          </p:txBody>
        </p:sp>
        <p:sp>
          <p:nvSpPr>
            <p:cNvPr id="296" name="Freeform: Shape 295">
              <a:extLst>
                <a:ext uri="{FF2B5EF4-FFF2-40B4-BE49-F238E27FC236}">
                  <a16:creationId xmlns:a16="http://schemas.microsoft.com/office/drawing/2014/main" id="{D7543A82-4CDD-DB12-E146-A34881D31725}"/>
                </a:ext>
              </a:extLst>
            </p:cNvPr>
            <p:cNvSpPr/>
            <p:nvPr/>
          </p:nvSpPr>
          <p:spPr>
            <a:xfrm>
              <a:off x="6448669" y="604215"/>
              <a:ext cx="16813" cy="15602"/>
            </a:xfrm>
            <a:custGeom>
              <a:avLst/>
              <a:gdLst>
                <a:gd name="connsiteX0" fmla="*/ 14026 w 16813"/>
                <a:gd name="connsiteY0" fmla="*/ 13138 h 15602"/>
                <a:gd name="connsiteX1" fmla="*/ 14217 w 16813"/>
                <a:gd name="connsiteY1" fmla="*/ 3041 h 15602"/>
                <a:gd name="connsiteX2" fmla="*/ 2787 w 16813"/>
                <a:gd name="connsiteY2" fmla="*/ 2565 h 15602"/>
                <a:gd name="connsiteX3" fmla="*/ 2597 w 16813"/>
                <a:gd name="connsiteY3" fmla="*/ 12662 h 15602"/>
                <a:gd name="connsiteX4" fmla="*/ 14026 w 16813"/>
                <a:gd name="connsiteY4" fmla="*/ 13138 h 15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3" h="15602">
                  <a:moveTo>
                    <a:pt x="14026" y="13138"/>
                  </a:moveTo>
                  <a:cubicBezTo>
                    <a:pt x="14312" y="12185"/>
                    <a:pt x="20027" y="6470"/>
                    <a:pt x="14217" y="3041"/>
                  </a:cubicBezTo>
                  <a:cubicBezTo>
                    <a:pt x="12788" y="2565"/>
                    <a:pt x="6597" y="-3245"/>
                    <a:pt x="2787" y="2565"/>
                  </a:cubicBezTo>
                  <a:cubicBezTo>
                    <a:pt x="2501" y="3518"/>
                    <a:pt x="-3214" y="9233"/>
                    <a:pt x="2597" y="12662"/>
                  </a:cubicBezTo>
                  <a:cubicBezTo>
                    <a:pt x="2597" y="12662"/>
                    <a:pt x="10216" y="18948"/>
                    <a:pt x="14026" y="13138"/>
                  </a:cubicBezTo>
                  <a:close/>
                </a:path>
              </a:pathLst>
            </a:custGeom>
            <a:grpFill/>
            <a:ln w="9525" cap="flat">
              <a:noFill/>
              <a:prstDash val="solid"/>
              <a:miter/>
            </a:ln>
          </p:spPr>
          <p:txBody>
            <a:bodyPr rtlCol="0" anchor="ctr"/>
            <a:lstStyle/>
            <a:p>
              <a:endParaRPr lang="en-IN"/>
            </a:p>
          </p:txBody>
        </p:sp>
        <p:sp>
          <p:nvSpPr>
            <p:cNvPr id="297" name="Freeform: Shape 296">
              <a:extLst>
                <a:ext uri="{FF2B5EF4-FFF2-40B4-BE49-F238E27FC236}">
                  <a16:creationId xmlns:a16="http://schemas.microsoft.com/office/drawing/2014/main" id="{86FDE634-C022-EF6F-5911-19BCD21F6254}"/>
                </a:ext>
              </a:extLst>
            </p:cNvPr>
            <p:cNvSpPr/>
            <p:nvPr/>
          </p:nvSpPr>
          <p:spPr>
            <a:xfrm>
              <a:off x="6394241" y="650045"/>
              <a:ext cx="37149" cy="30522"/>
            </a:xfrm>
            <a:custGeom>
              <a:avLst/>
              <a:gdLst>
                <a:gd name="connsiteX0" fmla="*/ 15782 w 37149"/>
                <a:gd name="connsiteY0" fmla="*/ 29506 h 30522"/>
                <a:gd name="connsiteX1" fmla="*/ 36451 w 37149"/>
                <a:gd name="connsiteY1" fmla="*/ 9218 h 30522"/>
                <a:gd name="connsiteX2" fmla="*/ 27783 w 37149"/>
                <a:gd name="connsiteY2" fmla="*/ 1789 h 30522"/>
                <a:gd name="connsiteX3" fmla="*/ 15020 w 37149"/>
                <a:gd name="connsiteY3" fmla="*/ 13790 h 30522"/>
                <a:gd name="connsiteX4" fmla="*/ 2161 w 37149"/>
                <a:gd name="connsiteY4" fmla="*/ 17410 h 30522"/>
                <a:gd name="connsiteX5" fmla="*/ 4447 w 37149"/>
                <a:gd name="connsiteY5" fmla="*/ 21696 h 30522"/>
                <a:gd name="connsiteX6" fmla="*/ 15782 w 37149"/>
                <a:gd name="connsiteY6" fmla="*/ 29506 h 3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49" h="30522">
                  <a:moveTo>
                    <a:pt x="15782" y="29506"/>
                  </a:moveTo>
                  <a:cubicBezTo>
                    <a:pt x="33594" y="17505"/>
                    <a:pt x="39308" y="15505"/>
                    <a:pt x="36451" y="9218"/>
                  </a:cubicBezTo>
                  <a:cubicBezTo>
                    <a:pt x="35117" y="7313"/>
                    <a:pt x="32260" y="-4402"/>
                    <a:pt x="27783" y="1789"/>
                  </a:cubicBezTo>
                  <a:cubicBezTo>
                    <a:pt x="25688" y="4075"/>
                    <a:pt x="22354" y="11695"/>
                    <a:pt x="15020" y="13790"/>
                  </a:cubicBezTo>
                  <a:lnTo>
                    <a:pt x="2161" y="17410"/>
                  </a:lnTo>
                  <a:cubicBezTo>
                    <a:pt x="-4125" y="19219"/>
                    <a:pt x="5400" y="22363"/>
                    <a:pt x="4447" y="21696"/>
                  </a:cubicBezTo>
                  <a:cubicBezTo>
                    <a:pt x="7209" y="22744"/>
                    <a:pt x="9400" y="33888"/>
                    <a:pt x="15782" y="29506"/>
                  </a:cubicBezTo>
                  <a:close/>
                </a:path>
              </a:pathLst>
            </a:custGeom>
            <a:grpFill/>
            <a:ln w="9525" cap="flat">
              <a:noFill/>
              <a:prstDash val="solid"/>
              <a:miter/>
            </a:ln>
          </p:spPr>
          <p:txBody>
            <a:bodyPr rtlCol="0" anchor="ctr"/>
            <a:lstStyle/>
            <a:p>
              <a:endParaRPr lang="en-IN"/>
            </a:p>
          </p:txBody>
        </p:sp>
        <p:sp>
          <p:nvSpPr>
            <p:cNvPr id="298" name="Freeform: Shape 297">
              <a:extLst>
                <a:ext uri="{FF2B5EF4-FFF2-40B4-BE49-F238E27FC236}">
                  <a16:creationId xmlns:a16="http://schemas.microsoft.com/office/drawing/2014/main" id="{7509039D-3552-50CE-4F9D-AED706B149C8}"/>
                </a:ext>
              </a:extLst>
            </p:cNvPr>
            <p:cNvSpPr/>
            <p:nvPr/>
          </p:nvSpPr>
          <p:spPr>
            <a:xfrm>
              <a:off x="6338253" y="624890"/>
              <a:ext cx="86018" cy="35978"/>
            </a:xfrm>
            <a:custGeom>
              <a:avLst/>
              <a:gdLst>
                <a:gd name="connsiteX0" fmla="*/ 64340 w 86018"/>
                <a:gd name="connsiteY0" fmla="*/ 26277 h 35978"/>
                <a:gd name="connsiteX1" fmla="*/ 84533 w 86018"/>
                <a:gd name="connsiteY1" fmla="*/ 9894 h 35978"/>
                <a:gd name="connsiteX2" fmla="*/ 83581 w 86018"/>
                <a:gd name="connsiteY2" fmla="*/ 4750 h 35978"/>
                <a:gd name="connsiteX3" fmla="*/ 70627 w 86018"/>
                <a:gd name="connsiteY3" fmla="*/ 464 h 35978"/>
                <a:gd name="connsiteX4" fmla="*/ 64340 w 86018"/>
                <a:gd name="connsiteY4" fmla="*/ 11227 h 35978"/>
                <a:gd name="connsiteX5" fmla="*/ 55768 w 86018"/>
                <a:gd name="connsiteY5" fmla="*/ 11703 h 35978"/>
                <a:gd name="connsiteX6" fmla="*/ 39290 w 86018"/>
                <a:gd name="connsiteY6" fmla="*/ 20847 h 35978"/>
                <a:gd name="connsiteX7" fmla="*/ 38718 w 86018"/>
                <a:gd name="connsiteY7" fmla="*/ 20847 h 35978"/>
                <a:gd name="connsiteX8" fmla="*/ 28621 w 86018"/>
                <a:gd name="connsiteY8" fmla="*/ 17704 h 35978"/>
                <a:gd name="connsiteX9" fmla="*/ 19096 w 86018"/>
                <a:gd name="connsiteY9" fmla="*/ 15323 h 35978"/>
                <a:gd name="connsiteX10" fmla="*/ 12810 w 86018"/>
                <a:gd name="connsiteY10" fmla="*/ 30944 h 35978"/>
                <a:gd name="connsiteX11" fmla="*/ 14810 w 86018"/>
                <a:gd name="connsiteY11" fmla="*/ 35897 h 35978"/>
                <a:gd name="connsiteX12" fmla="*/ 64340 w 86018"/>
                <a:gd name="connsiteY12" fmla="*/ 26372 h 35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018" h="35978">
                  <a:moveTo>
                    <a:pt x="64340" y="26277"/>
                  </a:moveTo>
                  <a:lnTo>
                    <a:pt x="84533" y="9894"/>
                  </a:lnTo>
                  <a:cubicBezTo>
                    <a:pt x="86819" y="7989"/>
                    <a:pt x="86438" y="5703"/>
                    <a:pt x="83581" y="4750"/>
                  </a:cubicBezTo>
                  <a:lnTo>
                    <a:pt x="70627" y="464"/>
                  </a:lnTo>
                  <a:cubicBezTo>
                    <a:pt x="63293" y="-2013"/>
                    <a:pt x="70436" y="5988"/>
                    <a:pt x="64340" y="11227"/>
                  </a:cubicBezTo>
                  <a:cubicBezTo>
                    <a:pt x="63388" y="11608"/>
                    <a:pt x="59959" y="14751"/>
                    <a:pt x="55768" y="11703"/>
                  </a:cubicBezTo>
                  <a:cubicBezTo>
                    <a:pt x="34622" y="2559"/>
                    <a:pt x="48338" y="19895"/>
                    <a:pt x="39290" y="20847"/>
                  </a:cubicBezTo>
                  <a:lnTo>
                    <a:pt x="38718" y="20847"/>
                  </a:lnTo>
                  <a:cubicBezTo>
                    <a:pt x="33194" y="21514"/>
                    <a:pt x="27669" y="17228"/>
                    <a:pt x="28621" y="17704"/>
                  </a:cubicBezTo>
                  <a:cubicBezTo>
                    <a:pt x="26336" y="15894"/>
                    <a:pt x="22049" y="14751"/>
                    <a:pt x="19096" y="15323"/>
                  </a:cubicBezTo>
                  <a:cubicBezTo>
                    <a:pt x="-23671" y="23228"/>
                    <a:pt x="19763" y="18752"/>
                    <a:pt x="12810" y="30944"/>
                  </a:cubicBezTo>
                  <a:cubicBezTo>
                    <a:pt x="12620" y="31896"/>
                    <a:pt x="9191" y="36659"/>
                    <a:pt x="14810" y="35897"/>
                  </a:cubicBezTo>
                  <a:cubicBezTo>
                    <a:pt x="55673" y="30372"/>
                    <a:pt x="58721" y="30944"/>
                    <a:pt x="64340" y="26372"/>
                  </a:cubicBezTo>
                  <a:close/>
                </a:path>
              </a:pathLst>
            </a:custGeom>
            <a:grpFill/>
            <a:ln w="9525" cap="flat">
              <a:noFill/>
              <a:prstDash val="solid"/>
              <a:miter/>
            </a:ln>
          </p:spPr>
          <p:txBody>
            <a:bodyPr rtlCol="0" anchor="ctr"/>
            <a:lstStyle/>
            <a:p>
              <a:endParaRPr lang="en-IN"/>
            </a:p>
          </p:txBody>
        </p:sp>
        <p:sp>
          <p:nvSpPr>
            <p:cNvPr id="299" name="Freeform: Shape 298">
              <a:extLst>
                <a:ext uri="{FF2B5EF4-FFF2-40B4-BE49-F238E27FC236}">
                  <a16:creationId xmlns:a16="http://schemas.microsoft.com/office/drawing/2014/main" id="{3AF2B8B2-38EC-3373-0DBF-7771CD6845BD}"/>
                </a:ext>
              </a:extLst>
            </p:cNvPr>
            <p:cNvSpPr/>
            <p:nvPr/>
          </p:nvSpPr>
          <p:spPr>
            <a:xfrm>
              <a:off x="6358478" y="672758"/>
              <a:ext cx="32991" cy="13089"/>
            </a:xfrm>
            <a:custGeom>
              <a:avLst/>
              <a:gdLst>
                <a:gd name="connsiteX0" fmla="*/ 31733 w 32991"/>
                <a:gd name="connsiteY0" fmla="*/ 9270 h 13089"/>
                <a:gd name="connsiteX1" fmla="*/ 14493 w 32991"/>
                <a:gd name="connsiteY1" fmla="*/ 221 h 13089"/>
                <a:gd name="connsiteX2" fmla="*/ 1920 w 32991"/>
                <a:gd name="connsiteY2" fmla="*/ 6412 h 13089"/>
                <a:gd name="connsiteX3" fmla="*/ 19255 w 32991"/>
                <a:gd name="connsiteY3" fmla="*/ 12794 h 13089"/>
                <a:gd name="connsiteX4" fmla="*/ 31733 w 32991"/>
                <a:gd name="connsiteY4" fmla="*/ 9270 h 13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91" h="13089">
                  <a:moveTo>
                    <a:pt x="31733" y="9270"/>
                  </a:moveTo>
                  <a:cubicBezTo>
                    <a:pt x="27447" y="6317"/>
                    <a:pt x="22303" y="-1398"/>
                    <a:pt x="14493" y="221"/>
                  </a:cubicBezTo>
                  <a:cubicBezTo>
                    <a:pt x="9921" y="1650"/>
                    <a:pt x="-5319" y="2602"/>
                    <a:pt x="1920" y="6412"/>
                  </a:cubicBezTo>
                  <a:cubicBezTo>
                    <a:pt x="7730" y="9460"/>
                    <a:pt x="12683" y="12794"/>
                    <a:pt x="19255" y="12794"/>
                  </a:cubicBezTo>
                  <a:cubicBezTo>
                    <a:pt x="19255" y="12794"/>
                    <a:pt x="37924" y="14604"/>
                    <a:pt x="31733" y="9270"/>
                  </a:cubicBezTo>
                  <a:close/>
                </a:path>
              </a:pathLst>
            </a:custGeom>
            <a:grpFill/>
            <a:ln w="9525" cap="flat">
              <a:noFill/>
              <a:prstDash val="solid"/>
              <a:miter/>
            </a:ln>
          </p:spPr>
          <p:txBody>
            <a:bodyPr rtlCol="0" anchor="ctr"/>
            <a:lstStyle/>
            <a:p>
              <a:endParaRPr lang="en-IN"/>
            </a:p>
          </p:txBody>
        </p:sp>
        <p:sp>
          <p:nvSpPr>
            <p:cNvPr id="300" name="Freeform: Shape 299">
              <a:extLst>
                <a:ext uri="{FF2B5EF4-FFF2-40B4-BE49-F238E27FC236}">
                  <a16:creationId xmlns:a16="http://schemas.microsoft.com/office/drawing/2014/main" id="{4B7427CB-0E3A-85A7-71A6-4759C9699A7F}"/>
                </a:ext>
              </a:extLst>
            </p:cNvPr>
            <p:cNvSpPr/>
            <p:nvPr/>
          </p:nvSpPr>
          <p:spPr>
            <a:xfrm>
              <a:off x="6027973" y="761472"/>
              <a:ext cx="65248" cy="52169"/>
            </a:xfrm>
            <a:custGeom>
              <a:avLst/>
              <a:gdLst>
                <a:gd name="connsiteX0" fmla="*/ 2574 w 65248"/>
                <a:gd name="connsiteY0" fmla="*/ 50001 h 52169"/>
                <a:gd name="connsiteX1" fmla="*/ 19147 w 65248"/>
                <a:gd name="connsiteY1" fmla="*/ 49715 h 52169"/>
                <a:gd name="connsiteX2" fmla="*/ 40198 w 65248"/>
                <a:gd name="connsiteY2" fmla="*/ 35333 h 52169"/>
                <a:gd name="connsiteX3" fmla="*/ 60962 w 65248"/>
                <a:gd name="connsiteY3" fmla="*/ 31427 h 52169"/>
                <a:gd name="connsiteX4" fmla="*/ 62581 w 65248"/>
                <a:gd name="connsiteY4" fmla="*/ 3138 h 52169"/>
                <a:gd name="connsiteX5" fmla="*/ 53437 w 65248"/>
                <a:gd name="connsiteY5" fmla="*/ 1614 h 52169"/>
                <a:gd name="connsiteX6" fmla="*/ 43055 w 65248"/>
                <a:gd name="connsiteY6" fmla="*/ 3805 h 52169"/>
                <a:gd name="connsiteX7" fmla="*/ 23624 w 65248"/>
                <a:gd name="connsiteY7" fmla="*/ 17045 h 52169"/>
                <a:gd name="connsiteX8" fmla="*/ 10480 w 65248"/>
                <a:gd name="connsiteY8" fmla="*/ 15425 h 52169"/>
                <a:gd name="connsiteX9" fmla="*/ 5336 w 65248"/>
                <a:gd name="connsiteY9" fmla="*/ 24474 h 52169"/>
                <a:gd name="connsiteX10" fmla="*/ 14290 w 65248"/>
                <a:gd name="connsiteY10" fmla="*/ 33142 h 52169"/>
                <a:gd name="connsiteX11" fmla="*/ 8860 w 65248"/>
                <a:gd name="connsiteY11" fmla="*/ 40857 h 52169"/>
                <a:gd name="connsiteX12" fmla="*/ 2479 w 65248"/>
                <a:gd name="connsiteY12" fmla="*/ 50001 h 5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48" h="52169">
                  <a:moveTo>
                    <a:pt x="2574" y="50001"/>
                  </a:moveTo>
                  <a:cubicBezTo>
                    <a:pt x="5717" y="50382"/>
                    <a:pt x="13623" y="54859"/>
                    <a:pt x="19147" y="49715"/>
                  </a:cubicBezTo>
                  <a:cubicBezTo>
                    <a:pt x="26863" y="42476"/>
                    <a:pt x="32578" y="34761"/>
                    <a:pt x="40198" y="35333"/>
                  </a:cubicBezTo>
                  <a:cubicBezTo>
                    <a:pt x="47722" y="34952"/>
                    <a:pt x="59152" y="39714"/>
                    <a:pt x="60962" y="31427"/>
                  </a:cubicBezTo>
                  <a:cubicBezTo>
                    <a:pt x="65058" y="12758"/>
                    <a:pt x="67344" y="7901"/>
                    <a:pt x="62581" y="3138"/>
                  </a:cubicBezTo>
                  <a:cubicBezTo>
                    <a:pt x="61629" y="2662"/>
                    <a:pt x="58105" y="-2577"/>
                    <a:pt x="53437" y="1614"/>
                  </a:cubicBezTo>
                  <a:cubicBezTo>
                    <a:pt x="52485" y="2090"/>
                    <a:pt x="48484" y="7805"/>
                    <a:pt x="43055" y="3805"/>
                  </a:cubicBezTo>
                  <a:cubicBezTo>
                    <a:pt x="14956" y="-9721"/>
                    <a:pt x="35435" y="18569"/>
                    <a:pt x="23624" y="17045"/>
                  </a:cubicBezTo>
                  <a:lnTo>
                    <a:pt x="10480" y="15425"/>
                  </a:lnTo>
                  <a:cubicBezTo>
                    <a:pt x="3431" y="14568"/>
                    <a:pt x="-1236" y="21807"/>
                    <a:pt x="5336" y="24474"/>
                  </a:cubicBezTo>
                  <a:cubicBezTo>
                    <a:pt x="6670" y="25331"/>
                    <a:pt x="15528" y="26855"/>
                    <a:pt x="14290" y="33142"/>
                  </a:cubicBezTo>
                  <a:cubicBezTo>
                    <a:pt x="13813" y="35714"/>
                    <a:pt x="11337" y="39238"/>
                    <a:pt x="8860" y="40857"/>
                  </a:cubicBezTo>
                  <a:cubicBezTo>
                    <a:pt x="6765" y="42667"/>
                    <a:pt x="-5046" y="48001"/>
                    <a:pt x="2479" y="50001"/>
                  </a:cubicBezTo>
                  <a:close/>
                </a:path>
              </a:pathLst>
            </a:custGeom>
            <a:grpFill/>
            <a:ln w="9525" cap="flat">
              <a:noFill/>
              <a:prstDash val="solid"/>
              <a:miter/>
            </a:ln>
          </p:spPr>
          <p:txBody>
            <a:bodyPr rtlCol="0" anchor="ctr"/>
            <a:lstStyle/>
            <a:p>
              <a:endParaRPr lang="en-IN"/>
            </a:p>
          </p:txBody>
        </p:sp>
        <p:sp>
          <p:nvSpPr>
            <p:cNvPr id="301" name="Freeform: Shape 300">
              <a:extLst>
                <a:ext uri="{FF2B5EF4-FFF2-40B4-BE49-F238E27FC236}">
                  <a16:creationId xmlns:a16="http://schemas.microsoft.com/office/drawing/2014/main" id="{91EED205-EB48-56BC-9BA0-028D85434D86}"/>
                </a:ext>
              </a:extLst>
            </p:cNvPr>
            <p:cNvSpPr/>
            <p:nvPr/>
          </p:nvSpPr>
          <p:spPr>
            <a:xfrm>
              <a:off x="6147760" y="709240"/>
              <a:ext cx="61096" cy="24038"/>
            </a:xfrm>
            <a:custGeom>
              <a:avLst/>
              <a:gdLst>
                <a:gd name="connsiteX0" fmla="*/ 58714 w 61096"/>
                <a:gd name="connsiteY0" fmla="*/ 12221 h 24038"/>
                <a:gd name="connsiteX1" fmla="*/ 60333 w 61096"/>
                <a:gd name="connsiteY1" fmla="*/ 9745 h 24038"/>
                <a:gd name="connsiteX2" fmla="*/ 58047 w 61096"/>
                <a:gd name="connsiteY2" fmla="*/ 4125 h 24038"/>
                <a:gd name="connsiteX3" fmla="*/ 36521 w 61096"/>
                <a:gd name="connsiteY3" fmla="*/ 4601 h 24038"/>
                <a:gd name="connsiteX4" fmla="*/ 35663 w 61096"/>
                <a:gd name="connsiteY4" fmla="*/ 5839 h 24038"/>
                <a:gd name="connsiteX5" fmla="*/ 15947 w 61096"/>
                <a:gd name="connsiteY5" fmla="*/ 791 h 24038"/>
                <a:gd name="connsiteX6" fmla="*/ 1754 w 61096"/>
                <a:gd name="connsiteY6" fmla="*/ 12983 h 24038"/>
                <a:gd name="connsiteX7" fmla="*/ 24043 w 61096"/>
                <a:gd name="connsiteY7" fmla="*/ 23746 h 24038"/>
                <a:gd name="connsiteX8" fmla="*/ 58619 w 61096"/>
                <a:gd name="connsiteY8" fmla="*/ 12126 h 2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096" h="24038">
                  <a:moveTo>
                    <a:pt x="58714" y="12221"/>
                  </a:moveTo>
                  <a:lnTo>
                    <a:pt x="60333" y="9745"/>
                  </a:lnTo>
                  <a:cubicBezTo>
                    <a:pt x="61952" y="7268"/>
                    <a:pt x="60905" y="4696"/>
                    <a:pt x="58047" y="4125"/>
                  </a:cubicBezTo>
                  <a:cubicBezTo>
                    <a:pt x="50999" y="3458"/>
                    <a:pt x="41093" y="-2352"/>
                    <a:pt x="36521" y="4601"/>
                  </a:cubicBezTo>
                  <a:lnTo>
                    <a:pt x="35663" y="5839"/>
                  </a:lnTo>
                  <a:cubicBezTo>
                    <a:pt x="29853" y="14698"/>
                    <a:pt x="25662" y="-3971"/>
                    <a:pt x="15947" y="791"/>
                  </a:cubicBezTo>
                  <a:cubicBezTo>
                    <a:pt x="9946" y="4601"/>
                    <a:pt x="-5104" y="8125"/>
                    <a:pt x="1754" y="12983"/>
                  </a:cubicBezTo>
                  <a:cubicBezTo>
                    <a:pt x="12708" y="20698"/>
                    <a:pt x="17280" y="25270"/>
                    <a:pt x="24043" y="23746"/>
                  </a:cubicBezTo>
                  <a:cubicBezTo>
                    <a:pt x="24043" y="23746"/>
                    <a:pt x="54904" y="17841"/>
                    <a:pt x="58619" y="12126"/>
                  </a:cubicBezTo>
                  <a:close/>
                </a:path>
              </a:pathLst>
            </a:custGeom>
            <a:grpFill/>
            <a:ln w="9525" cap="flat">
              <a:noFill/>
              <a:prstDash val="solid"/>
              <a:miter/>
            </a:ln>
          </p:spPr>
          <p:txBody>
            <a:bodyPr rtlCol="0" anchor="ctr"/>
            <a:lstStyle/>
            <a:p>
              <a:endParaRPr lang="en-IN"/>
            </a:p>
          </p:txBody>
        </p:sp>
        <p:sp>
          <p:nvSpPr>
            <p:cNvPr id="302" name="Freeform: Shape 301">
              <a:extLst>
                <a:ext uri="{FF2B5EF4-FFF2-40B4-BE49-F238E27FC236}">
                  <a16:creationId xmlns:a16="http://schemas.microsoft.com/office/drawing/2014/main" id="{B604A165-FB7F-D180-1629-90BD85CC2880}"/>
                </a:ext>
              </a:extLst>
            </p:cNvPr>
            <p:cNvSpPr/>
            <p:nvPr/>
          </p:nvSpPr>
          <p:spPr>
            <a:xfrm>
              <a:off x="6193455" y="683522"/>
              <a:ext cx="29648" cy="21589"/>
            </a:xfrm>
            <a:custGeom>
              <a:avLst/>
              <a:gdLst>
                <a:gd name="connsiteX0" fmla="*/ 3208 w 29648"/>
                <a:gd name="connsiteY0" fmla="*/ 126 h 21589"/>
                <a:gd name="connsiteX1" fmla="*/ 2922 w 29648"/>
                <a:gd name="connsiteY1" fmla="*/ 126 h 21589"/>
                <a:gd name="connsiteX2" fmla="*/ 922 w 29648"/>
                <a:gd name="connsiteY2" fmla="*/ 5841 h 21589"/>
                <a:gd name="connsiteX3" fmla="*/ 18829 w 29648"/>
                <a:gd name="connsiteY3" fmla="*/ 21366 h 21589"/>
                <a:gd name="connsiteX4" fmla="*/ 28068 w 29648"/>
                <a:gd name="connsiteY4" fmla="*/ 14794 h 21589"/>
                <a:gd name="connsiteX5" fmla="*/ 3208 w 29648"/>
                <a:gd name="connsiteY5" fmla="*/ 126 h 2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48" h="21589">
                  <a:moveTo>
                    <a:pt x="3208" y="126"/>
                  </a:moveTo>
                  <a:lnTo>
                    <a:pt x="2922" y="126"/>
                  </a:lnTo>
                  <a:cubicBezTo>
                    <a:pt x="65" y="983"/>
                    <a:pt x="-888" y="3459"/>
                    <a:pt x="922" y="5841"/>
                  </a:cubicBezTo>
                  <a:cubicBezTo>
                    <a:pt x="7113" y="12508"/>
                    <a:pt x="10637" y="23271"/>
                    <a:pt x="18829" y="21366"/>
                  </a:cubicBezTo>
                  <a:cubicBezTo>
                    <a:pt x="21210" y="20414"/>
                    <a:pt x="34069" y="19747"/>
                    <a:pt x="28068" y="14794"/>
                  </a:cubicBezTo>
                  <a:cubicBezTo>
                    <a:pt x="28068" y="14794"/>
                    <a:pt x="9780" y="-1589"/>
                    <a:pt x="3208" y="126"/>
                  </a:cubicBezTo>
                  <a:close/>
                </a:path>
              </a:pathLst>
            </a:custGeom>
            <a:grpFill/>
            <a:ln w="9525" cap="flat">
              <a:noFill/>
              <a:prstDash val="solid"/>
              <a:miter/>
            </a:ln>
          </p:spPr>
          <p:txBody>
            <a:bodyPr rtlCol="0" anchor="ctr"/>
            <a:lstStyle/>
            <a:p>
              <a:endParaRPr lang="en-IN"/>
            </a:p>
          </p:txBody>
        </p:sp>
        <p:sp>
          <p:nvSpPr>
            <p:cNvPr id="303" name="Freeform: Shape 302">
              <a:extLst>
                <a:ext uri="{FF2B5EF4-FFF2-40B4-BE49-F238E27FC236}">
                  <a16:creationId xmlns:a16="http://schemas.microsoft.com/office/drawing/2014/main" id="{D125DC32-4B33-DDEF-8F34-3861EA41A5C7}"/>
                </a:ext>
              </a:extLst>
            </p:cNvPr>
            <p:cNvSpPr/>
            <p:nvPr/>
          </p:nvSpPr>
          <p:spPr>
            <a:xfrm>
              <a:off x="6139396" y="731644"/>
              <a:ext cx="16491" cy="15260"/>
            </a:xfrm>
            <a:custGeom>
              <a:avLst/>
              <a:gdLst>
                <a:gd name="connsiteX0" fmla="*/ 8308 w 16491"/>
                <a:gd name="connsiteY0" fmla="*/ 14773 h 15260"/>
                <a:gd name="connsiteX1" fmla="*/ 14595 w 16491"/>
                <a:gd name="connsiteY1" fmla="*/ 7343 h 15260"/>
                <a:gd name="connsiteX2" fmla="*/ 212 w 16491"/>
                <a:gd name="connsiteY2" fmla="*/ 3152 h 15260"/>
                <a:gd name="connsiteX3" fmla="*/ 8308 w 16491"/>
                <a:gd name="connsiteY3" fmla="*/ 14868 h 15260"/>
              </a:gdLst>
              <a:ahLst/>
              <a:cxnLst>
                <a:cxn ang="0">
                  <a:pos x="connsiteX0" y="connsiteY0"/>
                </a:cxn>
                <a:cxn ang="0">
                  <a:pos x="connsiteX1" y="connsiteY1"/>
                </a:cxn>
                <a:cxn ang="0">
                  <a:pos x="connsiteX2" y="connsiteY2"/>
                </a:cxn>
                <a:cxn ang="0">
                  <a:pos x="connsiteX3" y="connsiteY3"/>
                </a:cxn>
              </a:cxnLst>
              <a:rect l="l" t="t" r="r" b="b"/>
              <a:pathLst>
                <a:path w="16491" h="15260">
                  <a:moveTo>
                    <a:pt x="8308" y="14773"/>
                  </a:moveTo>
                  <a:cubicBezTo>
                    <a:pt x="9642" y="13820"/>
                    <a:pt x="20881" y="11153"/>
                    <a:pt x="14595" y="7343"/>
                  </a:cubicBezTo>
                  <a:cubicBezTo>
                    <a:pt x="9737" y="5057"/>
                    <a:pt x="-1693" y="-5039"/>
                    <a:pt x="212" y="3152"/>
                  </a:cubicBezTo>
                  <a:cubicBezTo>
                    <a:pt x="212" y="3152"/>
                    <a:pt x="1165" y="17821"/>
                    <a:pt x="8308" y="14868"/>
                  </a:cubicBezTo>
                  <a:close/>
                </a:path>
              </a:pathLst>
            </a:custGeom>
            <a:grpFill/>
            <a:ln w="9525" cap="flat">
              <a:noFill/>
              <a:prstDash val="solid"/>
              <a:miter/>
            </a:ln>
          </p:spPr>
          <p:txBody>
            <a:bodyPr rtlCol="0" anchor="ctr"/>
            <a:lstStyle/>
            <a:p>
              <a:endParaRPr lang="en-IN"/>
            </a:p>
          </p:txBody>
        </p:sp>
        <p:sp>
          <p:nvSpPr>
            <p:cNvPr id="304" name="Freeform: Shape 303">
              <a:extLst>
                <a:ext uri="{FF2B5EF4-FFF2-40B4-BE49-F238E27FC236}">
                  <a16:creationId xmlns:a16="http://schemas.microsoft.com/office/drawing/2014/main" id="{85FA2607-66D3-7263-8D82-E1CE0B4034BC}"/>
                </a:ext>
              </a:extLst>
            </p:cNvPr>
            <p:cNvSpPr/>
            <p:nvPr/>
          </p:nvSpPr>
          <p:spPr>
            <a:xfrm>
              <a:off x="6097902" y="733009"/>
              <a:ext cx="34008" cy="26319"/>
            </a:xfrm>
            <a:custGeom>
              <a:avLst/>
              <a:gdLst>
                <a:gd name="connsiteX0" fmla="*/ 2844 w 34008"/>
                <a:gd name="connsiteY0" fmla="*/ 22362 h 26319"/>
                <a:gd name="connsiteX1" fmla="*/ 16180 w 34008"/>
                <a:gd name="connsiteY1" fmla="*/ 26077 h 26319"/>
                <a:gd name="connsiteX2" fmla="*/ 33801 w 34008"/>
                <a:gd name="connsiteY2" fmla="*/ 17123 h 26319"/>
                <a:gd name="connsiteX3" fmla="*/ 24181 w 34008"/>
                <a:gd name="connsiteY3" fmla="*/ 74 h 26319"/>
                <a:gd name="connsiteX4" fmla="*/ 23418 w 34008"/>
                <a:gd name="connsiteY4" fmla="*/ 74 h 26319"/>
                <a:gd name="connsiteX5" fmla="*/ 19037 w 34008"/>
                <a:gd name="connsiteY5" fmla="*/ 8646 h 26319"/>
                <a:gd name="connsiteX6" fmla="*/ 8369 w 34008"/>
                <a:gd name="connsiteY6" fmla="*/ 12932 h 26319"/>
                <a:gd name="connsiteX7" fmla="*/ 2844 w 34008"/>
                <a:gd name="connsiteY7" fmla="*/ 22362 h 2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08" h="26319">
                  <a:moveTo>
                    <a:pt x="2844" y="22362"/>
                  </a:moveTo>
                  <a:cubicBezTo>
                    <a:pt x="4083" y="22838"/>
                    <a:pt x="9322" y="27410"/>
                    <a:pt x="16180" y="26077"/>
                  </a:cubicBezTo>
                  <a:cubicBezTo>
                    <a:pt x="22847" y="23886"/>
                    <a:pt x="35801" y="25220"/>
                    <a:pt x="33801" y="17123"/>
                  </a:cubicBezTo>
                  <a:cubicBezTo>
                    <a:pt x="31610" y="11408"/>
                    <a:pt x="32372" y="-1070"/>
                    <a:pt x="24181" y="74"/>
                  </a:cubicBezTo>
                  <a:lnTo>
                    <a:pt x="23418" y="74"/>
                  </a:lnTo>
                  <a:cubicBezTo>
                    <a:pt x="17132" y="1026"/>
                    <a:pt x="18847" y="9599"/>
                    <a:pt x="19037" y="8646"/>
                  </a:cubicBezTo>
                  <a:cubicBezTo>
                    <a:pt x="19894" y="15885"/>
                    <a:pt x="7416" y="13028"/>
                    <a:pt x="8369" y="12932"/>
                  </a:cubicBezTo>
                  <a:cubicBezTo>
                    <a:pt x="1321" y="12266"/>
                    <a:pt x="-3252" y="18647"/>
                    <a:pt x="2844" y="22362"/>
                  </a:cubicBezTo>
                  <a:close/>
                </a:path>
              </a:pathLst>
            </a:custGeom>
            <a:grpFill/>
            <a:ln w="9525" cap="flat">
              <a:noFill/>
              <a:prstDash val="solid"/>
              <a:miter/>
            </a:ln>
          </p:spPr>
          <p:txBody>
            <a:bodyPr rtlCol="0" anchor="ctr"/>
            <a:lstStyle/>
            <a:p>
              <a:endParaRPr lang="en-IN"/>
            </a:p>
          </p:txBody>
        </p:sp>
        <p:sp>
          <p:nvSpPr>
            <p:cNvPr id="305" name="Freeform: Shape 304">
              <a:extLst>
                <a:ext uri="{FF2B5EF4-FFF2-40B4-BE49-F238E27FC236}">
                  <a16:creationId xmlns:a16="http://schemas.microsoft.com/office/drawing/2014/main" id="{72247A12-379C-5FF9-0E6B-1D4213C74CF2}"/>
                </a:ext>
              </a:extLst>
            </p:cNvPr>
            <p:cNvSpPr/>
            <p:nvPr/>
          </p:nvSpPr>
          <p:spPr>
            <a:xfrm>
              <a:off x="6161569" y="684024"/>
              <a:ext cx="15606" cy="15852"/>
            </a:xfrm>
            <a:custGeom>
              <a:avLst/>
              <a:gdLst>
                <a:gd name="connsiteX0" fmla="*/ 14234 w 15606"/>
                <a:gd name="connsiteY0" fmla="*/ 12958 h 15852"/>
                <a:gd name="connsiteX1" fmla="*/ 13282 w 15606"/>
                <a:gd name="connsiteY1" fmla="*/ 3433 h 15852"/>
                <a:gd name="connsiteX2" fmla="*/ 3948 w 15606"/>
                <a:gd name="connsiteY2" fmla="*/ 2386 h 15852"/>
                <a:gd name="connsiteX3" fmla="*/ 2805 w 15606"/>
                <a:gd name="connsiteY3" fmla="*/ 13625 h 15852"/>
                <a:gd name="connsiteX4" fmla="*/ 14234 w 15606"/>
                <a:gd name="connsiteY4" fmla="*/ 12958 h 15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06" h="15852">
                  <a:moveTo>
                    <a:pt x="14234" y="12958"/>
                  </a:moveTo>
                  <a:cubicBezTo>
                    <a:pt x="14425" y="12006"/>
                    <a:pt x="17759" y="7434"/>
                    <a:pt x="13282" y="3433"/>
                  </a:cubicBezTo>
                  <a:cubicBezTo>
                    <a:pt x="12330" y="2957"/>
                    <a:pt x="7853" y="-3329"/>
                    <a:pt x="3948" y="2386"/>
                  </a:cubicBezTo>
                  <a:cubicBezTo>
                    <a:pt x="3376" y="3719"/>
                    <a:pt x="-3863" y="10577"/>
                    <a:pt x="2805" y="13625"/>
                  </a:cubicBezTo>
                  <a:cubicBezTo>
                    <a:pt x="2805" y="13625"/>
                    <a:pt x="11091" y="19054"/>
                    <a:pt x="14234" y="12958"/>
                  </a:cubicBezTo>
                  <a:close/>
                </a:path>
              </a:pathLst>
            </a:custGeom>
            <a:grpFill/>
            <a:ln w="9525" cap="flat">
              <a:noFill/>
              <a:prstDash val="solid"/>
              <a:miter/>
            </a:ln>
          </p:spPr>
          <p:txBody>
            <a:bodyPr rtlCol="0" anchor="ctr"/>
            <a:lstStyle/>
            <a:p>
              <a:endParaRPr lang="en-IN"/>
            </a:p>
          </p:txBody>
        </p:sp>
        <p:sp>
          <p:nvSpPr>
            <p:cNvPr id="306" name="Freeform: Shape 305">
              <a:extLst>
                <a:ext uri="{FF2B5EF4-FFF2-40B4-BE49-F238E27FC236}">
                  <a16:creationId xmlns:a16="http://schemas.microsoft.com/office/drawing/2014/main" id="{2ECD6C66-8C4F-0F2F-5205-85222A11D621}"/>
                </a:ext>
              </a:extLst>
            </p:cNvPr>
            <p:cNvSpPr/>
            <p:nvPr/>
          </p:nvSpPr>
          <p:spPr>
            <a:xfrm>
              <a:off x="5994923" y="817535"/>
              <a:ext cx="20676" cy="11142"/>
            </a:xfrm>
            <a:custGeom>
              <a:avLst/>
              <a:gdLst>
                <a:gd name="connsiteX0" fmla="*/ 3048 w 20676"/>
                <a:gd name="connsiteY0" fmla="*/ 6320 h 11142"/>
                <a:gd name="connsiteX1" fmla="*/ 11811 w 20676"/>
                <a:gd name="connsiteY1" fmla="*/ 10892 h 11142"/>
                <a:gd name="connsiteX2" fmla="*/ 20669 w 20676"/>
                <a:gd name="connsiteY2" fmla="*/ 6225 h 11142"/>
                <a:gd name="connsiteX3" fmla="*/ 14954 w 20676"/>
                <a:gd name="connsiteY3" fmla="*/ 319 h 11142"/>
                <a:gd name="connsiteX4" fmla="*/ 1143 w 20676"/>
                <a:gd name="connsiteY4" fmla="*/ 4129 h 11142"/>
                <a:gd name="connsiteX5" fmla="*/ 3048 w 20676"/>
                <a:gd name="connsiteY5" fmla="*/ 6415 h 1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76" h="11142">
                  <a:moveTo>
                    <a:pt x="3048" y="6320"/>
                  </a:moveTo>
                  <a:cubicBezTo>
                    <a:pt x="4953" y="8606"/>
                    <a:pt x="8858" y="10701"/>
                    <a:pt x="11811" y="10892"/>
                  </a:cubicBezTo>
                  <a:cubicBezTo>
                    <a:pt x="12764" y="10701"/>
                    <a:pt x="20955" y="13083"/>
                    <a:pt x="20669" y="6225"/>
                  </a:cubicBezTo>
                  <a:cubicBezTo>
                    <a:pt x="20193" y="5272"/>
                    <a:pt x="20288" y="414"/>
                    <a:pt x="14954" y="319"/>
                  </a:cubicBezTo>
                  <a:cubicBezTo>
                    <a:pt x="10097" y="796"/>
                    <a:pt x="-4096" y="-2253"/>
                    <a:pt x="1143" y="4129"/>
                  </a:cubicBezTo>
                  <a:lnTo>
                    <a:pt x="3048" y="6415"/>
                  </a:lnTo>
                  <a:close/>
                </a:path>
              </a:pathLst>
            </a:custGeom>
            <a:grpFill/>
            <a:ln w="9525" cap="flat">
              <a:noFill/>
              <a:prstDash val="solid"/>
              <a:miter/>
            </a:ln>
          </p:spPr>
          <p:txBody>
            <a:bodyPr rtlCol="0" anchor="ctr"/>
            <a:lstStyle/>
            <a:p>
              <a:endParaRPr lang="en-IN"/>
            </a:p>
          </p:txBody>
        </p:sp>
        <p:sp>
          <p:nvSpPr>
            <p:cNvPr id="307" name="Freeform: Shape 306">
              <a:extLst>
                <a:ext uri="{FF2B5EF4-FFF2-40B4-BE49-F238E27FC236}">
                  <a16:creationId xmlns:a16="http://schemas.microsoft.com/office/drawing/2014/main" id="{41451C8B-73C8-B5C0-85FB-DADA4AA15162}"/>
                </a:ext>
              </a:extLst>
            </p:cNvPr>
            <p:cNvSpPr/>
            <p:nvPr/>
          </p:nvSpPr>
          <p:spPr>
            <a:xfrm>
              <a:off x="5787035" y="908439"/>
              <a:ext cx="30783" cy="33953"/>
            </a:xfrm>
            <a:custGeom>
              <a:avLst/>
              <a:gdLst>
                <a:gd name="connsiteX0" fmla="*/ 26818 w 30783"/>
                <a:gd name="connsiteY0" fmla="*/ 570 h 33953"/>
                <a:gd name="connsiteX1" fmla="*/ 7864 w 30783"/>
                <a:gd name="connsiteY1" fmla="*/ 14762 h 33953"/>
                <a:gd name="connsiteX2" fmla="*/ 2625 w 30783"/>
                <a:gd name="connsiteY2" fmla="*/ 32955 h 33953"/>
                <a:gd name="connsiteX3" fmla="*/ 29962 w 30783"/>
                <a:gd name="connsiteY3" fmla="*/ 8762 h 33953"/>
                <a:gd name="connsiteX4" fmla="*/ 26818 w 30783"/>
                <a:gd name="connsiteY4" fmla="*/ 666 h 33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83" h="33953">
                  <a:moveTo>
                    <a:pt x="26818" y="570"/>
                  </a:moveTo>
                  <a:cubicBezTo>
                    <a:pt x="15293" y="6952"/>
                    <a:pt x="10626" y="8857"/>
                    <a:pt x="7864" y="14762"/>
                  </a:cubicBezTo>
                  <a:cubicBezTo>
                    <a:pt x="2434" y="26574"/>
                    <a:pt x="-3566" y="37337"/>
                    <a:pt x="2625" y="32955"/>
                  </a:cubicBezTo>
                  <a:cubicBezTo>
                    <a:pt x="24247" y="17525"/>
                    <a:pt x="28914" y="15715"/>
                    <a:pt x="29962" y="8762"/>
                  </a:cubicBezTo>
                  <a:cubicBezTo>
                    <a:pt x="29962" y="8762"/>
                    <a:pt x="33200" y="-2859"/>
                    <a:pt x="26818" y="666"/>
                  </a:cubicBezTo>
                  <a:close/>
                </a:path>
              </a:pathLst>
            </a:custGeom>
            <a:grpFill/>
            <a:ln w="9525" cap="flat">
              <a:noFill/>
              <a:prstDash val="solid"/>
              <a:miter/>
            </a:ln>
          </p:spPr>
          <p:txBody>
            <a:bodyPr rtlCol="0" anchor="ctr"/>
            <a:lstStyle/>
            <a:p>
              <a:endParaRPr lang="en-IN"/>
            </a:p>
          </p:txBody>
        </p:sp>
        <p:sp>
          <p:nvSpPr>
            <p:cNvPr id="308" name="Freeform: Shape 307">
              <a:extLst>
                <a:ext uri="{FF2B5EF4-FFF2-40B4-BE49-F238E27FC236}">
                  <a16:creationId xmlns:a16="http://schemas.microsoft.com/office/drawing/2014/main" id="{83BFE492-DE06-E5F5-E945-CF1C3431B320}"/>
                </a:ext>
              </a:extLst>
            </p:cNvPr>
            <p:cNvSpPr/>
            <p:nvPr/>
          </p:nvSpPr>
          <p:spPr>
            <a:xfrm>
              <a:off x="5946257" y="786650"/>
              <a:ext cx="39145" cy="36815"/>
            </a:xfrm>
            <a:custGeom>
              <a:avLst/>
              <a:gdLst>
                <a:gd name="connsiteX0" fmla="*/ 184 w 39145"/>
                <a:gd name="connsiteY0" fmla="*/ 26918 h 36815"/>
                <a:gd name="connsiteX1" fmla="*/ 4375 w 39145"/>
                <a:gd name="connsiteY1" fmla="*/ 36062 h 36815"/>
                <a:gd name="connsiteX2" fmla="*/ 37808 w 39145"/>
                <a:gd name="connsiteY2" fmla="*/ 11487 h 36815"/>
                <a:gd name="connsiteX3" fmla="*/ 34855 w 39145"/>
                <a:gd name="connsiteY3" fmla="*/ 57 h 36815"/>
                <a:gd name="connsiteX4" fmla="*/ 22854 w 39145"/>
                <a:gd name="connsiteY4" fmla="*/ 5391 h 36815"/>
                <a:gd name="connsiteX5" fmla="*/ 16663 w 39145"/>
                <a:gd name="connsiteY5" fmla="*/ 15583 h 36815"/>
                <a:gd name="connsiteX6" fmla="*/ 89 w 39145"/>
                <a:gd name="connsiteY6" fmla="*/ 26918 h 3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45" h="36815">
                  <a:moveTo>
                    <a:pt x="184" y="26918"/>
                  </a:moveTo>
                  <a:cubicBezTo>
                    <a:pt x="470" y="28632"/>
                    <a:pt x="-1816" y="39777"/>
                    <a:pt x="4375" y="36062"/>
                  </a:cubicBezTo>
                  <a:cubicBezTo>
                    <a:pt x="31522" y="19869"/>
                    <a:pt x="36284" y="18536"/>
                    <a:pt x="37808" y="11487"/>
                  </a:cubicBezTo>
                  <a:cubicBezTo>
                    <a:pt x="37808" y="9678"/>
                    <a:pt x="42285" y="57"/>
                    <a:pt x="34855" y="57"/>
                  </a:cubicBezTo>
                  <a:cubicBezTo>
                    <a:pt x="33141" y="438"/>
                    <a:pt x="23806" y="-1848"/>
                    <a:pt x="22854" y="5391"/>
                  </a:cubicBezTo>
                  <a:cubicBezTo>
                    <a:pt x="22473" y="6534"/>
                    <a:pt x="23140" y="13297"/>
                    <a:pt x="16663" y="15583"/>
                  </a:cubicBezTo>
                  <a:cubicBezTo>
                    <a:pt x="16663" y="15583"/>
                    <a:pt x="375" y="18726"/>
                    <a:pt x="89" y="26918"/>
                  </a:cubicBezTo>
                  <a:close/>
                </a:path>
              </a:pathLst>
            </a:custGeom>
            <a:grpFill/>
            <a:ln w="9525" cap="flat">
              <a:noFill/>
              <a:prstDash val="solid"/>
              <a:miter/>
            </a:ln>
          </p:spPr>
          <p:txBody>
            <a:bodyPr rtlCol="0" anchor="ctr"/>
            <a:lstStyle/>
            <a:p>
              <a:endParaRPr lang="en-IN"/>
            </a:p>
          </p:txBody>
        </p:sp>
        <p:sp>
          <p:nvSpPr>
            <p:cNvPr id="309" name="Freeform: Shape 308">
              <a:extLst>
                <a:ext uri="{FF2B5EF4-FFF2-40B4-BE49-F238E27FC236}">
                  <a16:creationId xmlns:a16="http://schemas.microsoft.com/office/drawing/2014/main" id="{9165DF5F-1E87-4969-839F-1092C83FD817}"/>
                </a:ext>
              </a:extLst>
            </p:cNvPr>
            <p:cNvSpPr/>
            <p:nvPr/>
          </p:nvSpPr>
          <p:spPr>
            <a:xfrm>
              <a:off x="5887133" y="817591"/>
              <a:ext cx="48546" cy="48143"/>
            </a:xfrm>
            <a:custGeom>
              <a:avLst/>
              <a:gdLst>
                <a:gd name="connsiteX0" fmla="*/ 27304 w 48546"/>
                <a:gd name="connsiteY0" fmla="*/ 45792 h 48143"/>
                <a:gd name="connsiteX1" fmla="*/ 46735 w 48546"/>
                <a:gd name="connsiteY1" fmla="*/ 23790 h 48143"/>
                <a:gd name="connsiteX2" fmla="*/ 44449 w 48546"/>
                <a:gd name="connsiteY2" fmla="*/ 15979 h 48143"/>
                <a:gd name="connsiteX3" fmla="*/ 42163 w 48546"/>
                <a:gd name="connsiteY3" fmla="*/ 2739 h 48143"/>
                <a:gd name="connsiteX4" fmla="*/ 33305 w 48546"/>
                <a:gd name="connsiteY4" fmla="*/ 1596 h 48143"/>
                <a:gd name="connsiteX5" fmla="*/ 30447 w 48546"/>
                <a:gd name="connsiteY5" fmla="*/ 10931 h 48143"/>
                <a:gd name="connsiteX6" fmla="*/ 17017 w 48546"/>
                <a:gd name="connsiteY6" fmla="*/ 22647 h 48143"/>
                <a:gd name="connsiteX7" fmla="*/ 729 w 48546"/>
                <a:gd name="connsiteY7" fmla="*/ 24933 h 48143"/>
                <a:gd name="connsiteX8" fmla="*/ 158 w 48546"/>
                <a:gd name="connsiteY8" fmla="*/ 27124 h 48143"/>
                <a:gd name="connsiteX9" fmla="*/ 18731 w 48546"/>
                <a:gd name="connsiteY9" fmla="*/ 38839 h 48143"/>
                <a:gd name="connsiteX10" fmla="*/ 10921 w 48546"/>
                <a:gd name="connsiteY10" fmla="*/ 46840 h 48143"/>
                <a:gd name="connsiteX11" fmla="*/ 27304 w 48546"/>
                <a:gd name="connsiteY11" fmla="*/ 45697 h 48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6" h="48143">
                  <a:moveTo>
                    <a:pt x="27304" y="45792"/>
                  </a:moveTo>
                  <a:cubicBezTo>
                    <a:pt x="45306" y="31696"/>
                    <a:pt x="52164" y="28457"/>
                    <a:pt x="46735" y="23790"/>
                  </a:cubicBezTo>
                  <a:cubicBezTo>
                    <a:pt x="46068" y="22837"/>
                    <a:pt x="41496" y="19694"/>
                    <a:pt x="44449" y="15979"/>
                  </a:cubicBezTo>
                  <a:cubicBezTo>
                    <a:pt x="48163" y="11502"/>
                    <a:pt x="41877" y="1787"/>
                    <a:pt x="42163" y="2739"/>
                  </a:cubicBezTo>
                  <a:cubicBezTo>
                    <a:pt x="39305" y="-2785"/>
                    <a:pt x="32352" y="1787"/>
                    <a:pt x="33305" y="1596"/>
                  </a:cubicBezTo>
                  <a:cubicBezTo>
                    <a:pt x="28161" y="4549"/>
                    <a:pt x="30352" y="11884"/>
                    <a:pt x="30447" y="10931"/>
                  </a:cubicBezTo>
                  <a:cubicBezTo>
                    <a:pt x="32257" y="17884"/>
                    <a:pt x="24065" y="23980"/>
                    <a:pt x="17017" y="22647"/>
                  </a:cubicBezTo>
                  <a:cubicBezTo>
                    <a:pt x="13016" y="22456"/>
                    <a:pt x="2729" y="17027"/>
                    <a:pt x="729" y="24933"/>
                  </a:cubicBezTo>
                  <a:lnTo>
                    <a:pt x="158" y="27124"/>
                  </a:lnTo>
                  <a:cubicBezTo>
                    <a:pt x="-2509" y="37887"/>
                    <a:pt x="29685" y="33029"/>
                    <a:pt x="18731" y="38839"/>
                  </a:cubicBezTo>
                  <a:cubicBezTo>
                    <a:pt x="15969" y="40744"/>
                    <a:pt x="3205" y="45412"/>
                    <a:pt x="10921" y="46840"/>
                  </a:cubicBezTo>
                  <a:cubicBezTo>
                    <a:pt x="13683" y="46935"/>
                    <a:pt x="21398" y="50364"/>
                    <a:pt x="27304" y="45697"/>
                  </a:cubicBezTo>
                  <a:close/>
                </a:path>
              </a:pathLst>
            </a:custGeom>
            <a:grpFill/>
            <a:ln w="9525" cap="flat">
              <a:noFill/>
              <a:prstDash val="solid"/>
              <a:miter/>
            </a:ln>
          </p:spPr>
          <p:txBody>
            <a:bodyPr rtlCol="0" anchor="ctr"/>
            <a:lstStyle/>
            <a:p>
              <a:endParaRPr lang="en-IN"/>
            </a:p>
          </p:txBody>
        </p:sp>
        <p:sp>
          <p:nvSpPr>
            <p:cNvPr id="310" name="Freeform: Shape 309">
              <a:extLst>
                <a:ext uri="{FF2B5EF4-FFF2-40B4-BE49-F238E27FC236}">
                  <a16:creationId xmlns:a16="http://schemas.microsoft.com/office/drawing/2014/main" id="{333D119B-9DA0-21F9-83D7-82F662EF3F77}"/>
                </a:ext>
              </a:extLst>
            </p:cNvPr>
            <p:cNvSpPr/>
            <p:nvPr/>
          </p:nvSpPr>
          <p:spPr>
            <a:xfrm>
              <a:off x="5296664" y="589736"/>
              <a:ext cx="1584413" cy="1290749"/>
            </a:xfrm>
            <a:custGeom>
              <a:avLst/>
              <a:gdLst>
                <a:gd name="connsiteX0" fmla="*/ 402889 w 1584413"/>
                <a:gd name="connsiteY0" fmla="*/ 1197097 h 1290749"/>
                <a:gd name="connsiteX1" fmla="*/ 411843 w 1584413"/>
                <a:gd name="connsiteY1" fmla="*/ 1216147 h 1290749"/>
                <a:gd name="connsiteX2" fmla="*/ 432703 w 1584413"/>
                <a:gd name="connsiteY2" fmla="*/ 1183952 h 1290749"/>
                <a:gd name="connsiteX3" fmla="*/ 424321 w 1584413"/>
                <a:gd name="connsiteY3" fmla="*/ 1130993 h 1290749"/>
                <a:gd name="connsiteX4" fmla="*/ 463563 w 1584413"/>
                <a:gd name="connsiteY4" fmla="*/ 1113753 h 1290749"/>
                <a:gd name="connsiteX5" fmla="*/ 476708 w 1584413"/>
                <a:gd name="connsiteY5" fmla="*/ 1072034 h 1290749"/>
                <a:gd name="connsiteX6" fmla="*/ 451753 w 1584413"/>
                <a:gd name="connsiteY6" fmla="*/ 1019646 h 1290749"/>
                <a:gd name="connsiteX7" fmla="*/ 476708 w 1584413"/>
                <a:gd name="connsiteY7" fmla="*/ 1016027 h 1290749"/>
                <a:gd name="connsiteX8" fmla="*/ 488614 w 1584413"/>
                <a:gd name="connsiteY8" fmla="*/ 986309 h 1290749"/>
                <a:gd name="connsiteX9" fmla="*/ 444609 w 1584413"/>
                <a:gd name="connsiteY9" fmla="*/ 956591 h 1290749"/>
                <a:gd name="connsiteX10" fmla="*/ 457753 w 1584413"/>
                <a:gd name="connsiteY10" fmla="*/ 912585 h 1290749"/>
                <a:gd name="connsiteX11" fmla="*/ 439846 w 1584413"/>
                <a:gd name="connsiteY11" fmla="*/ 872104 h 1290749"/>
                <a:gd name="connsiteX12" fmla="*/ 451753 w 1584413"/>
                <a:gd name="connsiteY12" fmla="*/ 837623 h 1290749"/>
                <a:gd name="connsiteX13" fmla="*/ 435084 w 1584413"/>
                <a:gd name="connsiteY13" fmla="*/ 814954 h 1290749"/>
                <a:gd name="connsiteX14" fmla="*/ 492234 w 1584413"/>
                <a:gd name="connsiteY14" fmla="*/ 735134 h 1290749"/>
                <a:gd name="connsiteX15" fmla="*/ 564814 w 1584413"/>
                <a:gd name="connsiteY15" fmla="*/ 739897 h 1290749"/>
                <a:gd name="connsiteX16" fmla="*/ 567196 w 1584413"/>
                <a:gd name="connsiteY16" fmla="*/ 697034 h 1290749"/>
                <a:gd name="connsiteX17" fmla="*/ 538621 w 1584413"/>
                <a:gd name="connsiteY17" fmla="*/ 683890 h 1290749"/>
                <a:gd name="connsiteX18" fmla="*/ 589865 w 1584413"/>
                <a:gd name="connsiteY18" fmla="*/ 614834 h 1290749"/>
                <a:gd name="connsiteX19" fmla="*/ 591008 w 1584413"/>
                <a:gd name="connsiteY19" fmla="*/ 538634 h 1290749"/>
                <a:gd name="connsiteX20" fmla="*/ 648158 w 1584413"/>
                <a:gd name="connsiteY20" fmla="*/ 521965 h 1290749"/>
                <a:gd name="connsiteX21" fmla="*/ 647015 w 1584413"/>
                <a:gd name="connsiteY21" fmla="*/ 495771 h 1290749"/>
                <a:gd name="connsiteX22" fmla="*/ 702546 w 1584413"/>
                <a:gd name="connsiteY22" fmla="*/ 444146 h 1290749"/>
                <a:gd name="connsiteX23" fmla="*/ 691402 w 1584413"/>
                <a:gd name="connsiteY23" fmla="*/ 404426 h 1290749"/>
                <a:gd name="connsiteX24" fmla="*/ 754934 w 1584413"/>
                <a:gd name="connsiteY24" fmla="*/ 339371 h 1290749"/>
                <a:gd name="connsiteX25" fmla="*/ 789890 w 1584413"/>
                <a:gd name="connsiteY25" fmla="*/ 352039 h 1290749"/>
                <a:gd name="connsiteX26" fmla="*/ 808940 w 1584413"/>
                <a:gd name="connsiteY26" fmla="*/ 329846 h 1290749"/>
                <a:gd name="connsiteX27" fmla="*/ 802559 w 1584413"/>
                <a:gd name="connsiteY27" fmla="*/ 296508 h 1290749"/>
                <a:gd name="connsiteX28" fmla="*/ 831134 w 1584413"/>
                <a:gd name="connsiteY28" fmla="*/ 282221 h 1290749"/>
                <a:gd name="connsiteX29" fmla="*/ 918478 w 1584413"/>
                <a:gd name="connsiteY29" fmla="*/ 318701 h 1290749"/>
                <a:gd name="connsiteX30" fmla="*/ 932765 w 1584413"/>
                <a:gd name="connsiteY30" fmla="*/ 237739 h 1290749"/>
                <a:gd name="connsiteX31" fmla="*/ 1010584 w 1584413"/>
                <a:gd name="connsiteY31" fmla="*/ 206021 h 1290749"/>
                <a:gd name="connsiteX32" fmla="*/ 1064591 w 1584413"/>
                <a:gd name="connsiteY32" fmla="*/ 260027 h 1290749"/>
                <a:gd name="connsiteX33" fmla="*/ 1131266 w 1584413"/>
                <a:gd name="connsiteY33" fmla="*/ 272696 h 1290749"/>
                <a:gd name="connsiteX34" fmla="*/ 1161460 w 1584413"/>
                <a:gd name="connsiteY34" fmla="*/ 248883 h 1290749"/>
                <a:gd name="connsiteX35" fmla="*/ 1220230 w 1584413"/>
                <a:gd name="connsiteY35" fmla="*/ 280601 h 1290749"/>
                <a:gd name="connsiteX36" fmla="*/ 1267855 w 1584413"/>
                <a:gd name="connsiteY36" fmla="*/ 239358 h 1290749"/>
                <a:gd name="connsiteX37" fmla="*/ 1296430 w 1584413"/>
                <a:gd name="connsiteY37" fmla="*/ 142489 h 1290749"/>
                <a:gd name="connsiteX38" fmla="*/ 1350436 w 1584413"/>
                <a:gd name="connsiteY38" fmla="*/ 148871 h 1290749"/>
                <a:gd name="connsiteX39" fmla="*/ 1390156 w 1584413"/>
                <a:gd name="connsiteY39" fmla="*/ 126677 h 1290749"/>
                <a:gd name="connsiteX40" fmla="*/ 1471118 w 1584413"/>
                <a:gd name="connsiteY40" fmla="*/ 183827 h 1290749"/>
                <a:gd name="connsiteX41" fmla="*/ 1440924 w 1584413"/>
                <a:gd name="connsiteY41" fmla="*/ 223547 h 1290749"/>
                <a:gd name="connsiteX42" fmla="*/ 1477881 w 1584413"/>
                <a:gd name="connsiteY42" fmla="*/ 242597 h 1290749"/>
                <a:gd name="connsiteX43" fmla="*/ 1535698 w 1584413"/>
                <a:gd name="connsiteY43" fmla="*/ 183161 h 1290749"/>
                <a:gd name="connsiteX44" fmla="*/ 1569988 w 1584413"/>
                <a:gd name="connsiteY44" fmla="*/ 185447 h 1290749"/>
                <a:gd name="connsiteX45" fmla="*/ 1574369 w 1584413"/>
                <a:gd name="connsiteY45" fmla="*/ 145727 h 1290749"/>
                <a:gd name="connsiteX46" fmla="*/ 1574369 w 1584413"/>
                <a:gd name="connsiteY46" fmla="*/ 145727 h 1290749"/>
                <a:gd name="connsiteX47" fmla="*/ 1498550 w 1584413"/>
                <a:gd name="connsiteY47" fmla="*/ 130297 h 1290749"/>
                <a:gd name="connsiteX48" fmla="*/ 1437590 w 1584413"/>
                <a:gd name="connsiteY48" fmla="*/ 108104 h 1290749"/>
                <a:gd name="connsiteX49" fmla="*/ 1444258 w 1584413"/>
                <a:gd name="connsiteY49" fmla="*/ 103817 h 1290749"/>
                <a:gd name="connsiteX50" fmla="*/ 1544365 w 1584413"/>
                <a:gd name="connsiteY50" fmla="*/ 105246 h 1290749"/>
                <a:gd name="connsiteX51" fmla="*/ 1583989 w 1584413"/>
                <a:gd name="connsiteY51" fmla="*/ 87720 h 1290749"/>
                <a:gd name="connsiteX52" fmla="*/ 1582180 w 1584413"/>
                <a:gd name="connsiteY52" fmla="*/ 83434 h 1290749"/>
                <a:gd name="connsiteX53" fmla="*/ 1571797 w 1584413"/>
                <a:gd name="connsiteY53" fmla="*/ 79148 h 1290749"/>
                <a:gd name="connsiteX54" fmla="*/ 1547604 w 1584413"/>
                <a:gd name="connsiteY54" fmla="*/ 68670 h 1290749"/>
                <a:gd name="connsiteX55" fmla="*/ 1535888 w 1584413"/>
                <a:gd name="connsiteY55" fmla="*/ 72290 h 1290749"/>
                <a:gd name="connsiteX56" fmla="*/ 1529316 w 1584413"/>
                <a:gd name="connsiteY56" fmla="*/ 64955 h 1290749"/>
                <a:gd name="connsiteX57" fmla="*/ 1536650 w 1584413"/>
                <a:gd name="connsiteY57" fmla="*/ 56764 h 1290749"/>
                <a:gd name="connsiteX58" fmla="*/ 1521791 w 1584413"/>
                <a:gd name="connsiteY58" fmla="*/ 52192 h 1290749"/>
                <a:gd name="connsiteX59" fmla="*/ 1510171 w 1584413"/>
                <a:gd name="connsiteY59" fmla="*/ 53430 h 1290749"/>
                <a:gd name="connsiteX60" fmla="*/ 1501312 w 1584413"/>
                <a:gd name="connsiteY60" fmla="*/ 46953 h 1290749"/>
                <a:gd name="connsiteX61" fmla="*/ 1479595 w 1584413"/>
                <a:gd name="connsiteY61" fmla="*/ 48572 h 1290749"/>
                <a:gd name="connsiteX62" fmla="*/ 1473118 w 1584413"/>
                <a:gd name="connsiteY62" fmla="*/ 36095 h 1290749"/>
                <a:gd name="connsiteX63" fmla="*/ 1451782 w 1584413"/>
                <a:gd name="connsiteY63" fmla="*/ 34190 h 1290749"/>
                <a:gd name="connsiteX64" fmla="*/ 1440543 w 1584413"/>
                <a:gd name="connsiteY64" fmla="*/ 42762 h 1290749"/>
                <a:gd name="connsiteX65" fmla="*/ 1419397 w 1584413"/>
                <a:gd name="connsiteY65" fmla="*/ 72004 h 1290749"/>
                <a:gd name="connsiteX66" fmla="*/ 1406062 w 1584413"/>
                <a:gd name="connsiteY66" fmla="*/ 67622 h 1290749"/>
                <a:gd name="connsiteX67" fmla="*/ 1411968 w 1584413"/>
                <a:gd name="connsiteY67" fmla="*/ 63622 h 1290749"/>
                <a:gd name="connsiteX68" fmla="*/ 1411682 w 1584413"/>
                <a:gd name="connsiteY68" fmla="*/ 50001 h 1290749"/>
                <a:gd name="connsiteX69" fmla="*/ 1396442 w 1584413"/>
                <a:gd name="connsiteY69" fmla="*/ 42953 h 1290749"/>
                <a:gd name="connsiteX70" fmla="*/ 1422160 w 1584413"/>
                <a:gd name="connsiteY70" fmla="*/ 36095 h 1290749"/>
                <a:gd name="connsiteX71" fmla="*/ 1428351 w 1584413"/>
                <a:gd name="connsiteY71" fmla="*/ 21045 h 1290749"/>
                <a:gd name="connsiteX72" fmla="*/ 1419397 w 1584413"/>
                <a:gd name="connsiteY72" fmla="*/ 19712 h 1290749"/>
                <a:gd name="connsiteX73" fmla="*/ 1415587 w 1584413"/>
                <a:gd name="connsiteY73" fmla="*/ 13425 h 1290749"/>
                <a:gd name="connsiteX74" fmla="*/ 1387965 w 1584413"/>
                <a:gd name="connsiteY74" fmla="*/ 9901 h 1290749"/>
                <a:gd name="connsiteX75" fmla="*/ 1387775 w 1584413"/>
                <a:gd name="connsiteY75" fmla="*/ 9520 h 1290749"/>
                <a:gd name="connsiteX76" fmla="*/ 1371772 w 1584413"/>
                <a:gd name="connsiteY76" fmla="*/ 11139 h 1290749"/>
                <a:gd name="connsiteX77" fmla="*/ 1360533 w 1584413"/>
                <a:gd name="connsiteY77" fmla="*/ 15521 h 1290749"/>
                <a:gd name="connsiteX78" fmla="*/ 1350627 w 1584413"/>
                <a:gd name="connsiteY78" fmla="*/ 23141 h 1290749"/>
                <a:gd name="connsiteX79" fmla="*/ 1353294 w 1584413"/>
                <a:gd name="connsiteY79" fmla="*/ 28570 h 1290749"/>
                <a:gd name="connsiteX80" fmla="*/ 1365200 w 1584413"/>
                <a:gd name="connsiteY80" fmla="*/ 30189 h 1290749"/>
                <a:gd name="connsiteX81" fmla="*/ 1362247 w 1584413"/>
                <a:gd name="connsiteY81" fmla="*/ 41810 h 1290749"/>
                <a:gd name="connsiteX82" fmla="*/ 1346626 w 1584413"/>
                <a:gd name="connsiteY82" fmla="*/ 49239 h 1290749"/>
                <a:gd name="connsiteX83" fmla="*/ 1336054 w 1584413"/>
                <a:gd name="connsiteY83" fmla="*/ 71718 h 1290749"/>
                <a:gd name="connsiteX84" fmla="*/ 1333577 w 1584413"/>
                <a:gd name="connsiteY84" fmla="*/ 72194 h 1290749"/>
                <a:gd name="connsiteX85" fmla="*/ 1319956 w 1584413"/>
                <a:gd name="connsiteY85" fmla="*/ 84005 h 1290749"/>
                <a:gd name="connsiteX86" fmla="*/ 1311003 w 1584413"/>
                <a:gd name="connsiteY86" fmla="*/ 82196 h 1290749"/>
                <a:gd name="connsiteX87" fmla="*/ 1312622 w 1584413"/>
                <a:gd name="connsiteY87" fmla="*/ 57526 h 1290749"/>
                <a:gd name="connsiteX88" fmla="*/ 1304050 w 1584413"/>
                <a:gd name="connsiteY88" fmla="*/ 54668 h 1290749"/>
                <a:gd name="connsiteX89" fmla="*/ 1321671 w 1584413"/>
                <a:gd name="connsiteY89" fmla="*/ 40000 h 1290749"/>
                <a:gd name="connsiteX90" fmla="*/ 1317766 w 1584413"/>
                <a:gd name="connsiteY90" fmla="*/ 24569 h 1290749"/>
                <a:gd name="connsiteX91" fmla="*/ 1307288 w 1584413"/>
                <a:gd name="connsiteY91" fmla="*/ 27617 h 1290749"/>
                <a:gd name="connsiteX92" fmla="*/ 1281571 w 1584413"/>
                <a:gd name="connsiteY92" fmla="*/ 55145 h 1290749"/>
                <a:gd name="connsiteX93" fmla="*/ 1273951 w 1584413"/>
                <a:gd name="connsiteY93" fmla="*/ 67527 h 1290749"/>
                <a:gd name="connsiteX94" fmla="*/ 1250900 w 1584413"/>
                <a:gd name="connsiteY94" fmla="*/ 90101 h 1290749"/>
                <a:gd name="connsiteX95" fmla="*/ 1248805 w 1584413"/>
                <a:gd name="connsiteY95" fmla="*/ 97626 h 1290749"/>
                <a:gd name="connsiteX96" fmla="*/ 1225183 w 1584413"/>
                <a:gd name="connsiteY96" fmla="*/ 111914 h 1290749"/>
                <a:gd name="connsiteX97" fmla="*/ 1226230 w 1584413"/>
                <a:gd name="connsiteY97" fmla="*/ 97245 h 1290749"/>
                <a:gd name="connsiteX98" fmla="*/ 1230326 w 1584413"/>
                <a:gd name="connsiteY98" fmla="*/ 94197 h 1290749"/>
                <a:gd name="connsiteX99" fmla="*/ 1230326 w 1584413"/>
                <a:gd name="connsiteY99" fmla="*/ 75719 h 1290749"/>
                <a:gd name="connsiteX100" fmla="*/ 1268140 w 1584413"/>
                <a:gd name="connsiteY100" fmla="*/ 34761 h 1290749"/>
                <a:gd name="connsiteX101" fmla="*/ 1259092 w 1584413"/>
                <a:gd name="connsiteY101" fmla="*/ 28665 h 1290749"/>
                <a:gd name="connsiteX102" fmla="*/ 1268140 w 1584413"/>
                <a:gd name="connsiteY102" fmla="*/ 21617 h 1290749"/>
                <a:gd name="connsiteX103" fmla="*/ 1280047 w 1584413"/>
                <a:gd name="connsiteY103" fmla="*/ 7805 h 1290749"/>
                <a:gd name="connsiteX104" fmla="*/ 1271284 w 1584413"/>
                <a:gd name="connsiteY104" fmla="*/ 5329 h 1290749"/>
                <a:gd name="connsiteX105" fmla="*/ 1256615 w 1584413"/>
                <a:gd name="connsiteY105" fmla="*/ 566 h 1290749"/>
                <a:gd name="connsiteX106" fmla="*/ 1243090 w 1584413"/>
                <a:gd name="connsiteY106" fmla="*/ 10568 h 1290749"/>
                <a:gd name="connsiteX107" fmla="*/ 1244518 w 1584413"/>
                <a:gd name="connsiteY107" fmla="*/ 11806 h 1290749"/>
                <a:gd name="connsiteX108" fmla="*/ 1246519 w 1584413"/>
                <a:gd name="connsiteY108" fmla="*/ 20378 h 1290749"/>
                <a:gd name="connsiteX109" fmla="*/ 1237565 w 1584413"/>
                <a:gd name="connsiteY109" fmla="*/ 30094 h 1290749"/>
                <a:gd name="connsiteX110" fmla="*/ 1223659 w 1584413"/>
                <a:gd name="connsiteY110" fmla="*/ 20664 h 1290749"/>
                <a:gd name="connsiteX111" fmla="*/ 1213753 w 1584413"/>
                <a:gd name="connsiteY111" fmla="*/ 25427 h 1290749"/>
                <a:gd name="connsiteX112" fmla="*/ 1210038 w 1584413"/>
                <a:gd name="connsiteY112" fmla="*/ 12949 h 1290749"/>
                <a:gd name="connsiteX113" fmla="*/ 1202513 w 1584413"/>
                <a:gd name="connsiteY113" fmla="*/ 9710 h 1290749"/>
                <a:gd name="connsiteX114" fmla="*/ 1194988 w 1584413"/>
                <a:gd name="connsiteY114" fmla="*/ 21331 h 1290749"/>
                <a:gd name="connsiteX115" fmla="*/ 1197655 w 1584413"/>
                <a:gd name="connsiteY115" fmla="*/ 35904 h 1290749"/>
                <a:gd name="connsiteX116" fmla="*/ 1184225 w 1584413"/>
                <a:gd name="connsiteY116" fmla="*/ 32189 h 1290749"/>
                <a:gd name="connsiteX117" fmla="*/ 1178320 w 1584413"/>
                <a:gd name="connsiteY117" fmla="*/ 35047 h 1290749"/>
                <a:gd name="connsiteX118" fmla="*/ 1189464 w 1584413"/>
                <a:gd name="connsiteY118" fmla="*/ 45429 h 1290749"/>
                <a:gd name="connsiteX119" fmla="*/ 1193274 w 1584413"/>
                <a:gd name="connsiteY119" fmla="*/ 60288 h 1290749"/>
                <a:gd name="connsiteX120" fmla="*/ 1176986 w 1584413"/>
                <a:gd name="connsiteY120" fmla="*/ 57240 h 1290749"/>
                <a:gd name="connsiteX121" fmla="*/ 1167080 w 1584413"/>
                <a:gd name="connsiteY121" fmla="*/ 70956 h 1290749"/>
                <a:gd name="connsiteX122" fmla="*/ 1156507 w 1584413"/>
                <a:gd name="connsiteY122" fmla="*/ 50192 h 1290749"/>
                <a:gd name="connsiteX123" fmla="*/ 1142029 w 1584413"/>
                <a:gd name="connsiteY123" fmla="*/ 51620 h 1290749"/>
                <a:gd name="connsiteX124" fmla="*/ 1145554 w 1584413"/>
                <a:gd name="connsiteY124" fmla="*/ 65813 h 1290749"/>
                <a:gd name="connsiteX125" fmla="*/ 1149173 w 1584413"/>
                <a:gd name="connsiteY125" fmla="*/ 78195 h 1290749"/>
                <a:gd name="connsiteX126" fmla="*/ 1118312 w 1584413"/>
                <a:gd name="connsiteY126" fmla="*/ 108199 h 1290749"/>
                <a:gd name="connsiteX127" fmla="*/ 1122789 w 1584413"/>
                <a:gd name="connsiteY127" fmla="*/ 117343 h 1290749"/>
                <a:gd name="connsiteX128" fmla="*/ 1133076 w 1584413"/>
                <a:gd name="connsiteY128" fmla="*/ 125153 h 1290749"/>
                <a:gd name="connsiteX129" fmla="*/ 1127647 w 1584413"/>
                <a:gd name="connsiteY129" fmla="*/ 129821 h 1290749"/>
                <a:gd name="connsiteX130" fmla="*/ 1102691 w 1584413"/>
                <a:gd name="connsiteY130" fmla="*/ 122486 h 1290749"/>
                <a:gd name="connsiteX131" fmla="*/ 1097357 w 1584413"/>
                <a:gd name="connsiteY131" fmla="*/ 107056 h 1290749"/>
                <a:gd name="connsiteX132" fmla="*/ 1068782 w 1584413"/>
                <a:gd name="connsiteY132" fmla="*/ 104008 h 1290749"/>
                <a:gd name="connsiteX133" fmla="*/ 1024396 w 1584413"/>
                <a:gd name="connsiteY133" fmla="*/ 91530 h 1290749"/>
                <a:gd name="connsiteX134" fmla="*/ 1020205 w 1584413"/>
                <a:gd name="connsiteY134" fmla="*/ 96864 h 1290749"/>
                <a:gd name="connsiteX135" fmla="*/ 1004107 w 1584413"/>
                <a:gd name="connsiteY135" fmla="*/ 92768 h 1290749"/>
                <a:gd name="connsiteX136" fmla="*/ 1000583 w 1584413"/>
                <a:gd name="connsiteY136" fmla="*/ 105437 h 1290749"/>
                <a:gd name="connsiteX137" fmla="*/ 1034302 w 1584413"/>
                <a:gd name="connsiteY137" fmla="*/ 117057 h 1290749"/>
                <a:gd name="connsiteX138" fmla="*/ 1044303 w 1584413"/>
                <a:gd name="connsiteY138" fmla="*/ 122391 h 1290749"/>
                <a:gd name="connsiteX139" fmla="*/ 1040207 w 1584413"/>
                <a:gd name="connsiteY139" fmla="*/ 130106 h 1290749"/>
                <a:gd name="connsiteX140" fmla="*/ 1034111 w 1584413"/>
                <a:gd name="connsiteY140" fmla="*/ 143346 h 1290749"/>
                <a:gd name="connsiteX141" fmla="*/ 1019538 w 1584413"/>
                <a:gd name="connsiteY141" fmla="*/ 136583 h 1290749"/>
                <a:gd name="connsiteX142" fmla="*/ 1013728 w 1584413"/>
                <a:gd name="connsiteY142" fmla="*/ 128963 h 1290749"/>
                <a:gd name="connsiteX143" fmla="*/ 994868 w 1584413"/>
                <a:gd name="connsiteY143" fmla="*/ 124868 h 1290749"/>
                <a:gd name="connsiteX144" fmla="*/ 993344 w 1584413"/>
                <a:gd name="connsiteY144" fmla="*/ 136202 h 1290749"/>
                <a:gd name="connsiteX145" fmla="*/ 984486 w 1584413"/>
                <a:gd name="connsiteY145" fmla="*/ 144870 h 1290749"/>
                <a:gd name="connsiteX146" fmla="*/ 978390 w 1584413"/>
                <a:gd name="connsiteY146" fmla="*/ 121534 h 1290749"/>
                <a:gd name="connsiteX147" fmla="*/ 959340 w 1584413"/>
                <a:gd name="connsiteY147" fmla="*/ 101436 h 1290749"/>
                <a:gd name="connsiteX148" fmla="*/ 947910 w 1584413"/>
                <a:gd name="connsiteY148" fmla="*/ 108008 h 1290749"/>
                <a:gd name="connsiteX149" fmla="*/ 950291 w 1584413"/>
                <a:gd name="connsiteY149" fmla="*/ 119534 h 1290749"/>
                <a:gd name="connsiteX150" fmla="*/ 960673 w 1584413"/>
                <a:gd name="connsiteY150" fmla="*/ 127154 h 1290749"/>
                <a:gd name="connsiteX151" fmla="*/ 936670 w 1584413"/>
                <a:gd name="connsiteY151" fmla="*/ 189923 h 1290749"/>
                <a:gd name="connsiteX152" fmla="*/ 933432 w 1584413"/>
                <a:gd name="connsiteY152" fmla="*/ 169826 h 1290749"/>
                <a:gd name="connsiteX153" fmla="*/ 939433 w 1584413"/>
                <a:gd name="connsiteY153" fmla="*/ 130678 h 1290749"/>
                <a:gd name="connsiteX154" fmla="*/ 902666 w 1584413"/>
                <a:gd name="connsiteY154" fmla="*/ 169064 h 1290749"/>
                <a:gd name="connsiteX155" fmla="*/ 899618 w 1584413"/>
                <a:gd name="connsiteY155" fmla="*/ 148585 h 1290749"/>
                <a:gd name="connsiteX156" fmla="*/ 863614 w 1584413"/>
                <a:gd name="connsiteY156" fmla="*/ 169730 h 1290749"/>
                <a:gd name="connsiteX157" fmla="*/ 869138 w 1584413"/>
                <a:gd name="connsiteY157" fmla="*/ 189923 h 1290749"/>
                <a:gd name="connsiteX158" fmla="*/ 861899 w 1584413"/>
                <a:gd name="connsiteY158" fmla="*/ 193162 h 1290749"/>
                <a:gd name="connsiteX159" fmla="*/ 846278 w 1584413"/>
                <a:gd name="connsiteY159" fmla="*/ 177350 h 1290749"/>
                <a:gd name="connsiteX160" fmla="*/ 835991 w 1584413"/>
                <a:gd name="connsiteY160" fmla="*/ 184113 h 1290749"/>
                <a:gd name="connsiteX161" fmla="*/ 841706 w 1584413"/>
                <a:gd name="connsiteY161" fmla="*/ 198782 h 1290749"/>
                <a:gd name="connsiteX162" fmla="*/ 828847 w 1584413"/>
                <a:gd name="connsiteY162" fmla="*/ 197258 h 1290749"/>
                <a:gd name="connsiteX163" fmla="*/ 823323 w 1584413"/>
                <a:gd name="connsiteY163" fmla="*/ 187066 h 1290749"/>
                <a:gd name="connsiteX164" fmla="*/ 806845 w 1584413"/>
                <a:gd name="connsiteY164" fmla="*/ 206021 h 1290749"/>
                <a:gd name="connsiteX165" fmla="*/ 806559 w 1584413"/>
                <a:gd name="connsiteY165" fmla="*/ 215450 h 1290749"/>
                <a:gd name="connsiteX166" fmla="*/ 768554 w 1584413"/>
                <a:gd name="connsiteY166" fmla="*/ 227833 h 1290749"/>
                <a:gd name="connsiteX167" fmla="*/ 767411 w 1584413"/>
                <a:gd name="connsiteY167" fmla="*/ 239453 h 1290749"/>
                <a:gd name="connsiteX168" fmla="*/ 756838 w 1584413"/>
                <a:gd name="connsiteY168" fmla="*/ 240977 h 1290749"/>
                <a:gd name="connsiteX169" fmla="*/ 748076 w 1584413"/>
                <a:gd name="connsiteY169" fmla="*/ 242787 h 1290749"/>
                <a:gd name="connsiteX170" fmla="*/ 724072 w 1584413"/>
                <a:gd name="connsiteY170" fmla="*/ 264980 h 1290749"/>
                <a:gd name="connsiteX171" fmla="*/ 715500 w 1584413"/>
                <a:gd name="connsiteY171" fmla="*/ 262599 h 1290749"/>
                <a:gd name="connsiteX172" fmla="*/ 710642 w 1584413"/>
                <a:gd name="connsiteY172" fmla="*/ 250883 h 1290749"/>
                <a:gd name="connsiteX173" fmla="*/ 694164 w 1584413"/>
                <a:gd name="connsiteY173" fmla="*/ 248788 h 1290749"/>
                <a:gd name="connsiteX174" fmla="*/ 677971 w 1584413"/>
                <a:gd name="connsiteY174" fmla="*/ 261456 h 1290749"/>
                <a:gd name="connsiteX175" fmla="*/ 671304 w 1584413"/>
                <a:gd name="connsiteY175" fmla="*/ 240406 h 1290749"/>
                <a:gd name="connsiteX176" fmla="*/ 656254 w 1584413"/>
                <a:gd name="connsiteY176" fmla="*/ 247931 h 1290749"/>
                <a:gd name="connsiteX177" fmla="*/ 647301 w 1584413"/>
                <a:gd name="connsiteY177" fmla="*/ 270886 h 1290749"/>
                <a:gd name="connsiteX178" fmla="*/ 637871 w 1584413"/>
                <a:gd name="connsiteY178" fmla="*/ 274696 h 1290749"/>
                <a:gd name="connsiteX179" fmla="*/ 628060 w 1584413"/>
                <a:gd name="connsiteY179" fmla="*/ 286983 h 1290749"/>
                <a:gd name="connsiteX180" fmla="*/ 592246 w 1584413"/>
                <a:gd name="connsiteY180" fmla="*/ 293079 h 1290749"/>
                <a:gd name="connsiteX181" fmla="*/ 575863 w 1584413"/>
                <a:gd name="connsiteY181" fmla="*/ 300985 h 1290749"/>
                <a:gd name="connsiteX182" fmla="*/ 562052 w 1584413"/>
                <a:gd name="connsiteY182" fmla="*/ 298604 h 1290749"/>
                <a:gd name="connsiteX183" fmla="*/ 534334 w 1584413"/>
                <a:gd name="connsiteY183" fmla="*/ 312034 h 1290749"/>
                <a:gd name="connsiteX184" fmla="*/ 536144 w 1584413"/>
                <a:gd name="connsiteY184" fmla="*/ 326702 h 1290749"/>
                <a:gd name="connsiteX185" fmla="*/ 545288 w 1584413"/>
                <a:gd name="connsiteY185" fmla="*/ 325464 h 1290749"/>
                <a:gd name="connsiteX186" fmla="*/ 571292 w 1584413"/>
                <a:gd name="connsiteY186" fmla="*/ 314796 h 1290749"/>
                <a:gd name="connsiteX187" fmla="*/ 580721 w 1584413"/>
                <a:gd name="connsiteY187" fmla="*/ 318511 h 1290749"/>
                <a:gd name="connsiteX188" fmla="*/ 611773 w 1584413"/>
                <a:gd name="connsiteY188" fmla="*/ 305557 h 1290749"/>
                <a:gd name="connsiteX189" fmla="*/ 614630 w 1584413"/>
                <a:gd name="connsiteY189" fmla="*/ 312986 h 1290749"/>
                <a:gd name="connsiteX190" fmla="*/ 646158 w 1584413"/>
                <a:gd name="connsiteY190" fmla="*/ 296413 h 1290749"/>
                <a:gd name="connsiteX191" fmla="*/ 662065 w 1584413"/>
                <a:gd name="connsiteY191" fmla="*/ 297365 h 1290749"/>
                <a:gd name="connsiteX192" fmla="*/ 672828 w 1584413"/>
                <a:gd name="connsiteY192" fmla="*/ 292412 h 1290749"/>
                <a:gd name="connsiteX193" fmla="*/ 680257 w 1584413"/>
                <a:gd name="connsiteY193" fmla="*/ 291555 h 1290749"/>
                <a:gd name="connsiteX194" fmla="*/ 688163 w 1584413"/>
                <a:gd name="connsiteY194" fmla="*/ 282316 h 1290749"/>
                <a:gd name="connsiteX195" fmla="*/ 691687 w 1584413"/>
                <a:gd name="connsiteY195" fmla="*/ 286412 h 1290749"/>
                <a:gd name="connsiteX196" fmla="*/ 696926 w 1584413"/>
                <a:gd name="connsiteY196" fmla="*/ 290507 h 1290749"/>
                <a:gd name="connsiteX197" fmla="*/ 729406 w 1584413"/>
                <a:gd name="connsiteY197" fmla="*/ 282602 h 1290749"/>
                <a:gd name="connsiteX198" fmla="*/ 744265 w 1584413"/>
                <a:gd name="connsiteY198" fmla="*/ 287364 h 1290749"/>
                <a:gd name="connsiteX199" fmla="*/ 760553 w 1584413"/>
                <a:gd name="connsiteY199" fmla="*/ 282792 h 1290749"/>
                <a:gd name="connsiteX200" fmla="*/ 770554 w 1584413"/>
                <a:gd name="connsiteY200" fmla="*/ 286221 h 1290749"/>
                <a:gd name="connsiteX201" fmla="*/ 753409 w 1584413"/>
                <a:gd name="connsiteY201" fmla="*/ 299842 h 1290749"/>
                <a:gd name="connsiteX202" fmla="*/ 716643 w 1584413"/>
                <a:gd name="connsiteY202" fmla="*/ 296127 h 1290749"/>
                <a:gd name="connsiteX203" fmla="*/ 693783 w 1584413"/>
                <a:gd name="connsiteY203" fmla="*/ 306319 h 1290749"/>
                <a:gd name="connsiteX204" fmla="*/ 702070 w 1584413"/>
                <a:gd name="connsiteY204" fmla="*/ 310224 h 1290749"/>
                <a:gd name="connsiteX205" fmla="*/ 706261 w 1584413"/>
                <a:gd name="connsiteY205" fmla="*/ 320797 h 1290749"/>
                <a:gd name="connsiteX206" fmla="*/ 699022 w 1584413"/>
                <a:gd name="connsiteY206" fmla="*/ 331370 h 1290749"/>
                <a:gd name="connsiteX207" fmla="*/ 691402 w 1584413"/>
                <a:gd name="connsiteY207" fmla="*/ 344038 h 1290749"/>
                <a:gd name="connsiteX208" fmla="*/ 686544 w 1584413"/>
                <a:gd name="connsiteY208" fmla="*/ 325750 h 1290749"/>
                <a:gd name="connsiteX209" fmla="*/ 687115 w 1584413"/>
                <a:gd name="connsiteY209" fmla="*/ 322130 h 1290749"/>
                <a:gd name="connsiteX210" fmla="*/ 681877 w 1584413"/>
                <a:gd name="connsiteY210" fmla="*/ 314129 h 1290749"/>
                <a:gd name="connsiteX211" fmla="*/ 672161 w 1584413"/>
                <a:gd name="connsiteY211" fmla="*/ 319749 h 1290749"/>
                <a:gd name="connsiteX212" fmla="*/ 652444 w 1584413"/>
                <a:gd name="connsiteY212" fmla="*/ 319749 h 1290749"/>
                <a:gd name="connsiteX213" fmla="*/ 646348 w 1584413"/>
                <a:gd name="connsiteY213" fmla="*/ 330322 h 1290749"/>
                <a:gd name="connsiteX214" fmla="*/ 656254 w 1584413"/>
                <a:gd name="connsiteY214" fmla="*/ 337561 h 1290749"/>
                <a:gd name="connsiteX215" fmla="*/ 648539 w 1584413"/>
                <a:gd name="connsiteY215" fmla="*/ 340609 h 1290749"/>
                <a:gd name="connsiteX216" fmla="*/ 628632 w 1584413"/>
                <a:gd name="connsiteY216" fmla="*/ 338323 h 1290749"/>
                <a:gd name="connsiteX217" fmla="*/ 618821 w 1584413"/>
                <a:gd name="connsiteY217" fmla="*/ 343562 h 1290749"/>
                <a:gd name="connsiteX218" fmla="*/ 612439 w 1584413"/>
                <a:gd name="connsiteY218" fmla="*/ 351086 h 1290749"/>
                <a:gd name="connsiteX219" fmla="*/ 611963 w 1584413"/>
                <a:gd name="connsiteY219" fmla="*/ 363659 h 1290749"/>
                <a:gd name="connsiteX220" fmla="*/ 610725 w 1584413"/>
                <a:gd name="connsiteY220" fmla="*/ 369946 h 1290749"/>
                <a:gd name="connsiteX221" fmla="*/ 629203 w 1584413"/>
                <a:gd name="connsiteY221" fmla="*/ 365279 h 1290749"/>
                <a:gd name="connsiteX222" fmla="*/ 651682 w 1584413"/>
                <a:gd name="connsiteY222" fmla="*/ 355373 h 1290749"/>
                <a:gd name="connsiteX223" fmla="*/ 658445 w 1584413"/>
                <a:gd name="connsiteY223" fmla="*/ 365564 h 1290749"/>
                <a:gd name="connsiteX224" fmla="*/ 650254 w 1584413"/>
                <a:gd name="connsiteY224" fmla="*/ 386900 h 1290749"/>
                <a:gd name="connsiteX225" fmla="*/ 650825 w 1584413"/>
                <a:gd name="connsiteY225" fmla="*/ 392520 h 1290749"/>
                <a:gd name="connsiteX226" fmla="*/ 646825 w 1584413"/>
                <a:gd name="connsiteY226" fmla="*/ 393092 h 1290749"/>
                <a:gd name="connsiteX227" fmla="*/ 637300 w 1584413"/>
                <a:gd name="connsiteY227" fmla="*/ 389853 h 1290749"/>
                <a:gd name="connsiteX228" fmla="*/ 609010 w 1584413"/>
                <a:gd name="connsiteY228" fmla="*/ 386329 h 1290749"/>
                <a:gd name="connsiteX229" fmla="*/ 589865 w 1584413"/>
                <a:gd name="connsiteY229" fmla="*/ 411475 h 1290749"/>
                <a:gd name="connsiteX230" fmla="*/ 592913 w 1584413"/>
                <a:gd name="connsiteY230" fmla="*/ 412427 h 1290749"/>
                <a:gd name="connsiteX231" fmla="*/ 605772 w 1584413"/>
                <a:gd name="connsiteY231" fmla="*/ 409284 h 1290749"/>
                <a:gd name="connsiteX232" fmla="*/ 634728 w 1584413"/>
                <a:gd name="connsiteY232" fmla="*/ 417571 h 1290749"/>
                <a:gd name="connsiteX233" fmla="*/ 633013 w 1584413"/>
                <a:gd name="connsiteY233" fmla="*/ 420619 h 1290749"/>
                <a:gd name="connsiteX234" fmla="*/ 616630 w 1584413"/>
                <a:gd name="connsiteY234" fmla="*/ 417761 h 1290749"/>
                <a:gd name="connsiteX235" fmla="*/ 605867 w 1584413"/>
                <a:gd name="connsiteY235" fmla="*/ 420524 h 1290749"/>
                <a:gd name="connsiteX236" fmla="*/ 578626 w 1584413"/>
                <a:gd name="connsiteY236" fmla="*/ 423762 h 1290749"/>
                <a:gd name="connsiteX237" fmla="*/ 568339 w 1584413"/>
                <a:gd name="connsiteY237" fmla="*/ 427667 h 1290749"/>
                <a:gd name="connsiteX238" fmla="*/ 567481 w 1584413"/>
                <a:gd name="connsiteY238" fmla="*/ 427191 h 1290749"/>
                <a:gd name="connsiteX239" fmla="*/ 548431 w 1584413"/>
                <a:gd name="connsiteY239" fmla="*/ 437573 h 1290749"/>
                <a:gd name="connsiteX240" fmla="*/ 534620 w 1584413"/>
                <a:gd name="connsiteY240" fmla="*/ 451004 h 1290749"/>
                <a:gd name="connsiteX241" fmla="*/ 538811 w 1584413"/>
                <a:gd name="connsiteY241" fmla="*/ 453194 h 1290749"/>
                <a:gd name="connsiteX242" fmla="*/ 536335 w 1584413"/>
                <a:gd name="connsiteY242" fmla="*/ 461862 h 1290749"/>
                <a:gd name="connsiteX243" fmla="*/ 517285 w 1584413"/>
                <a:gd name="connsiteY243" fmla="*/ 465577 h 1290749"/>
                <a:gd name="connsiteX244" fmla="*/ 506807 w 1584413"/>
                <a:gd name="connsiteY244" fmla="*/ 482246 h 1290749"/>
                <a:gd name="connsiteX245" fmla="*/ 505664 w 1584413"/>
                <a:gd name="connsiteY245" fmla="*/ 482246 h 1290749"/>
                <a:gd name="connsiteX246" fmla="*/ 502711 w 1584413"/>
                <a:gd name="connsiteY246" fmla="*/ 511487 h 1290749"/>
                <a:gd name="connsiteX247" fmla="*/ 489567 w 1584413"/>
                <a:gd name="connsiteY247" fmla="*/ 510059 h 1290749"/>
                <a:gd name="connsiteX248" fmla="*/ 489281 w 1584413"/>
                <a:gd name="connsiteY248" fmla="*/ 522822 h 1290749"/>
                <a:gd name="connsiteX249" fmla="*/ 471755 w 1584413"/>
                <a:gd name="connsiteY249" fmla="*/ 547301 h 1290749"/>
                <a:gd name="connsiteX250" fmla="*/ 473660 w 1584413"/>
                <a:gd name="connsiteY250" fmla="*/ 557017 h 1290749"/>
                <a:gd name="connsiteX251" fmla="*/ 463563 w 1584413"/>
                <a:gd name="connsiteY251" fmla="*/ 573971 h 1290749"/>
                <a:gd name="connsiteX252" fmla="*/ 452229 w 1584413"/>
                <a:gd name="connsiteY252" fmla="*/ 588735 h 1290749"/>
                <a:gd name="connsiteX253" fmla="*/ 443656 w 1584413"/>
                <a:gd name="connsiteY253" fmla="*/ 607309 h 1290749"/>
                <a:gd name="connsiteX254" fmla="*/ 454229 w 1584413"/>
                <a:gd name="connsiteY254" fmla="*/ 610928 h 1290749"/>
                <a:gd name="connsiteX255" fmla="*/ 465469 w 1584413"/>
                <a:gd name="connsiteY255" fmla="*/ 607214 h 1290749"/>
                <a:gd name="connsiteX256" fmla="*/ 459754 w 1584413"/>
                <a:gd name="connsiteY256" fmla="*/ 621977 h 1290749"/>
                <a:gd name="connsiteX257" fmla="*/ 441466 w 1584413"/>
                <a:gd name="connsiteY257" fmla="*/ 624359 h 1290749"/>
                <a:gd name="connsiteX258" fmla="*/ 432417 w 1584413"/>
                <a:gd name="connsiteY258" fmla="*/ 626073 h 1290749"/>
                <a:gd name="connsiteX259" fmla="*/ 415843 w 1584413"/>
                <a:gd name="connsiteY259" fmla="*/ 639980 h 1290749"/>
                <a:gd name="connsiteX260" fmla="*/ 401746 w 1584413"/>
                <a:gd name="connsiteY260" fmla="*/ 643313 h 1290749"/>
                <a:gd name="connsiteX261" fmla="*/ 387935 w 1584413"/>
                <a:gd name="connsiteY261" fmla="*/ 638837 h 1290749"/>
                <a:gd name="connsiteX262" fmla="*/ 359836 w 1584413"/>
                <a:gd name="connsiteY262" fmla="*/ 645885 h 1290749"/>
                <a:gd name="connsiteX263" fmla="*/ 361456 w 1584413"/>
                <a:gd name="connsiteY263" fmla="*/ 649981 h 1290749"/>
                <a:gd name="connsiteX264" fmla="*/ 379267 w 1584413"/>
                <a:gd name="connsiteY264" fmla="*/ 650743 h 1290749"/>
                <a:gd name="connsiteX265" fmla="*/ 392317 w 1584413"/>
                <a:gd name="connsiteY265" fmla="*/ 658363 h 1290749"/>
                <a:gd name="connsiteX266" fmla="*/ 405175 w 1584413"/>
                <a:gd name="connsiteY266" fmla="*/ 656363 h 1290749"/>
                <a:gd name="connsiteX267" fmla="*/ 422987 w 1584413"/>
                <a:gd name="connsiteY267" fmla="*/ 651981 h 1290749"/>
                <a:gd name="connsiteX268" fmla="*/ 426607 w 1584413"/>
                <a:gd name="connsiteY268" fmla="*/ 660744 h 1290749"/>
                <a:gd name="connsiteX269" fmla="*/ 412510 w 1584413"/>
                <a:gd name="connsiteY269" fmla="*/ 666269 h 1290749"/>
                <a:gd name="connsiteX270" fmla="*/ 377362 w 1584413"/>
                <a:gd name="connsiteY270" fmla="*/ 678937 h 1290749"/>
                <a:gd name="connsiteX271" fmla="*/ 367647 w 1584413"/>
                <a:gd name="connsiteY271" fmla="*/ 681032 h 1290749"/>
                <a:gd name="connsiteX272" fmla="*/ 361075 w 1584413"/>
                <a:gd name="connsiteY272" fmla="*/ 685033 h 1290749"/>
                <a:gd name="connsiteX273" fmla="*/ 347835 w 1584413"/>
                <a:gd name="connsiteY273" fmla="*/ 696272 h 1290749"/>
                <a:gd name="connsiteX274" fmla="*/ 346501 w 1584413"/>
                <a:gd name="connsiteY274" fmla="*/ 700559 h 1290749"/>
                <a:gd name="connsiteX275" fmla="*/ 334881 w 1584413"/>
                <a:gd name="connsiteY275" fmla="*/ 717894 h 1290749"/>
                <a:gd name="connsiteX276" fmla="*/ 318784 w 1584413"/>
                <a:gd name="connsiteY276" fmla="*/ 725990 h 1290749"/>
                <a:gd name="connsiteX277" fmla="*/ 316498 w 1584413"/>
                <a:gd name="connsiteY277" fmla="*/ 732848 h 1290749"/>
                <a:gd name="connsiteX278" fmla="*/ 318403 w 1584413"/>
                <a:gd name="connsiteY278" fmla="*/ 742088 h 1290749"/>
                <a:gd name="connsiteX279" fmla="*/ 300496 w 1584413"/>
                <a:gd name="connsiteY279" fmla="*/ 750565 h 1290749"/>
                <a:gd name="connsiteX280" fmla="*/ 299353 w 1584413"/>
                <a:gd name="connsiteY280" fmla="*/ 763424 h 1290749"/>
                <a:gd name="connsiteX281" fmla="*/ 315926 w 1584413"/>
                <a:gd name="connsiteY281" fmla="*/ 757232 h 1290749"/>
                <a:gd name="connsiteX282" fmla="*/ 316783 w 1584413"/>
                <a:gd name="connsiteY282" fmla="*/ 763709 h 1290749"/>
                <a:gd name="connsiteX283" fmla="*/ 318688 w 1584413"/>
                <a:gd name="connsiteY283" fmla="*/ 776568 h 1290749"/>
                <a:gd name="connsiteX284" fmla="*/ 327928 w 1584413"/>
                <a:gd name="connsiteY284" fmla="*/ 777997 h 1290749"/>
                <a:gd name="connsiteX285" fmla="*/ 351740 w 1584413"/>
                <a:gd name="connsiteY285" fmla="*/ 771329 h 1290749"/>
                <a:gd name="connsiteX286" fmla="*/ 391840 w 1584413"/>
                <a:gd name="connsiteY286" fmla="*/ 751041 h 1290749"/>
                <a:gd name="connsiteX287" fmla="*/ 385744 w 1584413"/>
                <a:gd name="connsiteY287" fmla="*/ 762852 h 1290749"/>
                <a:gd name="connsiteX288" fmla="*/ 365647 w 1584413"/>
                <a:gd name="connsiteY288" fmla="*/ 779902 h 1290749"/>
                <a:gd name="connsiteX289" fmla="*/ 366980 w 1584413"/>
                <a:gd name="connsiteY289" fmla="*/ 787617 h 1290749"/>
                <a:gd name="connsiteX290" fmla="*/ 334976 w 1584413"/>
                <a:gd name="connsiteY290" fmla="*/ 788284 h 1290749"/>
                <a:gd name="connsiteX291" fmla="*/ 320879 w 1584413"/>
                <a:gd name="connsiteY291" fmla="*/ 795428 h 1290749"/>
                <a:gd name="connsiteX292" fmla="*/ 295352 w 1584413"/>
                <a:gd name="connsiteY292" fmla="*/ 773044 h 1290749"/>
                <a:gd name="connsiteX293" fmla="*/ 275445 w 1584413"/>
                <a:gd name="connsiteY293" fmla="*/ 782188 h 1290749"/>
                <a:gd name="connsiteX294" fmla="*/ 275445 w 1584413"/>
                <a:gd name="connsiteY294" fmla="*/ 790665 h 1290749"/>
                <a:gd name="connsiteX295" fmla="*/ 274397 w 1584413"/>
                <a:gd name="connsiteY295" fmla="*/ 797999 h 1290749"/>
                <a:gd name="connsiteX296" fmla="*/ 261824 w 1584413"/>
                <a:gd name="connsiteY296" fmla="*/ 801619 h 1290749"/>
                <a:gd name="connsiteX297" fmla="*/ 256490 w 1584413"/>
                <a:gd name="connsiteY297" fmla="*/ 788665 h 1290749"/>
                <a:gd name="connsiteX298" fmla="*/ 235345 w 1584413"/>
                <a:gd name="connsiteY298" fmla="*/ 796571 h 1290749"/>
                <a:gd name="connsiteX299" fmla="*/ 233725 w 1584413"/>
                <a:gd name="connsiteY299" fmla="*/ 799238 h 1290749"/>
                <a:gd name="connsiteX300" fmla="*/ 212961 w 1584413"/>
                <a:gd name="connsiteY300" fmla="*/ 802667 h 1290749"/>
                <a:gd name="connsiteX301" fmla="*/ 213437 w 1584413"/>
                <a:gd name="connsiteY301" fmla="*/ 817526 h 1290749"/>
                <a:gd name="connsiteX302" fmla="*/ 230677 w 1584413"/>
                <a:gd name="connsiteY302" fmla="*/ 838957 h 1290749"/>
                <a:gd name="connsiteX303" fmla="*/ 216295 w 1584413"/>
                <a:gd name="connsiteY303" fmla="*/ 836004 h 1290749"/>
                <a:gd name="connsiteX304" fmla="*/ 198007 w 1584413"/>
                <a:gd name="connsiteY304" fmla="*/ 828289 h 1290749"/>
                <a:gd name="connsiteX305" fmla="*/ 165336 w 1584413"/>
                <a:gd name="connsiteY305" fmla="*/ 836957 h 1290749"/>
                <a:gd name="connsiteX306" fmla="*/ 149334 w 1584413"/>
                <a:gd name="connsiteY306" fmla="*/ 830480 h 1290749"/>
                <a:gd name="connsiteX307" fmla="*/ 137428 w 1584413"/>
                <a:gd name="connsiteY307" fmla="*/ 837433 h 1290749"/>
                <a:gd name="connsiteX308" fmla="*/ 131522 w 1584413"/>
                <a:gd name="connsiteY308" fmla="*/ 842576 h 1290749"/>
                <a:gd name="connsiteX309" fmla="*/ 123426 w 1584413"/>
                <a:gd name="connsiteY309" fmla="*/ 850673 h 1290749"/>
                <a:gd name="connsiteX310" fmla="*/ 158668 w 1584413"/>
                <a:gd name="connsiteY310" fmla="*/ 854102 h 1290749"/>
                <a:gd name="connsiteX311" fmla="*/ 161812 w 1584413"/>
                <a:gd name="connsiteY311" fmla="*/ 866198 h 1290749"/>
                <a:gd name="connsiteX312" fmla="*/ 144952 w 1584413"/>
                <a:gd name="connsiteY312" fmla="*/ 863531 h 1290749"/>
                <a:gd name="connsiteX313" fmla="*/ 92851 w 1584413"/>
                <a:gd name="connsiteY313" fmla="*/ 872199 h 1290749"/>
                <a:gd name="connsiteX314" fmla="*/ 92755 w 1584413"/>
                <a:gd name="connsiteY314" fmla="*/ 872199 h 1290749"/>
                <a:gd name="connsiteX315" fmla="*/ 107424 w 1584413"/>
                <a:gd name="connsiteY315" fmla="*/ 884010 h 1290749"/>
                <a:gd name="connsiteX316" fmla="*/ 90469 w 1584413"/>
                <a:gd name="connsiteY316" fmla="*/ 889154 h 1290749"/>
                <a:gd name="connsiteX317" fmla="*/ 81802 w 1584413"/>
                <a:gd name="connsiteY317" fmla="*/ 885820 h 1290749"/>
                <a:gd name="connsiteX318" fmla="*/ 67800 w 1584413"/>
                <a:gd name="connsiteY318" fmla="*/ 888773 h 1290749"/>
                <a:gd name="connsiteX319" fmla="*/ 53322 w 1584413"/>
                <a:gd name="connsiteY319" fmla="*/ 896678 h 1290749"/>
                <a:gd name="connsiteX320" fmla="*/ 53131 w 1584413"/>
                <a:gd name="connsiteY320" fmla="*/ 903346 h 1290749"/>
                <a:gd name="connsiteX321" fmla="*/ 46178 w 1584413"/>
                <a:gd name="connsiteY321" fmla="*/ 911061 h 1290749"/>
                <a:gd name="connsiteX322" fmla="*/ 37415 w 1584413"/>
                <a:gd name="connsiteY322" fmla="*/ 903727 h 1290749"/>
                <a:gd name="connsiteX323" fmla="*/ 28557 w 1584413"/>
                <a:gd name="connsiteY323" fmla="*/ 905441 h 1290749"/>
                <a:gd name="connsiteX324" fmla="*/ 31510 w 1584413"/>
                <a:gd name="connsiteY324" fmla="*/ 912395 h 1290749"/>
                <a:gd name="connsiteX325" fmla="*/ 32367 w 1584413"/>
                <a:gd name="connsiteY325" fmla="*/ 921729 h 1290749"/>
                <a:gd name="connsiteX326" fmla="*/ 19603 w 1584413"/>
                <a:gd name="connsiteY326" fmla="*/ 922872 h 1290749"/>
                <a:gd name="connsiteX327" fmla="*/ 13984 w 1584413"/>
                <a:gd name="connsiteY327" fmla="*/ 930206 h 1290749"/>
                <a:gd name="connsiteX328" fmla="*/ 19699 w 1584413"/>
                <a:gd name="connsiteY328" fmla="*/ 939636 h 1290749"/>
                <a:gd name="connsiteX329" fmla="*/ 35510 w 1584413"/>
                <a:gd name="connsiteY329" fmla="*/ 937826 h 1290749"/>
                <a:gd name="connsiteX330" fmla="*/ 34843 w 1584413"/>
                <a:gd name="connsiteY330" fmla="*/ 942875 h 1290749"/>
                <a:gd name="connsiteX331" fmla="*/ 25414 w 1584413"/>
                <a:gd name="connsiteY331" fmla="*/ 947542 h 1290749"/>
                <a:gd name="connsiteX332" fmla="*/ 21032 w 1584413"/>
                <a:gd name="connsiteY332" fmla="*/ 956019 h 1290749"/>
                <a:gd name="connsiteX333" fmla="*/ 28271 w 1584413"/>
                <a:gd name="connsiteY333" fmla="*/ 958877 h 1290749"/>
                <a:gd name="connsiteX334" fmla="*/ 35510 w 1584413"/>
                <a:gd name="connsiteY334" fmla="*/ 969354 h 1290749"/>
                <a:gd name="connsiteX335" fmla="*/ 27700 w 1584413"/>
                <a:gd name="connsiteY335" fmla="*/ 969354 h 1290749"/>
                <a:gd name="connsiteX336" fmla="*/ 14650 w 1584413"/>
                <a:gd name="connsiteY336" fmla="*/ 975545 h 1290749"/>
                <a:gd name="connsiteX337" fmla="*/ 30462 w 1584413"/>
                <a:gd name="connsiteY337" fmla="*/ 978022 h 1290749"/>
                <a:gd name="connsiteX338" fmla="*/ 25128 w 1584413"/>
                <a:gd name="connsiteY338" fmla="*/ 986404 h 1290749"/>
                <a:gd name="connsiteX339" fmla="*/ 4554 w 1584413"/>
                <a:gd name="connsiteY339" fmla="*/ 995738 h 1290749"/>
                <a:gd name="connsiteX340" fmla="*/ 363 w 1584413"/>
                <a:gd name="connsiteY340" fmla="*/ 1007835 h 1290749"/>
                <a:gd name="connsiteX341" fmla="*/ 33510 w 1584413"/>
                <a:gd name="connsiteY341" fmla="*/ 997358 h 1290749"/>
                <a:gd name="connsiteX342" fmla="*/ 41892 w 1584413"/>
                <a:gd name="connsiteY342" fmla="*/ 1000025 h 1290749"/>
                <a:gd name="connsiteX343" fmla="*/ 53798 w 1584413"/>
                <a:gd name="connsiteY343" fmla="*/ 998310 h 1290749"/>
                <a:gd name="connsiteX344" fmla="*/ 84373 w 1584413"/>
                <a:gd name="connsiteY344" fmla="*/ 994405 h 1290749"/>
                <a:gd name="connsiteX345" fmla="*/ 100947 w 1584413"/>
                <a:gd name="connsiteY345" fmla="*/ 999358 h 1290749"/>
                <a:gd name="connsiteX346" fmla="*/ 113996 w 1584413"/>
                <a:gd name="connsiteY346" fmla="*/ 997929 h 1290749"/>
                <a:gd name="connsiteX347" fmla="*/ 109805 w 1584413"/>
                <a:gd name="connsiteY347" fmla="*/ 1008026 h 1290749"/>
                <a:gd name="connsiteX348" fmla="*/ 96946 w 1584413"/>
                <a:gd name="connsiteY348" fmla="*/ 1007073 h 1290749"/>
                <a:gd name="connsiteX349" fmla="*/ 51131 w 1584413"/>
                <a:gd name="connsiteY349" fmla="*/ 1011550 h 1290749"/>
                <a:gd name="connsiteX350" fmla="*/ 39130 w 1584413"/>
                <a:gd name="connsiteY350" fmla="*/ 1014312 h 1290749"/>
                <a:gd name="connsiteX351" fmla="*/ 23128 w 1584413"/>
                <a:gd name="connsiteY351" fmla="*/ 1010788 h 1290749"/>
                <a:gd name="connsiteX352" fmla="*/ 15031 w 1584413"/>
                <a:gd name="connsiteY352" fmla="*/ 1022313 h 1290749"/>
                <a:gd name="connsiteX353" fmla="*/ 31319 w 1584413"/>
                <a:gd name="connsiteY353" fmla="*/ 1032505 h 1290749"/>
                <a:gd name="connsiteX354" fmla="*/ 26271 w 1584413"/>
                <a:gd name="connsiteY354" fmla="*/ 1035362 h 1290749"/>
                <a:gd name="connsiteX355" fmla="*/ 15317 w 1584413"/>
                <a:gd name="connsiteY355" fmla="*/ 1031267 h 1290749"/>
                <a:gd name="connsiteX356" fmla="*/ 14650 w 1584413"/>
                <a:gd name="connsiteY356" fmla="*/ 1042030 h 1290749"/>
                <a:gd name="connsiteX357" fmla="*/ 19032 w 1584413"/>
                <a:gd name="connsiteY357" fmla="*/ 1045173 h 1290749"/>
                <a:gd name="connsiteX358" fmla="*/ 23128 w 1584413"/>
                <a:gd name="connsiteY358" fmla="*/ 1059175 h 1290749"/>
                <a:gd name="connsiteX359" fmla="*/ 8459 w 1584413"/>
                <a:gd name="connsiteY359" fmla="*/ 1049078 h 1290749"/>
                <a:gd name="connsiteX360" fmla="*/ 16365 w 1584413"/>
                <a:gd name="connsiteY360" fmla="*/ 1085178 h 1290749"/>
                <a:gd name="connsiteX361" fmla="*/ 26747 w 1584413"/>
                <a:gd name="connsiteY361" fmla="*/ 1082987 h 1290749"/>
                <a:gd name="connsiteX362" fmla="*/ 36653 w 1584413"/>
                <a:gd name="connsiteY362" fmla="*/ 1078796 h 1290749"/>
                <a:gd name="connsiteX363" fmla="*/ 49036 w 1584413"/>
                <a:gd name="connsiteY363" fmla="*/ 1083940 h 1290749"/>
                <a:gd name="connsiteX364" fmla="*/ 61704 w 1584413"/>
                <a:gd name="connsiteY364" fmla="*/ 1075463 h 1290749"/>
                <a:gd name="connsiteX365" fmla="*/ 59608 w 1584413"/>
                <a:gd name="connsiteY365" fmla="*/ 1093941 h 1290749"/>
                <a:gd name="connsiteX366" fmla="*/ 43797 w 1584413"/>
                <a:gd name="connsiteY366" fmla="*/ 1102418 h 1290749"/>
                <a:gd name="connsiteX367" fmla="*/ 26271 w 1584413"/>
                <a:gd name="connsiteY367" fmla="*/ 1120992 h 1290749"/>
                <a:gd name="connsiteX368" fmla="*/ 33796 w 1584413"/>
                <a:gd name="connsiteY368" fmla="*/ 1135375 h 1290749"/>
                <a:gd name="connsiteX369" fmla="*/ 33986 w 1584413"/>
                <a:gd name="connsiteY369" fmla="*/ 1134994 h 1290749"/>
                <a:gd name="connsiteX370" fmla="*/ 46369 w 1584413"/>
                <a:gd name="connsiteY370" fmla="*/ 1126517 h 1290749"/>
                <a:gd name="connsiteX371" fmla="*/ 58751 w 1584413"/>
                <a:gd name="connsiteY371" fmla="*/ 1111753 h 1290749"/>
                <a:gd name="connsiteX372" fmla="*/ 68848 w 1584413"/>
                <a:gd name="connsiteY372" fmla="*/ 1104990 h 1290749"/>
                <a:gd name="connsiteX373" fmla="*/ 75991 w 1584413"/>
                <a:gd name="connsiteY373" fmla="*/ 1098132 h 1290749"/>
                <a:gd name="connsiteX374" fmla="*/ 87802 w 1584413"/>
                <a:gd name="connsiteY374" fmla="*/ 1085273 h 1290749"/>
                <a:gd name="connsiteX375" fmla="*/ 91993 w 1584413"/>
                <a:gd name="connsiteY375" fmla="*/ 1082702 h 1290749"/>
                <a:gd name="connsiteX376" fmla="*/ 87707 w 1584413"/>
                <a:gd name="connsiteY376" fmla="*/ 1099275 h 1290749"/>
                <a:gd name="connsiteX377" fmla="*/ 81421 w 1584413"/>
                <a:gd name="connsiteY377" fmla="*/ 1106990 h 1290749"/>
                <a:gd name="connsiteX378" fmla="*/ 73324 w 1584413"/>
                <a:gd name="connsiteY378" fmla="*/ 1113753 h 1290749"/>
                <a:gd name="connsiteX379" fmla="*/ 65800 w 1584413"/>
                <a:gd name="connsiteY379" fmla="*/ 1120802 h 1290749"/>
                <a:gd name="connsiteX380" fmla="*/ 68657 w 1584413"/>
                <a:gd name="connsiteY380" fmla="*/ 1133756 h 1290749"/>
                <a:gd name="connsiteX381" fmla="*/ 55894 w 1584413"/>
                <a:gd name="connsiteY381" fmla="*/ 1135375 h 1290749"/>
                <a:gd name="connsiteX382" fmla="*/ 33605 w 1584413"/>
                <a:gd name="connsiteY382" fmla="*/ 1154139 h 1290749"/>
                <a:gd name="connsiteX383" fmla="*/ 35796 w 1584413"/>
                <a:gd name="connsiteY383" fmla="*/ 1182047 h 1290749"/>
                <a:gd name="connsiteX384" fmla="*/ 50179 w 1584413"/>
                <a:gd name="connsiteY384" fmla="*/ 1177666 h 1290749"/>
                <a:gd name="connsiteX385" fmla="*/ 57799 w 1584413"/>
                <a:gd name="connsiteY385" fmla="*/ 1170808 h 1290749"/>
                <a:gd name="connsiteX386" fmla="*/ 83992 w 1584413"/>
                <a:gd name="connsiteY386" fmla="*/ 1165093 h 1290749"/>
                <a:gd name="connsiteX387" fmla="*/ 81992 w 1584413"/>
                <a:gd name="connsiteY387" fmla="*/ 1170046 h 1290749"/>
                <a:gd name="connsiteX388" fmla="*/ 77801 w 1584413"/>
                <a:gd name="connsiteY388" fmla="*/ 1177571 h 1290749"/>
                <a:gd name="connsiteX389" fmla="*/ 69800 w 1584413"/>
                <a:gd name="connsiteY389" fmla="*/ 1201002 h 1290749"/>
                <a:gd name="connsiteX390" fmla="*/ 52655 w 1584413"/>
                <a:gd name="connsiteY390" fmla="*/ 1202621 h 1290749"/>
                <a:gd name="connsiteX391" fmla="*/ 54274 w 1584413"/>
                <a:gd name="connsiteY391" fmla="*/ 1225577 h 1290749"/>
                <a:gd name="connsiteX392" fmla="*/ 78182 w 1584413"/>
                <a:gd name="connsiteY392" fmla="*/ 1250532 h 1290749"/>
                <a:gd name="connsiteX393" fmla="*/ 113044 w 1584413"/>
                <a:gd name="connsiteY393" fmla="*/ 1268630 h 1290749"/>
                <a:gd name="connsiteX394" fmla="*/ 116187 w 1584413"/>
                <a:gd name="connsiteY394" fmla="*/ 1276631 h 1290749"/>
                <a:gd name="connsiteX395" fmla="*/ 119997 w 1584413"/>
                <a:gd name="connsiteY395" fmla="*/ 1282441 h 1290749"/>
                <a:gd name="connsiteX396" fmla="*/ 128379 w 1584413"/>
                <a:gd name="connsiteY396" fmla="*/ 1283489 h 1290749"/>
                <a:gd name="connsiteX397" fmla="*/ 138380 w 1584413"/>
                <a:gd name="connsiteY397" fmla="*/ 1289013 h 1290749"/>
                <a:gd name="connsiteX398" fmla="*/ 147048 w 1584413"/>
                <a:gd name="connsiteY398" fmla="*/ 1288822 h 1290749"/>
                <a:gd name="connsiteX399" fmla="*/ 182862 w 1584413"/>
                <a:gd name="connsiteY399" fmla="*/ 1286727 h 1290749"/>
                <a:gd name="connsiteX400" fmla="*/ 226296 w 1584413"/>
                <a:gd name="connsiteY400" fmla="*/ 1269106 h 1290749"/>
                <a:gd name="connsiteX401" fmla="*/ 291637 w 1584413"/>
                <a:gd name="connsiteY401" fmla="*/ 1208622 h 1290749"/>
                <a:gd name="connsiteX402" fmla="*/ 308116 w 1584413"/>
                <a:gd name="connsiteY402" fmla="*/ 1192906 h 1290749"/>
                <a:gd name="connsiteX403" fmla="*/ 323642 w 1584413"/>
                <a:gd name="connsiteY403" fmla="*/ 1198049 h 1290749"/>
                <a:gd name="connsiteX404" fmla="*/ 348025 w 1584413"/>
                <a:gd name="connsiteY404" fmla="*/ 1185953 h 1290749"/>
                <a:gd name="connsiteX405" fmla="*/ 347930 w 1584413"/>
                <a:gd name="connsiteY405" fmla="*/ 1166903 h 1290749"/>
                <a:gd name="connsiteX406" fmla="*/ 340501 w 1584413"/>
                <a:gd name="connsiteY406" fmla="*/ 1144233 h 1290749"/>
                <a:gd name="connsiteX407" fmla="*/ 360503 w 1584413"/>
                <a:gd name="connsiteY407" fmla="*/ 1147662 h 1290749"/>
                <a:gd name="connsiteX408" fmla="*/ 371362 w 1584413"/>
                <a:gd name="connsiteY408" fmla="*/ 1179190 h 1290749"/>
                <a:gd name="connsiteX409" fmla="*/ 386030 w 1584413"/>
                <a:gd name="connsiteY409" fmla="*/ 1182333 h 1290749"/>
                <a:gd name="connsiteX410" fmla="*/ 386030 w 1584413"/>
                <a:gd name="connsiteY410" fmla="*/ 1191572 h 1290749"/>
                <a:gd name="connsiteX411" fmla="*/ 382411 w 1584413"/>
                <a:gd name="connsiteY411" fmla="*/ 1197668 h 1290749"/>
                <a:gd name="connsiteX412" fmla="*/ 387459 w 1584413"/>
                <a:gd name="connsiteY412" fmla="*/ 1212051 h 1290749"/>
                <a:gd name="connsiteX413" fmla="*/ 387459 w 1584413"/>
                <a:gd name="connsiteY413" fmla="*/ 1212051 h 1290749"/>
                <a:gd name="connsiteX414" fmla="*/ 403556 w 1584413"/>
                <a:gd name="connsiteY414" fmla="*/ 1197668 h 129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Lst>
              <a:rect l="l" t="t" r="r" b="b"/>
              <a:pathLst>
                <a:path w="1584413" h="1290749">
                  <a:moveTo>
                    <a:pt x="402889" y="1197097"/>
                  </a:moveTo>
                  <a:lnTo>
                    <a:pt x="411843" y="1216147"/>
                  </a:lnTo>
                  <a:lnTo>
                    <a:pt x="432703" y="1183952"/>
                  </a:lnTo>
                  <a:lnTo>
                    <a:pt x="424321" y="1130993"/>
                  </a:lnTo>
                  <a:lnTo>
                    <a:pt x="463563" y="1113753"/>
                  </a:lnTo>
                  <a:lnTo>
                    <a:pt x="476708" y="1072034"/>
                  </a:lnTo>
                  <a:lnTo>
                    <a:pt x="451753" y="1019646"/>
                  </a:lnTo>
                  <a:lnTo>
                    <a:pt x="476708" y="1016027"/>
                  </a:lnTo>
                  <a:lnTo>
                    <a:pt x="488614" y="986309"/>
                  </a:lnTo>
                  <a:lnTo>
                    <a:pt x="444609" y="956591"/>
                  </a:lnTo>
                  <a:lnTo>
                    <a:pt x="457753" y="912585"/>
                  </a:lnTo>
                  <a:lnTo>
                    <a:pt x="439846" y="872104"/>
                  </a:lnTo>
                  <a:lnTo>
                    <a:pt x="451753" y="837623"/>
                  </a:lnTo>
                  <a:lnTo>
                    <a:pt x="435084" y="814954"/>
                  </a:lnTo>
                  <a:lnTo>
                    <a:pt x="492234" y="735134"/>
                  </a:lnTo>
                  <a:lnTo>
                    <a:pt x="564814" y="739897"/>
                  </a:lnTo>
                  <a:lnTo>
                    <a:pt x="567196" y="697034"/>
                  </a:lnTo>
                  <a:lnTo>
                    <a:pt x="538621" y="683890"/>
                  </a:lnTo>
                  <a:lnTo>
                    <a:pt x="589865" y="614834"/>
                  </a:lnTo>
                  <a:lnTo>
                    <a:pt x="591008" y="538634"/>
                  </a:lnTo>
                  <a:lnTo>
                    <a:pt x="648158" y="521965"/>
                  </a:lnTo>
                  <a:lnTo>
                    <a:pt x="647015" y="495771"/>
                  </a:lnTo>
                  <a:lnTo>
                    <a:pt x="702546" y="444146"/>
                  </a:lnTo>
                  <a:lnTo>
                    <a:pt x="691402" y="404426"/>
                  </a:lnTo>
                  <a:lnTo>
                    <a:pt x="754934" y="339371"/>
                  </a:lnTo>
                  <a:lnTo>
                    <a:pt x="789890" y="352039"/>
                  </a:lnTo>
                  <a:lnTo>
                    <a:pt x="808940" y="329846"/>
                  </a:lnTo>
                  <a:lnTo>
                    <a:pt x="802559" y="296508"/>
                  </a:lnTo>
                  <a:lnTo>
                    <a:pt x="831134" y="282221"/>
                  </a:lnTo>
                  <a:lnTo>
                    <a:pt x="918478" y="318701"/>
                  </a:lnTo>
                  <a:lnTo>
                    <a:pt x="932765" y="237739"/>
                  </a:lnTo>
                  <a:lnTo>
                    <a:pt x="1010584" y="206021"/>
                  </a:lnTo>
                  <a:lnTo>
                    <a:pt x="1064591" y="260027"/>
                  </a:lnTo>
                  <a:lnTo>
                    <a:pt x="1131266" y="272696"/>
                  </a:lnTo>
                  <a:lnTo>
                    <a:pt x="1161460" y="248883"/>
                  </a:lnTo>
                  <a:lnTo>
                    <a:pt x="1220230" y="280601"/>
                  </a:lnTo>
                  <a:lnTo>
                    <a:pt x="1267855" y="239358"/>
                  </a:lnTo>
                  <a:lnTo>
                    <a:pt x="1296430" y="142489"/>
                  </a:lnTo>
                  <a:lnTo>
                    <a:pt x="1350436" y="148871"/>
                  </a:lnTo>
                  <a:lnTo>
                    <a:pt x="1390156" y="126677"/>
                  </a:lnTo>
                  <a:lnTo>
                    <a:pt x="1471118" y="183827"/>
                  </a:lnTo>
                  <a:lnTo>
                    <a:pt x="1440924" y="223547"/>
                  </a:lnTo>
                  <a:lnTo>
                    <a:pt x="1477881" y="242597"/>
                  </a:lnTo>
                  <a:lnTo>
                    <a:pt x="1535698" y="183161"/>
                  </a:lnTo>
                  <a:lnTo>
                    <a:pt x="1569988" y="185447"/>
                  </a:lnTo>
                  <a:lnTo>
                    <a:pt x="1574369" y="145727"/>
                  </a:lnTo>
                  <a:lnTo>
                    <a:pt x="1574369" y="145727"/>
                  </a:lnTo>
                  <a:cubicBezTo>
                    <a:pt x="1497979" y="134393"/>
                    <a:pt x="1494835" y="134964"/>
                    <a:pt x="1498550" y="130297"/>
                  </a:cubicBezTo>
                  <a:cubicBezTo>
                    <a:pt x="1506742" y="119724"/>
                    <a:pt x="1434066" y="121343"/>
                    <a:pt x="1437590" y="108104"/>
                  </a:cubicBezTo>
                  <a:cubicBezTo>
                    <a:pt x="1438352" y="105341"/>
                    <a:pt x="1441305" y="103341"/>
                    <a:pt x="1444258" y="103817"/>
                  </a:cubicBezTo>
                  <a:cubicBezTo>
                    <a:pt x="1471118" y="107818"/>
                    <a:pt x="1542270" y="121915"/>
                    <a:pt x="1544365" y="105246"/>
                  </a:cubicBezTo>
                  <a:cubicBezTo>
                    <a:pt x="1545889" y="92578"/>
                    <a:pt x="1589133" y="100198"/>
                    <a:pt x="1583989" y="87720"/>
                  </a:cubicBezTo>
                  <a:lnTo>
                    <a:pt x="1582180" y="83434"/>
                  </a:lnTo>
                  <a:cubicBezTo>
                    <a:pt x="1579703" y="77433"/>
                    <a:pt x="1570845" y="79052"/>
                    <a:pt x="1571797" y="79148"/>
                  </a:cubicBezTo>
                  <a:cubicBezTo>
                    <a:pt x="1560748" y="80100"/>
                    <a:pt x="1557701" y="65622"/>
                    <a:pt x="1547604" y="68670"/>
                  </a:cubicBezTo>
                  <a:lnTo>
                    <a:pt x="1535888" y="72290"/>
                  </a:lnTo>
                  <a:cubicBezTo>
                    <a:pt x="1529030" y="74385"/>
                    <a:pt x="1522839" y="67813"/>
                    <a:pt x="1529316" y="64955"/>
                  </a:cubicBezTo>
                  <a:cubicBezTo>
                    <a:pt x="1531126" y="63812"/>
                    <a:pt x="1542842" y="61241"/>
                    <a:pt x="1536650" y="56764"/>
                  </a:cubicBezTo>
                  <a:cubicBezTo>
                    <a:pt x="1533602" y="55240"/>
                    <a:pt x="1528363" y="47906"/>
                    <a:pt x="1521791" y="52192"/>
                  </a:cubicBezTo>
                  <a:cubicBezTo>
                    <a:pt x="1520362" y="52763"/>
                    <a:pt x="1513219" y="60098"/>
                    <a:pt x="1510171" y="53430"/>
                  </a:cubicBezTo>
                  <a:cubicBezTo>
                    <a:pt x="1509409" y="52478"/>
                    <a:pt x="1507885" y="44762"/>
                    <a:pt x="1501312" y="46953"/>
                  </a:cubicBezTo>
                  <a:cubicBezTo>
                    <a:pt x="1491978" y="48953"/>
                    <a:pt x="1480643" y="57145"/>
                    <a:pt x="1479595" y="48572"/>
                  </a:cubicBezTo>
                  <a:cubicBezTo>
                    <a:pt x="1478929" y="46477"/>
                    <a:pt x="1480167" y="38285"/>
                    <a:pt x="1473118" y="36095"/>
                  </a:cubicBezTo>
                  <a:cubicBezTo>
                    <a:pt x="1467118" y="34952"/>
                    <a:pt x="1458355" y="29141"/>
                    <a:pt x="1451782" y="34190"/>
                  </a:cubicBezTo>
                  <a:lnTo>
                    <a:pt x="1440543" y="42762"/>
                  </a:lnTo>
                  <a:cubicBezTo>
                    <a:pt x="1428922" y="51620"/>
                    <a:pt x="1430542" y="72861"/>
                    <a:pt x="1419397" y="72004"/>
                  </a:cubicBezTo>
                  <a:cubicBezTo>
                    <a:pt x="1414540" y="71147"/>
                    <a:pt x="1399204" y="72194"/>
                    <a:pt x="1406062" y="67622"/>
                  </a:cubicBezTo>
                  <a:lnTo>
                    <a:pt x="1411968" y="63622"/>
                  </a:lnTo>
                  <a:cubicBezTo>
                    <a:pt x="1417778" y="59621"/>
                    <a:pt x="1418731" y="51430"/>
                    <a:pt x="1411682" y="50001"/>
                  </a:cubicBezTo>
                  <a:cubicBezTo>
                    <a:pt x="1408634" y="49049"/>
                    <a:pt x="1399395" y="49334"/>
                    <a:pt x="1396442" y="42953"/>
                  </a:cubicBezTo>
                  <a:cubicBezTo>
                    <a:pt x="1391965" y="33332"/>
                    <a:pt x="1414826" y="45143"/>
                    <a:pt x="1422160" y="36095"/>
                  </a:cubicBezTo>
                  <a:cubicBezTo>
                    <a:pt x="1425208" y="31237"/>
                    <a:pt x="1436543" y="22283"/>
                    <a:pt x="1428351" y="21045"/>
                  </a:cubicBezTo>
                  <a:lnTo>
                    <a:pt x="1419397" y="19712"/>
                  </a:lnTo>
                  <a:cubicBezTo>
                    <a:pt x="1413968" y="18854"/>
                    <a:pt x="1415492" y="12473"/>
                    <a:pt x="1415587" y="13425"/>
                  </a:cubicBezTo>
                  <a:cubicBezTo>
                    <a:pt x="1418921" y="1519"/>
                    <a:pt x="1393109" y="20759"/>
                    <a:pt x="1387965" y="9901"/>
                  </a:cubicBezTo>
                  <a:lnTo>
                    <a:pt x="1387775" y="9520"/>
                  </a:lnTo>
                  <a:cubicBezTo>
                    <a:pt x="1384536" y="2757"/>
                    <a:pt x="1371010" y="4567"/>
                    <a:pt x="1371772" y="11139"/>
                  </a:cubicBezTo>
                  <a:cubicBezTo>
                    <a:pt x="1372630" y="17711"/>
                    <a:pt x="1359580" y="15616"/>
                    <a:pt x="1360533" y="15521"/>
                  </a:cubicBezTo>
                  <a:cubicBezTo>
                    <a:pt x="1353865" y="15330"/>
                    <a:pt x="1349865" y="24093"/>
                    <a:pt x="1350627" y="23141"/>
                  </a:cubicBezTo>
                  <a:cubicBezTo>
                    <a:pt x="1349198" y="25712"/>
                    <a:pt x="1350341" y="28189"/>
                    <a:pt x="1353294" y="28570"/>
                  </a:cubicBezTo>
                  <a:lnTo>
                    <a:pt x="1365200" y="30189"/>
                  </a:lnTo>
                  <a:cubicBezTo>
                    <a:pt x="1372344" y="31142"/>
                    <a:pt x="1369201" y="40762"/>
                    <a:pt x="1362247" y="41810"/>
                  </a:cubicBezTo>
                  <a:cubicBezTo>
                    <a:pt x="1358818" y="42857"/>
                    <a:pt x="1348436" y="41810"/>
                    <a:pt x="1346626" y="49239"/>
                  </a:cubicBezTo>
                  <a:cubicBezTo>
                    <a:pt x="1343388" y="58669"/>
                    <a:pt x="1344436" y="70194"/>
                    <a:pt x="1336054" y="71718"/>
                  </a:cubicBezTo>
                  <a:lnTo>
                    <a:pt x="1333577" y="72194"/>
                  </a:lnTo>
                  <a:cubicBezTo>
                    <a:pt x="1325671" y="73623"/>
                    <a:pt x="1327767" y="81434"/>
                    <a:pt x="1319956" y="84005"/>
                  </a:cubicBezTo>
                  <a:cubicBezTo>
                    <a:pt x="1318623" y="84196"/>
                    <a:pt x="1309098" y="89244"/>
                    <a:pt x="1311003" y="82196"/>
                  </a:cubicBezTo>
                  <a:cubicBezTo>
                    <a:pt x="1315956" y="63908"/>
                    <a:pt x="1319671" y="56097"/>
                    <a:pt x="1312622" y="57526"/>
                  </a:cubicBezTo>
                  <a:cubicBezTo>
                    <a:pt x="1311670" y="57526"/>
                    <a:pt x="1302430" y="61050"/>
                    <a:pt x="1304050" y="54668"/>
                  </a:cubicBezTo>
                  <a:cubicBezTo>
                    <a:pt x="1306431" y="44572"/>
                    <a:pt x="1320623" y="50382"/>
                    <a:pt x="1321671" y="40000"/>
                  </a:cubicBezTo>
                  <a:cubicBezTo>
                    <a:pt x="1321385" y="36095"/>
                    <a:pt x="1325671" y="25427"/>
                    <a:pt x="1317766" y="24569"/>
                  </a:cubicBezTo>
                  <a:cubicBezTo>
                    <a:pt x="1316813" y="24665"/>
                    <a:pt x="1311670" y="23522"/>
                    <a:pt x="1307288" y="27617"/>
                  </a:cubicBezTo>
                  <a:cubicBezTo>
                    <a:pt x="1290905" y="43048"/>
                    <a:pt x="1284238" y="47906"/>
                    <a:pt x="1281571" y="55145"/>
                  </a:cubicBezTo>
                  <a:cubicBezTo>
                    <a:pt x="1280904" y="56478"/>
                    <a:pt x="1279570" y="63336"/>
                    <a:pt x="1273951" y="67527"/>
                  </a:cubicBezTo>
                  <a:cubicBezTo>
                    <a:pt x="1253567" y="82672"/>
                    <a:pt x="1248328" y="84958"/>
                    <a:pt x="1250900" y="90101"/>
                  </a:cubicBezTo>
                  <a:cubicBezTo>
                    <a:pt x="1251948" y="92292"/>
                    <a:pt x="1251091" y="95721"/>
                    <a:pt x="1248805" y="97626"/>
                  </a:cubicBezTo>
                  <a:cubicBezTo>
                    <a:pt x="1232041" y="112295"/>
                    <a:pt x="1227183" y="118867"/>
                    <a:pt x="1225183" y="111914"/>
                  </a:cubicBezTo>
                  <a:cubicBezTo>
                    <a:pt x="1224897" y="109437"/>
                    <a:pt x="1220135" y="101722"/>
                    <a:pt x="1226230" y="97245"/>
                  </a:cubicBezTo>
                  <a:lnTo>
                    <a:pt x="1230326" y="94197"/>
                  </a:lnTo>
                  <a:cubicBezTo>
                    <a:pt x="1242613" y="85053"/>
                    <a:pt x="1227945" y="72766"/>
                    <a:pt x="1230326" y="75719"/>
                  </a:cubicBezTo>
                  <a:cubicBezTo>
                    <a:pt x="1217848" y="67432"/>
                    <a:pt x="1283857" y="36761"/>
                    <a:pt x="1268140" y="34761"/>
                  </a:cubicBezTo>
                  <a:cubicBezTo>
                    <a:pt x="1266331" y="34190"/>
                    <a:pt x="1255186" y="35047"/>
                    <a:pt x="1259092" y="28665"/>
                  </a:cubicBezTo>
                  <a:cubicBezTo>
                    <a:pt x="1259949" y="27713"/>
                    <a:pt x="1261949" y="22664"/>
                    <a:pt x="1268140" y="21617"/>
                  </a:cubicBezTo>
                  <a:cubicBezTo>
                    <a:pt x="1308812" y="14663"/>
                    <a:pt x="1274046" y="18664"/>
                    <a:pt x="1280047" y="7805"/>
                  </a:cubicBezTo>
                  <a:cubicBezTo>
                    <a:pt x="1283380" y="1805"/>
                    <a:pt x="1270331" y="5329"/>
                    <a:pt x="1271284" y="5329"/>
                  </a:cubicBezTo>
                  <a:cubicBezTo>
                    <a:pt x="1263187" y="6662"/>
                    <a:pt x="1264235" y="-2291"/>
                    <a:pt x="1256615" y="566"/>
                  </a:cubicBezTo>
                  <a:cubicBezTo>
                    <a:pt x="1251376" y="3233"/>
                    <a:pt x="1236898" y="5138"/>
                    <a:pt x="1243090" y="10568"/>
                  </a:cubicBezTo>
                  <a:lnTo>
                    <a:pt x="1244518" y="11806"/>
                  </a:lnTo>
                  <a:cubicBezTo>
                    <a:pt x="1246709" y="13806"/>
                    <a:pt x="1247662" y="17616"/>
                    <a:pt x="1246519" y="20378"/>
                  </a:cubicBezTo>
                  <a:cubicBezTo>
                    <a:pt x="1244614" y="23617"/>
                    <a:pt x="1242328" y="36380"/>
                    <a:pt x="1237565" y="30094"/>
                  </a:cubicBezTo>
                  <a:cubicBezTo>
                    <a:pt x="1233946" y="26570"/>
                    <a:pt x="1228993" y="14378"/>
                    <a:pt x="1223659" y="20664"/>
                  </a:cubicBezTo>
                  <a:cubicBezTo>
                    <a:pt x="1222706" y="21426"/>
                    <a:pt x="1219468" y="27713"/>
                    <a:pt x="1213753" y="25427"/>
                  </a:cubicBezTo>
                  <a:cubicBezTo>
                    <a:pt x="1207847" y="23045"/>
                    <a:pt x="1209943" y="11996"/>
                    <a:pt x="1210038" y="12949"/>
                  </a:cubicBezTo>
                  <a:cubicBezTo>
                    <a:pt x="1210514" y="6567"/>
                    <a:pt x="1201561" y="9710"/>
                    <a:pt x="1202513" y="9710"/>
                  </a:cubicBezTo>
                  <a:cubicBezTo>
                    <a:pt x="1195751" y="11520"/>
                    <a:pt x="1194512" y="22283"/>
                    <a:pt x="1194988" y="21331"/>
                  </a:cubicBezTo>
                  <a:cubicBezTo>
                    <a:pt x="1193464" y="28189"/>
                    <a:pt x="1197941" y="36857"/>
                    <a:pt x="1197655" y="35904"/>
                  </a:cubicBezTo>
                  <a:cubicBezTo>
                    <a:pt x="1200989" y="43810"/>
                    <a:pt x="1183273" y="31808"/>
                    <a:pt x="1184225" y="32189"/>
                  </a:cubicBezTo>
                  <a:cubicBezTo>
                    <a:pt x="1179558" y="29522"/>
                    <a:pt x="1177558" y="35999"/>
                    <a:pt x="1178320" y="35047"/>
                  </a:cubicBezTo>
                  <a:cubicBezTo>
                    <a:pt x="1176701" y="42572"/>
                    <a:pt x="1190417" y="46001"/>
                    <a:pt x="1189464" y="45429"/>
                  </a:cubicBezTo>
                  <a:cubicBezTo>
                    <a:pt x="1201085" y="50192"/>
                    <a:pt x="1207657" y="68384"/>
                    <a:pt x="1193274" y="60288"/>
                  </a:cubicBezTo>
                  <a:cubicBezTo>
                    <a:pt x="1188511" y="58478"/>
                    <a:pt x="1179939" y="49715"/>
                    <a:pt x="1176986" y="57240"/>
                  </a:cubicBezTo>
                  <a:cubicBezTo>
                    <a:pt x="1175176" y="60574"/>
                    <a:pt x="1173938" y="70575"/>
                    <a:pt x="1167080" y="70956"/>
                  </a:cubicBezTo>
                  <a:cubicBezTo>
                    <a:pt x="1157365" y="71528"/>
                    <a:pt x="1175557" y="55335"/>
                    <a:pt x="1156507" y="50192"/>
                  </a:cubicBezTo>
                  <a:cubicBezTo>
                    <a:pt x="1152602" y="49811"/>
                    <a:pt x="1142029" y="43810"/>
                    <a:pt x="1142029" y="51620"/>
                  </a:cubicBezTo>
                  <a:cubicBezTo>
                    <a:pt x="1142220" y="53049"/>
                    <a:pt x="1140886" y="60383"/>
                    <a:pt x="1145554" y="65813"/>
                  </a:cubicBezTo>
                  <a:cubicBezTo>
                    <a:pt x="1146506" y="67432"/>
                    <a:pt x="1154888" y="73528"/>
                    <a:pt x="1149173" y="78195"/>
                  </a:cubicBezTo>
                  <a:cubicBezTo>
                    <a:pt x="1123075" y="99341"/>
                    <a:pt x="1118979" y="100960"/>
                    <a:pt x="1118312" y="108199"/>
                  </a:cubicBezTo>
                  <a:cubicBezTo>
                    <a:pt x="1118503" y="109151"/>
                    <a:pt x="1116407" y="115628"/>
                    <a:pt x="1122789" y="117343"/>
                  </a:cubicBezTo>
                  <a:cubicBezTo>
                    <a:pt x="1123932" y="117914"/>
                    <a:pt x="1133076" y="118391"/>
                    <a:pt x="1133076" y="125153"/>
                  </a:cubicBezTo>
                  <a:cubicBezTo>
                    <a:pt x="1133076" y="127916"/>
                    <a:pt x="1130695" y="130011"/>
                    <a:pt x="1127647" y="129821"/>
                  </a:cubicBezTo>
                  <a:cubicBezTo>
                    <a:pt x="1115645" y="127725"/>
                    <a:pt x="1102691" y="131154"/>
                    <a:pt x="1102691" y="122486"/>
                  </a:cubicBezTo>
                  <a:cubicBezTo>
                    <a:pt x="1102025" y="118486"/>
                    <a:pt x="1105168" y="107913"/>
                    <a:pt x="1097357" y="107056"/>
                  </a:cubicBezTo>
                  <a:lnTo>
                    <a:pt x="1068782" y="104008"/>
                  </a:lnTo>
                  <a:cubicBezTo>
                    <a:pt x="1051923" y="102198"/>
                    <a:pt x="1023824" y="80386"/>
                    <a:pt x="1024396" y="91530"/>
                  </a:cubicBezTo>
                  <a:cubicBezTo>
                    <a:pt x="1024205" y="92483"/>
                    <a:pt x="1025825" y="100484"/>
                    <a:pt x="1020205" y="96864"/>
                  </a:cubicBezTo>
                  <a:cubicBezTo>
                    <a:pt x="1016109" y="95054"/>
                    <a:pt x="1009060" y="86482"/>
                    <a:pt x="1004107" y="92768"/>
                  </a:cubicBezTo>
                  <a:cubicBezTo>
                    <a:pt x="1002679" y="95340"/>
                    <a:pt x="993439" y="102579"/>
                    <a:pt x="1000583" y="105437"/>
                  </a:cubicBezTo>
                  <a:cubicBezTo>
                    <a:pt x="1022586" y="114485"/>
                    <a:pt x="1027158" y="117057"/>
                    <a:pt x="1034302" y="117057"/>
                  </a:cubicBezTo>
                  <a:cubicBezTo>
                    <a:pt x="1035254" y="117343"/>
                    <a:pt x="1043636" y="115438"/>
                    <a:pt x="1044303" y="122391"/>
                  </a:cubicBezTo>
                  <a:cubicBezTo>
                    <a:pt x="1044112" y="123344"/>
                    <a:pt x="1046017" y="130106"/>
                    <a:pt x="1040207" y="130106"/>
                  </a:cubicBezTo>
                  <a:cubicBezTo>
                    <a:pt x="1031063" y="130106"/>
                    <a:pt x="1043446" y="147632"/>
                    <a:pt x="1034111" y="143346"/>
                  </a:cubicBezTo>
                  <a:lnTo>
                    <a:pt x="1019538" y="136583"/>
                  </a:lnTo>
                  <a:cubicBezTo>
                    <a:pt x="1014680" y="134393"/>
                    <a:pt x="1013251" y="128011"/>
                    <a:pt x="1013728" y="128963"/>
                  </a:cubicBezTo>
                  <a:cubicBezTo>
                    <a:pt x="1012489" y="121439"/>
                    <a:pt x="995916" y="117057"/>
                    <a:pt x="994868" y="124868"/>
                  </a:cubicBezTo>
                  <a:lnTo>
                    <a:pt x="993344" y="136202"/>
                  </a:lnTo>
                  <a:cubicBezTo>
                    <a:pt x="992487" y="142775"/>
                    <a:pt x="983534" y="145537"/>
                    <a:pt x="984486" y="144870"/>
                  </a:cubicBezTo>
                  <a:cubicBezTo>
                    <a:pt x="975056" y="148775"/>
                    <a:pt x="984676" y="131440"/>
                    <a:pt x="978390" y="121534"/>
                  </a:cubicBezTo>
                  <a:cubicBezTo>
                    <a:pt x="967341" y="104198"/>
                    <a:pt x="965341" y="97912"/>
                    <a:pt x="959340" y="101436"/>
                  </a:cubicBezTo>
                  <a:lnTo>
                    <a:pt x="947910" y="108008"/>
                  </a:lnTo>
                  <a:cubicBezTo>
                    <a:pt x="941719" y="111533"/>
                    <a:pt x="943433" y="118105"/>
                    <a:pt x="950291" y="119534"/>
                  </a:cubicBezTo>
                  <a:cubicBezTo>
                    <a:pt x="952577" y="120486"/>
                    <a:pt x="962959" y="119915"/>
                    <a:pt x="960673" y="127154"/>
                  </a:cubicBezTo>
                  <a:cubicBezTo>
                    <a:pt x="942481" y="184304"/>
                    <a:pt x="943338" y="186590"/>
                    <a:pt x="936670" y="189923"/>
                  </a:cubicBezTo>
                  <a:cubicBezTo>
                    <a:pt x="896189" y="210212"/>
                    <a:pt x="927145" y="192590"/>
                    <a:pt x="933432" y="169826"/>
                  </a:cubicBezTo>
                  <a:cubicBezTo>
                    <a:pt x="941528" y="140012"/>
                    <a:pt x="944576" y="134297"/>
                    <a:pt x="939433" y="130678"/>
                  </a:cubicBezTo>
                  <a:cubicBezTo>
                    <a:pt x="930384" y="124391"/>
                    <a:pt x="901333" y="184494"/>
                    <a:pt x="902666" y="169064"/>
                  </a:cubicBezTo>
                  <a:cubicBezTo>
                    <a:pt x="902571" y="159824"/>
                    <a:pt x="907524" y="145251"/>
                    <a:pt x="899618" y="148585"/>
                  </a:cubicBezTo>
                  <a:cubicBezTo>
                    <a:pt x="866471" y="162682"/>
                    <a:pt x="860185" y="163253"/>
                    <a:pt x="863614" y="169730"/>
                  </a:cubicBezTo>
                  <a:cubicBezTo>
                    <a:pt x="865995" y="175636"/>
                    <a:pt x="873139" y="182780"/>
                    <a:pt x="869138" y="189923"/>
                  </a:cubicBezTo>
                  <a:cubicBezTo>
                    <a:pt x="868186" y="190876"/>
                    <a:pt x="865423" y="199067"/>
                    <a:pt x="861899" y="193162"/>
                  </a:cubicBezTo>
                  <a:cubicBezTo>
                    <a:pt x="857137" y="187066"/>
                    <a:pt x="854565" y="175826"/>
                    <a:pt x="846278" y="177350"/>
                  </a:cubicBezTo>
                  <a:cubicBezTo>
                    <a:pt x="843421" y="178398"/>
                    <a:pt x="831038" y="178112"/>
                    <a:pt x="835991" y="184113"/>
                  </a:cubicBezTo>
                  <a:cubicBezTo>
                    <a:pt x="838753" y="188590"/>
                    <a:pt x="849421" y="196400"/>
                    <a:pt x="841706" y="198782"/>
                  </a:cubicBezTo>
                  <a:cubicBezTo>
                    <a:pt x="839992" y="198972"/>
                    <a:pt x="832276" y="203639"/>
                    <a:pt x="828847" y="197258"/>
                  </a:cubicBezTo>
                  <a:lnTo>
                    <a:pt x="823323" y="187066"/>
                  </a:lnTo>
                  <a:cubicBezTo>
                    <a:pt x="814655" y="171159"/>
                    <a:pt x="801511" y="197067"/>
                    <a:pt x="806845" y="206021"/>
                  </a:cubicBezTo>
                  <a:cubicBezTo>
                    <a:pt x="807130" y="206973"/>
                    <a:pt x="813512" y="214212"/>
                    <a:pt x="806559" y="215450"/>
                  </a:cubicBezTo>
                  <a:cubicBezTo>
                    <a:pt x="772364" y="221737"/>
                    <a:pt x="765982" y="221070"/>
                    <a:pt x="768554" y="227833"/>
                  </a:cubicBezTo>
                  <a:cubicBezTo>
                    <a:pt x="768650" y="228785"/>
                    <a:pt x="773221" y="235643"/>
                    <a:pt x="767411" y="239453"/>
                  </a:cubicBezTo>
                  <a:cubicBezTo>
                    <a:pt x="766459" y="239739"/>
                    <a:pt x="762363" y="243263"/>
                    <a:pt x="756838" y="240977"/>
                  </a:cubicBezTo>
                  <a:cubicBezTo>
                    <a:pt x="755886" y="240977"/>
                    <a:pt x="751504" y="239072"/>
                    <a:pt x="748076" y="242787"/>
                  </a:cubicBezTo>
                  <a:cubicBezTo>
                    <a:pt x="737217" y="254503"/>
                    <a:pt x="731311" y="262504"/>
                    <a:pt x="724072" y="264980"/>
                  </a:cubicBezTo>
                  <a:cubicBezTo>
                    <a:pt x="723120" y="264980"/>
                    <a:pt x="715500" y="269457"/>
                    <a:pt x="715500" y="262599"/>
                  </a:cubicBezTo>
                  <a:cubicBezTo>
                    <a:pt x="715309" y="261551"/>
                    <a:pt x="716834" y="253836"/>
                    <a:pt x="710642" y="250883"/>
                  </a:cubicBezTo>
                  <a:cubicBezTo>
                    <a:pt x="707023" y="249836"/>
                    <a:pt x="699403" y="242978"/>
                    <a:pt x="694164" y="248788"/>
                  </a:cubicBezTo>
                  <a:cubicBezTo>
                    <a:pt x="683782" y="260599"/>
                    <a:pt x="678448" y="268695"/>
                    <a:pt x="677971" y="261456"/>
                  </a:cubicBezTo>
                  <a:cubicBezTo>
                    <a:pt x="676352" y="252312"/>
                    <a:pt x="679781" y="239072"/>
                    <a:pt x="671304" y="240406"/>
                  </a:cubicBezTo>
                  <a:cubicBezTo>
                    <a:pt x="667875" y="241454"/>
                    <a:pt x="657683" y="240406"/>
                    <a:pt x="656254" y="247931"/>
                  </a:cubicBezTo>
                  <a:cubicBezTo>
                    <a:pt x="653778" y="256884"/>
                    <a:pt x="655207" y="267647"/>
                    <a:pt x="647301" y="270886"/>
                  </a:cubicBezTo>
                  <a:lnTo>
                    <a:pt x="637871" y="274696"/>
                  </a:lnTo>
                  <a:cubicBezTo>
                    <a:pt x="630346" y="277744"/>
                    <a:pt x="635966" y="286316"/>
                    <a:pt x="628060" y="286983"/>
                  </a:cubicBezTo>
                  <a:cubicBezTo>
                    <a:pt x="599867" y="289269"/>
                    <a:pt x="597295" y="288698"/>
                    <a:pt x="592246" y="293079"/>
                  </a:cubicBezTo>
                  <a:cubicBezTo>
                    <a:pt x="588341" y="295651"/>
                    <a:pt x="583102" y="304128"/>
                    <a:pt x="575863" y="300985"/>
                  </a:cubicBezTo>
                  <a:cubicBezTo>
                    <a:pt x="574625" y="300604"/>
                    <a:pt x="568910" y="296794"/>
                    <a:pt x="562052" y="298604"/>
                  </a:cubicBezTo>
                  <a:cubicBezTo>
                    <a:pt x="547765" y="304128"/>
                    <a:pt x="536239" y="303461"/>
                    <a:pt x="534334" y="312034"/>
                  </a:cubicBezTo>
                  <a:cubicBezTo>
                    <a:pt x="534049" y="316225"/>
                    <a:pt x="528143" y="327750"/>
                    <a:pt x="536144" y="326702"/>
                  </a:cubicBezTo>
                  <a:lnTo>
                    <a:pt x="545288" y="325464"/>
                  </a:lnTo>
                  <a:cubicBezTo>
                    <a:pt x="558433" y="323654"/>
                    <a:pt x="565195" y="306509"/>
                    <a:pt x="571292" y="314796"/>
                  </a:cubicBezTo>
                  <a:cubicBezTo>
                    <a:pt x="572244" y="315558"/>
                    <a:pt x="574911" y="321845"/>
                    <a:pt x="580721" y="318511"/>
                  </a:cubicBezTo>
                  <a:cubicBezTo>
                    <a:pt x="606725" y="303557"/>
                    <a:pt x="612820" y="298318"/>
                    <a:pt x="611773" y="305557"/>
                  </a:cubicBezTo>
                  <a:cubicBezTo>
                    <a:pt x="611773" y="306700"/>
                    <a:pt x="608725" y="317082"/>
                    <a:pt x="614630" y="312986"/>
                  </a:cubicBezTo>
                  <a:cubicBezTo>
                    <a:pt x="637109" y="297175"/>
                    <a:pt x="639871" y="293936"/>
                    <a:pt x="646158" y="296413"/>
                  </a:cubicBezTo>
                  <a:cubicBezTo>
                    <a:pt x="649301" y="297175"/>
                    <a:pt x="657112" y="303271"/>
                    <a:pt x="662065" y="297365"/>
                  </a:cubicBezTo>
                  <a:cubicBezTo>
                    <a:pt x="663208" y="296508"/>
                    <a:pt x="667589" y="288126"/>
                    <a:pt x="672828" y="292412"/>
                  </a:cubicBezTo>
                  <a:cubicBezTo>
                    <a:pt x="674923" y="294222"/>
                    <a:pt x="678257" y="293841"/>
                    <a:pt x="680257" y="291555"/>
                  </a:cubicBezTo>
                  <a:lnTo>
                    <a:pt x="688163" y="282316"/>
                  </a:lnTo>
                  <a:cubicBezTo>
                    <a:pt x="692450" y="277268"/>
                    <a:pt x="691878" y="287364"/>
                    <a:pt x="691687" y="286412"/>
                  </a:cubicBezTo>
                  <a:cubicBezTo>
                    <a:pt x="691687" y="289364"/>
                    <a:pt x="694069" y="291269"/>
                    <a:pt x="696926" y="290507"/>
                  </a:cubicBezTo>
                  <a:lnTo>
                    <a:pt x="729406" y="282602"/>
                  </a:lnTo>
                  <a:cubicBezTo>
                    <a:pt x="736455" y="280887"/>
                    <a:pt x="745218" y="287840"/>
                    <a:pt x="744265" y="287364"/>
                  </a:cubicBezTo>
                  <a:cubicBezTo>
                    <a:pt x="750838" y="291555"/>
                    <a:pt x="761506" y="282411"/>
                    <a:pt x="760553" y="282792"/>
                  </a:cubicBezTo>
                  <a:cubicBezTo>
                    <a:pt x="766554" y="278982"/>
                    <a:pt x="775412" y="280982"/>
                    <a:pt x="770554" y="286221"/>
                  </a:cubicBezTo>
                  <a:cubicBezTo>
                    <a:pt x="762934" y="294317"/>
                    <a:pt x="759886" y="298699"/>
                    <a:pt x="753409" y="299842"/>
                  </a:cubicBezTo>
                  <a:cubicBezTo>
                    <a:pt x="729026" y="304223"/>
                    <a:pt x="730168" y="292984"/>
                    <a:pt x="716643" y="296127"/>
                  </a:cubicBezTo>
                  <a:cubicBezTo>
                    <a:pt x="698641" y="300318"/>
                    <a:pt x="692068" y="300509"/>
                    <a:pt x="693783" y="306319"/>
                  </a:cubicBezTo>
                  <a:cubicBezTo>
                    <a:pt x="695307" y="311367"/>
                    <a:pt x="703022" y="310415"/>
                    <a:pt x="702070" y="310224"/>
                  </a:cubicBezTo>
                  <a:cubicBezTo>
                    <a:pt x="709118" y="309557"/>
                    <a:pt x="711976" y="316701"/>
                    <a:pt x="706261" y="320797"/>
                  </a:cubicBezTo>
                  <a:cubicBezTo>
                    <a:pt x="705022" y="322035"/>
                    <a:pt x="696640" y="325845"/>
                    <a:pt x="699022" y="331370"/>
                  </a:cubicBezTo>
                  <a:cubicBezTo>
                    <a:pt x="701308" y="336608"/>
                    <a:pt x="694735" y="351658"/>
                    <a:pt x="691402" y="344038"/>
                  </a:cubicBezTo>
                  <a:cubicBezTo>
                    <a:pt x="688639" y="337942"/>
                    <a:pt x="685496" y="332417"/>
                    <a:pt x="686544" y="325750"/>
                  </a:cubicBezTo>
                  <a:lnTo>
                    <a:pt x="687115" y="322130"/>
                  </a:lnTo>
                  <a:cubicBezTo>
                    <a:pt x="688068" y="316320"/>
                    <a:pt x="680924" y="313367"/>
                    <a:pt x="681877" y="314129"/>
                  </a:cubicBezTo>
                  <a:cubicBezTo>
                    <a:pt x="675685" y="311462"/>
                    <a:pt x="671209" y="320606"/>
                    <a:pt x="672161" y="319749"/>
                  </a:cubicBezTo>
                  <a:cubicBezTo>
                    <a:pt x="666922" y="328322"/>
                    <a:pt x="660541" y="313367"/>
                    <a:pt x="652444" y="319749"/>
                  </a:cubicBezTo>
                  <a:cubicBezTo>
                    <a:pt x="650254" y="322130"/>
                    <a:pt x="639014" y="327750"/>
                    <a:pt x="646348" y="330322"/>
                  </a:cubicBezTo>
                  <a:cubicBezTo>
                    <a:pt x="649873" y="332036"/>
                    <a:pt x="663684" y="334608"/>
                    <a:pt x="656254" y="337561"/>
                  </a:cubicBezTo>
                  <a:lnTo>
                    <a:pt x="648539" y="340609"/>
                  </a:lnTo>
                  <a:cubicBezTo>
                    <a:pt x="641395" y="343466"/>
                    <a:pt x="636633" y="337561"/>
                    <a:pt x="628632" y="338323"/>
                  </a:cubicBezTo>
                  <a:cubicBezTo>
                    <a:pt x="627013" y="338799"/>
                    <a:pt x="616345" y="337942"/>
                    <a:pt x="618821" y="343562"/>
                  </a:cubicBezTo>
                  <a:cubicBezTo>
                    <a:pt x="621107" y="348705"/>
                    <a:pt x="611487" y="351753"/>
                    <a:pt x="612439" y="351086"/>
                  </a:cubicBezTo>
                  <a:cubicBezTo>
                    <a:pt x="604819" y="354134"/>
                    <a:pt x="617678" y="357754"/>
                    <a:pt x="611963" y="363659"/>
                  </a:cubicBezTo>
                  <a:cubicBezTo>
                    <a:pt x="611392" y="364612"/>
                    <a:pt x="603772" y="370708"/>
                    <a:pt x="610725" y="369946"/>
                  </a:cubicBezTo>
                  <a:cubicBezTo>
                    <a:pt x="617488" y="369184"/>
                    <a:pt x="623774" y="369279"/>
                    <a:pt x="629203" y="365279"/>
                  </a:cubicBezTo>
                  <a:cubicBezTo>
                    <a:pt x="637776" y="360326"/>
                    <a:pt x="644634" y="350515"/>
                    <a:pt x="651682" y="355373"/>
                  </a:cubicBezTo>
                  <a:cubicBezTo>
                    <a:pt x="654064" y="357659"/>
                    <a:pt x="665684" y="362516"/>
                    <a:pt x="658445" y="365564"/>
                  </a:cubicBezTo>
                  <a:cubicBezTo>
                    <a:pt x="601105" y="389472"/>
                    <a:pt x="648634" y="371279"/>
                    <a:pt x="650254" y="386900"/>
                  </a:cubicBezTo>
                  <a:lnTo>
                    <a:pt x="650825" y="392520"/>
                  </a:lnTo>
                  <a:cubicBezTo>
                    <a:pt x="651492" y="398426"/>
                    <a:pt x="645872" y="392520"/>
                    <a:pt x="646825" y="393092"/>
                  </a:cubicBezTo>
                  <a:cubicBezTo>
                    <a:pt x="643015" y="389091"/>
                    <a:pt x="636347" y="389663"/>
                    <a:pt x="637300" y="389853"/>
                  </a:cubicBezTo>
                  <a:cubicBezTo>
                    <a:pt x="624631" y="391282"/>
                    <a:pt x="616250" y="379280"/>
                    <a:pt x="609010" y="386329"/>
                  </a:cubicBezTo>
                  <a:cubicBezTo>
                    <a:pt x="590151" y="404617"/>
                    <a:pt x="582817" y="409379"/>
                    <a:pt x="589865" y="411475"/>
                  </a:cubicBezTo>
                  <a:lnTo>
                    <a:pt x="592913" y="412427"/>
                  </a:lnTo>
                  <a:cubicBezTo>
                    <a:pt x="599295" y="414332"/>
                    <a:pt x="606725" y="408903"/>
                    <a:pt x="605772" y="409284"/>
                  </a:cubicBezTo>
                  <a:cubicBezTo>
                    <a:pt x="618059" y="401759"/>
                    <a:pt x="637681" y="420047"/>
                    <a:pt x="634728" y="417571"/>
                  </a:cubicBezTo>
                  <a:cubicBezTo>
                    <a:pt x="636728" y="419762"/>
                    <a:pt x="635966" y="421095"/>
                    <a:pt x="633013" y="420619"/>
                  </a:cubicBezTo>
                  <a:lnTo>
                    <a:pt x="616630" y="417761"/>
                  </a:lnTo>
                  <a:cubicBezTo>
                    <a:pt x="610820" y="416714"/>
                    <a:pt x="604915" y="420905"/>
                    <a:pt x="605867" y="420524"/>
                  </a:cubicBezTo>
                  <a:cubicBezTo>
                    <a:pt x="596247" y="427096"/>
                    <a:pt x="585674" y="415571"/>
                    <a:pt x="578626" y="423762"/>
                  </a:cubicBezTo>
                  <a:cubicBezTo>
                    <a:pt x="577673" y="424429"/>
                    <a:pt x="574435" y="430811"/>
                    <a:pt x="568339" y="427667"/>
                  </a:cubicBezTo>
                  <a:lnTo>
                    <a:pt x="567481" y="427191"/>
                  </a:lnTo>
                  <a:cubicBezTo>
                    <a:pt x="560338" y="423381"/>
                    <a:pt x="546526" y="432430"/>
                    <a:pt x="548431" y="437573"/>
                  </a:cubicBezTo>
                  <a:cubicBezTo>
                    <a:pt x="551384" y="445574"/>
                    <a:pt x="524619" y="445860"/>
                    <a:pt x="534620" y="451004"/>
                  </a:cubicBezTo>
                  <a:lnTo>
                    <a:pt x="538811" y="453194"/>
                  </a:lnTo>
                  <a:cubicBezTo>
                    <a:pt x="545098" y="456433"/>
                    <a:pt x="543383" y="462434"/>
                    <a:pt x="536335" y="461862"/>
                  </a:cubicBezTo>
                  <a:cubicBezTo>
                    <a:pt x="530429" y="462148"/>
                    <a:pt x="519761" y="457671"/>
                    <a:pt x="517285" y="465577"/>
                  </a:cubicBezTo>
                  <a:cubicBezTo>
                    <a:pt x="514903" y="470720"/>
                    <a:pt x="514903" y="481579"/>
                    <a:pt x="506807" y="482246"/>
                  </a:cubicBezTo>
                  <a:lnTo>
                    <a:pt x="505664" y="482246"/>
                  </a:lnTo>
                  <a:cubicBezTo>
                    <a:pt x="495092" y="483198"/>
                    <a:pt x="508141" y="502058"/>
                    <a:pt x="502711" y="511487"/>
                  </a:cubicBezTo>
                  <a:cubicBezTo>
                    <a:pt x="499568" y="516917"/>
                    <a:pt x="495758" y="508344"/>
                    <a:pt x="489567" y="510059"/>
                  </a:cubicBezTo>
                  <a:cubicBezTo>
                    <a:pt x="483757" y="511678"/>
                    <a:pt x="489376" y="523775"/>
                    <a:pt x="489281" y="522822"/>
                  </a:cubicBezTo>
                  <a:cubicBezTo>
                    <a:pt x="493186" y="534538"/>
                    <a:pt x="463373" y="538634"/>
                    <a:pt x="471755" y="547301"/>
                  </a:cubicBezTo>
                  <a:cubicBezTo>
                    <a:pt x="472231" y="548254"/>
                    <a:pt x="478613" y="552350"/>
                    <a:pt x="473660" y="557017"/>
                  </a:cubicBezTo>
                  <a:cubicBezTo>
                    <a:pt x="469755" y="561875"/>
                    <a:pt x="458801" y="567113"/>
                    <a:pt x="463563" y="573971"/>
                  </a:cubicBezTo>
                  <a:cubicBezTo>
                    <a:pt x="483947" y="603308"/>
                    <a:pt x="456610" y="579210"/>
                    <a:pt x="452229" y="588735"/>
                  </a:cubicBezTo>
                  <a:lnTo>
                    <a:pt x="443656" y="607309"/>
                  </a:lnTo>
                  <a:cubicBezTo>
                    <a:pt x="440704" y="613881"/>
                    <a:pt x="448800" y="615310"/>
                    <a:pt x="454229" y="610928"/>
                  </a:cubicBezTo>
                  <a:cubicBezTo>
                    <a:pt x="457087" y="609214"/>
                    <a:pt x="465850" y="599308"/>
                    <a:pt x="465469" y="607214"/>
                  </a:cubicBezTo>
                  <a:cubicBezTo>
                    <a:pt x="464897" y="609976"/>
                    <a:pt x="466993" y="619501"/>
                    <a:pt x="459754" y="621977"/>
                  </a:cubicBezTo>
                  <a:cubicBezTo>
                    <a:pt x="455944" y="622835"/>
                    <a:pt x="448609" y="627407"/>
                    <a:pt x="441466" y="624359"/>
                  </a:cubicBezTo>
                  <a:cubicBezTo>
                    <a:pt x="440513" y="624359"/>
                    <a:pt x="436036" y="621977"/>
                    <a:pt x="432417" y="626073"/>
                  </a:cubicBezTo>
                  <a:cubicBezTo>
                    <a:pt x="426892" y="632264"/>
                    <a:pt x="422797" y="638360"/>
                    <a:pt x="415843" y="639980"/>
                  </a:cubicBezTo>
                  <a:lnTo>
                    <a:pt x="401746" y="643313"/>
                  </a:lnTo>
                  <a:cubicBezTo>
                    <a:pt x="394888" y="644933"/>
                    <a:pt x="386983" y="638360"/>
                    <a:pt x="387935" y="638837"/>
                  </a:cubicBezTo>
                  <a:cubicBezTo>
                    <a:pt x="373743" y="629312"/>
                    <a:pt x="357265" y="647885"/>
                    <a:pt x="359836" y="645885"/>
                  </a:cubicBezTo>
                  <a:cubicBezTo>
                    <a:pt x="357741" y="647981"/>
                    <a:pt x="358503" y="649886"/>
                    <a:pt x="361456" y="649981"/>
                  </a:cubicBezTo>
                  <a:lnTo>
                    <a:pt x="379267" y="650743"/>
                  </a:lnTo>
                  <a:cubicBezTo>
                    <a:pt x="386316" y="651029"/>
                    <a:pt x="393269" y="659030"/>
                    <a:pt x="392317" y="658363"/>
                  </a:cubicBezTo>
                  <a:cubicBezTo>
                    <a:pt x="397460" y="663316"/>
                    <a:pt x="406128" y="655982"/>
                    <a:pt x="405175" y="656363"/>
                  </a:cubicBezTo>
                  <a:cubicBezTo>
                    <a:pt x="411652" y="652172"/>
                    <a:pt x="423940" y="651886"/>
                    <a:pt x="422987" y="651981"/>
                  </a:cubicBezTo>
                  <a:cubicBezTo>
                    <a:pt x="430036" y="651219"/>
                    <a:pt x="433655" y="659411"/>
                    <a:pt x="426607" y="660744"/>
                  </a:cubicBezTo>
                  <a:cubicBezTo>
                    <a:pt x="424416" y="661411"/>
                    <a:pt x="415748" y="661601"/>
                    <a:pt x="412510" y="666269"/>
                  </a:cubicBezTo>
                  <a:cubicBezTo>
                    <a:pt x="406318" y="675127"/>
                    <a:pt x="376124" y="668174"/>
                    <a:pt x="377362" y="678937"/>
                  </a:cubicBezTo>
                  <a:cubicBezTo>
                    <a:pt x="378125" y="685509"/>
                    <a:pt x="366694" y="680937"/>
                    <a:pt x="367647" y="681032"/>
                  </a:cubicBezTo>
                  <a:cubicBezTo>
                    <a:pt x="362408" y="679604"/>
                    <a:pt x="360313" y="685985"/>
                    <a:pt x="361075" y="685033"/>
                  </a:cubicBezTo>
                  <a:cubicBezTo>
                    <a:pt x="358979" y="693034"/>
                    <a:pt x="350216" y="688271"/>
                    <a:pt x="347835" y="696272"/>
                  </a:cubicBezTo>
                  <a:lnTo>
                    <a:pt x="346501" y="700559"/>
                  </a:lnTo>
                  <a:cubicBezTo>
                    <a:pt x="344215" y="708369"/>
                    <a:pt x="334119" y="718847"/>
                    <a:pt x="334881" y="717894"/>
                  </a:cubicBezTo>
                  <a:cubicBezTo>
                    <a:pt x="329928" y="723895"/>
                    <a:pt x="325070" y="720942"/>
                    <a:pt x="318784" y="725990"/>
                  </a:cubicBezTo>
                  <a:cubicBezTo>
                    <a:pt x="318022" y="726943"/>
                    <a:pt x="310306" y="731324"/>
                    <a:pt x="316498" y="732848"/>
                  </a:cubicBezTo>
                  <a:cubicBezTo>
                    <a:pt x="322879" y="734372"/>
                    <a:pt x="325356" y="740564"/>
                    <a:pt x="318403" y="742088"/>
                  </a:cubicBezTo>
                  <a:cubicBezTo>
                    <a:pt x="313259" y="743802"/>
                    <a:pt x="303639" y="743135"/>
                    <a:pt x="300496" y="750565"/>
                  </a:cubicBezTo>
                  <a:cubicBezTo>
                    <a:pt x="299353" y="754470"/>
                    <a:pt x="291828" y="766186"/>
                    <a:pt x="299353" y="763424"/>
                  </a:cubicBezTo>
                  <a:lnTo>
                    <a:pt x="315926" y="757232"/>
                  </a:lnTo>
                  <a:cubicBezTo>
                    <a:pt x="322403" y="754851"/>
                    <a:pt x="316498" y="764662"/>
                    <a:pt x="316783" y="763709"/>
                  </a:cubicBezTo>
                  <a:cubicBezTo>
                    <a:pt x="313831" y="769710"/>
                    <a:pt x="319069" y="777521"/>
                    <a:pt x="318688" y="776568"/>
                  </a:cubicBezTo>
                  <a:cubicBezTo>
                    <a:pt x="321641" y="781997"/>
                    <a:pt x="328880" y="777806"/>
                    <a:pt x="327928" y="777997"/>
                  </a:cubicBezTo>
                  <a:cubicBezTo>
                    <a:pt x="336976" y="773425"/>
                    <a:pt x="345168" y="777616"/>
                    <a:pt x="351740" y="771329"/>
                  </a:cubicBezTo>
                  <a:cubicBezTo>
                    <a:pt x="363170" y="760376"/>
                    <a:pt x="385078" y="750470"/>
                    <a:pt x="391840" y="751041"/>
                  </a:cubicBezTo>
                  <a:cubicBezTo>
                    <a:pt x="409271" y="753994"/>
                    <a:pt x="403366" y="753232"/>
                    <a:pt x="385744" y="762852"/>
                  </a:cubicBezTo>
                  <a:cubicBezTo>
                    <a:pt x="374791" y="770186"/>
                    <a:pt x="359741" y="773234"/>
                    <a:pt x="365647" y="779902"/>
                  </a:cubicBezTo>
                  <a:cubicBezTo>
                    <a:pt x="366218" y="780854"/>
                    <a:pt x="374029" y="787522"/>
                    <a:pt x="366980" y="787617"/>
                  </a:cubicBezTo>
                  <a:lnTo>
                    <a:pt x="334976" y="788284"/>
                  </a:lnTo>
                  <a:cubicBezTo>
                    <a:pt x="327356" y="788474"/>
                    <a:pt x="326404" y="796380"/>
                    <a:pt x="320879" y="795428"/>
                  </a:cubicBezTo>
                  <a:cubicBezTo>
                    <a:pt x="310497" y="793523"/>
                    <a:pt x="305544" y="768377"/>
                    <a:pt x="295352" y="773044"/>
                  </a:cubicBezTo>
                  <a:lnTo>
                    <a:pt x="275445" y="782188"/>
                  </a:lnTo>
                  <a:cubicBezTo>
                    <a:pt x="269635" y="784855"/>
                    <a:pt x="275826" y="791618"/>
                    <a:pt x="275445" y="790665"/>
                  </a:cubicBezTo>
                  <a:cubicBezTo>
                    <a:pt x="277255" y="792951"/>
                    <a:pt x="276874" y="796285"/>
                    <a:pt x="274397" y="797999"/>
                  </a:cubicBezTo>
                  <a:cubicBezTo>
                    <a:pt x="270968" y="799809"/>
                    <a:pt x="261824" y="809620"/>
                    <a:pt x="261824" y="801619"/>
                  </a:cubicBezTo>
                  <a:cubicBezTo>
                    <a:pt x="261253" y="798380"/>
                    <a:pt x="264110" y="787236"/>
                    <a:pt x="256490" y="788665"/>
                  </a:cubicBezTo>
                  <a:cubicBezTo>
                    <a:pt x="249727" y="790570"/>
                    <a:pt x="239631" y="789427"/>
                    <a:pt x="235345" y="796571"/>
                  </a:cubicBezTo>
                  <a:lnTo>
                    <a:pt x="233725" y="799238"/>
                  </a:lnTo>
                  <a:cubicBezTo>
                    <a:pt x="228963" y="807239"/>
                    <a:pt x="222486" y="797999"/>
                    <a:pt x="212961" y="802667"/>
                  </a:cubicBezTo>
                  <a:cubicBezTo>
                    <a:pt x="182862" y="817430"/>
                    <a:pt x="203436" y="808191"/>
                    <a:pt x="213437" y="817526"/>
                  </a:cubicBezTo>
                  <a:cubicBezTo>
                    <a:pt x="230011" y="833051"/>
                    <a:pt x="238012" y="838766"/>
                    <a:pt x="230677" y="838957"/>
                  </a:cubicBezTo>
                  <a:cubicBezTo>
                    <a:pt x="229249" y="838862"/>
                    <a:pt x="222010" y="840290"/>
                    <a:pt x="216295" y="836004"/>
                  </a:cubicBezTo>
                  <a:cubicBezTo>
                    <a:pt x="209246" y="831813"/>
                    <a:pt x="199912" y="820478"/>
                    <a:pt x="198007" y="828289"/>
                  </a:cubicBezTo>
                  <a:cubicBezTo>
                    <a:pt x="196006" y="836576"/>
                    <a:pt x="171527" y="841148"/>
                    <a:pt x="165336" y="836957"/>
                  </a:cubicBezTo>
                  <a:cubicBezTo>
                    <a:pt x="162764" y="835528"/>
                    <a:pt x="156954" y="829337"/>
                    <a:pt x="149334" y="830480"/>
                  </a:cubicBezTo>
                  <a:cubicBezTo>
                    <a:pt x="146381" y="831432"/>
                    <a:pt x="134856" y="830289"/>
                    <a:pt x="137428" y="837433"/>
                  </a:cubicBezTo>
                  <a:cubicBezTo>
                    <a:pt x="139523" y="843243"/>
                    <a:pt x="130570" y="842957"/>
                    <a:pt x="131522" y="842576"/>
                  </a:cubicBezTo>
                  <a:cubicBezTo>
                    <a:pt x="125045" y="842767"/>
                    <a:pt x="122854" y="851625"/>
                    <a:pt x="123426" y="850673"/>
                  </a:cubicBezTo>
                  <a:cubicBezTo>
                    <a:pt x="119330" y="862865"/>
                    <a:pt x="152001" y="843148"/>
                    <a:pt x="158668" y="854102"/>
                  </a:cubicBezTo>
                  <a:cubicBezTo>
                    <a:pt x="160288" y="857721"/>
                    <a:pt x="169527" y="868484"/>
                    <a:pt x="161812" y="866198"/>
                  </a:cubicBezTo>
                  <a:cubicBezTo>
                    <a:pt x="156954" y="864770"/>
                    <a:pt x="151334" y="862769"/>
                    <a:pt x="144952" y="863531"/>
                  </a:cubicBezTo>
                  <a:cubicBezTo>
                    <a:pt x="104376" y="868294"/>
                    <a:pt x="99232" y="867913"/>
                    <a:pt x="92851" y="872199"/>
                  </a:cubicBezTo>
                  <a:lnTo>
                    <a:pt x="92755" y="872199"/>
                  </a:lnTo>
                  <a:cubicBezTo>
                    <a:pt x="83230" y="878676"/>
                    <a:pt x="119425" y="880391"/>
                    <a:pt x="107424" y="884010"/>
                  </a:cubicBezTo>
                  <a:lnTo>
                    <a:pt x="90469" y="889154"/>
                  </a:lnTo>
                  <a:cubicBezTo>
                    <a:pt x="85040" y="890773"/>
                    <a:pt x="80849" y="885153"/>
                    <a:pt x="81802" y="885820"/>
                  </a:cubicBezTo>
                  <a:cubicBezTo>
                    <a:pt x="77611" y="880010"/>
                    <a:pt x="69895" y="882105"/>
                    <a:pt x="67800" y="888773"/>
                  </a:cubicBezTo>
                  <a:cubicBezTo>
                    <a:pt x="65514" y="896012"/>
                    <a:pt x="52369" y="897059"/>
                    <a:pt x="53322" y="896678"/>
                  </a:cubicBezTo>
                  <a:cubicBezTo>
                    <a:pt x="47131" y="898012"/>
                    <a:pt x="53512" y="904298"/>
                    <a:pt x="53131" y="903346"/>
                  </a:cubicBezTo>
                  <a:cubicBezTo>
                    <a:pt x="57989" y="908585"/>
                    <a:pt x="51607" y="915633"/>
                    <a:pt x="46178" y="911061"/>
                  </a:cubicBezTo>
                  <a:lnTo>
                    <a:pt x="37415" y="903727"/>
                  </a:lnTo>
                  <a:cubicBezTo>
                    <a:pt x="32748" y="899822"/>
                    <a:pt x="27604" y="905918"/>
                    <a:pt x="28557" y="905441"/>
                  </a:cubicBezTo>
                  <a:cubicBezTo>
                    <a:pt x="24366" y="910013"/>
                    <a:pt x="32462" y="913347"/>
                    <a:pt x="31510" y="912395"/>
                  </a:cubicBezTo>
                  <a:cubicBezTo>
                    <a:pt x="38082" y="915347"/>
                    <a:pt x="39320" y="923348"/>
                    <a:pt x="32367" y="921729"/>
                  </a:cubicBezTo>
                  <a:cubicBezTo>
                    <a:pt x="29224" y="921443"/>
                    <a:pt x="18175" y="916586"/>
                    <a:pt x="19603" y="922872"/>
                  </a:cubicBezTo>
                  <a:cubicBezTo>
                    <a:pt x="20746" y="927825"/>
                    <a:pt x="13031" y="930968"/>
                    <a:pt x="13984" y="930206"/>
                  </a:cubicBezTo>
                  <a:cubicBezTo>
                    <a:pt x="7507" y="933159"/>
                    <a:pt x="12936" y="942208"/>
                    <a:pt x="19699" y="939636"/>
                  </a:cubicBezTo>
                  <a:cubicBezTo>
                    <a:pt x="22937" y="938874"/>
                    <a:pt x="29700" y="934112"/>
                    <a:pt x="35510" y="937826"/>
                  </a:cubicBezTo>
                  <a:cubicBezTo>
                    <a:pt x="37796" y="939255"/>
                    <a:pt x="37510" y="941541"/>
                    <a:pt x="34843" y="942875"/>
                  </a:cubicBezTo>
                  <a:lnTo>
                    <a:pt x="25414" y="947542"/>
                  </a:lnTo>
                  <a:cubicBezTo>
                    <a:pt x="20365" y="950018"/>
                    <a:pt x="20746" y="956972"/>
                    <a:pt x="21032" y="956019"/>
                  </a:cubicBezTo>
                  <a:cubicBezTo>
                    <a:pt x="21413" y="962210"/>
                    <a:pt x="29224" y="958877"/>
                    <a:pt x="28271" y="958877"/>
                  </a:cubicBezTo>
                  <a:cubicBezTo>
                    <a:pt x="35415" y="956210"/>
                    <a:pt x="43035" y="969354"/>
                    <a:pt x="35510" y="969354"/>
                  </a:cubicBezTo>
                  <a:lnTo>
                    <a:pt x="27700" y="969354"/>
                  </a:lnTo>
                  <a:cubicBezTo>
                    <a:pt x="20746" y="969354"/>
                    <a:pt x="13698" y="976117"/>
                    <a:pt x="14650" y="975545"/>
                  </a:cubicBezTo>
                  <a:cubicBezTo>
                    <a:pt x="7602" y="981165"/>
                    <a:pt x="31414" y="977927"/>
                    <a:pt x="30462" y="978022"/>
                  </a:cubicBezTo>
                  <a:cubicBezTo>
                    <a:pt x="37415" y="977736"/>
                    <a:pt x="32176" y="984404"/>
                    <a:pt x="25128" y="986404"/>
                  </a:cubicBezTo>
                  <a:cubicBezTo>
                    <a:pt x="13603" y="989642"/>
                    <a:pt x="8364" y="990404"/>
                    <a:pt x="4554" y="995738"/>
                  </a:cubicBezTo>
                  <a:cubicBezTo>
                    <a:pt x="4078" y="996691"/>
                    <a:pt x="-1447" y="1002406"/>
                    <a:pt x="363" y="1007835"/>
                  </a:cubicBezTo>
                  <a:cubicBezTo>
                    <a:pt x="3506" y="1017170"/>
                    <a:pt x="21318" y="993452"/>
                    <a:pt x="33510" y="997358"/>
                  </a:cubicBezTo>
                  <a:lnTo>
                    <a:pt x="41892" y="1000025"/>
                  </a:lnTo>
                  <a:cubicBezTo>
                    <a:pt x="47702" y="1001930"/>
                    <a:pt x="54751" y="998024"/>
                    <a:pt x="53798" y="998310"/>
                  </a:cubicBezTo>
                  <a:cubicBezTo>
                    <a:pt x="61323" y="994595"/>
                    <a:pt x="85326" y="994405"/>
                    <a:pt x="84373" y="994405"/>
                  </a:cubicBezTo>
                  <a:cubicBezTo>
                    <a:pt x="92089" y="993929"/>
                    <a:pt x="101899" y="999834"/>
                    <a:pt x="100947" y="999358"/>
                  </a:cubicBezTo>
                  <a:cubicBezTo>
                    <a:pt x="106948" y="1002215"/>
                    <a:pt x="114949" y="997643"/>
                    <a:pt x="113996" y="997929"/>
                  </a:cubicBezTo>
                  <a:cubicBezTo>
                    <a:pt x="121521" y="994500"/>
                    <a:pt x="109234" y="1008978"/>
                    <a:pt x="109805" y="1008026"/>
                  </a:cubicBezTo>
                  <a:cubicBezTo>
                    <a:pt x="105519" y="1013836"/>
                    <a:pt x="95994" y="1006787"/>
                    <a:pt x="96946" y="1007073"/>
                  </a:cubicBezTo>
                  <a:cubicBezTo>
                    <a:pt x="87517" y="1001930"/>
                    <a:pt x="55894" y="1008121"/>
                    <a:pt x="51131" y="1011550"/>
                  </a:cubicBezTo>
                  <a:cubicBezTo>
                    <a:pt x="50179" y="1011931"/>
                    <a:pt x="45321" y="1017360"/>
                    <a:pt x="39130" y="1014312"/>
                  </a:cubicBezTo>
                  <a:cubicBezTo>
                    <a:pt x="36463" y="1013360"/>
                    <a:pt x="29986" y="1008026"/>
                    <a:pt x="23128" y="1010788"/>
                  </a:cubicBezTo>
                  <a:cubicBezTo>
                    <a:pt x="22080" y="1011455"/>
                    <a:pt x="1030" y="1017646"/>
                    <a:pt x="15031" y="1022313"/>
                  </a:cubicBezTo>
                  <a:cubicBezTo>
                    <a:pt x="20365" y="1024790"/>
                    <a:pt x="31319" y="1025361"/>
                    <a:pt x="31319" y="1032505"/>
                  </a:cubicBezTo>
                  <a:cubicBezTo>
                    <a:pt x="31319" y="1035077"/>
                    <a:pt x="29033" y="1036410"/>
                    <a:pt x="26271" y="1035362"/>
                  </a:cubicBezTo>
                  <a:lnTo>
                    <a:pt x="15317" y="1031267"/>
                  </a:lnTo>
                  <a:cubicBezTo>
                    <a:pt x="8650" y="1028695"/>
                    <a:pt x="8840" y="1037839"/>
                    <a:pt x="14650" y="1042030"/>
                  </a:cubicBezTo>
                  <a:lnTo>
                    <a:pt x="19032" y="1045173"/>
                  </a:lnTo>
                  <a:cubicBezTo>
                    <a:pt x="24842" y="1049364"/>
                    <a:pt x="23223" y="1060127"/>
                    <a:pt x="23128" y="1059175"/>
                  </a:cubicBezTo>
                  <a:cubicBezTo>
                    <a:pt x="22842" y="1069081"/>
                    <a:pt x="13603" y="1049078"/>
                    <a:pt x="8459" y="1049078"/>
                  </a:cubicBezTo>
                  <a:cubicBezTo>
                    <a:pt x="4649" y="1049078"/>
                    <a:pt x="16651" y="1086131"/>
                    <a:pt x="16365" y="1085178"/>
                  </a:cubicBezTo>
                  <a:cubicBezTo>
                    <a:pt x="18270" y="1091941"/>
                    <a:pt x="28081" y="1088607"/>
                    <a:pt x="26747" y="1082987"/>
                  </a:cubicBezTo>
                  <a:cubicBezTo>
                    <a:pt x="25414" y="1077463"/>
                    <a:pt x="31700" y="1073653"/>
                    <a:pt x="36653" y="1078796"/>
                  </a:cubicBezTo>
                  <a:cubicBezTo>
                    <a:pt x="38749" y="1080320"/>
                    <a:pt x="44083" y="1089750"/>
                    <a:pt x="49036" y="1083940"/>
                  </a:cubicBezTo>
                  <a:cubicBezTo>
                    <a:pt x="53131" y="1080130"/>
                    <a:pt x="60180" y="1067366"/>
                    <a:pt x="61704" y="1075463"/>
                  </a:cubicBezTo>
                  <a:cubicBezTo>
                    <a:pt x="61990" y="1081463"/>
                    <a:pt x="67609" y="1092131"/>
                    <a:pt x="59608" y="1093941"/>
                  </a:cubicBezTo>
                  <a:cubicBezTo>
                    <a:pt x="55227" y="1095560"/>
                    <a:pt x="44178" y="1094894"/>
                    <a:pt x="43797" y="1102418"/>
                  </a:cubicBezTo>
                  <a:cubicBezTo>
                    <a:pt x="43321" y="1113277"/>
                    <a:pt x="23509" y="1110324"/>
                    <a:pt x="26271" y="1120992"/>
                  </a:cubicBezTo>
                  <a:cubicBezTo>
                    <a:pt x="28557" y="1127279"/>
                    <a:pt x="29795" y="1142614"/>
                    <a:pt x="33796" y="1135375"/>
                  </a:cubicBezTo>
                  <a:lnTo>
                    <a:pt x="33986" y="1134994"/>
                  </a:lnTo>
                  <a:cubicBezTo>
                    <a:pt x="37415" y="1128803"/>
                    <a:pt x="47321" y="1126040"/>
                    <a:pt x="46369" y="1126517"/>
                  </a:cubicBezTo>
                  <a:cubicBezTo>
                    <a:pt x="53703" y="1123754"/>
                    <a:pt x="59418" y="1110801"/>
                    <a:pt x="58751" y="1111753"/>
                  </a:cubicBezTo>
                  <a:cubicBezTo>
                    <a:pt x="61894" y="1106324"/>
                    <a:pt x="69800" y="1104514"/>
                    <a:pt x="68848" y="1104990"/>
                  </a:cubicBezTo>
                  <a:cubicBezTo>
                    <a:pt x="74086" y="1103466"/>
                    <a:pt x="76753" y="1097180"/>
                    <a:pt x="75991" y="1098132"/>
                  </a:cubicBezTo>
                  <a:cubicBezTo>
                    <a:pt x="78754" y="1090607"/>
                    <a:pt x="84088" y="1092512"/>
                    <a:pt x="87802" y="1085273"/>
                  </a:cubicBezTo>
                  <a:cubicBezTo>
                    <a:pt x="88469" y="1084321"/>
                    <a:pt x="91898" y="1076034"/>
                    <a:pt x="91993" y="1082702"/>
                  </a:cubicBezTo>
                  <a:cubicBezTo>
                    <a:pt x="91517" y="1086512"/>
                    <a:pt x="94184" y="1096037"/>
                    <a:pt x="87707" y="1099275"/>
                  </a:cubicBezTo>
                  <a:cubicBezTo>
                    <a:pt x="83135" y="1101561"/>
                    <a:pt x="80849" y="1107943"/>
                    <a:pt x="81421" y="1106990"/>
                  </a:cubicBezTo>
                  <a:cubicBezTo>
                    <a:pt x="79611" y="1112610"/>
                    <a:pt x="72372" y="1114229"/>
                    <a:pt x="73324" y="1113753"/>
                  </a:cubicBezTo>
                  <a:cubicBezTo>
                    <a:pt x="67800" y="1115182"/>
                    <a:pt x="65038" y="1121754"/>
                    <a:pt x="65800" y="1120802"/>
                  </a:cubicBezTo>
                  <a:cubicBezTo>
                    <a:pt x="63037" y="1127564"/>
                    <a:pt x="72467" y="1128707"/>
                    <a:pt x="68657" y="1133756"/>
                  </a:cubicBezTo>
                  <a:cubicBezTo>
                    <a:pt x="65038" y="1138613"/>
                    <a:pt x="54941" y="1135280"/>
                    <a:pt x="55894" y="1135375"/>
                  </a:cubicBezTo>
                  <a:cubicBezTo>
                    <a:pt x="47607" y="1133565"/>
                    <a:pt x="34462" y="1146710"/>
                    <a:pt x="33605" y="1154139"/>
                  </a:cubicBezTo>
                  <a:cubicBezTo>
                    <a:pt x="31129" y="1175666"/>
                    <a:pt x="28843" y="1181762"/>
                    <a:pt x="35796" y="1182047"/>
                  </a:cubicBezTo>
                  <a:cubicBezTo>
                    <a:pt x="38082" y="1181762"/>
                    <a:pt x="46750" y="1184143"/>
                    <a:pt x="50179" y="1177666"/>
                  </a:cubicBezTo>
                  <a:cubicBezTo>
                    <a:pt x="51512" y="1176047"/>
                    <a:pt x="52846" y="1172618"/>
                    <a:pt x="57799" y="1170808"/>
                  </a:cubicBezTo>
                  <a:cubicBezTo>
                    <a:pt x="75706" y="1164331"/>
                    <a:pt x="80278" y="1161664"/>
                    <a:pt x="83992" y="1165093"/>
                  </a:cubicBezTo>
                  <a:cubicBezTo>
                    <a:pt x="86945" y="1167855"/>
                    <a:pt x="81040" y="1170998"/>
                    <a:pt x="81992" y="1170046"/>
                  </a:cubicBezTo>
                  <a:cubicBezTo>
                    <a:pt x="77230" y="1172141"/>
                    <a:pt x="77611" y="1178523"/>
                    <a:pt x="77801" y="1177571"/>
                  </a:cubicBezTo>
                  <a:cubicBezTo>
                    <a:pt x="78658" y="1183381"/>
                    <a:pt x="77801" y="1202812"/>
                    <a:pt x="69800" y="1201002"/>
                  </a:cubicBezTo>
                  <a:cubicBezTo>
                    <a:pt x="64561" y="1200621"/>
                    <a:pt x="53512" y="1194430"/>
                    <a:pt x="52655" y="1202621"/>
                  </a:cubicBezTo>
                  <a:cubicBezTo>
                    <a:pt x="51417" y="1215576"/>
                    <a:pt x="50083" y="1220624"/>
                    <a:pt x="54274" y="1225577"/>
                  </a:cubicBezTo>
                  <a:cubicBezTo>
                    <a:pt x="65895" y="1239293"/>
                    <a:pt x="71324" y="1247008"/>
                    <a:pt x="78182" y="1250532"/>
                  </a:cubicBezTo>
                  <a:lnTo>
                    <a:pt x="113044" y="1268630"/>
                  </a:lnTo>
                  <a:cubicBezTo>
                    <a:pt x="117901" y="1271106"/>
                    <a:pt x="116282" y="1277583"/>
                    <a:pt x="116187" y="1276631"/>
                  </a:cubicBezTo>
                  <a:cubicBezTo>
                    <a:pt x="115330" y="1279488"/>
                    <a:pt x="117044" y="1282155"/>
                    <a:pt x="119997" y="1282441"/>
                  </a:cubicBezTo>
                  <a:lnTo>
                    <a:pt x="128379" y="1283489"/>
                  </a:lnTo>
                  <a:cubicBezTo>
                    <a:pt x="134284" y="1284251"/>
                    <a:pt x="139333" y="1289680"/>
                    <a:pt x="138380" y="1289013"/>
                  </a:cubicBezTo>
                  <a:cubicBezTo>
                    <a:pt x="142381" y="1293204"/>
                    <a:pt x="148000" y="1288442"/>
                    <a:pt x="147048" y="1288822"/>
                  </a:cubicBezTo>
                  <a:cubicBezTo>
                    <a:pt x="155430" y="1281965"/>
                    <a:pt x="170575" y="1291109"/>
                    <a:pt x="182862" y="1286727"/>
                  </a:cubicBezTo>
                  <a:cubicBezTo>
                    <a:pt x="216866" y="1274535"/>
                    <a:pt x="220771" y="1273964"/>
                    <a:pt x="226296" y="1269106"/>
                  </a:cubicBezTo>
                  <a:cubicBezTo>
                    <a:pt x="288208" y="1213670"/>
                    <a:pt x="287732" y="1214718"/>
                    <a:pt x="291637" y="1208622"/>
                  </a:cubicBezTo>
                  <a:cubicBezTo>
                    <a:pt x="297638" y="1201193"/>
                    <a:pt x="301067" y="1188334"/>
                    <a:pt x="308116" y="1192906"/>
                  </a:cubicBezTo>
                  <a:cubicBezTo>
                    <a:pt x="310687" y="1194144"/>
                    <a:pt x="316498" y="1200050"/>
                    <a:pt x="323642" y="1198049"/>
                  </a:cubicBezTo>
                  <a:cubicBezTo>
                    <a:pt x="340882" y="1193001"/>
                    <a:pt x="346787" y="1192620"/>
                    <a:pt x="348025" y="1185953"/>
                  </a:cubicBezTo>
                  <a:cubicBezTo>
                    <a:pt x="348406" y="1181571"/>
                    <a:pt x="351835" y="1173761"/>
                    <a:pt x="347930" y="1166903"/>
                  </a:cubicBezTo>
                  <a:cubicBezTo>
                    <a:pt x="343072" y="1156425"/>
                    <a:pt x="331642" y="1145090"/>
                    <a:pt x="340501" y="1144233"/>
                  </a:cubicBezTo>
                  <a:cubicBezTo>
                    <a:pt x="347549" y="1144424"/>
                    <a:pt x="358979" y="1139471"/>
                    <a:pt x="360503" y="1147662"/>
                  </a:cubicBezTo>
                  <a:cubicBezTo>
                    <a:pt x="364980" y="1171951"/>
                    <a:pt x="364504" y="1177761"/>
                    <a:pt x="371362" y="1179190"/>
                  </a:cubicBezTo>
                  <a:lnTo>
                    <a:pt x="386030" y="1182333"/>
                  </a:lnTo>
                  <a:cubicBezTo>
                    <a:pt x="392983" y="1183762"/>
                    <a:pt x="392983" y="1190239"/>
                    <a:pt x="386030" y="1191572"/>
                  </a:cubicBezTo>
                  <a:cubicBezTo>
                    <a:pt x="385078" y="1192239"/>
                    <a:pt x="380792" y="1193001"/>
                    <a:pt x="382411" y="1197668"/>
                  </a:cubicBezTo>
                  <a:cubicBezTo>
                    <a:pt x="384411" y="1203384"/>
                    <a:pt x="386030" y="1208051"/>
                    <a:pt x="387459" y="1212051"/>
                  </a:cubicBezTo>
                  <a:lnTo>
                    <a:pt x="387459" y="1212051"/>
                  </a:lnTo>
                  <a:cubicBezTo>
                    <a:pt x="387459" y="1212051"/>
                    <a:pt x="403556" y="1197668"/>
                    <a:pt x="403556" y="1197668"/>
                  </a:cubicBezTo>
                  <a:close/>
                </a:path>
              </a:pathLst>
            </a:custGeom>
            <a:solidFill>
              <a:schemeClr val="bg1">
                <a:lumMod val="95000"/>
              </a:schemeClr>
            </a:solidFill>
            <a:ln w="9525" cap="flat">
              <a:noFill/>
              <a:prstDash val="solid"/>
              <a:miter/>
            </a:ln>
          </p:spPr>
          <p:txBody>
            <a:bodyPr rtlCol="0" anchor="ctr"/>
            <a:lstStyle/>
            <a:p>
              <a:endParaRPr lang="en-IN"/>
            </a:p>
          </p:txBody>
        </p:sp>
        <p:grpSp>
          <p:nvGrpSpPr>
            <p:cNvPr id="311" name="Graphic 166">
              <a:extLst>
                <a:ext uri="{FF2B5EF4-FFF2-40B4-BE49-F238E27FC236}">
                  <a16:creationId xmlns:a16="http://schemas.microsoft.com/office/drawing/2014/main" id="{60EBD7AF-CE5E-A922-CAD4-B03D77FF3060}"/>
                </a:ext>
              </a:extLst>
            </p:cNvPr>
            <p:cNvGrpSpPr/>
            <p:nvPr/>
          </p:nvGrpSpPr>
          <p:grpSpPr>
            <a:xfrm>
              <a:off x="4472066" y="198192"/>
              <a:ext cx="1707452" cy="428426"/>
              <a:chOff x="4472066" y="198192"/>
              <a:chExt cx="1707452" cy="428426"/>
            </a:xfrm>
            <a:grpFill/>
          </p:grpSpPr>
          <p:sp>
            <p:nvSpPr>
              <p:cNvPr id="312" name="Freeform: Shape 311">
                <a:extLst>
                  <a:ext uri="{FF2B5EF4-FFF2-40B4-BE49-F238E27FC236}">
                    <a16:creationId xmlns:a16="http://schemas.microsoft.com/office/drawing/2014/main" id="{1B1A09F0-B1E5-A6C1-2A68-0FF10FDB6A03}"/>
                  </a:ext>
                </a:extLst>
              </p:cNvPr>
              <p:cNvSpPr/>
              <p:nvPr/>
            </p:nvSpPr>
            <p:spPr>
              <a:xfrm>
                <a:off x="6138029" y="198192"/>
                <a:ext cx="41489" cy="31976"/>
              </a:xfrm>
              <a:custGeom>
                <a:avLst/>
                <a:gdLst>
                  <a:gd name="connsiteX0" fmla="*/ 22534 w 41489"/>
                  <a:gd name="connsiteY0" fmla="*/ 61 h 31976"/>
                  <a:gd name="connsiteX1" fmla="*/ 1198 w 41489"/>
                  <a:gd name="connsiteY1" fmla="*/ 8157 h 31976"/>
                  <a:gd name="connsiteX2" fmla="*/ 26630 w 41489"/>
                  <a:gd name="connsiteY2" fmla="*/ 30160 h 31976"/>
                  <a:gd name="connsiteX3" fmla="*/ 39298 w 41489"/>
                  <a:gd name="connsiteY3" fmla="*/ 7300 h 31976"/>
                  <a:gd name="connsiteX4" fmla="*/ 22534 w 41489"/>
                  <a:gd name="connsiteY4" fmla="*/ 156 h 31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9" h="31976">
                    <a:moveTo>
                      <a:pt x="22534" y="61"/>
                    </a:moveTo>
                    <a:cubicBezTo>
                      <a:pt x="10914" y="2918"/>
                      <a:pt x="-4422" y="1394"/>
                      <a:pt x="1198" y="8157"/>
                    </a:cubicBezTo>
                    <a:cubicBezTo>
                      <a:pt x="18820" y="29017"/>
                      <a:pt x="21868" y="35589"/>
                      <a:pt x="26630" y="30160"/>
                    </a:cubicBezTo>
                    <a:cubicBezTo>
                      <a:pt x="34155" y="19587"/>
                      <a:pt x="46537" y="12348"/>
                      <a:pt x="39298" y="7300"/>
                    </a:cubicBezTo>
                    <a:cubicBezTo>
                      <a:pt x="35774" y="5395"/>
                      <a:pt x="30250" y="-1082"/>
                      <a:pt x="22534" y="156"/>
                    </a:cubicBezTo>
                    <a:close/>
                  </a:path>
                </a:pathLst>
              </a:custGeom>
              <a:grpFill/>
              <a:ln w="9525" cap="flat">
                <a:noFill/>
                <a:prstDash val="solid"/>
                <a:miter/>
              </a:ln>
            </p:spPr>
            <p:txBody>
              <a:bodyPr rtlCol="0" anchor="ctr"/>
              <a:lstStyle/>
              <a:p>
                <a:endParaRPr lang="en-IN"/>
              </a:p>
            </p:txBody>
          </p:sp>
          <p:grpSp>
            <p:nvGrpSpPr>
              <p:cNvPr id="313" name="Graphic 166">
                <a:extLst>
                  <a:ext uri="{FF2B5EF4-FFF2-40B4-BE49-F238E27FC236}">
                    <a16:creationId xmlns:a16="http://schemas.microsoft.com/office/drawing/2014/main" id="{98C30A38-7800-747E-5559-02EA22063D3F}"/>
                  </a:ext>
                </a:extLst>
              </p:cNvPr>
              <p:cNvGrpSpPr/>
              <p:nvPr/>
            </p:nvGrpSpPr>
            <p:grpSpPr>
              <a:xfrm>
                <a:off x="4472066" y="584557"/>
                <a:ext cx="64176" cy="42061"/>
                <a:chOff x="4472066" y="584557"/>
                <a:chExt cx="64176" cy="42061"/>
              </a:xfrm>
              <a:grpFill/>
            </p:grpSpPr>
            <p:sp>
              <p:nvSpPr>
                <p:cNvPr id="314" name="Freeform: Shape 313">
                  <a:extLst>
                    <a:ext uri="{FF2B5EF4-FFF2-40B4-BE49-F238E27FC236}">
                      <a16:creationId xmlns:a16="http://schemas.microsoft.com/office/drawing/2014/main" id="{4CA13632-C67A-1433-C578-C36DB32D8A6C}"/>
                    </a:ext>
                  </a:extLst>
                </p:cNvPr>
                <p:cNvSpPr/>
                <p:nvPr/>
              </p:nvSpPr>
              <p:spPr>
                <a:xfrm>
                  <a:off x="4472066" y="584557"/>
                  <a:ext cx="64176" cy="42061"/>
                </a:xfrm>
                <a:custGeom>
                  <a:avLst/>
                  <a:gdLst>
                    <a:gd name="connsiteX0" fmla="*/ 4667 w 64176"/>
                    <a:gd name="connsiteY0" fmla="*/ 26129 h 42061"/>
                    <a:gd name="connsiteX1" fmla="*/ 0 w 64176"/>
                    <a:gd name="connsiteY1" fmla="*/ 34225 h 42061"/>
                    <a:gd name="connsiteX2" fmla="*/ 0 w 64176"/>
                    <a:gd name="connsiteY2" fmla="*/ 38511 h 42061"/>
                    <a:gd name="connsiteX3" fmla="*/ 4858 w 64176"/>
                    <a:gd name="connsiteY3" fmla="*/ 41559 h 42061"/>
                    <a:gd name="connsiteX4" fmla="*/ 29242 w 64176"/>
                    <a:gd name="connsiteY4" fmla="*/ 29653 h 42061"/>
                    <a:gd name="connsiteX5" fmla="*/ 39529 w 64176"/>
                    <a:gd name="connsiteY5" fmla="*/ 26986 h 42061"/>
                    <a:gd name="connsiteX6" fmla="*/ 54959 w 64176"/>
                    <a:gd name="connsiteY6" fmla="*/ 26034 h 42061"/>
                    <a:gd name="connsiteX7" fmla="*/ 61246 w 64176"/>
                    <a:gd name="connsiteY7" fmla="*/ 20414 h 42061"/>
                    <a:gd name="connsiteX8" fmla="*/ 64103 w 64176"/>
                    <a:gd name="connsiteY8" fmla="*/ 4031 h 42061"/>
                    <a:gd name="connsiteX9" fmla="*/ 59817 w 64176"/>
                    <a:gd name="connsiteY9" fmla="*/ 221 h 42061"/>
                    <a:gd name="connsiteX10" fmla="*/ 45625 w 64176"/>
                    <a:gd name="connsiteY10" fmla="*/ 4317 h 42061"/>
                    <a:gd name="connsiteX11" fmla="*/ 35719 w 64176"/>
                    <a:gd name="connsiteY11" fmla="*/ 8508 h 42061"/>
                    <a:gd name="connsiteX12" fmla="*/ 4667 w 64176"/>
                    <a:gd name="connsiteY12" fmla="*/ 26224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76" h="42061">
                      <a:moveTo>
                        <a:pt x="4667" y="26129"/>
                      </a:moveTo>
                      <a:cubicBezTo>
                        <a:pt x="2096" y="27558"/>
                        <a:pt x="0" y="31272"/>
                        <a:pt x="0" y="34225"/>
                      </a:cubicBezTo>
                      <a:lnTo>
                        <a:pt x="0" y="38511"/>
                      </a:lnTo>
                      <a:cubicBezTo>
                        <a:pt x="0" y="41464"/>
                        <a:pt x="2191" y="42893"/>
                        <a:pt x="4858" y="41559"/>
                      </a:cubicBezTo>
                      <a:lnTo>
                        <a:pt x="29242" y="29653"/>
                      </a:lnTo>
                      <a:cubicBezTo>
                        <a:pt x="31909" y="28320"/>
                        <a:pt x="36481" y="27177"/>
                        <a:pt x="39529" y="26986"/>
                      </a:cubicBezTo>
                      <a:lnTo>
                        <a:pt x="54959" y="26034"/>
                      </a:lnTo>
                      <a:cubicBezTo>
                        <a:pt x="57912" y="25843"/>
                        <a:pt x="60770" y="23271"/>
                        <a:pt x="61246" y="20414"/>
                      </a:cubicBezTo>
                      <a:lnTo>
                        <a:pt x="64103" y="4031"/>
                      </a:lnTo>
                      <a:cubicBezTo>
                        <a:pt x="64579" y="1078"/>
                        <a:pt x="62675" y="-636"/>
                        <a:pt x="59817" y="221"/>
                      </a:cubicBezTo>
                      <a:lnTo>
                        <a:pt x="45625" y="4317"/>
                      </a:lnTo>
                      <a:cubicBezTo>
                        <a:pt x="42767" y="5174"/>
                        <a:pt x="38291" y="6984"/>
                        <a:pt x="35719" y="8508"/>
                      </a:cubicBezTo>
                      <a:lnTo>
                        <a:pt x="4667" y="26224"/>
                      </a:lnTo>
                      <a:close/>
                    </a:path>
                  </a:pathLst>
                </a:custGeom>
                <a:grpFill/>
                <a:ln w="9525" cap="flat">
                  <a:noFill/>
                  <a:prstDash val="solid"/>
                  <a:miter/>
                </a:ln>
              </p:spPr>
              <p:txBody>
                <a:bodyPr rtlCol="0" anchor="ctr"/>
                <a:lstStyle/>
                <a:p>
                  <a:endParaRPr lang="en-IN"/>
                </a:p>
              </p:txBody>
            </p:sp>
            <p:sp>
              <p:nvSpPr>
                <p:cNvPr id="315" name="Freeform: Shape 314">
                  <a:extLst>
                    <a:ext uri="{FF2B5EF4-FFF2-40B4-BE49-F238E27FC236}">
                      <a16:creationId xmlns:a16="http://schemas.microsoft.com/office/drawing/2014/main" id="{61582D9B-DD17-FA43-2DF7-4041D362B665}"/>
                    </a:ext>
                  </a:extLst>
                </p:cNvPr>
                <p:cNvSpPr/>
                <p:nvPr/>
              </p:nvSpPr>
              <p:spPr>
                <a:xfrm>
                  <a:off x="4472066" y="584557"/>
                  <a:ext cx="64176" cy="42061"/>
                </a:xfrm>
                <a:custGeom>
                  <a:avLst/>
                  <a:gdLst>
                    <a:gd name="connsiteX0" fmla="*/ 4667 w 64176"/>
                    <a:gd name="connsiteY0" fmla="*/ 26129 h 42061"/>
                    <a:gd name="connsiteX1" fmla="*/ 0 w 64176"/>
                    <a:gd name="connsiteY1" fmla="*/ 34225 h 42061"/>
                    <a:gd name="connsiteX2" fmla="*/ 0 w 64176"/>
                    <a:gd name="connsiteY2" fmla="*/ 38511 h 42061"/>
                    <a:gd name="connsiteX3" fmla="*/ 4858 w 64176"/>
                    <a:gd name="connsiteY3" fmla="*/ 41559 h 42061"/>
                    <a:gd name="connsiteX4" fmla="*/ 29242 w 64176"/>
                    <a:gd name="connsiteY4" fmla="*/ 29653 h 42061"/>
                    <a:gd name="connsiteX5" fmla="*/ 39529 w 64176"/>
                    <a:gd name="connsiteY5" fmla="*/ 26986 h 42061"/>
                    <a:gd name="connsiteX6" fmla="*/ 54959 w 64176"/>
                    <a:gd name="connsiteY6" fmla="*/ 26034 h 42061"/>
                    <a:gd name="connsiteX7" fmla="*/ 61246 w 64176"/>
                    <a:gd name="connsiteY7" fmla="*/ 20414 h 42061"/>
                    <a:gd name="connsiteX8" fmla="*/ 64103 w 64176"/>
                    <a:gd name="connsiteY8" fmla="*/ 4031 h 42061"/>
                    <a:gd name="connsiteX9" fmla="*/ 59817 w 64176"/>
                    <a:gd name="connsiteY9" fmla="*/ 221 h 42061"/>
                    <a:gd name="connsiteX10" fmla="*/ 45625 w 64176"/>
                    <a:gd name="connsiteY10" fmla="*/ 4317 h 42061"/>
                    <a:gd name="connsiteX11" fmla="*/ 35719 w 64176"/>
                    <a:gd name="connsiteY11" fmla="*/ 8508 h 42061"/>
                    <a:gd name="connsiteX12" fmla="*/ 4667 w 64176"/>
                    <a:gd name="connsiteY12" fmla="*/ 26224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76" h="42061">
                      <a:moveTo>
                        <a:pt x="4667" y="26129"/>
                      </a:moveTo>
                      <a:cubicBezTo>
                        <a:pt x="2096" y="27558"/>
                        <a:pt x="0" y="31272"/>
                        <a:pt x="0" y="34225"/>
                      </a:cubicBezTo>
                      <a:lnTo>
                        <a:pt x="0" y="38511"/>
                      </a:lnTo>
                      <a:cubicBezTo>
                        <a:pt x="0" y="41464"/>
                        <a:pt x="2191" y="42893"/>
                        <a:pt x="4858" y="41559"/>
                      </a:cubicBezTo>
                      <a:lnTo>
                        <a:pt x="29242" y="29653"/>
                      </a:lnTo>
                      <a:cubicBezTo>
                        <a:pt x="31909" y="28320"/>
                        <a:pt x="36481" y="27177"/>
                        <a:pt x="39529" y="26986"/>
                      </a:cubicBezTo>
                      <a:lnTo>
                        <a:pt x="54959" y="26034"/>
                      </a:lnTo>
                      <a:cubicBezTo>
                        <a:pt x="57912" y="25843"/>
                        <a:pt x="60770" y="23271"/>
                        <a:pt x="61246" y="20414"/>
                      </a:cubicBezTo>
                      <a:lnTo>
                        <a:pt x="64103" y="4031"/>
                      </a:lnTo>
                      <a:cubicBezTo>
                        <a:pt x="64579" y="1078"/>
                        <a:pt x="62675" y="-636"/>
                        <a:pt x="59817" y="221"/>
                      </a:cubicBezTo>
                      <a:lnTo>
                        <a:pt x="45625" y="4317"/>
                      </a:lnTo>
                      <a:cubicBezTo>
                        <a:pt x="42767" y="5174"/>
                        <a:pt x="38291" y="6984"/>
                        <a:pt x="35719" y="8508"/>
                      </a:cubicBezTo>
                      <a:lnTo>
                        <a:pt x="4667" y="26224"/>
                      </a:lnTo>
                      <a:close/>
                    </a:path>
                  </a:pathLst>
                </a:custGeom>
                <a:grpFill/>
                <a:ln w="9525" cap="flat">
                  <a:noFill/>
                  <a:prstDash val="solid"/>
                  <a:miter/>
                </a:ln>
              </p:spPr>
              <p:txBody>
                <a:bodyPr rtlCol="0" anchor="ctr"/>
                <a:lstStyle/>
                <a:p>
                  <a:endParaRPr lang="en-IN"/>
                </a:p>
              </p:txBody>
            </p:sp>
          </p:grpSp>
        </p:grpSp>
      </p:grpSp>
      <p:grpSp>
        <p:nvGrpSpPr>
          <p:cNvPr id="316" name="Graphic 166">
            <a:extLst>
              <a:ext uri="{FF2B5EF4-FFF2-40B4-BE49-F238E27FC236}">
                <a16:creationId xmlns:a16="http://schemas.microsoft.com/office/drawing/2014/main" id="{F582A30A-86BB-1E9B-821C-35EE5053E7C2}"/>
              </a:ext>
            </a:extLst>
          </p:cNvPr>
          <p:cNvGrpSpPr/>
          <p:nvPr/>
        </p:nvGrpSpPr>
        <p:grpSpPr>
          <a:xfrm>
            <a:off x="5791452" y="1796389"/>
            <a:ext cx="241458" cy="232652"/>
            <a:chOff x="5212825" y="2247600"/>
            <a:chExt cx="241458" cy="232652"/>
          </a:xfrm>
          <a:solidFill>
            <a:schemeClr val="bg1">
              <a:lumMod val="85000"/>
            </a:schemeClr>
          </a:solidFill>
        </p:grpSpPr>
        <p:sp>
          <p:nvSpPr>
            <p:cNvPr id="317" name="Freeform: Shape 316">
              <a:extLst>
                <a:ext uri="{FF2B5EF4-FFF2-40B4-BE49-F238E27FC236}">
                  <a16:creationId xmlns:a16="http://schemas.microsoft.com/office/drawing/2014/main" id="{91F7BB76-9199-8D07-890C-7BF066318E16}"/>
                </a:ext>
              </a:extLst>
            </p:cNvPr>
            <p:cNvSpPr/>
            <p:nvPr/>
          </p:nvSpPr>
          <p:spPr>
            <a:xfrm>
              <a:off x="5307247" y="2273013"/>
              <a:ext cx="14063" cy="10339"/>
            </a:xfrm>
            <a:custGeom>
              <a:avLst/>
              <a:gdLst>
                <a:gd name="connsiteX0" fmla="*/ 11496 w 14063"/>
                <a:gd name="connsiteY0" fmla="*/ 71 h 10339"/>
                <a:gd name="connsiteX1" fmla="*/ 2066 w 14063"/>
                <a:gd name="connsiteY1" fmla="*/ 9215 h 10339"/>
                <a:gd name="connsiteX2" fmla="*/ 10353 w 14063"/>
                <a:gd name="connsiteY2" fmla="*/ 8453 h 10339"/>
                <a:gd name="connsiteX3" fmla="*/ 11496 w 14063"/>
                <a:gd name="connsiteY3" fmla="*/ 71 h 10339"/>
              </a:gdLst>
              <a:ahLst/>
              <a:cxnLst>
                <a:cxn ang="0">
                  <a:pos x="connsiteX0" y="connsiteY0"/>
                </a:cxn>
                <a:cxn ang="0">
                  <a:pos x="connsiteX1" y="connsiteY1"/>
                </a:cxn>
                <a:cxn ang="0">
                  <a:pos x="connsiteX2" y="connsiteY2"/>
                </a:cxn>
                <a:cxn ang="0">
                  <a:pos x="connsiteX3" y="connsiteY3"/>
                </a:cxn>
              </a:cxnLst>
              <a:rect l="l" t="t" r="r" b="b"/>
              <a:pathLst>
                <a:path w="14063" h="10339">
                  <a:moveTo>
                    <a:pt x="11496" y="71"/>
                  </a:moveTo>
                  <a:cubicBezTo>
                    <a:pt x="-601" y="-786"/>
                    <a:pt x="-2029" y="6357"/>
                    <a:pt x="2066" y="9215"/>
                  </a:cubicBezTo>
                  <a:cubicBezTo>
                    <a:pt x="3019" y="9406"/>
                    <a:pt x="6829" y="12072"/>
                    <a:pt x="10353" y="8453"/>
                  </a:cubicBezTo>
                  <a:cubicBezTo>
                    <a:pt x="10353" y="8453"/>
                    <a:pt x="17878" y="2643"/>
                    <a:pt x="11496" y="71"/>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318" name="Freeform: Shape 317">
              <a:extLst>
                <a:ext uri="{FF2B5EF4-FFF2-40B4-BE49-F238E27FC236}">
                  <a16:creationId xmlns:a16="http://schemas.microsoft.com/office/drawing/2014/main" id="{8EC0AC7D-259F-EC3F-4EB2-92F574019980}"/>
                </a:ext>
              </a:extLst>
            </p:cNvPr>
            <p:cNvSpPr/>
            <p:nvPr/>
          </p:nvSpPr>
          <p:spPr>
            <a:xfrm>
              <a:off x="5328090" y="2259784"/>
              <a:ext cx="24719" cy="12320"/>
            </a:xfrm>
            <a:custGeom>
              <a:avLst/>
              <a:gdLst>
                <a:gd name="connsiteX0" fmla="*/ 21705 w 24719"/>
                <a:gd name="connsiteY0" fmla="*/ 251 h 12320"/>
                <a:gd name="connsiteX1" fmla="*/ 274 w 24719"/>
                <a:gd name="connsiteY1" fmla="*/ 8918 h 12320"/>
                <a:gd name="connsiteX2" fmla="*/ 3798 w 24719"/>
                <a:gd name="connsiteY2" fmla="*/ 12157 h 12320"/>
                <a:gd name="connsiteX3" fmla="*/ 15704 w 24719"/>
                <a:gd name="connsiteY3" fmla="*/ 9299 h 12320"/>
                <a:gd name="connsiteX4" fmla="*/ 21610 w 24719"/>
                <a:gd name="connsiteY4" fmla="*/ 155 h 1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19" h="12320">
                  <a:moveTo>
                    <a:pt x="21705" y="251"/>
                  </a:moveTo>
                  <a:cubicBezTo>
                    <a:pt x="7608" y="3203"/>
                    <a:pt x="2369" y="3394"/>
                    <a:pt x="274" y="8918"/>
                  </a:cubicBezTo>
                  <a:cubicBezTo>
                    <a:pt x="-679" y="11395"/>
                    <a:pt x="940" y="12824"/>
                    <a:pt x="3798" y="12157"/>
                  </a:cubicBezTo>
                  <a:lnTo>
                    <a:pt x="15704" y="9299"/>
                  </a:lnTo>
                  <a:cubicBezTo>
                    <a:pt x="22848" y="7585"/>
                    <a:pt x="28468" y="-1273"/>
                    <a:pt x="21610" y="155"/>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319" name="Freeform: Shape 318">
              <a:extLst>
                <a:ext uri="{FF2B5EF4-FFF2-40B4-BE49-F238E27FC236}">
                  <a16:creationId xmlns:a16="http://schemas.microsoft.com/office/drawing/2014/main" id="{EF580B04-2821-FD17-BC7D-6634309C3401}"/>
                </a:ext>
              </a:extLst>
            </p:cNvPr>
            <p:cNvSpPr/>
            <p:nvPr/>
          </p:nvSpPr>
          <p:spPr>
            <a:xfrm>
              <a:off x="5363107" y="2256003"/>
              <a:ext cx="24670" cy="8681"/>
            </a:xfrm>
            <a:custGeom>
              <a:avLst/>
              <a:gdLst>
                <a:gd name="connsiteX0" fmla="*/ 5167 w 24670"/>
                <a:gd name="connsiteY0" fmla="*/ 2031 h 8681"/>
                <a:gd name="connsiteX1" fmla="*/ 2785 w 24670"/>
                <a:gd name="connsiteY1" fmla="*/ 8603 h 8681"/>
                <a:gd name="connsiteX2" fmla="*/ 22597 w 24670"/>
                <a:gd name="connsiteY2" fmla="*/ 3555 h 8681"/>
                <a:gd name="connsiteX3" fmla="*/ 5167 w 24670"/>
                <a:gd name="connsiteY3" fmla="*/ 2031 h 8681"/>
              </a:gdLst>
              <a:ahLst/>
              <a:cxnLst>
                <a:cxn ang="0">
                  <a:pos x="connsiteX0" y="connsiteY0"/>
                </a:cxn>
                <a:cxn ang="0">
                  <a:pos x="connsiteX1" y="connsiteY1"/>
                </a:cxn>
                <a:cxn ang="0">
                  <a:pos x="connsiteX2" y="connsiteY2"/>
                </a:cxn>
                <a:cxn ang="0">
                  <a:pos x="connsiteX3" y="connsiteY3"/>
                </a:cxn>
              </a:cxnLst>
              <a:rect l="l" t="t" r="r" b="b"/>
              <a:pathLst>
                <a:path w="24670" h="8681">
                  <a:moveTo>
                    <a:pt x="5167" y="2031"/>
                  </a:moveTo>
                  <a:cubicBezTo>
                    <a:pt x="4405" y="2983"/>
                    <a:pt x="-4358" y="9461"/>
                    <a:pt x="2785" y="8603"/>
                  </a:cubicBezTo>
                  <a:cubicBezTo>
                    <a:pt x="17644" y="6794"/>
                    <a:pt x="29646" y="6317"/>
                    <a:pt x="22597" y="3555"/>
                  </a:cubicBezTo>
                  <a:cubicBezTo>
                    <a:pt x="22597" y="3555"/>
                    <a:pt x="10977" y="-3303"/>
                    <a:pt x="5167" y="2031"/>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320" name="Freeform: Shape 319">
              <a:extLst>
                <a:ext uri="{FF2B5EF4-FFF2-40B4-BE49-F238E27FC236}">
                  <a16:creationId xmlns:a16="http://schemas.microsoft.com/office/drawing/2014/main" id="{00AF8E0A-E897-3871-19E0-2DAA059808EE}"/>
                </a:ext>
              </a:extLst>
            </p:cNvPr>
            <p:cNvSpPr/>
            <p:nvPr/>
          </p:nvSpPr>
          <p:spPr>
            <a:xfrm>
              <a:off x="5410549" y="2247600"/>
              <a:ext cx="13413" cy="11027"/>
            </a:xfrm>
            <a:custGeom>
              <a:avLst/>
              <a:gdLst>
                <a:gd name="connsiteX0" fmla="*/ 5826 w 13413"/>
                <a:gd name="connsiteY0" fmla="*/ 1481 h 11027"/>
                <a:gd name="connsiteX1" fmla="*/ 2873 w 13413"/>
                <a:gd name="connsiteY1" fmla="*/ 10720 h 11027"/>
                <a:gd name="connsiteX2" fmla="*/ 12970 w 13413"/>
                <a:gd name="connsiteY2" fmla="*/ 6243 h 11027"/>
                <a:gd name="connsiteX3" fmla="*/ 5826 w 13413"/>
                <a:gd name="connsiteY3" fmla="*/ 1481 h 11027"/>
              </a:gdLst>
              <a:ahLst/>
              <a:cxnLst>
                <a:cxn ang="0">
                  <a:pos x="connsiteX0" y="connsiteY0"/>
                </a:cxn>
                <a:cxn ang="0">
                  <a:pos x="connsiteX1" y="connsiteY1"/>
                </a:cxn>
                <a:cxn ang="0">
                  <a:pos x="connsiteX2" y="connsiteY2"/>
                </a:cxn>
                <a:cxn ang="0">
                  <a:pos x="connsiteX3" y="connsiteY3"/>
                </a:cxn>
              </a:cxnLst>
              <a:rect l="l" t="t" r="r" b="b"/>
              <a:pathLst>
                <a:path w="13413" h="11027">
                  <a:moveTo>
                    <a:pt x="5826" y="1481"/>
                  </a:moveTo>
                  <a:cubicBezTo>
                    <a:pt x="4873" y="2910"/>
                    <a:pt x="-4652" y="10434"/>
                    <a:pt x="2873" y="10720"/>
                  </a:cubicBezTo>
                  <a:cubicBezTo>
                    <a:pt x="4778" y="10434"/>
                    <a:pt x="15732" y="13197"/>
                    <a:pt x="12970" y="6243"/>
                  </a:cubicBezTo>
                  <a:cubicBezTo>
                    <a:pt x="12970" y="6243"/>
                    <a:pt x="10588" y="-3663"/>
                    <a:pt x="5826" y="1481"/>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321" name="Freeform: Shape 320">
              <a:extLst>
                <a:ext uri="{FF2B5EF4-FFF2-40B4-BE49-F238E27FC236}">
                  <a16:creationId xmlns:a16="http://schemas.microsoft.com/office/drawing/2014/main" id="{68E14404-D269-0C29-BEA7-88AB619EFF04}"/>
                </a:ext>
              </a:extLst>
            </p:cNvPr>
            <p:cNvSpPr/>
            <p:nvPr/>
          </p:nvSpPr>
          <p:spPr>
            <a:xfrm>
              <a:off x="5212825" y="2266532"/>
              <a:ext cx="241458" cy="213720"/>
            </a:xfrm>
            <a:custGeom>
              <a:avLst/>
              <a:gdLst>
                <a:gd name="connsiteX0" fmla="*/ 230124 w 241458"/>
                <a:gd name="connsiteY0" fmla="*/ 61511 h 213720"/>
                <a:gd name="connsiteX1" fmla="*/ 241459 w 241458"/>
                <a:gd name="connsiteY1" fmla="*/ 20458 h 213720"/>
                <a:gd name="connsiteX2" fmla="*/ 223647 w 241458"/>
                <a:gd name="connsiteY2" fmla="*/ 8457 h 213720"/>
                <a:gd name="connsiteX3" fmla="*/ 204788 w 241458"/>
                <a:gd name="connsiteY3" fmla="*/ 75 h 213720"/>
                <a:gd name="connsiteX4" fmla="*/ 143351 w 241458"/>
                <a:gd name="connsiteY4" fmla="*/ 9981 h 213720"/>
                <a:gd name="connsiteX5" fmla="*/ 127159 w 241458"/>
                <a:gd name="connsiteY5" fmla="*/ 26173 h 213720"/>
                <a:gd name="connsiteX6" fmla="*/ 131254 w 241458"/>
                <a:gd name="connsiteY6" fmla="*/ 45223 h 213720"/>
                <a:gd name="connsiteX7" fmla="*/ 141446 w 241458"/>
                <a:gd name="connsiteY7" fmla="*/ 51891 h 213720"/>
                <a:gd name="connsiteX8" fmla="*/ 134779 w 241458"/>
                <a:gd name="connsiteY8" fmla="*/ 67036 h 213720"/>
                <a:gd name="connsiteX9" fmla="*/ 107061 w 241458"/>
                <a:gd name="connsiteY9" fmla="*/ 85323 h 213720"/>
                <a:gd name="connsiteX10" fmla="*/ 105537 w 241458"/>
                <a:gd name="connsiteY10" fmla="*/ 77513 h 213720"/>
                <a:gd name="connsiteX11" fmla="*/ 109538 w 241458"/>
                <a:gd name="connsiteY11" fmla="*/ 64083 h 213720"/>
                <a:gd name="connsiteX12" fmla="*/ 110680 w 241458"/>
                <a:gd name="connsiteY12" fmla="*/ 64083 h 213720"/>
                <a:gd name="connsiteX13" fmla="*/ 118205 w 241458"/>
                <a:gd name="connsiteY13" fmla="*/ 58463 h 213720"/>
                <a:gd name="connsiteX14" fmla="*/ 110395 w 241458"/>
                <a:gd name="connsiteY14" fmla="*/ 49414 h 213720"/>
                <a:gd name="connsiteX15" fmla="*/ 100393 w 241458"/>
                <a:gd name="connsiteY15" fmla="*/ 39985 h 213720"/>
                <a:gd name="connsiteX16" fmla="*/ 96107 w 241458"/>
                <a:gd name="connsiteY16" fmla="*/ 28650 h 213720"/>
                <a:gd name="connsiteX17" fmla="*/ 84487 w 241458"/>
                <a:gd name="connsiteY17" fmla="*/ 37127 h 213720"/>
                <a:gd name="connsiteX18" fmla="*/ 70009 w 241458"/>
                <a:gd name="connsiteY18" fmla="*/ 89324 h 213720"/>
                <a:gd name="connsiteX19" fmla="*/ 49340 w 241458"/>
                <a:gd name="connsiteY19" fmla="*/ 110851 h 213720"/>
                <a:gd name="connsiteX20" fmla="*/ 48673 w 241458"/>
                <a:gd name="connsiteY20" fmla="*/ 122090 h 213720"/>
                <a:gd name="connsiteX21" fmla="*/ 42863 w 241458"/>
                <a:gd name="connsiteY21" fmla="*/ 124662 h 213720"/>
                <a:gd name="connsiteX22" fmla="*/ 30385 w 241458"/>
                <a:gd name="connsiteY22" fmla="*/ 128853 h 213720"/>
                <a:gd name="connsiteX23" fmla="*/ 31147 w 241458"/>
                <a:gd name="connsiteY23" fmla="*/ 137425 h 213720"/>
                <a:gd name="connsiteX24" fmla="*/ 24765 w 241458"/>
                <a:gd name="connsiteY24" fmla="*/ 140283 h 213720"/>
                <a:gd name="connsiteX25" fmla="*/ 13525 w 241458"/>
                <a:gd name="connsiteY25" fmla="*/ 144855 h 213720"/>
                <a:gd name="connsiteX26" fmla="*/ 16764 w 241458"/>
                <a:gd name="connsiteY26" fmla="*/ 161143 h 213720"/>
                <a:gd name="connsiteX27" fmla="*/ 3715 w 241458"/>
                <a:gd name="connsiteY27" fmla="*/ 161143 h 213720"/>
                <a:gd name="connsiteX28" fmla="*/ 0 w 241458"/>
                <a:gd name="connsiteY28" fmla="*/ 161714 h 213720"/>
                <a:gd name="connsiteX29" fmla="*/ 40958 w 241458"/>
                <a:gd name="connsiteY29" fmla="*/ 178002 h 213720"/>
                <a:gd name="connsiteX30" fmla="*/ 93917 w 241458"/>
                <a:gd name="connsiteY30" fmla="*/ 158380 h 213720"/>
                <a:gd name="connsiteX31" fmla="*/ 146304 w 241458"/>
                <a:gd name="connsiteY31" fmla="*/ 181050 h 213720"/>
                <a:gd name="connsiteX32" fmla="*/ 142113 w 241458"/>
                <a:gd name="connsiteY32" fmla="*/ 210768 h 213720"/>
                <a:gd name="connsiteX33" fmla="*/ 164783 w 241458"/>
                <a:gd name="connsiteY33" fmla="*/ 213720 h 213720"/>
                <a:gd name="connsiteX34" fmla="*/ 177927 w 241458"/>
                <a:gd name="connsiteY34" fmla="*/ 160190 h 213720"/>
                <a:gd name="connsiteX35" fmla="*/ 160020 w 241458"/>
                <a:gd name="connsiteY35" fmla="*/ 134568 h 213720"/>
                <a:gd name="connsiteX36" fmla="*/ 171355 w 241458"/>
                <a:gd name="connsiteY36" fmla="*/ 120852 h 213720"/>
                <a:gd name="connsiteX37" fmla="*/ 210026 w 241458"/>
                <a:gd name="connsiteY37" fmla="*/ 119709 h 213720"/>
                <a:gd name="connsiteX38" fmla="*/ 229648 w 241458"/>
                <a:gd name="connsiteY38" fmla="*/ 85228 h 213720"/>
                <a:gd name="connsiteX39" fmla="*/ 201644 w 241458"/>
                <a:gd name="connsiteY39" fmla="*/ 77513 h 213720"/>
                <a:gd name="connsiteX40" fmla="*/ 204597 w 241458"/>
                <a:gd name="connsiteY40" fmla="*/ 62654 h 213720"/>
                <a:gd name="connsiteX41" fmla="*/ 230219 w 241458"/>
                <a:gd name="connsiteY41" fmla="*/ 61511 h 21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41458" h="213720">
                  <a:moveTo>
                    <a:pt x="230124" y="61511"/>
                  </a:moveTo>
                  <a:lnTo>
                    <a:pt x="241459" y="20458"/>
                  </a:lnTo>
                  <a:lnTo>
                    <a:pt x="223647" y="8457"/>
                  </a:lnTo>
                  <a:cubicBezTo>
                    <a:pt x="220123" y="11314"/>
                    <a:pt x="214884" y="-1068"/>
                    <a:pt x="204788" y="75"/>
                  </a:cubicBezTo>
                  <a:cubicBezTo>
                    <a:pt x="161163" y="5313"/>
                    <a:pt x="150114" y="5409"/>
                    <a:pt x="143351" y="9981"/>
                  </a:cubicBezTo>
                  <a:cubicBezTo>
                    <a:pt x="137255" y="15029"/>
                    <a:pt x="127730" y="17886"/>
                    <a:pt x="127159" y="26173"/>
                  </a:cubicBezTo>
                  <a:cubicBezTo>
                    <a:pt x="127540" y="32555"/>
                    <a:pt x="123063" y="44271"/>
                    <a:pt x="131254" y="45223"/>
                  </a:cubicBezTo>
                  <a:cubicBezTo>
                    <a:pt x="132969" y="45795"/>
                    <a:pt x="142970" y="44747"/>
                    <a:pt x="141446" y="51891"/>
                  </a:cubicBezTo>
                  <a:cubicBezTo>
                    <a:pt x="140779" y="53986"/>
                    <a:pt x="140589" y="62463"/>
                    <a:pt x="134779" y="67036"/>
                  </a:cubicBezTo>
                  <a:cubicBezTo>
                    <a:pt x="116491" y="81418"/>
                    <a:pt x="112586" y="85609"/>
                    <a:pt x="107061" y="85323"/>
                  </a:cubicBezTo>
                  <a:cubicBezTo>
                    <a:pt x="102108" y="85133"/>
                    <a:pt x="105632" y="76561"/>
                    <a:pt x="105537" y="77513"/>
                  </a:cubicBezTo>
                  <a:cubicBezTo>
                    <a:pt x="108204" y="69703"/>
                    <a:pt x="102203" y="64083"/>
                    <a:pt x="109538" y="64083"/>
                  </a:cubicBezTo>
                  <a:lnTo>
                    <a:pt x="110680" y="64083"/>
                  </a:lnTo>
                  <a:cubicBezTo>
                    <a:pt x="116300" y="64083"/>
                    <a:pt x="118967" y="57511"/>
                    <a:pt x="118205" y="58463"/>
                  </a:cubicBezTo>
                  <a:cubicBezTo>
                    <a:pt x="120967" y="51034"/>
                    <a:pt x="110680" y="57034"/>
                    <a:pt x="110395" y="49414"/>
                  </a:cubicBezTo>
                  <a:cubicBezTo>
                    <a:pt x="110109" y="42556"/>
                    <a:pt x="105918" y="35794"/>
                    <a:pt x="100393" y="39985"/>
                  </a:cubicBezTo>
                  <a:cubicBezTo>
                    <a:pt x="85344" y="45700"/>
                    <a:pt x="96869" y="26650"/>
                    <a:pt x="96107" y="28650"/>
                  </a:cubicBezTo>
                  <a:cubicBezTo>
                    <a:pt x="100965" y="19982"/>
                    <a:pt x="88963" y="16839"/>
                    <a:pt x="84487" y="37127"/>
                  </a:cubicBezTo>
                  <a:cubicBezTo>
                    <a:pt x="76200" y="74465"/>
                    <a:pt x="75533" y="83609"/>
                    <a:pt x="70009" y="89324"/>
                  </a:cubicBezTo>
                  <a:lnTo>
                    <a:pt x="49340" y="110851"/>
                  </a:lnTo>
                  <a:cubicBezTo>
                    <a:pt x="44958" y="115422"/>
                    <a:pt x="48863" y="123043"/>
                    <a:pt x="48673" y="122090"/>
                  </a:cubicBezTo>
                  <a:cubicBezTo>
                    <a:pt x="51245" y="128186"/>
                    <a:pt x="41910" y="124662"/>
                    <a:pt x="42863" y="124662"/>
                  </a:cubicBezTo>
                  <a:cubicBezTo>
                    <a:pt x="36386" y="122661"/>
                    <a:pt x="29432" y="129329"/>
                    <a:pt x="30385" y="128853"/>
                  </a:cubicBezTo>
                  <a:cubicBezTo>
                    <a:pt x="25527" y="132663"/>
                    <a:pt x="31623" y="138378"/>
                    <a:pt x="31147" y="137425"/>
                  </a:cubicBezTo>
                  <a:cubicBezTo>
                    <a:pt x="36100" y="142569"/>
                    <a:pt x="23813" y="140378"/>
                    <a:pt x="24765" y="140283"/>
                  </a:cubicBezTo>
                  <a:cubicBezTo>
                    <a:pt x="18479" y="139616"/>
                    <a:pt x="12573" y="145426"/>
                    <a:pt x="13525" y="144855"/>
                  </a:cubicBezTo>
                  <a:cubicBezTo>
                    <a:pt x="5810" y="151618"/>
                    <a:pt x="27432" y="161143"/>
                    <a:pt x="16764" y="161143"/>
                  </a:cubicBezTo>
                  <a:lnTo>
                    <a:pt x="3715" y="161143"/>
                  </a:lnTo>
                  <a:cubicBezTo>
                    <a:pt x="2667" y="161143"/>
                    <a:pt x="1333" y="161428"/>
                    <a:pt x="0" y="161714"/>
                  </a:cubicBezTo>
                  <a:lnTo>
                    <a:pt x="40958" y="178002"/>
                  </a:lnTo>
                  <a:lnTo>
                    <a:pt x="93917" y="158380"/>
                  </a:lnTo>
                  <a:lnTo>
                    <a:pt x="146304" y="181050"/>
                  </a:lnTo>
                  <a:lnTo>
                    <a:pt x="142113" y="210768"/>
                  </a:lnTo>
                  <a:lnTo>
                    <a:pt x="164783" y="213720"/>
                  </a:lnTo>
                  <a:lnTo>
                    <a:pt x="177927" y="160190"/>
                  </a:lnTo>
                  <a:lnTo>
                    <a:pt x="160020" y="134568"/>
                  </a:lnTo>
                  <a:lnTo>
                    <a:pt x="171355" y="120852"/>
                  </a:lnTo>
                  <a:lnTo>
                    <a:pt x="210026" y="119709"/>
                  </a:lnTo>
                  <a:lnTo>
                    <a:pt x="229648" y="85228"/>
                  </a:lnTo>
                  <a:lnTo>
                    <a:pt x="201644" y="77513"/>
                  </a:lnTo>
                  <a:lnTo>
                    <a:pt x="204597" y="62654"/>
                  </a:lnTo>
                  <a:lnTo>
                    <a:pt x="230219" y="61511"/>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grpSp>
      <p:sp>
        <p:nvSpPr>
          <p:cNvPr id="322" name="Freeform: Shape 321">
            <a:extLst>
              <a:ext uri="{FF2B5EF4-FFF2-40B4-BE49-F238E27FC236}">
                <a16:creationId xmlns:a16="http://schemas.microsoft.com/office/drawing/2014/main" id="{29774E37-D0C6-6B0D-B09D-A10ACF132B6C}"/>
              </a:ext>
            </a:extLst>
          </p:cNvPr>
          <p:cNvSpPr/>
          <p:nvPr/>
        </p:nvSpPr>
        <p:spPr>
          <a:xfrm>
            <a:off x="6699280" y="2571586"/>
            <a:ext cx="116109" cy="123158"/>
          </a:xfrm>
          <a:custGeom>
            <a:avLst/>
            <a:gdLst>
              <a:gd name="connsiteX0" fmla="*/ 73819 w 116109"/>
              <a:gd name="connsiteY0" fmla="*/ 71342 h 123158"/>
              <a:gd name="connsiteX1" fmla="*/ 84487 w 116109"/>
              <a:gd name="connsiteY1" fmla="*/ 86868 h 123158"/>
              <a:gd name="connsiteX2" fmla="*/ 99155 w 116109"/>
              <a:gd name="connsiteY2" fmla="*/ 77343 h 123158"/>
              <a:gd name="connsiteX3" fmla="*/ 116110 w 116109"/>
              <a:gd name="connsiteY3" fmla="*/ 52007 h 123158"/>
              <a:gd name="connsiteX4" fmla="*/ 57531 w 116109"/>
              <a:gd name="connsiteY4" fmla="*/ 13335 h 123158"/>
              <a:gd name="connsiteX5" fmla="*/ 35433 w 116109"/>
              <a:gd name="connsiteY5" fmla="*/ 0 h 123158"/>
              <a:gd name="connsiteX6" fmla="*/ 36576 w 116109"/>
              <a:gd name="connsiteY6" fmla="*/ 22003 h 123158"/>
              <a:gd name="connsiteX7" fmla="*/ 15145 w 116109"/>
              <a:gd name="connsiteY7" fmla="*/ 29146 h 123158"/>
              <a:gd name="connsiteX8" fmla="*/ 3048 w 116109"/>
              <a:gd name="connsiteY8" fmla="*/ 61055 h 123158"/>
              <a:gd name="connsiteX9" fmla="*/ 0 w 116109"/>
              <a:gd name="connsiteY9" fmla="*/ 78010 h 123158"/>
              <a:gd name="connsiteX10" fmla="*/ 42863 w 116109"/>
              <a:gd name="connsiteY10" fmla="*/ 110871 h 123158"/>
              <a:gd name="connsiteX11" fmla="*/ 51816 w 116109"/>
              <a:gd name="connsiteY11" fmla="*/ 122015 h 123158"/>
              <a:gd name="connsiteX12" fmla="*/ 55245 w 116109"/>
              <a:gd name="connsiteY12" fmla="*/ 123158 h 123158"/>
              <a:gd name="connsiteX13" fmla="*/ 55245 w 116109"/>
              <a:gd name="connsiteY13" fmla="*/ 122873 h 123158"/>
              <a:gd name="connsiteX14" fmla="*/ 73723 w 116109"/>
              <a:gd name="connsiteY14" fmla="*/ 71247 h 123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109" h="123158">
                <a:moveTo>
                  <a:pt x="73819" y="71342"/>
                </a:moveTo>
                <a:lnTo>
                  <a:pt x="84487" y="86868"/>
                </a:lnTo>
                <a:lnTo>
                  <a:pt x="99155" y="77343"/>
                </a:lnTo>
                <a:lnTo>
                  <a:pt x="116110" y="52007"/>
                </a:lnTo>
                <a:lnTo>
                  <a:pt x="57531" y="13335"/>
                </a:lnTo>
                <a:lnTo>
                  <a:pt x="35433" y="0"/>
                </a:lnTo>
                <a:lnTo>
                  <a:pt x="36576" y="22003"/>
                </a:lnTo>
                <a:lnTo>
                  <a:pt x="15145" y="29146"/>
                </a:lnTo>
                <a:lnTo>
                  <a:pt x="3048" y="61055"/>
                </a:lnTo>
                <a:lnTo>
                  <a:pt x="0" y="78010"/>
                </a:lnTo>
                <a:cubicBezTo>
                  <a:pt x="40386" y="105442"/>
                  <a:pt x="40481" y="105156"/>
                  <a:pt x="42863" y="110871"/>
                </a:cubicBezTo>
                <a:cubicBezTo>
                  <a:pt x="43624" y="112109"/>
                  <a:pt x="45148" y="119634"/>
                  <a:pt x="51816" y="122015"/>
                </a:cubicBezTo>
                <a:cubicBezTo>
                  <a:pt x="53054" y="122396"/>
                  <a:pt x="54102" y="122777"/>
                  <a:pt x="55245" y="123158"/>
                </a:cubicBezTo>
                <a:lnTo>
                  <a:pt x="55245" y="122873"/>
                </a:lnTo>
                <a:cubicBezTo>
                  <a:pt x="55245" y="122873"/>
                  <a:pt x="73723" y="71247"/>
                  <a:pt x="73723" y="71247"/>
                </a:cubicBezTo>
                <a:close/>
              </a:path>
            </a:pathLst>
          </a:custGeom>
          <a:solidFill>
            <a:schemeClr val="bg1">
              <a:lumMod val="95000"/>
            </a:schemeClr>
          </a:solidFill>
          <a:ln w="9525" cap="flat">
            <a:noFill/>
            <a:prstDash val="solid"/>
            <a:miter/>
          </a:ln>
        </p:spPr>
        <p:txBody>
          <a:bodyPr rtlCol="0" anchor="ctr"/>
          <a:lstStyle/>
          <a:p>
            <a:endParaRPr lang="en-IN"/>
          </a:p>
        </p:txBody>
      </p:sp>
      <p:sp>
        <p:nvSpPr>
          <p:cNvPr id="323" name="Freeform: Shape 322">
            <a:extLst>
              <a:ext uri="{FF2B5EF4-FFF2-40B4-BE49-F238E27FC236}">
                <a16:creationId xmlns:a16="http://schemas.microsoft.com/office/drawing/2014/main" id="{95AE0B2A-004A-7B03-E53C-5CE789C7A0C2}"/>
              </a:ext>
            </a:extLst>
          </p:cNvPr>
          <p:cNvSpPr/>
          <p:nvPr/>
        </p:nvSpPr>
        <p:spPr>
          <a:xfrm>
            <a:off x="6454944" y="3107703"/>
            <a:ext cx="20818" cy="14550"/>
          </a:xfrm>
          <a:custGeom>
            <a:avLst/>
            <a:gdLst>
              <a:gd name="connsiteX0" fmla="*/ 20404 w 20818"/>
              <a:gd name="connsiteY0" fmla="*/ 8523 h 14550"/>
              <a:gd name="connsiteX1" fmla="*/ 14117 w 20818"/>
              <a:gd name="connsiteY1" fmla="*/ 2141 h 14550"/>
              <a:gd name="connsiteX2" fmla="*/ 306 w 20818"/>
              <a:gd name="connsiteY2" fmla="*/ 4046 h 14550"/>
              <a:gd name="connsiteX3" fmla="*/ 8307 w 20818"/>
              <a:gd name="connsiteY3" fmla="*/ 13190 h 14550"/>
              <a:gd name="connsiteX4" fmla="*/ 20689 w 20818"/>
              <a:gd name="connsiteY4" fmla="*/ 10142 h 14550"/>
              <a:gd name="connsiteX5" fmla="*/ 20404 w 20818"/>
              <a:gd name="connsiteY5" fmla="*/ 8618 h 1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18" h="14550">
                <a:moveTo>
                  <a:pt x="20404" y="8523"/>
                </a:moveTo>
                <a:cubicBezTo>
                  <a:pt x="19832" y="5570"/>
                  <a:pt x="16974" y="2712"/>
                  <a:pt x="14117" y="2141"/>
                </a:cubicBezTo>
                <a:cubicBezTo>
                  <a:pt x="10116" y="1855"/>
                  <a:pt x="-2076" y="-3574"/>
                  <a:pt x="306" y="4046"/>
                </a:cubicBezTo>
                <a:cubicBezTo>
                  <a:pt x="877" y="4998"/>
                  <a:pt x="1544" y="12047"/>
                  <a:pt x="8307" y="13190"/>
                </a:cubicBezTo>
                <a:cubicBezTo>
                  <a:pt x="11260" y="13190"/>
                  <a:pt x="22118" y="17762"/>
                  <a:pt x="20689" y="10142"/>
                </a:cubicBezTo>
                <a:lnTo>
                  <a:pt x="20404" y="8618"/>
                </a:lnTo>
                <a:close/>
              </a:path>
            </a:pathLst>
          </a:custGeom>
          <a:solidFill>
            <a:schemeClr val="bg1">
              <a:lumMod val="85000"/>
            </a:schemeClr>
          </a:solidFill>
          <a:ln w="9525" cap="flat">
            <a:noFill/>
            <a:prstDash val="solid"/>
            <a:miter/>
          </a:ln>
        </p:spPr>
        <p:txBody>
          <a:bodyPr rtlCol="0" anchor="ctr"/>
          <a:lstStyle/>
          <a:p>
            <a:endParaRPr lang="en-IN"/>
          </a:p>
        </p:txBody>
      </p:sp>
      <p:sp>
        <p:nvSpPr>
          <p:cNvPr id="324" name="Freeform: Shape 323">
            <a:extLst>
              <a:ext uri="{FF2B5EF4-FFF2-40B4-BE49-F238E27FC236}">
                <a16:creationId xmlns:a16="http://schemas.microsoft.com/office/drawing/2014/main" id="{CB0DA7EA-3504-6B64-4882-82AF35494309}"/>
              </a:ext>
            </a:extLst>
          </p:cNvPr>
          <p:cNvSpPr/>
          <p:nvPr/>
        </p:nvSpPr>
        <p:spPr>
          <a:xfrm>
            <a:off x="6825677" y="2667217"/>
            <a:ext cx="150780" cy="105346"/>
          </a:xfrm>
          <a:custGeom>
            <a:avLst/>
            <a:gdLst>
              <a:gd name="connsiteX0" fmla="*/ 27622 w 150780"/>
              <a:gd name="connsiteY0" fmla="*/ 105346 h 105346"/>
              <a:gd name="connsiteX1" fmla="*/ 66485 w 150780"/>
              <a:gd name="connsiteY1" fmla="*/ 102298 h 105346"/>
              <a:gd name="connsiteX2" fmla="*/ 87535 w 150780"/>
              <a:gd name="connsiteY2" fmla="*/ 84963 h 105346"/>
              <a:gd name="connsiteX3" fmla="*/ 128302 w 150780"/>
              <a:gd name="connsiteY3" fmla="*/ 84392 h 105346"/>
              <a:gd name="connsiteX4" fmla="*/ 136303 w 150780"/>
              <a:gd name="connsiteY4" fmla="*/ 69532 h 105346"/>
              <a:gd name="connsiteX5" fmla="*/ 150781 w 150780"/>
              <a:gd name="connsiteY5" fmla="*/ 66865 h 105346"/>
              <a:gd name="connsiteX6" fmla="*/ 150590 w 150780"/>
              <a:gd name="connsiteY6" fmla="*/ 66675 h 105346"/>
              <a:gd name="connsiteX7" fmla="*/ 147447 w 150780"/>
              <a:gd name="connsiteY7" fmla="*/ 31718 h 105346"/>
              <a:gd name="connsiteX8" fmla="*/ 113347 w 150780"/>
              <a:gd name="connsiteY8" fmla="*/ 0 h 105346"/>
              <a:gd name="connsiteX9" fmla="*/ 6668 w 150780"/>
              <a:gd name="connsiteY9" fmla="*/ 26384 h 105346"/>
              <a:gd name="connsiteX10" fmla="*/ 0 w 150780"/>
              <a:gd name="connsiteY10" fmla="*/ 77724 h 105346"/>
              <a:gd name="connsiteX11" fmla="*/ 27622 w 150780"/>
              <a:gd name="connsiteY11" fmla="*/ 105346 h 10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780" h="105346">
                <a:moveTo>
                  <a:pt x="27622" y="105346"/>
                </a:moveTo>
                <a:lnTo>
                  <a:pt x="66485" y="102298"/>
                </a:lnTo>
                <a:lnTo>
                  <a:pt x="87535" y="84963"/>
                </a:lnTo>
                <a:lnTo>
                  <a:pt x="128302" y="84392"/>
                </a:lnTo>
                <a:lnTo>
                  <a:pt x="136303" y="69532"/>
                </a:lnTo>
                <a:lnTo>
                  <a:pt x="150781" y="66865"/>
                </a:lnTo>
                <a:lnTo>
                  <a:pt x="150590" y="66675"/>
                </a:lnTo>
                <a:lnTo>
                  <a:pt x="147447" y="31718"/>
                </a:lnTo>
                <a:lnTo>
                  <a:pt x="113347" y="0"/>
                </a:lnTo>
                <a:lnTo>
                  <a:pt x="6668" y="26384"/>
                </a:lnTo>
                <a:lnTo>
                  <a:pt x="0" y="77724"/>
                </a:lnTo>
                <a:lnTo>
                  <a:pt x="27622" y="105346"/>
                </a:lnTo>
                <a:close/>
              </a:path>
            </a:pathLst>
          </a:custGeom>
          <a:solidFill>
            <a:schemeClr val="bg1">
              <a:lumMod val="95000"/>
            </a:schemeClr>
          </a:solidFill>
          <a:ln w="9525" cap="flat">
            <a:noFill/>
            <a:prstDash val="solid"/>
            <a:miter/>
          </a:ln>
        </p:spPr>
        <p:txBody>
          <a:bodyPr rtlCol="0" anchor="ctr"/>
          <a:lstStyle/>
          <a:p>
            <a:endParaRPr lang="en-IN"/>
          </a:p>
        </p:txBody>
      </p:sp>
      <p:sp>
        <p:nvSpPr>
          <p:cNvPr id="325" name="Freeform: Shape 324">
            <a:extLst>
              <a:ext uri="{FF2B5EF4-FFF2-40B4-BE49-F238E27FC236}">
                <a16:creationId xmlns:a16="http://schemas.microsoft.com/office/drawing/2014/main" id="{E5010B7B-E263-A595-7947-1302D09755B8}"/>
              </a:ext>
            </a:extLst>
          </p:cNvPr>
          <p:cNvSpPr/>
          <p:nvPr/>
        </p:nvSpPr>
        <p:spPr>
          <a:xfrm>
            <a:off x="5937376" y="2074190"/>
            <a:ext cx="49148" cy="58483"/>
          </a:xfrm>
          <a:custGeom>
            <a:avLst/>
            <a:gdLst>
              <a:gd name="connsiteX0" fmla="*/ 0 w 49148"/>
              <a:gd name="connsiteY0" fmla="*/ 24765 h 58483"/>
              <a:gd name="connsiteX1" fmla="*/ 7715 w 49148"/>
              <a:gd name="connsiteY1" fmla="*/ 50768 h 58483"/>
              <a:gd name="connsiteX2" fmla="*/ 7429 w 49148"/>
              <a:gd name="connsiteY2" fmla="*/ 51054 h 58483"/>
              <a:gd name="connsiteX3" fmla="*/ 37243 w 49148"/>
              <a:gd name="connsiteY3" fmla="*/ 58484 h 58483"/>
              <a:gd name="connsiteX4" fmla="*/ 49149 w 49148"/>
              <a:gd name="connsiteY4" fmla="*/ 32957 h 58483"/>
              <a:gd name="connsiteX5" fmla="*/ 25336 w 49148"/>
              <a:gd name="connsiteY5" fmla="*/ 7429 h 58483"/>
              <a:gd name="connsiteX6" fmla="*/ 17335 w 49148"/>
              <a:gd name="connsiteY6" fmla="*/ 0 h 58483"/>
              <a:gd name="connsiteX7" fmla="*/ 0 w 49148"/>
              <a:gd name="connsiteY7" fmla="*/ 24765 h 5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48" h="58483">
                <a:moveTo>
                  <a:pt x="0" y="24765"/>
                </a:moveTo>
                <a:lnTo>
                  <a:pt x="7715" y="50768"/>
                </a:lnTo>
                <a:lnTo>
                  <a:pt x="7429" y="51054"/>
                </a:lnTo>
                <a:lnTo>
                  <a:pt x="37243" y="58484"/>
                </a:lnTo>
                <a:lnTo>
                  <a:pt x="49149" y="32957"/>
                </a:lnTo>
                <a:lnTo>
                  <a:pt x="25336" y="7429"/>
                </a:lnTo>
                <a:lnTo>
                  <a:pt x="17335" y="0"/>
                </a:lnTo>
                <a:lnTo>
                  <a:pt x="0" y="24765"/>
                </a:lnTo>
                <a:close/>
              </a:path>
            </a:pathLst>
          </a:custGeom>
          <a:solidFill>
            <a:schemeClr val="bg1">
              <a:lumMod val="85000"/>
            </a:schemeClr>
          </a:solidFill>
          <a:ln w="9525" cap="flat">
            <a:noFill/>
            <a:prstDash val="solid"/>
            <a:miter/>
          </a:ln>
        </p:spPr>
        <p:txBody>
          <a:bodyPr rtlCol="0" anchor="ctr"/>
          <a:lstStyle/>
          <a:p>
            <a:endParaRPr lang="en-IN"/>
          </a:p>
        </p:txBody>
      </p:sp>
      <p:sp>
        <p:nvSpPr>
          <p:cNvPr id="326" name="Freeform: Shape 325">
            <a:extLst>
              <a:ext uri="{FF2B5EF4-FFF2-40B4-BE49-F238E27FC236}">
                <a16:creationId xmlns:a16="http://schemas.microsoft.com/office/drawing/2014/main" id="{E38E6CB2-4886-7AD8-292B-0ED7034892DC}"/>
              </a:ext>
            </a:extLst>
          </p:cNvPr>
          <p:cNvSpPr/>
          <p:nvPr/>
        </p:nvSpPr>
        <p:spPr>
          <a:xfrm>
            <a:off x="6845178" y="1563079"/>
            <a:ext cx="361498" cy="212598"/>
          </a:xfrm>
          <a:custGeom>
            <a:avLst/>
            <a:gdLst>
              <a:gd name="connsiteX0" fmla="*/ 260534 w 361498"/>
              <a:gd name="connsiteY0" fmla="*/ 21431 h 212598"/>
              <a:gd name="connsiteX1" fmla="*/ 243865 w 361498"/>
              <a:gd name="connsiteY1" fmla="*/ 0 h 212598"/>
              <a:gd name="connsiteX2" fmla="*/ 212909 w 361498"/>
              <a:gd name="connsiteY2" fmla="*/ 15431 h 212598"/>
              <a:gd name="connsiteX3" fmla="*/ 73653 w 361498"/>
              <a:gd name="connsiteY3" fmla="*/ 3524 h 212598"/>
              <a:gd name="connsiteX4" fmla="*/ 16122 w 361498"/>
              <a:gd name="connsiteY4" fmla="*/ 30099 h 212598"/>
              <a:gd name="connsiteX5" fmla="*/ 15551 w 361498"/>
              <a:gd name="connsiteY5" fmla="*/ 30385 h 212598"/>
              <a:gd name="connsiteX6" fmla="*/ 15836 w 361498"/>
              <a:gd name="connsiteY6" fmla="*/ 35528 h 212598"/>
              <a:gd name="connsiteX7" fmla="*/ 10312 w 361498"/>
              <a:gd name="connsiteY7" fmla="*/ 88202 h 212598"/>
              <a:gd name="connsiteX8" fmla="*/ 1930 w 361498"/>
              <a:gd name="connsiteY8" fmla="*/ 105823 h 212598"/>
              <a:gd name="connsiteX9" fmla="*/ 20789 w 361498"/>
              <a:gd name="connsiteY9" fmla="*/ 82201 h 212598"/>
              <a:gd name="connsiteX10" fmla="*/ 24409 w 361498"/>
              <a:gd name="connsiteY10" fmla="*/ 74962 h 212598"/>
              <a:gd name="connsiteX11" fmla="*/ 27076 w 361498"/>
              <a:gd name="connsiteY11" fmla="*/ 80391 h 212598"/>
              <a:gd name="connsiteX12" fmla="*/ 29552 w 361498"/>
              <a:gd name="connsiteY12" fmla="*/ 99822 h 212598"/>
              <a:gd name="connsiteX13" fmla="*/ 121564 w 361498"/>
              <a:gd name="connsiteY13" fmla="*/ 124587 h 212598"/>
              <a:gd name="connsiteX14" fmla="*/ 108038 w 361498"/>
              <a:gd name="connsiteY14" fmla="*/ 180118 h 212598"/>
              <a:gd name="connsiteX15" fmla="*/ 129469 w 361498"/>
              <a:gd name="connsiteY15" fmla="*/ 171355 h 212598"/>
              <a:gd name="connsiteX16" fmla="*/ 158044 w 361498"/>
              <a:gd name="connsiteY16" fmla="*/ 193548 h 212598"/>
              <a:gd name="connsiteX17" fmla="*/ 164331 w 361498"/>
              <a:gd name="connsiteY17" fmla="*/ 212598 h 212598"/>
              <a:gd name="connsiteX18" fmla="*/ 164331 w 361498"/>
              <a:gd name="connsiteY18" fmla="*/ 212598 h 212598"/>
              <a:gd name="connsiteX19" fmla="*/ 211956 w 361498"/>
              <a:gd name="connsiteY19" fmla="*/ 212598 h 212598"/>
              <a:gd name="connsiteX20" fmla="*/ 267582 w 361498"/>
              <a:gd name="connsiteY20" fmla="*/ 185071 h 212598"/>
              <a:gd name="connsiteX21" fmla="*/ 281012 w 361498"/>
              <a:gd name="connsiteY21" fmla="*/ 197549 h 212598"/>
              <a:gd name="connsiteX22" fmla="*/ 298443 w 361498"/>
              <a:gd name="connsiteY22" fmla="*/ 190405 h 212598"/>
              <a:gd name="connsiteX23" fmla="*/ 289299 w 361498"/>
              <a:gd name="connsiteY23" fmla="*/ 165164 h 212598"/>
              <a:gd name="connsiteX24" fmla="*/ 299586 w 361498"/>
              <a:gd name="connsiteY24" fmla="*/ 132017 h 212598"/>
              <a:gd name="connsiteX25" fmla="*/ 351974 w 361498"/>
              <a:gd name="connsiteY25" fmla="*/ 110585 h 212598"/>
              <a:gd name="connsiteX26" fmla="*/ 361499 w 361498"/>
              <a:gd name="connsiteY26" fmla="*/ 95155 h 212598"/>
              <a:gd name="connsiteX27" fmla="*/ 340067 w 361498"/>
              <a:gd name="connsiteY27" fmla="*/ 84487 h 212598"/>
              <a:gd name="connsiteX28" fmla="*/ 347211 w 361498"/>
              <a:gd name="connsiteY28" fmla="*/ 63056 h 212598"/>
              <a:gd name="connsiteX29" fmla="*/ 298443 w 361498"/>
              <a:gd name="connsiteY29" fmla="*/ 27337 h 212598"/>
              <a:gd name="connsiteX30" fmla="*/ 260343 w 361498"/>
              <a:gd name="connsiteY30" fmla="*/ 21431 h 2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1498" h="212598">
                <a:moveTo>
                  <a:pt x="260534" y="21431"/>
                </a:moveTo>
                <a:lnTo>
                  <a:pt x="243865" y="0"/>
                </a:lnTo>
                <a:lnTo>
                  <a:pt x="212909" y="15431"/>
                </a:lnTo>
                <a:lnTo>
                  <a:pt x="73653" y="3524"/>
                </a:lnTo>
                <a:lnTo>
                  <a:pt x="16122" y="30099"/>
                </a:lnTo>
                <a:lnTo>
                  <a:pt x="15551" y="30385"/>
                </a:lnTo>
                <a:cubicBezTo>
                  <a:pt x="15836" y="32099"/>
                  <a:pt x="15932" y="33814"/>
                  <a:pt x="15836" y="35528"/>
                </a:cubicBezTo>
                <a:cubicBezTo>
                  <a:pt x="13646" y="77343"/>
                  <a:pt x="14693" y="81915"/>
                  <a:pt x="10312" y="88202"/>
                </a:cubicBezTo>
                <a:cubicBezTo>
                  <a:pt x="5073" y="95631"/>
                  <a:pt x="-3976" y="105823"/>
                  <a:pt x="1930" y="105823"/>
                </a:cubicBezTo>
                <a:cubicBezTo>
                  <a:pt x="8693" y="105823"/>
                  <a:pt x="20123" y="88964"/>
                  <a:pt x="20789" y="82201"/>
                </a:cubicBezTo>
                <a:cubicBezTo>
                  <a:pt x="21170" y="80677"/>
                  <a:pt x="21075" y="68199"/>
                  <a:pt x="24409" y="74962"/>
                </a:cubicBezTo>
                <a:lnTo>
                  <a:pt x="27076" y="80391"/>
                </a:lnTo>
                <a:cubicBezTo>
                  <a:pt x="32315" y="90869"/>
                  <a:pt x="31648" y="96108"/>
                  <a:pt x="29552" y="99822"/>
                </a:cubicBezTo>
                <a:lnTo>
                  <a:pt x="121564" y="124587"/>
                </a:lnTo>
                <a:lnTo>
                  <a:pt x="108038" y="180118"/>
                </a:lnTo>
                <a:lnTo>
                  <a:pt x="129469" y="171355"/>
                </a:lnTo>
                <a:lnTo>
                  <a:pt x="158044" y="193548"/>
                </a:lnTo>
                <a:lnTo>
                  <a:pt x="164331" y="212598"/>
                </a:lnTo>
                <a:lnTo>
                  <a:pt x="164331" y="212598"/>
                </a:lnTo>
                <a:cubicBezTo>
                  <a:pt x="164331" y="212598"/>
                  <a:pt x="211956" y="212598"/>
                  <a:pt x="211956" y="212598"/>
                </a:cubicBezTo>
                <a:lnTo>
                  <a:pt x="267582" y="185071"/>
                </a:lnTo>
                <a:lnTo>
                  <a:pt x="281012" y="197549"/>
                </a:lnTo>
                <a:lnTo>
                  <a:pt x="298443" y="190405"/>
                </a:lnTo>
                <a:lnTo>
                  <a:pt x="289299" y="165164"/>
                </a:lnTo>
                <a:lnTo>
                  <a:pt x="299586" y="132017"/>
                </a:lnTo>
                <a:lnTo>
                  <a:pt x="351974" y="110585"/>
                </a:lnTo>
                <a:lnTo>
                  <a:pt x="361499" y="95155"/>
                </a:lnTo>
                <a:lnTo>
                  <a:pt x="340067" y="84487"/>
                </a:lnTo>
                <a:lnTo>
                  <a:pt x="347211" y="63056"/>
                </a:lnTo>
                <a:lnTo>
                  <a:pt x="298443" y="27337"/>
                </a:lnTo>
                <a:lnTo>
                  <a:pt x="260343" y="21431"/>
                </a:lnTo>
                <a:close/>
              </a:path>
            </a:pathLst>
          </a:custGeom>
          <a:solidFill>
            <a:schemeClr val="bg1">
              <a:lumMod val="95000"/>
            </a:schemeClr>
          </a:solidFill>
          <a:ln w="9525" cap="flat">
            <a:noFill/>
            <a:prstDash val="solid"/>
            <a:miter/>
          </a:ln>
        </p:spPr>
        <p:txBody>
          <a:bodyPr rtlCol="0" anchor="ctr"/>
          <a:lstStyle/>
          <a:p>
            <a:endParaRPr lang="en-IN"/>
          </a:p>
        </p:txBody>
      </p:sp>
      <p:sp>
        <p:nvSpPr>
          <p:cNvPr id="327" name="Freeform: Shape 326">
            <a:extLst>
              <a:ext uri="{FF2B5EF4-FFF2-40B4-BE49-F238E27FC236}">
                <a16:creationId xmlns:a16="http://schemas.microsoft.com/office/drawing/2014/main" id="{0AB7E9B5-FE7C-CCFF-E5B1-0A1B772E6E18}"/>
              </a:ext>
            </a:extLst>
          </p:cNvPr>
          <p:cNvSpPr/>
          <p:nvPr/>
        </p:nvSpPr>
        <p:spPr>
          <a:xfrm>
            <a:off x="6855528" y="1422490"/>
            <a:ext cx="432302" cy="203549"/>
          </a:xfrm>
          <a:custGeom>
            <a:avLst/>
            <a:gdLst>
              <a:gd name="connsiteX0" fmla="*/ 432302 w 432302"/>
              <a:gd name="connsiteY0" fmla="*/ 140589 h 203549"/>
              <a:gd name="connsiteX1" fmla="*/ 400108 w 432302"/>
              <a:gd name="connsiteY1" fmla="*/ 103632 h 203549"/>
              <a:gd name="connsiteX2" fmla="*/ 412014 w 432302"/>
              <a:gd name="connsiteY2" fmla="*/ 67913 h 203549"/>
              <a:gd name="connsiteX3" fmla="*/ 353721 w 432302"/>
              <a:gd name="connsiteY3" fmla="*/ 35719 h 203549"/>
              <a:gd name="connsiteX4" fmla="*/ 328766 w 432302"/>
              <a:gd name="connsiteY4" fmla="*/ 47625 h 203549"/>
              <a:gd name="connsiteX5" fmla="*/ 254947 w 432302"/>
              <a:gd name="connsiteY5" fmla="*/ 0 h 203549"/>
              <a:gd name="connsiteX6" fmla="*/ 202750 w 432302"/>
              <a:gd name="connsiteY6" fmla="*/ 17145 h 203549"/>
              <a:gd name="connsiteX7" fmla="*/ 202178 w 432302"/>
              <a:gd name="connsiteY7" fmla="*/ 22860 h 203549"/>
              <a:gd name="connsiteX8" fmla="*/ 200940 w 432302"/>
              <a:gd name="connsiteY8" fmla="*/ 74104 h 203549"/>
              <a:gd name="connsiteX9" fmla="*/ 167031 w 432302"/>
              <a:gd name="connsiteY9" fmla="*/ 93631 h 203549"/>
              <a:gd name="connsiteX10" fmla="*/ 151410 w 432302"/>
              <a:gd name="connsiteY10" fmla="*/ 89821 h 203549"/>
              <a:gd name="connsiteX11" fmla="*/ 140838 w 432302"/>
              <a:gd name="connsiteY11" fmla="*/ 84868 h 203549"/>
              <a:gd name="connsiteX12" fmla="*/ 123216 w 432302"/>
              <a:gd name="connsiteY12" fmla="*/ 58293 h 203549"/>
              <a:gd name="connsiteX13" fmla="*/ 100166 w 432302"/>
              <a:gd name="connsiteY13" fmla="*/ 41243 h 203549"/>
              <a:gd name="connsiteX14" fmla="*/ 96070 w 432302"/>
              <a:gd name="connsiteY14" fmla="*/ 29528 h 203549"/>
              <a:gd name="connsiteX15" fmla="*/ 91307 w 432302"/>
              <a:gd name="connsiteY15" fmla="*/ 26384 h 203549"/>
              <a:gd name="connsiteX16" fmla="*/ 73305 w 432302"/>
              <a:gd name="connsiteY16" fmla="*/ 34576 h 203549"/>
              <a:gd name="connsiteX17" fmla="*/ 42730 w 432302"/>
              <a:gd name="connsiteY17" fmla="*/ 42863 h 203549"/>
              <a:gd name="connsiteX18" fmla="*/ 25775 w 432302"/>
              <a:gd name="connsiteY18" fmla="*/ 72390 h 203549"/>
              <a:gd name="connsiteX19" fmla="*/ 20727 w 432302"/>
              <a:gd name="connsiteY19" fmla="*/ 93059 h 203549"/>
              <a:gd name="connsiteX20" fmla="*/ 5011 w 432302"/>
              <a:gd name="connsiteY20" fmla="*/ 108871 h 203549"/>
              <a:gd name="connsiteX21" fmla="*/ 1106 w 432302"/>
              <a:gd name="connsiteY21" fmla="*/ 156686 h 203549"/>
              <a:gd name="connsiteX22" fmla="*/ 5201 w 432302"/>
              <a:gd name="connsiteY22" fmla="*/ 170879 h 203549"/>
              <a:gd name="connsiteX23" fmla="*/ 5773 w 432302"/>
              <a:gd name="connsiteY23" fmla="*/ 170593 h 203549"/>
              <a:gd name="connsiteX24" fmla="*/ 63304 w 432302"/>
              <a:gd name="connsiteY24" fmla="*/ 144018 h 203549"/>
              <a:gd name="connsiteX25" fmla="*/ 202559 w 432302"/>
              <a:gd name="connsiteY25" fmla="*/ 155924 h 203549"/>
              <a:gd name="connsiteX26" fmla="*/ 233516 w 432302"/>
              <a:gd name="connsiteY26" fmla="*/ 140494 h 203549"/>
              <a:gd name="connsiteX27" fmla="*/ 250184 w 432302"/>
              <a:gd name="connsiteY27" fmla="*/ 161925 h 203549"/>
              <a:gd name="connsiteX28" fmla="*/ 288284 w 432302"/>
              <a:gd name="connsiteY28" fmla="*/ 167830 h 203549"/>
              <a:gd name="connsiteX29" fmla="*/ 337052 w 432302"/>
              <a:gd name="connsiteY29" fmla="*/ 203549 h 203549"/>
              <a:gd name="connsiteX30" fmla="*/ 429540 w 432302"/>
              <a:gd name="connsiteY30" fmla="*/ 165068 h 203549"/>
              <a:gd name="connsiteX31" fmla="*/ 432302 w 432302"/>
              <a:gd name="connsiteY31" fmla="*/ 140494 h 20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302" h="203549">
                <a:moveTo>
                  <a:pt x="432302" y="140589"/>
                </a:moveTo>
                <a:lnTo>
                  <a:pt x="400108" y="103632"/>
                </a:lnTo>
                <a:lnTo>
                  <a:pt x="412014" y="67913"/>
                </a:lnTo>
                <a:lnTo>
                  <a:pt x="353721" y="35719"/>
                </a:lnTo>
                <a:lnTo>
                  <a:pt x="328766" y="47625"/>
                </a:lnTo>
                <a:lnTo>
                  <a:pt x="254947" y="0"/>
                </a:lnTo>
                <a:lnTo>
                  <a:pt x="202750" y="17145"/>
                </a:lnTo>
                <a:cubicBezTo>
                  <a:pt x="202274" y="18955"/>
                  <a:pt x="201988" y="20860"/>
                  <a:pt x="202178" y="22860"/>
                </a:cubicBezTo>
                <a:cubicBezTo>
                  <a:pt x="205322" y="68961"/>
                  <a:pt x="206465" y="70295"/>
                  <a:pt x="200940" y="74104"/>
                </a:cubicBezTo>
                <a:cubicBezTo>
                  <a:pt x="178271" y="89630"/>
                  <a:pt x="174365" y="93631"/>
                  <a:pt x="167031" y="93631"/>
                </a:cubicBezTo>
                <a:cubicBezTo>
                  <a:pt x="163316" y="93154"/>
                  <a:pt x="154268" y="95345"/>
                  <a:pt x="151410" y="89821"/>
                </a:cubicBezTo>
                <a:cubicBezTo>
                  <a:pt x="149029" y="85249"/>
                  <a:pt x="139885" y="84487"/>
                  <a:pt x="140838" y="84868"/>
                </a:cubicBezTo>
                <a:cubicBezTo>
                  <a:pt x="130169" y="83344"/>
                  <a:pt x="133503" y="65913"/>
                  <a:pt x="123216" y="58293"/>
                </a:cubicBezTo>
                <a:lnTo>
                  <a:pt x="100166" y="41243"/>
                </a:lnTo>
                <a:cubicBezTo>
                  <a:pt x="94927" y="37433"/>
                  <a:pt x="95880" y="28575"/>
                  <a:pt x="96070" y="29528"/>
                </a:cubicBezTo>
                <a:cubicBezTo>
                  <a:pt x="96070" y="26575"/>
                  <a:pt x="93974" y="25146"/>
                  <a:pt x="91307" y="26384"/>
                </a:cubicBezTo>
                <a:lnTo>
                  <a:pt x="73305" y="34576"/>
                </a:lnTo>
                <a:cubicBezTo>
                  <a:pt x="60923" y="40196"/>
                  <a:pt x="48540" y="34480"/>
                  <a:pt x="42730" y="42863"/>
                </a:cubicBezTo>
                <a:cubicBezTo>
                  <a:pt x="32443" y="57626"/>
                  <a:pt x="26061" y="64675"/>
                  <a:pt x="25775" y="72390"/>
                </a:cubicBezTo>
                <a:cubicBezTo>
                  <a:pt x="24918" y="78676"/>
                  <a:pt x="27490" y="88392"/>
                  <a:pt x="20727" y="93059"/>
                </a:cubicBezTo>
                <a:cubicBezTo>
                  <a:pt x="15298" y="97536"/>
                  <a:pt x="6154" y="100489"/>
                  <a:pt x="5011" y="108871"/>
                </a:cubicBezTo>
                <a:cubicBezTo>
                  <a:pt x="58" y="146495"/>
                  <a:pt x="-1180" y="149923"/>
                  <a:pt x="1106" y="156686"/>
                </a:cubicBezTo>
                <a:cubicBezTo>
                  <a:pt x="2725" y="161544"/>
                  <a:pt x="4535" y="166116"/>
                  <a:pt x="5201" y="170879"/>
                </a:cubicBezTo>
                <a:lnTo>
                  <a:pt x="5773" y="170593"/>
                </a:lnTo>
                <a:lnTo>
                  <a:pt x="63304" y="144018"/>
                </a:lnTo>
                <a:lnTo>
                  <a:pt x="202559" y="155924"/>
                </a:lnTo>
                <a:lnTo>
                  <a:pt x="233516" y="140494"/>
                </a:lnTo>
                <a:lnTo>
                  <a:pt x="250184" y="161925"/>
                </a:lnTo>
                <a:lnTo>
                  <a:pt x="288284" y="167830"/>
                </a:lnTo>
                <a:lnTo>
                  <a:pt x="337052" y="203549"/>
                </a:lnTo>
                <a:lnTo>
                  <a:pt x="429540" y="165068"/>
                </a:lnTo>
                <a:lnTo>
                  <a:pt x="432302" y="140494"/>
                </a:lnTo>
                <a:close/>
              </a:path>
            </a:pathLst>
          </a:custGeom>
          <a:solidFill>
            <a:schemeClr val="bg1">
              <a:lumMod val="95000"/>
            </a:schemeClr>
          </a:solidFill>
          <a:ln w="9525" cap="flat">
            <a:noFill/>
            <a:prstDash val="solid"/>
            <a:miter/>
          </a:ln>
        </p:spPr>
        <p:txBody>
          <a:bodyPr rtlCol="0" anchor="ctr"/>
          <a:lstStyle/>
          <a:p>
            <a:endParaRPr lang="en-IN"/>
          </a:p>
        </p:txBody>
      </p:sp>
      <p:sp>
        <p:nvSpPr>
          <p:cNvPr id="328" name="Freeform: Shape 327">
            <a:extLst>
              <a:ext uri="{FF2B5EF4-FFF2-40B4-BE49-F238E27FC236}">
                <a16:creationId xmlns:a16="http://schemas.microsoft.com/office/drawing/2014/main" id="{8CFDA3F1-BDE2-4B35-7722-1640868F3EFB}"/>
              </a:ext>
            </a:extLst>
          </p:cNvPr>
          <p:cNvSpPr/>
          <p:nvPr/>
        </p:nvSpPr>
        <p:spPr>
          <a:xfrm>
            <a:off x="6798531" y="2606352"/>
            <a:ext cx="101822" cy="87248"/>
          </a:xfrm>
          <a:custGeom>
            <a:avLst/>
            <a:gdLst>
              <a:gd name="connsiteX0" fmla="*/ 48006 w 101822"/>
              <a:gd name="connsiteY0" fmla="*/ 0 h 87248"/>
              <a:gd name="connsiteX1" fmla="*/ 16954 w 101822"/>
              <a:gd name="connsiteY1" fmla="*/ 17145 h 87248"/>
              <a:gd name="connsiteX2" fmla="*/ 0 w 101822"/>
              <a:gd name="connsiteY2" fmla="*/ 42481 h 87248"/>
              <a:gd name="connsiteX3" fmla="*/ 33814 w 101822"/>
              <a:gd name="connsiteY3" fmla="*/ 87249 h 87248"/>
              <a:gd name="connsiteX4" fmla="*/ 87154 w 101822"/>
              <a:gd name="connsiteY4" fmla="*/ 74009 h 87248"/>
              <a:gd name="connsiteX5" fmla="*/ 101822 w 101822"/>
              <a:gd name="connsiteY5" fmla="*/ 38005 h 87248"/>
              <a:gd name="connsiteX6" fmla="*/ 48006 w 101822"/>
              <a:gd name="connsiteY6" fmla="*/ 0 h 8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22" h="87248">
                <a:moveTo>
                  <a:pt x="48006" y="0"/>
                </a:moveTo>
                <a:lnTo>
                  <a:pt x="16954" y="17145"/>
                </a:lnTo>
                <a:lnTo>
                  <a:pt x="0" y="42481"/>
                </a:lnTo>
                <a:lnTo>
                  <a:pt x="33814" y="87249"/>
                </a:lnTo>
                <a:lnTo>
                  <a:pt x="87154" y="74009"/>
                </a:lnTo>
                <a:lnTo>
                  <a:pt x="101822" y="38005"/>
                </a:lnTo>
                <a:lnTo>
                  <a:pt x="48006" y="0"/>
                </a:lnTo>
                <a:close/>
              </a:path>
            </a:pathLst>
          </a:custGeom>
          <a:solidFill>
            <a:schemeClr val="bg1">
              <a:lumMod val="95000"/>
            </a:schemeClr>
          </a:solidFill>
          <a:ln w="9525" cap="flat">
            <a:noFill/>
            <a:prstDash val="solid"/>
            <a:miter/>
          </a:ln>
        </p:spPr>
        <p:txBody>
          <a:bodyPr rtlCol="0" anchor="ctr"/>
          <a:lstStyle/>
          <a:p>
            <a:endParaRPr lang="en-IN"/>
          </a:p>
        </p:txBody>
      </p:sp>
      <p:grpSp>
        <p:nvGrpSpPr>
          <p:cNvPr id="329" name="Graphic 166">
            <a:extLst>
              <a:ext uri="{FF2B5EF4-FFF2-40B4-BE49-F238E27FC236}">
                <a16:creationId xmlns:a16="http://schemas.microsoft.com/office/drawing/2014/main" id="{6CAAD0E4-D576-735B-D155-8580CBEFA62C}"/>
              </a:ext>
            </a:extLst>
          </p:cNvPr>
          <p:cNvGrpSpPr/>
          <p:nvPr/>
        </p:nvGrpSpPr>
        <p:grpSpPr>
          <a:xfrm>
            <a:off x="5995383" y="2314220"/>
            <a:ext cx="708943" cy="747427"/>
            <a:chOff x="5416756" y="2765431"/>
            <a:chExt cx="708943" cy="747427"/>
          </a:xfrm>
          <a:solidFill>
            <a:schemeClr val="bg1">
              <a:lumMod val="85000"/>
            </a:schemeClr>
          </a:solidFill>
        </p:grpSpPr>
        <p:sp>
          <p:nvSpPr>
            <p:cNvPr id="330" name="Freeform: Shape 329">
              <a:extLst>
                <a:ext uri="{FF2B5EF4-FFF2-40B4-BE49-F238E27FC236}">
                  <a16:creationId xmlns:a16="http://schemas.microsoft.com/office/drawing/2014/main" id="{BB18C520-A5FE-D8EF-9F87-19E4F4D51619}"/>
                </a:ext>
              </a:extLst>
            </p:cNvPr>
            <p:cNvSpPr/>
            <p:nvPr/>
          </p:nvSpPr>
          <p:spPr>
            <a:xfrm>
              <a:off x="5504297" y="3189510"/>
              <a:ext cx="99950" cy="167501"/>
            </a:xfrm>
            <a:custGeom>
              <a:avLst/>
              <a:gdLst>
                <a:gd name="connsiteX0" fmla="*/ 89052 w 99950"/>
                <a:gd name="connsiteY0" fmla="*/ 27692 h 167501"/>
                <a:gd name="connsiteX1" fmla="*/ 88481 w 99950"/>
                <a:gd name="connsiteY1" fmla="*/ 17596 h 167501"/>
                <a:gd name="connsiteX2" fmla="*/ 80956 w 99950"/>
                <a:gd name="connsiteY2" fmla="*/ 9023 h 167501"/>
                <a:gd name="connsiteX3" fmla="*/ 69145 w 99950"/>
                <a:gd name="connsiteY3" fmla="*/ 1117 h 167501"/>
                <a:gd name="connsiteX4" fmla="*/ 67240 w 99950"/>
                <a:gd name="connsiteY4" fmla="*/ 355 h 167501"/>
                <a:gd name="connsiteX5" fmla="*/ 60763 w 99950"/>
                <a:gd name="connsiteY5" fmla="*/ 3499 h 167501"/>
                <a:gd name="connsiteX6" fmla="*/ 48095 w 99950"/>
                <a:gd name="connsiteY6" fmla="*/ 14167 h 167501"/>
                <a:gd name="connsiteX7" fmla="*/ 9614 w 99950"/>
                <a:gd name="connsiteY7" fmla="*/ 22930 h 167501"/>
                <a:gd name="connsiteX8" fmla="*/ 7613 w 99950"/>
                <a:gd name="connsiteY8" fmla="*/ 14548 h 167501"/>
                <a:gd name="connsiteX9" fmla="*/ 2375 w 99950"/>
                <a:gd name="connsiteY9" fmla="*/ 23787 h 167501"/>
                <a:gd name="connsiteX10" fmla="*/ 4470 w 99950"/>
                <a:gd name="connsiteY10" fmla="*/ 48076 h 167501"/>
                <a:gd name="connsiteX11" fmla="*/ 16472 w 99950"/>
                <a:gd name="connsiteY11" fmla="*/ 62744 h 167501"/>
                <a:gd name="connsiteX12" fmla="*/ 17805 w 99950"/>
                <a:gd name="connsiteY12" fmla="*/ 91795 h 167501"/>
                <a:gd name="connsiteX13" fmla="*/ 24663 w 99950"/>
                <a:gd name="connsiteY13" fmla="*/ 103606 h 167501"/>
                <a:gd name="connsiteX14" fmla="*/ 21425 w 99950"/>
                <a:gd name="connsiteY14" fmla="*/ 110274 h 167501"/>
                <a:gd name="connsiteX15" fmla="*/ 17710 w 99950"/>
                <a:gd name="connsiteY15" fmla="*/ 113131 h 167501"/>
                <a:gd name="connsiteX16" fmla="*/ 18662 w 99950"/>
                <a:gd name="connsiteY16" fmla="*/ 147898 h 167501"/>
                <a:gd name="connsiteX17" fmla="*/ 35712 w 99950"/>
                <a:gd name="connsiteY17" fmla="*/ 167138 h 167501"/>
                <a:gd name="connsiteX18" fmla="*/ 53143 w 99950"/>
                <a:gd name="connsiteY18" fmla="*/ 155994 h 167501"/>
                <a:gd name="connsiteX19" fmla="*/ 57905 w 99950"/>
                <a:gd name="connsiteY19" fmla="*/ 145421 h 167501"/>
                <a:gd name="connsiteX20" fmla="*/ 71907 w 99950"/>
                <a:gd name="connsiteY20" fmla="*/ 146088 h 167501"/>
                <a:gd name="connsiteX21" fmla="*/ 88100 w 99950"/>
                <a:gd name="connsiteY21" fmla="*/ 141421 h 167501"/>
                <a:gd name="connsiteX22" fmla="*/ 91910 w 99950"/>
                <a:gd name="connsiteY22" fmla="*/ 79413 h 167501"/>
                <a:gd name="connsiteX23" fmla="*/ 90767 w 99950"/>
                <a:gd name="connsiteY23" fmla="*/ 77794 h 167501"/>
                <a:gd name="connsiteX24" fmla="*/ 99530 w 99950"/>
                <a:gd name="connsiteY24" fmla="*/ 50362 h 167501"/>
                <a:gd name="connsiteX25" fmla="*/ 89338 w 99950"/>
                <a:gd name="connsiteY25" fmla="*/ 27787 h 167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50" h="167501">
                  <a:moveTo>
                    <a:pt x="89052" y="27692"/>
                  </a:moveTo>
                  <a:cubicBezTo>
                    <a:pt x="82671" y="23501"/>
                    <a:pt x="94196" y="19120"/>
                    <a:pt x="88481" y="17596"/>
                  </a:cubicBezTo>
                  <a:cubicBezTo>
                    <a:pt x="83147" y="16072"/>
                    <a:pt x="87814" y="6737"/>
                    <a:pt x="80956" y="9023"/>
                  </a:cubicBezTo>
                  <a:cubicBezTo>
                    <a:pt x="74098" y="11309"/>
                    <a:pt x="76765" y="4070"/>
                    <a:pt x="69145" y="1117"/>
                  </a:cubicBezTo>
                  <a:lnTo>
                    <a:pt x="67240" y="355"/>
                  </a:lnTo>
                  <a:cubicBezTo>
                    <a:pt x="64478" y="-692"/>
                    <a:pt x="61525" y="641"/>
                    <a:pt x="60763" y="3499"/>
                  </a:cubicBezTo>
                  <a:cubicBezTo>
                    <a:pt x="58667" y="10738"/>
                    <a:pt x="52762" y="7595"/>
                    <a:pt x="48095" y="14167"/>
                  </a:cubicBezTo>
                  <a:cubicBezTo>
                    <a:pt x="31997" y="36741"/>
                    <a:pt x="8090" y="31502"/>
                    <a:pt x="9614" y="22930"/>
                  </a:cubicBezTo>
                  <a:cubicBezTo>
                    <a:pt x="9614" y="21311"/>
                    <a:pt x="13233" y="9595"/>
                    <a:pt x="7613" y="14548"/>
                  </a:cubicBezTo>
                  <a:cubicBezTo>
                    <a:pt x="6851" y="15500"/>
                    <a:pt x="3041" y="18453"/>
                    <a:pt x="2375" y="23787"/>
                  </a:cubicBezTo>
                  <a:cubicBezTo>
                    <a:pt x="1994" y="34074"/>
                    <a:pt x="-3912" y="46361"/>
                    <a:pt x="4470" y="48076"/>
                  </a:cubicBezTo>
                  <a:cubicBezTo>
                    <a:pt x="12185" y="49600"/>
                    <a:pt x="17138" y="63697"/>
                    <a:pt x="16472" y="62744"/>
                  </a:cubicBezTo>
                  <a:cubicBezTo>
                    <a:pt x="23234" y="76270"/>
                    <a:pt x="17234" y="94177"/>
                    <a:pt x="17805" y="91795"/>
                  </a:cubicBezTo>
                  <a:cubicBezTo>
                    <a:pt x="15805" y="99606"/>
                    <a:pt x="24473" y="95510"/>
                    <a:pt x="24663" y="103606"/>
                  </a:cubicBezTo>
                  <a:cubicBezTo>
                    <a:pt x="24473" y="104559"/>
                    <a:pt x="25806" y="113512"/>
                    <a:pt x="21425" y="110274"/>
                  </a:cubicBezTo>
                  <a:cubicBezTo>
                    <a:pt x="19520" y="108845"/>
                    <a:pt x="17900" y="110179"/>
                    <a:pt x="17710" y="113131"/>
                  </a:cubicBezTo>
                  <a:cubicBezTo>
                    <a:pt x="16567" y="132277"/>
                    <a:pt x="14757" y="141135"/>
                    <a:pt x="18662" y="147898"/>
                  </a:cubicBezTo>
                  <a:cubicBezTo>
                    <a:pt x="25235" y="157232"/>
                    <a:pt x="27425" y="169805"/>
                    <a:pt x="35712" y="167138"/>
                  </a:cubicBezTo>
                  <a:cubicBezTo>
                    <a:pt x="41713" y="164376"/>
                    <a:pt x="53714" y="164281"/>
                    <a:pt x="53143" y="155994"/>
                  </a:cubicBezTo>
                  <a:cubicBezTo>
                    <a:pt x="53333" y="155041"/>
                    <a:pt x="51047" y="146850"/>
                    <a:pt x="57905" y="145421"/>
                  </a:cubicBezTo>
                  <a:cubicBezTo>
                    <a:pt x="58953" y="145421"/>
                    <a:pt x="66097" y="142945"/>
                    <a:pt x="71907" y="146088"/>
                  </a:cubicBezTo>
                  <a:cubicBezTo>
                    <a:pt x="74288" y="147040"/>
                    <a:pt x="86195" y="156946"/>
                    <a:pt x="88100" y="141421"/>
                  </a:cubicBezTo>
                  <a:cubicBezTo>
                    <a:pt x="94767" y="86842"/>
                    <a:pt x="96196" y="85319"/>
                    <a:pt x="91910" y="79413"/>
                  </a:cubicBezTo>
                  <a:lnTo>
                    <a:pt x="90767" y="77794"/>
                  </a:lnTo>
                  <a:cubicBezTo>
                    <a:pt x="84099" y="68650"/>
                    <a:pt x="102959" y="61982"/>
                    <a:pt x="99530" y="50362"/>
                  </a:cubicBezTo>
                  <a:cubicBezTo>
                    <a:pt x="99530" y="50362"/>
                    <a:pt x="95243" y="31597"/>
                    <a:pt x="89338" y="27787"/>
                  </a:cubicBezTo>
                  <a:close/>
                </a:path>
              </a:pathLst>
            </a:custGeom>
            <a:solidFill>
              <a:schemeClr val="bg1">
                <a:lumMod val="95000"/>
              </a:schemeClr>
            </a:solidFill>
            <a:ln w="9525" cap="flat">
              <a:noFill/>
              <a:prstDash val="solid"/>
              <a:miter/>
            </a:ln>
          </p:spPr>
          <p:txBody>
            <a:bodyPr rtlCol="0" anchor="ctr"/>
            <a:lstStyle/>
            <a:p>
              <a:endParaRPr lang="en-IN"/>
            </a:p>
          </p:txBody>
        </p:sp>
        <p:sp>
          <p:nvSpPr>
            <p:cNvPr id="331" name="Freeform: Shape 330">
              <a:extLst>
                <a:ext uri="{FF2B5EF4-FFF2-40B4-BE49-F238E27FC236}">
                  <a16:creationId xmlns:a16="http://schemas.microsoft.com/office/drawing/2014/main" id="{6AA3A4B8-5704-F558-009B-2B05C99A718F}"/>
                </a:ext>
              </a:extLst>
            </p:cNvPr>
            <p:cNvSpPr/>
            <p:nvPr/>
          </p:nvSpPr>
          <p:spPr>
            <a:xfrm>
              <a:off x="5513329" y="3347754"/>
              <a:ext cx="9728" cy="11721"/>
            </a:xfrm>
            <a:custGeom>
              <a:avLst/>
              <a:gdLst>
                <a:gd name="connsiteX0" fmla="*/ 200 w 9728"/>
                <a:gd name="connsiteY0" fmla="*/ 5656 h 11721"/>
                <a:gd name="connsiteX1" fmla="*/ 581 w 9728"/>
                <a:gd name="connsiteY1" fmla="*/ 8132 h 11721"/>
                <a:gd name="connsiteX2" fmla="*/ 6011 w 9728"/>
                <a:gd name="connsiteY2" fmla="*/ 11275 h 11721"/>
                <a:gd name="connsiteX3" fmla="*/ 9440 w 9728"/>
                <a:gd name="connsiteY3" fmla="*/ 2036 h 11721"/>
                <a:gd name="connsiteX4" fmla="*/ 105 w 9728"/>
                <a:gd name="connsiteY4" fmla="*/ 5656 h 11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8" h="11721">
                  <a:moveTo>
                    <a:pt x="200" y="5656"/>
                  </a:moveTo>
                  <a:lnTo>
                    <a:pt x="581" y="8132"/>
                  </a:lnTo>
                  <a:cubicBezTo>
                    <a:pt x="1058" y="11085"/>
                    <a:pt x="3534" y="12514"/>
                    <a:pt x="6011" y="11275"/>
                  </a:cubicBezTo>
                  <a:cubicBezTo>
                    <a:pt x="11059" y="8894"/>
                    <a:pt x="9535" y="1083"/>
                    <a:pt x="9440" y="2036"/>
                  </a:cubicBezTo>
                  <a:cubicBezTo>
                    <a:pt x="8963" y="-917"/>
                    <a:pt x="-1133" y="-1393"/>
                    <a:pt x="105" y="5656"/>
                  </a:cubicBezTo>
                  <a:close/>
                </a:path>
              </a:pathLst>
            </a:custGeom>
            <a:grpFill/>
            <a:ln w="9525" cap="flat">
              <a:noFill/>
              <a:prstDash val="solid"/>
              <a:miter/>
            </a:ln>
          </p:spPr>
          <p:txBody>
            <a:bodyPr rtlCol="0" anchor="ctr"/>
            <a:lstStyle/>
            <a:p>
              <a:endParaRPr lang="en-IN"/>
            </a:p>
          </p:txBody>
        </p:sp>
        <p:sp>
          <p:nvSpPr>
            <p:cNvPr id="332" name="Freeform: Shape 331">
              <a:extLst>
                <a:ext uri="{FF2B5EF4-FFF2-40B4-BE49-F238E27FC236}">
                  <a16:creationId xmlns:a16="http://schemas.microsoft.com/office/drawing/2014/main" id="{FAC8B198-B611-6220-E8EA-4148031468E5}"/>
                </a:ext>
              </a:extLst>
            </p:cNvPr>
            <p:cNvSpPr/>
            <p:nvPr/>
          </p:nvSpPr>
          <p:spPr>
            <a:xfrm>
              <a:off x="5765053" y="3400058"/>
              <a:ext cx="184675" cy="112800"/>
            </a:xfrm>
            <a:custGeom>
              <a:avLst/>
              <a:gdLst>
                <a:gd name="connsiteX0" fmla="*/ 183483 w 184675"/>
                <a:gd name="connsiteY0" fmla="*/ 24 h 112800"/>
                <a:gd name="connsiteX1" fmla="*/ 163195 w 184675"/>
                <a:gd name="connsiteY1" fmla="*/ 6406 h 112800"/>
                <a:gd name="connsiteX2" fmla="*/ 153099 w 184675"/>
                <a:gd name="connsiteY2" fmla="*/ 9644 h 112800"/>
                <a:gd name="connsiteX3" fmla="*/ 133668 w 184675"/>
                <a:gd name="connsiteY3" fmla="*/ 9263 h 112800"/>
                <a:gd name="connsiteX4" fmla="*/ 86138 w 184675"/>
                <a:gd name="connsiteY4" fmla="*/ 17074 h 112800"/>
                <a:gd name="connsiteX5" fmla="*/ 69469 w 184675"/>
                <a:gd name="connsiteY5" fmla="*/ 15931 h 112800"/>
                <a:gd name="connsiteX6" fmla="*/ 59849 w 184675"/>
                <a:gd name="connsiteY6" fmla="*/ 10787 h 112800"/>
                <a:gd name="connsiteX7" fmla="*/ 45752 w 184675"/>
                <a:gd name="connsiteY7" fmla="*/ 3929 h 112800"/>
                <a:gd name="connsiteX8" fmla="*/ 35370 w 184675"/>
                <a:gd name="connsiteY8" fmla="*/ 10216 h 112800"/>
                <a:gd name="connsiteX9" fmla="*/ 28035 w 184675"/>
                <a:gd name="connsiteY9" fmla="*/ 15550 h 112800"/>
                <a:gd name="connsiteX10" fmla="*/ 20034 w 184675"/>
                <a:gd name="connsiteY10" fmla="*/ 10787 h 112800"/>
                <a:gd name="connsiteX11" fmla="*/ 1175 w 184675"/>
                <a:gd name="connsiteY11" fmla="*/ 22789 h 112800"/>
                <a:gd name="connsiteX12" fmla="*/ 3937 w 184675"/>
                <a:gd name="connsiteY12" fmla="*/ 43648 h 112800"/>
                <a:gd name="connsiteX13" fmla="*/ 16320 w 184675"/>
                <a:gd name="connsiteY13" fmla="*/ 48697 h 112800"/>
                <a:gd name="connsiteX14" fmla="*/ 29750 w 184675"/>
                <a:gd name="connsiteY14" fmla="*/ 52221 h 112800"/>
                <a:gd name="connsiteX15" fmla="*/ 46514 w 184675"/>
                <a:gd name="connsiteY15" fmla="*/ 58127 h 112800"/>
                <a:gd name="connsiteX16" fmla="*/ 89472 w 184675"/>
                <a:gd name="connsiteY16" fmla="*/ 83272 h 112800"/>
                <a:gd name="connsiteX17" fmla="*/ 109950 w 184675"/>
                <a:gd name="connsiteY17" fmla="*/ 88511 h 112800"/>
                <a:gd name="connsiteX18" fmla="*/ 127191 w 184675"/>
                <a:gd name="connsiteY18" fmla="*/ 106037 h 112800"/>
                <a:gd name="connsiteX19" fmla="*/ 156433 w 184675"/>
                <a:gd name="connsiteY19" fmla="*/ 112133 h 112800"/>
                <a:gd name="connsiteX20" fmla="*/ 159766 w 184675"/>
                <a:gd name="connsiteY20" fmla="*/ 103751 h 112800"/>
                <a:gd name="connsiteX21" fmla="*/ 167100 w 184675"/>
                <a:gd name="connsiteY21" fmla="*/ 91940 h 112800"/>
                <a:gd name="connsiteX22" fmla="*/ 166624 w 184675"/>
                <a:gd name="connsiteY22" fmla="*/ 80320 h 112800"/>
                <a:gd name="connsiteX23" fmla="*/ 163291 w 184675"/>
                <a:gd name="connsiteY23" fmla="*/ 68128 h 112800"/>
                <a:gd name="connsiteX24" fmla="*/ 162719 w 184675"/>
                <a:gd name="connsiteY24" fmla="*/ 67747 h 112800"/>
                <a:gd name="connsiteX25" fmla="*/ 161195 w 184675"/>
                <a:gd name="connsiteY25" fmla="*/ 45744 h 112800"/>
                <a:gd name="connsiteX26" fmla="*/ 183483 w 184675"/>
                <a:gd name="connsiteY26" fmla="*/ 24 h 11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4675" h="112800">
                  <a:moveTo>
                    <a:pt x="183483" y="24"/>
                  </a:moveTo>
                  <a:cubicBezTo>
                    <a:pt x="175673" y="1357"/>
                    <a:pt x="168434" y="1643"/>
                    <a:pt x="163195" y="6406"/>
                  </a:cubicBezTo>
                  <a:cubicBezTo>
                    <a:pt x="162243" y="6882"/>
                    <a:pt x="158909" y="10882"/>
                    <a:pt x="153099" y="9644"/>
                  </a:cubicBezTo>
                  <a:cubicBezTo>
                    <a:pt x="148336" y="9073"/>
                    <a:pt x="140430" y="5072"/>
                    <a:pt x="133668" y="9263"/>
                  </a:cubicBezTo>
                  <a:cubicBezTo>
                    <a:pt x="109284" y="24313"/>
                    <a:pt x="109093" y="12121"/>
                    <a:pt x="86138" y="17074"/>
                  </a:cubicBezTo>
                  <a:cubicBezTo>
                    <a:pt x="82804" y="17360"/>
                    <a:pt x="74613" y="21646"/>
                    <a:pt x="69469" y="15931"/>
                  </a:cubicBezTo>
                  <a:cubicBezTo>
                    <a:pt x="68517" y="15169"/>
                    <a:pt x="65278" y="9930"/>
                    <a:pt x="59849" y="10787"/>
                  </a:cubicBezTo>
                  <a:cubicBezTo>
                    <a:pt x="53277" y="11835"/>
                    <a:pt x="53562" y="2691"/>
                    <a:pt x="45752" y="3929"/>
                  </a:cubicBezTo>
                  <a:cubicBezTo>
                    <a:pt x="44800" y="4310"/>
                    <a:pt x="38037" y="3929"/>
                    <a:pt x="35370" y="10216"/>
                  </a:cubicBezTo>
                  <a:cubicBezTo>
                    <a:pt x="34512" y="11168"/>
                    <a:pt x="32703" y="15169"/>
                    <a:pt x="28035" y="15550"/>
                  </a:cubicBezTo>
                  <a:cubicBezTo>
                    <a:pt x="22797" y="15931"/>
                    <a:pt x="19082" y="9835"/>
                    <a:pt x="20034" y="10787"/>
                  </a:cubicBezTo>
                  <a:cubicBezTo>
                    <a:pt x="15843" y="3167"/>
                    <a:pt x="1746" y="16216"/>
                    <a:pt x="1175" y="22789"/>
                  </a:cubicBezTo>
                  <a:cubicBezTo>
                    <a:pt x="1175" y="28789"/>
                    <a:pt x="-2825" y="38791"/>
                    <a:pt x="3937" y="43648"/>
                  </a:cubicBezTo>
                  <a:cubicBezTo>
                    <a:pt x="4985" y="44220"/>
                    <a:pt x="9366" y="48506"/>
                    <a:pt x="16320" y="48697"/>
                  </a:cubicBezTo>
                  <a:cubicBezTo>
                    <a:pt x="18129" y="48982"/>
                    <a:pt x="26607" y="47839"/>
                    <a:pt x="29750" y="52221"/>
                  </a:cubicBezTo>
                  <a:cubicBezTo>
                    <a:pt x="33274" y="57079"/>
                    <a:pt x="39751" y="53650"/>
                    <a:pt x="46514" y="58127"/>
                  </a:cubicBezTo>
                  <a:cubicBezTo>
                    <a:pt x="77566" y="78700"/>
                    <a:pt x="81947" y="82891"/>
                    <a:pt x="89472" y="83272"/>
                  </a:cubicBezTo>
                  <a:cubicBezTo>
                    <a:pt x="95663" y="84225"/>
                    <a:pt x="105188" y="81844"/>
                    <a:pt x="109950" y="88511"/>
                  </a:cubicBezTo>
                  <a:cubicBezTo>
                    <a:pt x="118523" y="100703"/>
                    <a:pt x="120523" y="105180"/>
                    <a:pt x="127191" y="106037"/>
                  </a:cubicBezTo>
                  <a:cubicBezTo>
                    <a:pt x="140907" y="107847"/>
                    <a:pt x="151003" y="108228"/>
                    <a:pt x="156433" y="112133"/>
                  </a:cubicBezTo>
                  <a:cubicBezTo>
                    <a:pt x="161671" y="115848"/>
                    <a:pt x="159861" y="102799"/>
                    <a:pt x="159766" y="103751"/>
                  </a:cubicBezTo>
                  <a:cubicBezTo>
                    <a:pt x="159480" y="96798"/>
                    <a:pt x="167958" y="90988"/>
                    <a:pt x="167100" y="91940"/>
                  </a:cubicBezTo>
                  <a:cubicBezTo>
                    <a:pt x="172244" y="87559"/>
                    <a:pt x="166338" y="79367"/>
                    <a:pt x="166624" y="80320"/>
                  </a:cubicBezTo>
                  <a:cubicBezTo>
                    <a:pt x="162528" y="73176"/>
                    <a:pt x="170149" y="72128"/>
                    <a:pt x="163291" y="68128"/>
                  </a:cubicBezTo>
                  <a:lnTo>
                    <a:pt x="162719" y="67747"/>
                  </a:lnTo>
                  <a:cubicBezTo>
                    <a:pt x="156051" y="63746"/>
                    <a:pt x="157766" y="51459"/>
                    <a:pt x="161195" y="45744"/>
                  </a:cubicBezTo>
                  <a:cubicBezTo>
                    <a:pt x="161195" y="45744"/>
                    <a:pt x="190913" y="-1214"/>
                    <a:pt x="183483" y="24"/>
                  </a:cubicBezTo>
                  <a:close/>
                </a:path>
              </a:pathLst>
            </a:custGeom>
            <a:solidFill>
              <a:schemeClr val="bg1">
                <a:lumMod val="95000"/>
              </a:schemeClr>
            </a:solidFill>
            <a:ln w="9525" cap="flat">
              <a:noFill/>
              <a:prstDash val="solid"/>
              <a:miter/>
            </a:ln>
          </p:spPr>
          <p:txBody>
            <a:bodyPr rtlCol="0" anchor="ctr"/>
            <a:lstStyle/>
            <a:p>
              <a:endParaRPr lang="en-IN"/>
            </a:p>
          </p:txBody>
        </p:sp>
        <p:sp>
          <p:nvSpPr>
            <p:cNvPr id="333" name="Freeform: Shape 332">
              <a:extLst>
                <a:ext uri="{FF2B5EF4-FFF2-40B4-BE49-F238E27FC236}">
                  <a16:creationId xmlns:a16="http://schemas.microsoft.com/office/drawing/2014/main" id="{81A43027-E927-37E0-74B0-93F1D2555FEB}"/>
                </a:ext>
              </a:extLst>
            </p:cNvPr>
            <p:cNvSpPr/>
            <p:nvPr/>
          </p:nvSpPr>
          <p:spPr>
            <a:xfrm>
              <a:off x="5622517" y="3075088"/>
              <a:ext cx="21115" cy="11683"/>
            </a:xfrm>
            <a:custGeom>
              <a:avLst/>
              <a:gdLst>
                <a:gd name="connsiteX0" fmla="*/ 4360 w 21115"/>
                <a:gd name="connsiteY0" fmla="*/ 1906 h 11683"/>
                <a:gd name="connsiteX1" fmla="*/ 169 w 21115"/>
                <a:gd name="connsiteY1" fmla="*/ 6574 h 11683"/>
                <a:gd name="connsiteX2" fmla="*/ 16743 w 21115"/>
                <a:gd name="connsiteY2" fmla="*/ 11146 h 11683"/>
                <a:gd name="connsiteX3" fmla="*/ 21029 w 21115"/>
                <a:gd name="connsiteY3" fmla="*/ 3621 h 11683"/>
                <a:gd name="connsiteX4" fmla="*/ 16266 w 21115"/>
                <a:gd name="connsiteY4" fmla="*/ 478 h 11683"/>
                <a:gd name="connsiteX5" fmla="*/ 5979 w 21115"/>
                <a:gd name="connsiteY5" fmla="*/ 2002 h 11683"/>
                <a:gd name="connsiteX6" fmla="*/ 4455 w 21115"/>
                <a:gd name="connsiteY6" fmla="*/ 1811 h 1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5" h="11683">
                  <a:moveTo>
                    <a:pt x="4360" y="1906"/>
                  </a:moveTo>
                  <a:cubicBezTo>
                    <a:pt x="-879" y="1335"/>
                    <a:pt x="-22" y="7526"/>
                    <a:pt x="169" y="6574"/>
                  </a:cubicBezTo>
                  <a:cubicBezTo>
                    <a:pt x="2169" y="15241"/>
                    <a:pt x="10266" y="6574"/>
                    <a:pt x="16743" y="11146"/>
                  </a:cubicBezTo>
                  <a:cubicBezTo>
                    <a:pt x="21124" y="14289"/>
                    <a:pt x="21315" y="2573"/>
                    <a:pt x="21029" y="3621"/>
                  </a:cubicBezTo>
                  <a:cubicBezTo>
                    <a:pt x="21505" y="-1808"/>
                    <a:pt x="15314" y="478"/>
                    <a:pt x="16266" y="478"/>
                  </a:cubicBezTo>
                  <a:cubicBezTo>
                    <a:pt x="13504" y="1621"/>
                    <a:pt x="8932" y="2383"/>
                    <a:pt x="5979" y="2002"/>
                  </a:cubicBezTo>
                  <a:lnTo>
                    <a:pt x="4455" y="1811"/>
                  </a:lnTo>
                  <a:close/>
                </a:path>
              </a:pathLst>
            </a:custGeom>
            <a:grpFill/>
            <a:ln w="9525" cap="flat">
              <a:noFill/>
              <a:prstDash val="solid"/>
              <a:miter/>
            </a:ln>
          </p:spPr>
          <p:txBody>
            <a:bodyPr rtlCol="0" anchor="ctr"/>
            <a:lstStyle/>
            <a:p>
              <a:endParaRPr lang="en-IN"/>
            </a:p>
          </p:txBody>
        </p:sp>
        <p:sp>
          <p:nvSpPr>
            <p:cNvPr id="334" name="Freeform: Shape 333">
              <a:extLst>
                <a:ext uri="{FF2B5EF4-FFF2-40B4-BE49-F238E27FC236}">
                  <a16:creationId xmlns:a16="http://schemas.microsoft.com/office/drawing/2014/main" id="{08F15CCF-DBBD-03A5-0A8E-624910D9635F}"/>
                </a:ext>
              </a:extLst>
            </p:cNvPr>
            <p:cNvSpPr/>
            <p:nvPr/>
          </p:nvSpPr>
          <p:spPr>
            <a:xfrm>
              <a:off x="5729624" y="3497209"/>
              <a:ext cx="14643" cy="10618"/>
            </a:xfrm>
            <a:custGeom>
              <a:avLst/>
              <a:gdLst>
                <a:gd name="connsiteX0" fmla="*/ 5743 w 14643"/>
                <a:gd name="connsiteY0" fmla="*/ 10219 h 10618"/>
                <a:gd name="connsiteX1" fmla="*/ 12506 w 14643"/>
                <a:gd name="connsiteY1" fmla="*/ 3742 h 10618"/>
                <a:gd name="connsiteX2" fmla="*/ 28 w 14643"/>
                <a:gd name="connsiteY2" fmla="*/ 3552 h 10618"/>
                <a:gd name="connsiteX3" fmla="*/ 5648 w 14643"/>
                <a:gd name="connsiteY3" fmla="*/ 10219 h 10618"/>
              </a:gdLst>
              <a:ahLst/>
              <a:cxnLst>
                <a:cxn ang="0">
                  <a:pos x="connsiteX0" y="connsiteY0"/>
                </a:cxn>
                <a:cxn ang="0">
                  <a:pos x="connsiteX1" y="connsiteY1"/>
                </a:cxn>
                <a:cxn ang="0">
                  <a:pos x="connsiteX2" y="connsiteY2"/>
                </a:cxn>
                <a:cxn ang="0">
                  <a:pos x="connsiteX3" y="connsiteY3"/>
                </a:cxn>
              </a:cxnLst>
              <a:rect l="l" t="t" r="r" b="b"/>
              <a:pathLst>
                <a:path w="14643" h="10618">
                  <a:moveTo>
                    <a:pt x="5743" y="10219"/>
                  </a:moveTo>
                  <a:cubicBezTo>
                    <a:pt x="7363" y="9362"/>
                    <a:pt x="19459" y="6695"/>
                    <a:pt x="12506" y="3742"/>
                  </a:cubicBezTo>
                  <a:cubicBezTo>
                    <a:pt x="9553" y="2980"/>
                    <a:pt x="-448" y="-4164"/>
                    <a:pt x="28" y="3552"/>
                  </a:cubicBezTo>
                  <a:cubicBezTo>
                    <a:pt x="28" y="3552"/>
                    <a:pt x="-734" y="12600"/>
                    <a:pt x="5648" y="10219"/>
                  </a:cubicBezTo>
                  <a:close/>
                </a:path>
              </a:pathLst>
            </a:custGeom>
            <a:grpFill/>
            <a:ln w="9525" cap="flat">
              <a:noFill/>
              <a:prstDash val="solid"/>
              <a:miter/>
            </a:ln>
          </p:spPr>
          <p:txBody>
            <a:bodyPr rtlCol="0" anchor="ctr"/>
            <a:lstStyle/>
            <a:p>
              <a:endParaRPr lang="en-IN"/>
            </a:p>
          </p:txBody>
        </p:sp>
        <p:sp>
          <p:nvSpPr>
            <p:cNvPr id="335" name="Freeform: Shape 334">
              <a:extLst>
                <a:ext uri="{FF2B5EF4-FFF2-40B4-BE49-F238E27FC236}">
                  <a16:creationId xmlns:a16="http://schemas.microsoft.com/office/drawing/2014/main" id="{0691E5A3-C618-0C8B-9524-59EB901953BE}"/>
                </a:ext>
              </a:extLst>
            </p:cNvPr>
            <p:cNvSpPr/>
            <p:nvPr/>
          </p:nvSpPr>
          <p:spPr>
            <a:xfrm>
              <a:off x="5416756" y="2765431"/>
              <a:ext cx="708943" cy="657914"/>
            </a:xfrm>
            <a:custGeom>
              <a:avLst/>
              <a:gdLst>
                <a:gd name="connsiteX0" fmla="*/ 700659 w 708943"/>
                <a:gd name="connsiteY0" fmla="*/ 487966 h 657914"/>
                <a:gd name="connsiteX1" fmla="*/ 672179 w 708943"/>
                <a:gd name="connsiteY1" fmla="*/ 463105 h 657914"/>
                <a:gd name="connsiteX2" fmla="*/ 610267 w 708943"/>
                <a:gd name="connsiteY2" fmla="*/ 431292 h 657914"/>
                <a:gd name="connsiteX3" fmla="*/ 557308 w 708943"/>
                <a:gd name="connsiteY3" fmla="*/ 407956 h 657914"/>
                <a:gd name="connsiteX4" fmla="*/ 558641 w 708943"/>
                <a:gd name="connsiteY4" fmla="*/ 396716 h 657914"/>
                <a:gd name="connsiteX5" fmla="*/ 570262 w 708943"/>
                <a:gd name="connsiteY5" fmla="*/ 383762 h 657914"/>
                <a:gd name="connsiteX6" fmla="*/ 560260 w 708943"/>
                <a:gd name="connsiteY6" fmla="*/ 376428 h 657914"/>
                <a:gd name="connsiteX7" fmla="*/ 549211 w 708943"/>
                <a:gd name="connsiteY7" fmla="*/ 379286 h 657914"/>
                <a:gd name="connsiteX8" fmla="*/ 540449 w 708943"/>
                <a:gd name="connsiteY8" fmla="*/ 379476 h 657914"/>
                <a:gd name="connsiteX9" fmla="*/ 500539 w 708943"/>
                <a:gd name="connsiteY9" fmla="*/ 372904 h 657914"/>
                <a:gd name="connsiteX10" fmla="*/ 445865 w 708943"/>
                <a:gd name="connsiteY10" fmla="*/ 329374 h 657914"/>
                <a:gd name="connsiteX11" fmla="*/ 401002 w 708943"/>
                <a:gd name="connsiteY11" fmla="*/ 250603 h 657914"/>
                <a:gd name="connsiteX12" fmla="*/ 354425 w 708943"/>
                <a:gd name="connsiteY12" fmla="*/ 220885 h 657914"/>
                <a:gd name="connsiteX13" fmla="*/ 338804 w 708943"/>
                <a:gd name="connsiteY13" fmla="*/ 198882 h 657914"/>
                <a:gd name="connsiteX14" fmla="*/ 340233 w 708943"/>
                <a:gd name="connsiteY14" fmla="*/ 166497 h 657914"/>
                <a:gd name="connsiteX15" fmla="*/ 342138 w 708943"/>
                <a:gd name="connsiteY15" fmla="*/ 167069 h 657914"/>
                <a:gd name="connsiteX16" fmla="*/ 346710 w 708943"/>
                <a:gd name="connsiteY16" fmla="*/ 150114 h 657914"/>
                <a:gd name="connsiteX17" fmla="*/ 340424 w 708943"/>
                <a:gd name="connsiteY17" fmla="*/ 138779 h 657914"/>
                <a:gd name="connsiteX18" fmla="*/ 338423 w 708943"/>
                <a:gd name="connsiteY18" fmla="*/ 131636 h 657914"/>
                <a:gd name="connsiteX19" fmla="*/ 338137 w 708943"/>
                <a:gd name="connsiteY19" fmla="*/ 131826 h 657914"/>
                <a:gd name="connsiteX20" fmla="*/ 333851 w 708943"/>
                <a:gd name="connsiteY20" fmla="*/ 123349 h 657914"/>
                <a:gd name="connsiteX21" fmla="*/ 345948 w 708943"/>
                <a:gd name="connsiteY21" fmla="*/ 111347 h 657914"/>
                <a:gd name="connsiteX22" fmla="*/ 349091 w 708943"/>
                <a:gd name="connsiteY22" fmla="*/ 118491 h 657914"/>
                <a:gd name="connsiteX23" fmla="*/ 351377 w 708943"/>
                <a:gd name="connsiteY23" fmla="*/ 120968 h 657914"/>
                <a:gd name="connsiteX24" fmla="*/ 382334 w 708943"/>
                <a:gd name="connsiteY24" fmla="*/ 108109 h 657914"/>
                <a:gd name="connsiteX25" fmla="*/ 390144 w 708943"/>
                <a:gd name="connsiteY25" fmla="*/ 99536 h 657914"/>
                <a:gd name="connsiteX26" fmla="*/ 402145 w 708943"/>
                <a:gd name="connsiteY26" fmla="*/ 102965 h 657914"/>
                <a:gd name="connsiteX27" fmla="*/ 407956 w 708943"/>
                <a:gd name="connsiteY27" fmla="*/ 103632 h 657914"/>
                <a:gd name="connsiteX28" fmla="*/ 413004 w 708943"/>
                <a:gd name="connsiteY28" fmla="*/ 97155 h 657914"/>
                <a:gd name="connsiteX29" fmla="*/ 419671 w 708943"/>
                <a:gd name="connsiteY29" fmla="*/ 70580 h 657914"/>
                <a:gd name="connsiteX30" fmla="*/ 401384 w 708943"/>
                <a:gd name="connsiteY30" fmla="*/ 61817 h 657914"/>
                <a:gd name="connsiteX31" fmla="*/ 422053 w 708943"/>
                <a:gd name="connsiteY31" fmla="*/ 42005 h 657914"/>
                <a:gd name="connsiteX32" fmla="*/ 341852 w 708943"/>
                <a:gd name="connsiteY32" fmla="*/ 26956 h 657914"/>
                <a:gd name="connsiteX33" fmla="*/ 329184 w 708943"/>
                <a:gd name="connsiteY33" fmla="*/ 0 h 657914"/>
                <a:gd name="connsiteX34" fmla="*/ 271272 w 708943"/>
                <a:gd name="connsiteY34" fmla="*/ 5524 h 657914"/>
                <a:gd name="connsiteX35" fmla="*/ 260128 w 708943"/>
                <a:gd name="connsiteY35" fmla="*/ 23813 h 657914"/>
                <a:gd name="connsiteX36" fmla="*/ 236982 w 708943"/>
                <a:gd name="connsiteY36" fmla="*/ 13430 h 657914"/>
                <a:gd name="connsiteX37" fmla="*/ 226981 w 708943"/>
                <a:gd name="connsiteY37" fmla="*/ 39433 h 657914"/>
                <a:gd name="connsiteX38" fmla="*/ 205264 w 708943"/>
                <a:gd name="connsiteY38" fmla="*/ 36386 h 657914"/>
                <a:gd name="connsiteX39" fmla="*/ 206216 w 708943"/>
                <a:gd name="connsiteY39" fmla="*/ 63913 h 657914"/>
                <a:gd name="connsiteX40" fmla="*/ 189357 w 708943"/>
                <a:gd name="connsiteY40" fmla="*/ 63055 h 657914"/>
                <a:gd name="connsiteX41" fmla="*/ 167450 w 708943"/>
                <a:gd name="connsiteY41" fmla="*/ 43339 h 657914"/>
                <a:gd name="connsiteX42" fmla="*/ 156591 w 708943"/>
                <a:gd name="connsiteY42" fmla="*/ 45053 h 657914"/>
                <a:gd name="connsiteX43" fmla="*/ 145733 w 708943"/>
                <a:gd name="connsiteY43" fmla="*/ 91154 h 657914"/>
                <a:gd name="connsiteX44" fmla="*/ 127254 w 708943"/>
                <a:gd name="connsiteY44" fmla="*/ 96012 h 657914"/>
                <a:gd name="connsiteX45" fmla="*/ 101155 w 708943"/>
                <a:gd name="connsiteY45" fmla="*/ 48196 h 657914"/>
                <a:gd name="connsiteX46" fmla="*/ 85249 w 708943"/>
                <a:gd name="connsiteY46" fmla="*/ 61531 h 657914"/>
                <a:gd name="connsiteX47" fmla="*/ 70485 w 708943"/>
                <a:gd name="connsiteY47" fmla="*/ 87154 h 657914"/>
                <a:gd name="connsiteX48" fmla="*/ 19717 w 708943"/>
                <a:gd name="connsiteY48" fmla="*/ 86201 h 657914"/>
                <a:gd name="connsiteX49" fmla="*/ 8858 w 708943"/>
                <a:gd name="connsiteY49" fmla="*/ 101155 h 657914"/>
                <a:gd name="connsiteX50" fmla="*/ 24479 w 708943"/>
                <a:gd name="connsiteY50" fmla="*/ 133160 h 657914"/>
                <a:gd name="connsiteX51" fmla="*/ 0 w 708943"/>
                <a:gd name="connsiteY51" fmla="*/ 148114 h 657914"/>
                <a:gd name="connsiteX52" fmla="*/ 19050 w 708943"/>
                <a:gd name="connsiteY52" fmla="*/ 175355 h 657914"/>
                <a:gd name="connsiteX53" fmla="*/ 13621 w 708943"/>
                <a:gd name="connsiteY53" fmla="*/ 204597 h 657914"/>
                <a:gd name="connsiteX54" fmla="*/ 55817 w 708943"/>
                <a:gd name="connsiteY54" fmla="*/ 213455 h 657914"/>
                <a:gd name="connsiteX55" fmla="*/ 44005 w 708943"/>
                <a:gd name="connsiteY55" fmla="*/ 244316 h 657914"/>
                <a:gd name="connsiteX56" fmla="*/ 90583 w 708943"/>
                <a:gd name="connsiteY56" fmla="*/ 225266 h 657914"/>
                <a:gd name="connsiteX57" fmla="*/ 94107 w 708943"/>
                <a:gd name="connsiteY57" fmla="*/ 218218 h 657914"/>
                <a:gd name="connsiteX58" fmla="*/ 110300 w 708943"/>
                <a:gd name="connsiteY58" fmla="*/ 206502 h 657914"/>
                <a:gd name="connsiteX59" fmla="*/ 127254 w 708943"/>
                <a:gd name="connsiteY59" fmla="*/ 195358 h 657914"/>
                <a:gd name="connsiteX60" fmla="*/ 158496 w 708943"/>
                <a:gd name="connsiteY60" fmla="*/ 206121 h 657914"/>
                <a:gd name="connsiteX61" fmla="*/ 189928 w 708943"/>
                <a:gd name="connsiteY61" fmla="*/ 221647 h 657914"/>
                <a:gd name="connsiteX62" fmla="*/ 211741 w 708943"/>
                <a:gd name="connsiteY62" fmla="*/ 233648 h 657914"/>
                <a:gd name="connsiteX63" fmla="*/ 214693 w 708943"/>
                <a:gd name="connsiteY63" fmla="*/ 249936 h 657914"/>
                <a:gd name="connsiteX64" fmla="*/ 230029 w 708943"/>
                <a:gd name="connsiteY64" fmla="*/ 280511 h 657914"/>
                <a:gd name="connsiteX65" fmla="*/ 229934 w 708943"/>
                <a:gd name="connsiteY65" fmla="*/ 296989 h 657914"/>
                <a:gd name="connsiteX66" fmla="*/ 240316 w 708943"/>
                <a:gd name="connsiteY66" fmla="*/ 303466 h 657914"/>
                <a:gd name="connsiteX67" fmla="*/ 248984 w 708943"/>
                <a:gd name="connsiteY67" fmla="*/ 315468 h 657914"/>
                <a:gd name="connsiteX68" fmla="*/ 269176 w 708943"/>
                <a:gd name="connsiteY68" fmla="*/ 337090 h 657914"/>
                <a:gd name="connsiteX69" fmla="*/ 281559 w 708943"/>
                <a:gd name="connsiteY69" fmla="*/ 343186 h 657914"/>
                <a:gd name="connsiteX70" fmla="*/ 310896 w 708943"/>
                <a:gd name="connsiteY70" fmla="*/ 367951 h 657914"/>
                <a:gd name="connsiteX71" fmla="*/ 352711 w 708943"/>
                <a:gd name="connsiteY71" fmla="*/ 407765 h 657914"/>
                <a:gd name="connsiteX72" fmla="*/ 372427 w 708943"/>
                <a:gd name="connsiteY72" fmla="*/ 415671 h 657914"/>
                <a:gd name="connsiteX73" fmla="*/ 381476 w 708943"/>
                <a:gd name="connsiteY73" fmla="*/ 422815 h 657914"/>
                <a:gd name="connsiteX74" fmla="*/ 389858 w 708943"/>
                <a:gd name="connsiteY74" fmla="*/ 426911 h 657914"/>
                <a:gd name="connsiteX75" fmla="*/ 402145 w 708943"/>
                <a:gd name="connsiteY75" fmla="*/ 425863 h 657914"/>
                <a:gd name="connsiteX76" fmla="*/ 418433 w 708943"/>
                <a:gd name="connsiteY76" fmla="*/ 428339 h 657914"/>
                <a:gd name="connsiteX77" fmla="*/ 426339 w 708943"/>
                <a:gd name="connsiteY77" fmla="*/ 430721 h 657914"/>
                <a:gd name="connsiteX78" fmla="*/ 448627 w 708943"/>
                <a:gd name="connsiteY78" fmla="*/ 457010 h 657914"/>
                <a:gd name="connsiteX79" fmla="*/ 463486 w 708943"/>
                <a:gd name="connsiteY79" fmla="*/ 458724 h 657914"/>
                <a:gd name="connsiteX80" fmla="*/ 463486 w 708943"/>
                <a:gd name="connsiteY80" fmla="*/ 467201 h 657914"/>
                <a:gd name="connsiteX81" fmla="*/ 490157 w 708943"/>
                <a:gd name="connsiteY81" fmla="*/ 471583 h 657914"/>
                <a:gd name="connsiteX82" fmla="*/ 497681 w 708943"/>
                <a:gd name="connsiteY82" fmla="*/ 490538 h 657914"/>
                <a:gd name="connsiteX83" fmla="*/ 501015 w 708943"/>
                <a:gd name="connsiteY83" fmla="*/ 499586 h 657914"/>
                <a:gd name="connsiteX84" fmla="*/ 529018 w 708943"/>
                <a:gd name="connsiteY84" fmla="*/ 512350 h 657914"/>
                <a:gd name="connsiteX85" fmla="*/ 540353 w 708943"/>
                <a:gd name="connsiteY85" fmla="*/ 514826 h 657914"/>
                <a:gd name="connsiteX86" fmla="*/ 562737 w 708943"/>
                <a:gd name="connsiteY86" fmla="*/ 562737 h 657914"/>
                <a:gd name="connsiteX87" fmla="*/ 569214 w 708943"/>
                <a:gd name="connsiteY87" fmla="*/ 588264 h 657914"/>
                <a:gd name="connsiteX88" fmla="*/ 571786 w 708943"/>
                <a:gd name="connsiteY88" fmla="*/ 598075 h 657914"/>
                <a:gd name="connsiteX89" fmla="*/ 554736 w 708943"/>
                <a:gd name="connsiteY89" fmla="*/ 607695 h 657914"/>
                <a:gd name="connsiteX90" fmla="*/ 553212 w 708943"/>
                <a:gd name="connsiteY90" fmla="*/ 622554 h 657914"/>
                <a:gd name="connsiteX91" fmla="*/ 541115 w 708943"/>
                <a:gd name="connsiteY91" fmla="*/ 645319 h 657914"/>
                <a:gd name="connsiteX92" fmla="*/ 549116 w 708943"/>
                <a:gd name="connsiteY92" fmla="*/ 657892 h 657914"/>
                <a:gd name="connsiteX93" fmla="*/ 569214 w 708943"/>
                <a:gd name="connsiteY93" fmla="*/ 651796 h 657914"/>
                <a:gd name="connsiteX94" fmla="*/ 577120 w 708943"/>
                <a:gd name="connsiteY94" fmla="*/ 637413 h 657914"/>
                <a:gd name="connsiteX95" fmla="*/ 589883 w 708943"/>
                <a:gd name="connsiteY95" fmla="*/ 627888 h 657914"/>
                <a:gd name="connsiteX96" fmla="*/ 599123 w 708943"/>
                <a:gd name="connsiteY96" fmla="*/ 597408 h 657914"/>
                <a:gd name="connsiteX97" fmla="*/ 605790 w 708943"/>
                <a:gd name="connsiteY97" fmla="*/ 592550 h 657914"/>
                <a:gd name="connsiteX98" fmla="*/ 623030 w 708943"/>
                <a:gd name="connsiteY98" fmla="*/ 589407 h 657914"/>
                <a:gd name="connsiteX99" fmla="*/ 628364 w 708943"/>
                <a:gd name="connsiteY99" fmla="*/ 583978 h 657914"/>
                <a:gd name="connsiteX100" fmla="*/ 623126 w 708943"/>
                <a:gd name="connsiteY100" fmla="*/ 552926 h 657914"/>
                <a:gd name="connsiteX101" fmla="*/ 601599 w 708943"/>
                <a:gd name="connsiteY101" fmla="*/ 542830 h 657914"/>
                <a:gd name="connsiteX102" fmla="*/ 592741 w 708943"/>
                <a:gd name="connsiteY102" fmla="*/ 532257 h 657914"/>
                <a:gd name="connsiteX103" fmla="*/ 595312 w 708943"/>
                <a:gd name="connsiteY103" fmla="*/ 519970 h 657914"/>
                <a:gd name="connsiteX104" fmla="*/ 598742 w 708943"/>
                <a:gd name="connsiteY104" fmla="*/ 507778 h 657914"/>
                <a:gd name="connsiteX105" fmla="*/ 623507 w 708943"/>
                <a:gd name="connsiteY105" fmla="*/ 478060 h 657914"/>
                <a:gd name="connsiteX106" fmla="*/ 630936 w 708943"/>
                <a:gd name="connsiteY106" fmla="*/ 477869 h 657914"/>
                <a:gd name="connsiteX107" fmla="*/ 639699 w 708943"/>
                <a:gd name="connsiteY107" fmla="*/ 488823 h 657914"/>
                <a:gd name="connsiteX108" fmla="*/ 681037 w 708943"/>
                <a:gd name="connsiteY108" fmla="*/ 509683 h 657914"/>
                <a:gd name="connsiteX109" fmla="*/ 686657 w 708943"/>
                <a:gd name="connsiteY109" fmla="*/ 521303 h 657914"/>
                <a:gd name="connsiteX110" fmla="*/ 705231 w 708943"/>
                <a:gd name="connsiteY110" fmla="*/ 522541 h 657914"/>
                <a:gd name="connsiteX111" fmla="*/ 700564 w 708943"/>
                <a:gd name="connsiteY111" fmla="*/ 487680 h 65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08943" h="657914">
                  <a:moveTo>
                    <a:pt x="700659" y="487966"/>
                  </a:moveTo>
                  <a:cubicBezTo>
                    <a:pt x="674465" y="469202"/>
                    <a:pt x="681895" y="466535"/>
                    <a:pt x="672179" y="463105"/>
                  </a:cubicBezTo>
                  <a:cubicBezTo>
                    <a:pt x="632746" y="449199"/>
                    <a:pt x="626269" y="437102"/>
                    <a:pt x="610267" y="431292"/>
                  </a:cubicBezTo>
                  <a:cubicBezTo>
                    <a:pt x="562546" y="414147"/>
                    <a:pt x="559975" y="414719"/>
                    <a:pt x="557308" y="407956"/>
                  </a:cubicBezTo>
                  <a:cubicBezTo>
                    <a:pt x="557212" y="407003"/>
                    <a:pt x="552736" y="400145"/>
                    <a:pt x="558641" y="396716"/>
                  </a:cubicBezTo>
                  <a:cubicBezTo>
                    <a:pt x="562642" y="393573"/>
                    <a:pt x="574453" y="390525"/>
                    <a:pt x="570262" y="383762"/>
                  </a:cubicBezTo>
                  <a:cubicBezTo>
                    <a:pt x="569309" y="382810"/>
                    <a:pt x="567214" y="376333"/>
                    <a:pt x="560260" y="376428"/>
                  </a:cubicBezTo>
                  <a:cubicBezTo>
                    <a:pt x="558927" y="376619"/>
                    <a:pt x="549688" y="375761"/>
                    <a:pt x="549211" y="379286"/>
                  </a:cubicBezTo>
                  <a:cubicBezTo>
                    <a:pt x="548640" y="382714"/>
                    <a:pt x="541306" y="382429"/>
                    <a:pt x="540449" y="379476"/>
                  </a:cubicBezTo>
                  <a:cubicBezTo>
                    <a:pt x="538925" y="373952"/>
                    <a:pt x="510540" y="380238"/>
                    <a:pt x="500539" y="372904"/>
                  </a:cubicBezTo>
                  <a:cubicBezTo>
                    <a:pt x="451294" y="336995"/>
                    <a:pt x="448437" y="336328"/>
                    <a:pt x="445865" y="329374"/>
                  </a:cubicBezTo>
                  <a:cubicBezTo>
                    <a:pt x="406717" y="224790"/>
                    <a:pt x="423196" y="267462"/>
                    <a:pt x="401002" y="250603"/>
                  </a:cubicBezTo>
                  <a:cubicBezTo>
                    <a:pt x="354997" y="215646"/>
                    <a:pt x="362902" y="230219"/>
                    <a:pt x="354425" y="220885"/>
                  </a:cubicBezTo>
                  <a:cubicBezTo>
                    <a:pt x="345758" y="211264"/>
                    <a:pt x="339566" y="206121"/>
                    <a:pt x="338804" y="198882"/>
                  </a:cubicBezTo>
                  <a:cubicBezTo>
                    <a:pt x="335851" y="172307"/>
                    <a:pt x="333184" y="164402"/>
                    <a:pt x="340233" y="166497"/>
                  </a:cubicBezTo>
                  <a:lnTo>
                    <a:pt x="342138" y="167069"/>
                  </a:lnTo>
                  <a:cubicBezTo>
                    <a:pt x="349758" y="169259"/>
                    <a:pt x="352234" y="154591"/>
                    <a:pt x="346710" y="150114"/>
                  </a:cubicBezTo>
                  <a:cubicBezTo>
                    <a:pt x="345948" y="149162"/>
                    <a:pt x="338614" y="145542"/>
                    <a:pt x="340424" y="138779"/>
                  </a:cubicBezTo>
                  <a:cubicBezTo>
                    <a:pt x="340424" y="137827"/>
                    <a:pt x="344519" y="128111"/>
                    <a:pt x="338423" y="131636"/>
                  </a:cubicBezTo>
                  <a:lnTo>
                    <a:pt x="338137" y="131826"/>
                  </a:lnTo>
                  <a:cubicBezTo>
                    <a:pt x="331946" y="135446"/>
                    <a:pt x="328803" y="128397"/>
                    <a:pt x="333851" y="123349"/>
                  </a:cubicBezTo>
                  <a:lnTo>
                    <a:pt x="345948" y="111347"/>
                  </a:lnTo>
                  <a:cubicBezTo>
                    <a:pt x="350996" y="106299"/>
                    <a:pt x="352616" y="112395"/>
                    <a:pt x="349091" y="118491"/>
                  </a:cubicBezTo>
                  <a:cubicBezTo>
                    <a:pt x="347662" y="120968"/>
                    <a:pt x="348615" y="122111"/>
                    <a:pt x="351377" y="120968"/>
                  </a:cubicBezTo>
                  <a:lnTo>
                    <a:pt x="382334" y="108109"/>
                  </a:lnTo>
                  <a:cubicBezTo>
                    <a:pt x="389763" y="105061"/>
                    <a:pt x="382334" y="99060"/>
                    <a:pt x="390144" y="99536"/>
                  </a:cubicBezTo>
                  <a:cubicBezTo>
                    <a:pt x="392049" y="99822"/>
                    <a:pt x="401955" y="99346"/>
                    <a:pt x="402145" y="102965"/>
                  </a:cubicBezTo>
                  <a:cubicBezTo>
                    <a:pt x="402241" y="105728"/>
                    <a:pt x="408908" y="103441"/>
                    <a:pt x="407956" y="103632"/>
                  </a:cubicBezTo>
                  <a:cubicBezTo>
                    <a:pt x="412909" y="101918"/>
                    <a:pt x="412051" y="98679"/>
                    <a:pt x="413004" y="97155"/>
                  </a:cubicBezTo>
                  <a:lnTo>
                    <a:pt x="419671" y="70580"/>
                  </a:lnTo>
                  <a:lnTo>
                    <a:pt x="401384" y="61817"/>
                  </a:lnTo>
                  <a:lnTo>
                    <a:pt x="422053" y="42005"/>
                  </a:lnTo>
                  <a:lnTo>
                    <a:pt x="341852" y="26956"/>
                  </a:lnTo>
                  <a:lnTo>
                    <a:pt x="329184" y="0"/>
                  </a:lnTo>
                  <a:lnTo>
                    <a:pt x="271272" y="5524"/>
                  </a:lnTo>
                  <a:lnTo>
                    <a:pt x="260128" y="23813"/>
                  </a:lnTo>
                  <a:lnTo>
                    <a:pt x="236982" y="13430"/>
                  </a:lnTo>
                  <a:lnTo>
                    <a:pt x="226981" y="39433"/>
                  </a:lnTo>
                  <a:lnTo>
                    <a:pt x="205264" y="36386"/>
                  </a:lnTo>
                  <a:lnTo>
                    <a:pt x="206216" y="63913"/>
                  </a:lnTo>
                  <a:lnTo>
                    <a:pt x="189357" y="63055"/>
                  </a:lnTo>
                  <a:lnTo>
                    <a:pt x="167450" y="43339"/>
                  </a:lnTo>
                  <a:lnTo>
                    <a:pt x="156591" y="45053"/>
                  </a:lnTo>
                  <a:lnTo>
                    <a:pt x="145733" y="91154"/>
                  </a:lnTo>
                  <a:lnTo>
                    <a:pt x="127254" y="96012"/>
                  </a:lnTo>
                  <a:lnTo>
                    <a:pt x="101155" y="48196"/>
                  </a:lnTo>
                  <a:lnTo>
                    <a:pt x="85249" y="61531"/>
                  </a:lnTo>
                  <a:lnTo>
                    <a:pt x="70485" y="87154"/>
                  </a:lnTo>
                  <a:lnTo>
                    <a:pt x="19717" y="86201"/>
                  </a:lnTo>
                  <a:lnTo>
                    <a:pt x="8858" y="101155"/>
                  </a:lnTo>
                  <a:lnTo>
                    <a:pt x="24479" y="133160"/>
                  </a:lnTo>
                  <a:lnTo>
                    <a:pt x="0" y="148114"/>
                  </a:lnTo>
                  <a:lnTo>
                    <a:pt x="19050" y="175355"/>
                  </a:lnTo>
                  <a:lnTo>
                    <a:pt x="13621" y="204597"/>
                  </a:lnTo>
                  <a:lnTo>
                    <a:pt x="55817" y="213455"/>
                  </a:lnTo>
                  <a:lnTo>
                    <a:pt x="44005" y="244316"/>
                  </a:lnTo>
                  <a:cubicBezTo>
                    <a:pt x="59436" y="236696"/>
                    <a:pt x="85725" y="234982"/>
                    <a:pt x="90583" y="225266"/>
                  </a:cubicBezTo>
                  <a:lnTo>
                    <a:pt x="94107" y="218218"/>
                  </a:lnTo>
                  <a:cubicBezTo>
                    <a:pt x="97536" y="211264"/>
                    <a:pt x="104870" y="212407"/>
                    <a:pt x="110300" y="206502"/>
                  </a:cubicBezTo>
                  <a:cubicBezTo>
                    <a:pt x="114967" y="202502"/>
                    <a:pt x="119443" y="192977"/>
                    <a:pt x="127254" y="195358"/>
                  </a:cubicBezTo>
                  <a:cubicBezTo>
                    <a:pt x="142494" y="199835"/>
                    <a:pt x="151924" y="202025"/>
                    <a:pt x="158496" y="206121"/>
                  </a:cubicBezTo>
                  <a:cubicBezTo>
                    <a:pt x="181451" y="220313"/>
                    <a:pt x="188976" y="226695"/>
                    <a:pt x="189928" y="221647"/>
                  </a:cubicBezTo>
                  <a:cubicBezTo>
                    <a:pt x="191071" y="215837"/>
                    <a:pt x="210407" y="226314"/>
                    <a:pt x="211741" y="233648"/>
                  </a:cubicBezTo>
                  <a:lnTo>
                    <a:pt x="214693" y="249936"/>
                  </a:lnTo>
                  <a:cubicBezTo>
                    <a:pt x="216217" y="258318"/>
                    <a:pt x="230600" y="281464"/>
                    <a:pt x="230029" y="280511"/>
                  </a:cubicBezTo>
                  <a:cubicBezTo>
                    <a:pt x="233743" y="286988"/>
                    <a:pt x="229838" y="297942"/>
                    <a:pt x="229934" y="296989"/>
                  </a:cubicBezTo>
                  <a:cubicBezTo>
                    <a:pt x="228219" y="304229"/>
                    <a:pt x="241268" y="303752"/>
                    <a:pt x="240316" y="303466"/>
                  </a:cubicBezTo>
                  <a:cubicBezTo>
                    <a:pt x="248031" y="304229"/>
                    <a:pt x="242697" y="310420"/>
                    <a:pt x="248984" y="315468"/>
                  </a:cubicBezTo>
                  <a:cubicBezTo>
                    <a:pt x="264795" y="328327"/>
                    <a:pt x="268891" y="330327"/>
                    <a:pt x="269176" y="337090"/>
                  </a:cubicBezTo>
                  <a:cubicBezTo>
                    <a:pt x="269462" y="344233"/>
                    <a:pt x="273939" y="340043"/>
                    <a:pt x="281559" y="343186"/>
                  </a:cubicBezTo>
                  <a:cubicBezTo>
                    <a:pt x="314325" y="356902"/>
                    <a:pt x="295466" y="353187"/>
                    <a:pt x="310896" y="367951"/>
                  </a:cubicBezTo>
                  <a:lnTo>
                    <a:pt x="352711" y="407765"/>
                  </a:lnTo>
                  <a:cubicBezTo>
                    <a:pt x="358616" y="413385"/>
                    <a:pt x="373380" y="415957"/>
                    <a:pt x="372427" y="415671"/>
                  </a:cubicBezTo>
                  <a:cubicBezTo>
                    <a:pt x="378238" y="417195"/>
                    <a:pt x="382334" y="423767"/>
                    <a:pt x="381476" y="422815"/>
                  </a:cubicBezTo>
                  <a:cubicBezTo>
                    <a:pt x="383095" y="425291"/>
                    <a:pt x="386810" y="427101"/>
                    <a:pt x="389858" y="426911"/>
                  </a:cubicBezTo>
                  <a:lnTo>
                    <a:pt x="402145" y="425863"/>
                  </a:lnTo>
                  <a:cubicBezTo>
                    <a:pt x="410051" y="425196"/>
                    <a:pt x="411385" y="431482"/>
                    <a:pt x="418433" y="428339"/>
                  </a:cubicBezTo>
                  <a:cubicBezTo>
                    <a:pt x="419386" y="428339"/>
                    <a:pt x="423577" y="426434"/>
                    <a:pt x="426339" y="430721"/>
                  </a:cubicBezTo>
                  <a:cubicBezTo>
                    <a:pt x="440531" y="453295"/>
                    <a:pt x="441865" y="457676"/>
                    <a:pt x="448627" y="457010"/>
                  </a:cubicBezTo>
                  <a:cubicBezTo>
                    <a:pt x="450628" y="457010"/>
                    <a:pt x="458629" y="454914"/>
                    <a:pt x="463486" y="458724"/>
                  </a:cubicBezTo>
                  <a:cubicBezTo>
                    <a:pt x="467392" y="461772"/>
                    <a:pt x="463296" y="468154"/>
                    <a:pt x="463486" y="467201"/>
                  </a:cubicBezTo>
                  <a:cubicBezTo>
                    <a:pt x="457105" y="477583"/>
                    <a:pt x="484060" y="462058"/>
                    <a:pt x="490157" y="471583"/>
                  </a:cubicBezTo>
                  <a:cubicBezTo>
                    <a:pt x="492538" y="476250"/>
                    <a:pt x="499300" y="482632"/>
                    <a:pt x="497681" y="490538"/>
                  </a:cubicBezTo>
                  <a:cubicBezTo>
                    <a:pt x="497776" y="491490"/>
                    <a:pt x="496062" y="496538"/>
                    <a:pt x="501015" y="499586"/>
                  </a:cubicBezTo>
                  <a:cubicBezTo>
                    <a:pt x="519112" y="510921"/>
                    <a:pt x="522446" y="514160"/>
                    <a:pt x="529018" y="512350"/>
                  </a:cubicBezTo>
                  <a:cubicBezTo>
                    <a:pt x="530447" y="512350"/>
                    <a:pt x="537972" y="508349"/>
                    <a:pt x="540353" y="514826"/>
                  </a:cubicBezTo>
                  <a:cubicBezTo>
                    <a:pt x="560070" y="568071"/>
                    <a:pt x="560832" y="550355"/>
                    <a:pt x="562737" y="562737"/>
                  </a:cubicBezTo>
                  <a:cubicBezTo>
                    <a:pt x="564261" y="573024"/>
                    <a:pt x="564547" y="582263"/>
                    <a:pt x="569214" y="588264"/>
                  </a:cubicBezTo>
                  <a:cubicBezTo>
                    <a:pt x="569690" y="589216"/>
                    <a:pt x="573595" y="592931"/>
                    <a:pt x="571786" y="598075"/>
                  </a:cubicBezTo>
                  <a:cubicBezTo>
                    <a:pt x="569309" y="605123"/>
                    <a:pt x="553688" y="608171"/>
                    <a:pt x="554736" y="607695"/>
                  </a:cubicBezTo>
                  <a:cubicBezTo>
                    <a:pt x="547402" y="610076"/>
                    <a:pt x="556736" y="615315"/>
                    <a:pt x="553212" y="622554"/>
                  </a:cubicBezTo>
                  <a:cubicBezTo>
                    <a:pt x="545306" y="639318"/>
                    <a:pt x="539686" y="637794"/>
                    <a:pt x="541115" y="645319"/>
                  </a:cubicBezTo>
                  <a:cubicBezTo>
                    <a:pt x="542163" y="647986"/>
                    <a:pt x="541401" y="658463"/>
                    <a:pt x="549116" y="657892"/>
                  </a:cubicBezTo>
                  <a:cubicBezTo>
                    <a:pt x="555308" y="656749"/>
                    <a:pt x="565309" y="659035"/>
                    <a:pt x="569214" y="651796"/>
                  </a:cubicBezTo>
                  <a:lnTo>
                    <a:pt x="577120" y="637413"/>
                  </a:lnTo>
                  <a:cubicBezTo>
                    <a:pt x="580644" y="631031"/>
                    <a:pt x="590836" y="627316"/>
                    <a:pt x="589883" y="627888"/>
                  </a:cubicBezTo>
                  <a:cubicBezTo>
                    <a:pt x="600266" y="622935"/>
                    <a:pt x="589312" y="604456"/>
                    <a:pt x="599123" y="597408"/>
                  </a:cubicBezTo>
                  <a:lnTo>
                    <a:pt x="605790" y="592550"/>
                  </a:lnTo>
                  <a:cubicBezTo>
                    <a:pt x="611981" y="588169"/>
                    <a:pt x="623983" y="589312"/>
                    <a:pt x="623030" y="589407"/>
                  </a:cubicBezTo>
                  <a:cubicBezTo>
                    <a:pt x="625983" y="589407"/>
                    <a:pt x="628364" y="587026"/>
                    <a:pt x="628364" y="583978"/>
                  </a:cubicBezTo>
                  <a:cubicBezTo>
                    <a:pt x="628078" y="560737"/>
                    <a:pt x="629412" y="555879"/>
                    <a:pt x="623126" y="552926"/>
                  </a:cubicBezTo>
                  <a:lnTo>
                    <a:pt x="601599" y="542830"/>
                  </a:lnTo>
                  <a:cubicBezTo>
                    <a:pt x="595598" y="539972"/>
                    <a:pt x="592074" y="531305"/>
                    <a:pt x="592741" y="532257"/>
                  </a:cubicBezTo>
                  <a:cubicBezTo>
                    <a:pt x="589883" y="526256"/>
                    <a:pt x="595693" y="519017"/>
                    <a:pt x="595312" y="519970"/>
                  </a:cubicBezTo>
                  <a:cubicBezTo>
                    <a:pt x="598742" y="514826"/>
                    <a:pt x="598932" y="506825"/>
                    <a:pt x="598742" y="507778"/>
                  </a:cubicBezTo>
                  <a:cubicBezTo>
                    <a:pt x="599218" y="499015"/>
                    <a:pt x="615315" y="478250"/>
                    <a:pt x="623507" y="478060"/>
                  </a:cubicBezTo>
                  <a:lnTo>
                    <a:pt x="630936" y="477869"/>
                  </a:lnTo>
                  <a:cubicBezTo>
                    <a:pt x="639032" y="477679"/>
                    <a:pt x="631698" y="487680"/>
                    <a:pt x="639699" y="488823"/>
                  </a:cubicBezTo>
                  <a:cubicBezTo>
                    <a:pt x="658749" y="491585"/>
                    <a:pt x="680085" y="490538"/>
                    <a:pt x="681037" y="509683"/>
                  </a:cubicBezTo>
                  <a:cubicBezTo>
                    <a:pt x="681418" y="511016"/>
                    <a:pt x="680085" y="518827"/>
                    <a:pt x="686657" y="521303"/>
                  </a:cubicBezTo>
                  <a:cubicBezTo>
                    <a:pt x="692944" y="522732"/>
                    <a:pt x="703040" y="530543"/>
                    <a:pt x="705231" y="522541"/>
                  </a:cubicBezTo>
                  <a:cubicBezTo>
                    <a:pt x="707136" y="515779"/>
                    <a:pt x="714661" y="497777"/>
                    <a:pt x="700564" y="487680"/>
                  </a:cubicBezTo>
                  <a:close/>
                </a:path>
              </a:pathLst>
            </a:custGeom>
            <a:solidFill>
              <a:schemeClr val="bg1">
                <a:lumMod val="95000"/>
              </a:schemeClr>
            </a:solidFill>
            <a:ln w="9525" cap="flat">
              <a:noFill/>
              <a:prstDash val="solid"/>
              <a:miter/>
            </a:ln>
          </p:spPr>
          <p:txBody>
            <a:bodyPr rtlCol="0" anchor="ctr"/>
            <a:lstStyle/>
            <a:p>
              <a:endParaRPr lang="en-IN"/>
            </a:p>
          </p:txBody>
        </p:sp>
      </p:grpSp>
      <p:sp>
        <p:nvSpPr>
          <p:cNvPr id="336" name="Freeform: Shape 335">
            <a:extLst>
              <a:ext uri="{FF2B5EF4-FFF2-40B4-BE49-F238E27FC236}">
                <a16:creationId xmlns:a16="http://schemas.microsoft.com/office/drawing/2014/main" id="{39AF4EB3-575B-366F-7723-1F4D6A5BF8DE}"/>
              </a:ext>
            </a:extLst>
          </p:cNvPr>
          <p:cNvSpPr/>
          <p:nvPr/>
        </p:nvSpPr>
        <p:spPr>
          <a:xfrm>
            <a:off x="4964131" y="1730147"/>
            <a:ext cx="274776" cy="241508"/>
          </a:xfrm>
          <a:custGeom>
            <a:avLst/>
            <a:gdLst>
              <a:gd name="connsiteX0" fmla="*/ 23792 w 274776"/>
              <a:gd name="connsiteY0" fmla="*/ 15907 h 241508"/>
              <a:gd name="connsiteX1" fmla="*/ 26174 w 274776"/>
              <a:gd name="connsiteY1" fmla="*/ 25908 h 241508"/>
              <a:gd name="connsiteX2" fmla="*/ 29698 w 274776"/>
              <a:gd name="connsiteY2" fmla="*/ 39910 h 241508"/>
              <a:gd name="connsiteX3" fmla="*/ 20078 w 274776"/>
              <a:gd name="connsiteY3" fmla="*/ 46006 h 241508"/>
              <a:gd name="connsiteX4" fmla="*/ 38651 w 274776"/>
              <a:gd name="connsiteY4" fmla="*/ 50292 h 241508"/>
              <a:gd name="connsiteX5" fmla="*/ 55415 w 274776"/>
              <a:gd name="connsiteY5" fmla="*/ 52864 h 241508"/>
              <a:gd name="connsiteX6" fmla="*/ 56368 w 274776"/>
              <a:gd name="connsiteY6" fmla="*/ 54959 h 241508"/>
              <a:gd name="connsiteX7" fmla="*/ 30555 w 274776"/>
              <a:gd name="connsiteY7" fmla="*/ 67913 h 241508"/>
              <a:gd name="connsiteX8" fmla="*/ 25221 w 274776"/>
              <a:gd name="connsiteY8" fmla="*/ 82391 h 241508"/>
              <a:gd name="connsiteX9" fmla="*/ 57701 w 274776"/>
              <a:gd name="connsiteY9" fmla="*/ 97441 h 241508"/>
              <a:gd name="connsiteX10" fmla="*/ 85895 w 274776"/>
              <a:gd name="connsiteY10" fmla="*/ 94583 h 241508"/>
              <a:gd name="connsiteX11" fmla="*/ 93039 w 274776"/>
              <a:gd name="connsiteY11" fmla="*/ 100679 h 241508"/>
              <a:gd name="connsiteX12" fmla="*/ 64750 w 274776"/>
              <a:gd name="connsiteY12" fmla="*/ 115729 h 241508"/>
              <a:gd name="connsiteX13" fmla="*/ 60559 w 274776"/>
              <a:gd name="connsiteY13" fmla="*/ 127063 h 241508"/>
              <a:gd name="connsiteX14" fmla="*/ 38651 w 274776"/>
              <a:gd name="connsiteY14" fmla="*/ 149352 h 241508"/>
              <a:gd name="connsiteX15" fmla="*/ 51129 w 274776"/>
              <a:gd name="connsiteY15" fmla="*/ 155162 h 241508"/>
              <a:gd name="connsiteX16" fmla="*/ 44081 w 274776"/>
              <a:gd name="connsiteY16" fmla="*/ 162973 h 241508"/>
              <a:gd name="connsiteX17" fmla="*/ 35127 w 274776"/>
              <a:gd name="connsiteY17" fmla="*/ 175070 h 241508"/>
              <a:gd name="connsiteX18" fmla="*/ 5409 w 274776"/>
              <a:gd name="connsiteY18" fmla="*/ 176022 h 241508"/>
              <a:gd name="connsiteX19" fmla="*/ 3028 w 274776"/>
              <a:gd name="connsiteY19" fmla="*/ 186023 h 241508"/>
              <a:gd name="connsiteX20" fmla="*/ 29793 w 274776"/>
              <a:gd name="connsiteY20" fmla="*/ 189262 h 241508"/>
              <a:gd name="connsiteX21" fmla="*/ 13029 w 274776"/>
              <a:gd name="connsiteY21" fmla="*/ 207550 h 241508"/>
              <a:gd name="connsiteX22" fmla="*/ 27412 w 274776"/>
              <a:gd name="connsiteY22" fmla="*/ 209264 h 241508"/>
              <a:gd name="connsiteX23" fmla="*/ 42366 w 274776"/>
              <a:gd name="connsiteY23" fmla="*/ 205550 h 241508"/>
              <a:gd name="connsiteX24" fmla="*/ 45128 w 274776"/>
              <a:gd name="connsiteY24" fmla="*/ 213074 h 241508"/>
              <a:gd name="connsiteX25" fmla="*/ 17982 w 274776"/>
              <a:gd name="connsiteY25" fmla="*/ 228695 h 241508"/>
              <a:gd name="connsiteX26" fmla="*/ 52939 w 274776"/>
              <a:gd name="connsiteY26" fmla="*/ 225171 h 241508"/>
              <a:gd name="connsiteX27" fmla="*/ 39032 w 274776"/>
              <a:gd name="connsiteY27" fmla="*/ 236601 h 241508"/>
              <a:gd name="connsiteX28" fmla="*/ 108946 w 274776"/>
              <a:gd name="connsiteY28" fmla="*/ 227171 h 241508"/>
              <a:gd name="connsiteX29" fmla="*/ 136854 w 274776"/>
              <a:gd name="connsiteY29" fmla="*/ 207550 h 241508"/>
              <a:gd name="connsiteX30" fmla="*/ 170096 w 274776"/>
              <a:gd name="connsiteY30" fmla="*/ 197834 h 241508"/>
              <a:gd name="connsiteX31" fmla="*/ 172001 w 274776"/>
              <a:gd name="connsiteY31" fmla="*/ 189357 h 241508"/>
              <a:gd name="connsiteX32" fmla="*/ 175049 w 274776"/>
              <a:gd name="connsiteY32" fmla="*/ 183737 h 241508"/>
              <a:gd name="connsiteX33" fmla="*/ 224865 w 274776"/>
              <a:gd name="connsiteY33" fmla="*/ 179070 h 241508"/>
              <a:gd name="connsiteX34" fmla="*/ 249535 w 274776"/>
              <a:gd name="connsiteY34" fmla="*/ 182499 h 241508"/>
              <a:gd name="connsiteX35" fmla="*/ 247820 w 274776"/>
              <a:gd name="connsiteY35" fmla="*/ 172688 h 241508"/>
              <a:gd name="connsiteX36" fmla="*/ 267061 w 274776"/>
              <a:gd name="connsiteY36" fmla="*/ 120396 h 241508"/>
              <a:gd name="connsiteX37" fmla="*/ 259441 w 274776"/>
              <a:gd name="connsiteY37" fmla="*/ 97536 h 241508"/>
              <a:gd name="connsiteX38" fmla="*/ 259250 w 274776"/>
              <a:gd name="connsiteY38" fmla="*/ 97346 h 241508"/>
              <a:gd name="connsiteX39" fmla="*/ 262489 w 274776"/>
              <a:gd name="connsiteY39" fmla="*/ 73914 h 241508"/>
              <a:gd name="connsiteX40" fmla="*/ 249345 w 274776"/>
              <a:gd name="connsiteY40" fmla="*/ 56197 h 241508"/>
              <a:gd name="connsiteX41" fmla="*/ 246963 w 274776"/>
              <a:gd name="connsiteY41" fmla="*/ 47720 h 241508"/>
              <a:gd name="connsiteX42" fmla="*/ 269156 w 274776"/>
              <a:gd name="connsiteY42" fmla="*/ 39053 h 241508"/>
              <a:gd name="connsiteX43" fmla="*/ 272585 w 274776"/>
              <a:gd name="connsiteY43" fmla="*/ 33814 h 241508"/>
              <a:gd name="connsiteX44" fmla="*/ 274776 w 274776"/>
              <a:gd name="connsiteY44" fmla="*/ 29051 h 241508"/>
              <a:gd name="connsiteX45" fmla="*/ 230675 w 274776"/>
              <a:gd name="connsiteY45" fmla="*/ 27051 h 241508"/>
              <a:gd name="connsiteX46" fmla="*/ 213721 w 274776"/>
              <a:gd name="connsiteY46" fmla="*/ 4381 h 241508"/>
              <a:gd name="connsiteX47" fmla="*/ 198576 w 274776"/>
              <a:gd name="connsiteY47" fmla="*/ 10954 h 241508"/>
              <a:gd name="connsiteX48" fmla="*/ 191147 w 274776"/>
              <a:gd name="connsiteY48" fmla="*/ 26861 h 241508"/>
              <a:gd name="connsiteX49" fmla="*/ 159333 w 274776"/>
              <a:gd name="connsiteY49" fmla="*/ 23051 h 241508"/>
              <a:gd name="connsiteX50" fmla="*/ 131044 w 274776"/>
              <a:gd name="connsiteY50" fmla="*/ 0 h 241508"/>
              <a:gd name="connsiteX51" fmla="*/ 99230 w 274776"/>
              <a:gd name="connsiteY51" fmla="*/ 15812 h 241508"/>
              <a:gd name="connsiteX52" fmla="*/ 23602 w 274776"/>
              <a:gd name="connsiteY52" fmla="*/ 15812 h 24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74776" h="241508">
                <a:moveTo>
                  <a:pt x="23792" y="15907"/>
                </a:moveTo>
                <a:cubicBezTo>
                  <a:pt x="23792" y="16859"/>
                  <a:pt x="20363" y="22860"/>
                  <a:pt x="26174" y="25908"/>
                </a:cubicBezTo>
                <a:cubicBezTo>
                  <a:pt x="27031" y="26861"/>
                  <a:pt x="49700" y="34385"/>
                  <a:pt x="29698" y="39910"/>
                </a:cubicBezTo>
                <a:cubicBezTo>
                  <a:pt x="26364" y="41243"/>
                  <a:pt x="12648" y="43053"/>
                  <a:pt x="20078" y="46006"/>
                </a:cubicBezTo>
                <a:cubicBezTo>
                  <a:pt x="26364" y="48482"/>
                  <a:pt x="31984" y="51435"/>
                  <a:pt x="38651" y="50292"/>
                </a:cubicBezTo>
                <a:cubicBezTo>
                  <a:pt x="42271" y="50292"/>
                  <a:pt x="52272" y="46006"/>
                  <a:pt x="55415" y="52864"/>
                </a:cubicBezTo>
                <a:lnTo>
                  <a:pt x="56368" y="54959"/>
                </a:lnTo>
                <a:cubicBezTo>
                  <a:pt x="61035" y="64961"/>
                  <a:pt x="38937" y="58007"/>
                  <a:pt x="30555" y="67913"/>
                </a:cubicBezTo>
                <a:cubicBezTo>
                  <a:pt x="28364" y="71438"/>
                  <a:pt x="18363" y="78391"/>
                  <a:pt x="25221" y="82391"/>
                </a:cubicBezTo>
                <a:cubicBezTo>
                  <a:pt x="46462" y="94679"/>
                  <a:pt x="50558" y="98108"/>
                  <a:pt x="57701" y="97441"/>
                </a:cubicBezTo>
                <a:lnTo>
                  <a:pt x="85895" y="94583"/>
                </a:lnTo>
                <a:cubicBezTo>
                  <a:pt x="91801" y="94012"/>
                  <a:pt x="93706" y="101632"/>
                  <a:pt x="93039" y="100679"/>
                </a:cubicBezTo>
                <a:cubicBezTo>
                  <a:pt x="96087" y="112014"/>
                  <a:pt x="69131" y="104108"/>
                  <a:pt x="64750" y="115729"/>
                </a:cubicBezTo>
                <a:lnTo>
                  <a:pt x="60559" y="127063"/>
                </a:lnTo>
                <a:cubicBezTo>
                  <a:pt x="56558" y="137922"/>
                  <a:pt x="27317" y="148114"/>
                  <a:pt x="38651" y="149352"/>
                </a:cubicBezTo>
                <a:cubicBezTo>
                  <a:pt x="42557" y="150304"/>
                  <a:pt x="56463" y="149162"/>
                  <a:pt x="51129" y="155162"/>
                </a:cubicBezTo>
                <a:lnTo>
                  <a:pt x="44081" y="162973"/>
                </a:lnTo>
                <a:cubicBezTo>
                  <a:pt x="38461" y="169259"/>
                  <a:pt x="42557" y="176022"/>
                  <a:pt x="35127" y="175070"/>
                </a:cubicBezTo>
                <a:cubicBezTo>
                  <a:pt x="14648" y="172498"/>
                  <a:pt x="9600" y="170688"/>
                  <a:pt x="5409" y="176022"/>
                </a:cubicBezTo>
                <a:cubicBezTo>
                  <a:pt x="4457" y="177832"/>
                  <a:pt x="-4592" y="186023"/>
                  <a:pt x="3028" y="186023"/>
                </a:cubicBezTo>
                <a:cubicBezTo>
                  <a:pt x="19411" y="186880"/>
                  <a:pt x="37127" y="183833"/>
                  <a:pt x="29793" y="189262"/>
                </a:cubicBezTo>
                <a:cubicBezTo>
                  <a:pt x="14744" y="200596"/>
                  <a:pt x="6171" y="205264"/>
                  <a:pt x="13029" y="207550"/>
                </a:cubicBezTo>
                <a:cubicBezTo>
                  <a:pt x="13982" y="207740"/>
                  <a:pt x="20744" y="210979"/>
                  <a:pt x="27412" y="209264"/>
                </a:cubicBezTo>
                <a:lnTo>
                  <a:pt x="42366" y="205550"/>
                </a:lnTo>
                <a:cubicBezTo>
                  <a:pt x="49224" y="203835"/>
                  <a:pt x="51510" y="209836"/>
                  <a:pt x="45128" y="213074"/>
                </a:cubicBezTo>
                <a:cubicBezTo>
                  <a:pt x="20554" y="225647"/>
                  <a:pt x="10457" y="230029"/>
                  <a:pt x="17982" y="228695"/>
                </a:cubicBezTo>
                <a:cubicBezTo>
                  <a:pt x="48843" y="223171"/>
                  <a:pt x="58749" y="220313"/>
                  <a:pt x="52939" y="225171"/>
                </a:cubicBezTo>
                <a:lnTo>
                  <a:pt x="39032" y="236601"/>
                </a:lnTo>
                <a:cubicBezTo>
                  <a:pt x="24554" y="248507"/>
                  <a:pt x="97706" y="236125"/>
                  <a:pt x="108946" y="227171"/>
                </a:cubicBezTo>
                <a:cubicBezTo>
                  <a:pt x="122852" y="216122"/>
                  <a:pt x="129520" y="209741"/>
                  <a:pt x="136854" y="207550"/>
                </a:cubicBezTo>
                <a:lnTo>
                  <a:pt x="170096" y="197834"/>
                </a:lnTo>
                <a:cubicBezTo>
                  <a:pt x="176192" y="196025"/>
                  <a:pt x="171906" y="188404"/>
                  <a:pt x="172001" y="189357"/>
                </a:cubicBezTo>
                <a:cubicBezTo>
                  <a:pt x="170763" y="186690"/>
                  <a:pt x="172097" y="184118"/>
                  <a:pt x="175049" y="183737"/>
                </a:cubicBezTo>
                <a:cubicBezTo>
                  <a:pt x="209054" y="178879"/>
                  <a:pt x="217436" y="176594"/>
                  <a:pt x="224865" y="179070"/>
                </a:cubicBezTo>
                <a:cubicBezTo>
                  <a:pt x="234771" y="181451"/>
                  <a:pt x="243820" y="188214"/>
                  <a:pt x="249535" y="182499"/>
                </a:cubicBezTo>
                <a:cubicBezTo>
                  <a:pt x="253726" y="178308"/>
                  <a:pt x="247439" y="171736"/>
                  <a:pt x="247820" y="172688"/>
                </a:cubicBezTo>
                <a:cubicBezTo>
                  <a:pt x="239248" y="162496"/>
                  <a:pt x="269633" y="135731"/>
                  <a:pt x="267061" y="120396"/>
                </a:cubicBezTo>
                <a:cubicBezTo>
                  <a:pt x="265156" y="108966"/>
                  <a:pt x="265156" y="101727"/>
                  <a:pt x="259441" y="97536"/>
                </a:cubicBezTo>
                <a:lnTo>
                  <a:pt x="259250" y="97346"/>
                </a:lnTo>
                <a:cubicBezTo>
                  <a:pt x="250773" y="91059"/>
                  <a:pt x="267728" y="83725"/>
                  <a:pt x="262489" y="73914"/>
                </a:cubicBezTo>
                <a:cubicBezTo>
                  <a:pt x="256964" y="63532"/>
                  <a:pt x="255059" y="58674"/>
                  <a:pt x="249345" y="56197"/>
                </a:cubicBezTo>
                <a:cubicBezTo>
                  <a:pt x="244106" y="53912"/>
                  <a:pt x="247058" y="46768"/>
                  <a:pt x="246963" y="47720"/>
                </a:cubicBezTo>
                <a:cubicBezTo>
                  <a:pt x="250773" y="37814"/>
                  <a:pt x="263251" y="48101"/>
                  <a:pt x="269156" y="39053"/>
                </a:cubicBezTo>
                <a:lnTo>
                  <a:pt x="272585" y="33814"/>
                </a:lnTo>
                <a:cubicBezTo>
                  <a:pt x="273538" y="32385"/>
                  <a:pt x="274300" y="30671"/>
                  <a:pt x="274776" y="29051"/>
                </a:cubicBezTo>
                <a:lnTo>
                  <a:pt x="230675" y="27051"/>
                </a:lnTo>
                <a:lnTo>
                  <a:pt x="213721" y="4381"/>
                </a:lnTo>
                <a:lnTo>
                  <a:pt x="198576" y="10954"/>
                </a:lnTo>
                <a:lnTo>
                  <a:pt x="191147" y="26861"/>
                </a:lnTo>
                <a:lnTo>
                  <a:pt x="159333" y="23051"/>
                </a:lnTo>
                <a:lnTo>
                  <a:pt x="131044" y="0"/>
                </a:lnTo>
                <a:cubicBezTo>
                  <a:pt x="123043" y="7525"/>
                  <a:pt x="105898" y="16288"/>
                  <a:pt x="99230" y="15812"/>
                </a:cubicBezTo>
                <a:cubicBezTo>
                  <a:pt x="29222" y="10859"/>
                  <a:pt x="25888" y="8668"/>
                  <a:pt x="23602" y="15812"/>
                </a:cubicBezTo>
                <a:close/>
              </a:path>
            </a:pathLst>
          </a:custGeom>
          <a:solidFill>
            <a:schemeClr val="bg1">
              <a:lumMod val="95000"/>
            </a:schemeClr>
          </a:solidFill>
          <a:ln w="9525" cap="flat">
            <a:noFill/>
            <a:prstDash val="solid"/>
            <a:miter/>
          </a:ln>
        </p:spPr>
        <p:txBody>
          <a:bodyPr rtlCol="0" anchor="ctr"/>
          <a:lstStyle/>
          <a:p>
            <a:endParaRPr lang="en-IN"/>
          </a:p>
        </p:txBody>
      </p:sp>
      <p:sp>
        <p:nvSpPr>
          <p:cNvPr id="337" name="Freeform: Shape 336">
            <a:extLst>
              <a:ext uri="{FF2B5EF4-FFF2-40B4-BE49-F238E27FC236}">
                <a16:creationId xmlns:a16="http://schemas.microsoft.com/office/drawing/2014/main" id="{626E0D86-E8EC-D5AA-0EF4-73E0CAB91EEF}"/>
              </a:ext>
            </a:extLst>
          </p:cNvPr>
          <p:cNvSpPr/>
          <p:nvPr/>
        </p:nvSpPr>
        <p:spPr>
          <a:xfrm>
            <a:off x="6570502" y="2197444"/>
            <a:ext cx="397668" cy="215741"/>
          </a:xfrm>
          <a:custGeom>
            <a:avLst/>
            <a:gdLst>
              <a:gd name="connsiteX0" fmla="*/ 310801 w 397668"/>
              <a:gd name="connsiteY0" fmla="*/ 0 h 215741"/>
              <a:gd name="connsiteX1" fmla="*/ 287464 w 397668"/>
              <a:gd name="connsiteY1" fmla="*/ 7525 h 215741"/>
              <a:gd name="connsiteX2" fmla="*/ 254794 w 397668"/>
              <a:gd name="connsiteY2" fmla="*/ 5048 h 215741"/>
              <a:gd name="connsiteX3" fmla="*/ 235934 w 397668"/>
              <a:gd name="connsiteY3" fmla="*/ 32671 h 215741"/>
              <a:gd name="connsiteX4" fmla="*/ 201359 w 397668"/>
              <a:gd name="connsiteY4" fmla="*/ 26384 h 215741"/>
              <a:gd name="connsiteX5" fmla="*/ 188786 w 397668"/>
              <a:gd name="connsiteY5" fmla="*/ 40196 h 215741"/>
              <a:gd name="connsiteX6" fmla="*/ 156782 w 397668"/>
              <a:gd name="connsiteY6" fmla="*/ 42767 h 215741"/>
              <a:gd name="connsiteX7" fmla="*/ 146113 w 397668"/>
              <a:gd name="connsiteY7" fmla="*/ 64103 h 215741"/>
              <a:gd name="connsiteX8" fmla="*/ 96393 w 397668"/>
              <a:gd name="connsiteY8" fmla="*/ 66580 h 215741"/>
              <a:gd name="connsiteX9" fmla="*/ 53340 w 397668"/>
              <a:gd name="connsiteY9" fmla="*/ 44291 h 215741"/>
              <a:gd name="connsiteX10" fmla="*/ 47054 w 397668"/>
              <a:gd name="connsiteY10" fmla="*/ 70485 h 215741"/>
              <a:gd name="connsiteX11" fmla="*/ 16859 w 397668"/>
              <a:gd name="connsiteY11" fmla="*/ 62960 h 215741"/>
              <a:gd name="connsiteX12" fmla="*/ 9335 w 397668"/>
              <a:gd name="connsiteY12" fmla="*/ 76010 h 215741"/>
              <a:gd name="connsiteX13" fmla="*/ 27527 w 397668"/>
              <a:gd name="connsiteY13" fmla="*/ 82772 h 215741"/>
              <a:gd name="connsiteX14" fmla="*/ 23622 w 397668"/>
              <a:gd name="connsiteY14" fmla="*/ 95441 h 215741"/>
              <a:gd name="connsiteX15" fmla="*/ 11335 w 397668"/>
              <a:gd name="connsiteY15" fmla="*/ 96679 h 215741"/>
              <a:gd name="connsiteX16" fmla="*/ 15240 w 397668"/>
              <a:gd name="connsiteY16" fmla="*/ 121634 h 215741"/>
              <a:gd name="connsiteX17" fmla="*/ 0 w 397668"/>
              <a:gd name="connsiteY17" fmla="*/ 125540 h 215741"/>
              <a:gd name="connsiteX18" fmla="*/ 571 w 397668"/>
              <a:gd name="connsiteY18" fmla="*/ 125825 h 215741"/>
              <a:gd name="connsiteX19" fmla="*/ 21431 w 397668"/>
              <a:gd name="connsiteY19" fmla="*/ 162116 h 215741"/>
              <a:gd name="connsiteX20" fmla="*/ 60103 w 397668"/>
              <a:gd name="connsiteY20" fmla="*/ 197263 h 215741"/>
              <a:gd name="connsiteX21" fmla="*/ 83915 w 397668"/>
              <a:gd name="connsiteY21" fmla="*/ 202597 h 215741"/>
              <a:gd name="connsiteX22" fmla="*/ 93440 w 397668"/>
              <a:gd name="connsiteY22" fmla="*/ 213932 h 215741"/>
              <a:gd name="connsiteX23" fmla="*/ 129730 w 397668"/>
              <a:gd name="connsiteY23" fmla="*/ 215741 h 215741"/>
              <a:gd name="connsiteX24" fmla="*/ 139922 w 397668"/>
              <a:gd name="connsiteY24" fmla="*/ 203263 h 215741"/>
              <a:gd name="connsiteX25" fmla="*/ 156591 w 397668"/>
              <a:gd name="connsiteY25" fmla="*/ 205454 h 215741"/>
              <a:gd name="connsiteX26" fmla="*/ 198596 w 397668"/>
              <a:gd name="connsiteY26" fmla="*/ 184785 h 215741"/>
              <a:gd name="connsiteX27" fmla="*/ 291465 w 397668"/>
              <a:gd name="connsiteY27" fmla="*/ 179261 h 215741"/>
              <a:gd name="connsiteX28" fmla="*/ 358997 w 397668"/>
              <a:gd name="connsiteY28" fmla="*/ 65722 h 215741"/>
              <a:gd name="connsiteX29" fmla="*/ 381953 w 397668"/>
              <a:gd name="connsiteY29" fmla="*/ 67342 h 215741"/>
              <a:gd name="connsiteX30" fmla="*/ 397669 w 397668"/>
              <a:gd name="connsiteY30" fmla="*/ 49625 h 215741"/>
              <a:gd name="connsiteX31" fmla="*/ 353568 w 397668"/>
              <a:gd name="connsiteY31" fmla="*/ 13907 h 215741"/>
              <a:gd name="connsiteX32" fmla="*/ 329660 w 397668"/>
              <a:gd name="connsiteY32" fmla="*/ 22003 h 215741"/>
              <a:gd name="connsiteX33" fmla="*/ 310801 w 397668"/>
              <a:gd name="connsiteY33" fmla="*/ 0 h 2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7668" h="215741">
                <a:moveTo>
                  <a:pt x="310801" y="0"/>
                </a:moveTo>
                <a:lnTo>
                  <a:pt x="287464" y="7525"/>
                </a:lnTo>
                <a:lnTo>
                  <a:pt x="254794" y="5048"/>
                </a:lnTo>
                <a:lnTo>
                  <a:pt x="235934" y="32671"/>
                </a:lnTo>
                <a:lnTo>
                  <a:pt x="201359" y="26384"/>
                </a:lnTo>
                <a:lnTo>
                  <a:pt x="188786" y="40196"/>
                </a:lnTo>
                <a:lnTo>
                  <a:pt x="156782" y="42767"/>
                </a:lnTo>
                <a:lnTo>
                  <a:pt x="146113" y="64103"/>
                </a:lnTo>
                <a:lnTo>
                  <a:pt x="96393" y="66580"/>
                </a:lnTo>
                <a:lnTo>
                  <a:pt x="53340" y="44291"/>
                </a:lnTo>
                <a:lnTo>
                  <a:pt x="47054" y="70485"/>
                </a:lnTo>
                <a:lnTo>
                  <a:pt x="16859" y="62960"/>
                </a:lnTo>
                <a:lnTo>
                  <a:pt x="9335" y="76010"/>
                </a:lnTo>
                <a:lnTo>
                  <a:pt x="27527" y="82772"/>
                </a:lnTo>
                <a:lnTo>
                  <a:pt x="23622" y="95441"/>
                </a:lnTo>
                <a:lnTo>
                  <a:pt x="11335" y="96679"/>
                </a:lnTo>
                <a:lnTo>
                  <a:pt x="15240" y="121634"/>
                </a:lnTo>
                <a:lnTo>
                  <a:pt x="0" y="125540"/>
                </a:lnTo>
                <a:lnTo>
                  <a:pt x="571" y="125825"/>
                </a:lnTo>
                <a:lnTo>
                  <a:pt x="21431" y="162116"/>
                </a:lnTo>
                <a:lnTo>
                  <a:pt x="60103" y="197263"/>
                </a:lnTo>
                <a:lnTo>
                  <a:pt x="83915" y="202597"/>
                </a:lnTo>
                <a:lnTo>
                  <a:pt x="93440" y="213932"/>
                </a:lnTo>
                <a:lnTo>
                  <a:pt x="129730" y="215741"/>
                </a:lnTo>
                <a:lnTo>
                  <a:pt x="139922" y="203263"/>
                </a:lnTo>
                <a:lnTo>
                  <a:pt x="156591" y="205454"/>
                </a:lnTo>
                <a:lnTo>
                  <a:pt x="198596" y="184785"/>
                </a:lnTo>
                <a:lnTo>
                  <a:pt x="291465" y="179261"/>
                </a:lnTo>
                <a:lnTo>
                  <a:pt x="358997" y="65722"/>
                </a:lnTo>
                <a:lnTo>
                  <a:pt x="381953" y="67342"/>
                </a:lnTo>
                <a:lnTo>
                  <a:pt x="397669" y="49625"/>
                </a:lnTo>
                <a:lnTo>
                  <a:pt x="353568" y="13907"/>
                </a:lnTo>
                <a:lnTo>
                  <a:pt x="329660" y="22003"/>
                </a:lnTo>
                <a:lnTo>
                  <a:pt x="310801" y="0"/>
                </a:lnTo>
                <a:close/>
              </a:path>
            </a:pathLst>
          </a:custGeom>
          <a:solidFill>
            <a:schemeClr val="bg1">
              <a:lumMod val="95000"/>
            </a:schemeClr>
          </a:solidFill>
          <a:ln w="9525" cap="flat">
            <a:noFill/>
            <a:prstDash val="solid"/>
            <a:miter/>
          </a:ln>
        </p:spPr>
        <p:txBody>
          <a:bodyPr rtlCol="0" anchor="ctr"/>
          <a:lstStyle/>
          <a:p>
            <a:endParaRPr lang="en-IN"/>
          </a:p>
        </p:txBody>
      </p:sp>
      <p:grpSp>
        <p:nvGrpSpPr>
          <p:cNvPr id="338" name="Graphic 166">
            <a:extLst>
              <a:ext uri="{FF2B5EF4-FFF2-40B4-BE49-F238E27FC236}">
                <a16:creationId xmlns:a16="http://schemas.microsoft.com/office/drawing/2014/main" id="{FFA858C8-4F71-2AB0-958A-357853BD042B}"/>
              </a:ext>
            </a:extLst>
          </p:cNvPr>
          <p:cNvGrpSpPr/>
          <p:nvPr/>
        </p:nvGrpSpPr>
        <p:grpSpPr>
          <a:xfrm>
            <a:off x="6773998" y="2708269"/>
            <a:ext cx="516531" cy="468674"/>
            <a:chOff x="6195371" y="3159480"/>
            <a:chExt cx="516531" cy="468674"/>
          </a:xfrm>
          <a:solidFill>
            <a:schemeClr val="bg1">
              <a:lumMod val="85000"/>
            </a:schemeClr>
          </a:solidFill>
        </p:grpSpPr>
        <p:sp>
          <p:nvSpPr>
            <p:cNvPr id="339" name="Freeform: Shape 338">
              <a:extLst>
                <a:ext uri="{FF2B5EF4-FFF2-40B4-BE49-F238E27FC236}">
                  <a16:creationId xmlns:a16="http://schemas.microsoft.com/office/drawing/2014/main" id="{FDEF1F58-CE13-826A-F5BA-B0ADF04CA760}"/>
                </a:ext>
              </a:extLst>
            </p:cNvPr>
            <p:cNvSpPr/>
            <p:nvPr/>
          </p:nvSpPr>
          <p:spPr>
            <a:xfrm>
              <a:off x="6392683" y="3533783"/>
              <a:ext cx="9698" cy="13235"/>
            </a:xfrm>
            <a:custGeom>
              <a:avLst/>
              <a:gdLst>
                <a:gd name="connsiteX0" fmla="*/ 4005 w 9698"/>
                <a:gd name="connsiteY0" fmla="*/ 12984 h 13235"/>
                <a:gd name="connsiteX1" fmla="*/ 6291 w 9698"/>
                <a:gd name="connsiteY1" fmla="*/ 1935 h 13235"/>
                <a:gd name="connsiteX2" fmla="*/ 195 w 9698"/>
                <a:gd name="connsiteY2" fmla="*/ 3078 h 13235"/>
                <a:gd name="connsiteX3" fmla="*/ 4005 w 9698"/>
                <a:gd name="connsiteY3" fmla="*/ 12984 h 13235"/>
              </a:gdLst>
              <a:ahLst/>
              <a:cxnLst>
                <a:cxn ang="0">
                  <a:pos x="connsiteX0" y="connsiteY0"/>
                </a:cxn>
                <a:cxn ang="0">
                  <a:pos x="connsiteX1" y="connsiteY1"/>
                </a:cxn>
                <a:cxn ang="0">
                  <a:pos x="connsiteX2" y="connsiteY2"/>
                </a:cxn>
                <a:cxn ang="0">
                  <a:pos x="connsiteX3" y="connsiteY3"/>
                </a:cxn>
              </a:cxnLst>
              <a:rect l="l" t="t" r="r" b="b"/>
              <a:pathLst>
                <a:path w="9698" h="13235">
                  <a:moveTo>
                    <a:pt x="4005" y="12984"/>
                  </a:moveTo>
                  <a:cubicBezTo>
                    <a:pt x="9911" y="14794"/>
                    <a:pt x="12101" y="6412"/>
                    <a:pt x="6291" y="1935"/>
                  </a:cubicBezTo>
                  <a:cubicBezTo>
                    <a:pt x="5339" y="1649"/>
                    <a:pt x="767" y="-2923"/>
                    <a:pt x="195" y="3078"/>
                  </a:cubicBezTo>
                  <a:cubicBezTo>
                    <a:pt x="386" y="4031"/>
                    <a:pt x="-1615" y="11270"/>
                    <a:pt x="4005" y="12984"/>
                  </a:cubicBezTo>
                  <a:close/>
                </a:path>
              </a:pathLst>
            </a:custGeom>
            <a:grpFill/>
            <a:ln w="9525" cap="flat">
              <a:noFill/>
              <a:prstDash val="solid"/>
              <a:miter/>
            </a:ln>
          </p:spPr>
          <p:txBody>
            <a:bodyPr rtlCol="0" anchor="ctr"/>
            <a:lstStyle/>
            <a:p>
              <a:endParaRPr lang="en-IN"/>
            </a:p>
          </p:txBody>
        </p:sp>
        <p:sp>
          <p:nvSpPr>
            <p:cNvPr id="340" name="Freeform: Shape 339">
              <a:extLst>
                <a:ext uri="{FF2B5EF4-FFF2-40B4-BE49-F238E27FC236}">
                  <a16:creationId xmlns:a16="http://schemas.microsoft.com/office/drawing/2014/main" id="{ACB5C166-1B1F-B9FF-690D-9BC5DBA1A395}"/>
                </a:ext>
              </a:extLst>
            </p:cNvPr>
            <p:cNvSpPr/>
            <p:nvPr/>
          </p:nvSpPr>
          <p:spPr>
            <a:xfrm>
              <a:off x="6254547" y="3425664"/>
              <a:ext cx="21325" cy="19849"/>
            </a:xfrm>
            <a:custGeom>
              <a:avLst/>
              <a:gdLst>
                <a:gd name="connsiteX0" fmla="*/ 1266 w 21325"/>
                <a:gd name="connsiteY0" fmla="*/ 6422 h 19849"/>
                <a:gd name="connsiteX1" fmla="*/ 14506 w 21325"/>
                <a:gd name="connsiteY1" fmla="*/ 18328 h 19849"/>
                <a:gd name="connsiteX2" fmla="*/ 19364 w 21325"/>
                <a:gd name="connsiteY2" fmla="*/ 8422 h 19849"/>
                <a:gd name="connsiteX3" fmla="*/ 11172 w 21325"/>
                <a:gd name="connsiteY3" fmla="*/ 2040 h 19849"/>
                <a:gd name="connsiteX4" fmla="*/ 1266 w 21325"/>
                <a:gd name="connsiteY4" fmla="*/ 6422 h 19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25" h="19849">
                  <a:moveTo>
                    <a:pt x="1266" y="6422"/>
                  </a:moveTo>
                  <a:cubicBezTo>
                    <a:pt x="9362" y="16328"/>
                    <a:pt x="14030" y="22996"/>
                    <a:pt x="14506" y="18328"/>
                  </a:cubicBezTo>
                  <a:cubicBezTo>
                    <a:pt x="15173" y="12423"/>
                    <a:pt x="25555" y="13280"/>
                    <a:pt x="19364" y="8422"/>
                  </a:cubicBezTo>
                  <a:lnTo>
                    <a:pt x="11172" y="2040"/>
                  </a:lnTo>
                  <a:cubicBezTo>
                    <a:pt x="5552" y="-2341"/>
                    <a:pt x="-3306" y="897"/>
                    <a:pt x="1266" y="6422"/>
                  </a:cubicBezTo>
                  <a:close/>
                </a:path>
              </a:pathLst>
            </a:custGeom>
            <a:grpFill/>
            <a:ln w="9525" cap="flat">
              <a:noFill/>
              <a:prstDash val="solid"/>
              <a:miter/>
            </a:ln>
          </p:spPr>
          <p:txBody>
            <a:bodyPr rtlCol="0" anchor="ctr"/>
            <a:lstStyle/>
            <a:p>
              <a:endParaRPr lang="en-IN"/>
            </a:p>
          </p:txBody>
        </p:sp>
        <p:sp>
          <p:nvSpPr>
            <p:cNvPr id="341" name="Freeform: Shape 340">
              <a:extLst>
                <a:ext uri="{FF2B5EF4-FFF2-40B4-BE49-F238E27FC236}">
                  <a16:creationId xmlns:a16="http://schemas.microsoft.com/office/drawing/2014/main" id="{26354173-70E3-A82B-5994-DACE302FC924}"/>
                </a:ext>
              </a:extLst>
            </p:cNvPr>
            <p:cNvSpPr/>
            <p:nvPr/>
          </p:nvSpPr>
          <p:spPr>
            <a:xfrm>
              <a:off x="6422919" y="3435449"/>
              <a:ext cx="9010" cy="6306"/>
            </a:xfrm>
            <a:custGeom>
              <a:avLst/>
              <a:gdLst>
                <a:gd name="connsiteX0" fmla="*/ 248 w 9010"/>
                <a:gd name="connsiteY0" fmla="*/ 3304 h 6306"/>
                <a:gd name="connsiteX1" fmla="*/ 9011 w 9010"/>
                <a:gd name="connsiteY1" fmla="*/ 1780 h 6306"/>
                <a:gd name="connsiteX2" fmla="*/ 248 w 9010"/>
                <a:gd name="connsiteY2" fmla="*/ 3304 h 6306"/>
              </a:gdLst>
              <a:ahLst/>
              <a:cxnLst>
                <a:cxn ang="0">
                  <a:pos x="connsiteX0" y="connsiteY0"/>
                </a:cxn>
                <a:cxn ang="0">
                  <a:pos x="connsiteX1" y="connsiteY1"/>
                </a:cxn>
                <a:cxn ang="0">
                  <a:pos x="connsiteX2" y="connsiteY2"/>
                </a:cxn>
              </a:cxnLst>
              <a:rect l="l" t="t" r="r" b="b"/>
              <a:pathLst>
                <a:path w="9010" h="6306">
                  <a:moveTo>
                    <a:pt x="248" y="3304"/>
                  </a:moveTo>
                  <a:cubicBezTo>
                    <a:pt x="2248" y="7876"/>
                    <a:pt x="8820" y="7114"/>
                    <a:pt x="9011" y="1780"/>
                  </a:cubicBezTo>
                  <a:cubicBezTo>
                    <a:pt x="9011" y="-411"/>
                    <a:pt x="-1752" y="-1268"/>
                    <a:pt x="248" y="3304"/>
                  </a:cubicBezTo>
                  <a:close/>
                </a:path>
              </a:pathLst>
            </a:custGeom>
            <a:grpFill/>
            <a:ln w="9525" cap="flat">
              <a:noFill/>
              <a:prstDash val="solid"/>
              <a:miter/>
            </a:ln>
          </p:spPr>
          <p:txBody>
            <a:bodyPr rtlCol="0" anchor="ctr"/>
            <a:lstStyle/>
            <a:p>
              <a:endParaRPr lang="en-IN"/>
            </a:p>
          </p:txBody>
        </p:sp>
        <p:sp>
          <p:nvSpPr>
            <p:cNvPr id="342" name="Freeform: Shape 341">
              <a:extLst>
                <a:ext uri="{FF2B5EF4-FFF2-40B4-BE49-F238E27FC236}">
                  <a16:creationId xmlns:a16="http://schemas.microsoft.com/office/drawing/2014/main" id="{D094AB15-AD34-41F3-64ED-CEFD12DE8D0E}"/>
                </a:ext>
              </a:extLst>
            </p:cNvPr>
            <p:cNvSpPr/>
            <p:nvPr/>
          </p:nvSpPr>
          <p:spPr>
            <a:xfrm>
              <a:off x="6396364" y="3347704"/>
              <a:ext cx="96848" cy="72530"/>
            </a:xfrm>
            <a:custGeom>
              <a:avLst/>
              <a:gdLst>
                <a:gd name="connsiteX0" fmla="*/ 17088 w 96848"/>
                <a:gd name="connsiteY0" fmla="*/ 14278 h 72530"/>
                <a:gd name="connsiteX1" fmla="*/ 40043 w 96848"/>
                <a:gd name="connsiteY1" fmla="*/ 35137 h 72530"/>
                <a:gd name="connsiteX2" fmla="*/ 66047 w 96848"/>
                <a:gd name="connsiteY2" fmla="*/ 46758 h 72530"/>
                <a:gd name="connsiteX3" fmla="*/ 71476 w 96848"/>
                <a:gd name="connsiteY3" fmla="*/ 57712 h 72530"/>
                <a:gd name="connsiteX4" fmla="*/ 79572 w 96848"/>
                <a:gd name="connsiteY4" fmla="*/ 68856 h 72530"/>
                <a:gd name="connsiteX5" fmla="*/ 91669 w 96848"/>
                <a:gd name="connsiteY5" fmla="*/ 71618 h 72530"/>
                <a:gd name="connsiteX6" fmla="*/ 91955 w 96848"/>
                <a:gd name="connsiteY6" fmla="*/ 58759 h 72530"/>
                <a:gd name="connsiteX7" fmla="*/ 79668 w 96848"/>
                <a:gd name="connsiteY7" fmla="*/ 53140 h 72530"/>
                <a:gd name="connsiteX8" fmla="*/ 64904 w 96848"/>
                <a:gd name="connsiteY8" fmla="*/ 23517 h 72530"/>
                <a:gd name="connsiteX9" fmla="*/ 53474 w 96848"/>
                <a:gd name="connsiteY9" fmla="*/ 22469 h 72530"/>
                <a:gd name="connsiteX10" fmla="*/ 40043 w 96848"/>
                <a:gd name="connsiteY10" fmla="*/ 15611 h 72530"/>
                <a:gd name="connsiteX11" fmla="*/ 13088 w 96848"/>
                <a:gd name="connsiteY11" fmla="*/ 943 h 72530"/>
                <a:gd name="connsiteX12" fmla="*/ 17088 w 96848"/>
                <a:gd name="connsiteY12" fmla="*/ 14373 h 72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848" h="72530">
                  <a:moveTo>
                    <a:pt x="17088" y="14278"/>
                  </a:moveTo>
                  <a:cubicBezTo>
                    <a:pt x="29376" y="23803"/>
                    <a:pt x="38234" y="29518"/>
                    <a:pt x="40043" y="35137"/>
                  </a:cubicBezTo>
                  <a:cubicBezTo>
                    <a:pt x="42806" y="43710"/>
                    <a:pt x="61094" y="36662"/>
                    <a:pt x="66047" y="46758"/>
                  </a:cubicBezTo>
                  <a:lnTo>
                    <a:pt x="71476" y="57712"/>
                  </a:lnTo>
                  <a:cubicBezTo>
                    <a:pt x="74524" y="63808"/>
                    <a:pt x="80429" y="69808"/>
                    <a:pt x="79572" y="68856"/>
                  </a:cubicBezTo>
                  <a:cubicBezTo>
                    <a:pt x="85097" y="74952"/>
                    <a:pt x="85668" y="66475"/>
                    <a:pt x="91669" y="71618"/>
                  </a:cubicBezTo>
                  <a:cubicBezTo>
                    <a:pt x="97479" y="76666"/>
                    <a:pt x="99479" y="59140"/>
                    <a:pt x="91955" y="58759"/>
                  </a:cubicBezTo>
                  <a:cubicBezTo>
                    <a:pt x="90526" y="58379"/>
                    <a:pt x="81953" y="59998"/>
                    <a:pt x="79668" y="53140"/>
                  </a:cubicBezTo>
                  <a:cubicBezTo>
                    <a:pt x="72143" y="29899"/>
                    <a:pt x="71952" y="24088"/>
                    <a:pt x="64904" y="23517"/>
                  </a:cubicBezTo>
                  <a:lnTo>
                    <a:pt x="53474" y="22469"/>
                  </a:lnTo>
                  <a:cubicBezTo>
                    <a:pt x="45377" y="21707"/>
                    <a:pt x="47854" y="13897"/>
                    <a:pt x="40043" y="15611"/>
                  </a:cubicBezTo>
                  <a:cubicBezTo>
                    <a:pt x="28042" y="18183"/>
                    <a:pt x="23279" y="-4868"/>
                    <a:pt x="13088" y="943"/>
                  </a:cubicBezTo>
                  <a:cubicBezTo>
                    <a:pt x="-13106" y="15802"/>
                    <a:pt x="6325" y="6086"/>
                    <a:pt x="17088" y="14373"/>
                  </a:cubicBezTo>
                  <a:close/>
                </a:path>
              </a:pathLst>
            </a:custGeom>
            <a:solidFill>
              <a:schemeClr val="bg1">
                <a:lumMod val="95000"/>
              </a:schemeClr>
            </a:solidFill>
            <a:ln w="9525" cap="flat">
              <a:noFill/>
              <a:prstDash val="solid"/>
              <a:miter/>
            </a:ln>
          </p:spPr>
          <p:txBody>
            <a:bodyPr rtlCol="0" anchor="ctr"/>
            <a:lstStyle/>
            <a:p>
              <a:endParaRPr lang="en-IN"/>
            </a:p>
          </p:txBody>
        </p:sp>
        <p:sp>
          <p:nvSpPr>
            <p:cNvPr id="343" name="Freeform: Shape 342">
              <a:extLst>
                <a:ext uri="{FF2B5EF4-FFF2-40B4-BE49-F238E27FC236}">
                  <a16:creationId xmlns:a16="http://schemas.microsoft.com/office/drawing/2014/main" id="{7ABAF249-5676-2C59-70DA-245A115C9514}"/>
                </a:ext>
              </a:extLst>
            </p:cNvPr>
            <p:cNvSpPr/>
            <p:nvPr/>
          </p:nvSpPr>
          <p:spPr>
            <a:xfrm>
              <a:off x="6489248" y="3225092"/>
              <a:ext cx="15898" cy="13544"/>
            </a:xfrm>
            <a:custGeom>
              <a:avLst/>
              <a:gdLst>
                <a:gd name="connsiteX0" fmla="*/ 1071 w 15898"/>
                <a:gd name="connsiteY0" fmla="*/ 3636 h 13544"/>
                <a:gd name="connsiteX1" fmla="*/ 5547 w 15898"/>
                <a:gd name="connsiteY1" fmla="*/ 12018 h 13544"/>
                <a:gd name="connsiteX2" fmla="*/ 12024 w 15898"/>
                <a:gd name="connsiteY2" fmla="*/ 12018 h 13544"/>
                <a:gd name="connsiteX3" fmla="*/ 9548 w 15898"/>
                <a:gd name="connsiteY3" fmla="*/ 16 h 13544"/>
                <a:gd name="connsiteX4" fmla="*/ 1071 w 15898"/>
                <a:gd name="connsiteY4" fmla="*/ 3731 h 13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98" h="13544">
                  <a:moveTo>
                    <a:pt x="1071" y="3636"/>
                  </a:moveTo>
                  <a:cubicBezTo>
                    <a:pt x="-2740" y="9827"/>
                    <a:pt x="4785" y="6684"/>
                    <a:pt x="5547" y="12018"/>
                  </a:cubicBezTo>
                  <a:cubicBezTo>
                    <a:pt x="6024" y="15637"/>
                    <a:pt x="12977" y="11637"/>
                    <a:pt x="12024" y="12018"/>
                  </a:cubicBezTo>
                  <a:cubicBezTo>
                    <a:pt x="18216" y="8589"/>
                    <a:pt x="16692" y="588"/>
                    <a:pt x="9548" y="16"/>
                  </a:cubicBezTo>
                  <a:cubicBezTo>
                    <a:pt x="9548" y="16"/>
                    <a:pt x="3642" y="-460"/>
                    <a:pt x="1071" y="3731"/>
                  </a:cubicBezTo>
                  <a:close/>
                </a:path>
              </a:pathLst>
            </a:custGeom>
            <a:grpFill/>
            <a:ln w="9525" cap="flat">
              <a:noFill/>
              <a:prstDash val="solid"/>
              <a:miter/>
            </a:ln>
          </p:spPr>
          <p:txBody>
            <a:bodyPr rtlCol="0" anchor="ctr"/>
            <a:lstStyle/>
            <a:p>
              <a:endParaRPr lang="en-IN"/>
            </a:p>
          </p:txBody>
        </p:sp>
        <p:sp>
          <p:nvSpPr>
            <p:cNvPr id="344" name="Freeform: Shape 343">
              <a:extLst>
                <a:ext uri="{FF2B5EF4-FFF2-40B4-BE49-F238E27FC236}">
                  <a16:creationId xmlns:a16="http://schemas.microsoft.com/office/drawing/2014/main" id="{B8DC4693-E2C4-2ACE-4729-B704D9C7C1B2}"/>
                </a:ext>
              </a:extLst>
            </p:cNvPr>
            <p:cNvSpPr/>
            <p:nvPr/>
          </p:nvSpPr>
          <p:spPr>
            <a:xfrm>
              <a:off x="6545245" y="3242083"/>
              <a:ext cx="14313" cy="9123"/>
            </a:xfrm>
            <a:custGeom>
              <a:avLst/>
              <a:gdLst>
                <a:gd name="connsiteX0" fmla="*/ 4414 w 14313"/>
                <a:gd name="connsiteY0" fmla="*/ 8266 h 9123"/>
                <a:gd name="connsiteX1" fmla="*/ 5748 w 14313"/>
                <a:gd name="connsiteY1" fmla="*/ 8742 h 9123"/>
                <a:gd name="connsiteX2" fmla="*/ 11082 w 14313"/>
                <a:gd name="connsiteY2" fmla="*/ 741 h 9123"/>
                <a:gd name="connsiteX3" fmla="*/ 5938 w 14313"/>
                <a:gd name="connsiteY3" fmla="*/ 75 h 9123"/>
                <a:gd name="connsiteX4" fmla="*/ 4509 w 14313"/>
                <a:gd name="connsiteY4" fmla="*/ 8266 h 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3" h="9123">
                  <a:moveTo>
                    <a:pt x="4414" y="8266"/>
                  </a:moveTo>
                  <a:lnTo>
                    <a:pt x="5748" y="8742"/>
                  </a:lnTo>
                  <a:cubicBezTo>
                    <a:pt x="12606" y="11124"/>
                    <a:pt x="18035" y="1599"/>
                    <a:pt x="11082" y="741"/>
                  </a:cubicBezTo>
                  <a:lnTo>
                    <a:pt x="5938" y="75"/>
                  </a:lnTo>
                  <a:cubicBezTo>
                    <a:pt x="-1110" y="-783"/>
                    <a:pt x="-2253" y="5980"/>
                    <a:pt x="4509" y="8266"/>
                  </a:cubicBezTo>
                  <a:close/>
                </a:path>
              </a:pathLst>
            </a:custGeom>
            <a:grpFill/>
            <a:ln w="9525" cap="flat">
              <a:noFill/>
              <a:prstDash val="solid"/>
              <a:miter/>
            </a:ln>
          </p:spPr>
          <p:txBody>
            <a:bodyPr rtlCol="0" anchor="ctr"/>
            <a:lstStyle/>
            <a:p>
              <a:endParaRPr lang="en-IN"/>
            </a:p>
          </p:txBody>
        </p:sp>
        <p:sp>
          <p:nvSpPr>
            <p:cNvPr id="345" name="Freeform: Shape 344">
              <a:extLst>
                <a:ext uri="{FF2B5EF4-FFF2-40B4-BE49-F238E27FC236}">
                  <a16:creationId xmlns:a16="http://schemas.microsoft.com/office/drawing/2014/main" id="{6FA9A163-0B2E-3928-F6E7-B712E3531173}"/>
                </a:ext>
              </a:extLst>
            </p:cNvPr>
            <p:cNvSpPr/>
            <p:nvPr/>
          </p:nvSpPr>
          <p:spPr>
            <a:xfrm>
              <a:off x="6485330" y="3350282"/>
              <a:ext cx="14501" cy="15346"/>
            </a:xfrm>
            <a:custGeom>
              <a:avLst/>
              <a:gdLst>
                <a:gd name="connsiteX0" fmla="*/ 1845 w 14501"/>
                <a:gd name="connsiteY0" fmla="*/ 9604 h 15346"/>
                <a:gd name="connsiteX1" fmla="*/ 10989 w 14501"/>
                <a:gd name="connsiteY1" fmla="*/ 14367 h 15346"/>
                <a:gd name="connsiteX2" fmla="*/ 13180 w 14501"/>
                <a:gd name="connsiteY2" fmla="*/ 8842 h 15346"/>
                <a:gd name="connsiteX3" fmla="*/ 4036 w 14501"/>
                <a:gd name="connsiteY3" fmla="*/ 79 h 15346"/>
                <a:gd name="connsiteX4" fmla="*/ 1845 w 14501"/>
                <a:gd name="connsiteY4" fmla="*/ 9604 h 15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01" h="15346">
                  <a:moveTo>
                    <a:pt x="1845" y="9604"/>
                  </a:moveTo>
                  <a:cubicBezTo>
                    <a:pt x="6989" y="12653"/>
                    <a:pt x="4036" y="17415"/>
                    <a:pt x="10989" y="14367"/>
                  </a:cubicBezTo>
                  <a:cubicBezTo>
                    <a:pt x="11942" y="13510"/>
                    <a:pt x="16799" y="11795"/>
                    <a:pt x="13180" y="8842"/>
                  </a:cubicBezTo>
                  <a:cubicBezTo>
                    <a:pt x="7560" y="4175"/>
                    <a:pt x="11275" y="-683"/>
                    <a:pt x="4036" y="79"/>
                  </a:cubicBezTo>
                  <a:cubicBezTo>
                    <a:pt x="1178" y="365"/>
                    <a:pt x="-2155" y="7223"/>
                    <a:pt x="1845" y="9604"/>
                  </a:cubicBezTo>
                  <a:close/>
                </a:path>
              </a:pathLst>
            </a:custGeom>
            <a:grpFill/>
            <a:ln w="9525" cap="flat">
              <a:noFill/>
              <a:prstDash val="solid"/>
              <a:miter/>
            </a:ln>
          </p:spPr>
          <p:txBody>
            <a:bodyPr rtlCol="0" anchor="ctr"/>
            <a:lstStyle/>
            <a:p>
              <a:endParaRPr lang="en-IN"/>
            </a:p>
          </p:txBody>
        </p:sp>
        <p:sp>
          <p:nvSpPr>
            <p:cNvPr id="346" name="Freeform: Shape 345">
              <a:extLst>
                <a:ext uri="{FF2B5EF4-FFF2-40B4-BE49-F238E27FC236}">
                  <a16:creationId xmlns:a16="http://schemas.microsoft.com/office/drawing/2014/main" id="{5DEDFEDF-C252-E932-DD46-A2984D0C7A09}"/>
                </a:ext>
              </a:extLst>
            </p:cNvPr>
            <p:cNvSpPr/>
            <p:nvPr/>
          </p:nvSpPr>
          <p:spPr>
            <a:xfrm>
              <a:off x="6559653" y="3261988"/>
              <a:ext cx="17491" cy="9768"/>
            </a:xfrm>
            <a:custGeom>
              <a:avLst/>
              <a:gdLst>
                <a:gd name="connsiteX0" fmla="*/ 580 w 17491"/>
                <a:gd name="connsiteY0" fmla="*/ 5410 h 9768"/>
                <a:gd name="connsiteX1" fmla="*/ 12867 w 17491"/>
                <a:gd name="connsiteY1" fmla="*/ 9315 h 9768"/>
                <a:gd name="connsiteX2" fmla="*/ 11343 w 17491"/>
                <a:gd name="connsiteY2" fmla="*/ 76 h 9768"/>
                <a:gd name="connsiteX3" fmla="*/ 580 w 17491"/>
                <a:gd name="connsiteY3" fmla="*/ 5410 h 9768"/>
              </a:gdLst>
              <a:ahLst/>
              <a:cxnLst>
                <a:cxn ang="0">
                  <a:pos x="connsiteX0" y="connsiteY0"/>
                </a:cxn>
                <a:cxn ang="0">
                  <a:pos x="connsiteX1" y="connsiteY1"/>
                </a:cxn>
                <a:cxn ang="0">
                  <a:pos x="connsiteX2" y="connsiteY2"/>
                </a:cxn>
                <a:cxn ang="0">
                  <a:pos x="connsiteX3" y="connsiteY3"/>
                </a:cxn>
              </a:cxnLst>
              <a:rect l="l" t="t" r="r" b="b"/>
              <a:pathLst>
                <a:path w="17491" h="9768">
                  <a:moveTo>
                    <a:pt x="580" y="5410"/>
                  </a:moveTo>
                  <a:cubicBezTo>
                    <a:pt x="-3326" y="11602"/>
                    <a:pt x="13819" y="9411"/>
                    <a:pt x="12867" y="9315"/>
                  </a:cubicBezTo>
                  <a:cubicBezTo>
                    <a:pt x="20011" y="9125"/>
                    <a:pt x="18391" y="-971"/>
                    <a:pt x="11343" y="76"/>
                  </a:cubicBezTo>
                  <a:cubicBezTo>
                    <a:pt x="11343" y="76"/>
                    <a:pt x="3818" y="267"/>
                    <a:pt x="580" y="5410"/>
                  </a:cubicBezTo>
                  <a:close/>
                </a:path>
              </a:pathLst>
            </a:custGeom>
            <a:grpFill/>
            <a:ln w="9525" cap="flat">
              <a:noFill/>
              <a:prstDash val="solid"/>
              <a:miter/>
            </a:ln>
          </p:spPr>
          <p:txBody>
            <a:bodyPr rtlCol="0" anchor="ctr"/>
            <a:lstStyle/>
            <a:p>
              <a:endParaRPr lang="en-IN"/>
            </a:p>
          </p:txBody>
        </p:sp>
        <p:sp>
          <p:nvSpPr>
            <p:cNvPr id="347" name="Freeform: Shape 346">
              <a:extLst>
                <a:ext uri="{FF2B5EF4-FFF2-40B4-BE49-F238E27FC236}">
                  <a16:creationId xmlns:a16="http://schemas.microsoft.com/office/drawing/2014/main" id="{5C6F9038-06BE-EAAD-852F-6519D263BC3F}"/>
                </a:ext>
              </a:extLst>
            </p:cNvPr>
            <p:cNvSpPr/>
            <p:nvPr/>
          </p:nvSpPr>
          <p:spPr>
            <a:xfrm>
              <a:off x="6569178" y="3378590"/>
              <a:ext cx="16620" cy="27994"/>
            </a:xfrm>
            <a:custGeom>
              <a:avLst/>
              <a:gdLst>
                <a:gd name="connsiteX0" fmla="*/ 3818 w 16620"/>
                <a:gd name="connsiteY0" fmla="*/ 25588 h 27994"/>
                <a:gd name="connsiteX1" fmla="*/ 11152 w 16620"/>
                <a:gd name="connsiteY1" fmla="*/ 347 h 27994"/>
                <a:gd name="connsiteX2" fmla="*/ 865 w 16620"/>
                <a:gd name="connsiteY2" fmla="*/ 4347 h 27994"/>
                <a:gd name="connsiteX3" fmla="*/ 3246 w 16620"/>
                <a:gd name="connsiteY3" fmla="*/ 16920 h 27994"/>
                <a:gd name="connsiteX4" fmla="*/ 3151 w 16620"/>
                <a:gd name="connsiteY4" fmla="*/ 24826 h 27994"/>
                <a:gd name="connsiteX5" fmla="*/ 3818 w 16620"/>
                <a:gd name="connsiteY5" fmla="*/ 25683 h 2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0" h="27994">
                  <a:moveTo>
                    <a:pt x="3818" y="25588"/>
                  </a:moveTo>
                  <a:cubicBezTo>
                    <a:pt x="12771" y="37589"/>
                    <a:pt x="23249" y="823"/>
                    <a:pt x="11152" y="347"/>
                  </a:cubicBezTo>
                  <a:cubicBezTo>
                    <a:pt x="8961" y="632"/>
                    <a:pt x="-3326" y="-2130"/>
                    <a:pt x="865" y="4347"/>
                  </a:cubicBezTo>
                  <a:cubicBezTo>
                    <a:pt x="1436" y="5681"/>
                    <a:pt x="7818" y="12157"/>
                    <a:pt x="3246" y="16920"/>
                  </a:cubicBezTo>
                  <a:cubicBezTo>
                    <a:pt x="1436" y="18920"/>
                    <a:pt x="1341" y="22445"/>
                    <a:pt x="3151" y="24826"/>
                  </a:cubicBezTo>
                  <a:lnTo>
                    <a:pt x="3818" y="25683"/>
                  </a:lnTo>
                  <a:close/>
                </a:path>
              </a:pathLst>
            </a:custGeom>
            <a:grpFill/>
            <a:ln w="9525" cap="flat">
              <a:noFill/>
              <a:prstDash val="solid"/>
              <a:miter/>
            </a:ln>
          </p:spPr>
          <p:txBody>
            <a:bodyPr rtlCol="0" anchor="ctr"/>
            <a:lstStyle/>
            <a:p>
              <a:endParaRPr lang="en-IN"/>
            </a:p>
          </p:txBody>
        </p:sp>
        <p:sp>
          <p:nvSpPr>
            <p:cNvPr id="348" name="Freeform: Shape 347">
              <a:extLst>
                <a:ext uri="{FF2B5EF4-FFF2-40B4-BE49-F238E27FC236}">
                  <a16:creationId xmlns:a16="http://schemas.microsoft.com/office/drawing/2014/main" id="{65E88F13-AD51-854B-012D-6505B3A52CBD}"/>
                </a:ext>
              </a:extLst>
            </p:cNvPr>
            <p:cNvSpPr/>
            <p:nvPr/>
          </p:nvSpPr>
          <p:spPr>
            <a:xfrm>
              <a:off x="6430836" y="3580840"/>
              <a:ext cx="164467" cy="47314"/>
            </a:xfrm>
            <a:custGeom>
              <a:avLst/>
              <a:gdLst>
                <a:gd name="connsiteX0" fmla="*/ 144827 w 164467"/>
                <a:gd name="connsiteY0" fmla="*/ 27649 h 47314"/>
                <a:gd name="connsiteX1" fmla="*/ 139016 w 164467"/>
                <a:gd name="connsiteY1" fmla="*/ 30982 h 47314"/>
                <a:gd name="connsiteX2" fmla="*/ 132159 w 164467"/>
                <a:gd name="connsiteY2" fmla="*/ 23458 h 47314"/>
                <a:gd name="connsiteX3" fmla="*/ 129015 w 164467"/>
                <a:gd name="connsiteY3" fmla="*/ 19648 h 47314"/>
                <a:gd name="connsiteX4" fmla="*/ 117299 w 164467"/>
                <a:gd name="connsiteY4" fmla="*/ 22124 h 47314"/>
                <a:gd name="connsiteX5" fmla="*/ 104250 w 164467"/>
                <a:gd name="connsiteY5" fmla="*/ 17647 h 47314"/>
                <a:gd name="connsiteX6" fmla="*/ 87581 w 164467"/>
                <a:gd name="connsiteY6" fmla="*/ 15742 h 47314"/>
                <a:gd name="connsiteX7" fmla="*/ 41671 w 164467"/>
                <a:gd name="connsiteY7" fmla="*/ 12599 h 47314"/>
                <a:gd name="connsiteX8" fmla="*/ 38528 w 164467"/>
                <a:gd name="connsiteY8" fmla="*/ 5551 h 47314"/>
                <a:gd name="connsiteX9" fmla="*/ 30527 w 164467"/>
                <a:gd name="connsiteY9" fmla="*/ 5074 h 47314"/>
                <a:gd name="connsiteX10" fmla="*/ 13858 w 164467"/>
                <a:gd name="connsiteY10" fmla="*/ 2121 h 47314"/>
                <a:gd name="connsiteX11" fmla="*/ 4333 w 164467"/>
                <a:gd name="connsiteY11" fmla="*/ 4598 h 47314"/>
                <a:gd name="connsiteX12" fmla="*/ 47 w 164467"/>
                <a:gd name="connsiteY12" fmla="*/ 8884 h 47314"/>
                <a:gd name="connsiteX13" fmla="*/ 7095 w 164467"/>
                <a:gd name="connsiteY13" fmla="*/ 25648 h 47314"/>
                <a:gd name="connsiteX14" fmla="*/ 65864 w 164467"/>
                <a:gd name="connsiteY14" fmla="*/ 34983 h 47314"/>
                <a:gd name="connsiteX15" fmla="*/ 71484 w 164467"/>
                <a:gd name="connsiteY15" fmla="*/ 42603 h 47314"/>
                <a:gd name="connsiteX16" fmla="*/ 77104 w 164467"/>
                <a:gd name="connsiteY16" fmla="*/ 47270 h 47314"/>
                <a:gd name="connsiteX17" fmla="*/ 122062 w 164467"/>
                <a:gd name="connsiteY17" fmla="*/ 41460 h 47314"/>
                <a:gd name="connsiteX18" fmla="*/ 163877 w 164467"/>
                <a:gd name="connsiteY18" fmla="*/ 35459 h 47314"/>
                <a:gd name="connsiteX19" fmla="*/ 164448 w 164467"/>
                <a:gd name="connsiteY19" fmla="*/ 27172 h 47314"/>
                <a:gd name="connsiteX20" fmla="*/ 160353 w 164467"/>
                <a:gd name="connsiteY20" fmla="*/ 24982 h 47314"/>
                <a:gd name="connsiteX21" fmla="*/ 144636 w 164467"/>
                <a:gd name="connsiteY21" fmla="*/ 27744 h 4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467" h="47314">
                  <a:moveTo>
                    <a:pt x="144827" y="27649"/>
                  </a:moveTo>
                  <a:lnTo>
                    <a:pt x="139016" y="30982"/>
                  </a:lnTo>
                  <a:cubicBezTo>
                    <a:pt x="126253" y="38221"/>
                    <a:pt x="132920" y="20219"/>
                    <a:pt x="132159" y="23458"/>
                  </a:cubicBezTo>
                  <a:cubicBezTo>
                    <a:pt x="133302" y="20695"/>
                    <a:pt x="131873" y="18981"/>
                    <a:pt x="129015" y="19648"/>
                  </a:cubicBezTo>
                  <a:lnTo>
                    <a:pt x="117299" y="22124"/>
                  </a:lnTo>
                  <a:cubicBezTo>
                    <a:pt x="109298" y="23838"/>
                    <a:pt x="112442" y="17076"/>
                    <a:pt x="104250" y="17647"/>
                  </a:cubicBezTo>
                  <a:cubicBezTo>
                    <a:pt x="100440" y="17647"/>
                    <a:pt x="90248" y="20124"/>
                    <a:pt x="87581" y="15742"/>
                  </a:cubicBezTo>
                  <a:cubicBezTo>
                    <a:pt x="82628" y="7551"/>
                    <a:pt x="46624" y="24029"/>
                    <a:pt x="41671" y="12599"/>
                  </a:cubicBezTo>
                  <a:lnTo>
                    <a:pt x="38528" y="5551"/>
                  </a:lnTo>
                  <a:cubicBezTo>
                    <a:pt x="36051" y="-164"/>
                    <a:pt x="29574" y="5360"/>
                    <a:pt x="30527" y="5074"/>
                  </a:cubicBezTo>
                  <a:cubicBezTo>
                    <a:pt x="25002" y="9265"/>
                    <a:pt x="16811" y="7932"/>
                    <a:pt x="13858" y="2121"/>
                  </a:cubicBezTo>
                  <a:cubicBezTo>
                    <a:pt x="10619" y="-4355"/>
                    <a:pt x="11572" y="6217"/>
                    <a:pt x="4333" y="4598"/>
                  </a:cubicBezTo>
                  <a:cubicBezTo>
                    <a:pt x="1666" y="4027"/>
                    <a:pt x="-334" y="5932"/>
                    <a:pt x="47" y="8884"/>
                  </a:cubicBezTo>
                  <a:cubicBezTo>
                    <a:pt x="1380" y="14123"/>
                    <a:pt x="-1001" y="24791"/>
                    <a:pt x="7095" y="25648"/>
                  </a:cubicBezTo>
                  <a:cubicBezTo>
                    <a:pt x="52529" y="30411"/>
                    <a:pt x="66817" y="35173"/>
                    <a:pt x="65864" y="34983"/>
                  </a:cubicBezTo>
                  <a:cubicBezTo>
                    <a:pt x="71579" y="36221"/>
                    <a:pt x="71865" y="43651"/>
                    <a:pt x="71484" y="42603"/>
                  </a:cubicBezTo>
                  <a:cubicBezTo>
                    <a:pt x="71675" y="45555"/>
                    <a:pt x="74151" y="47651"/>
                    <a:pt x="77104" y="47270"/>
                  </a:cubicBezTo>
                  <a:lnTo>
                    <a:pt x="122062" y="41460"/>
                  </a:lnTo>
                  <a:cubicBezTo>
                    <a:pt x="147208" y="38221"/>
                    <a:pt x="163210" y="45270"/>
                    <a:pt x="163877" y="35459"/>
                  </a:cubicBezTo>
                  <a:lnTo>
                    <a:pt x="164448" y="27172"/>
                  </a:lnTo>
                  <a:cubicBezTo>
                    <a:pt x="164829" y="21838"/>
                    <a:pt x="159400" y="25077"/>
                    <a:pt x="160353" y="24982"/>
                  </a:cubicBezTo>
                  <a:cubicBezTo>
                    <a:pt x="157876" y="26696"/>
                    <a:pt x="151875" y="23743"/>
                    <a:pt x="144636" y="27744"/>
                  </a:cubicBezTo>
                  <a:close/>
                </a:path>
              </a:pathLst>
            </a:custGeom>
            <a:solidFill>
              <a:schemeClr val="bg1">
                <a:lumMod val="95000"/>
              </a:schemeClr>
            </a:solidFill>
            <a:ln w="9525" cap="flat">
              <a:noFill/>
              <a:prstDash val="solid"/>
              <a:miter/>
            </a:ln>
          </p:spPr>
          <p:txBody>
            <a:bodyPr rtlCol="0" anchor="ctr"/>
            <a:lstStyle/>
            <a:p>
              <a:endParaRPr lang="en-IN"/>
            </a:p>
          </p:txBody>
        </p:sp>
        <p:sp>
          <p:nvSpPr>
            <p:cNvPr id="349" name="Freeform: Shape 348">
              <a:extLst>
                <a:ext uri="{FF2B5EF4-FFF2-40B4-BE49-F238E27FC236}">
                  <a16:creationId xmlns:a16="http://schemas.microsoft.com/office/drawing/2014/main" id="{FB461684-200C-A29C-4A4A-A91CD8CFD835}"/>
                </a:ext>
              </a:extLst>
            </p:cNvPr>
            <p:cNvSpPr/>
            <p:nvPr/>
          </p:nvSpPr>
          <p:spPr>
            <a:xfrm>
              <a:off x="6612933" y="3431612"/>
              <a:ext cx="25357" cy="11442"/>
            </a:xfrm>
            <a:custGeom>
              <a:avLst/>
              <a:gdLst>
                <a:gd name="connsiteX0" fmla="*/ 23118 w 25357"/>
                <a:gd name="connsiteY0" fmla="*/ 2760 h 11442"/>
                <a:gd name="connsiteX1" fmla="*/ 2258 w 25357"/>
                <a:gd name="connsiteY1" fmla="*/ 2760 h 11442"/>
                <a:gd name="connsiteX2" fmla="*/ 1211 w 25357"/>
                <a:gd name="connsiteY2" fmla="*/ 3713 h 11442"/>
                <a:gd name="connsiteX3" fmla="*/ 18070 w 25357"/>
                <a:gd name="connsiteY3" fmla="*/ 10094 h 11442"/>
                <a:gd name="connsiteX4" fmla="*/ 23023 w 25357"/>
                <a:gd name="connsiteY4" fmla="*/ 2760 h 11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57" h="11442">
                  <a:moveTo>
                    <a:pt x="23118" y="2760"/>
                  </a:moveTo>
                  <a:cubicBezTo>
                    <a:pt x="16832" y="1998"/>
                    <a:pt x="7973" y="-3050"/>
                    <a:pt x="2258" y="2760"/>
                  </a:cubicBezTo>
                  <a:lnTo>
                    <a:pt x="1211" y="3713"/>
                  </a:lnTo>
                  <a:cubicBezTo>
                    <a:pt x="-4600" y="9523"/>
                    <a:pt x="12069" y="13714"/>
                    <a:pt x="18070" y="10094"/>
                  </a:cubicBezTo>
                  <a:cubicBezTo>
                    <a:pt x="18070" y="10094"/>
                    <a:pt x="30357" y="4379"/>
                    <a:pt x="23023" y="2760"/>
                  </a:cubicBezTo>
                  <a:close/>
                </a:path>
              </a:pathLst>
            </a:custGeom>
            <a:grpFill/>
            <a:ln w="9525" cap="flat">
              <a:noFill/>
              <a:prstDash val="solid"/>
              <a:miter/>
            </a:ln>
          </p:spPr>
          <p:txBody>
            <a:bodyPr rtlCol="0" anchor="ctr"/>
            <a:lstStyle/>
            <a:p>
              <a:endParaRPr lang="en-IN"/>
            </a:p>
          </p:txBody>
        </p:sp>
        <p:sp>
          <p:nvSpPr>
            <p:cNvPr id="350" name="Freeform: Shape 349">
              <a:extLst>
                <a:ext uri="{FF2B5EF4-FFF2-40B4-BE49-F238E27FC236}">
                  <a16:creationId xmlns:a16="http://schemas.microsoft.com/office/drawing/2014/main" id="{74061DCB-1383-0B42-8338-D1FEF1BD941D}"/>
                </a:ext>
              </a:extLst>
            </p:cNvPr>
            <p:cNvSpPr/>
            <p:nvPr/>
          </p:nvSpPr>
          <p:spPr>
            <a:xfrm>
              <a:off x="6574570" y="3439780"/>
              <a:ext cx="25435" cy="13773"/>
            </a:xfrm>
            <a:custGeom>
              <a:avLst/>
              <a:gdLst>
                <a:gd name="connsiteX0" fmla="*/ 22619 w 25435"/>
                <a:gd name="connsiteY0" fmla="*/ 402 h 13773"/>
                <a:gd name="connsiteX1" fmla="*/ 10237 w 25435"/>
                <a:gd name="connsiteY1" fmla="*/ 2022 h 13773"/>
                <a:gd name="connsiteX2" fmla="*/ 1188 w 25435"/>
                <a:gd name="connsiteY2" fmla="*/ 6593 h 13773"/>
                <a:gd name="connsiteX3" fmla="*/ 1855 w 25435"/>
                <a:gd name="connsiteY3" fmla="*/ 12880 h 13773"/>
                <a:gd name="connsiteX4" fmla="*/ 13952 w 25435"/>
                <a:gd name="connsiteY4" fmla="*/ 12213 h 13773"/>
                <a:gd name="connsiteX5" fmla="*/ 22619 w 25435"/>
                <a:gd name="connsiteY5" fmla="*/ 307 h 1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35" h="13773">
                  <a:moveTo>
                    <a:pt x="22619" y="402"/>
                  </a:moveTo>
                  <a:cubicBezTo>
                    <a:pt x="13570" y="2307"/>
                    <a:pt x="9284" y="2117"/>
                    <a:pt x="10237" y="2022"/>
                  </a:cubicBezTo>
                  <a:cubicBezTo>
                    <a:pt x="4617" y="1736"/>
                    <a:pt x="236" y="7356"/>
                    <a:pt x="1188" y="6593"/>
                  </a:cubicBezTo>
                  <a:cubicBezTo>
                    <a:pt x="-622" y="8975"/>
                    <a:pt x="-336" y="11832"/>
                    <a:pt x="1855" y="12880"/>
                  </a:cubicBezTo>
                  <a:cubicBezTo>
                    <a:pt x="6522" y="15261"/>
                    <a:pt x="14904" y="12118"/>
                    <a:pt x="13952" y="12213"/>
                  </a:cubicBezTo>
                  <a:cubicBezTo>
                    <a:pt x="20714" y="10118"/>
                    <a:pt x="30239" y="-2074"/>
                    <a:pt x="22619" y="307"/>
                  </a:cubicBezTo>
                  <a:close/>
                </a:path>
              </a:pathLst>
            </a:custGeom>
            <a:grpFill/>
            <a:ln w="9525" cap="flat">
              <a:noFill/>
              <a:prstDash val="solid"/>
              <a:miter/>
            </a:ln>
          </p:spPr>
          <p:txBody>
            <a:bodyPr rtlCol="0" anchor="ctr"/>
            <a:lstStyle/>
            <a:p>
              <a:endParaRPr lang="en-IN"/>
            </a:p>
          </p:txBody>
        </p:sp>
        <p:sp>
          <p:nvSpPr>
            <p:cNvPr id="351" name="Freeform: Shape 350">
              <a:extLst>
                <a:ext uri="{FF2B5EF4-FFF2-40B4-BE49-F238E27FC236}">
                  <a16:creationId xmlns:a16="http://schemas.microsoft.com/office/drawing/2014/main" id="{05035146-8E16-A27D-512C-320955316D03}"/>
                </a:ext>
              </a:extLst>
            </p:cNvPr>
            <p:cNvSpPr/>
            <p:nvPr/>
          </p:nvSpPr>
          <p:spPr>
            <a:xfrm>
              <a:off x="6602931" y="3447378"/>
              <a:ext cx="10784" cy="12090"/>
            </a:xfrm>
            <a:custGeom>
              <a:avLst/>
              <a:gdLst>
                <a:gd name="connsiteX0" fmla="*/ 3783 w 10784"/>
                <a:gd name="connsiteY0" fmla="*/ 11663 h 12090"/>
                <a:gd name="connsiteX1" fmla="*/ 3878 w 10784"/>
                <a:gd name="connsiteY1" fmla="*/ 11663 h 12090"/>
                <a:gd name="connsiteX2" fmla="*/ 10641 w 10784"/>
                <a:gd name="connsiteY2" fmla="*/ 5948 h 12090"/>
                <a:gd name="connsiteX3" fmla="*/ 6736 w 10784"/>
                <a:gd name="connsiteY3" fmla="*/ 43 h 12090"/>
                <a:gd name="connsiteX4" fmla="*/ 3688 w 10784"/>
                <a:gd name="connsiteY4" fmla="*/ 11663 h 12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84" h="12090">
                  <a:moveTo>
                    <a:pt x="3783" y="11663"/>
                  </a:moveTo>
                  <a:lnTo>
                    <a:pt x="3878" y="11663"/>
                  </a:lnTo>
                  <a:cubicBezTo>
                    <a:pt x="9784" y="14140"/>
                    <a:pt x="11213" y="4996"/>
                    <a:pt x="10641" y="5948"/>
                  </a:cubicBezTo>
                  <a:cubicBezTo>
                    <a:pt x="11308" y="3091"/>
                    <a:pt x="9593" y="424"/>
                    <a:pt x="6736" y="43"/>
                  </a:cubicBezTo>
                  <a:cubicBezTo>
                    <a:pt x="68" y="-719"/>
                    <a:pt x="-2884" y="8901"/>
                    <a:pt x="3688" y="11663"/>
                  </a:cubicBezTo>
                  <a:close/>
                </a:path>
              </a:pathLst>
            </a:custGeom>
            <a:grpFill/>
            <a:ln w="9525" cap="flat">
              <a:noFill/>
              <a:prstDash val="solid"/>
              <a:miter/>
            </a:ln>
          </p:spPr>
          <p:txBody>
            <a:bodyPr rtlCol="0" anchor="ctr"/>
            <a:lstStyle/>
            <a:p>
              <a:endParaRPr lang="en-IN"/>
            </a:p>
          </p:txBody>
        </p:sp>
        <p:sp>
          <p:nvSpPr>
            <p:cNvPr id="352" name="Freeform: Shape 351">
              <a:extLst>
                <a:ext uri="{FF2B5EF4-FFF2-40B4-BE49-F238E27FC236}">
                  <a16:creationId xmlns:a16="http://schemas.microsoft.com/office/drawing/2014/main" id="{F530B42D-1176-0A9B-D4F4-5B4A402FF23C}"/>
                </a:ext>
              </a:extLst>
            </p:cNvPr>
            <p:cNvSpPr/>
            <p:nvPr/>
          </p:nvSpPr>
          <p:spPr>
            <a:xfrm>
              <a:off x="6568599" y="3325039"/>
              <a:ext cx="42955" cy="23181"/>
            </a:xfrm>
            <a:custGeom>
              <a:avLst/>
              <a:gdLst>
                <a:gd name="connsiteX0" fmla="*/ 16207 w 42955"/>
                <a:gd name="connsiteY0" fmla="*/ 1510 h 23181"/>
                <a:gd name="connsiteX1" fmla="*/ 1920 w 42955"/>
                <a:gd name="connsiteY1" fmla="*/ 12464 h 23181"/>
                <a:gd name="connsiteX2" fmla="*/ 3825 w 42955"/>
                <a:gd name="connsiteY2" fmla="*/ 13607 h 23181"/>
                <a:gd name="connsiteX3" fmla="*/ 16398 w 42955"/>
                <a:gd name="connsiteY3" fmla="*/ 12178 h 23181"/>
                <a:gd name="connsiteX4" fmla="*/ 23828 w 42955"/>
                <a:gd name="connsiteY4" fmla="*/ 17036 h 23181"/>
                <a:gd name="connsiteX5" fmla="*/ 22208 w 42955"/>
                <a:gd name="connsiteY5" fmla="*/ 22179 h 23181"/>
                <a:gd name="connsiteX6" fmla="*/ 42115 w 42955"/>
                <a:gd name="connsiteY6" fmla="*/ 18941 h 23181"/>
                <a:gd name="connsiteX7" fmla="*/ 16207 w 42955"/>
                <a:gd name="connsiteY7" fmla="*/ 1415 h 2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55" h="23181">
                  <a:moveTo>
                    <a:pt x="16207" y="1510"/>
                  </a:moveTo>
                  <a:cubicBezTo>
                    <a:pt x="10207" y="4939"/>
                    <a:pt x="-5414" y="7987"/>
                    <a:pt x="1920" y="12464"/>
                  </a:cubicBezTo>
                  <a:lnTo>
                    <a:pt x="3825" y="13607"/>
                  </a:lnTo>
                  <a:cubicBezTo>
                    <a:pt x="9540" y="17036"/>
                    <a:pt x="17350" y="11893"/>
                    <a:pt x="16398" y="12178"/>
                  </a:cubicBezTo>
                  <a:cubicBezTo>
                    <a:pt x="22780" y="8845"/>
                    <a:pt x="29733" y="13036"/>
                    <a:pt x="23828" y="17036"/>
                  </a:cubicBezTo>
                  <a:cubicBezTo>
                    <a:pt x="22970" y="17988"/>
                    <a:pt x="15541" y="21799"/>
                    <a:pt x="22208" y="22179"/>
                  </a:cubicBezTo>
                  <a:cubicBezTo>
                    <a:pt x="31543" y="21894"/>
                    <a:pt x="46688" y="26180"/>
                    <a:pt x="42115" y="18941"/>
                  </a:cubicBezTo>
                  <a:cubicBezTo>
                    <a:pt x="38972" y="16369"/>
                    <a:pt x="32781" y="-5729"/>
                    <a:pt x="16207" y="1415"/>
                  </a:cubicBezTo>
                  <a:close/>
                </a:path>
              </a:pathLst>
            </a:custGeom>
            <a:grpFill/>
            <a:ln w="9525" cap="flat">
              <a:noFill/>
              <a:prstDash val="solid"/>
              <a:miter/>
            </a:ln>
          </p:spPr>
          <p:txBody>
            <a:bodyPr rtlCol="0" anchor="ctr"/>
            <a:lstStyle/>
            <a:p>
              <a:endParaRPr lang="en-IN"/>
            </a:p>
          </p:txBody>
        </p:sp>
        <p:sp>
          <p:nvSpPr>
            <p:cNvPr id="353" name="Freeform: Shape 352">
              <a:extLst>
                <a:ext uri="{FF2B5EF4-FFF2-40B4-BE49-F238E27FC236}">
                  <a16:creationId xmlns:a16="http://schemas.microsoft.com/office/drawing/2014/main" id="{7CCE9394-522E-0975-CDA3-0F1CE81FF871}"/>
                </a:ext>
              </a:extLst>
            </p:cNvPr>
            <p:cNvSpPr/>
            <p:nvPr/>
          </p:nvSpPr>
          <p:spPr>
            <a:xfrm>
              <a:off x="6521483" y="3276454"/>
              <a:ext cx="23236" cy="16329"/>
            </a:xfrm>
            <a:custGeom>
              <a:avLst/>
              <a:gdLst>
                <a:gd name="connsiteX0" fmla="*/ 9412 w 23236"/>
                <a:gd name="connsiteY0" fmla="*/ 1899 h 16329"/>
                <a:gd name="connsiteX1" fmla="*/ 1316 w 23236"/>
                <a:gd name="connsiteY1" fmla="*/ 3518 h 16329"/>
                <a:gd name="connsiteX2" fmla="*/ 8841 w 23236"/>
                <a:gd name="connsiteY2" fmla="*/ 14662 h 16329"/>
                <a:gd name="connsiteX3" fmla="*/ 20557 w 23236"/>
                <a:gd name="connsiteY3" fmla="*/ 11233 h 16329"/>
                <a:gd name="connsiteX4" fmla="*/ 9412 w 23236"/>
                <a:gd name="connsiteY4" fmla="*/ 1899 h 16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36" h="16329">
                  <a:moveTo>
                    <a:pt x="9412" y="1899"/>
                  </a:moveTo>
                  <a:cubicBezTo>
                    <a:pt x="5031" y="-1149"/>
                    <a:pt x="364" y="4090"/>
                    <a:pt x="1316" y="3518"/>
                  </a:cubicBezTo>
                  <a:cubicBezTo>
                    <a:pt x="-3637" y="9329"/>
                    <a:pt x="6841" y="20568"/>
                    <a:pt x="8841" y="14662"/>
                  </a:cubicBezTo>
                  <a:cubicBezTo>
                    <a:pt x="11127" y="8186"/>
                    <a:pt x="17413" y="18568"/>
                    <a:pt x="20557" y="11233"/>
                  </a:cubicBezTo>
                  <a:cubicBezTo>
                    <a:pt x="27891" y="-11531"/>
                    <a:pt x="18842" y="8471"/>
                    <a:pt x="9412" y="1899"/>
                  </a:cubicBezTo>
                  <a:close/>
                </a:path>
              </a:pathLst>
            </a:custGeom>
            <a:grpFill/>
            <a:ln w="9525" cap="flat">
              <a:noFill/>
              <a:prstDash val="solid"/>
              <a:miter/>
            </a:ln>
          </p:spPr>
          <p:txBody>
            <a:bodyPr rtlCol="0" anchor="ctr"/>
            <a:lstStyle/>
            <a:p>
              <a:endParaRPr lang="en-IN"/>
            </a:p>
          </p:txBody>
        </p:sp>
        <p:sp>
          <p:nvSpPr>
            <p:cNvPr id="354" name="Freeform: Shape 353">
              <a:extLst>
                <a:ext uri="{FF2B5EF4-FFF2-40B4-BE49-F238E27FC236}">
                  <a16:creationId xmlns:a16="http://schemas.microsoft.com/office/drawing/2014/main" id="{DA0FC062-FF25-9FF4-FCEC-0CDC7EB32CEF}"/>
                </a:ext>
              </a:extLst>
            </p:cNvPr>
            <p:cNvSpPr/>
            <p:nvPr/>
          </p:nvSpPr>
          <p:spPr>
            <a:xfrm>
              <a:off x="6681750" y="3528401"/>
              <a:ext cx="30152" cy="34421"/>
            </a:xfrm>
            <a:custGeom>
              <a:avLst/>
              <a:gdLst>
                <a:gd name="connsiteX0" fmla="*/ 116 w 30152"/>
                <a:gd name="connsiteY0" fmla="*/ 24748 h 34421"/>
                <a:gd name="connsiteX1" fmla="*/ 5260 w 30152"/>
                <a:gd name="connsiteY1" fmla="*/ 33415 h 34421"/>
                <a:gd name="connsiteX2" fmla="*/ 22404 w 30152"/>
                <a:gd name="connsiteY2" fmla="*/ 17795 h 34421"/>
                <a:gd name="connsiteX3" fmla="*/ 26977 w 30152"/>
                <a:gd name="connsiteY3" fmla="*/ 269 h 34421"/>
                <a:gd name="connsiteX4" fmla="*/ 7450 w 30152"/>
                <a:gd name="connsiteY4" fmla="*/ 9127 h 34421"/>
                <a:gd name="connsiteX5" fmla="*/ 21 w 30152"/>
                <a:gd name="connsiteY5" fmla="*/ 24748 h 3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52" h="34421">
                  <a:moveTo>
                    <a:pt x="116" y="24748"/>
                  </a:moveTo>
                  <a:cubicBezTo>
                    <a:pt x="592" y="26557"/>
                    <a:pt x="-646" y="37797"/>
                    <a:pt x="5260" y="33415"/>
                  </a:cubicBezTo>
                  <a:cubicBezTo>
                    <a:pt x="13261" y="27510"/>
                    <a:pt x="19166" y="24081"/>
                    <a:pt x="22404" y="17795"/>
                  </a:cubicBezTo>
                  <a:cubicBezTo>
                    <a:pt x="25262" y="10841"/>
                    <a:pt x="35168" y="-2018"/>
                    <a:pt x="26977" y="269"/>
                  </a:cubicBezTo>
                  <a:cubicBezTo>
                    <a:pt x="18595" y="2650"/>
                    <a:pt x="11641" y="3602"/>
                    <a:pt x="7450" y="9127"/>
                  </a:cubicBezTo>
                  <a:cubicBezTo>
                    <a:pt x="7450" y="9127"/>
                    <a:pt x="-455" y="17223"/>
                    <a:pt x="21" y="24748"/>
                  </a:cubicBezTo>
                  <a:close/>
                </a:path>
              </a:pathLst>
            </a:custGeom>
            <a:grpFill/>
            <a:ln w="9525" cap="flat">
              <a:noFill/>
              <a:prstDash val="solid"/>
              <a:miter/>
            </a:ln>
          </p:spPr>
          <p:txBody>
            <a:bodyPr rtlCol="0" anchor="ctr"/>
            <a:lstStyle/>
            <a:p>
              <a:endParaRPr lang="en-IN"/>
            </a:p>
          </p:txBody>
        </p:sp>
        <p:sp>
          <p:nvSpPr>
            <p:cNvPr id="355" name="Freeform: Shape 354">
              <a:extLst>
                <a:ext uri="{FF2B5EF4-FFF2-40B4-BE49-F238E27FC236}">
                  <a16:creationId xmlns:a16="http://schemas.microsoft.com/office/drawing/2014/main" id="{17863590-EEF1-F70A-321D-9F36E8C29449}"/>
                </a:ext>
              </a:extLst>
            </p:cNvPr>
            <p:cNvSpPr/>
            <p:nvPr/>
          </p:nvSpPr>
          <p:spPr>
            <a:xfrm>
              <a:off x="6631955" y="3497307"/>
              <a:ext cx="24673" cy="14197"/>
            </a:xfrm>
            <a:custGeom>
              <a:avLst/>
              <a:gdLst>
                <a:gd name="connsiteX0" fmla="*/ 22956 w 24673"/>
                <a:gd name="connsiteY0" fmla="*/ 3264 h 14197"/>
                <a:gd name="connsiteX1" fmla="*/ 6763 w 24673"/>
                <a:gd name="connsiteY1" fmla="*/ 3169 h 14197"/>
                <a:gd name="connsiteX2" fmla="*/ 1048 w 24673"/>
                <a:gd name="connsiteY2" fmla="*/ 13170 h 14197"/>
                <a:gd name="connsiteX3" fmla="*/ 12097 w 24673"/>
                <a:gd name="connsiteY3" fmla="*/ 10122 h 14197"/>
                <a:gd name="connsiteX4" fmla="*/ 22956 w 24673"/>
                <a:gd name="connsiteY4" fmla="*/ 3264 h 14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73" h="14197">
                  <a:moveTo>
                    <a:pt x="22956" y="3264"/>
                  </a:moveTo>
                  <a:cubicBezTo>
                    <a:pt x="30290" y="-927"/>
                    <a:pt x="12097" y="-1213"/>
                    <a:pt x="6763" y="3169"/>
                  </a:cubicBezTo>
                  <a:cubicBezTo>
                    <a:pt x="5715" y="4407"/>
                    <a:pt x="-2952" y="9455"/>
                    <a:pt x="1048" y="13170"/>
                  </a:cubicBezTo>
                  <a:cubicBezTo>
                    <a:pt x="4858" y="16790"/>
                    <a:pt x="13050" y="9646"/>
                    <a:pt x="12097" y="10122"/>
                  </a:cubicBezTo>
                  <a:cubicBezTo>
                    <a:pt x="17241" y="6407"/>
                    <a:pt x="23908" y="2692"/>
                    <a:pt x="22956" y="3264"/>
                  </a:cubicBezTo>
                  <a:close/>
                </a:path>
              </a:pathLst>
            </a:custGeom>
            <a:grpFill/>
            <a:ln w="9525" cap="flat">
              <a:noFill/>
              <a:prstDash val="solid"/>
              <a:miter/>
            </a:ln>
          </p:spPr>
          <p:txBody>
            <a:bodyPr rtlCol="0" anchor="ctr"/>
            <a:lstStyle/>
            <a:p>
              <a:endParaRPr lang="en-IN"/>
            </a:p>
          </p:txBody>
        </p:sp>
        <p:sp>
          <p:nvSpPr>
            <p:cNvPr id="356" name="Freeform: Shape 355">
              <a:extLst>
                <a:ext uri="{FF2B5EF4-FFF2-40B4-BE49-F238E27FC236}">
                  <a16:creationId xmlns:a16="http://schemas.microsoft.com/office/drawing/2014/main" id="{618C3DC5-F6EF-0206-DA94-7DBD724EBF2A}"/>
                </a:ext>
              </a:extLst>
            </p:cNvPr>
            <p:cNvSpPr/>
            <p:nvPr/>
          </p:nvSpPr>
          <p:spPr>
            <a:xfrm>
              <a:off x="6631762" y="3484776"/>
              <a:ext cx="8367" cy="8620"/>
            </a:xfrm>
            <a:custGeom>
              <a:avLst/>
              <a:gdLst>
                <a:gd name="connsiteX0" fmla="*/ 1527 w 8367"/>
                <a:gd name="connsiteY0" fmla="*/ 8175 h 8620"/>
                <a:gd name="connsiteX1" fmla="*/ 5813 w 8367"/>
                <a:gd name="connsiteY1" fmla="*/ 79 h 8620"/>
                <a:gd name="connsiteX2" fmla="*/ 1527 w 8367"/>
                <a:gd name="connsiteY2" fmla="*/ 8175 h 8620"/>
              </a:gdLst>
              <a:ahLst/>
              <a:cxnLst>
                <a:cxn ang="0">
                  <a:pos x="connsiteX0" y="connsiteY0"/>
                </a:cxn>
                <a:cxn ang="0">
                  <a:pos x="connsiteX1" y="connsiteY1"/>
                </a:cxn>
                <a:cxn ang="0">
                  <a:pos x="connsiteX2" y="connsiteY2"/>
                </a:cxn>
              </a:cxnLst>
              <a:rect l="l" t="t" r="r" b="b"/>
              <a:pathLst>
                <a:path w="8367" h="8620">
                  <a:moveTo>
                    <a:pt x="1527" y="8175"/>
                  </a:moveTo>
                  <a:cubicBezTo>
                    <a:pt x="5718" y="10651"/>
                    <a:pt x="11909" y="2079"/>
                    <a:pt x="5813" y="79"/>
                  </a:cubicBezTo>
                  <a:cubicBezTo>
                    <a:pt x="3337" y="-779"/>
                    <a:pt x="-2854" y="5603"/>
                    <a:pt x="1527" y="8175"/>
                  </a:cubicBezTo>
                  <a:close/>
                </a:path>
              </a:pathLst>
            </a:custGeom>
            <a:grpFill/>
            <a:ln w="9525" cap="flat">
              <a:noFill/>
              <a:prstDash val="solid"/>
              <a:miter/>
            </a:ln>
          </p:spPr>
          <p:txBody>
            <a:bodyPr rtlCol="0" anchor="ctr"/>
            <a:lstStyle/>
            <a:p>
              <a:endParaRPr lang="en-IN"/>
            </a:p>
          </p:txBody>
        </p:sp>
        <p:sp>
          <p:nvSpPr>
            <p:cNvPr id="357" name="Freeform: Shape 356">
              <a:extLst>
                <a:ext uri="{FF2B5EF4-FFF2-40B4-BE49-F238E27FC236}">
                  <a16:creationId xmlns:a16="http://schemas.microsoft.com/office/drawing/2014/main" id="{87A7AAF5-EE55-7447-B1BF-321393BBAB47}"/>
                </a:ext>
              </a:extLst>
            </p:cNvPr>
            <p:cNvSpPr/>
            <p:nvPr/>
          </p:nvSpPr>
          <p:spPr>
            <a:xfrm>
              <a:off x="6622460" y="3471753"/>
              <a:ext cx="7596" cy="9077"/>
            </a:xfrm>
            <a:custGeom>
              <a:avLst/>
              <a:gdLst>
                <a:gd name="connsiteX0" fmla="*/ 828 w 7596"/>
                <a:gd name="connsiteY0" fmla="*/ 1291 h 9077"/>
                <a:gd name="connsiteX1" fmla="*/ 7210 w 7596"/>
                <a:gd name="connsiteY1" fmla="*/ 7101 h 9077"/>
                <a:gd name="connsiteX2" fmla="*/ 828 w 7596"/>
                <a:gd name="connsiteY2" fmla="*/ 1291 h 9077"/>
              </a:gdLst>
              <a:ahLst/>
              <a:cxnLst>
                <a:cxn ang="0">
                  <a:pos x="connsiteX0" y="connsiteY0"/>
                </a:cxn>
                <a:cxn ang="0">
                  <a:pos x="connsiteX1" y="connsiteY1"/>
                </a:cxn>
                <a:cxn ang="0">
                  <a:pos x="connsiteX2" y="connsiteY2"/>
                </a:cxn>
              </a:cxnLst>
              <a:rect l="l" t="t" r="r" b="b"/>
              <a:pathLst>
                <a:path w="7596" h="9077">
                  <a:moveTo>
                    <a:pt x="828" y="1291"/>
                  </a:moveTo>
                  <a:cubicBezTo>
                    <a:pt x="-1934" y="5767"/>
                    <a:pt x="2733" y="12435"/>
                    <a:pt x="7210" y="7101"/>
                  </a:cubicBezTo>
                  <a:cubicBezTo>
                    <a:pt x="9115" y="4910"/>
                    <a:pt x="3495" y="-3091"/>
                    <a:pt x="828" y="1291"/>
                  </a:cubicBezTo>
                  <a:close/>
                </a:path>
              </a:pathLst>
            </a:custGeom>
            <a:grpFill/>
            <a:ln w="9525" cap="flat">
              <a:noFill/>
              <a:prstDash val="solid"/>
              <a:miter/>
            </a:ln>
          </p:spPr>
          <p:txBody>
            <a:bodyPr rtlCol="0" anchor="ctr"/>
            <a:lstStyle/>
            <a:p>
              <a:endParaRPr lang="en-IN"/>
            </a:p>
          </p:txBody>
        </p:sp>
        <p:sp>
          <p:nvSpPr>
            <p:cNvPr id="358" name="Freeform: Shape 357">
              <a:extLst>
                <a:ext uri="{FF2B5EF4-FFF2-40B4-BE49-F238E27FC236}">
                  <a16:creationId xmlns:a16="http://schemas.microsoft.com/office/drawing/2014/main" id="{67D2AB39-A7FF-23EF-E0A2-778612BD4788}"/>
                </a:ext>
              </a:extLst>
            </p:cNvPr>
            <p:cNvSpPr/>
            <p:nvPr/>
          </p:nvSpPr>
          <p:spPr>
            <a:xfrm>
              <a:off x="6499894" y="3419816"/>
              <a:ext cx="14529" cy="18217"/>
            </a:xfrm>
            <a:custGeom>
              <a:avLst/>
              <a:gdLst>
                <a:gd name="connsiteX0" fmla="*/ 521 w 14529"/>
                <a:gd name="connsiteY0" fmla="*/ 2078 h 18217"/>
                <a:gd name="connsiteX1" fmla="*/ 9474 w 14529"/>
                <a:gd name="connsiteY1" fmla="*/ 17032 h 18217"/>
                <a:gd name="connsiteX2" fmla="*/ 14427 w 14529"/>
                <a:gd name="connsiteY2" fmla="*/ 12365 h 18217"/>
                <a:gd name="connsiteX3" fmla="*/ 11474 w 14529"/>
                <a:gd name="connsiteY3" fmla="*/ 6364 h 18217"/>
                <a:gd name="connsiteX4" fmla="*/ 521 w 14529"/>
                <a:gd name="connsiteY4" fmla="*/ 2078 h 18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9" h="18217">
                  <a:moveTo>
                    <a:pt x="521" y="2078"/>
                  </a:moveTo>
                  <a:cubicBezTo>
                    <a:pt x="-2718" y="8841"/>
                    <a:pt x="10236" y="17985"/>
                    <a:pt x="9474" y="17032"/>
                  </a:cubicBezTo>
                  <a:cubicBezTo>
                    <a:pt x="14332" y="21604"/>
                    <a:pt x="14808" y="11412"/>
                    <a:pt x="14427" y="12365"/>
                  </a:cubicBezTo>
                  <a:cubicBezTo>
                    <a:pt x="14808" y="9412"/>
                    <a:pt x="13475" y="6745"/>
                    <a:pt x="11474" y="6364"/>
                  </a:cubicBezTo>
                  <a:cubicBezTo>
                    <a:pt x="5855" y="5412"/>
                    <a:pt x="3569" y="-4113"/>
                    <a:pt x="521" y="2078"/>
                  </a:cubicBezTo>
                  <a:close/>
                </a:path>
              </a:pathLst>
            </a:custGeom>
            <a:grpFill/>
            <a:ln w="9525" cap="flat">
              <a:noFill/>
              <a:prstDash val="solid"/>
              <a:miter/>
            </a:ln>
          </p:spPr>
          <p:txBody>
            <a:bodyPr rtlCol="0" anchor="ctr"/>
            <a:lstStyle/>
            <a:p>
              <a:endParaRPr lang="en-IN"/>
            </a:p>
          </p:txBody>
        </p:sp>
        <p:sp>
          <p:nvSpPr>
            <p:cNvPr id="359" name="Freeform: Shape 358">
              <a:extLst>
                <a:ext uri="{FF2B5EF4-FFF2-40B4-BE49-F238E27FC236}">
                  <a16:creationId xmlns:a16="http://schemas.microsoft.com/office/drawing/2014/main" id="{17B2EE15-E457-47B3-3471-9521FFE3EE30}"/>
                </a:ext>
              </a:extLst>
            </p:cNvPr>
            <p:cNvSpPr/>
            <p:nvPr/>
          </p:nvSpPr>
          <p:spPr>
            <a:xfrm>
              <a:off x="6520986" y="3441726"/>
              <a:ext cx="11254" cy="11066"/>
            </a:xfrm>
            <a:custGeom>
              <a:avLst/>
              <a:gdLst>
                <a:gd name="connsiteX0" fmla="*/ 10957 w 11254"/>
                <a:gd name="connsiteY0" fmla="*/ 5124 h 11066"/>
                <a:gd name="connsiteX1" fmla="*/ 765 w 11254"/>
                <a:gd name="connsiteY1" fmla="*/ 4743 h 11066"/>
                <a:gd name="connsiteX2" fmla="*/ 9623 w 11254"/>
                <a:gd name="connsiteY2" fmla="*/ 8648 h 11066"/>
                <a:gd name="connsiteX3" fmla="*/ 10957 w 11254"/>
                <a:gd name="connsiteY3" fmla="*/ 5029 h 11066"/>
              </a:gdLst>
              <a:ahLst/>
              <a:cxnLst>
                <a:cxn ang="0">
                  <a:pos x="connsiteX0" y="connsiteY0"/>
                </a:cxn>
                <a:cxn ang="0">
                  <a:pos x="connsiteX1" y="connsiteY1"/>
                </a:cxn>
                <a:cxn ang="0">
                  <a:pos x="connsiteX2" y="connsiteY2"/>
                </a:cxn>
                <a:cxn ang="0">
                  <a:pos x="connsiteX3" y="connsiteY3"/>
                </a:cxn>
              </a:cxnLst>
              <a:rect l="l" t="t" r="r" b="b"/>
              <a:pathLst>
                <a:path w="11254" h="11066">
                  <a:moveTo>
                    <a:pt x="10957" y="5124"/>
                  </a:moveTo>
                  <a:cubicBezTo>
                    <a:pt x="13719" y="-2210"/>
                    <a:pt x="-3807" y="-1067"/>
                    <a:pt x="765" y="4743"/>
                  </a:cubicBezTo>
                  <a:cubicBezTo>
                    <a:pt x="1908" y="5695"/>
                    <a:pt x="7052" y="15506"/>
                    <a:pt x="9623" y="8648"/>
                  </a:cubicBezTo>
                  <a:lnTo>
                    <a:pt x="10957" y="5029"/>
                  </a:lnTo>
                  <a:close/>
                </a:path>
              </a:pathLst>
            </a:custGeom>
            <a:grpFill/>
            <a:ln w="9525" cap="flat">
              <a:noFill/>
              <a:prstDash val="solid"/>
              <a:miter/>
            </a:ln>
          </p:spPr>
          <p:txBody>
            <a:bodyPr rtlCol="0" anchor="ctr"/>
            <a:lstStyle/>
            <a:p>
              <a:endParaRPr lang="en-IN"/>
            </a:p>
          </p:txBody>
        </p:sp>
        <p:sp>
          <p:nvSpPr>
            <p:cNvPr id="360" name="Freeform: Shape 359">
              <a:extLst>
                <a:ext uri="{FF2B5EF4-FFF2-40B4-BE49-F238E27FC236}">
                  <a16:creationId xmlns:a16="http://schemas.microsoft.com/office/drawing/2014/main" id="{7818B5F8-A75C-CBD8-EBDD-303943A86A10}"/>
                </a:ext>
              </a:extLst>
            </p:cNvPr>
            <p:cNvSpPr/>
            <p:nvPr/>
          </p:nvSpPr>
          <p:spPr>
            <a:xfrm>
              <a:off x="6541065" y="3475957"/>
              <a:ext cx="12401" cy="15425"/>
            </a:xfrm>
            <a:custGeom>
              <a:avLst/>
              <a:gdLst>
                <a:gd name="connsiteX0" fmla="*/ 2212 w 12401"/>
                <a:gd name="connsiteY0" fmla="*/ 2992 h 15425"/>
                <a:gd name="connsiteX1" fmla="*/ 1736 w 12401"/>
                <a:gd name="connsiteY1" fmla="*/ 3468 h 15425"/>
                <a:gd name="connsiteX2" fmla="*/ 12214 w 12401"/>
                <a:gd name="connsiteY2" fmla="*/ 5755 h 15425"/>
                <a:gd name="connsiteX3" fmla="*/ 2212 w 12401"/>
                <a:gd name="connsiteY3" fmla="*/ 2897 h 15425"/>
              </a:gdLst>
              <a:ahLst/>
              <a:cxnLst>
                <a:cxn ang="0">
                  <a:pos x="connsiteX0" y="connsiteY0"/>
                </a:cxn>
                <a:cxn ang="0">
                  <a:pos x="connsiteX1" y="connsiteY1"/>
                </a:cxn>
                <a:cxn ang="0">
                  <a:pos x="connsiteX2" y="connsiteY2"/>
                </a:cxn>
                <a:cxn ang="0">
                  <a:pos x="connsiteX3" y="connsiteY3"/>
                </a:cxn>
              </a:cxnLst>
              <a:rect l="l" t="t" r="r" b="b"/>
              <a:pathLst>
                <a:path w="12401" h="15425">
                  <a:moveTo>
                    <a:pt x="2212" y="2992"/>
                  </a:moveTo>
                  <a:lnTo>
                    <a:pt x="1736" y="3468"/>
                  </a:lnTo>
                  <a:cubicBezTo>
                    <a:pt x="-4455" y="9660"/>
                    <a:pt x="7546" y="25662"/>
                    <a:pt x="12214" y="5755"/>
                  </a:cubicBezTo>
                  <a:cubicBezTo>
                    <a:pt x="13547" y="230"/>
                    <a:pt x="7546" y="-2437"/>
                    <a:pt x="2212" y="2897"/>
                  </a:cubicBezTo>
                  <a:close/>
                </a:path>
              </a:pathLst>
            </a:custGeom>
            <a:grpFill/>
            <a:ln w="9525" cap="flat">
              <a:noFill/>
              <a:prstDash val="solid"/>
              <a:miter/>
            </a:ln>
          </p:spPr>
          <p:txBody>
            <a:bodyPr rtlCol="0" anchor="ctr"/>
            <a:lstStyle/>
            <a:p>
              <a:endParaRPr lang="en-IN"/>
            </a:p>
          </p:txBody>
        </p:sp>
        <p:sp>
          <p:nvSpPr>
            <p:cNvPr id="361" name="Freeform: Shape 360">
              <a:extLst>
                <a:ext uri="{FF2B5EF4-FFF2-40B4-BE49-F238E27FC236}">
                  <a16:creationId xmlns:a16="http://schemas.microsoft.com/office/drawing/2014/main" id="{CA3E16BB-77E1-75E4-8BFE-CD86CCA4C2F6}"/>
                </a:ext>
              </a:extLst>
            </p:cNvPr>
            <p:cNvSpPr/>
            <p:nvPr/>
          </p:nvSpPr>
          <p:spPr>
            <a:xfrm>
              <a:off x="6472859" y="3438943"/>
              <a:ext cx="9159" cy="12193"/>
            </a:xfrm>
            <a:custGeom>
              <a:avLst/>
              <a:gdLst>
                <a:gd name="connsiteX0" fmla="*/ 2409 w 9159"/>
                <a:gd name="connsiteY0" fmla="*/ 1525 h 12193"/>
                <a:gd name="connsiteX1" fmla="*/ 5458 w 9159"/>
                <a:gd name="connsiteY1" fmla="*/ 10860 h 12193"/>
                <a:gd name="connsiteX2" fmla="*/ 6886 w 9159"/>
                <a:gd name="connsiteY2" fmla="*/ 9622 h 12193"/>
                <a:gd name="connsiteX3" fmla="*/ 2409 w 9159"/>
                <a:gd name="connsiteY3" fmla="*/ 1525 h 12193"/>
              </a:gdLst>
              <a:ahLst/>
              <a:cxnLst>
                <a:cxn ang="0">
                  <a:pos x="connsiteX0" y="connsiteY0"/>
                </a:cxn>
                <a:cxn ang="0">
                  <a:pos x="connsiteX1" y="connsiteY1"/>
                </a:cxn>
                <a:cxn ang="0">
                  <a:pos x="connsiteX2" y="connsiteY2"/>
                </a:cxn>
                <a:cxn ang="0">
                  <a:pos x="connsiteX3" y="connsiteY3"/>
                </a:cxn>
              </a:cxnLst>
              <a:rect l="l" t="t" r="r" b="b"/>
              <a:pathLst>
                <a:path w="9159" h="12193">
                  <a:moveTo>
                    <a:pt x="2409" y="1525"/>
                  </a:moveTo>
                  <a:cubicBezTo>
                    <a:pt x="-2067" y="6478"/>
                    <a:pt x="124" y="15622"/>
                    <a:pt x="5458" y="10860"/>
                  </a:cubicBezTo>
                  <a:lnTo>
                    <a:pt x="6886" y="9622"/>
                  </a:lnTo>
                  <a:cubicBezTo>
                    <a:pt x="12316" y="4859"/>
                    <a:pt x="6886" y="-3428"/>
                    <a:pt x="2409" y="1525"/>
                  </a:cubicBezTo>
                  <a:close/>
                </a:path>
              </a:pathLst>
            </a:custGeom>
            <a:grpFill/>
            <a:ln w="9525" cap="flat">
              <a:noFill/>
              <a:prstDash val="solid"/>
              <a:miter/>
            </a:ln>
          </p:spPr>
          <p:txBody>
            <a:bodyPr rtlCol="0" anchor="ctr"/>
            <a:lstStyle/>
            <a:p>
              <a:endParaRPr lang="en-IN"/>
            </a:p>
          </p:txBody>
        </p:sp>
        <p:sp>
          <p:nvSpPr>
            <p:cNvPr id="362" name="Freeform: Shape 361">
              <a:extLst>
                <a:ext uri="{FF2B5EF4-FFF2-40B4-BE49-F238E27FC236}">
                  <a16:creationId xmlns:a16="http://schemas.microsoft.com/office/drawing/2014/main" id="{9160267E-1310-3F64-42AF-D4FE9C4AE74A}"/>
                </a:ext>
              </a:extLst>
            </p:cNvPr>
            <p:cNvSpPr/>
            <p:nvPr/>
          </p:nvSpPr>
          <p:spPr>
            <a:xfrm>
              <a:off x="6508944" y="3452259"/>
              <a:ext cx="7541" cy="10944"/>
            </a:xfrm>
            <a:custGeom>
              <a:avLst/>
              <a:gdLst>
                <a:gd name="connsiteX0" fmla="*/ 43 w 7541"/>
                <a:gd name="connsiteY0" fmla="*/ 4116 h 10944"/>
                <a:gd name="connsiteX1" fmla="*/ 43 w 7541"/>
                <a:gd name="connsiteY1" fmla="*/ 4497 h 10944"/>
                <a:gd name="connsiteX2" fmla="*/ 7377 w 7541"/>
                <a:gd name="connsiteY2" fmla="*/ 6688 h 10944"/>
                <a:gd name="connsiteX3" fmla="*/ 43 w 7541"/>
                <a:gd name="connsiteY3" fmla="*/ 4116 h 10944"/>
              </a:gdLst>
              <a:ahLst/>
              <a:cxnLst>
                <a:cxn ang="0">
                  <a:pos x="connsiteX0" y="connsiteY0"/>
                </a:cxn>
                <a:cxn ang="0">
                  <a:pos x="connsiteX1" y="connsiteY1"/>
                </a:cxn>
                <a:cxn ang="0">
                  <a:pos x="connsiteX2" y="connsiteY2"/>
                </a:cxn>
                <a:cxn ang="0">
                  <a:pos x="connsiteX3" y="connsiteY3"/>
                </a:cxn>
              </a:cxnLst>
              <a:rect l="l" t="t" r="r" b="b"/>
              <a:pathLst>
                <a:path w="7541" h="10944">
                  <a:moveTo>
                    <a:pt x="43" y="4116"/>
                  </a:moveTo>
                  <a:lnTo>
                    <a:pt x="43" y="4497"/>
                  </a:lnTo>
                  <a:cubicBezTo>
                    <a:pt x="-719" y="11736"/>
                    <a:pt x="8901" y="13451"/>
                    <a:pt x="7377" y="6688"/>
                  </a:cubicBezTo>
                  <a:cubicBezTo>
                    <a:pt x="5853" y="-170"/>
                    <a:pt x="805" y="-2932"/>
                    <a:pt x="43" y="4116"/>
                  </a:cubicBezTo>
                  <a:close/>
                </a:path>
              </a:pathLst>
            </a:custGeom>
            <a:grpFill/>
            <a:ln w="9525" cap="flat">
              <a:noFill/>
              <a:prstDash val="solid"/>
              <a:miter/>
            </a:ln>
          </p:spPr>
          <p:txBody>
            <a:bodyPr rtlCol="0" anchor="ctr"/>
            <a:lstStyle/>
            <a:p>
              <a:endParaRPr lang="en-IN"/>
            </a:p>
          </p:txBody>
        </p:sp>
        <p:sp>
          <p:nvSpPr>
            <p:cNvPr id="363" name="Freeform: Shape 362">
              <a:extLst>
                <a:ext uri="{FF2B5EF4-FFF2-40B4-BE49-F238E27FC236}">
                  <a16:creationId xmlns:a16="http://schemas.microsoft.com/office/drawing/2014/main" id="{9851C2C7-8892-FEFC-59D8-976032087CA8}"/>
                </a:ext>
              </a:extLst>
            </p:cNvPr>
            <p:cNvSpPr/>
            <p:nvPr/>
          </p:nvSpPr>
          <p:spPr>
            <a:xfrm>
              <a:off x="6481628" y="3473001"/>
              <a:ext cx="8101" cy="8145"/>
            </a:xfrm>
            <a:custGeom>
              <a:avLst/>
              <a:gdLst>
                <a:gd name="connsiteX0" fmla="*/ 4118 w 8101"/>
                <a:gd name="connsiteY0" fmla="*/ 7948 h 8145"/>
                <a:gd name="connsiteX1" fmla="*/ 7547 w 8101"/>
                <a:gd name="connsiteY1" fmla="*/ 2614 h 8145"/>
                <a:gd name="connsiteX2" fmla="*/ 1261 w 8101"/>
                <a:gd name="connsiteY2" fmla="*/ 2328 h 8145"/>
                <a:gd name="connsiteX3" fmla="*/ 4118 w 8101"/>
                <a:gd name="connsiteY3" fmla="*/ 7948 h 8145"/>
              </a:gdLst>
              <a:ahLst/>
              <a:cxnLst>
                <a:cxn ang="0">
                  <a:pos x="connsiteX0" y="connsiteY0"/>
                </a:cxn>
                <a:cxn ang="0">
                  <a:pos x="connsiteX1" y="connsiteY1"/>
                </a:cxn>
                <a:cxn ang="0">
                  <a:pos x="connsiteX2" y="connsiteY2"/>
                </a:cxn>
                <a:cxn ang="0">
                  <a:pos x="connsiteX3" y="connsiteY3"/>
                </a:cxn>
              </a:cxnLst>
              <a:rect l="l" t="t" r="r" b="b"/>
              <a:pathLst>
                <a:path w="8101" h="8145">
                  <a:moveTo>
                    <a:pt x="4118" y="7948"/>
                  </a:moveTo>
                  <a:cubicBezTo>
                    <a:pt x="10024" y="9472"/>
                    <a:pt x="7642" y="1661"/>
                    <a:pt x="7547" y="2614"/>
                  </a:cubicBezTo>
                  <a:cubicBezTo>
                    <a:pt x="5928" y="-3291"/>
                    <a:pt x="308" y="2709"/>
                    <a:pt x="1261" y="2328"/>
                  </a:cubicBezTo>
                  <a:cubicBezTo>
                    <a:pt x="-3026" y="6615"/>
                    <a:pt x="5071" y="8615"/>
                    <a:pt x="4118" y="7948"/>
                  </a:cubicBezTo>
                  <a:close/>
                </a:path>
              </a:pathLst>
            </a:custGeom>
            <a:grpFill/>
            <a:ln w="9525" cap="flat">
              <a:noFill/>
              <a:prstDash val="solid"/>
              <a:miter/>
            </a:ln>
          </p:spPr>
          <p:txBody>
            <a:bodyPr rtlCol="0" anchor="ctr"/>
            <a:lstStyle/>
            <a:p>
              <a:endParaRPr lang="en-IN"/>
            </a:p>
          </p:txBody>
        </p:sp>
        <p:sp>
          <p:nvSpPr>
            <p:cNvPr id="364" name="Freeform: Shape 363">
              <a:extLst>
                <a:ext uri="{FF2B5EF4-FFF2-40B4-BE49-F238E27FC236}">
                  <a16:creationId xmlns:a16="http://schemas.microsoft.com/office/drawing/2014/main" id="{B32BF63A-8E74-27E1-8E10-CAB38414168E}"/>
                </a:ext>
              </a:extLst>
            </p:cNvPr>
            <p:cNvSpPr/>
            <p:nvPr/>
          </p:nvSpPr>
          <p:spPr>
            <a:xfrm>
              <a:off x="6519989" y="3481110"/>
              <a:ext cx="11900" cy="10120"/>
            </a:xfrm>
            <a:custGeom>
              <a:avLst/>
              <a:gdLst>
                <a:gd name="connsiteX0" fmla="*/ 10239 w 11900"/>
                <a:gd name="connsiteY0" fmla="*/ 982 h 10120"/>
                <a:gd name="connsiteX1" fmla="*/ 1190 w 11900"/>
                <a:gd name="connsiteY1" fmla="*/ 3935 h 10120"/>
                <a:gd name="connsiteX2" fmla="*/ 2524 w 11900"/>
                <a:gd name="connsiteY2" fmla="*/ 9650 h 10120"/>
                <a:gd name="connsiteX3" fmla="*/ 10239 w 11900"/>
                <a:gd name="connsiteY3" fmla="*/ 887 h 10120"/>
              </a:gdLst>
              <a:ahLst/>
              <a:cxnLst>
                <a:cxn ang="0">
                  <a:pos x="connsiteX0" y="connsiteY0"/>
                </a:cxn>
                <a:cxn ang="0">
                  <a:pos x="connsiteX1" y="connsiteY1"/>
                </a:cxn>
                <a:cxn ang="0">
                  <a:pos x="connsiteX2" y="connsiteY2"/>
                </a:cxn>
                <a:cxn ang="0">
                  <a:pos x="connsiteX3" y="connsiteY3"/>
                </a:cxn>
              </a:cxnLst>
              <a:rect l="l" t="t" r="r" b="b"/>
              <a:pathLst>
                <a:path w="11900" h="10120">
                  <a:moveTo>
                    <a:pt x="10239" y="982"/>
                  </a:moveTo>
                  <a:cubicBezTo>
                    <a:pt x="6048" y="-2542"/>
                    <a:pt x="238" y="4602"/>
                    <a:pt x="1190" y="3935"/>
                  </a:cubicBezTo>
                  <a:cubicBezTo>
                    <a:pt x="-810" y="6126"/>
                    <a:pt x="-239" y="8697"/>
                    <a:pt x="2524" y="9650"/>
                  </a:cubicBezTo>
                  <a:cubicBezTo>
                    <a:pt x="9191" y="12031"/>
                    <a:pt x="14811" y="4792"/>
                    <a:pt x="10239" y="887"/>
                  </a:cubicBezTo>
                  <a:close/>
                </a:path>
              </a:pathLst>
            </a:custGeom>
            <a:grpFill/>
            <a:ln w="9525" cap="flat">
              <a:noFill/>
              <a:prstDash val="solid"/>
              <a:miter/>
            </a:ln>
          </p:spPr>
          <p:txBody>
            <a:bodyPr rtlCol="0" anchor="ctr"/>
            <a:lstStyle/>
            <a:p>
              <a:endParaRPr lang="en-IN"/>
            </a:p>
          </p:txBody>
        </p:sp>
        <p:sp>
          <p:nvSpPr>
            <p:cNvPr id="365" name="Freeform: Shape 364">
              <a:extLst>
                <a:ext uri="{FF2B5EF4-FFF2-40B4-BE49-F238E27FC236}">
                  <a16:creationId xmlns:a16="http://schemas.microsoft.com/office/drawing/2014/main" id="{9A89C9CB-1D65-B276-33B4-E8D95445296E}"/>
                </a:ext>
              </a:extLst>
            </p:cNvPr>
            <p:cNvSpPr/>
            <p:nvPr/>
          </p:nvSpPr>
          <p:spPr>
            <a:xfrm>
              <a:off x="6478548" y="3503469"/>
              <a:ext cx="13495" cy="9888"/>
            </a:xfrm>
            <a:custGeom>
              <a:avLst/>
              <a:gdLst>
                <a:gd name="connsiteX0" fmla="*/ 10818 w 13495"/>
                <a:gd name="connsiteY0" fmla="*/ 245 h 9888"/>
                <a:gd name="connsiteX1" fmla="*/ 150 w 13495"/>
                <a:gd name="connsiteY1" fmla="*/ 5579 h 9888"/>
                <a:gd name="connsiteX2" fmla="*/ 5865 w 13495"/>
                <a:gd name="connsiteY2" fmla="*/ 9675 h 9888"/>
                <a:gd name="connsiteX3" fmla="*/ 10818 w 13495"/>
                <a:gd name="connsiteY3" fmla="*/ 150 h 9888"/>
              </a:gdLst>
              <a:ahLst/>
              <a:cxnLst>
                <a:cxn ang="0">
                  <a:pos x="connsiteX0" y="connsiteY0"/>
                </a:cxn>
                <a:cxn ang="0">
                  <a:pos x="connsiteX1" y="connsiteY1"/>
                </a:cxn>
                <a:cxn ang="0">
                  <a:pos x="connsiteX2" y="connsiteY2"/>
                </a:cxn>
                <a:cxn ang="0">
                  <a:pos x="connsiteX3" y="connsiteY3"/>
                </a:cxn>
              </a:cxnLst>
              <a:rect l="l" t="t" r="r" b="b"/>
              <a:pathLst>
                <a:path w="13495" h="9888">
                  <a:moveTo>
                    <a:pt x="10818" y="245"/>
                  </a:moveTo>
                  <a:cubicBezTo>
                    <a:pt x="4436" y="2150"/>
                    <a:pt x="1674" y="-421"/>
                    <a:pt x="150" y="5579"/>
                  </a:cubicBezTo>
                  <a:cubicBezTo>
                    <a:pt x="-1183" y="10723"/>
                    <a:pt x="6818" y="9961"/>
                    <a:pt x="5865" y="9675"/>
                  </a:cubicBezTo>
                  <a:cubicBezTo>
                    <a:pt x="13009" y="9199"/>
                    <a:pt x="16152" y="-1374"/>
                    <a:pt x="10818" y="150"/>
                  </a:cubicBezTo>
                  <a:close/>
                </a:path>
              </a:pathLst>
            </a:custGeom>
            <a:grpFill/>
            <a:ln w="9525" cap="flat">
              <a:noFill/>
              <a:prstDash val="solid"/>
              <a:miter/>
            </a:ln>
          </p:spPr>
          <p:txBody>
            <a:bodyPr rtlCol="0" anchor="ctr"/>
            <a:lstStyle/>
            <a:p>
              <a:endParaRPr lang="en-IN"/>
            </a:p>
          </p:txBody>
        </p:sp>
        <p:sp>
          <p:nvSpPr>
            <p:cNvPr id="366" name="Freeform: Shape 365">
              <a:extLst>
                <a:ext uri="{FF2B5EF4-FFF2-40B4-BE49-F238E27FC236}">
                  <a16:creationId xmlns:a16="http://schemas.microsoft.com/office/drawing/2014/main" id="{FA13B4FC-CB25-C046-6EDF-E201CD9B1A38}"/>
                </a:ext>
              </a:extLst>
            </p:cNvPr>
            <p:cNvSpPr/>
            <p:nvPr/>
          </p:nvSpPr>
          <p:spPr>
            <a:xfrm>
              <a:off x="6642350" y="3564229"/>
              <a:ext cx="11514" cy="28572"/>
            </a:xfrm>
            <a:custGeom>
              <a:avLst/>
              <a:gdLst>
                <a:gd name="connsiteX0" fmla="*/ 654 w 11514"/>
                <a:gd name="connsiteY0" fmla="*/ 22828 h 28572"/>
                <a:gd name="connsiteX1" fmla="*/ 6845 w 11514"/>
                <a:gd name="connsiteY1" fmla="*/ 27210 h 28572"/>
                <a:gd name="connsiteX2" fmla="*/ 8941 w 11514"/>
                <a:gd name="connsiteY2" fmla="*/ 10922 h 28572"/>
                <a:gd name="connsiteX3" fmla="*/ 10751 w 11514"/>
                <a:gd name="connsiteY3" fmla="*/ 5303 h 28572"/>
                <a:gd name="connsiteX4" fmla="*/ 654 w 11514"/>
                <a:gd name="connsiteY4" fmla="*/ 22733 h 28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 h="28572">
                  <a:moveTo>
                    <a:pt x="654" y="22828"/>
                  </a:moveTo>
                  <a:cubicBezTo>
                    <a:pt x="1321" y="23781"/>
                    <a:pt x="2464" y="31687"/>
                    <a:pt x="6845" y="27210"/>
                  </a:cubicBezTo>
                  <a:cubicBezTo>
                    <a:pt x="11989" y="22066"/>
                    <a:pt x="6369" y="18828"/>
                    <a:pt x="8941" y="10922"/>
                  </a:cubicBezTo>
                  <a:lnTo>
                    <a:pt x="10751" y="5303"/>
                  </a:lnTo>
                  <a:cubicBezTo>
                    <a:pt x="15513" y="-9366"/>
                    <a:pt x="-3728" y="9684"/>
                    <a:pt x="654" y="22733"/>
                  </a:cubicBezTo>
                  <a:close/>
                </a:path>
              </a:pathLst>
            </a:custGeom>
            <a:grpFill/>
            <a:ln w="9525" cap="flat">
              <a:noFill/>
              <a:prstDash val="solid"/>
              <a:miter/>
            </a:ln>
          </p:spPr>
          <p:txBody>
            <a:bodyPr rtlCol="0" anchor="ctr"/>
            <a:lstStyle/>
            <a:p>
              <a:endParaRPr lang="en-IN"/>
            </a:p>
          </p:txBody>
        </p:sp>
        <p:sp>
          <p:nvSpPr>
            <p:cNvPr id="367" name="Freeform: Shape 366">
              <a:extLst>
                <a:ext uri="{FF2B5EF4-FFF2-40B4-BE49-F238E27FC236}">
                  <a16:creationId xmlns:a16="http://schemas.microsoft.com/office/drawing/2014/main" id="{06C95B48-7853-CF3E-DC73-84A711FA9484}"/>
                </a:ext>
              </a:extLst>
            </p:cNvPr>
            <p:cNvSpPr/>
            <p:nvPr/>
          </p:nvSpPr>
          <p:spPr>
            <a:xfrm>
              <a:off x="6654299" y="3523965"/>
              <a:ext cx="11970" cy="8165"/>
            </a:xfrm>
            <a:custGeom>
              <a:avLst/>
              <a:gdLst>
                <a:gd name="connsiteX0" fmla="*/ 3850 w 11970"/>
                <a:gd name="connsiteY0" fmla="*/ 7180 h 8165"/>
                <a:gd name="connsiteX1" fmla="*/ 10423 w 11970"/>
                <a:gd name="connsiteY1" fmla="*/ 4418 h 8165"/>
                <a:gd name="connsiteX2" fmla="*/ 8517 w 11970"/>
                <a:gd name="connsiteY2" fmla="*/ 2228 h 8165"/>
                <a:gd name="connsiteX3" fmla="*/ 3850 w 11970"/>
                <a:gd name="connsiteY3" fmla="*/ 7180 h 8165"/>
              </a:gdLst>
              <a:ahLst/>
              <a:cxnLst>
                <a:cxn ang="0">
                  <a:pos x="connsiteX0" y="connsiteY0"/>
                </a:cxn>
                <a:cxn ang="0">
                  <a:pos x="connsiteX1" y="connsiteY1"/>
                </a:cxn>
                <a:cxn ang="0">
                  <a:pos x="connsiteX2" y="connsiteY2"/>
                </a:cxn>
                <a:cxn ang="0">
                  <a:pos x="connsiteX3" y="connsiteY3"/>
                </a:cxn>
              </a:cxnLst>
              <a:rect l="l" t="t" r="r" b="b"/>
              <a:pathLst>
                <a:path w="11970" h="8165">
                  <a:moveTo>
                    <a:pt x="3850" y="7180"/>
                  </a:moveTo>
                  <a:cubicBezTo>
                    <a:pt x="4993" y="7180"/>
                    <a:pt x="15947" y="10705"/>
                    <a:pt x="10423" y="4418"/>
                  </a:cubicBezTo>
                  <a:lnTo>
                    <a:pt x="8517" y="2228"/>
                  </a:lnTo>
                  <a:cubicBezTo>
                    <a:pt x="2707" y="-4345"/>
                    <a:pt x="-4627" y="5561"/>
                    <a:pt x="3850" y="7180"/>
                  </a:cubicBezTo>
                  <a:close/>
                </a:path>
              </a:pathLst>
            </a:custGeom>
            <a:grpFill/>
            <a:ln w="9525" cap="flat">
              <a:noFill/>
              <a:prstDash val="solid"/>
              <a:miter/>
            </a:ln>
          </p:spPr>
          <p:txBody>
            <a:bodyPr rtlCol="0" anchor="ctr"/>
            <a:lstStyle/>
            <a:p>
              <a:endParaRPr lang="en-IN"/>
            </a:p>
          </p:txBody>
        </p:sp>
        <p:sp>
          <p:nvSpPr>
            <p:cNvPr id="368" name="Freeform: Shape 367">
              <a:extLst>
                <a:ext uri="{FF2B5EF4-FFF2-40B4-BE49-F238E27FC236}">
                  <a16:creationId xmlns:a16="http://schemas.microsoft.com/office/drawing/2014/main" id="{FCF737DE-3158-1524-7A21-17E49EE654FB}"/>
                </a:ext>
              </a:extLst>
            </p:cNvPr>
            <p:cNvSpPr/>
            <p:nvPr/>
          </p:nvSpPr>
          <p:spPr>
            <a:xfrm>
              <a:off x="6680956" y="3514154"/>
              <a:ext cx="7315" cy="8645"/>
            </a:xfrm>
            <a:custGeom>
              <a:avLst/>
              <a:gdLst>
                <a:gd name="connsiteX0" fmla="*/ 6244 w 7315"/>
                <a:gd name="connsiteY0" fmla="*/ 2704 h 8645"/>
                <a:gd name="connsiteX1" fmla="*/ 720 w 7315"/>
                <a:gd name="connsiteY1" fmla="*/ 2038 h 8645"/>
                <a:gd name="connsiteX2" fmla="*/ 6720 w 7315"/>
                <a:gd name="connsiteY2" fmla="*/ 3752 h 8645"/>
                <a:gd name="connsiteX3" fmla="*/ 6244 w 7315"/>
                <a:gd name="connsiteY3" fmla="*/ 2704 h 8645"/>
              </a:gdLst>
              <a:ahLst/>
              <a:cxnLst>
                <a:cxn ang="0">
                  <a:pos x="connsiteX0" y="connsiteY0"/>
                </a:cxn>
                <a:cxn ang="0">
                  <a:pos x="connsiteX1" y="connsiteY1"/>
                </a:cxn>
                <a:cxn ang="0">
                  <a:pos x="connsiteX2" y="connsiteY2"/>
                </a:cxn>
                <a:cxn ang="0">
                  <a:pos x="connsiteX3" y="connsiteY3"/>
                </a:cxn>
              </a:cxnLst>
              <a:rect l="l" t="t" r="r" b="b"/>
              <a:pathLst>
                <a:path w="7315" h="8645">
                  <a:moveTo>
                    <a:pt x="6244" y="2704"/>
                  </a:moveTo>
                  <a:cubicBezTo>
                    <a:pt x="4815" y="-629"/>
                    <a:pt x="2339" y="-915"/>
                    <a:pt x="720" y="2038"/>
                  </a:cubicBezTo>
                  <a:cubicBezTo>
                    <a:pt x="-3186" y="9181"/>
                    <a:pt x="10245" y="11658"/>
                    <a:pt x="6720" y="3752"/>
                  </a:cubicBezTo>
                  <a:lnTo>
                    <a:pt x="6244" y="2704"/>
                  </a:lnTo>
                  <a:close/>
                </a:path>
              </a:pathLst>
            </a:custGeom>
            <a:grpFill/>
            <a:ln w="9525" cap="flat">
              <a:noFill/>
              <a:prstDash val="solid"/>
              <a:miter/>
            </a:ln>
          </p:spPr>
          <p:txBody>
            <a:bodyPr rtlCol="0" anchor="ctr"/>
            <a:lstStyle/>
            <a:p>
              <a:endParaRPr lang="en-IN"/>
            </a:p>
          </p:txBody>
        </p:sp>
        <p:sp>
          <p:nvSpPr>
            <p:cNvPr id="369" name="Freeform: Shape 368">
              <a:extLst>
                <a:ext uri="{FF2B5EF4-FFF2-40B4-BE49-F238E27FC236}">
                  <a16:creationId xmlns:a16="http://schemas.microsoft.com/office/drawing/2014/main" id="{34ED0910-C1DC-94F0-7007-DD918B61F919}"/>
                </a:ext>
              </a:extLst>
            </p:cNvPr>
            <p:cNvSpPr/>
            <p:nvPr/>
          </p:nvSpPr>
          <p:spPr>
            <a:xfrm>
              <a:off x="6513196" y="3307555"/>
              <a:ext cx="9696" cy="10289"/>
            </a:xfrm>
            <a:custGeom>
              <a:avLst/>
              <a:gdLst>
                <a:gd name="connsiteX0" fmla="*/ 2078 w 9696"/>
                <a:gd name="connsiteY0" fmla="*/ 9945 h 10289"/>
                <a:gd name="connsiteX1" fmla="*/ 7126 w 9696"/>
                <a:gd name="connsiteY1" fmla="*/ 135 h 10289"/>
                <a:gd name="connsiteX2" fmla="*/ 2078 w 9696"/>
                <a:gd name="connsiteY2" fmla="*/ 9945 h 10289"/>
              </a:gdLst>
              <a:ahLst/>
              <a:cxnLst>
                <a:cxn ang="0">
                  <a:pos x="connsiteX0" y="connsiteY0"/>
                </a:cxn>
                <a:cxn ang="0">
                  <a:pos x="connsiteX1" y="connsiteY1"/>
                </a:cxn>
                <a:cxn ang="0">
                  <a:pos x="connsiteX2" y="connsiteY2"/>
                </a:cxn>
              </a:cxnLst>
              <a:rect l="l" t="t" r="r" b="b"/>
              <a:pathLst>
                <a:path w="9696" h="10289">
                  <a:moveTo>
                    <a:pt x="2078" y="9945"/>
                  </a:moveTo>
                  <a:cubicBezTo>
                    <a:pt x="8079" y="12136"/>
                    <a:pt x="12841" y="3278"/>
                    <a:pt x="7126" y="135"/>
                  </a:cubicBezTo>
                  <a:cubicBezTo>
                    <a:pt x="4745" y="-1199"/>
                    <a:pt x="-3923" y="7755"/>
                    <a:pt x="2078" y="9945"/>
                  </a:cubicBezTo>
                  <a:close/>
                </a:path>
              </a:pathLst>
            </a:custGeom>
            <a:grpFill/>
            <a:ln w="9525" cap="flat">
              <a:noFill/>
              <a:prstDash val="solid"/>
              <a:miter/>
            </a:ln>
          </p:spPr>
          <p:txBody>
            <a:bodyPr rtlCol="0" anchor="ctr"/>
            <a:lstStyle/>
            <a:p>
              <a:endParaRPr lang="en-IN"/>
            </a:p>
          </p:txBody>
        </p:sp>
        <p:sp>
          <p:nvSpPr>
            <p:cNvPr id="370" name="Freeform: Shape 369">
              <a:extLst>
                <a:ext uri="{FF2B5EF4-FFF2-40B4-BE49-F238E27FC236}">
                  <a16:creationId xmlns:a16="http://schemas.microsoft.com/office/drawing/2014/main" id="{8E0C7E70-744F-88C9-B104-FCB148B6C978}"/>
                </a:ext>
              </a:extLst>
            </p:cNvPr>
            <p:cNvSpPr/>
            <p:nvPr/>
          </p:nvSpPr>
          <p:spPr>
            <a:xfrm>
              <a:off x="6431759" y="3334821"/>
              <a:ext cx="11487" cy="8533"/>
            </a:xfrm>
            <a:custGeom>
              <a:avLst/>
              <a:gdLst>
                <a:gd name="connsiteX0" fmla="*/ 8553 w 11487"/>
                <a:gd name="connsiteY0" fmla="*/ 491 h 8533"/>
                <a:gd name="connsiteX1" fmla="*/ 743 w 11487"/>
                <a:gd name="connsiteY1" fmla="*/ 4110 h 8533"/>
                <a:gd name="connsiteX2" fmla="*/ 2076 w 11487"/>
                <a:gd name="connsiteY2" fmla="*/ 6397 h 8533"/>
                <a:gd name="connsiteX3" fmla="*/ 8458 w 11487"/>
                <a:gd name="connsiteY3" fmla="*/ 7063 h 8533"/>
                <a:gd name="connsiteX4" fmla="*/ 8458 w 11487"/>
                <a:gd name="connsiteY4" fmla="*/ 491 h 8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7" h="8533">
                  <a:moveTo>
                    <a:pt x="8553" y="491"/>
                  </a:moveTo>
                  <a:cubicBezTo>
                    <a:pt x="7315" y="586"/>
                    <a:pt x="-2782" y="-2081"/>
                    <a:pt x="743" y="4110"/>
                  </a:cubicBezTo>
                  <a:lnTo>
                    <a:pt x="2076" y="6397"/>
                  </a:lnTo>
                  <a:cubicBezTo>
                    <a:pt x="3600" y="8968"/>
                    <a:pt x="6458" y="9254"/>
                    <a:pt x="8458" y="7063"/>
                  </a:cubicBezTo>
                  <a:cubicBezTo>
                    <a:pt x="8934" y="6111"/>
                    <a:pt x="15030" y="1158"/>
                    <a:pt x="8458" y="491"/>
                  </a:cubicBezTo>
                  <a:close/>
                </a:path>
              </a:pathLst>
            </a:custGeom>
            <a:grpFill/>
            <a:ln w="9525" cap="flat">
              <a:noFill/>
              <a:prstDash val="solid"/>
              <a:miter/>
            </a:ln>
          </p:spPr>
          <p:txBody>
            <a:bodyPr rtlCol="0" anchor="ctr"/>
            <a:lstStyle/>
            <a:p>
              <a:endParaRPr lang="en-IN"/>
            </a:p>
          </p:txBody>
        </p:sp>
        <p:sp>
          <p:nvSpPr>
            <p:cNvPr id="371" name="Freeform: Shape 370">
              <a:extLst>
                <a:ext uri="{FF2B5EF4-FFF2-40B4-BE49-F238E27FC236}">
                  <a16:creationId xmlns:a16="http://schemas.microsoft.com/office/drawing/2014/main" id="{CA718A7C-B08D-A568-37EE-A02832A5C7E8}"/>
                </a:ext>
              </a:extLst>
            </p:cNvPr>
            <p:cNvSpPr/>
            <p:nvPr/>
          </p:nvSpPr>
          <p:spPr>
            <a:xfrm>
              <a:off x="6453332" y="3325896"/>
              <a:ext cx="11103" cy="8954"/>
            </a:xfrm>
            <a:custGeom>
              <a:avLst/>
              <a:gdLst>
                <a:gd name="connsiteX0" fmla="*/ 2887 w 11103"/>
                <a:gd name="connsiteY0" fmla="*/ 8939 h 8954"/>
                <a:gd name="connsiteX1" fmla="*/ 10603 w 11103"/>
                <a:gd name="connsiteY1" fmla="*/ 3510 h 8954"/>
                <a:gd name="connsiteX2" fmla="*/ 10126 w 11103"/>
                <a:gd name="connsiteY2" fmla="*/ 2367 h 8954"/>
                <a:gd name="connsiteX3" fmla="*/ 4411 w 11103"/>
                <a:gd name="connsiteY3" fmla="*/ 1415 h 8954"/>
                <a:gd name="connsiteX4" fmla="*/ 2887 w 11103"/>
                <a:gd name="connsiteY4" fmla="*/ 8939 h 8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3" h="8954">
                  <a:moveTo>
                    <a:pt x="2887" y="8939"/>
                  </a:moveTo>
                  <a:cubicBezTo>
                    <a:pt x="3840" y="8654"/>
                    <a:pt x="13365" y="9892"/>
                    <a:pt x="10603" y="3510"/>
                  </a:cubicBezTo>
                  <a:lnTo>
                    <a:pt x="10126" y="2367"/>
                  </a:lnTo>
                  <a:cubicBezTo>
                    <a:pt x="8983" y="-395"/>
                    <a:pt x="6412" y="-776"/>
                    <a:pt x="4411" y="1415"/>
                  </a:cubicBezTo>
                  <a:cubicBezTo>
                    <a:pt x="3840" y="2367"/>
                    <a:pt x="-4161" y="9321"/>
                    <a:pt x="2887" y="8939"/>
                  </a:cubicBezTo>
                  <a:close/>
                </a:path>
              </a:pathLst>
            </a:custGeom>
            <a:grpFill/>
            <a:ln w="9525" cap="flat">
              <a:noFill/>
              <a:prstDash val="solid"/>
              <a:miter/>
            </a:ln>
          </p:spPr>
          <p:txBody>
            <a:bodyPr rtlCol="0" anchor="ctr"/>
            <a:lstStyle/>
            <a:p>
              <a:endParaRPr lang="en-IN"/>
            </a:p>
          </p:txBody>
        </p:sp>
        <p:sp>
          <p:nvSpPr>
            <p:cNvPr id="372" name="Freeform: Shape 371">
              <a:extLst>
                <a:ext uri="{FF2B5EF4-FFF2-40B4-BE49-F238E27FC236}">
                  <a16:creationId xmlns:a16="http://schemas.microsoft.com/office/drawing/2014/main" id="{99400838-5686-B3C2-EBDA-D4B2BF33F0CE}"/>
                </a:ext>
              </a:extLst>
            </p:cNvPr>
            <p:cNvSpPr/>
            <p:nvPr/>
          </p:nvSpPr>
          <p:spPr>
            <a:xfrm>
              <a:off x="6195371" y="3292788"/>
              <a:ext cx="26609" cy="29529"/>
            </a:xfrm>
            <a:custGeom>
              <a:avLst/>
              <a:gdLst>
                <a:gd name="connsiteX0" fmla="*/ 14722 w 26609"/>
                <a:gd name="connsiteY0" fmla="*/ 12235 h 29529"/>
                <a:gd name="connsiteX1" fmla="*/ 14245 w 26609"/>
                <a:gd name="connsiteY1" fmla="*/ 11282 h 29529"/>
                <a:gd name="connsiteX2" fmla="*/ 15198 w 26609"/>
                <a:gd name="connsiteY2" fmla="*/ 5091 h 29529"/>
                <a:gd name="connsiteX3" fmla="*/ 8149 w 26609"/>
                <a:gd name="connsiteY3" fmla="*/ 424 h 29529"/>
                <a:gd name="connsiteX4" fmla="*/ 1006 w 26609"/>
                <a:gd name="connsiteY4" fmla="*/ 7472 h 29529"/>
                <a:gd name="connsiteX5" fmla="*/ 17770 w 26609"/>
                <a:gd name="connsiteY5" fmla="*/ 26522 h 29529"/>
                <a:gd name="connsiteX6" fmla="*/ 26437 w 26609"/>
                <a:gd name="connsiteY6" fmla="*/ 27094 h 29529"/>
                <a:gd name="connsiteX7" fmla="*/ 14722 w 26609"/>
                <a:gd name="connsiteY7" fmla="*/ 12330 h 2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09" h="29529">
                  <a:moveTo>
                    <a:pt x="14722" y="12235"/>
                  </a:moveTo>
                  <a:lnTo>
                    <a:pt x="14245" y="11282"/>
                  </a:lnTo>
                  <a:cubicBezTo>
                    <a:pt x="12912" y="8615"/>
                    <a:pt x="13388" y="5853"/>
                    <a:pt x="15198" y="5091"/>
                  </a:cubicBezTo>
                  <a:cubicBezTo>
                    <a:pt x="19198" y="3567"/>
                    <a:pt x="15484" y="-1481"/>
                    <a:pt x="8149" y="424"/>
                  </a:cubicBezTo>
                  <a:cubicBezTo>
                    <a:pt x="7006" y="995"/>
                    <a:pt x="-3185" y="1567"/>
                    <a:pt x="1006" y="7472"/>
                  </a:cubicBezTo>
                  <a:cubicBezTo>
                    <a:pt x="6435" y="15092"/>
                    <a:pt x="11007" y="23188"/>
                    <a:pt x="17770" y="26522"/>
                  </a:cubicBezTo>
                  <a:cubicBezTo>
                    <a:pt x="18913" y="26903"/>
                    <a:pt x="27961" y="32713"/>
                    <a:pt x="26437" y="27094"/>
                  </a:cubicBezTo>
                  <a:cubicBezTo>
                    <a:pt x="25771" y="24808"/>
                    <a:pt x="18151" y="19474"/>
                    <a:pt x="14722" y="12330"/>
                  </a:cubicBezTo>
                  <a:close/>
                </a:path>
              </a:pathLst>
            </a:custGeom>
            <a:grpFill/>
            <a:ln w="9525" cap="flat">
              <a:noFill/>
              <a:prstDash val="solid"/>
              <a:miter/>
            </a:ln>
          </p:spPr>
          <p:txBody>
            <a:bodyPr rtlCol="0" anchor="ctr"/>
            <a:lstStyle/>
            <a:p>
              <a:endParaRPr lang="en-IN"/>
            </a:p>
          </p:txBody>
        </p:sp>
        <p:sp>
          <p:nvSpPr>
            <p:cNvPr id="373" name="Freeform: Shape 372">
              <a:extLst>
                <a:ext uri="{FF2B5EF4-FFF2-40B4-BE49-F238E27FC236}">
                  <a16:creationId xmlns:a16="http://schemas.microsoft.com/office/drawing/2014/main" id="{4627BAEE-E021-9FED-5D58-C8D80231026F}"/>
                </a:ext>
              </a:extLst>
            </p:cNvPr>
            <p:cNvSpPr/>
            <p:nvPr/>
          </p:nvSpPr>
          <p:spPr>
            <a:xfrm>
              <a:off x="6238795" y="3388387"/>
              <a:ext cx="26198" cy="26732"/>
            </a:xfrm>
            <a:custGeom>
              <a:avLst/>
              <a:gdLst>
                <a:gd name="connsiteX0" fmla="*/ 24829 w 26198"/>
                <a:gd name="connsiteY0" fmla="*/ 25316 h 26732"/>
                <a:gd name="connsiteX1" fmla="*/ 24257 w 26198"/>
                <a:gd name="connsiteY1" fmla="*/ 18648 h 26732"/>
                <a:gd name="connsiteX2" fmla="*/ 20352 w 26198"/>
                <a:gd name="connsiteY2" fmla="*/ 15696 h 26732"/>
                <a:gd name="connsiteX3" fmla="*/ 12542 w 26198"/>
                <a:gd name="connsiteY3" fmla="*/ 3028 h 26732"/>
                <a:gd name="connsiteX4" fmla="*/ 445 w 26198"/>
                <a:gd name="connsiteY4" fmla="*/ 13029 h 26732"/>
                <a:gd name="connsiteX5" fmla="*/ 7112 w 26198"/>
                <a:gd name="connsiteY5" fmla="*/ 19220 h 26732"/>
                <a:gd name="connsiteX6" fmla="*/ 12160 w 26198"/>
                <a:gd name="connsiteY6" fmla="*/ 23125 h 26732"/>
                <a:gd name="connsiteX7" fmla="*/ 24829 w 26198"/>
                <a:gd name="connsiteY7" fmla="*/ 25126 h 2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8" h="26732">
                  <a:moveTo>
                    <a:pt x="24829" y="25316"/>
                  </a:moveTo>
                  <a:cubicBezTo>
                    <a:pt x="26829" y="23411"/>
                    <a:pt x="26638" y="20458"/>
                    <a:pt x="24257" y="18648"/>
                  </a:cubicBezTo>
                  <a:lnTo>
                    <a:pt x="20352" y="15696"/>
                  </a:lnTo>
                  <a:cubicBezTo>
                    <a:pt x="14827" y="11505"/>
                    <a:pt x="12065" y="2075"/>
                    <a:pt x="12542" y="3028"/>
                  </a:cubicBezTo>
                  <a:cubicBezTo>
                    <a:pt x="8065" y="-8879"/>
                    <a:pt x="-2032" y="18553"/>
                    <a:pt x="445" y="13029"/>
                  </a:cubicBezTo>
                  <a:cubicBezTo>
                    <a:pt x="-1937" y="20553"/>
                    <a:pt x="5969" y="12267"/>
                    <a:pt x="7112" y="19220"/>
                  </a:cubicBezTo>
                  <a:cubicBezTo>
                    <a:pt x="7493" y="21792"/>
                    <a:pt x="9779" y="23602"/>
                    <a:pt x="12160" y="23125"/>
                  </a:cubicBezTo>
                  <a:cubicBezTo>
                    <a:pt x="18733" y="21887"/>
                    <a:pt x="19495" y="30078"/>
                    <a:pt x="24829" y="25126"/>
                  </a:cubicBezTo>
                  <a:close/>
                </a:path>
              </a:pathLst>
            </a:custGeom>
            <a:grpFill/>
            <a:ln w="9525" cap="flat">
              <a:noFill/>
              <a:prstDash val="solid"/>
              <a:miter/>
            </a:ln>
          </p:spPr>
          <p:txBody>
            <a:bodyPr rtlCol="0" anchor="ctr"/>
            <a:lstStyle/>
            <a:p>
              <a:endParaRPr lang="en-IN"/>
            </a:p>
          </p:txBody>
        </p:sp>
        <p:sp>
          <p:nvSpPr>
            <p:cNvPr id="374" name="Freeform: Shape 373">
              <a:extLst>
                <a:ext uri="{FF2B5EF4-FFF2-40B4-BE49-F238E27FC236}">
                  <a16:creationId xmlns:a16="http://schemas.microsoft.com/office/drawing/2014/main" id="{A82055A2-0689-80F4-48A3-F8FD9C7052AA}"/>
                </a:ext>
              </a:extLst>
            </p:cNvPr>
            <p:cNvSpPr/>
            <p:nvPr/>
          </p:nvSpPr>
          <p:spPr>
            <a:xfrm>
              <a:off x="6258398" y="3385428"/>
              <a:ext cx="10050" cy="12451"/>
            </a:xfrm>
            <a:custGeom>
              <a:avLst/>
              <a:gdLst>
                <a:gd name="connsiteX0" fmla="*/ 748 w 10050"/>
                <a:gd name="connsiteY0" fmla="*/ 3414 h 12451"/>
                <a:gd name="connsiteX1" fmla="*/ 8845 w 10050"/>
                <a:gd name="connsiteY1" fmla="*/ 10177 h 12451"/>
                <a:gd name="connsiteX2" fmla="*/ 6273 w 10050"/>
                <a:gd name="connsiteY2" fmla="*/ 938 h 12451"/>
                <a:gd name="connsiteX3" fmla="*/ 748 w 10050"/>
                <a:gd name="connsiteY3" fmla="*/ 3509 h 12451"/>
              </a:gdLst>
              <a:ahLst/>
              <a:cxnLst>
                <a:cxn ang="0">
                  <a:pos x="connsiteX0" y="connsiteY0"/>
                </a:cxn>
                <a:cxn ang="0">
                  <a:pos x="connsiteX1" y="connsiteY1"/>
                </a:cxn>
                <a:cxn ang="0">
                  <a:pos x="connsiteX2" y="connsiteY2"/>
                </a:cxn>
                <a:cxn ang="0">
                  <a:pos x="connsiteX3" y="connsiteY3"/>
                </a:cxn>
              </a:cxnLst>
              <a:rect l="l" t="t" r="r" b="b"/>
              <a:pathLst>
                <a:path w="10050" h="12451">
                  <a:moveTo>
                    <a:pt x="748" y="3414"/>
                  </a:moveTo>
                  <a:cubicBezTo>
                    <a:pt x="2082" y="5224"/>
                    <a:pt x="6463" y="17416"/>
                    <a:pt x="8845" y="10177"/>
                  </a:cubicBezTo>
                  <a:cubicBezTo>
                    <a:pt x="8845" y="9224"/>
                    <a:pt x="12845" y="2652"/>
                    <a:pt x="6273" y="938"/>
                  </a:cubicBezTo>
                  <a:cubicBezTo>
                    <a:pt x="5320" y="938"/>
                    <a:pt x="-2395" y="-2396"/>
                    <a:pt x="748" y="3509"/>
                  </a:cubicBezTo>
                  <a:close/>
                </a:path>
              </a:pathLst>
            </a:custGeom>
            <a:grpFill/>
            <a:ln w="9525" cap="flat">
              <a:noFill/>
              <a:prstDash val="solid"/>
              <a:miter/>
            </a:ln>
          </p:spPr>
          <p:txBody>
            <a:bodyPr rtlCol="0" anchor="ctr"/>
            <a:lstStyle/>
            <a:p>
              <a:endParaRPr lang="en-IN"/>
            </a:p>
          </p:txBody>
        </p:sp>
        <p:sp>
          <p:nvSpPr>
            <p:cNvPr id="375" name="Freeform: Shape 374">
              <a:extLst>
                <a:ext uri="{FF2B5EF4-FFF2-40B4-BE49-F238E27FC236}">
                  <a16:creationId xmlns:a16="http://schemas.microsoft.com/office/drawing/2014/main" id="{3B67931B-6AF9-9D0E-95C4-6E86095281ED}"/>
                </a:ext>
              </a:extLst>
            </p:cNvPr>
            <p:cNvSpPr/>
            <p:nvPr/>
          </p:nvSpPr>
          <p:spPr>
            <a:xfrm>
              <a:off x="6223837" y="3331861"/>
              <a:ext cx="9228" cy="8271"/>
            </a:xfrm>
            <a:custGeom>
              <a:avLst/>
              <a:gdLst>
                <a:gd name="connsiteX0" fmla="*/ 67 w 9228"/>
                <a:gd name="connsiteY0" fmla="*/ 3261 h 8271"/>
                <a:gd name="connsiteX1" fmla="*/ 9115 w 9228"/>
                <a:gd name="connsiteY1" fmla="*/ 3832 h 8271"/>
                <a:gd name="connsiteX2" fmla="*/ 67 w 9228"/>
                <a:gd name="connsiteY2" fmla="*/ 3261 h 8271"/>
              </a:gdLst>
              <a:ahLst/>
              <a:cxnLst>
                <a:cxn ang="0">
                  <a:pos x="connsiteX0" y="connsiteY0"/>
                </a:cxn>
                <a:cxn ang="0">
                  <a:pos x="connsiteX1" y="connsiteY1"/>
                </a:cxn>
                <a:cxn ang="0">
                  <a:pos x="connsiteX2" y="connsiteY2"/>
                </a:cxn>
              </a:cxnLst>
              <a:rect l="l" t="t" r="r" b="b"/>
              <a:pathLst>
                <a:path w="9228" h="8271">
                  <a:moveTo>
                    <a:pt x="67" y="3261"/>
                  </a:moveTo>
                  <a:cubicBezTo>
                    <a:pt x="1019" y="9547"/>
                    <a:pt x="10354" y="10119"/>
                    <a:pt x="9115" y="3832"/>
                  </a:cubicBezTo>
                  <a:cubicBezTo>
                    <a:pt x="8639" y="1261"/>
                    <a:pt x="-886" y="-3026"/>
                    <a:pt x="67" y="3261"/>
                  </a:cubicBezTo>
                  <a:close/>
                </a:path>
              </a:pathLst>
            </a:custGeom>
            <a:grpFill/>
            <a:ln w="9525" cap="flat">
              <a:noFill/>
              <a:prstDash val="solid"/>
              <a:miter/>
            </a:ln>
          </p:spPr>
          <p:txBody>
            <a:bodyPr rtlCol="0" anchor="ctr"/>
            <a:lstStyle/>
            <a:p>
              <a:endParaRPr lang="en-IN"/>
            </a:p>
          </p:txBody>
        </p:sp>
        <p:sp>
          <p:nvSpPr>
            <p:cNvPr id="376" name="Freeform: Shape 375">
              <a:extLst>
                <a:ext uri="{FF2B5EF4-FFF2-40B4-BE49-F238E27FC236}">
                  <a16:creationId xmlns:a16="http://schemas.microsoft.com/office/drawing/2014/main" id="{2DB935D3-7012-D624-553A-608DDB24167C}"/>
                </a:ext>
              </a:extLst>
            </p:cNvPr>
            <p:cNvSpPr/>
            <p:nvPr/>
          </p:nvSpPr>
          <p:spPr>
            <a:xfrm>
              <a:off x="6477818" y="3457513"/>
              <a:ext cx="9710" cy="9534"/>
            </a:xfrm>
            <a:custGeom>
              <a:avLst/>
              <a:gdLst>
                <a:gd name="connsiteX0" fmla="*/ 975 w 9710"/>
                <a:gd name="connsiteY0" fmla="*/ 3052 h 9534"/>
                <a:gd name="connsiteX1" fmla="*/ 3547 w 9710"/>
                <a:gd name="connsiteY1" fmla="*/ 8767 h 9534"/>
                <a:gd name="connsiteX2" fmla="*/ 7738 w 9710"/>
                <a:gd name="connsiteY2" fmla="*/ 1243 h 9534"/>
                <a:gd name="connsiteX3" fmla="*/ 975 w 9710"/>
                <a:gd name="connsiteY3" fmla="*/ 3052 h 9534"/>
              </a:gdLst>
              <a:ahLst/>
              <a:cxnLst>
                <a:cxn ang="0">
                  <a:pos x="connsiteX0" y="connsiteY0"/>
                </a:cxn>
                <a:cxn ang="0">
                  <a:pos x="connsiteX1" y="connsiteY1"/>
                </a:cxn>
                <a:cxn ang="0">
                  <a:pos x="connsiteX2" y="connsiteY2"/>
                </a:cxn>
                <a:cxn ang="0">
                  <a:pos x="connsiteX3" y="connsiteY3"/>
                </a:cxn>
              </a:cxnLst>
              <a:rect l="l" t="t" r="r" b="b"/>
              <a:pathLst>
                <a:path w="9710" h="9534">
                  <a:moveTo>
                    <a:pt x="975" y="3052"/>
                  </a:moveTo>
                  <a:cubicBezTo>
                    <a:pt x="975" y="4005"/>
                    <a:pt x="-2454" y="12006"/>
                    <a:pt x="3547" y="8767"/>
                  </a:cubicBezTo>
                  <a:cubicBezTo>
                    <a:pt x="4500" y="7910"/>
                    <a:pt x="13644" y="5053"/>
                    <a:pt x="7738" y="1243"/>
                  </a:cubicBezTo>
                  <a:cubicBezTo>
                    <a:pt x="6786" y="1052"/>
                    <a:pt x="2404" y="-2377"/>
                    <a:pt x="975" y="3052"/>
                  </a:cubicBezTo>
                  <a:close/>
                </a:path>
              </a:pathLst>
            </a:custGeom>
            <a:grpFill/>
            <a:ln w="9525" cap="flat">
              <a:noFill/>
              <a:prstDash val="solid"/>
              <a:miter/>
            </a:ln>
          </p:spPr>
          <p:txBody>
            <a:bodyPr rtlCol="0" anchor="ctr"/>
            <a:lstStyle/>
            <a:p>
              <a:endParaRPr lang="en-IN"/>
            </a:p>
          </p:txBody>
        </p:sp>
        <p:sp>
          <p:nvSpPr>
            <p:cNvPr id="377" name="Freeform: Shape 376">
              <a:extLst>
                <a:ext uri="{FF2B5EF4-FFF2-40B4-BE49-F238E27FC236}">
                  <a16:creationId xmlns:a16="http://schemas.microsoft.com/office/drawing/2014/main" id="{D64193BA-2010-8C8B-861C-B3A9A1AB845F}"/>
                </a:ext>
              </a:extLst>
            </p:cNvPr>
            <p:cNvSpPr/>
            <p:nvPr/>
          </p:nvSpPr>
          <p:spPr>
            <a:xfrm>
              <a:off x="6531009" y="3500963"/>
              <a:ext cx="13750" cy="16793"/>
            </a:xfrm>
            <a:custGeom>
              <a:avLst/>
              <a:gdLst>
                <a:gd name="connsiteX0" fmla="*/ 10744 w 13750"/>
                <a:gd name="connsiteY0" fmla="*/ 2274 h 16793"/>
                <a:gd name="connsiteX1" fmla="*/ 8649 w 13750"/>
                <a:gd name="connsiteY1" fmla="*/ 846 h 16793"/>
                <a:gd name="connsiteX2" fmla="*/ 1600 w 13750"/>
                <a:gd name="connsiteY2" fmla="*/ 2655 h 16793"/>
                <a:gd name="connsiteX3" fmla="*/ 2458 w 13750"/>
                <a:gd name="connsiteY3" fmla="*/ 12466 h 16793"/>
                <a:gd name="connsiteX4" fmla="*/ 12268 w 13750"/>
                <a:gd name="connsiteY4" fmla="*/ 13990 h 16793"/>
                <a:gd name="connsiteX5" fmla="*/ 10744 w 13750"/>
                <a:gd name="connsiteY5" fmla="*/ 2370 h 1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50" h="16793">
                  <a:moveTo>
                    <a:pt x="10744" y="2274"/>
                  </a:moveTo>
                  <a:lnTo>
                    <a:pt x="8649" y="846"/>
                  </a:lnTo>
                  <a:cubicBezTo>
                    <a:pt x="6172" y="-774"/>
                    <a:pt x="3029" y="-12"/>
                    <a:pt x="1600" y="2655"/>
                  </a:cubicBezTo>
                  <a:cubicBezTo>
                    <a:pt x="1410" y="3608"/>
                    <a:pt x="-2400" y="8370"/>
                    <a:pt x="2458" y="12466"/>
                  </a:cubicBezTo>
                  <a:cubicBezTo>
                    <a:pt x="3601" y="13038"/>
                    <a:pt x="9887" y="20848"/>
                    <a:pt x="12268" y="13990"/>
                  </a:cubicBezTo>
                  <a:cubicBezTo>
                    <a:pt x="12268" y="13990"/>
                    <a:pt x="16459" y="6084"/>
                    <a:pt x="10744" y="2370"/>
                  </a:cubicBezTo>
                  <a:close/>
                </a:path>
              </a:pathLst>
            </a:custGeom>
            <a:grpFill/>
            <a:ln w="9525" cap="flat">
              <a:noFill/>
              <a:prstDash val="solid"/>
              <a:miter/>
            </a:ln>
          </p:spPr>
          <p:txBody>
            <a:bodyPr rtlCol="0" anchor="ctr"/>
            <a:lstStyle/>
            <a:p>
              <a:endParaRPr lang="en-IN"/>
            </a:p>
          </p:txBody>
        </p:sp>
        <p:sp>
          <p:nvSpPr>
            <p:cNvPr id="378" name="Freeform: Shape 377">
              <a:extLst>
                <a:ext uri="{FF2B5EF4-FFF2-40B4-BE49-F238E27FC236}">
                  <a16:creationId xmlns:a16="http://schemas.microsoft.com/office/drawing/2014/main" id="{ACC4AF20-D470-FE5A-368F-18F2684AAD7B}"/>
                </a:ext>
              </a:extLst>
            </p:cNvPr>
            <p:cNvSpPr/>
            <p:nvPr/>
          </p:nvSpPr>
          <p:spPr>
            <a:xfrm>
              <a:off x="6496941" y="3485273"/>
              <a:ext cx="8095" cy="11160"/>
            </a:xfrm>
            <a:custGeom>
              <a:avLst/>
              <a:gdLst>
                <a:gd name="connsiteX0" fmla="*/ 6236 w 8095"/>
                <a:gd name="connsiteY0" fmla="*/ 9583 h 11160"/>
                <a:gd name="connsiteX1" fmla="*/ 6332 w 8095"/>
                <a:gd name="connsiteY1" fmla="*/ 9583 h 11160"/>
                <a:gd name="connsiteX2" fmla="*/ 1474 w 8095"/>
                <a:gd name="connsiteY2" fmla="*/ 1010 h 11160"/>
                <a:gd name="connsiteX3" fmla="*/ 6141 w 8095"/>
                <a:gd name="connsiteY3" fmla="*/ 9583 h 11160"/>
              </a:gdLst>
              <a:ahLst/>
              <a:cxnLst>
                <a:cxn ang="0">
                  <a:pos x="connsiteX0" y="connsiteY0"/>
                </a:cxn>
                <a:cxn ang="0">
                  <a:pos x="connsiteX1" y="connsiteY1"/>
                </a:cxn>
                <a:cxn ang="0">
                  <a:pos x="connsiteX2" y="connsiteY2"/>
                </a:cxn>
                <a:cxn ang="0">
                  <a:pos x="connsiteX3" y="connsiteY3"/>
                </a:cxn>
              </a:cxnLst>
              <a:rect l="l" t="t" r="r" b="b"/>
              <a:pathLst>
                <a:path w="8095" h="11160">
                  <a:moveTo>
                    <a:pt x="6236" y="9583"/>
                  </a:moveTo>
                  <a:lnTo>
                    <a:pt x="6332" y="9583"/>
                  </a:lnTo>
                  <a:cubicBezTo>
                    <a:pt x="11094" y="3868"/>
                    <a:pt x="5093" y="-2514"/>
                    <a:pt x="1474" y="1010"/>
                  </a:cubicBezTo>
                  <a:cubicBezTo>
                    <a:pt x="-2145" y="4630"/>
                    <a:pt x="1474" y="15108"/>
                    <a:pt x="6141" y="9583"/>
                  </a:cubicBezTo>
                  <a:close/>
                </a:path>
              </a:pathLst>
            </a:custGeom>
            <a:grpFill/>
            <a:ln w="9525" cap="flat">
              <a:noFill/>
              <a:prstDash val="solid"/>
              <a:miter/>
            </a:ln>
          </p:spPr>
          <p:txBody>
            <a:bodyPr rtlCol="0" anchor="ctr"/>
            <a:lstStyle/>
            <a:p>
              <a:endParaRPr lang="en-IN"/>
            </a:p>
          </p:txBody>
        </p:sp>
        <p:sp>
          <p:nvSpPr>
            <p:cNvPr id="379" name="Freeform: Shape 378">
              <a:extLst>
                <a:ext uri="{FF2B5EF4-FFF2-40B4-BE49-F238E27FC236}">
                  <a16:creationId xmlns:a16="http://schemas.microsoft.com/office/drawing/2014/main" id="{1AF7DB60-6A55-9FEA-5C6E-9031E3941FAA}"/>
                </a:ext>
              </a:extLst>
            </p:cNvPr>
            <p:cNvSpPr/>
            <p:nvPr/>
          </p:nvSpPr>
          <p:spPr>
            <a:xfrm>
              <a:off x="6536904" y="3526358"/>
              <a:ext cx="13792" cy="16261"/>
            </a:xfrm>
            <a:custGeom>
              <a:avLst/>
              <a:gdLst>
                <a:gd name="connsiteX0" fmla="*/ 10660 w 13792"/>
                <a:gd name="connsiteY0" fmla="*/ 1550 h 16261"/>
                <a:gd name="connsiteX1" fmla="*/ 944 w 13792"/>
                <a:gd name="connsiteY1" fmla="*/ 2883 h 16261"/>
                <a:gd name="connsiteX2" fmla="*/ 1992 w 13792"/>
                <a:gd name="connsiteY2" fmla="*/ 11361 h 16261"/>
                <a:gd name="connsiteX3" fmla="*/ 11422 w 13792"/>
                <a:gd name="connsiteY3" fmla="*/ 13742 h 16261"/>
                <a:gd name="connsiteX4" fmla="*/ 10660 w 13792"/>
                <a:gd name="connsiteY4" fmla="*/ 1550 h 16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92" h="16261">
                  <a:moveTo>
                    <a:pt x="10660" y="1550"/>
                  </a:moveTo>
                  <a:cubicBezTo>
                    <a:pt x="9707" y="1455"/>
                    <a:pt x="4373" y="-2641"/>
                    <a:pt x="944" y="2883"/>
                  </a:cubicBezTo>
                  <a:cubicBezTo>
                    <a:pt x="754" y="3836"/>
                    <a:pt x="-1627" y="7836"/>
                    <a:pt x="1992" y="11361"/>
                  </a:cubicBezTo>
                  <a:cubicBezTo>
                    <a:pt x="3135" y="12027"/>
                    <a:pt x="8659" y="20314"/>
                    <a:pt x="11422" y="13742"/>
                  </a:cubicBezTo>
                  <a:cubicBezTo>
                    <a:pt x="11422" y="13742"/>
                    <a:pt x="17232" y="4693"/>
                    <a:pt x="10660" y="1550"/>
                  </a:cubicBezTo>
                  <a:close/>
                </a:path>
              </a:pathLst>
            </a:custGeom>
            <a:grpFill/>
            <a:ln w="9525" cap="flat">
              <a:noFill/>
              <a:prstDash val="solid"/>
              <a:miter/>
            </a:ln>
          </p:spPr>
          <p:txBody>
            <a:bodyPr rtlCol="0" anchor="ctr"/>
            <a:lstStyle/>
            <a:p>
              <a:endParaRPr lang="en-IN"/>
            </a:p>
          </p:txBody>
        </p:sp>
        <p:sp>
          <p:nvSpPr>
            <p:cNvPr id="380" name="Freeform: Shape 379">
              <a:extLst>
                <a:ext uri="{FF2B5EF4-FFF2-40B4-BE49-F238E27FC236}">
                  <a16:creationId xmlns:a16="http://schemas.microsoft.com/office/drawing/2014/main" id="{3701BCA1-E4C9-369E-19AB-0610B489D0CD}"/>
                </a:ext>
              </a:extLst>
            </p:cNvPr>
            <p:cNvSpPr/>
            <p:nvPr/>
          </p:nvSpPr>
          <p:spPr>
            <a:xfrm>
              <a:off x="6564226" y="3492675"/>
              <a:ext cx="16966" cy="14015"/>
            </a:xfrm>
            <a:custGeom>
              <a:avLst/>
              <a:gdLst>
                <a:gd name="connsiteX0" fmla="*/ 4865 w 16966"/>
                <a:gd name="connsiteY0" fmla="*/ 13230 h 14015"/>
                <a:gd name="connsiteX1" fmla="*/ 16199 w 16966"/>
                <a:gd name="connsiteY1" fmla="*/ 1704 h 14015"/>
                <a:gd name="connsiteX2" fmla="*/ 4293 w 16966"/>
                <a:gd name="connsiteY2" fmla="*/ 4086 h 14015"/>
                <a:gd name="connsiteX3" fmla="*/ 4865 w 16966"/>
                <a:gd name="connsiteY3" fmla="*/ 13230 h 14015"/>
              </a:gdLst>
              <a:ahLst/>
              <a:cxnLst>
                <a:cxn ang="0">
                  <a:pos x="connsiteX0" y="connsiteY0"/>
                </a:cxn>
                <a:cxn ang="0">
                  <a:pos x="connsiteX1" y="connsiteY1"/>
                </a:cxn>
                <a:cxn ang="0">
                  <a:pos x="connsiteX2" y="connsiteY2"/>
                </a:cxn>
                <a:cxn ang="0">
                  <a:pos x="connsiteX3" y="connsiteY3"/>
                </a:cxn>
              </a:cxnLst>
              <a:rect l="l" t="t" r="r" b="b"/>
              <a:pathLst>
                <a:path w="16966" h="14015">
                  <a:moveTo>
                    <a:pt x="4865" y="13230"/>
                  </a:moveTo>
                  <a:cubicBezTo>
                    <a:pt x="8580" y="10563"/>
                    <a:pt x="20009" y="7324"/>
                    <a:pt x="16199" y="1704"/>
                  </a:cubicBezTo>
                  <a:cubicBezTo>
                    <a:pt x="12770" y="-3344"/>
                    <a:pt x="3245" y="4467"/>
                    <a:pt x="4293" y="4086"/>
                  </a:cubicBezTo>
                  <a:cubicBezTo>
                    <a:pt x="-1708" y="7991"/>
                    <a:pt x="-1326" y="16659"/>
                    <a:pt x="4865" y="13230"/>
                  </a:cubicBezTo>
                  <a:close/>
                </a:path>
              </a:pathLst>
            </a:custGeom>
            <a:grpFill/>
            <a:ln w="9525" cap="flat">
              <a:noFill/>
              <a:prstDash val="solid"/>
              <a:miter/>
            </a:ln>
          </p:spPr>
          <p:txBody>
            <a:bodyPr rtlCol="0" anchor="ctr"/>
            <a:lstStyle/>
            <a:p>
              <a:endParaRPr lang="en-IN"/>
            </a:p>
          </p:txBody>
        </p:sp>
        <p:sp>
          <p:nvSpPr>
            <p:cNvPr id="381" name="Freeform: Shape 380">
              <a:extLst>
                <a:ext uri="{FF2B5EF4-FFF2-40B4-BE49-F238E27FC236}">
                  <a16:creationId xmlns:a16="http://schemas.microsoft.com/office/drawing/2014/main" id="{1DE0E30C-0BF7-ECEE-2F73-4FBDCCB66DB0}"/>
                </a:ext>
              </a:extLst>
            </p:cNvPr>
            <p:cNvSpPr/>
            <p:nvPr/>
          </p:nvSpPr>
          <p:spPr>
            <a:xfrm>
              <a:off x="6594218" y="3512900"/>
              <a:ext cx="12320" cy="10564"/>
            </a:xfrm>
            <a:custGeom>
              <a:avLst/>
              <a:gdLst>
                <a:gd name="connsiteX0" fmla="*/ 4114 w 12320"/>
                <a:gd name="connsiteY0" fmla="*/ 1196 h 10564"/>
                <a:gd name="connsiteX1" fmla="*/ 5447 w 12320"/>
                <a:gd name="connsiteY1" fmla="*/ 9578 h 10564"/>
                <a:gd name="connsiteX2" fmla="*/ 9352 w 12320"/>
                <a:gd name="connsiteY2" fmla="*/ 6720 h 10564"/>
                <a:gd name="connsiteX3" fmla="*/ 5161 w 12320"/>
                <a:gd name="connsiteY3" fmla="*/ 815 h 10564"/>
                <a:gd name="connsiteX4" fmla="*/ 4114 w 12320"/>
                <a:gd name="connsiteY4" fmla="*/ 1196 h 10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20" h="10564">
                  <a:moveTo>
                    <a:pt x="4114" y="1196"/>
                  </a:moveTo>
                  <a:cubicBezTo>
                    <a:pt x="-2649" y="3863"/>
                    <a:pt x="-268" y="13674"/>
                    <a:pt x="5447" y="9578"/>
                  </a:cubicBezTo>
                  <a:lnTo>
                    <a:pt x="9352" y="6720"/>
                  </a:lnTo>
                  <a:cubicBezTo>
                    <a:pt x="15163" y="2529"/>
                    <a:pt x="11734" y="-1852"/>
                    <a:pt x="5161" y="815"/>
                  </a:cubicBezTo>
                  <a:lnTo>
                    <a:pt x="4114" y="1196"/>
                  </a:lnTo>
                  <a:close/>
                </a:path>
              </a:pathLst>
            </a:custGeom>
            <a:grpFill/>
            <a:ln w="9525" cap="flat">
              <a:noFill/>
              <a:prstDash val="solid"/>
              <a:miter/>
            </a:ln>
          </p:spPr>
          <p:txBody>
            <a:bodyPr rtlCol="0" anchor="ctr"/>
            <a:lstStyle/>
            <a:p>
              <a:endParaRPr lang="en-IN"/>
            </a:p>
          </p:txBody>
        </p:sp>
        <p:sp>
          <p:nvSpPr>
            <p:cNvPr id="382" name="Freeform: Shape 381">
              <a:extLst>
                <a:ext uri="{FF2B5EF4-FFF2-40B4-BE49-F238E27FC236}">
                  <a16:creationId xmlns:a16="http://schemas.microsoft.com/office/drawing/2014/main" id="{3217BC20-E25C-D107-74C1-D363E05F8CCB}"/>
                </a:ext>
              </a:extLst>
            </p:cNvPr>
            <p:cNvSpPr/>
            <p:nvPr/>
          </p:nvSpPr>
          <p:spPr>
            <a:xfrm>
              <a:off x="6546464" y="3373412"/>
              <a:ext cx="9958" cy="10144"/>
            </a:xfrm>
            <a:custGeom>
              <a:avLst/>
              <a:gdLst>
                <a:gd name="connsiteX0" fmla="*/ 5863 w 9958"/>
                <a:gd name="connsiteY0" fmla="*/ 0 h 10144"/>
                <a:gd name="connsiteX1" fmla="*/ 3767 w 9958"/>
                <a:gd name="connsiteY1" fmla="*/ 10096 h 10144"/>
                <a:gd name="connsiteX2" fmla="*/ 4910 w 9958"/>
                <a:gd name="connsiteY2" fmla="*/ 10096 h 10144"/>
                <a:gd name="connsiteX3" fmla="*/ 5863 w 9958"/>
                <a:gd name="connsiteY3" fmla="*/ 0 h 10144"/>
              </a:gdLst>
              <a:ahLst/>
              <a:cxnLst>
                <a:cxn ang="0">
                  <a:pos x="connsiteX0" y="connsiteY0"/>
                </a:cxn>
                <a:cxn ang="0">
                  <a:pos x="connsiteX1" y="connsiteY1"/>
                </a:cxn>
                <a:cxn ang="0">
                  <a:pos x="connsiteX2" y="connsiteY2"/>
                </a:cxn>
                <a:cxn ang="0">
                  <a:pos x="connsiteX3" y="connsiteY3"/>
                </a:cxn>
              </a:cxnLst>
              <a:rect l="l" t="t" r="r" b="b"/>
              <a:pathLst>
                <a:path w="9958" h="10144">
                  <a:moveTo>
                    <a:pt x="5863" y="0"/>
                  </a:moveTo>
                  <a:cubicBezTo>
                    <a:pt x="814" y="0"/>
                    <a:pt x="-3281" y="9335"/>
                    <a:pt x="3767" y="10096"/>
                  </a:cubicBezTo>
                  <a:lnTo>
                    <a:pt x="4910" y="10096"/>
                  </a:lnTo>
                  <a:cubicBezTo>
                    <a:pt x="12054" y="10954"/>
                    <a:pt x="10911" y="0"/>
                    <a:pt x="5863" y="0"/>
                  </a:cubicBezTo>
                  <a:close/>
                </a:path>
              </a:pathLst>
            </a:custGeom>
            <a:grpFill/>
            <a:ln w="9525" cap="flat">
              <a:noFill/>
              <a:prstDash val="solid"/>
              <a:miter/>
            </a:ln>
          </p:spPr>
          <p:txBody>
            <a:bodyPr rtlCol="0" anchor="ctr"/>
            <a:lstStyle/>
            <a:p>
              <a:endParaRPr lang="en-IN"/>
            </a:p>
          </p:txBody>
        </p:sp>
        <p:sp>
          <p:nvSpPr>
            <p:cNvPr id="383" name="Freeform: Shape 382">
              <a:extLst>
                <a:ext uri="{FF2B5EF4-FFF2-40B4-BE49-F238E27FC236}">
                  <a16:creationId xmlns:a16="http://schemas.microsoft.com/office/drawing/2014/main" id="{13665011-4678-2B13-471F-B05CE983EB8D}"/>
                </a:ext>
              </a:extLst>
            </p:cNvPr>
            <p:cNvSpPr/>
            <p:nvPr/>
          </p:nvSpPr>
          <p:spPr>
            <a:xfrm>
              <a:off x="6228667" y="3159480"/>
              <a:ext cx="391286" cy="366913"/>
            </a:xfrm>
            <a:custGeom>
              <a:avLst/>
              <a:gdLst>
                <a:gd name="connsiteX0" fmla="*/ 372808 w 391286"/>
                <a:gd name="connsiteY0" fmla="*/ 50768 h 366913"/>
                <a:gd name="connsiteX1" fmla="*/ 372237 w 391286"/>
                <a:gd name="connsiteY1" fmla="*/ 37052 h 366913"/>
                <a:gd name="connsiteX2" fmla="*/ 391287 w 391286"/>
                <a:gd name="connsiteY2" fmla="*/ 30480 h 366913"/>
                <a:gd name="connsiteX3" fmla="*/ 387667 w 391286"/>
                <a:gd name="connsiteY3" fmla="*/ 6096 h 366913"/>
                <a:gd name="connsiteX4" fmla="*/ 369665 w 391286"/>
                <a:gd name="connsiteY4" fmla="*/ 2477 h 366913"/>
                <a:gd name="connsiteX5" fmla="*/ 349853 w 391286"/>
                <a:gd name="connsiteY5" fmla="*/ 0 h 366913"/>
                <a:gd name="connsiteX6" fmla="*/ 355378 w 391286"/>
                <a:gd name="connsiteY6" fmla="*/ 27813 h 366913"/>
                <a:gd name="connsiteX7" fmla="*/ 300418 w 391286"/>
                <a:gd name="connsiteY7" fmla="*/ 30861 h 366913"/>
                <a:gd name="connsiteX8" fmla="*/ 249174 w 391286"/>
                <a:gd name="connsiteY8" fmla="*/ 11049 h 366913"/>
                <a:gd name="connsiteX9" fmla="*/ 154686 w 391286"/>
                <a:gd name="connsiteY9" fmla="*/ 28385 h 366913"/>
                <a:gd name="connsiteX10" fmla="*/ 146685 w 391286"/>
                <a:gd name="connsiteY10" fmla="*/ 43244 h 366913"/>
                <a:gd name="connsiteX11" fmla="*/ 105918 w 391286"/>
                <a:gd name="connsiteY11" fmla="*/ 43910 h 366913"/>
                <a:gd name="connsiteX12" fmla="*/ 84963 w 391286"/>
                <a:gd name="connsiteY12" fmla="*/ 61246 h 366913"/>
                <a:gd name="connsiteX13" fmla="*/ 46006 w 391286"/>
                <a:gd name="connsiteY13" fmla="*/ 64294 h 366913"/>
                <a:gd name="connsiteX14" fmla="*/ 52197 w 391286"/>
                <a:gd name="connsiteY14" fmla="*/ 82868 h 366913"/>
                <a:gd name="connsiteX15" fmla="*/ 36766 w 391286"/>
                <a:gd name="connsiteY15" fmla="*/ 90297 h 366913"/>
                <a:gd name="connsiteX16" fmla="*/ 28765 w 391286"/>
                <a:gd name="connsiteY16" fmla="*/ 117443 h 366913"/>
                <a:gd name="connsiteX17" fmla="*/ 8954 w 391286"/>
                <a:gd name="connsiteY17" fmla="*/ 122968 h 366913"/>
                <a:gd name="connsiteX18" fmla="*/ 13240 w 391286"/>
                <a:gd name="connsiteY18" fmla="*/ 136588 h 366913"/>
                <a:gd name="connsiteX19" fmla="*/ 0 w 391286"/>
                <a:gd name="connsiteY19" fmla="*/ 147256 h 366913"/>
                <a:gd name="connsiteX20" fmla="*/ 1905 w 391286"/>
                <a:gd name="connsiteY20" fmla="*/ 160115 h 366913"/>
                <a:gd name="connsiteX21" fmla="*/ 12954 w 391286"/>
                <a:gd name="connsiteY21" fmla="*/ 170593 h 366913"/>
                <a:gd name="connsiteX22" fmla="*/ 29337 w 391286"/>
                <a:gd name="connsiteY22" fmla="*/ 186976 h 366913"/>
                <a:gd name="connsiteX23" fmla="*/ 43053 w 391286"/>
                <a:gd name="connsiteY23" fmla="*/ 185738 h 366913"/>
                <a:gd name="connsiteX24" fmla="*/ 55626 w 391286"/>
                <a:gd name="connsiteY24" fmla="*/ 194120 h 366913"/>
                <a:gd name="connsiteX25" fmla="*/ 36957 w 391286"/>
                <a:gd name="connsiteY25" fmla="*/ 197263 h 366913"/>
                <a:gd name="connsiteX26" fmla="*/ 31432 w 391286"/>
                <a:gd name="connsiteY26" fmla="*/ 200882 h 366913"/>
                <a:gd name="connsiteX27" fmla="*/ 22574 w 391286"/>
                <a:gd name="connsiteY27" fmla="*/ 215170 h 366913"/>
                <a:gd name="connsiteX28" fmla="*/ 28956 w 391286"/>
                <a:gd name="connsiteY28" fmla="*/ 217456 h 366913"/>
                <a:gd name="connsiteX29" fmla="*/ 38290 w 391286"/>
                <a:gd name="connsiteY29" fmla="*/ 206502 h 366913"/>
                <a:gd name="connsiteX30" fmla="*/ 45910 w 391286"/>
                <a:gd name="connsiteY30" fmla="*/ 210026 h 366913"/>
                <a:gd name="connsiteX31" fmla="*/ 54197 w 391286"/>
                <a:gd name="connsiteY31" fmla="*/ 221456 h 366913"/>
                <a:gd name="connsiteX32" fmla="*/ 55816 w 391286"/>
                <a:gd name="connsiteY32" fmla="*/ 232505 h 366913"/>
                <a:gd name="connsiteX33" fmla="*/ 64960 w 391286"/>
                <a:gd name="connsiteY33" fmla="*/ 232505 h 366913"/>
                <a:gd name="connsiteX34" fmla="*/ 82963 w 391286"/>
                <a:gd name="connsiteY34" fmla="*/ 234982 h 366913"/>
                <a:gd name="connsiteX35" fmla="*/ 111538 w 391286"/>
                <a:gd name="connsiteY35" fmla="*/ 230410 h 366913"/>
                <a:gd name="connsiteX36" fmla="*/ 132969 w 391286"/>
                <a:gd name="connsiteY36" fmla="*/ 232029 h 366913"/>
                <a:gd name="connsiteX37" fmla="*/ 140017 w 391286"/>
                <a:gd name="connsiteY37" fmla="*/ 233648 h 366913"/>
                <a:gd name="connsiteX38" fmla="*/ 153924 w 391286"/>
                <a:gd name="connsiteY38" fmla="*/ 235648 h 366913"/>
                <a:gd name="connsiteX39" fmla="*/ 169069 w 391286"/>
                <a:gd name="connsiteY39" fmla="*/ 244602 h 366913"/>
                <a:gd name="connsiteX40" fmla="*/ 178879 w 391286"/>
                <a:gd name="connsiteY40" fmla="*/ 250412 h 366913"/>
                <a:gd name="connsiteX41" fmla="*/ 163258 w 391286"/>
                <a:gd name="connsiteY41" fmla="*/ 258889 h 366913"/>
                <a:gd name="connsiteX42" fmla="*/ 158401 w 391286"/>
                <a:gd name="connsiteY42" fmla="*/ 260604 h 366913"/>
                <a:gd name="connsiteX43" fmla="*/ 142780 w 391286"/>
                <a:gd name="connsiteY43" fmla="*/ 251651 h 366913"/>
                <a:gd name="connsiteX44" fmla="*/ 126397 w 391286"/>
                <a:gd name="connsiteY44" fmla="*/ 248126 h 366913"/>
                <a:gd name="connsiteX45" fmla="*/ 97155 w 391286"/>
                <a:gd name="connsiteY45" fmla="*/ 240602 h 366913"/>
                <a:gd name="connsiteX46" fmla="*/ 92107 w 391286"/>
                <a:gd name="connsiteY46" fmla="*/ 246126 h 366913"/>
                <a:gd name="connsiteX47" fmla="*/ 70961 w 391286"/>
                <a:gd name="connsiteY47" fmla="*/ 250508 h 366913"/>
                <a:gd name="connsiteX48" fmla="*/ 63817 w 391286"/>
                <a:gd name="connsiteY48" fmla="*/ 261938 h 366913"/>
                <a:gd name="connsiteX49" fmla="*/ 60579 w 391286"/>
                <a:gd name="connsiteY49" fmla="*/ 270034 h 366913"/>
                <a:gd name="connsiteX50" fmla="*/ 68485 w 391286"/>
                <a:gd name="connsiteY50" fmla="*/ 279273 h 366913"/>
                <a:gd name="connsiteX51" fmla="*/ 83058 w 391286"/>
                <a:gd name="connsiteY51" fmla="*/ 291941 h 366913"/>
                <a:gd name="connsiteX52" fmla="*/ 89345 w 391286"/>
                <a:gd name="connsiteY52" fmla="*/ 305467 h 366913"/>
                <a:gd name="connsiteX53" fmla="*/ 84677 w 391286"/>
                <a:gd name="connsiteY53" fmla="*/ 319373 h 366913"/>
                <a:gd name="connsiteX54" fmla="*/ 84296 w 391286"/>
                <a:gd name="connsiteY54" fmla="*/ 328708 h 366913"/>
                <a:gd name="connsiteX55" fmla="*/ 88011 w 391286"/>
                <a:gd name="connsiteY55" fmla="*/ 335852 h 366913"/>
                <a:gd name="connsiteX56" fmla="*/ 100774 w 391286"/>
                <a:gd name="connsiteY56" fmla="*/ 346043 h 366913"/>
                <a:gd name="connsiteX57" fmla="*/ 105346 w 391286"/>
                <a:gd name="connsiteY57" fmla="*/ 343186 h 366913"/>
                <a:gd name="connsiteX58" fmla="*/ 104965 w 391286"/>
                <a:gd name="connsiteY58" fmla="*/ 334137 h 366913"/>
                <a:gd name="connsiteX59" fmla="*/ 113252 w 391286"/>
                <a:gd name="connsiteY59" fmla="*/ 328041 h 366913"/>
                <a:gd name="connsiteX60" fmla="*/ 122015 w 391286"/>
                <a:gd name="connsiteY60" fmla="*/ 338138 h 366913"/>
                <a:gd name="connsiteX61" fmla="*/ 129826 w 391286"/>
                <a:gd name="connsiteY61" fmla="*/ 358426 h 366913"/>
                <a:gd name="connsiteX62" fmla="*/ 140494 w 391286"/>
                <a:gd name="connsiteY62" fmla="*/ 363569 h 366913"/>
                <a:gd name="connsiteX63" fmla="*/ 149066 w 391286"/>
                <a:gd name="connsiteY63" fmla="*/ 342519 h 366913"/>
                <a:gd name="connsiteX64" fmla="*/ 149828 w 391286"/>
                <a:gd name="connsiteY64" fmla="*/ 342519 h 366913"/>
                <a:gd name="connsiteX65" fmla="*/ 177070 w 391286"/>
                <a:gd name="connsiteY65" fmla="*/ 366903 h 366913"/>
                <a:gd name="connsiteX66" fmla="*/ 179356 w 391286"/>
                <a:gd name="connsiteY66" fmla="*/ 366903 h 366913"/>
                <a:gd name="connsiteX67" fmla="*/ 174974 w 391286"/>
                <a:gd name="connsiteY67" fmla="*/ 346043 h 366913"/>
                <a:gd name="connsiteX68" fmla="*/ 174974 w 391286"/>
                <a:gd name="connsiteY68" fmla="*/ 337661 h 366913"/>
                <a:gd name="connsiteX69" fmla="*/ 156305 w 391286"/>
                <a:gd name="connsiteY69" fmla="*/ 306419 h 366913"/>
                <a:gd name="connsiteX70" fmla="*/ 154591 w 391286"/>
                <a:gd name="connsiteY70" fmla="*/ 291655 h 366913"/>
                <a:gd name="connsiteX71" fmla="*/ 160020 w 391286"/>
                <a:gd name="connsiteY71" fmla="*/ 288512 h 366913"/>
                <a:gd name="connsiteX72" fmla="*/ 169259 w 391286"/>
                <a:gd name="connsiteY72" fmla="*/ 292703 h 366913"/>
                <a:gd name="connsiteX73" fmla="*/ 176022 w 391286"/>
                <a:gd name="connsiteY73" fmla="*/ 304705 h 366913"/>
                <a:gd name="connsiteX74" fmla="*/ 184785 w 391286"/>
                <a:gd name="connsiteY74" fmla="*/ 303562 h 366913"/>
                <a:gd name="connsiteX75" fmla="*/ 195358 w 391286"/>
                <a:gd name="connsiteY75" fmla="*/ 287941 h 366913"/>
                <a:gd name="connsiteX76" fmla="*/ 184880 w 391286"/>
                <a:gd name="connsiteY76" fmla="*/ 288608 h 366913"/>
                <a:gd name="connsiteX77" fmla="*/ 178498 w 391286"/>
                <a:gd name="connsiteY77" fmla="*/ 279368 h 366913"/>
                <a:gd name="connsiteX78" fmla="*/ 174688 w 391286"/>
                <a:gd name="connsiteY78" fmla="*/ 272415 h 366913"/>
                <a:gd name="connsiteX79" fmla="*/ 176117 w 391286"/>
                <a:gd name="connsiteY79" fmla="*/ 263557 h 366913"/>
                <a:gd name="connsiteX80" fmla="*/ 195358 w 391286"/>
                <a:gd name="connsiteY80" fmla="*/ 263366 h 366913"/>
                <a:gd name="connsiteX81" fmla="*/ 201358 w 391286"/>
                <a:gd name="connsiteY81" fmla="*/ 261176 h 366913"/>
                <a:gd name="connsiteX82" fmla="*/ 207740 w 391286"/>
                <a:gd name="connsiteY82" fmla="*/ 260604 h 366913"/>
                <a:gd name="connsiteX83" fmla="*/ 225838 w 391286"/>
                <a:gd name="connsiteY83" fmla="*/ 281083 h 366913"/>
                <a:gd name="connsiteX84" fmla="*/ 232220 w 391286"/>
                <a:gd name="connsiteY84" fmla="*/ 279749 h 366913"/>
                <a:gd name="connsiteX85" fmla="*/ 229362 w 391286"/>
                <a:gd name="connsiteY85" fmla="*/ 259271 h 366913"/>
                <a:gd name="connsiteX86" fmla="*/ 230696 w 391286"/>
                <a:gd name="connsiteY86" fmla="*/ 243554 h 366913"/>
                <a:gd name="connsiteX87" fmla="*/ 212693 w 391286"/>
                <a:gd name="connsiteY87" fmla="*/ 237554 h 366913"/>
                <a:gd name="connsiteX88" fmla="*/ 204597 w 391286"/>
                <a:gd name="connsiteY88" fmla="*/ 231267 h 366913"/>
                <a:gd name="connsiteX89" fmla="*/ 189166 w 391286"/>
                <a:gd name="connsiteY89" fmla="*/ 221171 h 366913"/>
                <a:gd name="connsiteX90" fmla="*/ 180499 w 391286"/>
                <a:gd name="connsiteY90" fmla="*/ 215170 h 366913"/>
                <a:gd name="connsiteX91" fmla="*/ 179641 w 391286"/>
                <a:gd name="connsiteY91" fmla="*/ 215170 h 366913"/>
                <a:gd name="connsiteX92" fmla="*/ 166211 w 391286"/>
                <a:gd name="connsiteY92" fmla="*/ 205930 h 366913"/>
                <a:gd name="connsiteX93" fmla="*/ 148876 w 391286"/>
                <a:gd name="connsiteY93" fmla="*/ 203168 h 366913"/>
                <a:gd name="connsiteX94" fmla="*/ 147161 w 391286"/>
                <a:gd name="connsiteY94" fmla="*/ 195263 h 366913"/>
                <a:gd name="connsiteX95" fmla="*/ 161258 w 391286"/>
                <a:gd name="connsiteY95" fmla="*/ 192024 h 366913"/>
                <a:gd name="connsiteX96" fmla="*/ 165735 w 391286"/>
                <a:gd name="connsiteY96" fmla="*/ 182975 h 366913"/>
                <a:gd name="connsiteX97" fmla="*/ 160972 w 391286"/>
                <a:gd name="connsiteY97" fmla="*/ 168593 h 366913"/>
                <a:gd name="connsiteX98" fmla="*/ 170974 w 391286"/>
                <a:gd name="connsiteY98" fmla="*/ 167259 h 366913"/>
                <a:gd name="connsiteX99" fmla="*/ 177260 w 391286"/>
                <a:gd name="connsiteY99" fmla="*/ 177355 h 366913"/>
                <a:gd name="connsiteX100" fmla="*/ 179546 w 391286"/>
                <a:gd name="connsiteY100" fmla="*/ 180308 h 366913"/>
                <a:gd name="connsiteX101" fmla="*/ 188690 w 391286"/>
                <a:gd name="connsiteY101" fmla="*/ 171164 h 366913"/>
                <a:gd name="connsiteX102" fmla="*/ 161449 w 391286"/>
                <a:gd name="connsiteY102" fmla="*/ 140684 h 366913"/>
                <a:gd name="connsiteX103" fmla="*/ 160782 w 391286"/>
                <a:gd name="connsiteY103" fmla="*/ 136779 h 366913"/>
                <a:gd name="connsiteX104" fmla="*/ 144494 w 391286"/>
                <a:gd name="connsiteY104" fmla="*/ 110490 h 366913"/>
                <a:gd name="connsiteX105" fmla="*/ 148685 w 391286"/>
                <a:gd name="connsiteY105" fmla="*/ 82868 h 366913"/>
                <a:gd name="connsiteX106" fmla="*/ 165735 w 391286"/>
                <a:gd name="connsiteY106" fmla="*/ 78010 h 366913"/>
                <a:gd name="connsiteX107" fmla="*/ 163830 w 391286"/>
                <a:gd name="connsiteY107" fmla="*/ 90392 h 366913"/>
                <a:gd name="connsiteX108" fmla="*/ 174498 w 391286"/>
                <a:gd name="connsiteY108" fmla="*/ 98679 h 366913"/>
                <a:gd name="connsiteX109" fmla="*/ 184595 w 391286"/>
                <a:gd name="connsiteY109" fmla="*/ 107347 h 366913"/>
                <a:gd name="connsiteX110" fmla="*/ 192976 w 391286"/>
                <a:gd name="connsiteY110" fmla="*/ 122777 h 366913"/>
                <a:gd name="connsiteX111" fmla="*/ 205740 w 391286"/>
                <a:gd name="connsiteY111" fmla="*/ 121729 h 366913"/>
                <a:gd name="connsiteX112" fmla="*/ 195358 w 391286"/>
                <a:gd name="connsiteY112" fmla="*/ 108109 h 366913"/>
                <a:gd name="connsiteX113" fmla="*/ 195072 w 391286"/>
                <a:gd name="connsiteY113" fmla="*/ 107061 h 366913"/>
                <a:gd name="connsiteX114" fmla="*/ 199454 w 391286"/>
                <a:gd name="connsiteY114" fmla="*/ 102775 h 366913"/>
                <a:gd name="connsiteX115" fmla="*/ 221171 w 391286"/>
                <a:gd name="connsiteY115" fmla="*/ 120777 h 366913"/>
                <a:gd name="connsiteX116" fmla="*/ 229076 w 391286"/>
                <a:gd name="connsiteY116" fmla="*/ 118491 h 366913"/>
                <a:gd name="connsiteX117" fmla="*/ 224218 w 391286"/>
                <a:gd name="connsiteY117" fmla="*/ 107252 h 366913"/>
                <a:gd name="connsiteX118" fmla="*/ 211836 w 391286"/>
                <a:gd name="connsiteY118" fmla="*/ 96679 h 366913"/>
                <a:gd name="connsiteX119" fmla="*/ 238315 w 391286"/>
                <a:gd name="connsiteY119" fmla="*/ 103632 h 366913"/>
                <a:gd name="connsiteX120" fmla="*/ 243935 w 391286"/>
                <a:gd name="connsiteY120" fmla="*/ 111538 h 366913"/>
                <a:gd name="connsiteX121" fmla="*/ 251270 w 391286"/>
                <a:gd name="connsiteY121" fmla="*/ 110395 h 366913"/>
                <a:gd name="connsiteX122" fmla="*/ 245173 w 391286"/>
                <a:gd name="connsiteY122" fmla="*/ 96107 h 366913"/>
                <a:gd name="connsiteX123" fmla="*/ 226504 w 391286"/>
                <a:gd name="connsiteY123" fmla="*/ 89059 h 366913"/>
                <a:gd name="connsiteX124" fmla="*/ 219170 w 391286"/>
                <a:gd name="connsiteY124" fmla="*/ 78677 h 366913"/>
                <a:gd name="connsiteX125" fmla="*/ 212979 w 391286"/>
                <a:gd name="connsiteY125" fmla="*/ 66389 h 366913"/>
                <a:gd name="connsiteX126" fmla="*/ 222313 w 391286"/>
                <a:gd name="connsiteY126" fmla="*/ 64579 h 366913"/>
                <a:gd name="connsiteX127" fmla="*/ 238125 w 391286"/>
                <a:gd name="connsiteY127" fmla="*/ 65818 h 366913"/>
                <a:gd name="connsiteX128" fmla="*/ 258413 w 391286"/>
                <a:gd name="connsiteY128" fmla="*/ 51911 h 366913"/>
                <a:gd name="connsiteX129" fmla="*/ 258985 w 391286"/>
                <a:gd name="connsiteY129" fmla="*/ 51911 h 366913"/>
                <a:gd name="connsiteX130" fmla="*/ 265652 w 391286"/>
                <a:gd name="connsiteY130" fmla="*/ 54483 h 366913"/>
                <a:gd name="connsiteX131" fmla="*/ 273558 w 391286"/>
                <a:gd name="connsiteY131" fmla="*/ 58674 h 366913"/>
                <a:gd name="connsiteX132" fmla="*/ 292798 w 391286"/>
                <a:gd name="connsiteY132" fmla="*/ 46958 h 366913"/>
                <a:gd name="connsiteX133" fmla="*/ 302990 w 391286"/>
                <a:gd name="connsiteY133" fmla="*/ 54007 h 366913"/>
                <a:gd name="connsiteX134" fmla="*/ 351949 w 391286"/>
                <a:gd name="connsiteY134" fmla="*/ 65818 h 366913"/>
                <a:gd name="connsiteX135" fmla="*/ 354330 w 391286"/>
                <a:gd name="connsiteY135" fmla="*/ 70771 h 366913"/>
                <a:gd name="connsiteX136" fmla="*/ 354330 w 391286"/>
                <a:gd name="connsiteY136" fmla="*/ 70485 h 366913"/>
                <a:gd name="connsiteX137" fmla="*/ 372904 w 391286"/>
                <a:gd name="connsiteY137" fmla="*/ 50863 h 3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91286" h="366913">
                  <a:moveTo>
                    <a:pt x="372808" y="50768"/>
                  </a:moveTo>
                  <a:lnTo>
                    <a:pt x="372237" y="37052"/>
                  </a:lnTo>
                  <a:lnTo>
                    <a:pt x="391287" y="30480"/>
                  </a:lnTo>
                  <a:lnTo>
                    <a:pt x="387667" y="6096"/>
                  </a:lnTo>
                  <a:lnTo>
                    <a:pt x="369665" y="2477"/>
                  </a:lnTo>
                  <a:lnTo>
                    <a:pt x="349853" y="0"/>
                  </a:lnTo>
                  <a:lnTo>
                    <a:pt x="355378" y="27813"/>
                  </a:lnTo>
                  <a:lnTo>
                    <a:pt x="300418" y="30861"/>
                  </a:lnTo>
                  <a:lnTo>
                    <a:pt x="249174" y="11049"/>
                  </a:lnTo>
                  <a:lnTo>
                    <a:pt x="154686" y="28385"/>
                  </a:lnTo>
                  <a:lnTo>
                    <a:pt x="146685" y="43244"/>
                  </a:lnTo>
                  <a:lnTo>
                    <a:pt x="105918" y="43910"/>
                  </a:lnTo>
                  <a:lnTo>
                    <a:pt x="84963" y="61246"/>
                  </a:lnTo>
                  <a:lnTo>
                    <a:pt x="46006" y="64294"/>
                  </a:lnTo>
                  <a:lnTo>
                    <a:pt x="52197" y="82868"/>
                  </a:lnTo>
                  <a:lnTo>
                    <a:pt x="36766" y="90297"/>
                  </a:lnTo>
                  <a:lnTo>
                    <a:pt x="28765" y="117443"/>
                  </a:lnTo>
                  <a:lnTo>
                    <a:pt x="8954" y="122968"/>
                  </a:lnTo>
                  <a:lnTo>
                    <a:pt x="13240" y="136588"/>
                  </a:lnTo>
                  <a:lnTo>
                    <a:pt x="0" y="147256"/>
                  </a:lnTo>
                  <a:cubicBezTo>
                    <a:pt x="857" y="150971"/>
                    <a:pt x="-1238" y="155353"/>
                    <a:pt x="1905" y="160115"/>
                  </a:cubicBezTo>
                  <a:cubicBezTo>
                    <a:pt x="3334" y="161830"/>
                    <a:pt x="6763" y="170021"/>
                    <a:pt x="12954" y="170593"/>
                  </a:cubicBezTo>
                  <a:cubicBezTo>
                    <a:pt x="20003" y="171260"/>
                    <a:pt x="30099" y="187928"/>
                    <a:pt x="29337" y="186976"/>
                  </a:cubicBezTo>
                  <a:cubicBezTo>
                    <a:pt x="34004" y="193167"/>
                    <a:pt x="35528" y="183356"/>
                    <a:pt x="43053" y="185738"/>
                  </a:cubicBezTo>
                  <a:cubicBezTo>
                    <a:pt x="45339" y="186785"/>
                    <a:pt x="54959" y="187643"/>
                    <a:pt x="55626" y="194120"/>
                  </a:cubicBezTo>
                  <a:cubicBezTo>
                    <a:pt x="56388" y="202311"/>
                    <a:pt x="45434" y="191738"/>
                    <a:pt x="36957" y="197263"/>
                  </a:cubicBezTo>
                  <a:lnTo>
                    <a:pt x="31432" y="200882"/>
                  </a:lnTo>
                  <a:cubicBezTo>
                    <a:pt x="25146" y="204978"/>
                    <a:pt x="22098" y="216122"/>
                    <a:pt x="22574" y="215170"/>
                  </a:cubicBezTo>
                  <a:cubicBezTo>
                    <a:pt x="20193" y="221456"/>
                    <a:pt x="29908" y="217361"/>
                    <a:pt x="28956" y="217456"/>
                  </a:cubicBezTo>
                  <a:cubicBezTo>
                    <a:pt x="36385" y="214979"/>
                    <a:pt x="31718" y="207836"/>
                    <a:pt x="38290" y="206502"/>
                  </a:cubicBezTo>
                  <a:cubicBezTo>
                    <a:pt x="40767" y="206026"/>
                    <a:pt x="44196" y="207550"/>
                    <a:pt x="45910" y="210026"/>
                  </a:cubicBezTo>
                  <a:lnTo>
                    <a:pt x="54197" y="221456"/>
                  </a:lnTo>
                  <a:cubicBezTo>
                    <a:pt x="57721" y="226314"/>
                    <a:pt x="55816" y="233458"/>
                    <a:pt x="55816" y="232505"/>
                  </a:cubicBezTo>
                  <a:cubicBezTo>
                    <a:pt x="54197" y="239839"/>
                    <a:pt x="66008" y="232220"/>
                    <a:pt x="64960" y="232505"/>
                  </a:cubicBezTo>
                  <a:cubicBezTo>
                    <a:pt x="72009" y="228886"/>
                    <a:pt x="75057" y="237077"/>
                    <a:pt x="82963" y="234982"/>
                  </a:cubicBezTo>
                  <a:cubicBezTo>
                    <a:pt x="96679" y="231362"/>
                    <a:pt x="104489" y="228219"/>
                    <a:pt x="111538" y="230410"/>
                  </a:cubicBezTo>
                  <a:cubicBezTo>
                    <a:pt x="119158" y="231838"/>
                    <a:pt x="128683" y="238220"/>
                    <a:pt x="132969" y="232029"/>
                  </a:cubicBezTo>
                  <a:cubicBezTo>
                    <a:pt x="136112" y="227552"/>
                    <a:pt x="140970" y="234315"/>
                    <a:pt x="140017" y="233648"/>
                  </a:cubicBezTo>
                  <a:cubicBezTo>
                    <a:pt x="144875" y="240030"/>
                    <a:pt x="147447" y="230696"/>
                    <a:pt x="153924" y="235648"/>
                  </a:cubicBezTo>
                  <a:cubicBezTo>
                    <a:pt x="158401" y="238982"/>
                    <a:pt x="162878" y="242792"/>
                    <a:pt x="169069" y="244602"/>
                  </a:cubicBezTo>
                  <a:cubicBezTo>
                    <a:pt x="172212" y="245840"/>
                    <a:pt x="186595" y="248412"/>
                    <a:pt x="178879" y="250412"/>
                  </a:cubicBezTo>
                  <a:cubicBezTo>
                    <a:pt x="174212" y="252222"/>
                    <a:pt x="163544" y="252413"/>
                    <a:pt x="163258" y="258889"/>
                  </a:cubicBezTo>
                  <a:cubicBezTo>
                    <a:pt x="163163" y="261271"/>
                    <a:pt x="160972" y="262033"/>
                    <a:pt x="158401" y="260604"/>
                  </a:cubicBezTo>
                  <a:lnTo>
                    <a:pt x="142780" y="251651"/>
                  </a:lnTo>
                  <a:cubicBezTo>
                    <a:pt x="136207" y="247936"/>
                    <a:pt x="125444" y="248126"/>
                    <a:pt x="126397" y="248126"/>
                  </a:cubicBezTo>
                  <a:cubicBezTo>
                    <a:pt x="112490" y="247174"/>
                    <a:pt x="104013" y="233077"/>
                    <a:pt x="97155" y="240602"/>
                  </a:cubicBezTo>
                  <a:lnTo>
                    <a:pt x="92107" y="246126"/>
                  </a:lnTo>
                  <a:cubicBezTo>
                    <a:pt x="85058" y="253841"/>
                    <a:pt x="74009" y="240983"/>
                    <a:pt x="70961" y="250508"/>
                  </a:cubicBezTo>
                  <a:cubicBezTo>
                    <a:pt x="70295" y="251841"/>
                    <a:pt x="69628" y="257937"/>
                    <a:pt x="63817" y="261938"/>
                  </a:cubicBezTo>
                  <a:cubicBezTo>
                    <a:pt x="62960" y="262890"/>
                    <a:pt x="54578" y="266414"/>
                    <a:pt x="60579" y="270034"/>
                  </a:cubicBezTo>
                  <a:cubicBezTo>
                    <a:pt x="61531" y="270891"/>
                    <a:pt x="68199" y="273463"/>
                    <a:pt x="68485" y="279273"/>
                  </a:cubicBezTo>
                  <a:cubicBezTo>
                    <a:pt x="68771" y="286321"/>
                    <a:pt x="84010" y="292608"/>
                    <a:pt x="83058" y="291941"/>
                  </a:cubicBezTo>
                  <a:cubicBezTo>
                    <a:pt x="89345" y="295465"/>
                    <a:pt x="89630" y="306419"/>
                    <a:pt x="89345" y="305467"/>
                  </a:cubicBezTo>
                  <a:cubicBezTo>
                    <a:pt x="90392" y="312420"/>
                    <a:pt x="84201" y="320326"/>
                    <a:pt x="84677" y="319373"/>
                  </a:cubicBezTo>
                  <a:cubicBezTo>
                    <a:pt x="83058" y="321850"/>
                    <a:pt x="82867" y="326041"/>
                    <a:pt x="84296" y="328708"/>
                  </a:cubicBezTo>
                  <a:lnTo>
                    <a:pt x="88011" y="335852"/>
                  </a:lnTo>
                  <a:cubicBezTo>
                    <a:pt x="91440" y="342424"/>
                    <a:pt x="101727" y="346710"/>
                    <a:pt x="100774" y="346043"/>
                  </a:cubicBezTo>
                  <a:cubicBezTo>
                    <a:pt x="103441" y="347472"/>
                    <a:pt x="105442" y="346043"/>
                    <a:pt x="105346" y="343186"/>
                  </a:cubicBezTo>
                  <a:lnTo>
                    <a:pt x="104965" y="334137"/>
                  </a:lnTo>
                  <a:cubicBezTo>
                    <a:pt x="104680" y="327660"/>
                    <a:pt x="114205" y="327660"/>
                    <a:pt x="113252" y="328041"/>
                  </a:cubicBezTo>
                  <a:cubicBezTo>
                    <a:pt x="121539" y="327374"/>
                    <a:pt x="115824" y="336518"/>
                    <a:pt x="122015" y="338138"/>
                  </a:cubicBezTo>
                  <a:cubicBezTo>
                    <a:pt x="128016" y="339757"/>
                    <a:pt x="130016" y="359378"/>
                    <a:pt x="129826" y="358426"/>
                  </a:cubicBezTo>
                  <a:cubicBezTo>
                    <a:pt x="131254" y="365379"/>
                    <a:pt x="139351" y="370618"/>
                    <a:pt x="140494" y="363569"/>
                  </a:cubicBezTo>
                  <a:cubicBezTo>
                    <a:pt x="142684" y="355283"/>
                    <a:pt x="140589" y="342805"/>
                    <a:pt x="149066" y="342519"/>
                  </a:cubicBezTo>
                  <a:lnTo>
                    <a:pt x="149828" y="342519"/>
                  </a:lnTo>
                  <a:cubicBezTo>
                    <a:pt x="162401" y="342043"/>
                    <a:pt x="164497" y="366903"/>
                    <a:pt x="177070" y="366903"/>
                  </a:cubicBezTo>
                  <a:lnTo>
                    <a:pt x="179356" y="366903"/>
                  </a:lnTo>
                  <a:cubicBezTo>
                    <a:pt x="190595" y="366903"/>
                    <a:pt x="169164" y="354044"/>
                    <a:pt x="174974" y="346043"/>
                  </a:cubicBezTo>
                  <a:cubicBezTo>
                    <a:pt x="176498" y="343948"/>
                    <a:pt x="176498" y="340233"/>
                    <a:pt x="174974" y="337661"/>
                  </a:cubicBezTo>
                  <a:lnTo>
                    <a:pt x="156305" y="306419"/>
                  </a:lnTo>
                  <a:cubicBezTo>
                    <a:pt x="152686" y="300419"/>
                    <a:pt x="154591" y="290703"/>
                    <a:pt x="154591" y="291655"/>
                  </a:cubicBezTo>
                  <a:cubicBezTo>
                    <a:pt x="154876" y="288703"/>
                    <a:pt x="157353" y="287274"/>
                    <a:pt x="160020" y="288512"/>
                  </a:cubicBezTo>
                  <a:lnTo>
                    <a:pt x="169259" y="292703"/>
                  </a:lnTo>
                  <a:cubicBezTo>
                    <a:pt x="175641" y="295561"/>
                    <a:pt x="176308" y="305657"/>
                    <a:pt x="176022" y="304705"/>
                  </a:cubicBezTo>
                  <a:cubicBezTo>
                    <a:pt x="177260" y="311563"/>
                    <a:pt x="185738" y="303086"/>
                    <a:pt x="184785" y="303562"/>
                  </a:cubicBezTo>
                  <a:cubicBezTo>
                    <a:pt x="191453" y="298037"/>
                    <a:pt x="209264" y="301276"/>
                    <a:pt x="195358" y="287941"/>
                  </a:cubicBezTo>
                  <a:cubicBezTo>
                    <a:pt x="189643" y="282512"/>
                    <a:pt x="192024" y="292608"/>
                    <a:pt x="184880" y="288608"/>
                  </a:cubicBezTo>
                  <a:cubicBezTo>
                    <a:pt x="183928" y="287655"/>
                    <a:pt x="177832" y="285940"/>
                    <a:pt x="178498" y="279368"/>
                  </a:cubicBezTo>
                  <a:cubicBezTo>
                    <a:pt x="178308" y="278321"/>
                    <a:pt x="178975" y="273368"/>
                    <a:pt x="174688" y="272415"/>
                  </a:cubicBezTo>
                  <a:cubicBezTo>
                    <a:pt x="169164" y="271081"/>
                    <a:pt x="168783" y="264890"/>
                    <a:pt x="176117" y="263557"/>
                  </a:cubicBezTo>
                  <a:cubicBezTo>
                    <a:pt x="181737" y="262985"/>
                    <a:pt x="191167" y="258985"/>
                    <a:pt x="195358" y="263366"/>
                  </a:cubicBezTo>
                  <a:cubicBezTo>
                    <a:pt x="198310" y="266510"/>
                    <a:pt x="202311" y="260318"/>
                    <a:pt x="201358" y="261176"/>
                  </a:cubicBezTo>
                  <a:cubicBezTo>
                    <a:pt x="202882" y="258604"/>
                    <a:pt x="205740" y="258413"/>
                    <a:pt x="207740" y="260604"/>
                  </a:cubicBezTo>
                  <a:lnTo>
                    <a:pt x="225838" y="281083"/>
                  </a:lnTo>
                  <a:cubicBezTo>
                    <a:pt x="229553" y="285274"/>
                    <a:pt x="233172" y="278987"/>
                    <a:pt x="232220" y="279749"/>
                  </a:cubicBezTo>
                  <a:cubicBezTo>
                    <a:pt x="236125" y="272415"/>
                    <a:pt x="229171" y="258318"/>
                    <a:pt x="229362" y="259271"/>
                  </a:cubicBezTo>
                  <a:cubicBezTo>
                    <a:pt x="226885" y="252031"/>
                    <a:pt x="234696" y="249269"/>
                    <a:pt x="230696" y="243554"/>
                  </a:cubicBezTo>
                  <a:cubicBezTo>
                    <a:pt x="226504" y="237554"/>
                    <a:pt x="211741" y="237363"/>
                    <a:pt x="212693" y="237554"/>
                  </a:cubicBezTo>
                  <a:cubicBezTo>
                    <a:pt x="207073" y="236792"/>
                    <a:pt x="203835" y="230314"/>
                    <a:pt x="204597" y="231267"/>
                  </a:cubicBezTo>
                  <a:cubicBezTo>
                    <a:pt x="201073" y="224123"/>
                    <a:pt x="193072" y="228124"/>
                    <a:pt x="189166" y="221171"/>
                  </a:cubicBezTo>
                  <a:cubicBezTo>
                    <a:pt x="188214" y="220218"/>
                    <a:pt x="186404" y="215455"/>
                    <a:pt x="180499" y="215170"/>
                  </a:cubicBezTo>
                  <a:lnTo>
                    <a:pt x="179641" y="215170"/>
                  </a:lnTo>
                  <a:cubicBezTo>
                    <a:pt x="171545" y="214694"/>
                    <a:pt x="174403" y="207264"/>
                    <a:pt x="166211" y="205930"/>
                  </a:cubicBezTo>
                  <a:lnTo>
                    <a:pt x="148876" y="203168"/>
                  </a:lnTo>
                  <a:cubicBezTo>
                    <a:pt x="141827" y="202025"/>
                    <a:pt x="140017" y="195548"/>
                    <a:pt x="147161" y="195263"/>
                  </a:cubicBezTo>
                  <a:cubicBezTo>
                    <a:pt x="148209" y="195072"/>
                    <a:pt x="155448" y="195644"/>
                    <a:pt x="161258" y="192024"/>
                  </a:cubicBezTo>
                  <a:cubicBezTo>
                    <a:pt x="162115" y="191071"/>
                    <a:pt x="170212" y="188404"/>
                    <a:pt x="165735" y="182975"/>
                  </a:cubicBezTo>
                  <a:cubicBezTo>
                    <a:pt x="163925" y="179737"/>
                    <a:pt x="154686" y="173450"/>
                    <a:pt x="160972" y="168593"/>
                  </a:cubicBezTo>
                  <a:cubicBezTo>
                    <a:pt x="161925" y="168212"/>
                    <a:pt x="165735" y="164116"/>
                    <a:pt x="170974" y="167259"/>
                  </a:cubicBezTo>
                  <a:cubicBezTo>
                    <a:pt x="172117" y="168402"/>
                    <a:pt x="180784" y="170974"/>
                    <a:pt x="177260" y="177355"/>
                  </a:cubicBezTo>
                  <a:cubicBezTo>
                    <a:pt x="177165" y="178403"/>
                    <a:pt x="174974" y="182023"/>
                    <a:pt x="179546" y="180308"/>
                  </a:cubicBezTo>
                  <a:cubicBezTo>
                    <a:pt x="181737" y="178975"/>
                    <a:pt x="193262" y="177355"/>
                    <a:pt x="188690" y="171164"/>
                  </a:cubicBezTo>
                  <a:cubicBezTo>
                    <a:pt x="167735" y="142589"/>
                    <a:pt x="163258" y="150781"/>
                    <a:pt x="161449" y="140684"/>
                  </a:cubicBezTo>
                  <a:lnTo>
                    <a:pt x="160782" y="136779"/>
                  </a:lnTo>
                  <a:cubicBezTo>
                    <a:pt x="158687" y="124492"/>
                    <a:pt x="142494" y="121253"/>
                    <a:pt x="144494" y="110490"/>
                  </a:cubicBezTo>
                  <a:cubicBezTo>
                    <a:pt x="148780" y="87821"/>
                    <a:pt x="142304" y="86868"/>
                    <a:pt x="148685" y="82868"/>
                  </a:cubicBezTo>
                  <a:cubicBezTo>
                    <a:pt x="153543" y="80581"/>
                    <a:pt x="162306" y="71152"/>
                    <a:pt x="165735" y="78010"/>
                  </a:cubicBezTo>
                  <a:cubicBezTo>
                    <a:pt x="169069" y="84582"/>
                    <a:pt x="158591" y="84487"/>
                    <a:pt x="163830" y="90392"/>
                  </a:cubicBezTo>
                  <a:cubicBezTo>
                    <a:pt x="164782" y="91250"/>
                    <a:pt x="168021" y="96203"/>
                    <a:pt x="174498" y="98679"/>
                  </a:cubicBezTo>
                  <a:cubicBezTo>
                    <a:pt x="175450" y="99251"/>
                    <a:pt x="183261" y="100584"/>
                    <a:pt x="184595" y="107347"/>
                  </a:cubicBezTo>
                  <a:cubicBezTo>
                    <a:pt x="185928" y="110966"/>
                    <a:pt x="184880" y="121634"/>
                    <a:pt x="192976" y="122777"/>
                  </a:cubicBezTo>
                  <a:cubicBezTo>
                    <a:pt x="197072" y="123063"/>
                    <a:pt x="211836" y="127159"/>
                    <a:pt x="205740" y="121729"/>
                  </a:cubicBezTo>
                  <a:cubicBezTo>
                    <a:pt x="203930" y="119729"/>
                    <a:pt x="196977" y="115443"/>
                    <a:pt x="195358" y="108109"/>
                  </a:cubicBezTo>
                  <a:lnTo>
                    <a:pt x="195072" y="107061"/>
                  </a:lnTo>
                  <a:cubicBezTo>
                    <a:pt x="193834" y="101727"/>
                    <a:pt x="200406" y="102489"/>
                    <a:pt x="199454" y="102775"/>
                  </a:cubicBezTo>
                  <a:cubicBezTo>
                    <a:pt x="209836" y="104585"/>
                    <a:pt x="210407" y="116681"/>
                    <a:pt x="221171" y="120777"/>
                  </a:cubicBezTo>
                  <a:cubicBezTo>
                    <a:pt x="222123" y="120777"/>
                    <a:pt x="229267" y="125349"/>
                    <a:pt x="229076" y="118491"/>
                  </a:cubicBezTo>
                  <a:cubicBezTo>
                    <a:pt x="228790" y="117253"/>
                    <a:pt x="230124" y="110585"/>
                    <a:pt x="224218" y="107252"/>
                  </a:cubicBezTo>
                  <a:cubicBezTo>
                    <a:pt x="220980" y="104965"/>
                    <a:pt x="211550" y="101632"/>
                    <a:pt x="211836" y="96679"/>
                  </a:cubicBezTo>
                  <a:cubicBezTo>
                    <a:pt x="212122" y="90964"/>
                    <a:pt x="234124" y="97727"/>
                    <a:pt x="238315" y="103632"/>
                  </a:cubicBezTo>
                  <a:lnTo>
                    <a:pt x="243935" y="111538"/>
                  </a:lnTo>
                  <a:cubicBezTo>
                    <a:pt x="247459" y="116491"/>
                    <a:pt x="252222" y="109823"/>
                    <a:pt x="251270" y="110395"/>
                  </a:cubicBezTo>
                  <a:cubicBezTo>
                    <a:pt x="256032" y="104108"/>
                    <a:pt x="244507" y="95155"/>
                    <a:pt x="245173" y="96107"/>
                  </a:cubicBezTo>
                  <a:cubicBezTo>
                    <a:pt x="239649" y="90297"/>
                    <a:pt x="225552" y="88868"/>
                    <a:pt x="226504" y="89059"/>
                  </a:cubicBezTo>
                  <a:cubicBezTo>
                    <a:pt x="218884" y="87439"/>
                    <a:pt x="225362" y="84011"/>
                    <a:pt x="219170" y="78677"/>
                  </a:cubicBezTo>
                  <a:cubicBezTo>
                    <a:pt x="217456" y="76581"/>
                    <a:pt x="207264" y="71533"/>
                    <a:pt x="212979" y="66389"/>
                  </a:cubicBezTo>
                  <a:cubicBezTo>
                    <a:pt x="213931" y="66008"/>
                    <a:pt x="217360" y="62579"/>
                    <a:pt x="222313" y="64579"/>
                  </a:cubicBezTo>
                  <a:cubicBezTo>
                    <a:pt x="225552" y="65342"/>
                    <a:pt x="232315" y="70771"/>
                    <a:pt x="238125" y="65818"/>
                  </a:cubicBezTo>
                  <a:cubicBezTo>
                    <a:pt x="245554" y="59436"/>
                    <a:pt x="251365" y="53340"/>
                    <a:pt x="258413" y="51911"/>
                  </a:cubicBezTo>
                  <a:lnTo>
                    <a:pt x="258985" y="51911"/>
                  </a:lnTo>
                  <a:cubicBezTo>
                    <a:pt x="261938" y="51245"/>
                    <a:pt x="264890" y="52388"/>
                    <a:pt x="265652" y="54483"/>
                  </a:cubicBezTo>
                  <a:cubicBezTo>
                    <a:pt x="267176" y="58579"/>
                    <a:pt x="274510" y="58960"/>
                    <a:pt x="273558" y="58674"/>
                  </a:cubicBezTo>
                  <a:cubicBezTo>
                    <a:pt x="282035" y="59246"/>
                    <a:pt x="293751" y="46196"/>
                    <a:pt x="292798" y="46958"/>
                  </a:cubicBezTo>
                  <a:cubicBezTo>
                    <a:pt x="298609" y="41910"/>
                    <a:pt x="295180" y="52006"/>
                    <a:pt x="302990" y="54007"/>
                  </a:cubicBezTo>
                  <a:cubicBezTo>
                    <a:pt x="340233" y="63913"/>
                    <a:pt x="347567" y="56864"/>
                    <a:pt x="351949" y="65818"/>
                  </a:cubicBezTo>
                  <a:cubicBezTo>
                    <a:pt x="352615" y="66770"/>
                    <a:pt x="353282" y="68771"/>
                    <a:pt x="354330" y="70771"/>
                  </a:cubicBezTo>
                  <a:lnTo>
                    <a:pt x="354330" y="70485"/>
                  </a:lnTo>
                  <a:cubicBezTo>
                    <a:pt x="354330" y="70485"/>
                    <a:pt x="372904" y="50863"/>
                    <a:pt x="372904" y="50863"/>
                  </a:cubicBezTo>
                  <a:close/>
                </a:path>
              </a:pathLst>
            </a:custGeom>
            <a:solidFill>
              <a:schemeClr val="bg1">
                <a:lumMod val="95000"/>
              </a:schemeClr>
            </a:solidFill>
            <a:ln w="9525" cap="flat">
              <a:noFill/>
              <a:prstDash val="solid"/>
              <a:miter/>
            </a:ln>
          </p:spPr>
          <p:txBody>
            <a:bodyPr rtlCol="0" anchor="ctr"/>
            <a:lstStyle/>
            <a:p>
              <a:endParaRPr lang="en-IN"/>
            </a:p>
          </p:txBody>
        </p:sp>
      </p:grpSp>
      <p:grpSp>
        <p:nvGrpSpPr>
          <p:cNvPr id="384" name="Graphic 166">
            <a:extLst>
              <a:ext uri="{FF2B5EF4-FFF2-40B4-BE49-F238E27FC236}">
                <a16:creationId xmlns:a16="http://schemas.microsoft.com/office/drawing/2014/main" id="{70723C9A-326C-FA02-80E8-95FB19AEBE68}"/>
              </a:ext>
            </a:extLst>
          </p:cNvPr>
          <p:cNvGrpSpPr/>
          <p:nvPr/>
        </p:nvGrpSpPr>
        <p:grpSpPr>
          <a:xfrm>
            <a:off x="5951473" y="1684420"/>
            <a:ext cx="542353" cy="613892"/>
            <a:chOff x="5372846" y="2135631"/>
            <a:chExt cx="542353" cy="613892"/>
          </a:xfrm>
          <a:solidFill>
            <a:schemeClr val="bg1">
              <a:lumMod val="85000"/>
            </a:schemeClr>
          </a:solidFill>
        </p:grpSpPr>
        <p:sp>
          <p:nvSpPr>
            <p:cNvPr id="385" name="Freeform: Shape 384">
              <a:extLst>
                <a:ext uri="{FF2B5EF4-FFF2-40B4-BE49-F238E27FC236}">
                  <a16:creationId xmlns:a16="http://schemas.microsoft.com/office/drawing/2014/main" id="{F185CCCF-9771-DC0E-7728-25A9982058D4}"/>
                </a:ext>
              </a:extLst>
            </p:cNvPr>
            <p:cNvSpPr/>
            <p:nvPr/>
          </p:nvSpPr>
          <p:spPr>
            <a:xfrm>
              <a:off x="5432798" y="2239958"/>
              <a:ext cx="15407" cy="10675"/>
            </a:xfrm>
            <a:custGeom>
              <a:avLst/>
              <a:gdLst>
                <a:gd name="connsiteX0" fmla="*/ 436 w 15407"/>
                <a:gd name="connsiteY0" fmla="*/ 4170 h 10675"/>
                <a:gd name="connsiteX1" fmla="*/ 3960 w 15407"/>
                <a:gd name="connsiteY1" fmla="*/ 9980 h 10675"/>
                <a:gd name="connsiteX2" fmla="*/ 13009 w 15407"/>
                <a:gd name="connsiteY2" fmla="*/ 1408 h 10675"/>
                <a:gd name="connsiteX3" fmla="*/ 436 w 15407"/>
                <a:gd name="connsiteY3" fmla="*/ 4170 h 10675"/>
              </a:gdLst>
              <a:ahLst/>
              <a:cxnLst>
                <a:cxn ang="0">
                  <a:pos x="connsiteX0" y="connsiteY0"/>
                </a:cxn>
                <a:cxn ang="0">
                  <a:pos x="connsiteX1" y="connsiteY1"/>
                </a:cxn>
                <a:cxn ang="0">
                  <a:pos x="connsiteX2" y="connsiteY2"/>
                </a:cxn>
                <a:cxn ang="0">
                  <a:pos x="connsiteX3" y="connsiteY3"/>
                </a:cxn>
              </a:cxnLst>
              <a:rect l="l" t="t" r="r" b="b"/>
              <a:pathLst>
                <a:path w="15407" h="10675">
                  <a:moveTo>
                    <a:pt x="436" y="4170"/>
                  </a:moveTo>
                  <a:cubicBezTo>
                    <a:pt x="531" y="5123"/>
                    <a:pt x="-1946" y="13028"/>
                    <a:pt x="3960" y="9980"/>
                  </a:cubicBezTo>
                  <a:cubicBezTo>
                    <a:pt x="7008" y="7980"/>
                    <a:pt x="20914" y="3218"/>
                    <a:pt x="13009" y="1408"/>
                  </a:cubicBezTo>
                  <a:cubicBezTo>
                    <a:pt x="13009" y="1408"/>
                    <a:pt x="1579" y="-3164"/>
                    <a:pt x="436" y="4170"/>
                  </a:cubicBezTo>
                  <a:close/>
                </a:path>
              </a:pathLst>
            </a:custGeom>
            <a:grpFill/>
            <a:ln w="9525" cap="flat">
              <a:noFill/>
              <a:prstDash val="solid"/>
              <a:miter/>
            </a:ln>
          </p:spPr>
          <p:txBody>
            <a:bodyPr rtlCol="0" anchor="ctr"/>
            <a:lstStyle/>
            <a:p>
              <a:endParaRPr lang="en-IN"/>
            </a:p>
          </p:txBody>
        </p:sp>
        <p:sp>
          <p:nvSpPr>
            <p:cNvPr id="386" name="Freeform: Shape 385">
              <a:extLst>
                <a:ext uri="{FF2B5EF4-FFF2-40B4-BE49-F238E27FC236}">
                  <a16:creationId xmlns:a16="http://schemas.microsoft.com/office/drawing/2014/main" id="{7C0B6B38-91BE-649D-8912-27C8403302E8}"/>
                </a:ext>
              </a:extLst>
            </p:cNvPr>
            <p:cNvSpPr/>
            <p:nvPr/>
          </p:nvSpPr>
          <p:spPr>
            <a:xfrm>
              <a:off x="5531794" y="2172289"/>
              <a:ext cx="7115" cy="8734"/>
            </a:xfrm>
            <a:custGeom>
              <a:avLst/>
              <a:gdLst>
                <a:gd name="connsiteX0" fmla="*/ 4501 w 7115"/>
                <a:gd name="connsiteY0" fmla="*/ 8498 h 8734"/>
                <a:gd name="connsiteX1" fmla="*/ 1262 w 7115"/>
                <a:gd name="connsiteY1" fmla="*/ 306 h 8734"/>
                <a:gd name="connsiteX2" fmla="*/ 4501 w 7115"/>
                <a:gd name="connsiteY2" fmla="*/ 8498 h 8734"/>
              </a:gdLst>
              <a:ahLst/>
              <a:cxnLst>
                <a:cxn ang="0">
                  <a:pos x="connsiteX0" y="connsiteY0"/>
                </a:cxn>
                <a:cxn ang="0">
                  <a:pos x="connsiteX1" y="connsiteY1"/>
                </a:cxn>
                <a:cxn ang="0">
                  <a:pos x="connsiteX2" y="connsiteY2"/>
                </a:cxn>
              </a:cxnLst>
              <a:rect l="l" t="t" r="r" b="b"/>
              <a:pathLst>
                <a:path w="7115" h="8734">
                  <a:moveTo>
                    <a:pt x="4501" y="8498"/>
                  </a:moveTo>
                  <a:cubicBezTo>
                    <a:pt x="9835" y="6688"/>
                    <a:pt x="6120" y="-1694"/>
                    <a:pt x="1262" y="306"/>
                  </a:cubicBezTo>
                  <a:cubicBezTo>
                    <a:pt x="-738" y="1164"/>
                    <a:pt x="-833" y="10308"/>
                    <a:pt x="4501" y="8498"/>
                  </a:cubicBezTo>
                  <a:close/>
                </a:path>
              </a:pathLst>
            </a:custGeom>
            <a:grpFill/>
            <a:ln w="9525" cap="flat">
              <a:noFill/>
              <a:prstDash val="solid"/>
              <a:miter/>
            </a:ln>
          </p:spPr>
          <p:txBody>
            <a:bodyPr rtlCol="0" anchor="ctr"/>
            <a:lstStyle/>
            <a:p>
              <a:endParaRPr lang="en-IN"/>
            </a:p>
          </p:txBody>
        </p:sp>
        <p:sp>
          <p:nvSpPr>
            <p:cNvPr id="387" name="Freeform: Shape 386">
              <a:extLst>
                <a:ext uri="{FF2B5EF4-FFF2-40B4-BE49-F238E27FC236}">
                  <a16:creationId xmlns:a16="http://schemas.microsoft.com/office/drawing/2014/main" id="{718B084B-3D94-E023-2C5C-307CB803A637}"/>
                </a:ext>
              </a:extLst>
            </p:cNvPr>
            <p:cNvSpPr/>
            <p:nvPr/>
          </p:nvSpPr>
          <p:spPr>
            <a:xfrm>
              <a:off x="5520373" y="2155011"/>
              <a:ext cx="10319" cy="9147"/>
            </a:xfrm>
            <a:custGeom>
              <a:avLst/>
              <a:gdLst>
                <a:gd name="connsiteX0" fmla="*/ 3729 w 10319"/>
                <a:gd name="connsiteY0" fmla="*/ 7964 h 9147"/>
                <a:gd name="connsiteX1" fmla="*/ 4967 w 10319"/>
                <a:gd name="connsiteY1" fmla="*/ 8536 h 9147"/>
                <a:gd name="connsiteX2" fmla="*/ 6111 w 10319"/>
                <a:gd name="connsiteY2" fmla="*/ 345 h 9147"/>
                <a:gd name="connsiteX3" fmla="*/ 3729 w 10319"/>
                <a:gd name="connsiteY3" fmla="*/ 7964 h 9147"/>
              </a:gdLst>
              <a:ahLst/>
              <a:cxnLst>
                <a:cxn ang="0">
                  <a:pos x="connsiteX0" y="connsiteY0"/>
                </a:cxn>
                <a:cxn ang="0">
                  <a:pos x="connsiteX1" y="connsiteY1"/>
                </a:cxn>
                <a:cxn ang="0">
                  <a:pos x="connsiteX2" y="connsiteY2"/>
                </a:cxn>
                <a:cxn ang="0">
                  <a:pos x="connsiteX3" y="connsiteY3"/>
                </a:cxn>
              </a:cxnLst>
              <a:rect l="l" t="t" r="r" b="b"/>
              <a:pathLst>
                <a:path w="10319" h="9147">
                  <a:moveTo>
                    <a:pt x="3729" y="7964"/>
                  </a:moveTo>
                  <a:lnTo>
                    <a:pt x="4967" y="8536"/>
                  </a:lnTo>
                  <a:cubicBezTo>
                    <a:pt x="11444" y="11584"/>
                    <a:pt x="12302" y="2345"/>
                    <a:pt x="6111" y="345"/>
                  </a:cubicBezTo>
                  <a:cubicBezTo>
                    <a:pt x="110" y="-1561"/>
                    <a:pt x="-2843" y="4916"/>
                    <a:pt x="3729" y="7964"/>
                  </a:cubicBezTo>
                  <a:close/>
                </a:path>
              </a:pathLst>
            </a:custGeom>
            <a:grpFill/>
            <a:ln w="9525" cap="flat">
              <a:noFill/>
              <a:prstDash val="solid"/>
              <a:miter/>
            </a:ln>
          </p:spPr>
          <p:txBody>
            <a:bodyPr rtlCol="0" anchor="ctr"/>
            <a:lstStyle/>
            <a:p>
              <a:endParaRPr lang="en-IN"/>
            </a:p>
          </p:txBody>
        </p:sp>
        <p:sp>
          <p:nvSpPr>
            <p:cNvPr id="388" name="Freeform: Shape 387">
              <a:extLst>
                <a:ext uri="{FF2B5EF4-FFF2-40B4-BE49-F238E27FC236}">
                  <a16:creationId xmlns:a16="http://schemas.microsoft.com/office/drawing/2014/main" id="{65618606-61A9-5279-B314-D14EABE6E546}"/>
                </a:ext>
              </a:extLst>
            </p:cNvPr>
            <p:cNvSpPr/>
            <p:nvPr/>
          </p:nvSpPr>
          <p:spPr>
            <a:xfrm>
              <a:off x="5509373" y="2135631"/>
              <a:ext cx="10672" cy="15479"/>
            </a:xfrm>
            <a:custGeom>
              <a:avLst/>
              <a:gdLst>
                <a:gd name="connsiteX0" fmla="*/ 7586 w 10672"/>
                <a:gd name="connsiteY0" fmla="*/ 13151 h 15479"/>
                <a:gd name="connsiteX1" fmla="*/ 6919 w 10672"/>
                <a:gd name="connsiteY1" fmla="*/ 197 h 15479"/>
                <a:gd name="connsiteX2" fmla="*/ 633 w 10672"/>
                <a:gd name="connsiteY2" fmla="*/ 7055 h 15479"/>
                <a:gd name="connsiteX3" fmla="*/ 7586 w 10672"/>
                <a:gd name="connsiteY3" fmla="*/ 13151 h 15479"/>
              </a:gdLst>
              <a:ahLst/>
              <a:cxnLst>
                <a:cxn ang="0">
                  <a:pos x="connsiteX0" y="connsiteY0"/>
                </a:cxn>
                <a:cxn ang="0">
                  <a:pos x="connsiteX1" y="connsiteY1"/>
                </a:cxn>
                <a:cxn ang="0">
                  <a:pos x="connsiteX2" y="connsiteY2"/>
                </a:cxn>
                <a:cxn ang="0">
                  <a:pos x="connsiteX3" y="connsiteY3"/>
                </a:cxn>
              </a:cxnLst>
              <a:rect l="l" t="t" r="r" b="b"/>
              <a:pathLst>
                <a:path w="10672" h="15479">
                  <a:moveTo>
                    <a:pt x="7586" y="13151"/>
                  </a:moveTo>
                  <a:cubicBezTo>
                    <a:pt x="8158" y="9532"/>
                    <a:pt x="14635" y="-1613"/>
                    <a:pt x="6919" y="197"/>
                  </a:cubicBezTo>
                  <a:cubicBezTo>
                    <a:pt x="5967" y="769"/>
                    <a:pt x="-2320" y="864"/>
                    <a:pt x="633" y="7055"/>
                  </a:cubicBezTo>
                  <a:cubicBezTo>
                    <a:pt x="1681" y="8579"/>
                    <a:pt x="5300" y="20390"/>
                    <a:pt x="7586" y="13151"/>
                  </a:cubicBezTo>
                  <a:close/>
                </a:path>
              </a:pathLst>
            </a:custGeom>
            <a:grpFill/>
            <a:ln w="9525" cap="flat">
              <a:noFill/>
              <a:prstDash val="solid"/>
              <a:miter/>
            </a:ln>
          </p:spPr>
          <p:txBody>
            <a:bodyPr rtlCol="0" anchor="ctr"/>
            <a:lstStyle/>
            <a:p>
              <a:endParaRPr lang="en-IN"/>
            </a:p>
          </p:txBody>
        </p:sp>
        <p:sp>
          <p:nvSpPr>
            <p:cNvPr id="389" name="Freeform: Shape 388">
              <a:extLst>
                <a:ext uri="{FF2B5EF4-FFF2-40B4-BE49-F238E27FC236}">
                  <a16:creationId xmlns:a16="http://schemas.microsoft.com/office/drawing/2014/main" id="{D83643CB-EFA5-9D36-3748-0DF05FB5ECE2}"/>
                </a:ext>
              </a:extLst>
            </p:cNvPr>
            <p:cNvSpPr/>
            <p:nvPr/>
          </p:nvSpPr>
          <p:spPr>
            <a:xfrm>
              <a:off x="5804817" y="2164156"/>
              <a:ext cx="36903" cy="35698"/>
            </a:xfrm>
            <a:custGeom>
              <a:avLst/>
              <a:gdLst>
                <a:gd name="connsiteX0" fmla="*/ 8274 w 36903"/>
                <a:gd name="connsiteY0" fmla="*/ 5677 h 35698"/>
                <a:gd name="connsiteX1" fmla="*/ 8274 w 36903"/>
                <a:gd name="connsiteY1" fmla="*/ 5867 h 35698"/>
                <a:gd name="connsiteX2" fmla="*/ 3798 w 36903"/>
                <a:gd name="connsiteY2" fmla="*/ 9963 h 35698"/>
                <a:gd name="connsiteX3" fmla="*/ 4655 w 36903"/>
                <a:gd name="connsiteY3" fmla="*/ 17869 h 35698"/>
                <a:gd name="connsiteX4" fmla="*/ 4845 w 36903"/>
                <a:gd name="connsiteY4" fmla="*/ 21298 h 35698"/>
                <a:gd name="connsiteX5" fmla="*/ 4845 w 36903"/>
                <a:gd name="connsiteY5" fmla="*/ 27204 h 35698"/>
                <a:gd name="connsiteX6" fmla="*/ 18275 w 36903"/>
                <a:gd name="connsiteY6" fmla="*/ 33300 h 35698"/>
                <a:gd name="connsiteX7" fmla="*/ 32373 w 36903"/>
                <a:gd name="connsiteY7" fmla="*/ 32442 h 35698"/>
                <a:gd name="connsiteX8" fmla="*/ 36564 w 36903"/>
                <a:gd name="connsiteY8" fmla="*/ 31109 h 35698"/>
                <a:gd name="connsiteX9" fmla="*/ 32658 w 36903"/>
                <a:gd name="connsiteY9" fmla="*/ 23489 h 35698"/>
                <a:gd name="connsiteX10" fmla="*/ 33134 w 36903"/>
                <a:gd name="connsiteY10" fmla="*/ 11392 h 35698"/>
                <a:gd name="connsiteX11" fmla="*/ 22657 w 36903"/>
                <a:gd name="connsiteY11" fmla="*/ 13488 h 35698"/>
                <a:gd name="connsiteX12" fmla="*/ 16085 w 36903"/>
                <a:gd name="connsiteY12" fmla="*/ 7582 h 35698"/>
                <a:gd name="connsiteX13" fmla="*/ 16751 w 36903"/>
                <a:gd name="connsiteY13" fmla="*/ 4820 h 35698"/>
                <a:gd name="connsiteX14" fmla="*/ 8370 w 36903"/>
                <a:gd name="connsiteY14" fmla="*/ 5867 h 3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903" h="35698">
                  <a:moveTo>
                    <a:pt x="8274" y="5677"/>
                  </a:moveTo>
                  <a:lnTo>
                    <a:pt x="8274" y="5867"/>
                  </a:lnTo>
                  <a:cubicBezTo>
                    <a:pt x="8274" y="8820"/>
                    <a:pt x="6274" y="10630"/>
                    <a:pt x="3798" y="9963"/>
                  </a:cubicBezTo>
                  <a:cubicBezTo>
                    <a:pt x="-2108" y="8154"/>
                    <a:pt x="-584" y="16250"/>
                    <a:pt x="4655" y="17869"/>
                  </a:cubicBezTo>
                  <a:cubicBezTo>
                    <a:pt x="6846" y="18536"/>
                    <a:pt x="6941" y="20060"/>
                    <a:pt x="4845" y="21298"/>
                  </a:cubicBezTo>
                  <a:cubicBezTo>
                    <a:pt x="2750" y="22536"/>
                    <a:pt x="2750" y="25203"/>
                    <a:pt x="4845" y="27204"/>
                  </a:cubicBezTo>
                  <a:cubicBezTo>
                    <a:pt x="8179" y="29585"/>
                    <a:pt x="15704" y="40443"/>
                    <a:pt x="18275" y="33300"/>
                  </a:cubicBezTo>
                  <a:cubicBezTo>
                    <a:pt x="20466" y="27013"/>
                    <a:pt x="29134" y="27775"/>
                    <a:pt x="32373" y="32442"/>
                  </a:cubicBezTo>
                  <a:cubicBezTo>
                    <a:pt x="33706" y="34347"/>
                    <a:pt x="35516" y="33776"/>
                    <a:pt x="36564" y="31109"/>
                  </a:cubicBezTo>
                  <a:cubicBezTo>
                    <a:pt x="38468" y="25870"/>
                    <a:pt x="31706" y="22536"/>
                    <a:pt x="32658" y="23489"/>
                  </a:cubicBezTo>
                  <a:cubicBezTo>
                    <a:pt x="25515" y="19965"/>
                    <a:pt x="33230" y="16726"/>
                    <a:pt x="33134" y="11392"/>
                  </a:cubicBezTo>
                  <a:cubicBezTo>
                    <a:pt x="33134" y="7582"/>
                    <a:pt x="24181" y="8058"/>
                    <a:pt x="22657" y="13488"/>
                  </a:cubicBezTo>
                  <a:cubicBezTo>
                    <a:pt x="21133" y="18726"/>
                    <a:pt x="14275" y="14726"/>
                    <a:pt x="16085" y="7582"/>
                  </a:cubicBezTo>
                  <a:lnTo>
                    <a:pt x="16751" y="4820"/>
                  </a:lnTo>
                  <a:cubicBezTo>
                    <a:pt x="18466" y="-2134"/>
                    <a:pt x="8370" y="-1371"/>
                    <a:pt x="8370" y="5867"/>
                  </a:cubicBezTo>
                  <a:close/>
                </a:path>
              </a:pathLst>
            </a:custGeom>
            <a:grpFill/>
            <a:ln w="9525" cap="flat">
              <a:noFill/>
              <a:prstDash val="solid"/>
              <a:miter/>
            </a:ln>
          </p:spPr>
          <p:txBody>
            <a:bodyPr rtlCol="0" anchor="ctr"/>
            <a:lstStyle/>
            <a:p>
              <a:endParaRPr lang="en-IN"/>
            </a:p>
          </p:txBody>
        </p:sp>
        <p:sp>
          <p:nvSpPr>
            <p:cNvPr id="390" name="Freeform: Shape 389">
              <a:extLst>
                <a:ext uri="{FF2B5EF4-FFF2-40B4-BE49-F238E27FC236}">
                  <a16:creationId xmlns:a16="http://schemas.microsoft.com/office/drawing/2014/main" id="{C6BFA714-2447-17DE-64F7-7136A71A1F18}"/>
                </a:ext>
              </a:extLst>
            </p:cNvPr>
            <p:cNvSpPr/>
            <p:nvPr/>
          </p:nvSpPr>
          <p:spPr>
            <a:xfrm>
              <a:off x="5372846" y="2149259"/>
              <a:ext cx="542353" cy="600265"/>
            </a:xfrm>
            <a:custGeom>
              <a:avLst/>
              <a:gdLst>
                <a:gd name="connsiteX0" fmla="*/ 146399 w 542353"/>
                <a:gd name="connsiteY0" fmla="*/ 565785 h 600265"/>
                <a:gd name="connsiteX1" fmla="*/ 156877 w 542353"/>
                <a:gd name="connsiteY1" fmla="*/ 555307 h 600265"/>
                <a:gd name="connsiteX2" fmla="*/ 178975 w 542353"/>
                <a:gd name="connsiteY2" fmla="*/ 566833 h 600265"/>
                <a:gd name="connsiteX3" fmla="*/ 205454 w 542353"/>
                <a:gd name="connsiteY3" fmla="*/ 566833 h 600265"/>
                <a:gd name="connsiteX4" fmla="*/ 229553 w 542353"/>
                <a:gd name="connsiteY4" fmla="*/ 579311 h 600265"/>
                <a:gd name="connsiteX5" fmla="*/ 253841 w 542353"/>
                <a:gd name="connsiteY5" fmla="*/ 600265 h 600265"/>
                <a:gd name="connsiteX6" fmla="*/ 271748 w 542353"/>
                <a:gd name="connsiteY6" fmla="*/ 590836 h 600265"/>
                <a:gd name="connsiteX7" fmla="*/ 269557 w 542353"/>
                <a:gd name="connsiteY7" fmla="*/ 577405 h 600265"/>
                <a:gd name="connsiteX8" fmla="*/ 296418 w 542353"/>
                <a:gd name="connsiteY8" fmla="*/ 580072 h 600265"/>
                <a:gd name="connsiteX9" fmla="*/ 304038 w 542353"/>
                <a:gd name="connsiteY9" fmla="*/ 593027 h 600265"/>
                <a:gd name="connsiteX10" fmla="*/ 340328 w 542353"/>
                <a:gd name="connsiteY10" fmla="*/ 578263 h 600265"/>
                <a:gd name="connsiteX11" fmla="*/ 376999 w 542353"/>
                <a:gd name="connsiteY11" fmla="*/ 574262 h 600265"/>
                <a:gd name="connsiteX12" fmla="*/ 374332 w 542353"/>
                <a:gd name="connsiteY12" fmla="*/ 565785 h 600265"/>
                <a:gd name="connsiteX13" fmla="*/ 402527 w 542353"/>
                <a:gd name="connsiteY13" fmla="*/ 567119 h 600265"/>
                <a:gd name="connsiteX14" fmla="*/ 421005 w 542353"/>
                <a:gd name="connsiteY14" fmla="*/ 586359 h 600265"/>
                <a:gd name="connsiteX15" fmla="*/ 429482 w 542353"/>
                <a:gd name="connsiteY15" fmla="*/ 563499 h 600265"/>
                <a:gd name="connsiteX16" fmla="*/ 409194 w 542353"/>
                <a:gd name="connsiteY16" fmla="*/ 537496 h 600265"/>
                <a:gd name="connsiteX17" fmla="*/ 447199 w 542353"/>
                <a:gd name="connsiteY17" fmla="*/ 517398 h 600265"/>
                <a:gd name="connsiteX18" fmla="*/ 450342 w 542353"/>
                <a:gd name="connsiteY18" fmla="*/ 504730 h 600265"/>
                <a:gd name="connsiteX19" fmla="*/ 468249 w 542353"/>
                <a:gd name="connsiteY19" fmla="*/ 504444 h 600265"/>
                <a:gd name="connsiteX20" fmla="*/ 472154 w 542353"/>
                <a:gd name="connsiteY20" fmla="*/ 486346 h 600265"/>
                <a:gd name="connsiteX21" fmla="*/ 386429 w 542353"/>
                <a:gd name="connsiteY21" fmla="*/ 414909 h 600265"/>
                <a:gd name="connsiteX22" fmla="*/ 394811 w 542353"/>
                <a:gd name="connsiteY22" fmla="*/ 395859 h 600265"/>
                <a:gd name="connsiteX23" fmla="*/ 372142 w 542353"/>
                <a:gd name="connsiteY23" fmla="*/ 366141 h 600265"/>
                <a:gd name="connsiteX24" fmla="*/ 499586 w 542353"/>
                <a:gd name="connsiteY24" fmla="*/ 319659 h 600265"/>
                <a:gd name="connsiteX25" fmla="*/ 505492 w 542353"/>
                <a:gd name="connsiteY25" fmla="*/ 306514 h 600265"/>
                <a:gd name="connsiteX26" fmla="*/ 520922 w 542353"/>
                <a:gd name="connsiteY26" fmla="*/ 321945 h 600265"/>
                <a:gd name="connsiteX27" fmla="*/ 542354 w 542353"/>
                <a:gd name="connsiteY27" fmla="*/ 320802 h 600265"/>
                <a:gd name="connsiteX28" fmla="*/ 542354 w 542353"/>
                <a:gd name="connsiteY28" fmla="*/ 281559 h 600265"/>
                <a:gd name="connsiteX29" fmla="*/ 522161 w 542353"/>
                <a:gd name="connsiteY29" fmla="*/ 252984 h 600265"/>
                <a:gd name="connsiteX30" fmla="*/ 523304 w 542353"/>
                <a:gd name="connsiteY30" fmla="*/ 189929 h 600265"/>
                <a:gd name="connsiteX31" fmla="*/ 495871 w 542353"/>
                <a:gd name="connsiteY31" fmla="*/ 164973 h 600265"/>
                <a:gd name="connsiteX32" fmla="*/ 508540 w 542353"/>
                <a:gd name="connsiteY32" fmla="*/ 130397 h 600265"/>
                <a:gd name="connsiteX33" fmla="*/ 499491 w 542353"/>
                <a:gd name="connsiteY33" fmla="*/ 96012 h 600265"/>
                <a:gd name="connsiteX34" fmla="*/ 499491 w 542353"/>
                <a:gd name="connsiteY34" fmla="*/ 96012 h 600265"/>
                <a:gd name="connsiteX35" fmla="*/ 476821 w 542353"/>
                <a:gd name="connsiteY35" fmla="*/ 85535 h 600265"/>
                <a:gd name="connsiteX36" fmla="*/ 474059 w 542353"/>
                <a:gd name="connsiteY36" fmla="*/ 78867 h 600265"/>
                <a:gd name="connsiteX37" fmla="*/ 476155 w 542353"/>
                <a:gd name="connsiteY37" fmla="*/ 69913 h 600265"/>
                <a:gd name="connsiteX38" fmla="*/ 475488 w 542353"/>
                <a:gd name="connsiteY38" fmla="*/ 62770 h 600265"/>
                <a:gd name="connsiteX39" fmla="*/ 448246 w 542353"/>
                <a:gd name="connsiteY39" fmla="*/ 62103 h 600265"/>
                <a:gd name="connsiteX40" fmla="*/ 432816 w 542353"/>
                <a:gd name="connsiteY40" fmla="*/ 50387 h 600265"/>
                <a:gd name="connsiteX41" fmla="*/ 425958 w 542353"/>
                <a:gd name="connsiteY41" fmla="*/ 40577 h 600265"/>
                <a:gd name="connsiteX42" fmla="*/ 418624 w 542353"/>
                <a:gd name="connsiteY42" fmla="*/ 35243 h 600265"/>
                <a:gd name="connsiteX43" fmla="*/ 398431 w 542353"/>
                <a:gd name="connsiteY43" fmla="*/ 33909 h 600265"/>
                <a:gd name="connsiteX44" fmla="*/ 365855 w 542353"/>
                <a:gd name="connsiteY44" fmla="*/ 57721 h 600265"/>
                <a:gd name="connsiteX45" fmla="*/ 341376 w 542353"/>
                <a:gd name="connsiteY45" fmla="*/ 63818 h 600265"/>
                <a:gd name="connsiteX46" fmla="*/ 341186 w 542353"/>
                <a:gd name="connsiteY46" fmla="*/ 64198 h 600265"/>
                <a:gd name="connsiteX47" fmla="*/ 330327 w 542353"/>
                <a:gd name="connsiteY47" fmla="*/ 75533 h 600265"/>
                <a:gd name="connsiteX48" fmla="*/ 330327 w 542353"/>
                <a:gd name="connsiteY48" fmla="*/ 76295 h 600265"/>
                <a:gd name="connsiteX49" fmla="*/ 304514 w 542353"/>
                <a:gd name="connsiteY49" fmla="*/ 73533 h 600265"/>
                <a:gd name="connsiteX50" fmla="*/ 302895 w 542353"/>
                <a:gd name="connsiteY50" fmla="*/ 74390 h 600265"/>
                <a:gd name="connsiteX51" fmla="*/ 290131 w 542353"/>
                <a:gd name="connsiteY51" fmla="*/ 70676 h 600265"/>
                <a:gd name="connsiteX52" fmla="*/ 290798 w 542353"/>
                <a:gd name="connsiteY52" fmla="*/ 65056 h 600265"/>
                <a:gd name="connsiteX53" fmla="*/ 304800 w 542353"/>
                <a:gd name="connsiteY53" fmla="*/ 58484 h 600265"/>
                <a:gd name="connsiteX54" fmla="*/ 313658 w 542353"/>
                <a:gd name="connsiteY54" fmla="*/ 48292 h 600265"/>
                <a:gd name="connsiteX55" fmla="*/ 323374 w 542353"/>
                <a:gd name="connsiteY55" fmla="*/ 35528 h 600265"/>
                <a:gd name="connsiteX56" fmla="*/ 307467 w 542353"/>
                <a:gd name="connsiteY56" fmla="*/ 28480 h 600265"/>
                <a:gd name="connsiteX57" fmla="*/ 306324 w 542353"/>
                <a:gd name="connsiteY57" fmla="*/ 38862 h 600265"/>
                <a:gd name="connsiteX58" fmla="*/ 293370 w 542353"/>
                <a:gd name="connsiteY58" fmla="*/ 44101 h 600265"/>
                <a:gd name="connsiteX59" fmla="*/ 284036 w 542353"/>
                <a:gd name="connsiteY59" fmla="*/ 44577 h 600265"/>
                <a:gd name="connsiteX60" fmla="*/ 262890 w 542353"/>
                <a:gd name="connsiteY60" fmla="*/ 36576 h 600265"/>
                <a:gd name="connsiteX61" fmla="*/ 254127 w 542353"/>
                <a:gd name="connsiteY61" fmla="*/ 34004 h 600265"/>
                <a:gd name="connsiteX62" fmla="*/ 244983 w 542353"/>
                <a:gd name="connsiteY62" fmla="*/ 31528 h 600265"/>
                <a:gd name="connsiteX63" fmla="*/ 242316 w 542353"/>
                <a:gd name="connsiteY63" fmla="*/ 11144 h 600265"/>
                <a:gd name="connsiteX64" fmla="*/ 242125 w 542353"/>
                <a:gd name="connsiteY64" fmla="*/ 10859 h 600265"/>
                <a:gd name="connsiteX65" fmla="*/ 217265 w 542353"/>
                <a:gd name="connsiteY65" fmla="*/ 762 h 600265"/>
                <a:gd name="connsiteX66" fmla="*/ 217075 w 542353"/>
                <a:gd name="connsiteY66" fmla="*/ 762 h 600265"/>
                <a:gd name="connsiteX67" fmla="*/ 162592 w 542353"/>
                <a:gd name="connsiteY67" fmla="*/ 0 h 600265"/>
                <a:gd name="connsiteX68" fmla="*/ 162592 w 542353"/>
                <a:gd name="connsiteY68" fmla="*/ 0 h 600265"/>
                <a:gd name="connsiteX69" fmla="*/ 164592 w 542353"/>
                <a:gd name="connsiteY69" fmla="*/ 4381 h 600265"/>
                <a:gd name="connsiteX70" fmla="*/ 175450 w 542353"/>
                <a:gd name="connsiteY70" fmla="*/ 25622 h 600265"/>
                <a:gd name="connsiteX71" fmla="*/ 179737 w 542353"/>
                <a:gd name="connsiteY71" fmla="*/ 29528 h 600265"/>
                <a:gd name="connsiteX72" fmla="*/ 174593 w 542353"/>
                <a:gd name="connsiteY72" fmla="*/ 37529 h 600265"/>
                <a:gd name="connsiteX73" fmla="*/ 159353 w 542353"/>
                <a:gd name="connsiteY73" fmla="*/ 42672 h 600265"/>
                <a:gd name="connsiteX74" fmla="*/ 163544 w 542353"/>
                <a:gd name="connsiteY74" fmla="*/ 46958 h 600265"/>
                <a:gd name="connsiteX75" fmla="*/ 175831 w 542353"/>
                <a:gd name="connsiteY75" fmla="*/ 46292 h 600265"/>
                <a:gd name="connsiteX76" fmla="*/ 173831 w 542353"/>
                <a:gd name="connsiteY76" fmla="*/ 57150 h 600265"/>
                <a:gd name="connsiteX77" fmla="*/ 184975 w 542353"/>
                <a:gd name="connsiteY77" fmla="*/ 64865 h 600265"/>
                <a:gd name="connsiteX78" fmla="*/ 179451 w 542353"/>
                <a:gd name="connsiteY78" fmla="*/ 70295 h 600265"/>
                <a:gd name="connsiteX79" fmla="*/ 181832 w 542353"/>
                <a:gd name="connsiteY79" fmla="*/ 84772 h 600265"/>
                <a:gd name="connsiteX80" fmla="*/ 176308 w 542353"/>
                <a:gd name="connsiteY80" fmla="*/ 85439 h 600265"/>
                <a:gd name="connsiteX81" fmla="*/ 163830 w 542353"/>
                <a:gd name="connsiteY81" fmla="*/ 81153 h 600265"/>
                <a:gd name="connsiteX82" fmla="*/ 154781 w 542353"/>
                <a:gd name="connsiteY82" fmla="*/ 90678 h 600265"/>
                <a:gd name="connsiteX83" fmla="*/ 154972 w 542353"/>
                <a:gd name="connsiteY83" fmla="*/ 102584 h 600265"/>
                <a:gd name="connsiteX84" fmla="*/ 144209 w 542353"/>
                <a:gd name="connsiteY84" fmla="*/ 102394 h 600265"/>
                <a:gd name="connsiteX85" fmla="*/ 140779 w 542353"/>
                <a:gd name="connsiteY85" fmla="*/ 109728 h 600265"/>
                <a:gd name="connsiteX86" fmla="*/ 142684 w 542353"/>
                <a:gd name="connsiteY86" fmla="*/ 115348 h 600265"/>
                <a:gd name="connsiteX87" fmla="*/ 130683 w 542353"/>
                <a:gd name="connsiteY87" fmla="*/ 116586 h 600265"/>
                <a:gd name="connsiteX88" fmla="*/ 128206 w 542353"/>
                <a:gd name="connsiteY88" fmla="*/ 110490 h 600265"/>
                <a:gd name="connsiteX89" fmla="*/ 125349 w 542353"/>
                <a:gd name="connsiteY89" fmla="*/ 100679 h 600265"/>
                <a:gd name="connsiteX90" fmla="*/ 116205 w 542353"/>
                <a:gd name="connsiteY90" fmla="*/ 97155 h 600265"/>
                <a:gd name="connsiteX91" fmla="*/ 67342 w 542353"/>
                <a:gd name="connsiteY91" fmla="*/ 112490 h 600265"/>
                <a:gd name="connsiteX92" fmla="*/ 63722 w 542353"/>
                <a:gd name="connsiteY92" fmla="*/ 125254 h 600265"/>
                <a:gd name="connsiteX93" fmla="*/ 81534 w 542353"/>
                <a:gd name="connsiteY93" fmla="*/ 137255 h 600265"/>
                <a:gd name="connsiteX94" fmla="*/ 70199 w 542353"/>
                <a:gd name="connsiteY94" fmla="*/ 178308 h 600265"/>
                <a:gd name="connsiteX95" fmla="*/ 44577 w 542353"/>
                <a:gd name="connsiteY95" fmla="*/ 179451 h 600265"/>
                <a:gd name="connsiteX96" fmla="*/ 41624 w 542353"/>
                <a:gd name="connsiteY96" fmla="*/ 194310 h 600265"/>
                <a:gd name="connsiteX97" fmla="*/ 69628 w 542353"/>
                <a:gd name="connsiteY97" fmla="*/ 202025 h 600265"/>
                <a:gd name="connsiteX98" fmla="*/ 50006 w 542353"/>
                <a:gd name="connsiteY98" fmla="*/ 236506 h 600265"/>
                <a:gd name="connsiteX99" fmla="*/ 11335 w 542353"/>
                <a:gd name="connsiteY99" fmla="*/ 237649 h 600265"/>
                <a:gd name="connsiteX100" fmla="*/ 0 w 542353"/>
                <a:gd name="connsiteY100" fmla="*/ 251365 h 600265"/>
                <a:gd name="connsiteX101" fmla="*/ 17907 w 542353"/>
                <a:gd name="connsiteY101" fmla="*/ 276987 h 600265"/>
                <a:gd name="connsiteX102" fmla="*/ 4763 w 542353"/>
                <a:gd name="connsiteY102" fmla="*/ 330518 h 600265"/>
                <a:gd name="connsiteX103" fmla="*/ 28004 w 542353"/>
                <a:gd name="connsiteY103" fmla="*/ 364427 h 600265"/>
                <a:gd name="connsiteX104" fmla="*/ 11335 w 542353"/>
                <a:gd name="connsiteY104" fmla="*/ 382905 h 600265"/>
                <a:gd name="connsiteX105" fmla="*/ 35147 w 542353"/>
                <a:gd name="connsiteY105" fmla="*/ 408527 h 600265"/>
                <a:gd name="connsiteX106" fmla="*/ 23336 w 542353"/>
                <a:gd name="connsiteY106" fmla="*/ 433959 h 600265"/>
                <a:gd name="connsiteX107" fmla="*/ 34385 w 542353"/>
                <a:gd name="connsiteY107" fmla="*/ 436721 h 600265"/>
                <a:gd name="connsiteX108" fmla="*/ 51054 w 542353"/>
                <a:gd name="connsiteY108" fmla="*/ 456533 h 600265"/>
                <a:gd name="connsiteX109" fmla="*/ 136779 w 542353"/>
                <a:gd name="connsiteY109" fmla="*/ 470821 h 600265"/>
                <a:gd name="connsiteX110" fmla="*/ 98870 w 542353"/>
                <a:gd name="connsiteY110" fmla="*/ 536257 h 600265"/>
                <a:gd name="connsiteX111" fmla="*/ 96583 w 542353"/>
                <a:gd name="connsiteY111" fmla="*/ 578548 h 600265"/>
                <a:gd name="connsiteX112" fmla="*/ 151543 w 542353"/>
                <a:gd name="connsiteY112" fmla="*/ 585788 h 600265"/>
                <a:gd name="connsiteX113" fmla="*/ 146590 w 542353"/>
                <a:gd name="connsiteY113" fmla="*/ 565118 h 6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542353" h="600265">
                  <a:moveTo>
                    <a:pt x="146399" y="565785"/>
                  </a:moveTo>
                  <a:lnTo>
                    <a:pt x="156877" y="555307"/>
                  </a:lnTo>
                  <a:lnTo>
                    <a:pt x="178975" y="566833"/>
                  </a:lnTo>
                  <a:lnTo>
                    <a:pt x="205454" y="566833"/>
                  </a:lnTo>
                  <a:lnTo>
                    <a:pt x="229553" y="579311"/>
                  </a:lnTo>
                  <a:lnTo>
                    <a:pt x="253841" y="600265"/>
                  </a:lnTo>
                  <a:lnTo>
                    <a:pt x="271748" y="590836"/>
                  </a:lnTo>
                  <a:lnTo>
                    <a:pt x="269557" y="577405"/>
                  </a:lnTo>
                  <a:lnTo>
                    <a:pt x="296418" y="580072"/>
                  </a:lnTo>
                  <a:lnTo>
                    <a:pt x="304038" y="593027"/>
                  </a:lnTo>
                  <a:lnTo>
                    <a:pt x="340328" y="578263"/>
                  </a:lnTo>
                  <a:lnTo>
                    <a:pt x="376999" y="574262"/>
                  </a:lnTo>
                  <a:lnTo>
                    <a:pt x="374332" y="565785"/>
                  </a:lnTo>
                  <a:lnTo>
                    <a:pt x="402527" y="567119"/>
                  </a:lnTo>
                  <a:lnTo>
                    <a:pt x="421005" y="586359"/>
                  </a:lnTo>
                  <a:lnTo>
                    <a:pt x="429482" y="563499"/>
                  </a:lnTo>
                  <a:lnTo>
                    <a:pt x="409194" y="537496"/>
                  </a:lnTo>
                  <a:lnTo>
                    <a:pt x="447199" y="517398"/>
                  </a:lnTo>
                  <a:lnTo>
                    <a:pt x="450342" y="504730"/>
                  </a:lnTo>
                  <a:lnTo>
                    <a:pt x="468249" y="504444"/>
                  </a:lnTo>
                  <a:lnTo>
                    <a:pt x="472154" y="486346"/>
                  </a:lnTo>
                  <a:lnTo>
                    <a:pt x="386429" y="414909"/>
                  </a:lnTo>
                  <a:lnTo>
                    <a:pt x="394811" y="395859"/>
                  </a:lnTo>
                  <a:lnTo>
                    <a:pt x="372142" y="366141"/>
                  </a:lnTo>
                  <a:lnTo>
                    <a:pt x="499586" y="319659"/>
                  </a:lnTo>
                  <a:lnTo>
                    <a:pt x="505492" y="306514"/>
                  </a:lnTo>
                  <a:lnTo>
                    <a:pt x="520922" y="321945"/>
                  </a:lnTo>
                  <a:lnTo>
                    <a:pt x="542354" y="320802"/>
                  </a:lnTo>
                  <a:lnTo>
                    <a:pt x="542354" y="281559"/>
                  </a:lnTo>
                  <a:lnTo>
                    <a:pt x="522161" y="252984"/>
                  </a:lnTo>
                  <a:lnTo>
                    <a:pt x="523304" y="189929"/>
                  </a:lnTo>
                  <a:lnTo>
                    <a:pt x="495871" y="164973"/>
                  </a:lnTo>
                  <a:lnTo>
                    <a:pt x="508540" y="130397"/>
                  </a:lnTo>
                  <a:lnTo>
                    <a:pt x="499491" y="96012"/>
                  </a:lnTo>
                  <a:lnTo>
                    <a:pt x="499491" y="96012"/>
                  </a:lnTo>
                  <a:cubicBezTo>
                    <a:pt x="482822" y="91821"/>
                    <a:pt x="479012" y="91059"/>
                    <a:pt x="476821" y="85535"/>
                  </a:cubicBezTo>
                  <a:lnTo>
                    <a:pt x="474059" y="78867"/>
                  </a:lnTo>
                  <a:cubicBezTo>
                    <a:pt x="471964" y="73819"/>
                    <a:pt x="476631" y="68961"/>
                    <a:pt x="476155" y="69913"/>
                  </a:cubicBezTo>
                  <a:cubicBezTo>
                    <a:pt x="480060" y="66104"/>
                    <a:pt x="474916" y="61817"/>
                    <a:pt x="475488" y="62770"/>
                  </a:cubicBezTo>
                  <a:cubicBezTo>
                    <a:pt x="466344" y="56102"/>
                    <a:pt x="457200" y="68961"/>
                    <a:pt x="448246" y="62103"/>
                  </a:cubicBezTo>
                  <a:lnTo>
                    <a:pt x="432816" y="50387"/>
                  </a:lnTo>
                  <a:cubicBezTo>
                    <a:pt x="428054" y="46768"/>
                    <a:pt x="425387" y="39624"/>
                    <a:pt x="425958" y="40577"/>
                  </a:cubicBezTo>
                  <a:cubicBezTo>
                    <a:pt x="424815" y="37814"/>
                    <a:pt x="421577" y="35433"/>
                    <a:pt x="418624" y="35243"/>
                  </a:cubicBezTo>
                  <a:lnTo>
                    <a:pt x="398431" y="33909"/>
                  </a:lnTo>
                  <a:cubicBezTo>
                    <a:pt x="386048" y="33147"/>
                    <a:pt x="378714" y="56960"/>
                    <a:pt x="365855" y="57721"/>
                  </a:cubicBezTo>
                  <a:cubicBezTo>
                    <a:pt x="355949" y="59150"/>
                    <a:pt x="345377" y="56197"/>
                    <a:pt x="341376" y="63818"/>
                  </a:cubicBezTo>
                  <a:lnTo>
                    <a:pt x="341186" y="64198"/>
                  </a:lnTo>
                  <a:cubicBezTo>
                    <a:pt x="337471" y="71342"/>
                    <a:pt x="329755" y="67818"/>
                    <a:pt x="330327" y="75533"/>
                  </a:cubicBezTo>
                  <a:lnTo>
                    <a:pt x="330327" y="76295"/>
                  </a:lnTo>
                  <a:cubicBezTo>
                    <a:pt x="331184" y="87535"/>
                    <a:pt x="314896" y="68009"/>
                    <a:pt x="304514" y="73533"/>
                  </a:cubicBezTo>
                  <a:lnTo>
                    <a:pt x="302895" y="74390"/>
                  </a:lnTo>
                  <a:cubicBezTo>
                    <a:pt x="296704" y="77724"/>
                    <a:pt x="289179" y="70295"/>
                    <a:pt x="290131" y="70676"/>
                  </a:cubicBezTo>
                  <a:cubicBezTo>
                    <a:pt x="287750" y="68866"/>
                    <a:pt x="288036" y="66294"/>
                    <a:pt x="290798" y="65056"/>
                  </a:cubicBezTo>
                  <a:lnTo>
                    <a:pt x="304800" y="58484"/>
                  </a:lnTo>
                  <a:cubicBezTo>
                    <a:pt x="310705" y="55721"/>
                    <a:pt x="314325" y="47339"/>
                    <a:pt x="313658" y="48292"/>
                  </a:cubicBezTo>
                  <a:cubicBezTo>
                    <a:pt x="317278" y="41053"/>
                    <a:pt x="325374" y="41720"/>
                    <a:pt x="323374" y="35528"/>
                  </a:cubicBezTo>
                  <a:cubicBezTo>
                    <a:pt x="319564" y="23622"/>
                    <a:pt x="306514" y="28385"/>
                    <a:pt x="307467" y="28480"/>
                  </a:cubicBezTo>
                  <a:cubicBezTo>
                    <a:pt x="300323" y="31813"/>
                    <a:pt x="309658" y="33242"/>
                    <a:pt x="306324" y="38862"/>
                  </a:cubicBezTo>
                  <a:cubicBezTo>
                    <a:pt x="303276" y="44101"/>
                    <a:pt x="299752" y="39719"/>
                    <a:pt x="293370" y="44101"/>
                  </a:cubicBezTo>
                  <a:cubicBezTo>
                    <a:pt x="292418" y="44387"/>
                    <a:pt x="288607" y="47339"/>
                    <a:pt x="284036" y="44577"/>
                  </a:cubicBezTo>
                  <a:cubicBezTo>
                    <a:pt x="277368" y="41338"/>
                    <a:pt x="270700" y="34195"/>
                    <a:pt x="262890" y="36576"/>
                  </a:cubicBezTo>
                  <a:cubicBezTo>
                    <a:pt x="261938" y="36576"/>
                    <a:pt x="256508" y="39338"/>
                    <a:pt x="254127" y="34004"/>
                  </a:cubicBezTo>
                  <a:cubicBezTo>
                    <a:pt x="251841" y="28765"/>
                    <a:pt x="244030" y="31528"/>
                    <a:pt x="244983" y="31528"/>
                  </a:cubicBezTo>
                  <a:cubicBezTo>
                    <a:pt x="235172" y="34385"/>
                    <a:pt x="248317" y="19907"/>
                    <a:pt x="242316" y="11144"/>
                  </a:cubicBezTo>
                  <a:lnTo>
                    <a:pt x="242125" y="10859"/>
                  </a:lnTo>
                  <a:cubicBezTo>
                    <a:pt x="236220" y="2381"/>
                    <a:pt x="217932" y="4953"/>
                    <a:pt x="217265" y="762"/>
                  </a:cubicBezTo>
                  <a:lnTo>
                    <a:pt x="217075" y="762"/>
                  </a:lnTo>
                  <a:cubicBezTo>
                    <a:pt x="217075" y="762"/>
                    <a:pt x="162592" y="0"/>
                    <a:pt x="162592" y="0"/>
                  </a:cubicBezTo>
                  <a:lnTo>
                    <a:pt x="162592" y="0"/>
                  </a:lnTo>
                  <a:cubicBezTo>
                    <a:pt x="162877" y="1524"/>
                    <a:pt x="163449" y="2953"/>
                    <a:pt x="164592" y="4381"/>
                  </a:cubicBezTo>
                  <a:cubicBezTo>
                    <a:pt x="173926" y="17050"/>
                    <a:pt x="177641" y="20479"/>
                    <a:pt x="175450" y="25622"/>
                  </a:cubicBezTo>
                  <a:cubicBezTo>
                    <a:pt x="173546" y="30004"/>
                    <a:pt x="180689" y="29909"/>
                    <a:pt x="179737" y="29528"/>
                  </a:cubicBezTo>
                  <a:cubicBezTo>
                    <a:pt x="186690" y="29242"/>
                    <a:pt x="181927" y="37243"/>
                    <a:pt x="174593" y="37529"/>
                  </a:cubicBezTo>
                  <a:cubicBezTo>
                    <a:pt x="170974" y="38195"/>
                    <a:pt x="161068" y="36100"/>
                    <a:pt x="159353" y="42672"/>
                  </a:cubicBezTo>
                  <a:cubicBezTo>
                    <a:pt x="158687" y="45148"/>
                    <a:pt x="160592" y="47149"/>
                    <a:pt x="163544" y="46958"/>
                  </a:cubicBezTo>
                  <a:lnTo>
                    <a:pt x="175831" y="46292"/>
                  </a:lnTo>
                  <a:cubicBezTo>
                    <a:pt x="183166" y="45911"/>
                    <a:pt x="174212" y="51626"/>
                    <a:pt x="173831" y="57150"/>
                  </a:cubicBezTo>
                  <a:cubicBezTo>
                    <a:pt x="173546" y="62674"/>
                    <a:pt x="183451" y="57531"/>
                    <a:pt x="184975" y="64865"/>
                  </a:cubicBezTo>
                  <a:cubicBezTo>
                    <a:pt x="186023" y="70295"/>
                    <a:pt x="178498" y="70676"/>
                    <a:pt x="179451" y="70295"/>
                  </a:cubicBezTo>
                  <a:cubicBezTo>
                    <a:pt x="168402" y="71056"/>
                    <a:pt x="192596" y="83439"/>
                    <a:pt x="181832" y="84772"/>
                  </a:cubicBezTo>
                  <a:lnTo>
                    <a:pt x="176308" y="85439"/>
                  </a:lnTo>
                  <a:cubicBezTo>
                    <a:pt x="168783" y="86392"/>
                    <a:pt x="168402" y="80867"/>
                    <a:pt x="163830" y="81153"/>
                  </a:cubicBezTo>
                  <a:cubicBezTo>
                    <a:pt x="159544" y="81439"/>
                    <a:pt x="154019" y="91630"/>
                    <a:pt x="154781" y="90678"/>
                  </a:cubicBezTo>
                  <a:cubicBezTo>
                    <a:pt x="151352" y="96107"/>
                    <a:pt x="155162" y="103537"/>
                    <a:pt x="154972" y="102584"/>
                  </a:cubicBezTo>
                  <a:cubicBezTo>
                    <a:pt x="158020" y="109823"/>
                    <a:pt x="143256" y="102203"/>
                    <a:pt x="144209" y="102394"/>
                  </a:cubicBezTo>
                  <a:cubicBezTo>
                    <a:pt x="137636" y="99727"/>
                    <a:pt x="134969" y="108966"/>
                    <a:pt x="140779" y="109728"/>
                  </a:cubicBezTo>
                  <a:cubicBezTo>
                    <a:pt x="145161" y="110299"/>
                    <a:pt x="142589" y="116300"/>
                    <a:pt x="142684" y="115348"/>
                  </a:cubicBezTo>
                  <a:cubicBezTo>
                    <a:pt x="139637" y="121729"/>
                    <a:pt x="129730" y="116396"/>
                    <a:pt x="130683" y="116586"/>
                  </a:cubicBezTo>
                  <a:cubicBezTo>
                    <a:pt x="127921" y="115538"/>
                    <a:pt x="126778" y="112776"/>
                    <a:pt x="128206" y="110490"/>
                  </a:cubicBezTo>
                  <a:cubicBezTo>
                    <a:pt x="131254" y="105537"/>
                    <a:pt x="124873" y="99727"/>
                    <a:pt x="125349" y="100679"/>
                  </a:cubicBezTo>
                  <a:cubicBezTo>
                    <a:pt x="123254" y="98488"/>
                    <a:pt x="119158" y="96964"/>
                    <a:pt x="116205" y="97155"/>
                  </a:cubicBezTo>
                  <a:cubicBezTo>
                    <a:pt x="100108" y="98203"/>
                    <a:pt x="69342" y="96584"/>
                    <a:pt x="67342" y="112490"/>
                  </a:cubicBezTo>
                  <a:cubicBezTo>
                    <a:pt x="66294" y="120587"/>
                    <a:pt x="65151" y="124111"/>
                    <a:pt x="63722" y="125254"/>
                  </a:cubicBezTo>
                  <a:lnTo>
                    <a:pt x="81534" y="137255"/>
                  </a:lnTo>
                  <a:lnTo>
                    <a:pt x="70199" y="178308"/>
                  </a:lnTo>
                  <a:lnTo>
                    <a:pt x="44577" y="179451"/>
                  </a:lnTo>
                  <a:lnTo>
                    <a:pt x="41624" y="194310"/>
                  </a:lnTo>
                  <a:lnTo>
                    <a:pt x="69628" y="202025"/>
                  </a:lnTo>
                  <a:lnTo>
                    <a:pt x="50006" y="236506"/>
                  </a:lnTo>
                  <a:lnTo>
                    <a:pt x="11335" y="237649"/>
                  </a:lnTo>
                  <a:lnTo>
                    <a:pt x="0" y="251365"/>
                  </a:lnTo>
                  <a:lnTo>
                    <a:pt x="17907" y="276987"/>
                  </a:lnTo>
                  <a:lnTo>
                    <a:pt x="4763" y="330518"/>
                  </a:lnTo>
                  <a:lnTo>
                    <a:pt x="28004" y="364427"/>
                  </a:lnTo>
                  <a:lnTo>
                    <a:pt x="11335" y="382905"/>
                  </a:lnTo>
                  <a:lnTo>
                    <a:pt x="35147" y="408527"/>
                  </a:lnTo>
                  <a:lnTo>
                    <a:pt x="23336" y="433959"/>
                  </a:lnTo>
                  <a:lnTo>
                    <a:pt x="34385" y="436721"/>
                  </a:lnTo>
                  <a:lnTo>
                    <a:pt x="51054" y="456533"/>
                  </a:lnTo>
                  <a:lnTo>
                    <a:pt x="136779" y="470821"/>
                  </a:lnTo>
                  <a:lnTo>
                    <a:pt x="98870" y="536257"/>
                  </a:lnTo>
                  <a:lnTo>
                    <a:pt x="96583" y="578548"/>
                  </a:lnTo>
                  <a:lnTo>
                    <a:pt x="151543" y="585788"/>
                  </a:lnTo>
                  <a:lnTo>
                    <a:pt x="146590" y="565118"/>
                  </a:lnTo>
                  <a:close/>
                </a:path>
              </a:pathLst>
            </a:custGeom>
            <a:solidFill>
              <a:schemeClr val="bg1">
                <a:lumMod val="95000"/>
              </a:schemeClr>
            </a:solidFill>
            <a:ln w="9525" cap="flat">
              <a:noFill/>
              <a:prstDash val="solid"/>
              <a:miter/>
            </a:ln>
          </p:spPr>
          <p:txBody>
            <a:bodyPr rtlCol="0" anchor="ctr"/>
            <a:lstStyle/>
            <a:p>
              <a:endParaRPr lang="en-IN"/>
            </a:p>
          </p:txBody>
        </p:sp>
      </p:grpSp>
      <p:grpSp>
        <p:nvGrpSpPr>
          <p:cNvPr id="391" name="Graphic 166">
            <a:extLst>
              <a:ext uri="{FF2B5EF4-FFF2-40B4-BE49-F238E27FC236}">
                <a16:creationId xmlns:a16="http://schemas.microsoft.com/office/drawing/2014/main" id="{FB4ABDC0-C2A5-4150-9459-D883A83E820B}"/>
              </a:ext>
            </a:extLst>
          </p:cNvPr>
          <p:cNvGrpSpPr/>
          <p:nvPr/>
        </p:nvGrpSpPr>
        <p:grpSpPr>
          <a:xfrm>
            <a:off x="5307067" y="2001419"/>
            <a:ext cx="861379" cy="727469"/>
            <a:chOff x="4728440" y="2452630"/>
            <a:chExt cx="861379" cy="727469"/>
          </a:xfrm>
          <a:solidFill>
            <a:schemeClr val="bg1">
              <a:lumMod val="85000"/>
            </a:schemeClr>
          </a:solidFill>
        </p:grpSpPr>
        <p:sp>
          <p:nvSpPr>
            <p:cNvPr id="392" name="Freeform: Shape 391">
              <a:extLst>
                <a:ext uri="{FF2B5EF4-FFF2-40B4-BE49-F238E27FC236}">
                  <a16:creationId xmlns:a16="http://schemas.microsoft.com/office/drawing/2014/main" id="{CD749077-88A9-24B7-C2EF-FE42250FC0C9}"/>
                </a:ext>
              </a:extLst>
            </p:cNvPr>
            <p:cNvSpPr/>
            <p:nvPr/>
          </p:nvSpPr>
          <p:spPr>
            <a:xfrm>
              <a:off x="5530053" y="3061052"/>
              <a:ext cx="59766" cy="119047"/>
            </a:xfrm>
            <a:custGeom>
              <a:avLst/>
              <a:gdLst>
                <a:gd name="connsiteX0" fmla="*/ 6337 w 59766"/>
                <a:gd name="connsiteY0" fmla="*/ 37087 h 119047"/>
                <a:gd name="connsiteX1" fmla="*/ 1860 w 59766"/>
                <a:gd name="connsiteY1" fmla="*/ 51756 h 119047"/>
                <a:gd name="connsiteX2" fmla="*/ 2622 w 59766"/>
                <a:gd name="connsiteY2" fmla="*/ 59090 h 119047"/>
                <a:gd name="connsiteX3" fmla="*/ 3194 w 59766"/>
                <a:gd name="connsiteY3" fmla="*/ 65186 h 119047"/>
                <a:gd name="connsiteX4" fmla="*/ 4718 w 59766"/>
                <a:gd name="connsiteY4" fmla="*/ 73568 h 119047"/>
                <a:gd name="connsiteX5" fmla="*/ 9099 w 59766"/>
                <a:gd name="connsiteY5" fmla="*/ 87855 h 119047"/>
                <a:gd name="connsiteX6" fmla="*/ 10528 w 59766"/>
                <a:gd name="connsiteY6" fmla="*/ 96428 h 119047"/>
                <a:gd name="connsiteX7" fmla="*/ 12528 w 59766"/>
                <a:gd name="connsiteY7" fmla="*/ 97095 h 119047"/>
                <a:gd name="connsiteX8" fmla="*/ 16910 w 59766"/>
                <a:gd name="connsiteY8" fmla="*/ 109191 h 119047"/>
                <a:gd name="connsiteX9" fmla="*/ 42437 w 59766"/>
                <a:gd name="connsiteY9" fmla="*/ 114621 h 119047"/>
                <a:gd name="connsiteX10" fmla="*/ 54343 w 59766"/>
                <a:gd name="connsiteY10" fmla="*/ 76521 h 119047"/>
                <a:gd name="connsiteX11" fmla="*/ 59391 w 59766"/>
                <a:gd name="connsiteY11" fmla="*/ 63948 h 119047"/>
                <a:gd name="connsiteX12" fmla="*/ 57105 w 59766"/>
                <a:gd name="connsiteY12" fmla="*/ 32896 h 119047"/>
                <a:gd name="connsiteX13" fmla="*/ 55963 w 59766"/>
                <a:gd name="connsiteY13" fmla="*/ 4797 h 119047"/>
                <a:gd name="connsiteX14" fmla="*/ 51009 w 59766"/>
                <a:gd name="connsiteY14" fmla="*/ 130 h 119047"/>
                <a:gd name="connsiteX15" fmla="*/ 41199 w 59766"/>
                <a:gd name="connsiteY15" fmla="*/ 24609 h 119047"/>
                <a:gd name="connsiteX16" fmla="*/ 29293 w 59766"/>
                <a:gd name="connsiteY16" fmla="*/ 25562 h 119047"/>
                <a:gd name="connsiteX17" fmla="*/ 6337 w 59766"/>
                <a:gd name="connsiteY17" fmla="*/ 37087 h 11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766" h="119047">
                  <a:moveTo>
                    <a:pt x="6337" y="37087"/>
                  </a:moveTo>
                  <a:cubicBezTo>
                    <a:pt x="4718" y="40230"/>
                    <a:pt x="-3664" y="46231"/>
                    <a:pt x="1860" y="51756"/>
                  </a:cubicBezTo>
                  <a:cubicBezTo>
                    <a:pt x="2337" y="52708"/>
                    <a:pt x="6528" y="56137"/>
                    <a:pt x="2622" y="59090"/>
                  </a:cubicBezTo>
                  <a:cubicBezTo>
                    <a:pt x="-997" y="61852"/>
                    <a:pt x="3765" y="66138"/>
                    <a:pt x="3194" y="65186"/>
                  </a:cubicBezTo>
                  <a:cubicBezTo>
                    <a:pt x="7576" y="68520"/>
                    <a:pt x="4623" y="74520"/>
                    <a:pt x="4718" y="73568"/>
                  </a:cubicBezTo>
                  <a:cubicBezTo>
                    <a:pt x="718" y="80902"/>
                    <a:pt x="13100" y="80426"/>
                    <a:pt x="9099" y="87855"/>
                  </a:cubicBezTo>
                  <a:cubicBezTo>
                    <a:pt x="8909" y="88808"/>
                    <a:pt x="4337" y="94332"/>
                    <a:pt x="10528" y="96428"/>
                  </a:cubicBezTo>
                  <a:lnTo>
                    <a:pt x="12528" y="97095"/>
                  </a:lnTo>
                  <a:cubicBezTo>
                    <a:pt x="20244" y="99762"/>
                    <a:pt x="10338" y="104333"/>
                    <a:pt x="16910" y="109191"/>
                  </a:cubicBezTo>
                  <a:cubicBezTo>
                    <a:pt x="18529" y="110049"/>
                    <a:pt x="36055" y="126813"/>
                    <a:pt x="42437" y="114621"/>
                  </a:cubicBezTo>
                  <a:cubicBezTo>
                    <a:pt x="54915" y="90808"/>
                    <a:pt x="47199" y="86903"/>
                    <a:pt x="54343" y="76521"/>
                  </a:cubicBezTo>
                  <a:cubicBezTo>
                    <a:pt x="55010" y="75282"/>
                    <a:pt x="59296" y="70996"/>
                    <a:pt x="59391" y="63948"/>
                  </a:cubicBezTo>
                  <a:cubicBezTo>
                    <a:pt x="59772" y="42612"/>
                    <a:pt x="60630" y="37658"/>
                    <a:pt x="57105" y="32896"/>
                  </a:cubicBezTo>
                  <a:cubicBezTo>
                    <a:pt x="52724" y="27086"/>
                    <a:pt x="56058" y="3845"/>
                    <a:pt x="55963" y="4797"/>
                  </a:cubicBezTo>
                  <a:cubicBezTo>
                    <a:pt x="56343" y="-442"/>
                    <a:pt x="50057" y="-156"/>
                    <a:pt x="51009" y="130"/>
                  </a:cubicBezTo>
                  <a:cubicBezTo>
                    <a:pt x="39103" y="1749"/>
                    <a:pt x="52533" y="28800"/>
                    <a:pt x="41199" y="24609"/>
                  </a:cubicBezTo>
                  <a:cubicBezTo>
                    <a:pt x="40246" y="24514"/>
                    <a:pt x="33769" y="20323"/>
                    <a:pt x="29293" y="25562"/>
                  </a:cubicBezTo>
                  <a:cubicBezTo>
                    <a:pt x="17196" y="34896"/>
                    <a:pt x="12433" y="28991"/>
                    <a:pt x="6337" y="37087"/>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393" name="Freeform: Shape 392">
              <a:extLst>
                <a:ext uri="{FF2B5EF4-FFF2-40B4-BE49-F238E27FC236}">
                  <a16:creationId xmlns:a16="http://schemas.microsoft.com/office/drawing/2014/main" id="{74CCC6A2-D0C7-9CB9-4743-9CBD03BB4E95}"/>
                </a:ext>
              </a:extLst>
            </p:cNvPr>
            <p:cNvSpPr/>
            <p:nvPr/>
          </p:nvSpPr>
          <p:spPr>
            <a:xfrm>
              <a:off x="4921422" y="2821889"/>
              <a:ext cx="17863" cy="10644"/>
            </a:xfrm>
            <a:custGeom>
              <a:avLst/>
              <a:gdLst>
                <a:gd name="connsiteX0" fmla="*/ 4129 w 17863"/>
                <a:gd name="connsiteY0" fmla="*/ 8122 h 10644"/>
                <a:gd name="connsiteX1" fmla="*/ 17845 w 17863"/>
                <a:gd name="connsiteY1" fmla="*/ 8122 h 10644"/>
                <a:gd name="connsiteX2" fmla="*/ 6320 w 17863"/>
                <a:gd name="connsiteY2" fmla="*/ 407 h 10644"/>
                <a:gd name="connsiteX3" fmla="*/ 4225 w 17863"/>
                <a:gd name="connsiteY3" fmla="*/ 8122 h 10644"/>
              </a:gdLst>
              <a:ahLst/>
              <a:cxnLst>
                <a:cxn ang="0">
                  <a:pos x="connsiteX0" y="connsiteY0"/>
                </a:cxn>
                <a:cxn ang="0">
                  <a:pos x="connsiteX1" y="connsiteY1"/>
                </a:cxn>
                <a:cxn ang="0">
                  <a:pos x="connsiteX2" y="connsiteY2"/>
                </a:cxn>
                <a:cxn ang="0">
                  <a:pos x="connsiteX3" y="connsiteY3"/>
                </a:cxn>
              </a:cxnLst>
              <a:rect l="l" t="t" r="r" b="b"/>
              <a:pathLst>
                <a:path w="17863" h="10644">
                  <a:moveTo>
                    <a:pt x="4129" y="8122"/>
                  </a:moveTo>
                  <a:cubicBezTo>
                    <a:pt x="6987" y="8598"/>
                    <a:pt x="17179" y="13551"/>
                    <a:pt x="17845" y="8122"/>
                  </a:cubicBezTo>
                  <a:cubicBezTo>
                    <a:pt x="18417" y="2884"/>
                    <a:pt x="5368" y="-69"/>
                    <a:pt x="6320" y="407"/>
                  </a:cubicBezTo>
                  <a:cubicBezTo>
                    <a:pt x="-443" y="-1879"/>
                    <a:pt x="-2729" y="6122"/>
                    <a:pt x="4225" y="8122"/>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394" name="Freeform: Shape 393">
              <a:extLst>
                <a:ext uri="{FF2B5EF4-FFF2-40B4-BE49-F238E27FC236}">
                  <a16:creationId xmlns:a16="http://schemas.microsoft.com/office/drawing/2014/main" id="{B939C179-F7AE-5490-17B7-14B8420588F5}"/>
                </a:ext>
              </a:extLst>
            </p:cNvPr>
            <p:cNvSpPr/>
            <p:nvPr/>
          </p:nvSpPr>
          <p:spPr>
            <a:xfrm>
              <a:off x="4927187" y="2840235"/>
              <a:ext cx="12764" cy="14551"/>
            </a:xfrm>
            <a:custGeom>
              <a:avLst/>
              <a:gdLst>
                <a:gd name="connsiteX0" fmla="*/ 3699 w 12764"/>
                <a:gd name="connsiteY0" fmla="*/ 11207 h 14551"/>
                <a:gd name="connsiteX1" fmla="*/ 12366 w 12764"/>
                <a:gd name="connsiteY1" fmla="*/ 11493 h 14551"/>
                <a:gd name="connsiteX2" fmla="*/ 9033 w 12764"/>
                <a:gd name="connsiteY2" fmla="*/ 2444 h 14551"/>
                <a:gd name="connsiteX3" fmla="*/ 5508 w 12764"/>
                <a:gd name="connsiteY3" fmla="*/ 635 h 14551"/>
                <a:gd name="connsiteX4" fmla="*/ 3699 w 12764"/>
                <a:gd name="connsiteY4" fmla="*/ 11112 h 1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4" h="14551">
                  <a:moveTo>
                    <a:pt x="3699" y="11207"/>
                  </a:moveTo>
                  <a:cubicBezTo>
                    <a:pt x="4651" y="11588"/>
                    <a:pt x="10842" y="18351"/>
                    <a:pt x="12366" y="11493"/>
                  </a:cubicBezTo>
                  <a:cubicBezTo>
                    <a:pt x="12366" y="10540"/>
                    <a:pt x="14462" y="5206"/>
                    <a:pt x="9033" y="2444"/>
                  </a:cubicBezTo>
                  <a:lnTo>
                    <a:pt x="5508" y="635"/>
                  </a:lnTo>
                  <a:cubicBezTo>
                    <a:pt x="-873" y="-2509"/>
                    <a:pt x="-2016" y="6826"/>
                    <a:pt x="3699" y="11112"/>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395" name="Freeform: Shape 394">
              <a:extLst>
                <a:ext uri="{FF2B5EF4-FFF2-40B4-BE49-F238E27FC236}">
                  <a16:creationId xmlns:a16="http://schemas.microsoft.com/office/drawing/2014/main" id="{BAAA7CEF-9A38-F10B-8DFB-B3F53CD8B064}"/>
                </a:ext>
              </a:extLst>
            </p:cNvPr>
            <p:cNvSpPr/>
            <p:nvPr/>
          </p:nvSpPr>
          <p:spPr>
            <a:xfrm>
              <a:off x="4817814" y="2736957"/>
              <a:ext cx="14732" cy="11878"/>
            </a:xfrm>
            <a:custGeom>
              <a:avLst/>
              <a:gdLst>
                <a:gd name="connsiteX0" fmla="*/ 10 w 14732"/>
                <a:gd name="connsiteY0" fmla="*/ 3328 h 11878"/>
                <a:gd name="connsiteX1" fmla="*/ 10 w 14732"/>
                <a:gd name="connsiteY1" fmla="*/ 5042 h 11878"/>
                <a:gd name="connsiteX2" fmla="*/ 10773 w 14732"/>
                <a:gd name="connsiteY2" fmla="*/ 3614 h 11878"/>
                <a:gd name="connsiteX3" fmla="*/ 10 w 14732"/>
                <a:gd name="connsiteY3" fmla="*/ 3423 h 11878"/>
              </a:gdLst>
              <a:ahLst/>
              <a:cxnLst>
                <a:cxn ang="0">
                  <a:pos x="connsiteX0" y="connsiteY0"/>
                </a:cxn>
                <a:cxn ang="0">
                  <a:pos x="connsiteX1" y="connsiteY1"/>
                </a:cxn>
                <a:cxn ang="0">
                  <a:pos x="connsiteX2" y="connsiteY2"/>
                </a:cxn>
                <a:cxn ang="0">
                  <a:pos x="connsiteX3" y="connsiteY3"/>
                </a:cxn>
              </a:cxnLst>
              <a:rect l="l" t="t" r="r" b="b"/>
              <a:pathLst>
                <a:path w="14732" h="11878">
                  <a:moveTo>
                    <a:pt x="10" y="3328"/>
                  </a:moveTo>
                  <a:lnTo>
                    <a:pt x="10" y="5042"/>
                  </a:lnTo>
                  <a:cubicBezTo>
                    <a:pt x="-562" y="17330"/>
                    <a:pt x="24108" y="10662"/>
                    <a:pt x="10773" y="3614"/>
                  </a:cubicBezTo>
                  <a:cubicBezTo>
                    <a:pt x="8963" y="3042"/>
                    <a:pt x="200" y="-4102"/>
                    <a:pt x="10" y="3423"/>
                  </a:cubicBez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396" name="Freeform: Shape 395">
              <a:extLst>
                <a:ext uri="{FF2B5EF4-FFF2-40B4-BE49-F238E27FC236}">
                  <a16:creationId xmlns:a16="http://schemas.microsoft.com/office/drawing/2014/main" id="{91838057-7EC6-2133-C17E-582DB44FC35F}"/>
                </a:ext>
              </a:extLst>
            </p:cNvPr>
            <p:cNvSpPr/>
            <p:nvPr/>
          </p:nvSpPr>
          <p:spPr>
            <a:xfrm>
              <a:off x="4728440" y="2452630"/>
              <a:ext cx="780994" cy="661701"/>
            </a:xfrm>
            <a:custGeom>
              <a:avLst/>
              <a:gdLst>
                <a:gd name="connsiteX0" fmla="*/ 701937 w 780994"/>
                <a:gd name="connsiteY0" fmla="*/ 517207 h 661701"/>
                <a:gd name="connsiteX1" fmla="*/ 707366 w 780994"/>
                <a:gd name="connsiteY1" fmla="*/ 487966 h 661701"/>
                <a:gd name="connsiteX2" fmla="*/ 688316 w 780994"/>
                <a:gd name="connsiteY2" fmla="*/ 460724 h 661701"/>
                <a:gd name="connsiteX3" fmla="*/ 712795 w 780994"/>
                <a:gd name="connsiteY3" fmla="*/ 445770 h 661701"/>
                <a:gd name="connsiteX4" fmla="*/ 697174 w 780994"/>
                <a:gd name="connsiteY4" fmla="*/ 413766 h 661701"/>
                <a:gd name="connsiteX5" fmla="*/ 708033 w 780994"/>
                <a:gd name="connsiteY5" fmla="*/ 398812 h 661701"/>
                <a:gd name="connsiteX6" fmla="*/ 693745 w 780994"/>
                <a:gd name="connsiteY6" fmla="*/ 360712 h 661701"/>
                <a:gd name="connsiteX7" fmla="*/ 644787 w 780994"/>
                <a:gd name="connsiteY7" fmla="*/ 388620 h 661701"/>
                <a:gd name="connsiteX8" fmla="*/ 652978 w 780994"/>
                <a:gd name="connsiteY8" fmla="*/ 351187 h 661701"/>
                <a:gd name="connsiteX9" fmla="*/ 707747 w 780994"/>
                <a:gd name="connsiteY9" fmla="*/ 284988 h 661701"/>
                <a:gd name="connsiteX10" fmla="*/ 740799 w 780994"/>
                <a:gd name="connsiteY10" fmla="*/ 275749 h 661701"/>
                <a:gd name="connsiteX11" fmla="*/ 743085 w 780994"/>
                <a:gd name="connsiteY11" fmla="*/ 233458 h 661701"/>
                <a:gd name="connsiteX12" fmla="*/ 780994 w 780994"/>
                <a:gd name="connsiteY12" fmla="*/ 168021 h 661701"/>
                <a:gd name="connsiteX13" fmla="*/ 695269 w 780994"/>
                <a:gd name="connsiteY13" fmla="*/ 153733 h 661701"/>
                <a:gd name="connsiteX14" fmla="*/ 678600 w 780994"/>
                <a:gd name="connsiteY14" fmla="*/ 133921 h 661701"/>
                <a:gd name="connsiteX15" fmla="*/ 585732 w 780994"/>
                <a:gd name="connsiteY15" fmla="*/ 110871 h 661701"/>
                <a:gd name="connsiteX16" fmla="*/ 582969 w 780994"/>
                <a:gd name="connsiteY16" fmla="*/ 76581 h 661701"/>
                <a:gd name="connsiteX17" fmla="*/ 569253 w 780994"/>
                <a:gd name="connsiteY17" fmla="*/ 73628 h 661701"/>
                <a:gd name="connsiteX18" fmla="*/ 551346 w 780994"/>
                <a:gd name="connsiteY18" fmla="*/ 92678 h 661701"/>
                <a:gd name="connsiteX19" fmla="*/ 532296 w 780994"/>
                <a:gd name="connsiteY19" fmla="*/ 61150 h 661701"/>
                <a:gd name="connsiteX20" fmla="*/ 500769 w 780994"/>
                <a:gd name="connsiteY20" fmla="*/ 58579 h 661701"/>
                <a:gd name="connsiteX21" fmla="*/ 475813 w 780994"/>
                <a:gd name="connsiteY21" fmla="*/ 27241 h 661701"/>
                <a:gd name="connsiteX22" fmla="*/ 446667 w 780994"/>
                <a:gd name="connsiteY22" fmla="*/ 32004 h 661701"/>
                <a:gd name="connsiteX23" fmla="*/ 431808 w 780994"/>
                <a:gd name="connsiteY23" fmla="*/ 0 h 661701"/>
                <a:gd name="connsiteX24" fmla="*/ 431808 w 780994"/>
                <a:gd name="connsiteY24" fmla="*/ 0 h 661701"/>
                <a:gd name="connsiteX25" fmla="*/ 426474 w 780994"/>
                <a:gd name="connsiteY25" fmla="*/ 1333 h 661701"/>
                <a:gd name="connsiteX26" fmla="*/ 382087 w 780994"/>
                <a:gd name="connsiteY26" fmla="*/ 18764 h 661701"/>
                <a:gd name="connsiteX27" fmla="*/ 374277 w 780994"/>
                <a:gd name="connsiteY27" fmla="*/ 67437 h 661701"/>
                <a:gd name="connsiteX28" fmla="*/ 352655 w 780994"/>
                <a:gd name="connsiteY28" fmla="*/ 86201 h 661701"/>
                <a:gd name="connsiteX29" fmla="*/ 322080 w 780994"/>
                <a:gd name="connsiteY29" fmla="*/ 90964 h 661701"/>
                <a:gd name="connsiteX30" fmla="*/ 302649 w 780994"/>
                <a:gd name="connsiteY30" fmla="*/ 99346 h 661701"/>
                <a:gd name="connsiteX31" fmla="*/ 291600 w 780994"/>
                <a:gd name="connsiteY31" fmla="*/ 112681 h 661701"/>
                <a:gd name="connsiteX32" fmla="*/ 293886 w 780994"/>
                <a:gd name="connsiteY32" fmla="*/ 122301 h 661701"/>
                <a:gd name="connsiteX33" fmla="*/ 293219 w 780994"/>
                <a:gd name="connsiteY33" fmla="*/ 129159 h 661701"/>
                <a:gd name="connsiteX34" fmla="*/ 283122 w 780994"/>
                <a:gd name="connsiteY34" fmla="*/ 135827 h 661701"/>
                <a:gd name="connsiteX35" fmla="*/ 224829 w 780994"/>
                <a:gd name="connsiteY35" fmla="*/ 129445 h 661701"/>
                <a:gd name="connsiteX36" fmla="*/ 213876 w 780994"/>
                <a:gd name="connsiteY36" fmla="*/ 127254 h 661701"/>
                <a:gd name="connsiteX37" fmla="*/ 210256 w 780994"/>
                <a:gd name="connsiteY37" fmla="*/ 110585 h 661701"/>
                <a:gd name="connsiteX38" fmla="*/ 210256 w 780994"/>
                <a:gd name="connsiteY38" fmla="*/ 110395 h 661701"/>
                <a:gd name="connsiteX39" fmla="*/ 187872 w 780994"/>
                <a:gd name="connsiteY39" fmla="*/ 108585 h 661701"/>
                <a:gd name="connsiteX40" fmla="*/ 171204 w 780994"/>
                <a:gd name="connsiteY40" fmla="*/ 108395 h 661701"/>
                <a:gd name="connsiteX41" fmla="*/ 179967 w 780994"/>
                <a:gd name="connsiteY41" fmla="*/ 131731 h 661701"/>
                <a:gd name="connsiteX42" fmla="*/ 191206 w 780994"/>
                <a:gd name="connsiteY42" fmla="*/ 149066 h 661701"/>
                <a:gd name="connsiteX43" fmla="*/ 194445 w 780994"/>
                <a:gd name="connsiteY43" fmla="*/ 179927 h 661701"/>
                <a:gd name="connsiteX44" fmla="*/ 198636 w 780994"/>
                <a:gd name="connsiteY44" fmla="*/ 189547 h 661701"/>
                <a:gd name="connsiteX45" fmla="*/ 175109 w 780994"/>
                <a:gd name="connsiteY45" fmla="*/ 187357 h 661701"/>
                <a:gd name="connsiteX46" fmla="*/ 166917 w 780994"/>
                <a:gd name="connsiteY46" fmla="*/ 182880 h 661701"/>
                <a:gd name="connsiteX47" fmla="*/ 145962 w 780994"/>
                <a:gd name="connsiteY47" fmla="*/ 184404 h 661701"/>
                <a:gd name="connsiteX48" fmla="*/ 119483 w 780994"/>
                <a:gd name="connsiteY48" fmla="*/ 194310 h 661701"/>
                <a:gd name="connsiteX49" fmla="*/ 92337 w 780994"/>
                <a:gd name="connsiteY49" fmla="*/ 171164 h 661701"/>
                <a:gd name="connsiteX50" fmla="*/ 76906 w 780994"/>
                <a:gd name="connsiteY50" fmla="*/ 173069 h 661701"/>
                <a:gd name="connsiteX51" fmla="*/ 72810 w 780994"/>
                <a:gd name="connsiteY51" fmla="*/ 179546 h 661701"/>
                <a:gd name="connsiteX52" fmla="*/ 68524 w 780994"/>
                <a:gd name="connsiteY52" fmla="*/ 184690 h 661701"/>
                <a:gd name="connsiteX53" fmla="*/ 46807 w 780994"/>
                <a:gd name="connsiteY53" fmla="*/ 184118 h 661701"/>
                <a:gd name="connsiteX54" fmla="*/ 5373 w 780994"/>
                <a:gd name="connsiteY54" fmla="*/ 193738 h 661701"/>
                <a:gd name="connsiteX55" fmla="*/ 135 w 780994"/>
                <a:gd name="connsiteY55" fmla="*/ 202406 h 661701"/>
                <a:gd name="connsiteX56" fmla="*/ 21852 w 780994"/>
                <a:gd name="connsiteY56" fmla="*/ 212122 h 661701"/>
                <a:gd name="connsiteX57" fmla="*/ 17565 w 780994"/>
                <a:gd name="connsiteY57" fmla="*/ 218599 h 661701"/>
                <a:gd name="connsiteX58" fmla="*/ 24804 w 780994"/>
                <a:gd name="connsiteY58" fmla="*/ 219837 h 661701"/>
                <a:gd name="connsiteX59" fmla="*/ 26519 w 780994"/>
                <a:gd name="connsiteY59" fmla="*/ 230791 h 661701"/>
                <a:gd name="connsiteX60" fmla="*/ 8040 w 780994"/>
                <a:gd name="connsiteY60" fmla="*/ 236696 h 661701"/>
                <a:gd name="connsiteX61" fmla="*/ 43854 w 780994"/>
                <a:gd name="connsiteY61" fmla="*/ 246031 h 661701"/>
                <a:gd name="connsiteX62" fmla="*/ 52998 w 780994"/>
                <a:gd name="connsiteY62" fmla="*/ 249841 h 661701"/>
                <a:gd name="connsiteX63" fmla="*/ 60999 w 780994"/>
                <a:gd name="connsiteY63" fmla="*/ 255079 h 661701"/>
                <a:gd name="connsiteX64" fmla="*/ 81954 w 780994"/>
                <a:gd name="connsiteY64" fmla="*/ 259461 h 661701"/>
                <a:gd name="connsiteX65" fmla="*/ 117578 w 780994"/>
                <a:gd name="connsiteY65" fmla="*/ 274701 h 661701"/>
                <a:gd name="connsiteX66" fmla="*/ 138723 w 780994"/>
                <a:gd name="connsiteY66" fmla="*/ 276701 h 661701"/>
                <a:gd name="connsiteX67" fmla="*/ 135104 w 780994"/>
                <a:gd name="connsiteY67" fmla="*/ 290703 h 661701"/>
                <a:gd name="connsiteX68" fmla="*/ 149106 w 780994"/>
                <a:gd name="connsiteY68" fmla="*/ 296608 h 661701"/>
                <a:gd name="connsiteX69" fmla="*/ 159869 w 780994"/>
                <a:gd name="connsiteY69" fmla="*/ 307657 h 661701"/>
                <a:gd name="connsiteX70" fmla="*/ 164250 w 780994"/>
                <a:gd name="connsiteY70" fmla="*/ 315087 h 661701"/>
                <a:gd name="connsiteX71" fmla="*/ 153678 w 780994"/>
                <a:gd name="connsiteY71" fmla="*/ 316802 h 661701"/>
                <a:gd name="connsiteX72" fmla="*/ 151868 w 780994"/>
                <a:gd name="connsiteY72" fmla="*/ 319564 h 661701"/>
                <a:gd name="connsiteX73" fmla="*/ 184539 w 780994"/>
                <a:gd name="connsiteY73" fmla="*/ 354616 h 661701"/>
                <a:gd name="connsiteX74" fmla="*/ 214542 w 780994"/>
                <a:gd name="connsiteY74" fmla="*/ 364903 h 661701"/>
                <a:gd name="connsiteX75" fmla="*/ 219210 w 780994"/>
                <a:gd name="connsiteY75" fmla="*/ 379476 h 661701"/>
                <a:gd name="connsiteX76" fmla="*/ 222067 w 780994"/>
                <a:gd name="connsiteY76" fmla="*/ 396049 h 661701"/>
                <a:gd name="connsiteX77" fmla="*/ 218733 w 780994"/>
                <a:gd name="connsiteY77" fmla="*/ 414528 h 661701"/>
                <a:gd name="connsiteX78" fmla="*/ 231687 w 780994"/>
                <a:gd name="connsiteY78" fmla="*/ 426053 h 661701"/>
                <a:gd name="connsiteX79" fmla="*/ 222639 w 780994"/>
                <a:gd name="connsiteY79" fmla="*/ 425672 h 661701"/>
                <a:gd name="connsiteX80" fmla="*/ 217019 w 780994"/>
                <a:gd name="connsiteY80" fmla="*/ 429482 h 661701"/>
                <a:gd name="connsiteX81" fmla="*/ 215876 w 780994"/>
                <a:gd name="connsiteY81" fmla="*/ 484632 h 661701"/>
                <a:gd name="connsiteX82" fmla="*/ 219781 w 780994"/>
                <a:gd name="connsiteY82" fmla="*/ 493205 h 661701"/>
                <a:gd name="connsiteX83" fmla="*/ 211590 w 780994"/>
                <a:gd name="connsiteY83" fmla="*/ 502063 h 661701"/>
                <a:gd name="connsiteX84" fmla="*/ 184062 w 780994"/>
                <a:gd name="connsiteY84" fmla="*/ 583597 h 661701"/>
                <a:gd name="connsiteX85" fmla="*/ 181110 w 780994"/>
                <a:gd name="connsiteY85" fmla="*/ 584359 h 661701"/>
                <a:gd name="connsiteX86" fmla="*/ 181110 w 780994"/>
                <a:gd name="connsiteY86" fmla="*/ 584359 h 661701"/>
                <a:gd name="connsiteX87" fmla="*/ 205970 w 780994"/>
                <a:gd name="connsiteY87" fmla="*/ 598646 h 661701"/>
                <a:gd name="connsiteX88" fmla="*/ 206732 w 780994"/>
                <a:gd name="connsiteY88" fmla="*/ 610267 h 661701"/>
                <a:gd name="connsiteX89" fmla="*/ 243022 w 780994"/>
                <a:gd name="connsiteY89" fmla="*/ 616839 h 661701"/>
                <a:gd name="connsiteX90" fmla="*/ 254738 w 780994"/>
                <a:gd name="connsiteY90" fmla="*/ 629983 h 661701"/>
                <a:gd name="connsiteX91" fmla="*/ 277407 w 780994"/>
                <a:gd name="connsiteY91" fmla="*/ 627221 h 661701"/>
                <a:gd name="connsiteX92" fmla="*/ 285980 w 780994"/>
                <a:gd name="connsiteY92" fmla="*/ 636937 h 661701"/>
                <a:gd name="connsiteX93" fmla="*/ 327033 w 780994"/>
                <a:gd name="connsiteY93" fmla="*/ 636937 h 661701"/>
                <a:gd name="connsiteX94" fmla="*/ 326747 w 780994"/>
                <a:gd name="connsiteY94" fmla="*/ 627697 h 661701"/>
                <a:gd name="connsiteX95" fmla="*/ 334367 w 780994"/>
                <a:gd name="connsiteY95" fmla="*/ 624840 h 661701"/>
                <a:gd name="connsiteX96" fmla="*/ 395994 w 780994"/>
                <a:gd name="connsiteY96" fmla="*/ 641413 h 661701"/>
                <a:gd name="connsiteX97" fmla="*/ 401042 w 780994"/>
                <a:gd name="connsiteY97" fmla="*/ 657320 h 661701"/>
                <a:gd name="connsiteX98" fmla="*/ 442380 w 780994"/>
                <a:gd name="connsiteY98" fmla="*/ 661702 h 661701"/>
                <a:gd name="connsiteX99" fmla="*/ 473622 w 780994"/>
                <a:gd name="connsiteY99" fmla="*/ 645414 h 661701"/>
                <a:gd name="connsiteX100" fmla="*/ 471432 w 780994"/>
                <a:gd name="connsiteY100" fmla="*/ 637889 h 661701"/>
                <a:gd name="connsiteX101" fmla="*/ 468288 w 780994"/>
                <a:gd name="connsiteY101" fmla="*/ 608552 h 661701"/>
                <a:gd name="connsiteX102" fmla="*/ 468098 w 780994"/>
                <a:gd name="connsiteY102" fmla="*/ 608171 h 661701"/>
                <a:gd name="connsiteX103" fmla="*/ 481338 w 780994"/>
                <a:gd name="connsiteY103" fmla="*/ 599884 h 661701"/>
                <a:gd name="connsiteX104" fmla="*/ 538678 w 780994"/>
                <a:gd name="connsiteY104" fmla="*/ 574262 h 661701"/>
                <a:gd name="connsiteX105" fmla="*/ 576207 w 780994"/>
                <a:gd name="connsiteY105" fmla="*/ 582358 h 661701"/>
                <a:gd name="connsiteX106" fmla="*/ 582969 w 780994"/>
                <a:gd name="connsiteY106" fmla="*/ 579406 h 661701"/>
                <a:gd name="connsiteX107" fmla="*/ 596304 w 780994"/>
                <a:gd name="connsiteY107" fmla="*/ 588836 h 661701"/>
                <a:gd name="connsiteX108" fmla="*/ 609735 w 780994"/>
                <a:gd name="connsiteY108" fmla="*/ 589121 h 661701"/>
                <a:gd name="connsiteX109" fmla="*/ 617355 w 780994"/>
                <a:gd name="connsiteY109" fmla="*/ 597027 h 661701"/>
                <a:gd name="connsiteX110" fmla="*/ 655455 w 780994"/>
                <a:gd name="connsiteY110" fmla="*/ 609695 h 661701"/>
                <a:gd name="connsiteX111" fmla="*/ 665932 w 780994"/>
                <a:gd name="connsiteY111" fmla="*/ 602171 h 661701"/>
                <a:gd name="connsiteX112" fmla="*/ 686601 w 780994"/>
                <a:gd name="connsiteY112" fmla="*/ 593217 h 661701"/>
                <a:gd name="connsiteX113" fmla="*/ 690507 w 780994"/>
                <a:gd name="connsiteY113" fmla="*/ 585025 h 661701"/>
                <a:gd name="connsiteX114" fmla="*/ 728416 w 780994"/>
                <a:gd name="connsiteY114" fmla="*/ 559308 h 661701"/>
                <a:gd name="connsiteX115" fmla="*/ 732607 w 780994"/>
                <a:gd name="connsiteY115" fmla="*/ 556927 h 661701"/>
                <a:gd name="connsiteX116" fmla="*/ 744418 w 780994"/>
                <a:gd name="connsiteY116" fmla="*/ 526066 h 661701"/>
                <a:gd name="connsiteX117" fmla="*/ 702222 w 780994"/>
                <a:gd name="connsiteY117" fmla="*/ 517207 h 66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80994" h="661701">
                  <a:moveTo>
                    <a:pt x="701937" y="517207"/>
                  </a:moveTo>
                  <a:lnTo>
                    <a:pt x="707366" y="487966"/>
                  </a:lnTo>
                  <a:lnTo>
                    <a:pt x="688316" y="460724"/>
                  </a:lnTo>
                  <a:lnTo>
                    <a:pt x="712795" y="445770"/>
                  </a:lnTo>
                  <a:lnTo>
                    <a:pt x="697174" y="413766"/>
                  </a:lnTo>
                  <a:lnTo>
                    <a:pt x="708033" y="398812"/>
                  </a:lnTo>
                  <a:lnTo>
                    <a:pt x="693745" y="360712"/>
                  </a:lnTo>
                  <a:lnTo>
                    <a:pt x="644787" y="388620"/>
                  </a:lnTo>
                  <a:lnTo>
                    <a:pt x="652978" y="351187"/>
                  </a:lnTo>
                  <a:lnTo>
                    <a:pt x="707747" y="284988"/>
                  </a:lnTo>
                  <a:lnTo>
                    <a:pt x="740799" y="275749"/>
                  </a:lnTo>
                  <a:lnTo>
                    <a:pt x="743085" y="233458"/>
                  </a:lnTo>
                  <a:lnTo>
                    <a:pt x="780994" y="168021"/>
                  </a:lnTo>
                  <a:lnTo>
                    <a:pt x="695269" y="153733"/>
                  </a:lnTo>
                  <a:lnTo>
                    <a:pt x="678600" y="133921"/>
                  </a:lnTo>
                  <a:lnTo>
                    <a:pt x="585732" y="110871"/>
                  </a:lnTo>
                  <a:lnTo>
                    <a:pt x="582969" y="76581"/>
                  </a:lnTo>
                  <a:lnTo>
                    <a:pt x="569253" y="73628"/>
                  </a:lnTo>
                  <a:lnTo>
                    <a:pt x="551346" y="92678"/>
                  </a:lnTo>
                  <a:lnTo>
                    <a:pt x="532296" y="61150"/>
                  </a:lnTo>
                  <a:lnTo>
                    <a:pt x="500769" y="58579"/>
                  </a:lnTo>
                  <a:lnTo>
                    <a:pt x="475813" y="27241"/>
                  </a:lnTo>
                  <a:lnTo>
                    <a:pt x="446667" y="32004"/>
                  </a:lnTo>
                  <a:lnTo>
                    <a:pt x="431808" y="0"/>
                  </a:lnTo>
                  <a:lnTo>
                    <a:pt x="431808" y="0"/>
                  </a:lnTo>
                  <a:cubicBezTo>
                    <a:pt x="429903" y="667"/>
                    <a:pt x="428093" y="1143"/>
                    <a:pt x="426474" y="1333"/>
                  </a:cubicBezTo>
                  <a:cubicBezTo>
                    <a:pt x="410948" y="3238"/>
                    <a:pt x="383611" y="3238"/>
                    <a:pt x="382087" y="18764"/>
                  </a:cubicBezTo>
                  <a:cubicBezTo>
                    <a:pt x="378182" y="59341"/>
                    <a:pt x="378944" y="62103"/>
                    <a:pt x="374277" y="67437"/>
                  </a:cubicBezTo>
                  <a:cubicBezTo>
                    <a:pt x="363894" y="79057"/>
                    <a:pt x="359703" y="85439"/>
                    <a:pt x="352655" y="86201"/>
                  </a:cubicBezTo>
                  <a:cubicBezTo>
                    <a:pt x="334843" y="88011"/>
                    <a:pt x="328652" y="88106"/>
                    <a:pt x="322080" y="90964"/>
                  </a:cubicBezTo>
                  <a:lnTo>
                    <a:pt x="302649" y="99346"/>
                  </a:lnTo>
                  <a:cubicBezTo>
                    <a:pt x="295695" y="102394"/>
                    <a:pt x="290933" y="113633"/>
                    <a:pt x="291600" y="112681"/>
                  </a:cubicBezTo>
                  <a:cubicBezTo>
                    <a:pt x="288742" y="117920"/>
                    <a:pt x="294457" y="123254"/>
                    <a:pt x="293886" y="122301"/>
                  </a:cubicBezTo>
                  <a:cubicBezTo>
                    <a:pt x="295981" y="124396"/>
                    <a:pt x="295695" y="127445"/>
                    <a:pt x="293219" y="129159"/>
                  </a:cubicBezTo>
                  <a:lnTo>
                    <a:pt x="283122" y="135827"/>
                  </a:lnTo>
                  <a:cubicBezTo>
                    <a:pt x="272454" y="142970"/>
                    <a:pt x="239212" y="125063"/>
                    <a:pt x="224829" y="129445"/>
                  </a:cubicBezTo>
                  <a:cubicBezTo>
                    <a:pt x="223877" y="129445"/>
                    <a:pt x="216924" y="133350"/>
                    <a:pt x="213876" y="127254"/>
                  </a:cubicBezTo>
                  <a:cubicBezTo>
                    <a:pt x="212733" y="124015"/>
                    <a:pt x="207018" y="117443"/>
                    <a:pt x="210256" y="110585"/>
                  </a:cubicBezTo>
                  <a:lnTo>
                    <a:pt x="210256" y="110395"/>
                  </a:lnTo>
                  <a:cubicBezTo>
                    <a:pt x="214638" y="101441"/>
                    <a:pt x="199207" y="111919"/>
                    <a:pt x="187872" y="108585"/>
                  </a:cubicBezTo>
                  <a:cubicBezTo>
                    <a:pt x="182062" y="107537"/>
                    <a:pt x="169108" y="100394"/>
                    <a:pt x="171204" y="108395"/>
                  </a:cubicBezTo>
                  <a:cubicBezTo>
                    <a:pt x="173775" y="118205"/>
                    <a:pt x="174918" y="126397"/>
                    <a:pt x="179967" y="131731"/>
                  </a:cubicBezTo>
                  <a:cubicBezTo>
                    <a:pt x="183586" y="136303"/>
                    <a:pt x="191397" y="140970"/>
                    <a:pt x="191206" y="149066"/>
                  </a:cubicBezTo>
                  <a:cubicBezTo>
                    <a:pt x="190730" y="170879"/>
                    <a:pt x="189492" y="175260"/>
                    <a:pt x="194445" y="179927"/>
                  </a:cubicBezTo>
                  <a:cubicBezTo>
                    <a:pt x="195778" y="181642"/>
                    <a:pt x="206256" y="188690"/>
                    <a:pt x="198636" y="189547"/>
                  </a:cubicBezTo>
                  <a:cubicBezTo>
                    <a:pt x="189587" y="189738"/>
                    <a:pt x="179300" y="194691"/>
                    <a:pt x="175109" y="187357"/>
                  </a:cubicBezTo>
                  <a:cubicBezTo>
                    <a:pt x="174156" y="186499"/>
                    <a:pt x="172061" y="182499"/>
                    <a:pt x="166917" y="182880"/>
                  </a:cubicBezTo>
                  <a:lnTo>
                    <a:pt x="145962" y="184404"/>
                  </a:lnTo>
                  <a:cubicBezTo>
                    <a:pt x="133294" y="185356"/>
                    <a:pt x="126341" y="201835"/>
                    <a:pt x="119483" y="194310"/>
                  </a:cubicBezTo>
                  <a:cubicBezTo>
                    <a:pt x="101004" y="174117"/>
                    <a:pt x="99099" y="170307"/>
                    <a:pt x="92337" y="171164"/>
                  </a:cubicBezTo>
                  <a:lnTo>
                    <a:pt x="76906" y="173069"/>
                  </a:lnTo>
                  <a:cubicBezTo>
                    <a:pt x="71382" y="173736"/>
                    <a:pt x="72620" y="180499"/>
                    <a:pt x="72810" y="179546"/>
                  </a:cubicBezTo>
                  <a:cubicBezTo>
                    <a:pt x="73477" y="182404"/>
                    <a:pt x="71477" y="184785"/>
                    <a:pt x="68524" y="184690"/>
                  </a:cubicBezTo>
                  <a:lnTo>
                    <a:pt x="46807" y="184118"/>
                  </a:lnTo>
                  <a:cubicBezTo>
                    <a:pt x="37949" y="183928"/>
                    <a:pt x="4421" y="193929"/>
                    <a:pt x="5373" y="193738"/>
                  </a:cubicBezTo>
                  <a:cubicBezTo>
                    <a:pt x="-532" y="195358"/>
                    <a:pt x="-151" y="203359"/>
                    <a:pt x="135" y="202406"/>
                  </a:cubicBezTo>
                  <a:cubicBezTo>
                    <a:pt x="135" y="213360"/>
                    <a:pt x="32615" y="205835"/>
                    <a:pt x="21852" y="212122"/>
                  </a:cubicBezTo>
                  <a:cubicBezTo>
                    <a:pt x="20899" y="212979"/>
                    <a:pt x="10422" y="217456"/>
                    <a:pt x="17565" y="218599"/>
                  </a:cubicBezTo>
                  <a:lnTo>
                    <a:pt x="24804" y="219837"/>
                  </a:lnTo>
                  <a:cubicBezTo>
                    <a:pt x="31758" y="220980"/>
                    <a:pt x="33663" y="230029"/>
                    <a:pt x="26519" y="230791"/>
                  </a:cubicBezTo>
                  <a:cubicBezTo>
                    <a:pt x="12327" y="232315"/>
                    <a:pt x="2516" y="232029"/>
                    <a:pt x="8040" y="236696"/>
                  </a:cubicBezTo>
                  <a:cubicBezTo>
                    <a:pt x="43092" y="266033"/>
                    <a:pt x="24423" y="246983"/>
                    <a:pt x="43854" y="246031"/>
                  </a:cubicBezTo>
                  <a:cubicBezTo>
                    <a:pt x="44807" y="246221"/>
                    <a:pt x="50141" y="245269"/>
                    <a:pt x="52998" y="249841"/>
                  </a:cubicBezTo>
                  <a:cubicBezTo>
                    <a:pt x="54427" y="252127"/>
                    <a:pt x="58047" y="254508"/>
                    <a:pt x="60999" y="255079"/>
                  </a:cubicBezTo>
                  <a:lnTo>
                    <a:pt x="81954" y="259461"/>
                  </a:lnTo>
                  <a:cubicBezTo>
                    <a:pt x="94813" y="262128"/>
                    <a:pt x="106910" y="276225"/>
                    <a:pt x="117578" y="274701"/>
                  </a:cubicBezTo>
                  <a:cubicBezTo>
                    <a:pt x="124817" y="274511"/>
                    <a:pt x="135485" y="269272"/>
                    <a:pt x="138723" y="276701"/>
                  </a:cubicBezTo>
                  <a:cubicBezTo>
                    <a:pt x="141581" y="283178"/>
                    <a:pt x="132246" y="285369"/>
                    <a:pt x="135104" y="290703"/>
                  </a:cubicBezTo>
                  <a:cubicBezTo>
                    <a:pt x="137961" y="296037"/>
                    <a:pt x="150058" y="296894"/>
                    <a:pt x="149106" y="296608"/>
                  </a:cubicBezTo>
                  <a:cubicBezTo>
                    <a:pt x="156821" y="297942"/>
                    <a:pt x="152630" y="304133"/>
                    <a:pt x="159869" y="307657"/>
                  </a:cubicBezTo>
                  <a:cubicBezTo>
                    <a:pt x="160821" y="308515"/>
                    <a:pt x="167489" y="310324"/>
                    <a:pt x="164250" y="315087"/>
                  </a:cubicBezTo>
                  <a:cubicBezTo>
                    <a:pt x="161012" y="319659"/>
                    <a:pt x="152725" y="316802"/>
                    <a:pt x="153678" y="316802"/>
                  </a:cubicBezTo>
                  <a:cubicBezTo>
                    <a:pt x="150820" y="316039"/>
                    <a:pt x="150058" y="317278"/>
                    <a:pt x="151868" y="319564"/>
                  </a:cubicBezTo>
                  <a:cubicBezTo>
                    <a:pt x="174442" y="346805"/>
                    <a:pt x="177395" y="352234"/>
                    <a:pt x="184539" y="354616"/>
                  </a:cubicBezTo>
                  <a:lnTo>
                    <a:pt x="214542" y="364903"/>
                  </a:lnTo>
                  <a:cubicBezTo>
                    <a:pt x="221686" y="367379"/>
                    <a:pt x="215781" y="371761"/>
                    <a:pt x="219210" y="379476"/>
                  </a:cubicBezTo>
                  <a:cubicBezTo>
                    <a:pt x="220067" y="382333"/>
                    <a:pt x="225401" y="389287"/>
                    <a:pt x="222067" y="396049"/>
                  </a:cubicBezTo>
                  <a:cubicBezTo>
                    <a:pt x="220257" y="401383"/>
                    <a:pt x="212733" y="409194"/>
                    <a:pt x="218733" y="414528"/>
                  </a:cubicBezTo>
                  <a:lnTo>
                    <a:pt x="231687" y="426053"/>
                  </a:lnTo>
                  <a:cubicBezTo>
                    <a:pt x="237783" y="431482"/>
                    <a:pt x="221686" y="425482"/>
                    <a:pt x="222639" y="425672"/>
                  </a:cubicBezTo>
                  <a:cubicBezTo>
                    <a:pt x="219781" y="424815"/>
                    <a:pt x="217305" y="426530"/>
                    <a:pt x="217019" y="429482"/>
                  </a:cubicBezTo>
                  <a:cubicBezTo>
                    <a:pt x="213018" y="478631"/>
                    <a:pt x="210732" y="486632"/>
                    <a:pt x="215876" y="484632"/>
                  </a:cubicBezTo>
                  <a:cubicBezTo>
                    <a:pt x="220543" y="482822"/>
                    <a:pt x="226163" y="489966"/>
                    <a:pt x="219781" y="493205"/>
                  </a:cubicBezTo>
                  <a:cubicBezTo>
                    <a:pt x="218829" y="493966"/>
                    <a:pt x="212923" y="495490"/>
                    <a:pt x="211590" y="502063"/>
                  </a:cubicBezTo>
                  <a:cubicBezTo>
                    <a:pt x="206160" y="528638"/>
                    <a:pt x="201303" y="578739"/>
                    <a:pt x="184062" y="583597"/>
                  </a:cubicBezTo>
                  <a:cubicBezTo>
                    <a:pt x="183015" y="583882"/>
                    <a:pt x="182157" y="584073"/>
                    <a:pt x="181110" y="584359"/>
                  </a:cubicBezTo>
                  <a:lnTo>
                    <a:pt x="181110" y="584359"/>
                  </a:lnTo>
                  <a:cubicBezTo>
                    <a:pt x="181110" y="584359"/>
                    <a:pt x="205970" y="598646"/>
                    <a:pt x="205970" y="598646"/>
                  </a:cubicBezTo>
                  <a:lnTo>
                    <a:pt x="206732" y="610267"/>
                  </a:lnTo>
                  <a:lnTo>
                    <a:pt x="243022" y="616839"/>
                  </a:lnTo>
                  <a:lnTo>
                    <a:pt x="254738" y="629983"/>
                  </a:lnTo>
                  <a:lnTo>
                    <a:pt x="277407" y="627221"/>
                  </a:lnTo>
                  <a:lnTo>
                    <a:pt x="285980" y="636937"/>
                  </a:lnTo>
                  <a:lnTo>
                    <a:pt x="327033" y="636937"/>
                  </a:lnTo>
                  <a:cubicBezTo>
                    <a:pt x="327033" y="636937"/>
                    <a:pt x="326747" y="627697"/>
                    <a:pt x="326747" y="627697"/>
                  </a:cubicBezTo>
                  <a:lnTo>
                    <a:pt x="334367" y="624840"/>
                  </a:lnTo>
                  <a:lnTo>
                    <a:pt x="395994" y="641413"/>
                  </a:lnTo>
                  <a:lnTo>
                    <a:pt x="401042" y="657320"/>
                  </a:lnTo>
                  <a:lnTo>
                    <a:pt x="442380" y="661702"/>
                  </a:lnTo>
                  <a:lnTo>
                    <a:pt x="473622" y="645414"/>
                  </a:lnTo>
                  <a:cubicBezTo>
                    <a:pt x="472194" y="642938"/>
                    <a:pt x="471527" y="640652"/>
                    <a:pt x="471432" y="637889"/>
                  </a:cubicBezTo>
                  <a:cubicBezTo>
                    <a:pt x="471241" y="622935"/>
                    <a:pt x="472194" y="614839"/>
                    <a:pt x="468288" y="608552"/>
                  </a:cubicBezTo>
                  <a:lnTo>
                    <a:pt x="468098" y="608171"/>
                  </a:lnTo>
                  <a:cubicBezTo>
                    <a:pt x="464193" y="601885"/>
                    <a:pt x="474289" y="603599"/>
                    <a:pt x="481338" y="599884"/>
                  </a:cubicBezTo>
                  <a:cubicBezTo>
                    <a:pt x="530963" y="573977"/>
                    <a:pt x="531725" y="572072"/>
                    <a:pt x="538678" y="574262"/>
                  </a:cubicBezTo>
                  <a:cubicBezTo>
                    <a:pt x="570111" y="584263"/>
                    <a:pt x="575445" y="587407"/>
                    <a:pt x="576207" y="582358"/>
                  </a:cubicBezTo>
                  <a:cubicBezTo>
                    <a:pt x="576873" y="578358"/>
                    <a:pt x="583922" y="579311"/>
                    <a:pt x="582969" y="579406"/>
                  </a:cubicBezTo>
                  <a:cubicBezTo>
                    <a:pt x="590494" y="580454"/>
                    <a:pt x="589542" y="587788"/>
                    <a:pt x="596304" y="588836"/>
                  </a:cubicBezTo>
                  <a:cubicBezTo>
                    <a:pt x="603734" y="590074"/>
                    <a:pt x="607068" y="582073"/>
                    <a:pt x="609735" y="589121"/>
                  </a:cubicBezTo>
                  <a:cubicBezTo>
                    <a:pt x="610401" y="590074"/>
                    <a:pt x="611449" y="595408"/>
                    <a:pt x="617355" y="597027"/>
                  </a:cubicBezTo>
                  <a:cubicBezTo>
                    <a:pt x="656598" y="607695"/>
                    <a:pt x="656407" y="610172"/>
                    <a:pt x="655455" y="609695"/>
                  </a:cubicBezTo>
                  <a:cubicBezTo>
                    <a:pt x="662408" y="613505"/>
                    <a:pt x="658026" y="603599"/>
                    <a:pt x="665932" y="602171"/>
                  </a:cubicBezTo>
                  <a:cubicBezTo>
                    <a:pt x="674695" y="599599"/>
                    <a:pt x="687554" y="601313"/>
                    <a:pt x="686601" y="593217"/>
                  </a:cubicBezTo>
                  <a:cubicBezTo>
                    <a:pt x="686316" y="590359"/>
                    <a:pt x="688030" y="586645"/>
                    <a:pt x="690507" y="585025"/>
                  </a:cubicBezTo>
                  <a:lnTo>
                    <a:pt x="728416" y="559308"/>
                  </a:lnTo>
                  <a:cubicBezTo>
                    <a:pt x="729654" y="558451"/>
                    <a:pt x="731083" y="557689"/>
                    <a:pt x="732607" y="556927"/>
                  </a:cubicBezTo>
                  <a:lnTo>
                    <a:pt x="744418" y="526066"/>
                  </a:lnTo>
                  <a:lnTo>
                    <a:pt x="702222" y="517207"/>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grpSp>
      <p:grpSp>
        <p:nvGrpSpPr>
          <p:cNvPr id="397" name="Graphic 166">
            <a:extLst>
              <a:ext uri="{FF2B5EF4-FFF2-40B4-BE49-F238E27FC236}">
                <a16:creationId xmlns:a16="http://schemas.microsoft.com/office/drawing/2014/main" id="{24D48CC0-72FE-2BBB-EE29-F3F37A7F7F32}"/>
              </a:ext>
            </a:extLst>
          </p:cNvPr>
          <p:cNvGrpSpPr/>
          <p:nvPr/>
        </p:nvGrpSpPr>
        <p:grpSpPr>
          <a:xfrm>
            <a:off x="6768128" y="265107"/>
            <a:ext cx="721726" cy="993552"/>
            <a:chOff x="6189501" y="716318"/>
            <a:chExt cx="721726" cy="993552"/>
          </a:xfrm>
          <a:solidFill>
            <a:schemeClr val="bg1">
              <a:lumMod val="85000"/>
            </a:schemeClr>
          </a:solidFill>
        </p:grpSpPr>
        <p:sp>
          <p:nvSpPr>
            <p:cNvPr id="398" name="Freeform: Shape 397">
              <a:extLst>
                <a:ext uri="{FF2B5EF4-FFF2-40B4-BE49-F238E27FC236}">
                  <a16:creationId xmlns:a16="http://schemas.microsoft.com/office/drawing/2014/main" id="{AD07D432-B623-6C8C-BF82-78288EFDA64A}"/>
                </a:ext>
              </a:extLst>
            </p:cNvPr>
            <p:cNvSpPr/>
            <p:nvPr/>
          </p:nvSpPr>
          <p:spPr>
            <a:xfrm>
              <a:off x="6493546" y="1216071"/>
              <a:ext cx="17421" cy="15683"/>
            </a:xfrm>
            <a:custGeom>
              <a:avLst/>
              <a:gdLst>
                <a:gd name="connsiteX0" fmla="*/ 297 w 17421"/>
                <a:gd name="connsiteY0" fmla="*/ 5549 h 15683"/>
                <a:gd name="connsiteX1" fmla="*/ 6964 w 17421"/>
                <a:gd name="connsiteY1" fmla="*/ 14979 h 15683"/>
                <a:gd name="connsiteX2" fmla="*/ 15823 w 17421"/>
                <a:gd name="connsiteY2" fmla="*/ 12502 h 15683"/>
                <a:gd name="connsiteX3" fmla="*/ 16108 w 17421"/>
                <a:gd name="connsiteY3" fmla="*/ 2215 h 15683"/>
                <a:gd name="connsiteX4" fmla="*/ 12965 w 17421"/>
                <a:gd name="connsiteY4" fmla="*/ 24 h 15683"/>
                <a:gd name="connsiteX5" fmla="*/ 392 w 17421"/>
                <a:gd name="connsiteY5" fmla="*/ 5644 h 1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21" h="15683">
                  <a:moveTo>
                    <a:pt x="297" y="5549"/>
                  </a:moveTo>
                  <a:cubicBezTo>
                    <a:pt x="-1799" y="11930"/>
                    <a:pt x="7917" y="15741"/>
                    <a:pt x="6964" y="14979"/>
                  </a:cubicBezTo>
                  <a:cubicBezTo>
                    <a:pt x="12108" y="17646"/>
                    <a:pt x="16775" y="11835"/>
                    <a:pt x="15823" y="12502"/>
                  </a:cubicBezTo>
                  <a:cubicBezTo>
                    <a:pt x="20585" y="6596"/>
                    <a:pt x="12870" y="5834"/>
                    <a:pt x="16108" y="2215"/>
                  </a:cubicBezTo>
                  <a:cubicBezTo>
                    <a:pt x="17347" y="786"/>
                    <a:pt x="15918" y="-166"/>
                    <a:pt x="12965" y="24"/>
                  </a:cubicBezTo>
                  <a:cubicBezTo>
                    <a:pt x="11251" y="405"/>
                    <a:pt x="2583" y="-1119"/>
                    <a:pt x="392" y="5644"/>
                  </a:cubicBezTo>
                  <a:close/>
                </a:path>
              </a:pathLst>
            </a:custGeom>
            <a:grpFill/>
            <a:ln w="9525" cap="flat">
              <a:noFill/>
              <a:prstDash val="solid"/>
              <a:miter/>
            </a:ln>
          </p:spPr>
          <p:txBody>
            <a:bodyPr rtlCol="0" anchor="ctr"/>
            <a:lstStyle/>
            <a:p>
              <a:endParaRPr lang="en-IN"/>
            </a:p>
          </p:txBody>
        </p:sp>
        <p:sp>
          <p:nvSpPr>
            <p:cNvPr id="399" name="Freeform: Shape 398">
              <a:extLst>
                <a:ext uri="{FF2B5EF4-FFF2-40B4-BE49-F238E27FC236}">
                  <a16:creationId xmlns:a16="http://schemas.microsoft.com/office/drawing/2014/main" id="{89885D01-D018-4DA2-280F-878E8D283F71}"/>
                </a:ext>
              </a:extLst>
            </p:cNvPr>
            <p:cNvSpPr/>
            <p:nvPr/>
          </p:nvSpPr>
          <p:spPr>
            <a:xfrm>
              <a:off x="6281506" y="1411559"/>
              <a:ext cx="11217" cy="9567"/>
            </a:xfrm>
            <a:custGeom>
              <a:avLst/>
              <a:gdLst>
                <a:gd name="connsiteX0" fmla="*/ 7454 w 11217"/>
                <a:gd name="connsiteY0" fmla="*/ 7894 h 9567"/>
                <a:gd name="connsiteX1" fmla="*/ 8216 w 11217"/>
                <a:gd name="connsiteY1" fmla="*/ 465 h 9567"/>
                <a:gd name="connsiteX2" fmla="*/ 501 w 11217"/>
                <a:gd name="connsiteY2" fmla="*/ 4370 h 9567"/>
                <a:gd name="connsiteX3" fmla="*/ 7358 w 11217"/>
                <a:gd name="connsiteY3" fmla="*/ 7894 h 9567"/>
              </a:gdLst>
              <a:ahLst/>
              <a:cxnLst>
                <a:cxn ang="0">
                  <a:pos x="connsiteX0" y="connsiteY0"/>
                </a:cxn>
                <a:cxn ang="0">
                  <a:pos x="connsiteX1" y="connsiteY1"/>
                </a:cxn>
                <a:cxn ang="0">
                  <a:pos x="connsiteX2" y="connsiteY2"/>
                </a:cxn>
                <a:cxn ang="0">
                  <a:pos x="connsiteX3" y="connsiteY3"/>
                </a:cxn>
              </a:cxnLst>
              <a:rect l="l" t="t" r="r" b="b"/>
              <a:pathLst>
                <a:path w="11217" h="9567">
                  <a:moveTo>
                    <a:pt x="7454" y="7894"/>
                  </a:moveTo>
                  <a:cubicBezTo>
                    <a:pt x="7930" y="6942"/>
                    <a:pt x="15169" y="1227"/>
                    <a:pt x="8216" y="465"/>
                  </a:cubicBezTo>
                  <a:cubicBezTo>
                    <a:pt x="7263" y="560"/>
                    <a:pt x="-2262" y="-2107"/>
                    <a:pt x="501" y="4370"/>
                  </a:cubicBezTo>
                  <a:cubicBezTo>
                    <a:pt x="1358" y="5322"/>
                    <a:pt x="2977" y="12847"/>
                    <a:pt x="7358" y="7894"/>
                  </a:cubicBezTo>
                  <a:close/>
                </a:path>
              </a:pathLst>
            </a:custGeom>
            <a:grpFill/>
            <a:ln w="9525" cap="flat">
              <a:noFill/>
              <a:prstDash val="solid"/>
              <a:miter/>
            </a:ln>
          </p:spPr>
          <p:txBody>
            <a:bodyPr rtlCol="0" anchor="ctr"/>
            <a:lstStyle/>
            <a:p>
              <a:endParaRPr lang="en-IN"/>
            </a:p>
          </p:txBody>
        </p:sp>
        <p:sp>
          <p:nvSpPr>
            <p:cNvPr id="400" name="Freeform: Shape 399">
              <a:extLst>
                <a:ext uri="{FF2B5EF4-FFF2-40B4-BE49-F238E27FC236}">
                  <a16:creationId xmlns:a16="http://schemas.microsoft.com/office/drawing/2014/main" id="{9924B7A2-FF53-9D13-C9B2-CDC3D7E25425}"/>
                </a:ext>
              </a:extLst>
            </p:cNvPr>
            <p:cNvSpPr/>
            <p:nvPr/>
          </p:nvSpPr>
          <p:spPr>
            <a:xfrm>
              <a:off x="6283858" y="1387953"/>
              <a:ext cx="18234" cy="14577"/>
            </a:xfrm>
            <a:custGeom>
              <a:avLst/>
              <a:gdLst>
                <a:gd name="connsiteX0" fmla="*/ 1102 w 18234"/>
                <a:gd name="connsiteY0" fmla="*/ 1401 h 14577"/>
                <a:gd name="connsiteX1" fmla="*/ 1102 w 18234"/>
                <a:gd name="connsiteY1" fmla="*/ 10831 h 14577"/>
                <a:gd name="connsiteX2" fmla="*/ 14151 w 18234"/>
                <a:gd name="connsiteY2" fmla="*/ 13212 h 14577"/>
                <a:gd name="connsiteX3" fmla="*/ 12817 w 18234"/>
                <a:gd name="connsiteY3" fmla="*/ 5021 h 14577"/>
                <a:gd name="connsiteX4" fmla="*/ 1102 w 18234"/>
                <a:gd name="connsiteY4" fmla="*/ 1401 h 1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4" h="14577">
                  <a:moveTo>
                    <a:pt x="1102" y="1401"/>
                  </a:moveTo>
                  <a:cubicBezTo>
                    <a:pt x="-1470" y="5021"/>
                    <a:pt x="1292" y="11783"/>
                    <a:pt x="1102" y="10831"/>
                  </a:cubicBezTo>
                  <a:cubicBezTo>
                    <a:pt x="3769" y="17594"/>
                    <a:pt x="15104" y="13117"/>
                    <a:pt x="14151" y="13212"/>
                  </a:cubicBezTo>
                  <a:cubicBezTo>
                    <a:pt x="20914" y="11593"/>
                    <a:pt x="18437" y="3687"/>
                    <a:pt x="12817" y="5021"/>
                  </a:cubicBezTo>
                  <a:cubicBezTo>
                    <a:pt x="10532" y="5592"/>
                    <a:pt x="4531" y="-3361"/>
                    <a:pt x="1102" y="1401"/>
                  </a:cubicBezTo>
                  <a:close/>
                </a:path>
              </a:pathLst>
            </a:custGeom>
            <a:grpFill/>
            <a:ln w="9525" cap="flat">
              <a:noFill/>
              <a:prstDash val="solid"/>
              <a:miter/>
            </a:ln>
          </p:spPr>
          <p:txBody>
            <a:bodyPr rtlCol="0" anchor="ctr"/>
            <a:lstStyle/>
            <a:p>
              <a:endParaRPr lang="en-IN"/>
            </a:p>
          </p:txBody>
        </p:sp>
        <p:sp>
          <p:nvSpPr>
            <p:cNvPr id="401" name="Freeform: Shape 400">
              <a:extLst>
                <a:ext uri="{FF2B5EF4-FFF2-40B4-BE49-F238E27FC236}">
                  <a16:creationId xmlns:a16="http://schemas.microsoft.com/office/drawing/2014/main" id="{97A597A4-5F5B-E524-3C85-F7BF01B9FCCB}"/>
                </a:ext>
              </a:extLst>
            </p:cNvPr>
            <p:cNvSpPr/>
            <p:nvPr/>
          </p:nvSpPr>
          <p:spPr>
            <a:xfrm>
              <a:off x="6294485" y="1375241"/>
              <a:ext cx="9937" cy="9558"/>
            </a:xfrm>
            <a:custGeom>
              <a:avLst/>
              <a:gdLst>
                <a:gd name="connsiteX0" fmla="*/ 6001 w 9937"/>
                <a:gd name="connsiteY0" fmla="*/ 17 h 9558"/>
                <a:gd name="connsiteX1" fmla="*/ 0 w 9937"/>
                <a:gd name="connsiteY1" fmla="*/ 5065 h 9558"/>
                <a:gd name="connsiteX2" fmla="*/ 6001 w 9937"/>
                <a:gd name="connsiteY2" fmla="*/ 9446 h 9558"/>
                <a:gd name="connsiteX3" fmla="*/ 6001 w 9937"/>
                <a:gd name="connsiteY3" fmla="*/ 17 h 9558"/>
              </a:gdLst>
              <a:ahLst/>
              <a:cxnLst>
                <a:cxn ang="0">
                  <a:pos x="connsiteX0" y="connsiteY0"/>
                </a:cxn>
                <a:cxn ang="0">
                  <a:pos x="connsiteX1" y="connsiteY1"/>
                </a:cxn>
                <a:cxn ang="0">
                  <a:pos x="connsiteX2" y="connsiteY2"/>
                </a:cxn>
                <a:cxn ang="0">
                  <a:pos x="connsiteX3" y="connsiteY3"/>
                </a:cxn>
              </a:cxnLst>
              <a:rect l="l" t="t" r="r" b="b"/>
              <a:pathLst>
                <a:path w="9937" h="9558">
                  <a:moveTo>
                    <a:pt x="6001" y="17"/>
                  </a:moveTo>
                  <a:cubicBezTo>
                    <a:pt x="5048" y="398"/>
                    <a:pt x="0" y="588"/>
                    <a:pt x="0" y="5065"/>
                  </a:cubicBezTo>
                  <a:cubicBezTo>
                    <a:pt x="0" y="9828"/>
                    <a:pt x="6953" y="9732"/>
                    <a:pt x="6001" y="9446"/>
                  </a:cubicBezTo>
                  <a:cubicBezTo>
                    <a:pt x="8954" y="9351"/>
                    <a:pt x="13144" y="-459"/>
                    <a:pt x="6001" y="17"/>
                  </a:cubicBezTo>
                  <a:close/>
                </a:path>
              </a:pathLst>
            </a:custGeom>
            <a:grpFill/>
            <a:ln w="9525" cap="flat">
              <a:noFill/>
              <a:prstDash val="solid"/>
              <a:miter/>
            </a:ln>
          </p:spPr>
          <p:txBody>
            <a:bodyPr rtlCol="0" anchor="ctr"/>
            <a:lstStyle/>
            <a:p>
              <a:endParaRPr lang="en-IN"/>
            </a:p>
          </p:txBody>
        </p:sp>
        <p:sp>
          <p:nvSpPr>
            <p:cNvPr id="402" name="Freeform: Shape 401">
              <a:extLst>
                <a:ext uri="{FF2B5EF4-FFF2-40B4-BE49-F238E27FC236}">
                  <a16:creationId xmlns:a16="http://schemas.microsoft.com/office/drawing/2014/main" id="{D5F03D95-AB10-36FC-77DB-A2FB303C552A}"/>
                </a:ext>
              </a:extLst>
            </p:cNvPr>
            <p:cNvSpPr/>
            <p:nvPr/>
          </p:nvSpPr>
          <p:spPr>
            <a:xfrm>
              <a:off x="6323636" y="1674951"/>
              <a:ext cx="15732" cy="7964"/>
            </a:xfrm>
            <a:custGeom>
              <a:avLst/>
              <a:gdLst>
                <a:gd name="connsiteX0" fmla="*/ 4948 w 15732"/>
                <a:gd name="connsiteY0" fmla="*/ 7964 h 7964"/>
                <a:gd name="connsiteX1" fmla="*/ 15331 w 15732"/>
                <a:gd name="connsiteY1" fmla="*/ 4630 h 7964"/>
                <a:gd name="connsiteX2" fmla="*/ 5806 w 15732"/>
                <a:gd name="connsiteY2" fmla="*/ 58 h 7964"/>
                <a:gd name="connsiteX3" fmla="*/ 4948 w 15732"/>
                <a:gd name="connsiteY3" fmla="*/ 7869 h 7964"/>
              </a:gdLst>
              <a:ahLst/>
              <a:cxnLst>
                <a:cxn ang="0">
                  <a:pos x="connsiteX0" y="connsiteY0"/>
                </a:cxn>
                <a:cxn ang="0">
                  <a:pos x="connsiteX1" y="connsiteY1"/>
                </a:cxn>
                <a:cxn ang="0">
                  <a:pos x="connsiteX2" y="connsiteY2"/>
                </a:cxn>
                <a:cxn ang="0">
                  <a:pos x="connsiteX3" y="connsiteY3"/>
                </a:cxn>
              </a:cxnLst>
              <a:rect l="l" t="t" r="r" b="b"/>
              <a:pathLst>
                <a:path w="15732" h="7964">
                  <a:moveTo>
                    <a:pt x="4948" y="7964"/>
                  </a:moveTo>
                  <a:cubicBezTo>
                    <a:pt x="5901" y="7774"/>
                    <a:pt x="12759" y="8536"/>
                    <a:pt x="15331" y="4630"/>
                  </a:cubicBezTo>
                  <a:cubicBezTo>
                    <a:pt x="18188" y="344"/>
                    <a:pt x="4853" y="-132"/>
                    <a:pt x="5806" y="58"/>
                  </a:cubicBezTo>
                  <a:cubicBezTo>
                    <a:pt x="-1338" y="-799"/>
                    <a:pt x="-2195" y="8059"/>
                    <a:pt x="4948" y="7869"/>
                  </a:cubicBezTo>
                  <a:close/>
                </a:path>
              </a:pathLst>
            </a:custGeom>
            <a:grpFill/>
            <a:ln w="9525" cap="flat">
              <a:noFill/>
              <a:prstDash val="solid"/>
              <a:miter/>
            </a:ln>
          </p:spPr>
          <p:txBody>
            <a:bodyPr rtlCol="0" anchor="ctr"/>
            <a:lstStyle/>
            <a:p>
              <a:endParaRPr lang="en-IN"/>
            </a:p>
          </p:txBody>
        </p:sp>
        <p:sp>
          <p:nvSpPr>
            <p:cNvPr id="403" name="Freeform: Shape 402">
              <a:extLst>
                <a:ext uri="{FF2B5EF4-FFF2-40B4-BE49-F238E27FC236}">
                  <a16:creationId xmlns:a16="http://schemas.microsoft.com/office/drawing/2014/main" id="{3CB83ED2-88CA-D2F8-1E9D-38B22496199E}"/>
                </a:ext>
              </a:extLst>
            </p:cNvPr>
            <p:cNvSpPr/>
            <p:nvPr/>
          </p:nvSpPr>
          <p:spPr>
            <a:xfrm>
              <a:off x="6305751" y="1676248"/>
              <a:ext cx="11019" cy="10752"/>
            </a:xfrm>
            <a:custGeom>
              <a:avLst/>
              <a:gdLst>
                <a:gd name="connsiteX0" fmla="*/ 6354 w 11019"/>
                <a:gd name="connsiteY0" fmla="*/ 10572 h 10752"/>
                <a:gd name="connsiteX1" fmla="*/ 10736 w 11019"/>
                <a:gd name="connsiteY1" fmla="*/ 3143 h 10752"/>
                <a:gd name="connsiteX2" fmla="*/ 5783 w 11019"/>
                <a:gd name="connsiteY2" fmla="*/ 10667 h 10752"/>
                <a:gd name="connsiteX3" fmla="*/ 6354 w 11019"/>
                <a:gd name="connsiteY3" fmla="*/ 10667 h 10752"/>
              </a:gdLst>
              <a:ahLst/>
              <a:cxnLst>
                <a:cxn ang="0">
                  <a:pos x="connsiteX0" y="connsiteY0"/>
                </a:cxn>
                <a:cxn ang="0">
                  <a:pos x="connsiteX1" y="connsiteY1"/>
                </a:cxn>
                <a:cxn ang="0">
                  <a:pos x="connsiteX2" y="connsiteY2"/>
                </a:cxn>
                <a:cxn ang="0">
                  <a:pos x="connsiteX3" y="connsiteY3"/>
                </a:cxn>
              </a:cxnLst>
              <a:rect l="l" t="t" r="r" b="b"/>
              <a:pathLst>
                <a:path w="11019" h="10752">
                  <a:moveTo>
                    <a:pt x="6354" y="10572"/>
                  </a:moveTo>
                  <a:cubicBezTo>
                    <a:pt x="12355" y="9905"/>
                    <a:pt x="10926" y="2190"/>
                    <a:pt x="10736" y="3143"/>
                  </a:cubicBezTo>
                  <a:cubicBezTo>
                    <a:pt x="9212" y="-7430"/>
                    <a:pt x="-9076" y="12191"/>
                    <a:pt x="5783" y="10667"/>
                  </a:cubicBezTo>
                  <a:lnTo>
                    <a:pt x="6354" y="10667"/>
                  </a:lnTo>
                  <a:close/>
                </a:path>
              </a:pathLst>
            </a:custGeom>
            <a:grpFill/>
            <a:ln w="9525" cap="flat">
              <a:noFill/>
              <a:prstDash val="solid"/>
              <a:miter/>
            </a:ln>
          </p:spPr>
          <p:txBody>
            <a:bodyPr rtlCol="0" anchor="ctr"/>
            <a:lstStyle/>
            <a:p>
              <a:endParaRPr lang="en-IN"/>
            </a:p>
          </p:txBody>
        </p:sp>
        <p:sp>
          <p:nvSpPr>
            <p:cNvPr id="404" name="Freeform: Shape 403">
              <a:extLst>
                <a:ext uri="{FF2B5EF4-FFF2-40B4-BE49-F238E27FC236}">
                  <a16:creationId xmlns:a16="http://schemas.microsoft.com/office/drawing/2014/main" id="{0D4C51FE-A25C-F02B-64E2-850B2701ACD6}"/>
                </a:ext>
              </a:extLst>
            </p:cNvPr>
            <p:cNvSpPr/>
            <p:nvPr/>
          </p:nvSpPr>
          <p:spPr>
            <a:xfrm>
              <a:off x="6294897" y="1665083"/>
              <a:ext cx="10186" cy="11368"/>
            </a:xfrm>
            <a:custGeom>
              <a:avLst/>
              <a:gdLst>
                <a:gd name="connsiteX0" fmla="*/ 159 w 10186"/>
                <a:gd name="connsiteY0" fmla="*/ 9450 h 11368"/>
                <a:gd name="connsiteX1" fmla="*/ 6065 w 10186"/>
                <a:gd name="connsiteY1" fmla="*/ 10498 h 11368"/>
                <a:gd name="connsiteX2" fmla="*/ 5303 w 10186"/>
                <a:gd name="connsiteY2" fmla="*/ 1068 h 11368"/>
                <a:gd name="connsiteX3" fmla="*/ 159 w 10186"/>
                <a:gd name="connsiteY3" fmla="*/ 9545 h 11368"/>
              </a:gdLst>
              <a:ahLst/>
              <a:cxnLst>
                <a:cxn ang="0">
                  <a:pos x="connsiteX0" y="connsiteY0"/>
                </a:cxn>
                <a:cxn ang="0">
                  <a:pos x="connsiteX1" y="connsiteY1"/>
                </a:cxn>
                <a:cxn ang="0">
                  <a:pos x="connsiteX2" y="connsiteY2"/>
                </a:cxn>
                <a:cxn ang="0">
                  <a:pos x="connsiteX3" y="connsiteY3"/>
                </a:cxn>
              </a:cxnLst>
              <a:rect l="l" t="t" r="r" b="b"/>
              <a:pathLst>
                <a:path w="10186" h="11368">
                  <a:moveTo>
                    <a:pt x="159" y="9450"/>
                  </a:moveTo>
                  <a:cubicBezTo>
                    <a:pt x="1207" y="13165"/>
                    <a:pt x="6922" y="10307"/>
                    <a:pt x="6065" y="10498"/>
                  </a:cubicBezTo>
                  <a:cubicBezTo>
                    <a:pt x="12351" y="6974"/>
                    <a:pt x="10923" y="-3313"/>
                    <a:pt x="5303" y="1068"/>
                  </a:cubicBezTo>
                  <a:cubicBezTo>
                    <a:pt x="5303" y="1068"/>
                    <a:pt x="-1079" y="5069"/>
                    <a:pt x="159" y="9545"/>
                  </a:cubicBezTo>
                  <a:close/>
                </a:path>
              </a:pathLst>
            </a:custGeom>
            <a:grpFill/>
            <a:ln w="9525" cap="flat">
              <a:noFill/>
              <a:prstDash val="solid"/>
              <a:miter/>
            </a:ln>
          </p:spPr>
          <p:txBody>
            <a:bodyPr rtlCol="0" anchor="ctr"/>
            <a:lstStyle/>
            <a:p>
              <a:endParaRPr lang="en-IN"/>
            </a:p>
          </p:txBody>
        </p:sp>
        <p:sp>
          <p:nvSpPr>
            <p:cNvPr id="405" name="Freeform: Shape 404">
              <a:extLst>
                <a:ext uri="{FF2B5EF4-FFF2-40B4-BE49-F238E27FC236}">
                  <a16:creationId xmlns:a16="http://schemas.microsoft.com/office/drawing/2014/main" id="{433D780E-BA98-3DA3-482C-B6516E973A98}"/>
                </a:ext>
              </a:extLst>
            </p:cNvPr>
            <p:cNvSpPr/>
            <p:nvPr/>
          </p:nvSpPr>
          <p:spPr>
            <a:xfrm>
              <a:off x="6189501" y="1656883"/>
              <a:ext cx="41860" cy="37910"/>
            </a:xfrm>
            <a:custGeom>
              <a:avLst/>
              <a:gdLst>
                <a:gd name="connsiteX0" fmla="*/ 3447 w 41860"/>
                <a:gd name="connsiteY0" fmla="*/ 11364 h 37910"/>
                <a:gd name="connsiteX1" fmla="*/ 6018 w 41860"/>
                <a:gd name="connsiteY1" fmla="*/ 22793 h 37910"/>
                <a:gd name="connsiteX2" fmla="*/ 12114 w 41860"/>
                <a:gd name="connsiteY2" fmla="*/ 25746 h 37910"/>
                <a:gd name="connsiteX3" fmla="*/ 20306 w 41860"/>
                <a:gd name="connsiteY3" fmla="*/ 28508 h 37910"/>
                <a:gd name="connsiteX4" fmla="*/ 33355 w 41860"/>
                <a:gd name="connsiteY4" fmla="*/ 37081 h 37910"/>
                <a:gd name="connsiteX5" fmla="*/ 36213 w 41860"/>
                <a:gd name="connsiteY5" fmla="*/ 37748 h 37910"/>
                <a:gd name="connsiteX6" fmla="*/ 35832 w 41860"/>
                <a:gd name="connsiteY6" fmla="*/ 28508 h 37910"/>
                <a:gd name="connsiteX7" fmla="*/ 36308 w 41860"/>
                <a:gd name="connsiteY7" fmla="*/ 19746 h 37910"/>
                <a:gd name="connsiteX8" fmla="*/ 39832 w 41860"/>
                <a:gd name="connsiteY8" fmla="*/ 6601 h 37910"/>
                <a:gd name="connsiteX9" fmla="*/ 37641 w 41860"/>
                <a:gd name="connsiteY9" fmla="*/ 3648 h 37910"/>
                <a:gd name="connsiteX10" fmla="*/ 24021 w 41860"/>
                <a:gd name="connsiteY10" fmla="*/ 1648 h 37910"/>
                <a:gd name="connsiteX11" fmla="*/ 21925 w 41860"/>
                <a:gd name="connsiteY11" fmla="*/ 886 h 37910"/>
                <a:gd name="connsiteX12" fmla="*/ 16400 w 41860"/>
                <a:gd name="connsiteY12" fmla="*/ 6792 h 37910"/>
                <a:gd name="connsiteX13" fmla="*/ 3542 w 41860"/>
                <a:gd name="connsiteY13" fmla="*/ 11459 h 3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860" h="37910">
                  <a:moveTo>
                    <a:pt x="3447" y="11364"/>
                  </a:moveTo>
                  <a:cubicBezTo>
                    <a:pt x="-1887" y="13554"/>
                    <a:pt x="-1030" y="23175"/>
                    <a:pt x="6018" y="22793"/>
                  </a:cubicBezTo>
                  <a:cubicBezTo>
                    <a:pt x="6971" y="22984"/>
                    <a:pt x="11638" y="22793"/>
                    <a:pt x="12114" y="25746"/>
                  </a:cubicBezTo>
                  <a:cubicBezTo>
                    <a:pt x="12591" y="29556"/>
                    <a:pt x="21258" y="28604"/>
                    <a:pt x="20306" y="28508"/>
                  </a:cubicBezTo>
                  <a:cubicBezTo>
                    <a:pt x="28212" y="27937"/>
                    <a:pt x="25449" y="35271"/>
                    <a:pt x="33355" y="37081"/>
                  </a:cubicBezTo>
                  <a:lnTo>
                    <a:pt x="36213" y="37748"/>
                  </a:lnTo>
                  <a:cubicBezTo>
                    <a:pt x="43261" y="39272"/>
                    <a:pt x="40023" y="29652"/>
                    <a:pt x="35832" y="28508"/>
                  </a:cubicBezTo>
                  <a:cubicBezTo>
                    <a:pt x="31545" y="27366"/>
                    <a:pt x="31355" y="19936"/>
                    <a:pt x="36308" y="19746"/>
                  </a:cubicBezTo>
                  <a:cubicBezTo>
                    <a:pt x="40975" y="19555"/>
                    <a:pt x="44118" y="12506"/>
                    <a:pt x="39832" y="6601"/>
                  </a:cubicBezTo>
                  <a:lnTo>
                    <a:pt x="37641" y="3648"/>
                  </a:lnTo>
                  <a:cubicBezTo>
                    <a:pt x="32974" y="-2638"/>
                    <a:pt x="31926" y="4506"/>
                    <a:pt x="24021" y="1648"/>
                  </a:cubicBezTo>
                  <a:lnTo>
                    <a:pt x="21925" y="886"/>
                  </a:lnTo>
                  <a:cubicBezTo>
                    <a:pt x="15257" y="-1590"/>
                    <a:pt x="11924" y="1362"/>
                    <a:pt x="16400" y="6792"/>
                  </a:cubicBezTo>
                  <a:cubicBezTo>
                    <a:pt x="24211" y="21365"/>
                    <a:pt x="9638" y="8982"/>
                    <a:pt x="3542" y="11459"/>
                  </a:cubicBezTo>
                  <a:close/>
                </a:path>
              </a:pathLst>
            </a:custGeom>
            <a:grpFill/>
            <a:ln w="9525" cap="flat">
              <a:noFill/>
              <a:prstDash val="solid"/>
              <a:miter/>
            </a:ln>
          </p:spPr>
          <p:txBody>
            <a:bodyPr rtlCol="0" anchor="ctr"/>
            <a:lstStyle/>
            <a:p>
              <a:endParaRPr lang="en-IN"/>
            </a:p>
          </p:txBody>
        </p:sp>
        <p:sp>
          <p:nvSpPr>
            <p:cNvPr id="406" name="Freeform: Shape 405">
              <a:extLst>
                <a:ext uri="{FF2B5EF4-FFF2-40B4-BE49-F238E27FC236}">
                  <a16:creationId xmlns:a16="http://schemas.microsoft.com/office/drawing/2014/main" id="{4DAF40CF-5BD1-7C08-E7C3-3CD49B899CDA}"/>
                </a:ext>
              </a:extLst>
            </p:cNvPr>
            <p:cNvSpPr/>
            <p:nvPr/>
          </p:nvSpPr>
          <p:spPr>
            <a:xfrm>
              <a:off x="6238395" y="1662331"/>
              <a:ext cx="8099" cy="11249"/>
            </a:xfrm>
            <a:custGeom>
              <a:avLst/>
              <a:gdLst>
                <a:gd name="connsiteX0" fmla="*/ 5035 w 8099"/>
                <a:gd name="connsiteY0" fmla="*/ 772 h 11249"/>
                <a:gd name="connsiteX1" fmla="*/ 2749 w 8099"/>
                <a:gd name="connsiteY1" fmla="*/ 10583 h 11249"/>
                <a:gd name="connsiteX2" fmla="*/ 5035 w 8099"/>
                <a:gd name="connsiteY2" fmla="*/ 772 h 11249"/>
              </a:gdLst>
              <a:ahLst/>
              <a:cxnLst>
                <a:cxn ang="0">
                  <a:pos x="connsiteX0" y="connsiteY0"/>
                </a:cxn>
                <a:cxn ang="0">
                  <a:pos x="connsiteX1" y="connsiteY1"/>
                </a:cxn>
                <a:cxn ang="0">
                  <a:pos x="connsiteX2" y="connsiteY2"/>
                </a:cxn>
              </a:cxnLst>
              <a:rect l="l" t="t" r="r" b="b"/>
              <a:pathLst>
                <a:path w="8099" h="11249">
                  <a:moveTo>
                    <a:pt x="5035" y="772"/>
                  </a:moveTo>
                  <a:cubicBezTo>
                    <a:pt x="-965" y="-2847"/>
                    <a:pt x="-1442" y="7249"/>
                    <a:pt x="2749" y="10583"/>
                  </a:cubicBezTo>
                  <a:cubicBezTo>
                    <a:pt x="6940" y="13821"/>
                    <a:pt x="11131" y="4392"/>
                    <a:pt x="5035" y="772"/>
                  </a:cubicBezTo>
                  <a:close/>
                </a:path>
              </a:pathLst>
            </a:custGeom>
            <a:grpFill/>
            <a:ln w="9525" cap="flat">
              <a:noFill/>
              <a:prstDash val="solid"/>
              <a:miter/>
            </a:ln>
          </p:spPr>
          <p:txBody>
            <a:bodyPr rtlCol="0" anchor="ctr"/>
            <a:lstStyle/>
            <a:p>
              <a:endParaRPr lang="en-IN"/>
            </a:p>
          </p:txBody>
        </p:sp>
        <p:sp>
          <p:nvSpPr>
            <p:cNvPr id="407" name="Freeform: Shape 406">
              <a:extLst>
                <a:ext uri="{FF2B5EF4-FFF2-40B4-BE49-F238E27FC236}">
                  <a16:creationId xmlns:a16="http://schemas.microsoft.com/office/drawing/2014/main" id="{83E4BCBE-044B-A4B8-3C8A-8735ED2886F2}"/>
                </a:ext>
              </a:extLst>
            </p:cNvPr>
            <p:cNvSpPr/>
            <p:nvPr/>
          </p:nvSpPr>
          <p:spPr>
            <a:xfrm>
              <a:off x="6239072" y="1683065"/>
              <a:ext cx="13353" cy="15460"/>
            </a:xfrm>
            <a:custGeom>
              <a:avLst/>
              <a:gdLst>
                <a:gd name="connsiteX0" fmla="*/ 4263 w 13353"/>
                <a:gd name="connsiteY0" fmla="*/ 15280 h 15460"/>
                <a:gd name="connsiteX1" fmla="*/ 11217 w 13353"/>
                <a:gd name="connsiteY1" fmla="*/ 10518 h 15460"/>
                <a:gd name="connsiteX2" fmla="*/ 10931 w 13353"/>
                <a:gd name="connsiteY2" fmla="*/ 3279 h 15460"/>
                <a:gd name="connsiteX3" fmla="*/ 2930 w 13353"/>
                <a:gd name="connsiteY3" fmla="*/ 4327 h 15460"/>
                <a:gd name="connsiteX4" fmla="*/ 2073 w 13353"/>
                <a:gd name="connsiteY4" fmla="*/ 14137 h 15460"/>
                <a:gd name="connsiteX5" fmla="*/ 4168 w 13353"/>
                <a:gd name="connsiteY5" fmla="*/ 15280 h 15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53" h="15460">
                  <a:moveTo>
                    <a:pt x="4263" y="15280"/>
                  </a:moveTo>
                  <a:cubicBezTo>
                    <a:pt x="4263" y="14614"/>
                    <a:pt x="11217" y="10518"/>
                    <a:pt x="11217" y="10518"/>
                  </a:cubicBezTo>
                  <a:cubicBezTo>
                    <a:pt x="16360" y="7470"/>
                    <a:pt x="10550" y="2326"/>
                    <a:pt x="10931" y="3279"/>
                  </a:cubicBezTo>
                  <a:cubicBezTo>
                    <a:pt x="5883" y="-1388"/>
                    <a:pt x="7216" y="-1103"/>
                    <a:pt x="2930" y="4327"/>
                  </a:cubicBezTo>
                  <a:cubicBezTo>
                    <a:pt x="2549" y="5279"/>
                    <a:pt x="-2880" y="9756"/>
                    <a:pt x="2073" y="14137"/>
                  </a:cubicBezTo>
                  <a:cubicBezTo>
                    <a:pt x="2073" y="14137"/>
                    <a:pt x="4168" y="16042"/>
                    <a:pt x="4168" y="15280"/>
                  </a:cubicBezTo>
                  <a:close/>
                </a:path>
              </a:pathLst>
            </a:custGeom>
            <a:grpFill/>
            <a:ln w="9525" cap="flat">
              <a:noFill/>
              <a:prstDash val="solid"/>
              <a:miter/>
            </a:ln>
          </p:spPr>
          <p:txBody>
            <a:bodyPr rtlCol="0" anchor="ctr"/>
            <a:lstStyle/>
            <a:p>
              <a:endParaRPr lang="en-IN"/>
            </a:p>
          </p:txBody>
        </p:sp>
        <p:sp>
          <p:nvSpPr>
            <p:cNvPr id="408" name="Freeform: Shape 407">
              <a:extLst>
                <a:ext uri="{FF2B5EF4-FFF2-40B4-BE49-F238E27FC236}">
                  <a16:creationId xmlns:a16="http://schemas.microsoft.com/office/drawing/2014/main" id="{F58529AB-5E69-911B-7B87-08639955349D}"/>
                </a:ext>
              </a:extLst>
            </p:cNvPr>
            <p:cNvSpPr/>
            <p:nvPr/>
          </p:nvSpPr>
          <p:spPr>
            <a:xfrm>
              <a:off x="6269485" y="1694932"/>
              <a:ext cx="8894" cy="9058"/>
            </a:xfrm>
            <a:custGeom>
              <a:avLst/>
              <a:gdLst>
                <a:gd name="connsiteX0" fmla="*/ 5092 w 8894"/>
                <a:gd name="connsiteY0" fmla="*/ 8748 h 9058"/>
                <a:gd name="connsiteX1" fmla="*/ 2140 w 8894"/>
                <a:gd name="connsiteY1" fmla="*/ 175 h 9058"/>
                <a:gd name="connsiteX2" fmla="*/ 5092 w 8894"/>
                <a:gd name="connsiteY2" fmla="*/ 8748 h 9058"/>
              </a:gdLst>
              <a:ahLst/>
              <a:cxnLst>
                <a:cxn ang="0">
                  <a:pos x="connsiteX0" y="connsiteY0"/>
                </a:cxn>
                <a:cxn ang="0">
                  <a:pos x="connsiteX1" y="connsiteY1"/>
                </a:cxn>
                <a:cxn ang="0">
                  <a:pos x="connsiteX2" y="connsiteY2"/>
                </a:cxn>
              </a:cxnLst>
              <a:rect l="l" t="t" r="r" b="b"/>
              <a:pathLst>
                <a:path w="8894" h="9058">
                  <a:moveTo>
                    <a:pt x="5092" y="8748"/>
                  </a:moveTo>
                  <a:cubicBezTo>
                    <a:pt x="11665" y="6462"/>
                    <a:pt x="9093" y="-1254"/>
                    <a:pt x="2140" y="175"/>
                  </a:cubicBezTo>
                  <a:cubicBezTo>
                    <a:pt x="-718" y="842"/>
                    <a:pt x="-1575" y="10938"/>
                    <a:pt x="5092" y="8748"/>
                  </a:cubicBezTo>
                  <a:close/>
                </a:path>
              </a:pathLst>
            </a:custGeom>
            <a:grpFill/>
            <a:ln w="9525" cap="flat">
              <a:noFill/>
              <a:prstDash val="solid"/>
              <a:miter/>
            </a:ln>
          </p:spPr>
          <p:txBody>
            <a:bodyPr rtlCol="0" anchor="ctr"/>
            <a:lstStyle/>
            <a:p>
              <a:endParaRPr lang="en-IN"/>
            </a:p>
          </p:txBody>
        </p:sp>
        <p:sp>
          <p:nvSpPr>
            <p:cNvPr id="409" name="Freeform: Shape 408">
              <a:extLst>
                <a:ext uri="{FF2B5EF4-FFF2-40B4-BE49-F238E27FC236}">
                  <a16:creationId xmlns:a16="http://schemas.microsoft.com/office/drawing/2014/main" id="{27E0E61D-8B45-ACAA-7C61-A957D07B3CB3}"/>
                </a:ext>
              </a:extLst>
            </p:cNvPr>
            <p:cNvSpPr/>
            <p:nvPr/>
          </p:nvSpPr>
          <p:spPr>
            <a:xfrm>
              <a:off x="6258107" y="1664983"/>
              <a:ext cx="11202" cy="11786"/>
            </a:xfrm>
            <a:custGeom>
              <a:avLst/>
              <a:gdLst>
                <a:gd name="connsiteX0" fmla="*/ 183 w 11202"/>
                <a:gd name="connsiteY0" fmla="*/ 11265 h 11786"/>
                <a:gd name="connsiteX1" fmla="*/ 9232 w 11202"/>
                <a:gd name="connsiteY1" fmla="*/ 8026 h 11786"/>
                <a:gd name="connsiteX2" fmla="*/ 8660 w 11202"/>
                <a:gd name="connsiteY2" fmla="*/ 1168 h 11786"/>
                <a:gd name="connsiteX3" fmla="*/ 183 w 11202"/>
                <a:gd name="connsiteY3" fmla="*/ 11265 h 11786"/>
              </a:gdLst>
              <a:ahLst/>
              <a:cxnLst>
                <a:cxn ang="0">
                  <a:pos x="connsiteX0" y="connsiteY0"/>
                </a:cxn>
                <a:cxn ang="0">
                  <a:pos x="connsiteX1" y="connsiteY1"/>
                </a:cxn>
                <a:cxn ang="0">
                  <a:pos x="connsiteX2" y="connsiteY2"/>
                </a:cxn>
                <a:cxn ang="0">
                  <a:pos x="connsiteX3" y="connsiteY3"/>
                </a:cxn>
              </a:cxnLst>
              <a:rect l="l" t="t" r="r" b="b"/>
              <a:pathLst>
                <a:path w="11202" h="11786">
                  <a:moveTo>
                    <a:pt x="183" y="11265"/>
                  </a:moveTo>
                  <a:cubicBezTo>
                    <a:pt x="1707" y="13551"/>
                    <a:pt x="10184" y="7550"/>
                    <a:pt x="9232" y="8026"/>
                  </a:cubicBezTo>
                  <a:cubicBezTo>
                    <a:pt x="14185" y="4883"/>
                    <a:pt x="8184" y="216"/>
                    <a:pt x="8660" y="1168"/>
                  </a:cubicBezTo>
                  <a:cubicBezTo>
                    <a:pt x="1993" y="-4071"/>
                    <a:pt x="-770" y="9931"/>
                    <a:pt x="183" y="11265"/>
                  </a:cubicBezTo>
                  <a:close/>
                </a:path>
              </a:pathLst>
            </a:custGeom>
            <a:grpFill/>
            <a:ln w="9525" cap="flat">
              <a:noFill/>
              <a:prstDash val="solid"/>
              <a:miter/>
            </a:ln>
          </p:spPr>
          <p:txBody>
            <a:bodyPr rtlCol="0" anchor="ctr"/>
            <a:lstStyle/>
            <a:p>
              <a:endParaRPr lang="en-IN"/>
            </a:p>
          </p:txBody>
        </p:sp>
        <p:sp>
          <p:nvSpPr>
            <p:cNvPr id="410" name="Freeform: Shape 409">
              <a:extLst>
                <a:ext uri="{FF2B5EF4-FFF2-40B4-BE49-F238E27FC236}">
                  <a16:creationId xmlns:a16="http://schemas.microsoft.com/office/drawing/2014/main" id="{4F077BA8-BA4D-C18C-099E-5493B355A912}"/>
                </a:ext>
              </a:extLst>
            </p:cNvPr>
            <p:cNvSpPr/>
            <p:nvPr/>
          </p:nvSpPr>
          <p:spPr>
            <a:xfrm>
              <a:off x="6272049" y="1655477"/>
              <a:ext cx="8148" cy="9449"/>
            </a:xfrm>
            <a:custGeom>
              <a:avLst/>
              <a:gdLst>
                <a:gd name="connsiteX0" fmla="*/ 8053 w 8148"/>
                <a:gd name="connsiteY0" fmla="*/ 6769 h 9449"/>
                <a:gd name="connsiteX1" fmla="*/ 3195 w 8148"/>
                <a:gd name="connsiteY1" fmla="*/ 483 h 9449"/>
                <a:gd name="connsiteX2" fmla="*/ 2147 w 8148"/>
                <a:gd name="connsiteY2" fmla="*/ 864 h 9449"/>
                <a:gd name="connsiteX3" fmla="*/ 8148 w 8148"/>
                <a:gd name="connsiteY3" fmla="*/ 6769 h 9449"/>
              </a:gdLst>
              <a:ahLst/>
              <a:cxnLst>
                <a:cxn ang="0">
                  <a:pos x="connsiteX0" y="connsiteY0"/>
                </a:cxn>
                <a:cxn ang="0">
                  <a:pos x="connsiteX1" y="connsiteY1"/>
                </a:cxn>
                <a:cxn ang="0">
                  <a:pos x="connsiteX2" y="connsiteY2"/>
                </a:cxn>
                <a:cxn ang="0">
                  <a:pos x="connsiteX3" y="connsiteY3"/>
                </a:cxn>
              </a:cxnLst>
              <a:rect l="l" t="t" r="r" b="b"/>
              <a:pathLst>
                <a:path w="8148" h="9449">
                  <a:moveTo>
                    <a:pt x="8053" y="6769"/>
                  </a:moveTo>
                  <a:cubicBezTo>
                    <a:pt x="7767" y="5817"/>
                    <a:pt x="9386" y="-1994"/>
                    <a:pt x="3195" y="483"/>
                  </a:cubicBezTo>
                  <a:lnTo>
                    <a:pt x="2147" y="864"/>
                  </a:lnTo>
                  <a:cubicBezTo>
                    <a:pt x="-4996" y="3626"/>
                    <a:pt x="7957" y="14389"/>
                    <a:pt x="8148" y="6769"/>
                  </a:cubicBezTo>
                  <a:close/>
                </a:path>
              </a:pathLst>
            </a:custGeom>
            <a:grpFill/>
            <a:ln w="9525" cap="flat">
              <a:noFill/>
              <a:prstDash val="solid"/>
              <a:miter/>
            </a:ln>
          </p:spPr>
          <p:txBody>
            <a:bodyPr rtlCol="0" anchor="ctr"/>
            <a:lstStyle/>
            <a:p>
              <a:endParaRPr lang="en-IN"/>
            </a:p>
          </p:txBody>
        </p:sp>
        <p:sp>
          <p:nvSpPr>
            <p:cNvPr id="411" name="Freeform: Shape 410">
              <a:extLst>
                <a:ext uri="{FF2B5EF4-FFF2-40B4-BE49-F238E27FC236}">
                  <a16:creationId xmlns:a16="http://schemas.microsoft.com/office/drawing/2014/main" id="{CC05166A-BD0E-1781-F818-F7165BFE07E4}"/>
                </a:ext>
              </a:extLst>
            </p:cNvPr>
            <p:cNvSpPr/>
            <p:nvPr/>
          </p:nvSpPr>
          <p:spPr>
            <a:xfrm>
              <a:off x="6286673" y="1655306"/>
              <a:ext cx="8603" cy="9016"/>
            </a:xfrm>
            <a:custGeom>
              <a:avLst/>
              <a:gdLst>
                <a:gd name="connsiteX0" fmla="*/ 1 w 8603"/>
                <a:gd name="connsiteY0" fmla="*/ 5987 h 9016"/>
                <a:gd name="connsiteX1" fmla="*/ 6859 w 8603"/>
                <a:gd name="connsiteY1" fmla="*/ 6559 h 9016"/>
                <a:gd name="connsiteX2" fmla="*/ 6478 w 8603"/>
                <a:gd name="connsiteY2" fmla="*/ 1130 h 9016"/>
                <a:gd name="connsiteX3" fmla="*/ 96 w 8603"/>
                <a:gd name="connsiteY3" fmla="*/ 3416 h 9016"/>
                <a:gd name="connsiteX4" fmla="*/ 96 w 8603"/>
                <a:gd name="connsiteY4" fmla="*/ 6083 h 9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3" h="9016">
                  <a:moveTo>
                    <a:pt x="1" y="5987"/>
                  </a:moveTo>
                  <a:cubicBezTo>
                    <a:pt x="-94" y="12655"/>
                    <a:pt x="7811" y="6178"/>
                    <a:pt x="6859" y="6559"/>
                  </a:cubicBezTo>
                  <a:cubicBezTo>
                    <a:pt x="9335" y="4844"/>
                    <a:pt x="9145" y="2368"/>
                    <a:pt x="6478" y="1130"/>
                  </a:cubicBezTo>
                  <a:cubicBezTo>
                    <a:pt x="5525" y="1034"/>
                    <a:pt x="191" y="-2490"/>
                    <a:pt x="96" y="3416"/>
                  </a:cubicBezTo>
                  <a:lnTo>
                    <a:pt x="96" y="6083"/>
                  </a:lnTo>
                  <a:close/>
                </a:path>
              </a:pathLst>
            </a:custGeom>
            <a:grpFill/>
            <a:ln w="9525" cap="flat">
              <a:noFill/>
              <a:prstDash val="solid"/>
              <a:miter/>
            </a:ln>
          </p:spPr>
          <p:txBody>
            <a:bodyPr rtlCol="0" anchor="ctr"/>
            <a:lstStyle/>
            <a:p>
              <a:endParaRPr lang="en-IN"/>
            </a:p>
          </p:txBody>
        </p:sp>
        <p:sp>
          <p:nvSpPr>
            <p:cNvPr id="412" name="Freeform: Shape 411">
              <a:extLst>
                <a:ext uri="{FF2B5EF4-FFF2-40B4-BE49-F238E27FC236}">
                  <a16:creationId xmlns:a16="http://schemas.microsoft.com/office/drawing/2014/main" id="{7302DF5B-69D0-458B-4CA2-337789EDD1A5}"/>
                </a:ext>
              </a:extLst>
            </p:cNvPr>
            <p:cNvSpPr/>
            <p:nvPr/>
          </p:nvSpPr>
          <p:spPr>
            <a:xfrm>
              <a:off x="6253813" y="716318"/>
              <a:ext cx="657415" cy="993552"/>
            </a:xfrm>
            <a:custGeom>
              <a:avLst/>
              <a:gdLst>
                <a:gd name="connsiteX0" fmla="*/ 637604 w 657415"/>
                <a:gd name="connsiteY0" fmla="*/ 758571 h 993552"/>
                <a:gd name="connsiteX1" fmla="*/ 657416 w 657415"/>
                <a:gd name="connsiteY1" fmla="*/ 714566 h 993552"/>
                <a:gd name="connsiteX2" fmla="*/ 562166 w 657415"/>
                <a:gd name="connsiteY2" fmla="*/ 643128 h 993552"/>
                <a:gd name="connsiteX3" fmla="*/ 602647 w 657415"/>
                <a:gd name="connsiteY3" fmla="*/ 612934 h 993552"/>
                <a:gd name="connsiteX4" fmla="*/ 591503 w 657415"/>
                <a:gd name="connsiteY4" fmla="*/ 586740 h 993552"/>
                <a:gd name="connsiteX5" fmla="*/ 570071 w 657415"/>
                <a:gd name="connsiteY5" fmla="*/ 581978 h 993552"/>
                <a:gd name="connsiteX6" fmla="*/ 561308 w 657415"/>
                <a:gd name="connsiteY6" fmla="*/ 563690 h 993552"/>
                <a:gd name="connsiteX7" fmla="*/ 576358 w 657415"/>
                <a:gd name="connsiteY7" fmla="*/ 555784 h 993552"/>
                <a:gd name="connsiteX8" fmla="*/ 570071 w 657415"/>
                <a:gd name="connsiteY8" fmla="*/ 540449 h 993552"/>
                <a:gd name="connsiteX9" fmla="*/ 545306 w 657415"/>
                <a:gd name="connsiteY9" fmla="*/ 534829 h 993552"/>
                <a:gd name="connsiteX10" fmla="*/ 537401 w 657415"/>
                <a:gd name="connsiteY10" fmla="*/ 515684 h 993552"/>
                <a:gd name="connsiteX11" fmla="*/ 553117 w 657415"/>
                <a:gd name="connsiteY11" fmla="*/ 503301 h 993552"/>
                <a:gd name="connsiteX12" fmla="*/ 543020 w 657415"/>
                <a:gd name="connsiteY12" fmla="*/ 459486 h 993552"/>
                <a:gd name="connsiteX13" fmla="*/ 574453 w 657415"/>
                <a:gd name="connsiteY13" fmla="*/ 451580 h 993552"/>
                <a:gd name="connsiteX14" fmla="*/ 507016 w 657415"/>
                <a:gd name="connsiteY14" fmla="*/ 330232 h 993552"/>
                <a:gd name="connsiteX15" fmla="*/ 557594 w 657415"/>
                <a:gd name="connsiteY15" fmla="*/ 274034 h 993552"/>
                <a:gd name="connsiteX16" fmla="*/ 565499 w 657415"/>
                <a:gd name="connsiteY16" fmla="*/ 249269 h 993552"/>
                <a:gd name="connsiteX17" fmla="*/ 538544 w 657415"/>
                <a:gd name="connsiteY17" fmla="*/ 232410 h 993552"/>
                <a:gd name="connsiteX18" fmla="*/ 528447 w 657415"/>
                <a:gd name="connsiteY18" fmla="*/ 211074 h 993552"/>
                <a:gd name="connsiteX19" fmla="*/ 486632 w 657415"/>
                <a:gd name="connsiteY19" fmla="*/ 200120 h 993552"/>
                <a:gd name="connsiteX20" fmla="*/ 470726 w 657415"/>
                <a:gd name="connsiteY20" fmla="*/ 166021 h 993552"/>
                <a:gd name="connsiteX21" fmla="*/ 496919 w 657415"/>
                <a:gd name="connsiteY21" fmla="*/ 138208 h 993552"/>
                <a:gd name="connsiteX22" fmla="*/ 473869 w 657415"/>
                <a:gd name="connsiteY22" fmla="*/ 129445 h 993552"/>
                <a:gd name="connsiteX23" fmla="*/ 501301 w 657415"/>
                <a:gd name="connsiteY23" fmla="*/ 106108 h 993552"/>
                <a:gd name="connsiteX24" fmla="*/ 483394 w 657415"/>
                <a:gd name="connsiteY24" fmla="*/ 96869 h 993552"/>
                <a:gd name="connsiteX25" fmla="*/ 513588 w 657415"/>
                <a:gd name="connsiteY25" fmla="*/ 57150 h 993552"/>
                <a:gd name="connsiteX26" fmla="*/ 432626 w 657415"/>
                <a:gd name="connsiteY26" fmla="*/ 0 h 993552"/>
                <a:gd name="connsiteX27" fmla="*/ 392906 w 657415"/>
                <a:gd name="connsiteY27" fmla="*/ 22193 h 993552"/>
                <a:gd name="connsiteX28" fmla="*/ 338900 w 657415"/>
                <a:gd name="connsiteY28" fmla="*/ 15812 h 993552"/>
                <a:gd name="connsiteX29" fmla="*/ 310325 w 657415"/>
                <a:gd name="connsiteY29" fmla="*/ 112681 h 993552"/>
                <a:gd name="connsiteX30" fmla="*/ 262700 w 657415"/>
                <a:gd name="connsiteY30" fmla="*/ 153924 h 993552"/>
                <a:gd name="connsiteX31" fmla="*/ 203930 w 657415"/>
                <a:gd name="connsiteY31" fmla="*/ 122206 h 993552"/>
                <a:gd name="connsiteX32" fmla="*/ 173736 w 657415"/>
                <a:gd name="connsiteY32" fmla="*/ 146018 h 993552"/>
                <a:gd name="connsiteX33" fmla="*/ 107061 w 657415"/>
                <a:gd name="connsiteY33" fmla="*/ 133350 h 993552"/>
                <a:gd name="connsiteX34" fmla="*/ 53054 w 657415"/>
                <a:gd name="connsiteY34" fmla="*/ 79343 h 993552"/>
                <a:gd name="connsiteX35" fmla="*/ 0 w 657415"/>
                <a:gd name="connsiteY35" fmla="*/ 100965 h 993552"/>
                <a:gd name="connsiteX36" fmla="*/ 87821 w 657415"/>
                <a:gd name="connsiteY36" fmla="*/ 172593 h 993552"/>
                <a:gd name="connsiteX37" fmla="*/ 150686 w 657415"/>
                <a:gd name="connsiteY37" fmla="*/ 188119 h 993552"/>
                <a:gd name="connsiteX38" fmla="*/ 180499 w 657415"/>
                <a:gd name="connsiteY38" fmla="*/ 225362 h 993552"/>
                <a:gd name="connsiteX39" fmla="*/ 167640 w 657415"/>
                <a:gd name="connsiteY39" fmla="*/ 270034 h 993552"/>
                <a:gd name="connsiteX40" fmla="*/ 192024 w 657415"/>
                <a:gd name="connsiteY40" fmla="*/ 275463 h 993552"/>
                <a:gd name="connsiteX41" fmla="*/ 192691 w 657415"/>
                <a:gd name="connsiteY41" fmla="*/ 290989 h 993552"/>
                <a:gd name="connsiteX42" fmla="*/ 174403 w 657415"/>
                <a:gd name="connsiteY42" fmla="*/ 304514 h 993552"/>
                <a:gd name="connsiteX43" fmla="*/ 200787 w 657415"/>
                <a:gd name="connsiteY43" fmla="*/ 339662 h 993552"/>
                <a:gd name="connsiteX44" fmla="*/ 196025 w 657415"/>
                <a:gd name="connsiteY44" fmla="*/ 365379 h 993552"/>
                <a:gd name="connsiteX45" fmla="*/ 179832 w 657415"/>
                <a:gd name="connsiteY45" fmla="*/ 377571 h 993552"/>
                <a:gd name="connsiteX46" fmla="*/ 185261 w 657415"/>
                <a:gd name="connsiteY46" fmla="*/ 401955 h 993552"/>
                <a:gd name="connsiteX47" fmla="*/ 211741 w 657415"/>
                <a:gd name="connsiteY47" fmla="*/ 431959 h 993552"/>
                <a:gd name="connsiteX48" fmla="*/ 228695 w 657415"/>
                <a:gd name="connsiteY48" fmla="*/ 434245 h 993552"/>
                <a:gd name="connsiteX49" fmla="*/ 241268 w 657415"/>
                <a:gd name="connsiteY49" fmla="*/ 441960 h 993552"/>
                <a:gd name="connsiteX50" fmla="*/ 254413 w 657415"/>
                <a:gd name="connsiteY50" fmla="*/ 446246 h 993552"/>
                <a:gd name="connsiteX51" fmla="*/ 264414 w 657415"/>
                <a:gd name="connsiteY51" fmla="*/ 449390 h 993552"/>
                <a:gd name="connsiteX52" fmla="*/ 282607 w 657415"/>
                <a:gd name="connsiteY52" fmla="*/ 466916 h 993552"/>
                <a:gd name="connsiteX53" fmla="*/ 282226 w 657415"/>
                <a:gd name="connsiteY53" fmla="*/ 467487 h 993552"/>
                <a:gd name="connsiteX54" fmla="*/ 281559 w 657415"/>
                <a:gd name="connsiteY54" fmla="*/ 487490 h 993552"/>
                <a:gd name="connsiteX55" fmla="*/ 281273 w 657415"/>
                <a:gd name="connsiteY55" fmla="*/ 488156 h 993552"/>
                <a:gd name="connsiteX56" fmla="*/ 292513 w 657415"/>
                <a:gd name="connsiteY56" fmla="*/ 510445 h 993552"/>
                <a:gd name="connsiteX57" fmla="*/ 284226 w 657415"/>
                <a:gd name="connsiteY57" fmla="*/ 511302 h 993552"/>
                <a:gd name="connsiteX58" fmla="*/ 280321 w 657415"/>
                <a:gd name="connsiteY58" fmla="*/ 518636 h 993552"/>
                <a:gd name="connsiteX59" fmla="*/ 281940 w 657415"/>
                <a:gd name="connsiteY59" fmla="*/ 525780 h 993552"/>
                <a:gd name="connsiteX60" fmla="*/ 271653 w 657415"/>
                <a:gd name="connsiteY60" fmla="*/ 522827 h 993552"/>
                <a:gd name="connsiteX61" fmla="*/ 246412 w 657415"/>
                <a:gd name="connsiteY61" fmla="*/ 523780 h 993552"/>
                <a:gd name="connsiteX62" fmla="*/ 239173 w 657415"/>
                <a:gd name="connsiteY62" fmla="*/ 531209 h 993552"/>
                <a:gd name="connsiteX63" fmla="*/ 230886 w 657415"/>
                <a:gd name="connsiteY63" fmla="*/ 540925 h 993552"/>
                <a:gd name="connsiteX64" fmla="*/ 224504 w 657415"/>
                <a:gd name="connsiteY64" fmla="*/ 552164 h 993552"/>
                <a:gd name="connsiteX65" fmla="*/ 185547 w 657415"/>
                <a:gd name="connsiteY65" fmla="*/ 592741 h 993552"/>
                <a:gd name="connsiteX66" fmla="*/ 184309 w 657415"/>
                <a:gd name="connsiteY66" fmla="*/ 596741 h 993552"/>
                <a:gd name="connsiteX67" fmla="*/ 173355 w 657415"/>
                <a:gd name="connsiteY67" fmla="*/ 600647 h 993552"/>
                <a:gd name="connsiteX68" fmla="*/ 162020 w 657415"/>
                <a:gd name="connsiteY68" fmla="*/ 616553 h 993552"/>
                <a:gd name="connsiteX69" fmla="*/ 148590 w 657415"/>
                <a:gd name="connsiteY69" fmla="*/ 620554 h 993552"/>
                <a:gd name="connsiteX70" fmla="*/ 135350 w 657415"/>
                <a:gd name="connsiteY70" fmla="*/ 615887 h 993552"/>
                <a:gd name="connsiteX71" fmla="*/ 124778 w 657415"/>
                <a:gd name="connsiteY71" fmla="*/ 623697 h 993552"/>
                <a:gd name="connsiteX72" fmla="*/ 124206 w 657415"/>
                <a:gd name="connsiteY72" fmla="*/ 638080 h 993552"/>
                <a:gd name="connsiteX73" fmla="*/ 118301 w 657415"/>
                <a:gd name="connsiteY73" fmla="*/ 640652 h 993552"/>
                <a:gd name="connsiteX74" fmla="*/ 113538 w 657415"/>
                <a:gd name="connsiteY74" fmla="*/ 653701 h 993552"/>
                <a:gd name="connsiteX75" fmla="*/ 108013 w 657415"/>
                <a:gd name="connsiteY75" fmla="*/ 651701 h 993552"/>
                <a:gd name="connsiteX76" fmla="*/ 102299 w 657415"/>
                <a:gd name="connsiteY76" fmla="*/ 650938 h 993552"/>
                <a:gd name="connsiteX77" fmla="*/ 100489 w 657415"/>
                <a:gd name="connsiteY77" fmla="*/ 661321 h 993552"/>
                <a:gd name="connsiteX78" fmla="*/ 105156 w 657415"/>
                <a:gd name="connsiteY78" fmla="*/ 665988 h 993552"/>
                <a:gd name="connsiteX79" fmla="*/ 98679 w 657415"/>
                <a:gd name="connsiteY79" fmla="*/ 674275 h 993552"/>
                <a:gd name="connsiteX80" fmla="*/ 80201 w 657415"/>
                <a:gd name="connsiteY80" fmla="*/ 669988 h 993552"/>
                <a:gd name="connsiteX81" fmla="*/ 79343 w 657415"/>
                <a:gd name="connsiteY81" fmla="*/ 671989 h 993552"/>
                <a:gd name="connsiteX82" fmla="*/ 67056 w 657415"/>
                <a:gd name="connsiteY82" fmla="*/ 677323 h 993552"/>
                <a:gd name="connsiteX83" fmla="*/ 56769 w 657415"/>
                <a:gd name="connsiteY83" fmla="*/ 681514 h 993552"/>
                <a:gd name="connsiteX84" fmla="*/ 59150 w 657415"/>
                <a:gd name="connsiteY84" fmla="*/ 698183 h 993552"/>
                <a:gd name="connsiteX85" fmla="*/ 49435 w 657415"/>
                <a:gd name="connsiteY85" fmla="*/ 703231 h 993552"/>
                <a:gd name="connsiteX86" fmla="*/ 48673 w 657415"/>
                <a:gd name="connsiteY86" fmla="*/ 706565 h 993552"/>
                <a:gd name="connsiteX87" fmla="*/ 33623 w 657415"/>
                <a:gd name="connsiteY87" fmla="*/ 718566 h 993552"/>
                <a:gd name="connsiteX88" fmla="*/ 31147 w 657415"/>
                <a:gd name="connsiteY88" fmla="*/ 727996 h 993552"/>
                <a:gd name="connsiteX89" fmla="*/ 30861 w 657415"/>
                <a:gd name="connsiteY89" fmla="*/ 728186 h 993552"/>
                <a:gd name="connsiteX90" fmla="*/ 31433 w 657415"/>
                <a:gd name="connsiteY90" fmla="*/ 734663 h 993552"/>
                <a:gd name="connsiteX91" fmla="*/ 31433 w 657415"/>
                <a:gd name="connsiteY91" fmla="*/ 741902 h 993552"/>
                <a:gd name="connsiteX92" fmla="*/ 39243 w 657415"/>
                <a:gd name="connsiteY92" fmla="*/ 759809 h 993552"/>
                <a:gd name="connsiteX93" fmla="*/ 40862 w 657415"/>
                <a:gd name="connsiteY93" fmla="*/ 759524 h 993552"/>
                <a:gd name="connsiteX94" fmla="*/ 45339 w 657415"/>
                <a:gd name="connsiteY94" fmla="*/ 779050 h 993552"/>
                <a:gd name="connsiteX95" fmla="*/ 44958 w 657415"/>
                <a:gd name="connsiteY95" fmla="*/ 779240 h 993552"/>
                <a:gd name="connsiteX96" fmla="*/ 55626 w 657415"/>
                <a:gd name="connsiteY96" fmla="*/ 829532 h 993552"/>
                <a:gd name="connsiteX97" fmla="*/ 55436 w 657415"/>
                <a:gd name="connsiteY97" fmla="*/ 836676 h 993552"/>
                <a:gd name="connsiteX98" fmla="*/ 46672 w 657415"/>
                <a:gd name="connsiteY98" fmla="*/ 866966 h 993552"/>
                <a:gd name="connsiteX99" fmla="*/ 44672 w 657415"/>
                <a:gd name="connsiteY99" fmla="*/ 879062 h 993552"/>
                <a:gd name="connsiteX100" fmla="*/ 41910 w 657415"/>
                <a:gd name="connsiteY100" fmla="*/ 885635 h 993552"/>
                <a:gd name="connsiteX101" fmla="*/ 37529 w 657415"/>
                <a:gd name="connsiteY101" fmla="*/ 894874 h 993552"/>
                <a:gd name="connsiteX102" fmla="*/ 42577 w 657415"/>
                <a:gd name="connsiteY102" fmla="*/ 909828 h 993552"/>
                <a:gd name="connsiteX103" fmla="*/ 38100 w 657415"/>
                <a:gd name="connsiteY103" fmla="*/ 916115 h 993552"/>
                <a:gd name="connsiteX104" fmla="*/ 37147 w 657415"/>
                <a:gd name="connsiteY104" fmla="*/ 926878 h 993552"/>
                <a:gd name="connsiteX105" fmla="*/ 44291 w 657415"/>
                <a:gd name="connsiteY105" fmla="*/ 931450 h 993552"/>
                <a:gd name="connsiteX106" fmla="*/ 54959 w 657415"/>
                <a:gd name="connsiteY106" fmla="*/ 930497 h 993552"/>
                <a:gd name="connsiteX107" fmla="*/ 66199 w 657415"/>
                <a:gd name="connsiteY107" fmla="*/ 920496 h 993552"/>
                <a:gd name="connsiteX108" fmla="*/ 66485 w 657415"/>
                <a:gd name="connsiteY108" fmla="*/ 920496 h 993552"/>
                <a:gd name="connsiteX109" fmla="*/ 70771 w 657415"/>
                <a:gd name="connsiteY109" fmla="*/ 941546 h 993552"/>
                <a:gd name="connsiteX110" fmla="*/ 72962 w 657415"/>
                <a:gd name="connsiteY110" fmla="*/ 945833 h 993552"/>
                <a:gd name="connsiteX111" fmla="*/ 81725 w 657415"/>
                <a:gd name="connsiteY111" fmla="*/ 943261 h 993552"/>
                <a:gd name="connsiteX112" fmla="*/ 79438 w 657415"/>
                <a:gd name="connsiteY112" fmla="*/ 930783 h 993552"/>
                <a:gd name="connsiteX113" fmla="*/ 90964 w 657415"/>
                <a:gd name="connsiteY113" fmla="*/ 936974 h 993552"/>
                <a:gd name="connsiteX114" fmla="*/ 92202 w 657415"/>
                <a:gd name="connsiteY114" fmla="*/ 947166 h 993552"/>
                <a:gd name="connsiteX115" fmla="*/ 101346 w 657415"/>
                <a:gd name="connsiteY115" fmla="*/ 960025 h 993552"/>
                <a:gd name="connsiteX116" fmla="*/ 113538 w 657415"/>
                <a:gd name="connsiteY116" fmla="*/ 944213 h 993552"/>
                <a:gd name="connsiteX117" fmla="*/ 104966 w 657415"/>
                <a:gd name="connsiteY117" fmla="*/ 984123 h 993552"/>
                <a:gd name="connsiteX118" fmla="*/ 113729 w 657415"/>
                <a:gd name="connsiteY118" fmla="*/ 979456 h 993552"/>
                <a:gd name="connsiteX119" fmla="*/ 123254 w 657415"/>
                <a:gd name="connsiteY119" fmla="*/ 974788 h 993552"/>
                <a:gd name="connsiteX120" fmla="*/ 137160 w 657415"/>
                <a:gd name="connsiteY120" fmla="*/ 965835 h 993552"/>
                <a:gd name="connsiteX121" fmla="*/ 137446 w 657415"/>
                <a:gd name="connsiteY121" fmla="*/ 965835 h 993552"/>
                <a:gd name="connsiteX122" fmla="*/ 142399 w 657415"/>
                <a:gd name="connsiteY122" fmla="*/ 972598 h 993552"/>
                <a:gd name="connsiteX123" fmla="*/ 138684 w 657415"/>
                <a:gd name="connsiteY123" fmla="*/ 981742 h 993552"/>
                <a:gd name="connsiteX124" fmla="*/ 146590 w 657415"/>
                <a:gd name="connsiteY124" fmla="*/ 993458 h 993552"/>
                <a:gd name="connsiteX125" fmla="*/ 192596 w 657415"/>
                <a:gd name="connsiteY125" fmla="*/ 983171 h 993552"/>
                <a:gd name="connsiteX126" fmla="*/ 204883 w 657415"/>
                <a:gd name="connsiteY126" fmla="*/ 974217 h 993552"/>
                <a:gd name="connsiteX127" fmla="*/ 220218 w 657415"/>
                <a:gd name="connsiteY127" fmla="*/ 970217 h 993552"/>
                <a:gd name="connsiteX128" fmla="*/ 225647 w 657415"/>
                <a:gd name="connsiteY128" fmla="*/ 976979 h 993552"/>
                <a:gd name="connsiteX129" fmla="*/ 247460 w 657415"/>
                <a:gd name="connsiteY129" fmla="*/ 964883 h 993552"/>
                <a:gd name="connsiteX130" fmla="*/ 254127 w 657415"/>
                <a:gd name="connsiteY130" fmla="*/ 961073 h 993552"/>
                <a:gd name="connsiteX131" fmla="*/ 265367 w 657415"/>
                <a:gd name="connsiteY131" fmla="*/ 963073 h 993552"/>
                <a:gd name="connsiteX132" fmla="*/ 274034 w 657415"/>
                <a:gd name="connsiteY132" fmla="*/ 958025 h 993552"/>
                <a:gd name="connsiteX133" fmla="*/ 287179 w 657415"/>
                <a:gd name="connsiteY133" fmla="*/ 954596 h 993552"/>
                <a:gd name="connsiteX134" fmla="*/ 298228 w 657415"/>
                <a:gd name="connsiteY134" fmla="*/ 958787 h 993552"/>
                <a:gd name="connsiteX135" fmla="*/ 307753 w 657415"/>
                <a:gd name="connsiteY135" fmla="*/ 949928 h 993552"/>
                <a:gd name="connsiteX136" fmla="*/ 318707 w 657415"/>
                <a:gd name="connsiteY136" fmla="*/ 957072 h 993552"/>
                <a:gd name="connsiteX137" fmla="*/ 327088 w 657415"/>
                <a:gd name="connsiteY137" fmla="*/ 946213 h 993552"/>
                <a:gd name="connsiteX138" fmla="*/ 326136 w 657415"/>
                <a:gd name="connsiteY138" fmla="*/ 937260 h 993552"/>
                <a:gd name="connsiteX139" fmla="*/ 351758 w 657415"/>
                <a:gd name="connsiteY139" fmla="*/ 939165 h 993552"/>
                <a:gd name="connsiteX140" fmla="*/ 355949 w 657415"/>
                <a:gd name="connsiteY140" fmla="*/ 935260 h 993552"/>
                <a:gd name="connsiteX141" fmla="*/ 366141 w 657415"/>
                <a:gd name="connsiteY141" fmla="*/ 937927 h 993552"/>
                <a:gd name="connsiteX142" fmla="*/ 379095 w 657415"/>
                <a:gd name="connsiteY142" fmla="*/ 937736 h 993552"/>
                <a:gd name="connsiteX143" fmla="*/ 388620 w 657415"/>
                <a:gd name="connsiteY143" fmla="*/ 935927 h 993552"/>
                <a:gd name="connsiteX144" fmla="*/ 394430 w 657415"/>
                <a:gd name="connsiteY144" fmla="*/ 927735 h 993552"/>
                <a:gd name="connsiteX145" fmla="*/ 427577 w 657415"/>
                <a:gd name="connsiteY145" fmla="*/ 927354 h 993552"/>
                <a:gd name="connsiteX146" fmla="*/ 435293 w 657415"/>
                <a:gd name="connsiteY146" fmla="*/ 928021 h 993552"/>
                <a:gd name="connsiteX147" fmla="*/ 440531 w 657415"/>
                <a:gd name="connsiteY147" fmla="*/ 930402 h 993552"/>
                <a:gd name="connsiteX148" fmla="*/ 534734 w 657415"/>
                <a:gd name="connsiteY148" fmla="*/ 852297 h 993552"/>
                <a:gd name="connsiteX149" fmla="*/ 637127 w 657415"/>
                <a:gd name="connsiteY149" fmla="*/ 758190 h 993552"/>
                <a:gd name="connsiteX150" fmla="*/ 519589 w 657415"/>
                <a:gd name="connsiteY150" fmla="*/ 660940 h 993552"/>
                <a:gd name="connsiteX151" fmla="*/ 562451 w 657415"/>
                <a:gd name="connsiteY151" fmla="*/ 683419 h 993552"/>
                <a:gd name="connsiteX152" fmla="*/ 559022 w 657415"/>
                <a:gd name="connsiteY152" fmla="*/ 708851 h 993552"/>
                <a:gd name="connsiteX153" fmla="*/ 521875 w 657415"/>
                <a:gd name="connsiteY153" fmla="*/ 684752 h 993552"/>
                <a:gd name="connsiteX154" fmla="*/ 519589 w 657415"/>
                <a:gd name="connsiteY154" fmla="*/ 661035 h 993552"/>
                <a:gd name="connsiteX155" fmla="*/ 386620 w 657415"/>
                <a:gd name="connsiteY155" fmla="*/ 117062 h 993552"/>
                <a:gd name="connsiteX156" fmla="*/ 459486 w 657415"/>
                <a:gd name="connsiteY156" fmla="*/ 91059 h 993552"/>
                <a:gd name="connsiteX157" fmla="*/ 459867 w 657415"/>
                <a:gd name="connsiteY157" fmla="*/ 108680 h 993552"/>
                <a:gd name="connsiteX158" fmla="*/ 423101 w 657415"/>
                <a:gd name="connsiteY158" fmla="*/ 136303 h 993552"/>
                <a:gd name="connsiteX159" fmla="*/ 386620 w 657415"/>
                <a:gd name="connsiteY159" fmla="*/ 117158 h 993552"/>
                <a:gd name="connsiteX160" fmla="*/ 473012 w 657415"/>
                <a:gd name="connsiteY160" fmla="*/ 870585 h 993552"/>
                <a:gd name="connsiteX161" fmla="*/ 442151 w 657415"/>
                <a:gd name="connsiteY161" fmla="*/ 875252 h 993552"/>
                <a:gd name="connsiteX162" fmla="*/ 425196 w 657415"/>
                <a:gd name="connsiteY162" fmla="*/ 847344 h 993552"/>
                <a:gd name="connsiteX163" fmla="*/ 431292 w 657415"/>
                <a:gd name="connsiteY163" fmla="*/ 834485 h 993552"/>
                <a:gd name="connsiteX164" fmla="*/ 473012 w 657415"/>
                <a:gd name="connsiteY164" fmla="*/ 870585 h 993552"/>
                <a:gd name="connsiteX165" fmla="*/ 506159 w 657415"/>
                <a:gd name="connsiteY165" fmla="*/ 838867 h 993552"/>
                <a:gd name="connsiteX166" fmla="*/ 478727 w 657415"/>
                <a:gd name="connsiteY166" fmla="*/ 829247 h 993552"/>
                <a:gd name="connsiteX167" fmla="*/ 482251 w 657415"/>
                <a:gd name="connsiteY167" fmla="*/ 815054 h 993552"/>
                <a:gd name="connsiteX168" fmla="*/ 516827 w 657415"/>
                <a:gd name="connsiteY168" fmla="*/ 813626 h 993552"/>
                <a:gd name="connsiteX169" fmla="*/ 543306 w 657415"/>
                <a:gd name="connsiteY169" fmla="*/ 800672 h 993552"/>
                <a:gd name="connsiteX170" fmla="*/ 541877 w 657415"/>
                <a:gd name="connsiteY170" fmla="*/ 814197 h 993552"/>
                <a:gd name="connsiteX171" fmla="*/ 506159 w 657415"/>
                <a:gd name="connsiteY171" fmla="*/ 838867 h 99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657415" h="993552">
                  <a:moveTo>
                    <a:pt x="637604" y="758571"/>
                  </a:moveTo>
                  <a:lnTo>
                    <a:pt x="657416" y="714566"/>
                  </a:lnTo>
                  <a:lnTo>
                    <a:pt x="562166" y="643128"/>
                  </a:lnTo>
                  <a:lnTo>
                    <a:pt x="602647" y="612934"/>
                  </a:lnTo>
                  <a:lnTo>
                    <a:pt x="591503" y="586740"/>
                  </a:lnTo>
                  <a:lnTo>
                    <a:pt x="570071" y="581978"/>
                  </a:lnTo>
                  <a:lnTo>
                    <a:pt x="561308" y="563690"/>
                  </a:lnTo>
                  <a:lnTo>
                    <a:pt x="576358" y="555784"/>
                  </a:lnTo>
                  <a:lnTo>
                    <a:pt x="570071" y="540449"/>
                  </a:lnTo>
                  <a:lnTo>
                    <a:pt x="545306" y="534829"/>
                  </a:lnTo>
                  <a:lnTo>
                    <a:pt x="537401" y="515684"/>
                  </a:lnTo>
                  <a:lnTo>
                    <a:pt x="553117" y="503301"/>
                  </a:lnTo>
                  <a:lnTo>
                    <a:pt x="543020" y="459486"/>
                  </a:lnTo>
                  <a:lnTo>
                    <a:pt x="574453" y="451580"/>
                  </a:lnTo>
                  <a:lnTo>
                    <a:pt x="507016" y="330232"/>
                  </a:lnTo>
                  <a:lnTo>
                    <a:pt x="557594" y="274034"/>
                  </a:lnTo>
                  <a:lnTo>
                    <a:pt x="565499" y="249269"/>
                  </a:lnTo>
                  <a:lnTo>
                    <a:pt x="538544" y="232410"/>
                  </a:lnTo>
                  <a:lnTo>
                    <a:pt x="528447" y="211074"/>
                  </a:lnTo>
                  <a:lnTo>
                    <a:pt x="486632" y="200120"/>
                  </a:lnTo>
                  <a:lnTo>
                    <a:pt x="470726" y="166021"/>
                  </a:lnTo>
                  <a:lnTo>
                    <a:pt x="496919" y="138208"/>
                  </a:lnTo>
                  <a:lnTo>
                    <a:pt x="473869" y="129445"/>
                  </a:lnTo>
                  <a:lnTo>
                    <a:pt x="501301" y="106108"/>
                  </a:lnTo>
                  <a:lnTo>
                    <a:pt x="483394" y="96869"/>
                  </a:lnTo>
                  <a:lnTo>
                    <a:pt x="513588" y="57150"/>
                  </a:lnTo>
                  <a:lnTo>
                    <a:pt x="432626" y="0"/>
                  </a:lnTo>
                  <a:lnTo>
                    <a:pt x="392906" y="22193"/>
                  </a:lnTo>
                  <a:lnTo>
                    <a:pt x="338900" y="15812"/>
                  </a:lnTo>
                  <a:lnTo>
                    <a:pt x="310325" y="112681"/>
                  </a:lnTo>
                  <a:lnTo>
                    <a:pt x="262700" y="153924"/>
                  </a:lnTo>
                  <a:lnTo>
                    <a:pt x="203930" y="122206"/>
                  </a:lnTo>
                  <a:lnTo>
                    <a:pt x="173736" y="146018"/>
                  </a:lnTo>
                  <a:lnTo>
                    <a:pt x="107061" y="133350"/>
                  </a:lnTo>
                  <a:lnTo>
                    <a:pt x="53054" y="79343"/>
                  </a:lnTo>
                  <a:lnTo>
                    <a:pt x="0" y="100965"/>
                  </a:lnTo>
                  <a:lnTo>
                    <a:pt x="87821" y="172593"/>
                  </a:lnTo>
                  <a:lnTo>
                    <a:pt x="150686" y="188119"/>
                  </a:lnTo>
                  <a:lnTo>
                    <a:pt x="180499" y="225362"/>
                  </a:lnTo>
                  <a:lnTo>
                    <a:pt x="167640" y="270034"/>
                  </a:lnTo>
                  <a:lnTo>
                    <a:pt x="192024" y="275463"/>
                  </a:lnTo>
                  <a:lnTo>
                    <a:pt x="192691" y="290989"/>
                  </a:lnTo>
                  <a:lnTo>
                    <a:pt x="174403" y="304514"/>
                  </a:lnTo>
                  <a:lnTo>
                    <a:pt x="200787" y="339662"/>
                  </a:lnTo>
                  <a:lnTo>
                    <a:pt x="196025" y="365379"/>
                  </a:lnTo>
                  <a:lnTo>
                    <a:pt x="179832" y="377571"/>
                  </a:lnTo>
                  <a:lnTo>
                    <a:pt x="185261" y="401955"/>
                  </a:lnTo>
                  <a:lnTo>
                    <a:pt x="211741" y="431959"/>
                  </a:lnTo>
                  <a:lnTo>
                    <a:pt x="228695" y="434245"/>
                  </a:lnTo>
                  <a:cubicBezTo>
                    <a:pt x="235649" y="435197"/>
                    <a:pt x="242221" y="442627"/>
                    <a:pt x="241268" y="441960"/>
                  </a:cubicBezTo>
                  <a:cubicBezTo>
                    <a:pt x="246126" y="446627"/>
                    <a:pt x="255365" y="446437"/>
                    <a:pt x="254413" y="446246"/>
                  </a:cubicBezTo>
                  <a:cubicBezTo>
                    <a:pt x="257366" y="446437"/>
                    <a:pt x="261842" y="447770"/>
                    <a:pt x="264414" y="449390"/>
                  </a:cubicBezTo>
                  <a:cubicBezTo>
                    <a:pt x="273558" y="456343"/>
                    <a:pt x="287464" y="459581"/>
                    <a:pt x="282607" y="466916"/>
                  </a:cubicBezTo>
                  <a:lnTo>
                    <a:pt x="282226" y="467487"/>
                  </a:lnTo>
                  <a:cubicBezTo>
                    <a:pt x="277273" y="474917"/>
                    <a:pt x="285655" y="479393"/>
                    <a:pt x="281559" y="487490"/>
                  </a:cubicBezTo>
                  <a:lnTo>
                    <a:pt x="281273" y="488156"/>
                  </a:lnTo>
                  <a:cubicBezTo>
                    <a:pt x="276320" y="498158"/>
                    <a:pt x="295846" y="502063"/>
                    <a:pt x="292513" y="510445"/>
                  </a:cubicBezTo>
                  <a:cubicBezTo>
                    <a:pt x="290894" y="514541"/>
                    <a:pt x="283274" y="511112"/>
                    <a:pt x="284226" y="511302"/>
                  </a:cubicBezTo>
                  <a:cubicBezTo>
                    <a:pt x="277654" y="508730"/>
                    <a:pt x="275177" y="513683"/>
                    <a:pt x="280321" y="518636"/>
                  </a:cubicBezTo>
                  <a:cubicBezTo>
                    <a:pt x="280892" y="519589"/>
                    <a:pt x="287369" y="524066"/>
                    <a:pt x="281940" y="525780"/>
                  </a:cubicBezTo>
                  <a:cubicBezTo>
                    <a:pt x="276987" y="527399"/>
                    <a:pt x="270701" y="522351"/>
                    <a:pt x="271653" y="522827"/>
                  </a:cubicBezTo>
                  <a:cubicBezTo>
                    <a:pt x="264890" y="517874"/>
                    <a:pt x="245459" y="523970"/>
                    <a:pt x="246412" y="523780"/>
                  </a:cubicBezTo>
                  <a:cubicBezTo>
                    <a:pt x="240697" y="524923"/>
                    <a:pt x="238506" y="532162"/>
                    <a:pt x="239173" y="531209"/>
                  </a:cubicBezTo>
                  <a:cubicBezTo>
                    <a:pt x="237268" y="537305"/>
                    <a:pt x="229934" y="541782"/>
                    <a:pt x="230886" y="540925"/>
                  </a:cubicBezTo>
                  <a:cubicBezTo>
                    <a:pt x="225552" y="544544"/>
                    <a:pt x="224123" y="553117"/>
                    <a:pt x="224504" y="552164"/>
                  </a:cubicBezTo>
                  <a:cubicBezTo>
                    <a:pt x="221361" y="565595"/>
                    <a:pt x="189833" y="579025"/>
                    <a:pt x="185547" y="592741"/>
                  </a:cubicBezTo>
                  <a:lnTo>
                    <a:pt x="184309" y="596741"/>
                  </a:lnTo>
                  <a:cubicBezTo>
                    <a:pt x="182309" y="603218"/>
                    <a:pt x="172403" y="600742"/>
                    <a:pt x="173355" y="600647"/>
                  </a:cubicBezTo>
                  <a:cubicBezTo>
                    <a:pt x="163449" y="599313"/>
                    <a:pt x="171926" y="613601"/>
                    <a:pt x="162020" y="616553"/>
                  </a:cubicBezTo>
                  <a:lnTo>
                    <a:pt x="148590" y="620554"/>
                  </a:lnTo>
                  <a:cubicBezTo>
                    <a:pt x="141922" y="622554"/>
                    <a:pt x="134398" y="615410"/>
                    <a:pt x="135350" y="615887"/>
                  </a:cubicBezTo>
                  <a:cubicBezTo>
                    <a:pt x="129064" y="611029"/>
                    <a:pt x="132397" y="623126"/>
                    <a:pt x="124778" y="623697"/>
                  </a:cubicBezTo>
                  <a:cubicBezTo>
                    <a:pt x="114776" y="624459"/>
                    <a:pt x="133350" y="634175"/>
                    <a:pt x="124206" y="638080"/>
                  </a:cubicBezTo>
                  <a:lnTo>
                    <a:pt x="118301" y="640652"/>
                  </a:lnTo>
                  <a:cubicBezTo>
                    <a:pt x="110966" y="643795"/>
                    <a:pt x="118110" y="648462"/>
                    <a:pt x="113538" y="653701"/>
                  </a:cubicBezTo>
                  <a:cubicBezTo>
                    <a:pt x="110395" y="657225"/>
                    <a:pt x="107156" y="650748"/>
                    <a:pt x="108013" y="651701"/>
                  </a:cubicBezTo>
                  <a:cubicBezTo>
                    <a:pt x="106775" y="649034"/>
                    <a:pt x="104204" y="648653"/>
                    <a:pt x="102299" y="650938"/>
                  </a:cubicBezTo>
                  <a:cubicBezTo>
                    <a:pt x="101822" y="651891"/>
                    <a:pt x="95631" y="656558"/>
                    <a:pt x="100489" y="661321"/>
                  </a:cubicBezTo>
                  <a:lnTo>
                    <a:pt x="105156" y="665988"/>
                  </a:lnTo>
                  <a:cubicBezTo>
                    <a:pt x="110204" y="671036"/>
                    <a:pt x="104870" y="677799"/>
                    <a:pt x="98679" y="674275"/>
                  </a:cubicBezTo>
                  <a:cubicBezTo>
                    <a:pt x="92488" y="671798"/>
                    <a:pt x="83534" y="662369"/>
                    <a:pt x="80201" y="669988"/>
                  </a:cubicBezTo>
                  <a:lnTo>
                    <a:pt x="79343" y="671989"/>
                  </a:lnTo>
                  <a:cubicBezTo>
                    <a:pt x="76391" y="678847"/>
                    <a:pt x="67913" y="670655"/>
                    <a:pt x="67056" y="677323"/>
                  </a:cubicBezTo>
                  <a:cubicBezTo>
                    <a:pt x="66199" y="684467"/>
                    <a:pt x="59436" y="674656"/>
                    <a:pt x="56769" y="681514"/>
                  </a:cubicBezTo>
                  <a:cubicBezTo>
                    <a:pt x="53435" y="689991"/>
                    <a:pt x="68580" y="698468"/>
                    <a:pt x="59150" y="698183"/>
                  </a:cubicBezTo>
                  <a:cubicBezTo>
                    <a:pt x="58198" y="698373"/>
                    <a:pt x="50959" y="696563"/>
                    <a:pt x="49435" y="703231"/>
                  </a:cubicBezTo>
                  <a:lnTo>
                    <a:pt x="48673" y="706565"/>
                  </a:lnTo>
                  <a:cubicBezTo>
                    <a:pt x="46292" y="716661"/>
                    <a:pt x="30671" y="709136"/>
                    <a:pt x="33623" y="718566"/>
                  </a:cubicBezTo>
                  <a:cubicBezTo>
                    <a:pt x="33623" y="719519"/>
                    <a:pt x="36100" y="724567"/>
                    <a:pt x="31147" y="727996"/>
                  </a:cubicBezTo>
                  <a:lnTo>
                    <a:pt x="30861" y="728186"/>
                  </a:lnTo>
                  <a:cubicBezTo>
                    <a:pt x="26194" y="731425"/>
                    <a:pt x="32099" y="735616"/>
                    <a:pt x="31433" y="734663"/>
                  </a:cubicBezTo>
                  <a:cubicBezTo>
                    <a:pt x="36195" y="737807"/>
                    <a:pt x="31052" y="742855"/>
                    <a:pt x="31433" y="741902"/>
                  </a:cubicBezTo>
                  <a:cubicBezTo>
                    <a:pt x="25813" y="747236"/>
                    <a:pt x="31813" y="761048"/>
                    <a:pt x="39243" y="759809"/>
                  </a:cubicBezTo>
                  <a:lnTo>
                    <a:pt x="40862" y="759524"/>
                  </a:lnTo>
                  <a:cubicBezTo>
                    <a:pt x="48863" y="758190"/>
                    <a:pt x="51911" y="775621"/>
                    <a:pt x="45339" y="779050"/>
                  </a:cubicBezTo>
                  <a:lnTo>
                    <a:pt x="44958" y="779240"/>
                  </a:lnTo>
                  <a:cubicBezTo>
                    <a:pt x="28480" y="787813"/>
                    <a:pt x="64103" y="822674"/>
                    <a:pt x="55626" y="829532"/>
                  </a:cubicBezTo>
                  <a:cubicBezTo>
                    <a:pt x="52483" y="832104"/>
                    <a:pt x="55626" y="837629"/>
                    <a:pt x="55436" y="836676"/>
                  </a:cubicBezTo>
                  <a:cubicBezTo>
                    <a:pt x="65056" y="851440"/>
                    <a:pt x="35528" y="862584"/>
                    <a:pt x="46672" y="866966"/>
                  </a:cubicBezTo>
                  <a:cubicBezTo>
                    <a:pt x="53150" y="869537"/>
                    <a:pt x="51340" y="878300"/>
                    <a:pt x="44672" y="879062"/>
                  </a:cubicBezTo>
                  <a:cubicBezTo>
                    <a:pt x="39338" y="879729"/>
                    <a:pt x="41815" y="886587"/>
                    <a:pt x="41910" y="885635"/>
                  </a:cubicBezTo>
                  <a:cubicBezTo>
                    <a:pt x="44005" y="891540"/>
                    <a:pt x="36671" y="895826"/>
                    <a:pt x="37529" y="894874"/>
                  </a:cubicBezTo>
                  <a:cubicBezTo>
                    <a:pt x="28956" y="900589"/>
                    <a:pt x="48578" y="901446"/>
                    <a:pt x="42577" y="909828"/>
                  </a:cubicBezTo>
                  <a:lnTo>
                    <a:pt x="38100" y="916115"/>
                  </a:lnTo>
                  <a:cubicBezTo>
                    <a:pt x="34385" y="921353"/>
                    <a:pt x="37243" y="927830"/>
                    <a:pt x="37147" y="926878"/>
                  </a:cubicBezTo>
                  <a:cubicBezTo>
                    <a:pt x="38100" y="929640"/>
                    <a:pt x="41338" y="931736"/>
                    <a:pt x="44291" y="931450"/>
                  </a:cubicBezTo>
                  <a:lnTo>
                    <a:pt x="54959" y="930497"/>
                  </a:lnTo>
                  <a:cubicBezTo>
                    <a:pt x="62865" y="929735"/>
                    <a:pt x="58579" y="923449"/>
                    <a:pt x="66199" y="920496"/>
                  </a:cubicBezTo>
                  <a:lnTo>
                    <a:pt x="66485" y="920496"/>
                  </a:lnTo>
                  <a:cubicBezTo>
                    <a:pt x="75629" y="916877"/>
                    <a:pt x="65722" y="931545"/>
                    <a:pt x="70771" y="941546"/>
                  </a:cubicBezTo>
                  <a:lnTo>
                    <a:pt x="72962" y="945833"/>
                  </a:lnTo>
                  <a:cubicBezTo>
                    <a:pt x="76200" y="952119"/>
                    <a:pt x="84392" y="949833"/>
                    <a:pt x="81725" y="943261"/>
                  </a:cubicBezTo>
                  <a:cubicBezTo>
                    <a:pt x="81344" y="942118"/>
                    <a:pt x="77343" y="934974"/>
                    <a:pt x="79438" y="930783"/>
                  </a:cubicBezTo>
                  <a:cubicBezTo>
                    <a:pt x="81725" y="926211"/>
                    <a:pt x="91916" y="937736"/>
                    <a:pt x="90964" y="936974"/>
                  </a:cubicBezTo>
                  <a:cubicBezTo>
                    <a:pt x="95345" y="941070"/>
                    <a:pt x="92107" y="948119"/>
                    <a:pt x="92202" y="947166"/>
                  </a:cubicBezTo>
                  <a:cubicBezTo>
                    <a:pt x="89345" y="954215"/>
                    <a:pt x="97822" y="966788"/>
                    <a:pt x="101346" y="960025"/>
                  </a:cubicBezTo>
                  <a:cubicBezTo>
                    <a:pt x="106489" y="950119"/>
                    <a:pt x="108680" y="944213"/>
                    <a:pt x="113538" y="944213"/>
                  </a:cubicBezTo>
                  <a:cubicBezTo>
                    <a:pt x="123254" y="944213"/>
                    <a:pt x="99060" y="978122"/>
                    <a:pt x="104966" y="984123"/>
                  </a:cubicBezTo>
                  <a:cubicBezTo>
                    <a:pt x="107728" y="986885"/>
                    <a:pt x="114681" y="978694"/>
                    <a:pt x="113729" y="979456"/>
                  </a:cubicBezTo>
                  <a:cubicBezTo>
                    <a:pt x="117538" y="975455"/>
                    <a:pt x="124206" y="974408"/>
                    <a:pt x="123254" y="974788"/>
                  </a:cubicBezTo>
                  <a:cubicBezTo>
                    <a:pt x="131350" y="973646"/>
                    <a:pt x="129159" y="965645"/>
                    <a:pt x="137160" y="965835"/>
                  </a:cubicBezTo>
                  <a:lnTo>
                    <a:pt x="137446" y="965835"/>
                  </a:lnTo>
                  <a:cubicBezTo>
                    <a:pt x="143351" y="966026"/>
                    <a:pt x="142685" y="973550"/>
                    <a:pt x="142399" y="972598"/>
                  </a:cubicBezTo>
                  <a:cubicBezTo>
                    <a:pt x="142208" y="975551"/>
                    <a:pt x="140494" y="979646"/>
                    <a:pt x="138684" y="981742"/>
                  </a:cubicBezTo>
                  <a:cubicBezTo>
                    <a:pt x="134303" y="986600"/>
                    <a:pt x="139446" y="994505"/>
                    <a:pt x="146590" y="993458"/>
                  </a:cubicBezTo>
                  <a:cubicBezTo>
                    <a:pt x="185357" y="987647"/>
                    <a:pt x="187833" y="988219"/>
                    <a:pt x="192596" y="983171"/>
                  </a:cubicBezTo>
                  <a:cubicBezTo>
                    <a:pt x="193548" y="982313"/>
                    <a:pt x="197929" y="976027"/>
                    <a:pt x="204883" y="974217"/>
                  </a:cubicBezTo>
                  <a:lnTo>
                    <a:pt x="220218" y="970217"/>
                  </a:lnTo>
                  <a:cubicBezTo>
                    <a:pt x="226409" y="968597"/>
                    <a:pt x="226028" y="977932"/>
                    <a:pt x="225647" y="976979"/>
                  </a:cubicBezTo>
                  <a:cubicBezTo>
                    <a:pt x="225933" y="986028"/>
                    <a:pt x="245554" y="971360"/>
                    <a:pt x="247460" y="964883"/>
                  </a:cubicBezTo>
                  <a:cubicBezTo>
                    <a:pt x="248221" y="962311"/>
                    <a:pt x="251270" y="960596"/>
                    <a:pt x="254127" y="961073"/>
                  </a:cubicBezTo>
                  <a:lnTo>
                    <a:pt x="265367" y="963073"/>
                  </a:lnTo>
                  <a:cubicBezTo>
                    <a:pt x="271272" y="964121"/>
                    <a:pt x="274987" y="957072"/>
                    <a:pt x="274034" y="958025"/>
                  </a:cubicBezTo>
                  <a:cubicBezTo>
                    <a:pt x="277463" y="951833"/>
                    <a:pt x="288131" y="954596"/>
                    <a:pt x="287179" y="954596"/>
                  </a:cubicBezTo>
                  <a:cubicBezTo>
                    <a:pt x="292989" y="955358"/>
                    <a:pt x="299180" y="959263"/>
                    <a:pt x="298228" y="958787"/>
                  </a:cubicBezTo>
                  <a:cubicBezTo>
                    <a:pt x="306610" y="963930"/>
                    <a:pt x="302228" y="941261"/>
                    <a:pt x="307753" y="949928"/>
                  </a:cubicBezTo>
                  <a:cubicBezTo>
                    <a:pt x="308991" y="951167"/>
                    <a:pt x="312230" y="960596"/>
                    <a:pt x="318707" y="957072"/>
                  </a:cubicBezTo>
                  <a:cubicBezTo>
                    <a:pt x="320707" y="955358"/>
                    <a:pt x="331565" y="952500"/>
                    <a:pt x="327088" y="946213"/>
                  </a:cubicBezTo>
                  <a:cubicBezTo>
                    <a:pt x="326708" y="945261"/>
                    <a:pt x="322136" y="940784"/>
                    <a:pt x="326136" y="937260"/>
                  </a:cubicBezTo>
                  <a:cubicBezTo>
                    <a:pt x="333375" y="930878"/>
                    <a:pt x="351758" y="957834"/>
                    <a:pt x="351758" y="939165"/>
                  </a:cubicBezTo>
                  <a:cubicBezTo>
                    <a:pt x="352044" y="938213"/>
                    <a:pt x="351187" y="931450"/>
                    <a:pt x="355949" y="935260"/>
                  </a:cubicBezTo>
                  <a:cubicBezTo>
                    <a:pt x="356902" y="935736"/>
                    <a:pt x="360426" y="939451"/>
                    <a:pt x="366141" y="937927"/>
                  </a:cubicBezTo>
                  <a:cubicBezTo>
                    <a:pt x="367094" y="937832"/>
                    <a:pt x="372809" y="935260"/>
                    <a:pt x="379095" y="937736"/>
                  </a:cubicBezTo>
                  <a:cubicBezTo>
                    <a:pt x="380047" y="937832"/>
                    <a:pt x="388239" y="942880"/>
                    <a:pt x="388620" y="935927"/>
                  </a:cubicBezTo>
                  <a:cubicBezTo>
                    <a:pt x="388906" y="934974"/>
                    <a:pt x="387668" y="926783"/>
                    <a:pt x="394430" y="927735"/>
                  </a:cubicBezTo>
                  <a:cubicBezTo>
                    <a:pt x="419767" y="931259"/>
                    <a:pt x="425958" y="933736"/>
                    <a:pt x="427577" y="927354"/>
                  </a:cubicBezTo>
                  <a:cubicBezTo>
                    <a:pt x="429006" y="921449"/>
                    <a:pt x="436245" y="928497"/>
                    <a:pt x="435293" y="928021"/>
                  </a:cubicBezTo>
                  <a:cubicBezTo>
                    <a:pt x="436912" y="929354"/>
                    <a:pt x="438626" y="930021"/>
                    <a:pt x="440531" y="930402"/>
                  </a:cubicBezTo>
                  <a:lnTo>
                    <a:pt x="534734" y="852297"/>
                  </a:lnTo>
                  <a:lnTo>
                    <a:pt x="637127" y="758190"/>
                  </a:lnTo>
                  <a:close/>
                  <a:moveTo>
                    <a:pt x="519589" y="660940"/>
                  </a:moveTo>
                  <a:cubicBezTo>
                    <a:pt x="557403" y="676085"/>
                    <a:pt x="562070" y="676085"/>
                    <a:pt x="562451" y="683419"/>
                  </a:cubicBezTo>
                  <a:cubicBezTo>
                    <a:pt x="563499" y="704088"/>
                    <a:pt x="565309" y="712184"/>
                    <a:pt x="559022" y="708851"/>
                  </a:cubicBezTo>
                  <a:cubicBezTo>
                    <a:pt x="559022" y="708851"/>
                    <a:pt x="523780" y="691515"/>
                    <a:pt x="521875" y="684752"/>
                  </a:cubicBezTo>
                  <a:cubicBezTo>
                    <a:pt x="516731" y="666464"/>
                    <a:pt x="512921" y="658368"/>
                    <a:pt x="519589" y="661035"/>
                  </a:cubicBezTo>
                  <a:close/>
                  <a:moveTo>
                    <a:pt x="386620" y="117062"/>
                  </a:moveTo>
                  <a:cubicBezTo>
                    <a:pt x="457867" y="85916"/>
                    <a:pt x="457295" y="84106"/>
                    <a:pt x="459486" y="91059"/>
                  </a:cubicBezTo>
                  <a:cubicBezTo>
                    <a:pt x="460153" y="95060"/>
                    <a:pt x="465582" y="103251"/>
                    <a:pt x="459867" y="108680"/>
                  </a:cubicBezTo>
                  <a:cubicBezTo>
                    <a:pt x="429863" y="136779"/>
                    <a:pt x="429292" y="138875"/>
                    <a:pt x="423101" y="136303"/>
                  </a:cubicBezTo>
                  <a:cubicBezTo>
                    <a:pt x="423101" y="136303"/>
                    <a:pt x="379762" y="120110"/>
                    <a:pt x="386620" y="117158"/>
                  </a:cubicBezTo>
                  <a:close/>
                  <a:moveTo>
                    <a:pt x="473012" y="870585"/>
                  </a:moveTo>
                  <a:cubicBezTo>
                    <a:pt x="455105" y="875348"/>
                    <a:pt x="448723" y="878300"/>
                    <a:pt x="442151" y="875252"/>
                  </a:cubicBezTo>
                  <a:cubicBezTo>
                    <a:pt x="380524" y="846487"/>
                    <a:pt x="423386" y="863822"/>
                    <a:pt x="425196" y="847344"/>
                  </a:cubicBezTo>
                  <a:cubicBezTo>
                    <a:pt x="426339" y="842963"/>
                    <a:pt x="424815" y="829628"/>
                    <a:pt x="431292" y="834485"/>
                  </a:cubicBezTo>
                  <a:cubicBezTo>
                    <a:pt x="472345" y="864870"/>
                    <a:pt x="480441" y="868680"/>
                    <a:pt x="473012" y="870585"/>
                  </a:cubicBezTo>
                  <a:close/>
                  <a:moveTo>
                    <a:pt x="506159" y="838867"/>
                  </a:moveTo>
                  <a:cubicBezTo>
                    <a:pt x="484918" y="835533"/>
                    <a:pt x="479679" y="836200"/>
                    <a:pt x="478727" y="829247"/>
                  </a:cubicBezTo>
                  <a:cubicBezTo>
                    <a:pt x="478822" y="825722"/>
                    <a:pt x="474536" y="814673"/>
                    <a:pt x="482251" y="815054"/>
                  </a:cubicBezTo>
                  <a:cubicBezTo>
                    <a:pt x="505016" y="816293"/>
                    <a:pt x="511112" y="817817"/>
                    <a:pt x="516827" y="813626"/>
                  </a:cubicBezTo>
                  <a:cubicBezTo>
                    <a:pt x="536448" y="799338"/>
                    <a:pt x="541496" y="793813"/>
                    <a:pt x="543306" y="800672"/>
                  </a:cubicBezTo>
                  <a:cubicBezTo>
                    <a:pt x="543306" y="801910"/>
                    <a:pt x="547307" y="809625"/>
                    <a:pt x="541877" y="814197"/>
                  </a:cubicBezTo>
                  <a:cubicBezTo>
                    <a:pt x="514826" y="836771"/>
                    <a:pt x="513017" y="839915"/>
                    <a:pt x="506159" y="838867"/>
                  </a:cubicBezTo>
                  <a:close/>
                </a:path>
              </a:pathLst>
            </a:custGeom>
            <a:solidFill>
              <a:schemeClr val="bg1">
                <a:lumMod val="95000"/>
              </a:schemeClr>
            </a:solidFill>
            <a:ln w="9525" cap="flat">
              <a:noFill/>
              <a:prstDash val="solid"/>
              <a:miter/>
            </a:ln>
          </p:spPr>
          <p:txBody>
            <a:bodyPr rtlCol="0" anchor="ctr"/>
            <a:lstStyle/>
            <a:p>
              <a:endParaRPr lang="en-IN"/>
            </a:p>
          </p:txBody>
        </p:sp>
      </p:grpSp>
      <p:grpSp>
        <p:nvGrpSpPr>
          <p:cNvPr id="413" name="Graphic 166">
            <a:extLst>
              <a:ext uri="{FF2B5EF4-FFF2-40B4-BE49-F238E27FC236}">
                <a16:creationId xmlns:a16="http://schemas.microsoft.com/office/drawing/2014/main" id="{A775CDE0-07D2-ED43-DCF2-621C839834FB}"/>
              </a:ext>
            </a:extLst>
          </p:cNvPr>
          <p:cNvGrpSpPr/>
          <p:nvPr/>
        </p:nvGrpSpPr>
        <p:grpSpPr>
          <a:xfrm>
            <a:off x="6907510" y="1275178"/>
            <a:ext cx="368413" cy="199508"/>
            <a:chOff x="6328883" y="1726389"/>
            <a:chExt cx="368413" cy="199508"/>
          </a:xfrm>
          <a:solidFill>
            <a:schemeClr val="bg1">
              <a:lumMod val="85000"/>
            </a:schemeClr>
          </a:solidFill>
        </p:grpSpPr>
        <p:sp>
          <p:nvSpPr>
            <p:cNvPr id="414" name="Freeform: Shape 413">
              <a:extLst>
                <a:ext uri="{FF2B5EF4-FFF2-40B4-BE49-F238E27FC236}">
                  <a16:creationId xmlns:a16="http://schemas.microsoft.com/office/drawing/2014/main" id="{5642952A-591A-C48C-163C-97FD3602244A}"/>
                </a:ext>
              </a:extLst>
            </p:cNvPr>
            <p:cNvSpPr/>
            <p:nvPr/>
          </p:nvSpPr>
          <p:spPr>
            <a:xfrm>
              <a:off x="6404458" y="1816204"/>
              <a:ext cx="16046" cy="14611"/>
            </a:xfrm>
            <a:custGeom>
              <a:avLst/>
              <a:gdLst>
                <a:gd name="connsiteX0" fmla="*/ 16042 w 16046"/>
                <a:gd name="connsiteY0" fmla="*/ 10634 h 14611"/>
                <a:gd name="connsiteX1" fmla="*/ 10327 w 16046"/>
                <a:gd name="connsiteY1" fmla="*/ 1204 h 14611"/>
                <a:gd name="connsiteX2" fmla="*/ 2136 w 16046"/>
                <a:gd name="connsiteY2" fmla="*/ 8443 h 14611"/>
                <a:gd name="connsiteX3" fmla="*/ 15947 w 16046"/>
                <a:gd name="connsiteY3" fmla="*/ 11396 h 14611"/>
                <a:gd name="connsiteX4" fmla="*/ 15947 w 16046"/>
                <a:gd name="connsiteY4" fmla="*/ 10634 h 14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6" h="14611">
                  <a:moveTo>
                    <a:pt x="16042" y="10634"/>
                  </a:moveTo>
                  <a:cubicBezTo>
                    <a:pt x="16233" y="4538"/>
                    <a:pt x="9470" y="252"/>
                    <a:pt x="10327" y="1204"/>
                  </a:cubicBezTo>
                  <a:cubicBezTo>
                    <a:pt x="4327" y="-2987"/>
                    <a:pt x="-3960" y="4824"/>
                    <a:pt x="2136" y="8443"/>
                  </a:cubicBezTo>
                  <a:cubicBezTo>
                    <a:pt x="6137" y="10158"/>
                    <a:pt x="15662" y="19397"/>
                    <a:pt x="15947" y="11396"/>
                  </a:cubicBezTo>
                  <a:lnTo>
                    <a:pt x="15947" y="10634"/>
                  </a:lnTo>
                  <a:close/>
                </a:path>
              </a:pathLst>
            </a:custGeom>
            <a:grpFill/>
            <a:ln w="9525" cap="flat">
              <a:noFill/>
              <a:prstDash val="solid"/>
              <a:miter/>
            </a:ln>
          </p:spPr>
          <p:txBody>
            <a:bodyPr rtlCol="0" anchor="ctr"/>
            <a:lstStyle/>
            <a:p>
              <a:endParaRPr lang="en-IN"/>
            </a:p>
          </p:txBody>
        </p:sp>
        <p:sp>
          <p:nvSpPr>
            <p:cNvPr id="415" name="Freeform: Shape 414">
              <a:extLst>
                <a:ext uri="{FF2B5EF4-FFF2-40B4-BE49-F238E27FC236}">
                  <a16:creationId xmlns:a16="http://schemas.microsoft.com/office/drawing/2014/main" id="{C760D477-BC0D-CAA8-1346-22301D7D4D6D}"/>
                </a:ext>
              </a:extLst>
            </p:cNvPr>
            <p:cNvSpPr/>
            <p:nvPr/>
          </p:nvSpPr>
          <p:spPr>
            <a:xfrm>
              <a:off x="6328883" y="1820681"/>
              <a:ext cx="82823" cy="65404"/>
            </a:xfrm>
            <a:custGeom>
              <a:avLst/>
              <a:gdLst>
                <a:gd name="connsiteX0" fmla="*/ 2177 w 82823"/>
                <a:gd name="connsiteY0" fmla="*/ 17396 h 65404"/>
                <a:gd name="connsiteX1" fmla="*/ 3035 w 82823"/>
                <a:gd name="connsiteY1" fmla="*/ 27493 h 65404"/>
                <a:gd name="connsiteX2" fmla="*/ 1701 w 82823"/>
                <a:gd name="connsiteY2" fmla="*/ 28731 h 65404"/>
                <a:gd name="connsiteX3" fmla="*/ 13227 w 82823"/>
                <a:gd name="connsiteY3" fmla="*/ 48543 h 65404"/>
                <a:gd name="connsiteX4" fmla="*/ 9988 w 82823"/>
                <a:gd name="connsiteY4" fmla="*/ 63878 h 65404"/>
                <a:gd name="connsiteX5" fmla="*/ 12655 w 82823"/>
                <a:gd name="connsiteY5" fmla="*/ 64926 h 65404"/>
                <a:gd name="connsiteX6" fmla="*/ 32562 w 82823"/>
                <a:gd name="connsiteY6" fmla="*/ 37494 h 65404"/>
                <a:gd name="connsiteX7" fmla="*/ 54755 w 82823"/>
                <a:gd name="connsiteY7" fmla="*/ 32541 h 65404"/>
                <a:gd name="connsiteX8" fmla="*/ 77425 w 82823"/>
                <a:gd name="connsiteY8" fmla="*/ 18158 h 65404"/>
                <a:gd name="connsiteX9" fmla="*/ 81044 w 82823"/>
                <a:gd name="connsiteY9" fmla="*/ 15110 h 65404"/>
                <a:gd name="connsiteX10" fmla="*/ 65804 w 82823"/>
                <a:gd name="connsiteY10" fmla="*/ 4823 h 65404"/>
                <a:gd name="connsiteX11" fmla="*/ 53041 w 82823"/>
                <a:gd name="connsiteY11" fmla="*/ 5776 h 65404"/>
                <a:gd name="connsiteX12" fmla="*/ 45135 w 82823"/>
                <a:gd name="connsiteY12" fmla="*/ 3204 h 65404"/>
                <a:gd name="connsiteX13" fmla="*/ 31610 w 82823"/>
                <a:gd name="connsiteY13" fmla="*/ 1585 h 65404"/>
                <a:gd name="connsiteX14" fmla="*/ 22561 w 82823"/>
                <a:gd name="connsiteY14" fmla="*/ 14253 h 65404"/>
                <a:gd name="connsiteX15" fmla="*/ 21037 w 82823"/>
                <a:gd name="connsiteY15" fmla="*/ 14920 h 65404"/>
                <a:gd name="connsiteX16" fmla="*/ 12464 w 82823"/>
                <a:gd name="connsiteY16" fmla="*/ 13014 h 65404"/>
                <a:gd name="connsiteX17" fmla="*/ 2177 w 82823"/>
                <a:gd name="connsiteY17" fmla="*/ 17396 h 6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823" h="65404">
                  <a:moveTo>
                    <a:pt x="2177" y="17396"/>
                  </a:moveTo>
                  <a:cubicBezTo>
                    <a:pt x="2558" y="18348"/>
                    <a:pt x="7797" y="22920"/>
                    <a:pt x="3035" y="27493"/>
                  </a:cubicBezTo>
                  <a:lnTo>
                    <a:pt x="1701" y="28731"/>
                  </a:lnTo>
                  <a:cubicBezTo>
                    <a:pt x="-6776" y="36922"/>
                    <a:pt x="19513" y="38541"/>
                    <a:pt x="13227" y="48543"/>
                  </a:cubicBezTo>
                  <a:cubicBezTo>
                    <a:pt x="11512" y="52543"/>
                    <a:pt x="2558" y="60830"/>
                    <a:pt x="9988" y="63878"/>
                  </a:cubicBezTo>
                  <a:lnTo>
                    <a:pt x="12655" y="64926"/>
                  </a:lnTo>
                  <a:cubicBezTo>
                    <a:pt x="24085" y="69593"/>
                    <a:pt x="19989" y="38637"/>
                    <a:pt x="32562" y="37494"/>
                  </a:cubicBezTo>
                  <a:cubicBezTo>
                    <a:pt x="42278" y="36637"/>
                    <a:pt x="49326" y="37018"/>
                    <a:pt x="54755" y="32541"/>
                  </a:cubicBezTo>
                  <a:cubicBezTo>
                    <a:pt x="65709" y="23397"/>
                    <a:pt x="70281" y="18158"/>
                    <a:pt x="77425" y="18158"/>
                  </a:cubicBezTo>
                  <a:cubicBezTo>
                    <a:pt x="78377" y="17968"/>
                    <a:pt x="86283" y="18634"/>
                    <a:pt x="81044" y="15110"/>
                  </a:cubicBezTo>
                  <a:lnTo>
                    <a:pt x="65804" y="4823"/>
                  </a:lnTo>
                  <a:cubicBezTo>
                    <a:pt x="60280" y="1108"/>
                    <a:pt x="52088" y="6061"/>
                    <a:pt x="53041" y="5776"/>
                  </a:cubicBezTo>
                  <a:cubicBezTo>
                    <a:pt x="48088" y="8157"/>
                    <a:pt x="44183" y="2442"/>
                    <a:pt x="45135" y="3204"/>
                  </a:cubicBezTo>
                  <a:cubicBezTo>
                    <a:pt x="41325" y="-2892"/>
                    <a:pt x="30657" y="1585"/>
                    <a:pt x="31610" y="1585"/>
                  </a:cubicBezTo>
                  <a:cubicBezTo>
                    <a:pt x="23704" y="3775"/>
                    <a:pt x="30276" y="11014"/>
                    <a:pt x="22561" y="14253"/>
                  </a:cubicBezTo>
                  <a:lnTo>
                    <a:pt x="21037" y="14920"/>
                  </a:lnTo>
                  <a:cubicBezTo>
                    <a:pt x="18275" y="16062"/>
                    <a:pt x="14465" y="15205"/>
                    <a:pt x="12464" y="13014"/>
                  </a:cubicBezTo>
                  <a:cubicBezTo>
                    <a:pt x="7702" y="7776"/>
                    <a:pt x="-2014" y="11681"/>
                    <a:pt x="2177" y="17396"/>
                  </a:cubicBezTo>
                  <a:close/>
                </a:path>
              </a:pathLst>
            </a:custGeom>
            <a:grpFill/>
            <a:ln w="9525" cap="flat">
              <a:noFill/>
              <a:prstDash val="solid"/>
              <a:miter/>
            </a:ln>
          </p:spPr>
          <p:txBody>
            <a:bodyPr rtlCol="0" anchor="ctr"/>
            <a:lstStyle/>
            <a:p>
              <a:endParaRPr lang="en-IN"/>
            </a:p>
          </p:txBody>
        </p:sp>
        <p:sp>
          <p:nvSpPr>
            <p:cNvPr id="416" name="Freeform: Shape 415">
              <a:extLst>
                <a:ext uri="{FF2B5EF4-FFF2-40B4-BE49-F238E27FC236}">
                  <a16:creationId xmlns:a16="http://schemas.microsoft.com/office/drawing/2014/main" id="{4216A51A-1ED7-BB43-76AC-DE0A0DED22D8}"/>
                </a:ext>
              </a:extLst>
            </p:cNvPr>
            <p:cNvSpPr/>
            <p:nvPr/>
          </p:nvSpPr>
          <p:spPr>
            <a:xfrm>
              <a:off x="6346158" y="1777105"/>
              <a:ext cx="52996" cy="32949"/>
            </a:xfrm>
            <a:custGeom>
              <a:avLst/>
              <a:gdLst>
                <a:gd name="connsiteX0" fmla="*/ 19573 w 52996"/>
                <a:gd name="connsiteY0" fmla="*/ 28397 h 32949"/>
                <a:gd name="connsiteX1" fmla="*/ 35861 w 52996"/>
                <a:gd name="connsiteY1" fmla="*/ 27635 h 32949"/>
                <a:gd name="connsiteX2" fmla="*/ 51672 w 52996"/>
                <a:gd name="connsiteY2" fmla="*/ 18300 h 32949"/>
                <a:gd name="connsiteX3" fmla="*/ 47767 w 52996"/>
                <a:gd name="connsiteY3" fmla="*/ 13538 h 32949"/>
                <a:gd name="connsiteX4" fmla="*/ 31003 w 52996"/>
                <a:gd name="connsiteY4" fmla="*/ 3536 h 32949"/>
                <a:gd name="connsiteX5" fmla="*/ 29860 w 52996"/>
                <a:gd name="connsiteY5" fmla="*/ 2013 h 32949"/>
                <a:gd name="connsiteX6" fmla="*/ 11287 w 52996"/>
                <a:gd name="connsiteY6" fmla="*/ 12585 h 32949"/>
                <a:gd name="connsiteX7" fmla="*/ 2238 w 52996"/>
                <a:gd name="connsiteY7" fmla="*/ 17729 h 32949"/>
                <a:gd name="connsiteX8" fmla="*/ 19478 w 52996"/>
                <a:gd name="connsiteY8" fmla="*/ 28016 h 32949"/>
                <a:gd name="connsiteX9" fmla="*/ 19478 w 52996"/>
                <a:gd name="connsiteY9" fmla="*/ 28301 h 3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996" h="32949">
                  <a:moveTo>
                    <a:pt x="19573" y="28397"/>
                  </a:moveTo>
                  <a:cubicBezTo>
                    <a:pt x="21383" y="35350"/>
                    <a:pt x="32718" y="33731"/>
                    <a:pt x="35861" y="27635"/>
                  </a:cubicBezTo>
                  <a:cubicBezTo>
                    <a:pt x="40052" y="19157"/>
                    <a:pt x="57959" y="25920"/>
                    <a:pt x="51672" y="18300"/>
                  </a:cubicBezTo>
                  <a:lnTo>
                    <a:pt x="47767" y="13538"/>
                  </a:lnTo>
                  <a:cubicBezTo>
                    <a:pt x="42433" y="7061"/>
                    <a:pt x="36242" y="10109"/>
                    <a:pt x="31003" y="3536"/>
                  </a:cubicBezTo>
                  <a:lnTo>
                    <a:pt x="29860" y="2013"/>
                  </a:lnTo>
                  <a:cubicBezTo>
                    <a:pt x="23860" y="-5417"/>
                    <a:pt x="22050" y="9918"/>
                    <a:pt x="11287" y="12585"/>
                  </a:cubicBezTo>
                  <a:cubicBezTo>
                    <a:pt x="8334" y="13633"/>
                    <a:pt x="-5287" y="15348"/>
                    <a:pt x="2238" y="17729"/>
                  </a:cubicBezTo>
                  <a:cubicBezTo>
                    <a:pt x="7667" y="20205"/>
                    <a:pt x="17478" y="20205"/>
                    <a:pt x="19478" y="28016"/>
                  </a:cubicBezTo>
                  <a:lnTo>
                    <a:pt x="19478" y="28301"/>
                  </a:lnTo>
                  <a:close/>
                </a:path>
              </a:pathLst>
            </a:custGeom>
            <a:grpFill/>
            <a:ln w="9525" cap="flat">
              <a:noFill/>
              <a:prstDash val="solid"/>
              <a:miter/>
            </a:ln>
          </p:spPr>
          <p:txBody>
            <a:bodyPr rtlCol="0" anchor="ctr"/>
            <a:lstStyle/>
            <a:p>
              <a:endParaRPr lang="en-IN"/>
            </a:p>
          </p:txBody>
        </p:sp>
        <p:sp>
          <p:nvSpPr>
            <p:cNvPr id="417" name="Freeform: Shape 416">
              <a:extLst>
                <a:ext uri="{FF2B5EF4-FFF2-40B4-BE49-F238E27FC236}">
                  <a16:creationId xmlns:a16="http://schemas.microsoft.com/office/drawing/2014/main" id="{D94643D3-F063-5EEB-0CCD-3B6806333A4F}"/>
                </a:ext>
              </a:extLst>
            </p:cNvPr>
            <p:cNvSpPr/>
            <p:nvPr/>
          </p:nvSpPr>
          <p:spPr>
            <a:xfrm>
              <a:off x="6407601" y="1726389"/>
              <a:ext cx="289695" cy="199508"/>
            </a:xfrm>
            <a:custGeom>
              <a:avLst/>
              <a:gdLst>
                <a:gd name="connsiteX0" fmla="*/ 264930 w 289695"/>
                <a:gd name="connsiteY0" fmla="*/ 139882 h 199508"/>
                <a:gd name="connsiteX1" fmla="*/ 259977 w 289695"/>
                <a:gd name="connsiteY1" fmla="*/ 129595 h 199508"/>
                <a:gd name="connsiteX2" fmla="*/ 235974 w 289695"/>
                <a:gd name="connsiteY2" fmla="*/ 92067 h 199508"/>
                <a:gd name="connsiteX3" fmla="*/ 222830 w 289695"/>
                <a:gd name="connsiteY3" fmla="*/ 82542 h 199508"/>
                <a:gd name="connsiteX4" fmla="*/ 234165 w 289695"/>
                <a:gd name="connsiteY4" fmla="*/ 67111 h 199508"/>
                <a:gd name="connsiteX5" fmla="*/ 272265 w 289695"/>
                <a:gd name="connsiteY5" fmla="*/ 67683 h 199508"/>
                <a:gd name="connsiteX6" fmla="*/ 289695 w 289695"/>
                <a:gd name="connsiteY6" fmla="*/ 22820 h 199508"/>
                <a:gd name="connsiteX7" fmla="*/ 287600 w 289695"/>
                <a:gd name="connsiteY7" fmla="*/ 21867 h 199508"/>
                <a:gd name="connsiteX8" fmla="*/ 284266 w 289695"/>
                <a:gd name="connsiteY8" fmla="*/ 22725 h 199508"/>
                <a:gd name="connsiteX9" fmla="*/ 225116 w 289695"/>
                <a:gd name="connsiteY9" fmla="*/ 18724 h 199508"/>
                <a:gd name="connsiteX10" fmla="*/ 212829 w 289695"/>
                <a:gd name="connsiteY10" fmla="*/ 11009 h 199508"/>
                <a:gd name="connsiteX11" fmla="*/ 195779 w 289695"/>
                <a:gd name="connsiteY11" fmla="*/ 11485 h 199508"/>
                <a:gd name="connsiteX12" fmla="*/ 168918 w 289695"/>
                <a:gd name="connsiteY12" fmla="*/ 4341 h 199508"/>
                <a:gd name="connsiteX13" fmla="*/ 157012 w 289695"/>
                <a:gd name="connsiteY13" fmla="*/ 4913 h 199508"/>
                <a:gd name="connsiteX14" fmla="*/ 154631 w 289695"/>
                <a:gd name="connsiteY14" fmla="*/ 2722 h 199508"/>
                <a:gd name="connsiteX15" fmla="*/ 143677 w 289695"/>
                <a:gd name="connsiteY15" fmla="*/ 436 h 199508"/>
                <a:gd name="connsiteX16" fmla="*/ 140153 w 289695"/>
                <a:gd name="connsiteY16" fmla="*/ 8532 h 199508"/>
                <a:gd name="connsiteX17" fmla="*/ 136152 w 289695"/>
                <a:gd name="connsiteY17" fmla="*/ 13676 h 199508"/>
                <a:gd name="connsiteX18" fmla="*/ 117198 w 289695"/>
                <a:gd name="connsiteY18" fmla="*/ 13390 h 199508"/>
                <a:gd name="connsiteX19" fmla="*/ 101862 w 289695"/>
                <a:gd name="connsiteY19" fmla="*/ 7675 h 199508"/>
                <a:gd name="connsiteX20" fmla="*/ 98148 w 289695"/>
                <a:gd name="connsiteY20" fmla="*/ 13105 h 199508"/>
                <a:gd name="connsiteX21" fmla="*/ 93385 w 289695"/>
                <a:gd name="connsiteY21" fmla="*/ 17772 h 199508"/>
                <a:gd name="connsiteX22" fmla="*/ 76335 w 289695"/>
                <a:gd name="connsiteY22" fmla="*/ 15581 h 199508"/>
                <a:gd name="connsiteX23" fmla="*/ 67191 w 289695"/>
                <a:gd name="connsiteY23" fmla="*/ 21677 h 199508"/>
                <a:gd name="connsiteX24" fmla="*/ 55857 w 289695"/>
                <a:gd name="connsiteY24" fmla="*/ 23868 h 199508"/>
                <a:gd name="connsiteX25" fmla="*/ 52618 w 289695"/>
                <a:gd name="connsiteY25" fmla="*/ 28344 h 199508"/>
                <a:gd name="connsiteX26" fmla="*/ 21185 w 289695"/>
                <a:gd name="connsiteY26" fmla="*/ 42727 h 199508"/>
                <a:gd name="connsiteX27" fmla="*/ 13184 w 289695"/>
                <a:gd name="connsiteY27" fmla="*/ 53776 h 199508"/>
                <a:gd name="connsiteX28" fmla="*/ 4422 w 289695"/>
                <a:gd name="connsiteY28" fmla="*/ 55015 h 199508"/>
                <a:gd name="connsiteX29" fmla="*/ 6422 w 289695"/>
                <a:gd name="connsiteY29" fmla="*/ 62730 h 199508"/>
                <a:gd name="connsiteX30" fmla="*/ 18709 w 289695"/>
                <a:gd name="connsiteY30" fmla="*/ 73398 h 199508"/>
                <a:gd name="connsiteX31" fmla="*/ 37378 w 289695"/>
                <a:gd name="connsiteY31" fmla="*/ 81304 h 199508"/>
                <a:gd name="connsiteX32" fmla="*/ 26139 w 289695"/>
                <a:gd name="connsiteY32" fmla="*/ 87304 h 199508"/>
                <a:gd name="connsiteX33" fmla="*/ 23281 w 289695"/>
                <a:gd name="connsiteY33" fmla="*/ 93496 h 199508"/>
                <a:gd name="connsiteX34" fmla="*/ 40045 w 289695"/>
                <a:gd name="connsiteY34" fmla="*/ 120356 h 199508"/>
                <a:gd name="connsiteX35" fmla="*/ 66525 w 289695"/>
                <a:gd name="connsiteY35" fmla="*/ 118737 h 199508"/>
                <a:gd name="connsiteX36" fmla="*/ 72621 w 289695"/>
                <a:gd name="connsiteY36" fmla="*/ 114927 h 199508"/>
                <a:gd name="connsiteX37" fmla="*/ 82622 w 289695"/>
                <a:gd name="connsiteY37" fmla="*/ 116641 h 199508"/>
                <a:gd name="connsiteX38" fmla="*/ 83384 w 289695"/>
                <a:gd name="connsiteY38" fmla="*/ 127500 h 199508"/>
                <a:gd name="connsiteX39" fmla="*/ 77097 w 289695"/>
                <a:gd name="connsiteY39" fmla="*/ 153313 h 199508"/>
                <a:gd name="connsiteX40" fmla="*/ 71859 w 289695"/>
                <a:gd name="connsiteY40" fmla="*/ 164457 h 199508"/>
                <a:gd name="connsiteX41" fmla="*/ 124056 w 289695"/>
                <a:gd name="connsiteY41" fmla="*/ 147312 h 199508"/>
                <a:gd name="connsiteX42" fmla="*/ 197874 w 289695"/>
                <a:gd name="connsiteY42" fmla="*/ 194937 h 199508"/>
                <a:gd name="connsiteX43" fmla="*/ 222830 w 289695"/>
                <a:gd name="connsiteY43" fmla="*/ 183031 h 199508"/>
                <a:gd name="connsiteX44" fmla="*/ 252738 w 289695"/>
                <a:gd name="connsiteY44" fmla="*/ 199509 h 199508"/>
                <a:gd name="connsiteX45" fmla="*/ 286457 w 289695"/>
                <a:gd name="connsiteY45" fmla="*/ 165790 h 199508"/>
                <a:gd name="connsiteX46" fmla="*/ 264644 w 289695"/>
                <a:gd name="connsiteY46" fmla="*/ 139787 h 199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89695" h="199508">
                  <a:moveTo>
                    <a:pt x="264930" y="139882"/>
                  </a:moveTo>
                  <a:lnTo>
                    <a:pt x="259977" y="129595"/>
                  </a:lnTo>
                  <a:lnTo>
                    <a:pt x="235974" y="92067"/>
                  </a:lnTo>
                  <a:lnTo>
                    <a:pt x="222830" y="82542"/>
                  </a:lnTo>
                  <a:lnTo>
                    <a:pt x="234165" y="67111"/>
                  </a:lnTo>
                  <a:lnTo>
                    <a:pt x="272265" y="67683"/>
                  </a:lnTo>
                  <a:lnTo>
                    <a:pt x="289695" y="22820"/>
                  </a:lnTo>
                  <a:lnTo>
                    <a:pt x="287600" y="21867"/>
                  </a:lnTo>
                  <a:cubicBezTo>
                    <a:pt x="286647" y="22344"/>
                    <a:pt x="285600" y="22725"/>
                    <a:pt x="284266" y="22725"/>
                  </a:cubicBezTo>
                  <a:cubicBezTo>
                    <a:pt x="241594" y="21867"/>
                    <a:pt x="232069" y="23106"/>
                    <a:pt x="225116" y="18724"/>
                  </a:cubicBezTo>
                  <a:lnTo>
                    <a:pt x="212829" y="11009"/>
                  </a:lnTo>
                  <a:cubicBezTo>
                    <a:pt x="205971" y="6723"/>
                    <a:pt x="203304" y="14819"/>
                    <a:pt x="195779" y="11485"/>
                  </a:cubicBezTo>
                  <a:cubicBezTo>
                    <a:pt x="179491" y="4246"/>
                    <a:pt x="174919" y="1103"/>
                    <a:pt x="168918" y="4341"/>
                  </a:cubicBezTo>
                  <a:cubicBezTo>
                    <a:pt x="167966" y="4627"/>
                    <a:pt x="161965" y="9485"/>
                    <a:pt x="157012" y="4913"/>
                  </a:cubicBezTo>
                  <a:lnTo>
                    <a:pt x="154631" y="2722"/>
                  </a:lnTo>
                  <a:cubicBezTo>
                    <a:pt x="150249" y="-1374"/>
                    <a:pt x="142725" y="341"/>
                    <a:pt x="143677" y="436"/>
                  </a:cubicBezTo>
                  <a:cubicBezTo>
                    <a:pt x="137581" y="1579"/>
                    <a:pt x="140153" y="9485"/>
                    <a:pt x="140153" y="8532"/>
                  </a:cubicBezTo>
                  <a:cubicBezTo>
                    <a:pt x="140915" y="11390"/>
                    <a:pt x="139105" y="13771"/>
                    <a:pt x="136152" y="13676"/>
                  </a:cubicBezTo>
                  <a:lnTo>
                    <a:pt x="117198" y="13390"/>
                  </a:lnTo>
                  <a:cubicBezTo>
                    <a:pt x="109673" y="13295"/>
                    <a:pt x="100910" y="7104"/>
                    <a:pt x="101862" y="7675"/>
                  </a:cubicBezTo>
                  <a:cubicBezTo>
                    <a:pt x="96147" y="4437"/>
                    <a:pt x="97957" y="14057"/>
                    <a:pt x="98148" y="13105"/>
                  </a:cubicBezTo>
                  <a:cubicBezTo>
                    <a:pt x="98529" y="16057"/>
                    <a:pt x="96338" y="18153"/>
                    <a:pt x="93385" y="17772"/>
                  </a:cubicBezTo>
                  <a:lnTo>
                    <a:pt x="76335" y="15581"/>
                  </a:lnTo>
                  <a:cubicBezTo>
                    <a:pt x="70049" y="14819"/>
                    <a:pt x="66334" y="22630"/>
                    <a:pt x="67191" y="21677"/>
                  </a:cubicBezTo>
                  <a:cubicBezTo>
                    <a:pt x="63953" y="27487"/>
                    <a:pt x="54904" y="23868"/>
                    <a:pt x="55857" y="23868"/>
                  </a:cubicBezTo>
                  <a:cubicBezTo>
                    <a:pt x="50332" y="22248"/>
                    <a:pt x="52523" y="29297"/>
                    <a:pt x="52618" y="28344"/>
                  </a:cubicBezTo>
                  <a:cubicBezTo>
                    <a:pt x="56428" y="40251"/>
                    <a:pt x="24329" y="30249"/>
                    <a:pt x="21185" y="42727"/>
                  </a:cubicBezTo>
                  <a:cubicBezTo>
                    <a:pt x="20519" y="44061"/>
                    <a:pt x="20328" y="52729"/>
                    <a:pt x="13184" y="53776"/>
                  </a:cubicBezTo>
                  <a:lnTo>
                    <a:pt x="4422" y="55015"/>
                  </a:lnTo>
                  <a:cubicBezTo>
                    <a:pt x="-2627" y="56062"/>
                    <a:pt x="-722" y="63492"/>
                    <a:pt x="6422" y="62730"/>
                  </a:cubicBezTo>
                  <a:cubicBezTo>
                    <a:pt x="41855" y="59015"/>
                    <a:pt x="15375" y="63397"/>
                    <a:pt x="18709" y="73398"/>
                  </a:cubicBezTo>
                  <a:cubicBezTo>
                    <a:pt x="21376" y="81304"/>
                    <a:pt x="36140" y="75112"/>
                    <a:pt x="37378" y="81304"/>
                  </a:cubicBezTo>
                  <a:cubicBezTo>
                    <a:pt x="38235" y="85399"/>
                    <a:pt x="25186" y="87685"/>
                    <a:pt x="26139" y="87304"/>
                  </a:cubicBezTo>
                  <a:cubicBezTo>
                    <a:pt x="23281" y="88066"/>
                    <a:pt x="21948" y="90829"/>
                    <a:pt x="23281" y="93496"/>
                  </a:cubicBezTo>
                  <a:cubicBezTo>
                    <a:pt x="31663" y="110640"/>
                    <a:pt x="33473" y="117117"/>
                    <a:pt x="40045" y="120356"/>
                  </a:cubicBezTo>
                  <a:cubicBezTo>
                    <a:pt x="42331" y="120737"/>
                    <a:pt x="63476" y="136549"/>
                    <a:pt x="66525" y="118737"/>
                  </a:cubicBezTo>
                  <a:cubicBezTo>
                    <a:pt x="66906" y="116165"/>
                    <a:pt x="69668" y="114355"/>
                    <a:pt x="72621" y="114927"/>
                  </a:cubicBezTo>
                  <a:lnTo>
                    <a:pt x="82622" y="116641"/>
                  </a:lnTo>
                  <a:cubicBezTo>
                    <a:pt x="89575" y="117880"/>
                    <a:pt x="88432" y="126452"/>
                    <a:pt x="83384" y="127500"/>
                  </a:cubicBezTo>
                  <a:cubicBezTo>
                    <a:pt x="76431" y="128929"/>
                    <a:pt x="82622" y="143025"/>
                    <a:pt x="77097" y="153313"/>
                  </a:cubicBezTo>
                  <a:cubicBezTo>
                    <a:pt x="76145" y="155408"/>
                    <a:pt x="73192" y="159504"/>
                    <a:pt x="71859" y="164457"/>
                  </a:cubicBezTo>
                  <a:lnTo>
                    <a:pt x="124056" y="147312"/>
                  </a:lnTo>
                  <a:lnTo>
                    <a:pt x="197874" y="194937"/>
                  </a:lnTo>
                  <a:lnTo>
                    <a:pt x="222830" y="183031"/>
                  </a:lnTo>
                  <a:lnTo>
                    <a:pt x="252738" y="199509"/>
                  </a:lnTo>
                  <a:lnTo>
                    <a:pt x="286457" y="165790"/>
                  </a:lnTo>
                  <a:lnTo>
                    <a:pt x="264644" y="139787"/>
                  </a:lnTo>
                  <a:close/>
                </a:path>
              </a:pathLst>
            </a:custGeom>
            <a:solidFill>
              <a:schemeClr val="bg1">
                <a:lumMod val="95000"/>
              </a:schemeClr>
            </a:solidFill>
            <a:ln w="9525" cap="flat">
              <a:noFill/>
              <a:prstDash val="solid"/>
              <a:miter/>
            </a:ln>
          </p:spPr>
          <p:txBody>
            <a:bodyPr rtlCol="0" anchor="ctr"/>
            <a:lstStyle/>
            <a:p>
              <a:endParaRPr lang="en-IN"/>
            </a:p>
          </p:txBody>
        </p:sp>
      </p:grpSp>
      <p:grpSp>
        <p:nvGrpSpPr>
          <p:cNvPr id="418" name="Graphic 166">
            <a:extLst>
              <a:ext uri="{FF2B5EF4-FFF2-40B4-BE49-F238E27FC236}">
                <a16:creationId xmlns:a16="http://schemas.microsoft.com/office/drawing/2014/main" id="{4AB4001B-73CF-2F04-8154-D41AB777E07B}"/>
              </a:ext>
            </a:extLst>
          </p:cNvPr>
          <p:cNvGrpSpPr/>
          <p:nvPr/>
        </p:nvGrpSpPr>
        <p:grpSpPr>
          <a:xfrm>
            <a:off x="6081082" y="1447956"/>
            <a:ext cx="422777" cy="274665"/>
            <a:chOff x="5502455" y="1899167"/>
            <a:chExt cx="422777" cy="274665"/>
          </a:xfrm>
          <a:solidFill>
            <a:schemeClr val="bg1">
              <a:lumMod val="85000"/>
            </a:schemeClr>
          </a:solidFill>
        </p:grpSpPr>
        <p:sp>
          <p:nvSpPr>
            <p:cNvPr id="419" name="Freeform: Shape 418">
              <a:extLst>
                <a:ext uri="{FF2B5EF4-FFF2-40B4-BE49-F238E27FC236}">
                  <a16:creationId xmlns:a16="http://schemas.microsoft.com/office/drawing/2014/main" id="{E167B094-2E93-3050-892A-E67092D02F65}"/>
                </a:ext>
              </a:extLst>
            </p:cNvPr>
            <p:cNvSpPr/>
            <p:nvPr/>
          </p:nvSpPr>
          <p:spPr>
            <a:xfrm>
              <a:off x="5519103" y="2117437"/>
              <a:ext cx="9804" cy="11762"/>
            </a:xfrm>
            <a:custGeom>
              <a:avLst/>
              <a:gdLst>
                <a:gd name="connsiteX0" fmla="*/ 3190 w 9804"/>
                <a:gd name="connsiteY0" fmla="*/ 10963 h 11762"/>
                <a:gd name="connsiteX1" fmla="*/ 6714 w 9804"/>
                <a:gd name="connsiteY1" fmla="*/ 1247 h 11762"/>
                <a:gd name="connsiteX2" fmla="*/ 5857 w 9804"/>
                <a:gd name="connsiteY2" fmla="*/ 771 h 11762"/>
                <a:gd name="connsiteX3" fmla="*/ 3190 w 9804"/>
                <a:gd name="connsiteY3" fmla="*/ 10963 h 11762"/>
              </a:gdLst>
              <a:ahLst/>
              <a:cxnLst>
                <a:cxn ang="0">
                  <a:pos x="connsiteX0" y="connsiteY0"/>
                </a:cxn>
                <a:cxn ang="0">
                  <a:pos x="connsiteX1" y="connsiteY1"/>
                </a:cxn>
                <a:cxn ang="0">
                  <a:pos x="connsiteX2" y="connsiteY2"/>
                </a:cxn>
                <a:cxn ang="0">
                  <a:pos x="connsiteX3" y="connsiteY3"/>
                </a:cxn>
              </a:cxnLst>
              <a:rect l="l" t="t" r="r" b="b"/>
              <a:pathLst>
                <a:path w="9804" h="11762">
                  <a:moveTo>
                    <a:pt x="3190" y="10963"/>
                  </a:moveTo>
                  <a:cubicBezTo>
                    <a:pt x="8429" y="14582"/>
                    <a:pt x="13096" y="4962"/>
                    <a:pt x="6714" y="1247"/>
                  </a:cubicBezTo>
                  <a:lnTo>
                    <a:pt x="5857" y="771"/>
                  </a:lnTo>
                  <a:cubicBezTo>
                    <a:pt x="-334" y="-2848"/>
                    <a:pt x="-2239" y="7248"/>
                    <a:pt x="3190" y="10963"/>
                  </a:cubicBezTo>
                  <a:close/>
                </a:path>
              </a:pathLst>
            </a:custGeom>
            <a:grpFill/>
            <a:ln w="9525" cap="flat">
              <a:noFill/>
              <a:prstDash val="solid"/>
              <a:miter/>
            </a:ln>
          </p:spPr>
          <p:txBody>
            <a:bodyPr rtlCol="0" anchor="ctr"/>
            <a:lstStyle/>
            <a:p>
              <a:endParaRPr lang="en-IN"/>
            </a:p>
          </p:txBody>
        </p:sp>
        <p:sp>
          <p:nvSpPr>
            <p:cNvPr id="420" name="Freeform: Shape 419">
              <a:extLst>
                <a:ext uri="{FF2B5EF4-FFF2-40B4-BE49-F238E27FC236}">
                  <a16:creationId xmlns:a16="http://schemas.microsoft.com/office/drawing/2014/main" id="{E5994854-A31A-FA09-DDE8-C59DBB2392CB}"/>
                </a:ext>
              </a:extLst>
            </p:cNvPr>
            <p:cNvSpPr/>
            <p:nvPr/>
          </p:nvSpPr>
          <p:spPr>
            <a:xfrm>
              <a:off x="5647641" y="2054124"/>
              <a:ext cx="10971" cy="15551"/>
            </a:xfrm>
            <a:custGeom>
              <a:avLst/>
              <a:gdLst>
                <a:gd name="connsiteX0" fmla="*/ 8002 w 10971"/>
                <a:gd name="connsiteY0" fmla="*/ 3219 h 15551"/>
                <a:gd name="connsiteX1" fmla="*/ 1 w 10971"/>
                <a:gd name="connsiteY1" fmla="*/ 3219 h 15551"/>
                <a:gd name="connsiteX2" fmla="*/ 4478 w 10971"/>
                <a:gd name="connsiteY2" fmla="*/ 15506 h 15551"/>
                <a:gd name="connsiteX3" fmla="*/ 8002 w 10971"/>
                <a:gd name="connsiteY3" fmla="*/ 3219 h 15551"/>
              </a:gdLst>
              <a:ahLst/>
              <a:cxnLst>
                <a:cxn ang="0">
                  <a:pos x="connsiteX0" y="connsiteY0"/>
                </a:cxn>
                <a:cxn ang="0">
                  <a:pos x="connsiteX1" y="connsiteY1"/>
                </a:cxn>
                <a:cxn ang="0">
                  <a:pos x="connsiteX2" y="connsiteY2"/>
                </a:cxn>
                <a:cxn ang="0">
                  <a:pos x="connsiteX3" y="connsiteY3"/>
                </a:cxn>
              </a:cxnLst>
              <a:rect l="l" t="t" r="r" b="b"/>
              <a:pathLst>
                <a:path w="10971" h="15551">
                  <a:moveTo>
                    <a:pt x="8002" y="3219"/>
                  </a:moveTo>
                  <a:cubicBezTo>
                    <a:pt x="7049" y="2838"/>
                    <a:pt x="-94" y="-3829"/>
                    <a:pt x="1" y="3219"/>
                  </a:cubicBezTo>
                  <a:cubicBezTo>
                    <a:pt x="287" y="5029"/>
                    <a:pt x="-1237" y="14649"/>
                    <a:pt x="4478" y="15506"/>
                  </a:cubicBezTo>
                  <a:cubicBezTo>
                    <a:pt x="10097" y="16268"/>
                    <a:pt x="13907" y="7124"/>
                    <a:pt x="8002" y="3219"/>
                  </a:cubicBezTo>
                  <a:close/>
                </a:path>
              </a:pathLst>
            </a:custGeom>
            <a:grpFill/>
            <a:ln w="9525" cap="flat">
              <a:noFill/>
              <a:prstDash val="solid"/>
              <a:miter/>
            </a:ln>
          </p:spPr>
          <p:txBody>
            <a:bodyPr rtlCol="0" anchor="ctr"/>
            <a:lstStyle/>
            <a:p>
              <a:endParaRPr lang="en-IN"/>
            </a:p>
          </p:txBody>
        </p:sp>
        <p:sp>
          <p:nvSpPr>
            <p:cNvPr id="421" name="Freeform: Shape 420">
              <a:extLst>
                <a:ext uri="{FF2B5EF4-FFF2-40B4-BE49-F238E27FC236}">
                  <a16:creationId xmlns:a16="http://schemas.microsoft.com/office/drawing/2014/main" id="{23D5AD88-D93C-3600-CCFB-6BFE16D08AC5}"/>
                </a:ext>
              </a:extLst>
            </p:cNvPr>
            <p:cNvSpPr/>
            <p:nvPr/>
          </p:nvSpPr>
          <p:spPr>
            <a:xfrm>
              <a:off x="5603783" y="2083648"/>
              <a:ext cx="60198" cy="53832"/>
            </a:xfrm>
            <a:custGeom>
              <a:avLst/>
              <a:gdLst>
                <a:gd name="connsiteX0" fmla="*/ 56908 w 60198"/>
                <a:gd name="connsiteY0" fmla="*/ 18747 h 53832"/>
                <a:gd name="connsiteX1" fmla="*/ 56527 w 60198"/>
                <a:gd name="connsiteY1" fmla="*/ 13033 h 53832"/>
                <a:gd name="connsiteX2" fmla="*/ 52717 w 60198"/>
                <a:gd name="connsiteY2" fmla="*/ 2365 h 53832"/>
                <a:gd name="connsiteX3" fmla="*/ 48335 w 60198"/>
                <a:gd name="connsiteY3" fmla="*/ 7032 h 53832"/>
                <a:gd name="connsiteX4" fmla="*/ 43573 w 60198"/>
                <a:gd name="connsiteY4" fmla="*/ 13413 h 53832"/>
                <a:gd name="connsiteX5" fmla="*/ 36620 w 60198"/>
                <a:gd name="connsiteY5" fmla="*/ 1317 h 53832"/>
                <a:gd name="connsiteX6" fmla="*/ 8711 w 60198"/>
                <a:gd name="connsiteY6" fmla="*/ 7984 h 53832"/>
                <a:gd name="connsiteX7" fmla="*/ 1472 w 60198"/>
                <a:gd name="connsiteY7" fmla="*/ 17128 h 53832"/>
                <a:gd name="connsiteX8" fmla="*/ 6616 w 60198"/>
                <a:gd name="connsiteY8" fmla="*/ 27320 h 53832"/>
                <a:gd name="connsiteX9" fmla="*/ 18141 w 60198"/>
                <a:gd name="connsiteY9" fmla="*/ 36559 h 53832"/>
                <a:gd name="connsiteX10" fmla="*/ 24142 w 60198"/>
                <a:gd name="connsiteY10" fmla="*/ 46275 h 53832"/>
                <a:gd name="connsiteX11" fmla="*/ 33191 w 60198"/>
                <a:gd name="connsiteY11" fmla="*/ 47227 h 53832"/>
                <a:gd name="connsiteX12" fmla="*/ 52145 w 60198"/>
                <a:gd name="connsiteY12" fmla="*/ 47513 h 53832"/>
                <a:gd name="connsiteX13" fmla="*/ 56813 w 60198"/>
                <a:gd name="connsiteY13" fmla="*/ 18747 h 5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198" h="53832">
                  <a:moveTo>
                    <a:pt x="56908" y="18747"/>
                  </a:moveTo>
                  <a:cubicBezTo>
                    <a:pt x="55384" y="17224"/>
                    <a:pt x="55193" y="14652"/>
                    <a:pt x="56527" y="13033"/>
                  </a:cubicBezTo>
                  <a:cubicBezTo>
                    <a:pt x="59575" y="9222"/>
                    <a:pt x="52241" y="1412"/>
                    <a:pt x="52717" y="2365"/>
                  </a:cubicBezTo>
                  <a:cubicBezTo>
                    <a:pt x="48430" y="-2970"/>
                    <a:pt x="48050" y="7984"/>
                    <a:pt x="48335" y="7032"/>
                  </a:cubicBezTo>
                  <a:cubicBezTo>
                    <a:pt x="48050" y="9985"/>
                    <a:pt x="45859" y="12842"/>
                    <a:pt x="43573" y="13413"/>
                  </a:cubicBezTo>
                  <a:cubicBezTo>
                    <a:pt x="37667" y="14842"/>
                    <a:pt x="42335" y="5317"/>
                    <a:pt x="36620" y="1317"/>
                  </a:cubicBezTo>
                  <a:cubicBezTo>
                    <a:pt x="29095" y="-3922"/>
                    <a:pt x="17855" y="8175"/>
                    <a:pt x="8711" y="7984"/>
                  </a:cubicBezTo>
                  <a:cubicBezTo>
                    <a:pt x="3377" y="7889"/>
                    <a:pt x="-2909" y="12270"/>
                    <a:pt x="1472" y="17128"/>
                  </a:cubicBezTo>
                  <a:cubicBezTo>
                    <a:pt x="2139" y="18081"/>
                    <a:pt x="6425" y="21795"/>
                    <a:pt x="6616" y="27320"/>
                  </a:cubicBezTo>
                  <a:cubicBezTo>
                    <a:pt x="6902" y="33702"/>
                    <a:pt x="19094" y="37131"/>
                    <a:pt x="18141" y="36559"/>
                  </a:cubicBezTo>
                  <a:cubicBezTo>
                    <a:pt x="25666" y="39702"/>
                    <a:pt x="15950" y="45513"/>
                    <a:pt x="24142" y="46275"/>
                  </a:cubicBezTo>
                  <a:lnTo>
                    <a:pt x="33191" y="47227"/>
                  </a:lnTo>
                  <a:cubicBezTo>
                    <a:pt x="41096" y="47989"/>
                    <a:pt x="43478" y="61515"/>
                    <a:pt x="52145" y="47513"/>
                  </a:cubicBezTo>
                  <a:cubicBezTo>
                    <a:pt x="52812" y="46370"/>
                    <a:pt x="66338" y="28272"/>
                    <a:pt x="56813" y="18747"/>
                  </a:cubicBezTo>
                  <a:close/>
                </a:path>
              </a:pathLst>
            </a:custGeom>
            <a:solidFill>
              <a:schemeClr val="bg1">
                <a:lumMod val="95000"/>
              </a:schemeClr>
            </a:solidFill>
            <a:ln w="9525" cap="flat">
              <a:noFill/>
              <a:prstDash val="solid"/>
              <a:miter/>
            </a:ln>
          </p:spPr>
          <p:txBody>
            <a:bodyPr rtlCol="0" anchor="ctr"/>
            <a:lstStyle/>
            <a:p>
              <a:endParaRPr lang="en-IN"/>
            </a:p>
          </p:txBody>
        </p:sp>
        <p:sp>
          <p:nvSpPr>
            <p:cNvPr id="422" name="Freeform: Shape 421">
              <a:extLst>
                <a:ext uri="{FF2B5EF4-FFF2-40B4-BE49-F238E27FC236}">
                  <a16:creationId xmlns:a16="http://schemas.microsoft.com/office/drawing/2014/main" id="{4E8E85FD-6CFC-B2F7-5E42-940A36ED22E6}"/>
                </a:ext>
              </a:extLst>
            </p:cNvPr>
            <p:cNvSpPr/>
            <p:nvPr/>
          </p:nvSpPr>
          <p:spPr>
            <a:xfrm>
              <a:off x="5898971" y="2114225"/>
              <a:ext cx="26262" cy="23221"/>
            </a:xfrm>
            <a:custGeom>
              <a:avLst/>
              <a:gdLst>
                <a:gd name="connsiteX0" fmla="*/ 22801 w 26262"/>
                <a:gd name="connsiteY0" fmla="*/ 8840 h 23221"/>
                <a:gd name="connsiteX1" fmla="*/ 1084 w 26262"/>
                <a:gd name="connsiteY1" fmla="*/ 3220 h 23221"/>
                <a:gd name="connsiteX2" fmla="*/ 3941 w 26262"/>
                <a:gd name="connsiteY2" fmla="*/ 16174 h 23221"/>
                <a:gd name="connsiteX3" fmla="*/ 25087 w 26262"/>
                <a:gd name="connsiteY3" fmla="*/ 19889 h 23221"/>
                <a:gd name="connsiteX4" fmla="*/ 22801 w 26262"/>
                <a:gd name="connsiteY4" fmla="*/ 8745 h 23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2" h="23221">
                  <a:moveTo>
                    <a:pt x="22801" y="8840"/>
                  </a:moveTo>
                  <a:cubicBezTo>
                    <a:pt x="13276" y="5030"/>
                    <a:pt x="2798" y="-5162"/>
                    <a:pt x="1084" y="3220"/>
                  </a:cubicBezTo>
                  <a:cubicBezTo>
                    <a:pt x="1084" y="4935"/>
                    <a:pt x="-2726" y="13222"/>
                    <a:pt x="3941" y="16174"/>
                  </a:cubicBezTo>
                  <a:cubicBezTo>
                    <a:pt x="12323" y="18937"/>
                    <a:pt x="22705" y="28081"/>
                    <a:pt x="25087" y="19889"/>
                  </a:cubicBezTo>
                  <a:cubicBezTo>
                    <a:pt x="25087" y="19889"/>
                    <a:pt x="28897" y="11888"/>
                    <a:pt x="22801" y="8745"/>
                  </a:cubicBezTo>
                  <a:close/>
                </a:path>
              </a:pathLst>
            </a:custGeom>
            <a:solidFill>
              <a:schemeClr val="bg1">
                <a:lumMod val="95000"/>
              </a:schemeClr>
            </a:solidFill>
            <a:ln w="9525" cap="flat">
              <a:noFill/>
              <a:prstDash val="solid"/>
              <a:miter/>
            </a:ln>
          </p:spPr>
          <p:txBody>
            <a:bodyPr rtlCol="0" anchor="ctr"/>
            <a:lstStyle/>
            <a:p>
              <a:endParaRPr lang="en-IN"/>
            </a:p>
          </p:txBody>
        </p:sp>
        <p:sp>
          <p:nvSpPr>
            <p:cNvPr id="423" name="Freeform: Shape 422">
              <a:extLst>
                <a:ext uri="{FF2B5EF4-FFF2-40B4-BE49-F238E27FC236}">
                  <a16:creationId xmlns:a16="http://schemas.microsoft.com/office/drawing/2014/main" id="{FF7656F8-90DC-2E34-66E1-EA48AFB671F7}"/>
                </a:ext>
              </a:extLst>
            </p:cNvPr>
            <p:cNvSpPr/>
            <p:nvPr/>
          </p:nvSpPr>
          <p:spPr>
            <a:xfrm>
              <a:off x="5657540" y="2123721"/>
              <a:ext cx="17312" cy="37395"/>
            </a:xfrm>
            <a:custGeom>
              <a:avLst/>
              <a:gdLst>
                <a:gd name="connsiteX0" fmla="*/ 15057 w 17312"/>
                <a:gd name="connsiteY0" fmla="*/ 106 h 37395"/>
                <a:gd name="connsiteX1" fmla="*/ 3436 w 17312"/>
                <a:gd name="connsiteY1" fmla="*/ 37349 h 37395"/>
                <a:gd name="connsiteX2" fmla="*/ 8580 w 17312"/>
                <a:gd name="connsiteY2" fmla="*/ 32872 h 37395"/>
                <a:gd name="connsiteX3" fmla="*/ 15057 w 17312"/>
                <a:gd name="connsiteY3" fmla="*/ 106 h 37395"/>
              </a:gdLst>
              <a:ahLst/>
              <a:cxnLst>
                <a:cxn ang="0">
                  <a:pos x="connsiteX0" y="connsiteY0"/>
                </a:cxn>
                <a:cxn ang="0">
                  <a:pos x="connsiteX1" y="connsiteY1"/>
                </a:cxn>
                <a:cxn ang="0">
                  <a:pos x="connsiteX2" y="connsiteY2"/>
                </a:cxn>
                <a:cxn ang="0">
                  <a:pos x="connsiteX3" y="connsiteY3"/>
                </a:cxn>
              </a:cxnLst>
              <a:rect l="l" t="t" r="r" b="b"/>
              <a:pathLst>
                <a:path w="17312" h="37395">
                  <a:moveTo>
                    <a:pt x="15057" y="106"/>
                  </a:moveTo>
                  <a:cubicBezTo>
                    <a:pt x="6294" y="2297"/>
                    <a:pt x="-6089" y="35539"/>
                    <a:pt x="3436" y="37349"/>
                  </a:cubicBezTo>
                  <a:cubicBezTo>
                    <a:pt x="5436" y="37730"/>
                    <a:pt x="7723" y="35730"/>
                    <a:pt x="8580" y="32872"/>
                  </a:cubicBezTo>
                  <a:cubicBezTo>
                    <a:pt x="15914" y="8393"/>
                    <a:pt x="20200" y="-1132"/>
                    <a:pt x="15057" y="106"/>
                  </a:cubicBezTo>
                  <a:close/>
                </a:path>
              </a:pathLst>
            </a:custGeom>
            <a:grpFill/>
            <a:ln w="9525" cap="flat">
              <a:noFill/>
              <a:prstDash val="solid"/>
              <a:miter/>
            </a:ln>
          </p:spPr>
          <p:txBody>
            <a:bodyPr rtlCol="0" anchor="ctr"/>
            <a:lstStyle/>
            <a:p>
              <a:endParaRPr lang="en-IN"/>
            </a:p>
          </p:txBody>
        </p:sp>
        <p:sp>
          <p:nvSpPr>
            <p:cNvPr id="424" name="Freeform: Shape 423">
              <a:extLst>
                <a:ext uri="{FF2B5EF4-FFF2-40B4-BE49-F238E27FC236}">
                  <a16:creationId xmlns:a16="http://schemas.microsoft.com/office/drawing/2014/main" id="{B9148439-D560-5B18-FDF1-A1DF943D9DE5}"/>
                </a:ext>
              </a:extLst>
            </p:cNvPr>
            <p:cNvSpPr/>
            <p:nvPr/>
          </p:nvSpPr>
          <p:spPr>
            <a:xfrm>
              <a:off x="5634941" y="2142985"/>
              <a:ext cx="12735" cy="10880"/>
            </a:xfrm>
            <a:custGeom>
              <a:avLst/>
              <a:gdLst>
                <a:gd name="connsiteX0" fmla="*/ 7462 w 12735"/>
                <a:gd name="connsiteY0" fmla="*/ 10751 h 10880"/>
                <a:gd name="connsiteX1" fmla="*/ 8605 w 12735"/>
                <a:gd name="connsiteY1" fmla="*/ 1797 h 10880"/>
                <a:gd name="connsiteX2" fmla="*/ 604 w 12735"/>
                <a:gd name="connsiteY2" fmla="*/ 3512 h 10880"/>
                <a:gd name="connsiteX3" fmla="*/ 7462 w 12735"/>
                <a:gd name="connsiteY3" fmla="*/ 10751 h 10880"/>
              </a:gdLst>
              <a:ahLst/>
              <a:cxnLst>
                <a:cxn ang="0">
                  <a:pos x="connsiteX0" y="connsiteY0"/>
                </a:cxn>
                <a:cxn ang="0">
                  <a:pos x="connsiteX1" y="connsiteY1"/>
                </a:cxn>
                <a:cxn ang="0">
                  <a:pos x="connsiteX2" y="connsiteY2"/>
                </a:cxn>
                <a:cxn ang="0">
                  <a:pos x="connsiteX3" y="connsiteY3"/>
                </a:cxn>
              </a:cxnLst>
              <a:rect l="l" t="t" r="r" b="b"/>
              <a:pathLst>
                <a:path w="12735" h="10880">
                  <a:moveTo>
                    <a:pt x="7462" y="10751"/>
                  </a:moveTo>
                  <a:cubicBezTo>
                    <a:pt x="12606" y="11989"/>
                    <a:pt x="15654" y="3988"/>
                    <a:pt x="8605" y="1797"/>
                  </a:cubicBezTo>
                  <a:cubicBezTo>
                    <a:pt x="7557" y="1702"/>
                    <a:pt x="-2539" y="-3156"/>
                    <a:pt x="604" y="3512"/>
                  </a:cubicBezTo>
                  <a:cubicBezTo>
                    <a:pt x="604" y="3512"/>
                    <a:pt x="2985" y="9608"/>
                    <a:pt x="7462" y="10751"/>
                  </a:cubicBezTo>
                  <a:close/>
                </a:path>
              </a:pathLst>
            </a:custGeom>
            <a:grpFill/>
            <a:ln w="9525" cap="flat">
              <a:noFill/>
              <a:prstDash val="solid"/>
              <a:miter/>
            </a:ln>
          </p:spPr>
          <p:txBody>
            <a:bodyPr rtlCol="0" anchor="ctr"/>
            <a:lstStyle/>
            <a:p>
              <a:endParaRPr lang="en-IN"/>
            </a:p>
          </p:txBody>
        </p:sp>
        <p:sp>
          <p:nvSpPr>
            <p:cNvPr id="425" name="Freeform: Shape 424">
              <a:extLst>
                <a:ext uri="{FF2B5EF4-FFF2-40B4-BE49-F238E27FC236}">
                  <a16:creationId xmlns:a16="http://schemas.microsoft.com/office/drawing/2014/main" id="{045896E1-0C5D-B4E1-9884-0968009C6209}"/>
                </a:ext>
              </a:extLst>
            </p:cNvPr>
            <p:cNvSpPr/>
            <p:nvPr/>
          </p:nvSpPr>
          <p:spPr>
            <a:xfrm>
              <a:off x="5668978" y="1933725"/>
              <a:ext cx="18892" cy="12542"/>
            </a:xfrm>
            <a:custGeom>
              <a:avLst/>
              <a:gdLst>
                <a:gd name="connsiteX0" fmla="*/ 0 w 18892"/>
                <a:gd name="connsiteY0" fmla="*/ 8080 h 12542"/>
                <a:gd name="connsiteX1" fmla="*/ 18288 w 18892"/>
                <a:gd name="connsiteY1" fmla="*/ 1317 h 12542"/>
                <a:gd name="connsiteX2" fmla="*/ 11239 w 18892"/>
                <a:gd name="connsiteY2" fmla="*/ 555 h 12542"/>
                <a:gd name="connsiteX3" fmla="*/ 0 w 18892"/>
                <a:gd name="connsiteY3" fmla="*/ 7985 h 12542"/>
              </a:gdLst>
              <a:ahLst/>
              <a:cxnLst>
                <a:cxn ang="0">
                  <a:pos x="connsiteX0" y="connsiteY0"/>
                </a:cxn>
                <a:cxn ang="0">
                  <a:pos x="connsiteX1" y="connsiteY1"/>
                </a:cxn>
                <a:cxn ang="0">
                  <a:pos x="connsiteX2" y="connsiteY2"/>
                </a:cxn>
                <a:cxn ang="0">
                  <a:pos x="connsiteX3" y="connsiteY3"/>
                </a:cxn>
              </a:cxnLst>
              <a:rect l="l" t="t" r="r" b="b"/>
              <a:pathLst>
                <a:path w="18892" h="12542">
                  <a:moveTo>
                    <a:pt x="0" y="8080"/>
                  </a:moveTo>
                  <a:cubicBezTo>
                    <a:pt x="0" y="18938"/>
                    <a:pt x="22860" y="7318"/>
                    <a:pt x="18288" y="1317"/>
                  </a:cubicBezTo>
                  <a:cubicBezTo>
                    <a:pt x="17240" y="-112"/>
                    <a:pt x="14002" y="-398"/>
                    <a:pt x="11239" y="555"/>
                  </a:cubicBezTo>
                  <a:cubicBezTo>
                    <a:pt x="9430" y="1412"/>
                    <a:pt x="0" y="3413"/>
                    <a:pt x="0" y="7985"/>
                  </a:cubicBezTo>
                  <a:close/>
                </a:path>
              </a:pathLst>
            </a:custGeom>
            <a:grpFill/>
            <a:ln w="9525" cap="flat">
              <a:noFill/>
              <a:prstDash val="solid"/>
              <a:miter/>
            </a:ln>
          </p:spPr>
          <p:txBody>
            <a:bodyPr rtlCol="0" anchor="ctr"/>
            <a:lstStyle/>
            <a:p>
              <a:endParaRPr lang="en-IN"/>
            </a:p>
          </p:txBody>
        </p:sp>
        <p:sp>
          <p:nvSpPr>
            <p:cNvPr id="426" name="Freeform: Shape 425">
              <a:extLst>
                <a:ext uri="{FF2B5EF4-FFF2-40B4-BE49-F238E27FC236}">
                  <a16:creationId xmlns:a16="http://schemas.microsoft.com/office/drawing/2014/main" id="{A28697AD-2CA2-10FA-245A-306E5406F848}"/>
                </a:ext>
              </a:extLst>
            </p:cNvPr>
            <p:cNvSpPr/>
            <p:nvPr/>
          </p:nvSpPr>
          <p:spPr>
            <a:xfrm>
              <a:off x="5671162" y="2041353"/>
              <a:ext cx="104997" cy="93358"/>
            </a:xfrm>
            <a:custGeom>
              <a:avLst/>
              <a:gdLst>
                <a:gd name="connsiteX0" fmla="*/ 14865 w 104997"/>
                <a:gd name="connsiteY0" fmla="*/ 44089 h 93358"/>
                <a:gd name="connsiteX1" fmla="*/ 14008 w 104997"/>
                <a:gd name="connsiteY1" fmla="*/ 68854 h 93358"/>
                <a:gd name="connsiteX2" fmla="*/ 26486 w 104997"/>
                <a:gd name="connsiteY2" fmla="*/ 78950 h 93358"/>
                <a:gd name="connsiteX3" fmla="*/ 43631 w 104997"/>
                <a:gd name="connsiteY3" fmla="*/ 78379 h 93358"/>
                <a:gd name="connsiteX4" fmla="*/ 53727 w 104997"/>
                <a:gd name="connsiteY4" fmla="*/ 86285 h 93358"/>
                <a:gd name="connsiteX5" fmla="*/ 65919 w 104997"/>
                <a:gd name="connsiteY5" fmla="*/ 93143 h 93358"/>
                <a:gd name="connsiteX6" fmla="*/ 73825 w 104997"/>
                <a:gd name="connsiteY6" fmla="*/ 75045 h 93358"/>
                <a:gd name="connsiteX7" fmla="*/ 82207 w 104997"/>
                <a:gd name="connsiteY7" fmla="*/ 74283 h 93358"/>
                <a:gd name="connsiteX8" fmla="*/ 86970 w 104997"/>
                <a:gd name="connsiteY8" fmla="*/ 63044 h 93358"/>
                <a:gd name="connsiteX9" fmla="*/ 78778 w 104997"/>
                <a:gd name="connsiteY9" fmla="*/ 51995 h 93358"/>
                <a:gd name="connsiteX10" fmla="*/ 81636 w 104997"/>
                <a:gd name="connsiteY10" fmla="*/ 46661 h 93358"/>
                <a:gd name="connsiteX11" fmla="*/ 96114 w 104997"/>
                <a:gd name="connsiteY11" fmla="*/ 44089 h 93358"/>
                <a:gd name="connsiteX12" fmla="*/ 104305 w 104997"/>
                <a:gd name="connsiteY12" fmla="*/ 40755 h 93358"/>
                <a:gd name="connsiteX13" fmla="*/ 98304 w 104997"/>
                <a:gd name="connsiteY13" fmla="*/ 21419 h 93358"/>
                <a:gd name="connsiteX14" fmla="*/ 97923 w 104997"/>
                <a:gd name="connsiteY14" fmla="*/ 8846 h 93358"/>
                <a:gd name="connsiteX15" fmla="*/ 76016 w 104997"/>
                <a:gd name="connsiteY15" fmla="*/ 1512 h 93358"/>
                <a:gd name="connsiteX16" fmla="*/ 63348 w 104997"/>
                <a:gd name="connsiteY16" fmla="*/ 8465 h 93358"/>
                <a:gd name="connsiteX17" fmla="*/ 62014 w 104997"/>
                <a:gd name="connsiteY17" fmla="*/ 18276 h 93358"/>
                <a:gd name="connsiteX18" fmla="*/ 61062 w 104997"/>
                <a:gd name="connsiteY18" fmla="*/ 30659 h 93358"/>
                <a:gd name="connsiteX19" fmla="*/ 50870 w 104997"/>
                <a:gd name="connsiteY19" fmla="*/ 34849 h 93358"/>
                <a:gd name="connsiteX20" fmla="*/ 46869 w 104997"/>
                <a:gd name="connsiteY20" fmla="*/ 10846 h 93358"/>
                <a:gd name="connsiteX21" fmla="*/ 33630 w 104997"/>
                <a:gd name="connsiteY21" fmla="*/ 21991 h 93358"/>
                <a:gd name="connsiteX22" fmla="*/ 22295 w 104997"/>
                <a:gd name="connsiteY22" fmla="*/ 30373 h 93358"/>
                <a:gd name="connsiteX23" fmla="*/ 14770 w 104997"/>
                <a:gd name="connsiteY23" fmla="*/ 44279 h 93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4997" h="93358">
                  <a:moveTo>
                    <a:pt x="14865" y="44089"/>
                  </a:moveTo>
                  <a:cubicBezTo>
                    <a:pt x="23248" y="71806"/>
                    <a:pt x="7912" y="59900"/>
                    <a:pt x="14008" y="68854"/>
                  </a:cubicBezTo>
                  <a:cubicBezTo>
                    <a:pt x="15723" y="70663"/>
                    <a:pt x="18866" y="79236"/>
                    <a:pt x="26486" y="78950"/>
                  </a:cubicBezTo>
                  <a:lnTo>
                    <a:pt x="43631" y="78379"/>
                  </a:lnTo>
                  <a:cubicBezTo>
                    <a:pt x="50394" y="78093"/>
                    <a:pt x="54585" y="87237"/>
                    <a:pt x="53727" y="86285"/>
                  </a:cubicBezTo>
                  <a:cubicBezTo>
                    <a:pt x="57157" y="92285"/>
                    <a:pt x="66872" y="93523"/>
                    <a:pt x="65919" y="93143"/>
                  </a:cubicBezTo>
                  <a:cubicBezTo>
                    <a:pt x="76968" y="95619"/>
                    <a:pt x="62776" y="75997"/>
                    <a:pt x="73825" y="75045"/>
                  </a:cubicBezTo>
                  <a:lnTo>
                    <a:pt x="82207" y="74283"/>
                  </a:lnTo>
                  <a:cubicBezTo>
                    <a:pt x="89256" y="73712"/>
                    <a:pt x="93066" y="66568"/>
                    <a:pt x="86970" y="63044"/>
                  </a:cubicBezTo>
                  <a:cubicBezTo>
                    <a:pt x="85065" y="61329"/>
                    <a:pt x="75159" y="58567"/>
                    <a:pt x="78778" y="51995"/>
                  </a:cubicBezTo>
                  <a:lnTo>
                    <a:pt x="81636" y="46661"/>
                  </a:lnTo>
                  <a:cubicBezTo>
                    <a:pt x="84779" y="40946"/>
                    <a:pt x="93542" y="38279"/>
                    <a:pt x="96114" y="44089"/>
                  </a:cubicBezTo>
                  <a:cubicBezTo>
                    <a:pt x="98495" y="49613"/>
                    <a:pt x="107544" y="47232"/>
                    <a:pt x="104305" y="40755"/>
                  </a:cubicBezTo>
                  <a:cubicBezTo>
                    <a:pt x="98781" y="26468"/>
                    <a:pt x="101733" y="25801"/>
                    <a:pt x="98304" y="21419"/>
                  </a:cubicBezTo>
                  <a:cubicBezTo>
                    <a:pt x="94971" y="17228"/>
                    <a:pt x="98114" y="7894"/>
                    <a:pt x="97923" y="8846"/>
                  </a:cubicBezTo>
                  <a:cubicBezTo>
                    <a:pt x="99924" y="940"/>
                    <a:pt x="82683" y="-2107"/>
                    <a:pt x="76016" y="1512"/>
                  </a:cubicBezTo>
                  <a:lnTo>
                    <a:pt x="63348" y="8465"/>
                  </a:lnTo>
                  <a:cubicBezTo>
                    <a:pt x="57728" y="11513"/>
                    <a:pt x="62205" y="19229"/>
                    <a:pt x="62014" y="18276"/>
                  </a:cubicBezTo>
                  <a:cubicBezTo>
                    <a:pt x="64776" y="24086"/>
                    <a:pt x="60871" y="31611"/>
                    <a:pt x="61062" y="30659"/>
                  </a:cubicBezTo>
                  <a:cubicBezTo>
                    <a:pt x="58490" y="36564"/>
                    <a:pt x="49917" y="34945"/>
                    <a:pt x="50870" y="34849"/>
                  </a:cubicBezTo>
                  <a:cubicBezTo>
                    <a:pt x="38964" y="33611"/>
                    <a:pt x="58776" y="11513"/>
                    <a:pt x="46869" y="10846"/>
                  </a:cubicBezTo>
                  <a:cubicBezTo>
                    <a:pt x="5245" y="8465"/>
                    <a:pt x="40964" y="11704"/>
                    <a:pt x="33630" y="21991"/>
                  </a:cubicBezTo>
                  <a:cubicBezTo>
                    <a:pt x="32677" y="22943"/>
                    <a:pt x="29439" y="30373"/>
                    <a:pt x="22295" y="30373"/>
                  </a:cubicBezTo>
                  <a:cubicBezTo>
                    <a:pt x="-21615" y="30373"/>
                    <a:pt x="12484" y="36945"/>
                    <a:pt x="14770" y="44279"/>
                  </a:cubicBezTo>
                  <a:close/>
                </a:path>
              </a:pathLst>
            </a:custGeom>
            <a:solidFill>
              <a:schemeClr val="bg1">
                <a:lumMod val="95000"/>
              </a:schemeClr>
            </a:solidFill>
            <a:ln w="9525" cap="flat">
              <a:noFill/>
              <a:prstDash val="solid"/>
              <a:miter/>
            </a:ln>
          </p:spPr>
          <p:txBody>
            <a:bodyPr rtlCol="0" anchor="ctr"/>
            <a:lstStyle/>
            <a:p>
              <a:endParaRPr lang="en-IN"/>
            </a:p>
          </p:txBody>
        </p:sp>
        <p:sp>
          <p:nvSpPr>
            <p:cNvPr id="427" name="Freeform: Shape 426">
              <a:extLst>
                <a:ext uri="{FF2B5EF4-FFF2-40B4-BE49-F238E27FC236}">
                  <a16:creationId xmlns:a16="http://schemas.microsoft.com/office/drawing/2014/main" id="{3C432123-0363-3F39-F0E3-845A83A3B6E0}"/>
                </a:ext>
              </a:extLst>
            </p:cNvPr>
            <p:cNvSpPr/>
            <p:nvPr/>
          </p:nvSpPr>
          <p:spPr>
            <a:xfrm>
              <a:off x="5726427" y="2144936"/>
              <a:ext cx="17138" cy="28896"/>
            </a:xfrm>
            <a:custGeom>
              <a:avLst/>
              <a:gdLst>
                <a:gd name="connsiteX0" fmla="*/ 177 w 17138"/>
                <a:gd name="connsiteY0" fmla="*/ 4133 h 28896"/>
                <a:gd name="connsiteX1" fmla="*/ 7987 w 17138"/>
                <a:gd name="connsiteY1" fmla="*/ 26707 h 28896"/>
                <a:gd name="connsiteX2" fmla="*/ 10083 w 17138"/>
                <a:gd name="connsiteY2" fmla="*/ 1275 h 28896"/>
                <a:gd name="connsiteX3" fmla="*/ 177 w 17138"/>
                <a:gd name="connsiteY3" fmla="*/ 4133 h 28896"/>
              </a:gdLst>
              <a:ahLst/>
              <a:cxnLst>
                <a:cxn ang="0">
                  <a:pos x="connsiteX0" y="connsiteY0"/>
                </a:cxn>
                <a:cxn ang="0">
                  <a:pos x="connsiteX1" y="connsiteY1"/>
                </a:cxn>
                <a:cxn ang="0">
                  <a:pos x="connsiteX2" y="connsiteY2"/>
                </a:cxn>
                <a:cxn ang="0">
                  <a:pos x="connsiteX3" y="connsiteY3"/>
                </a:cxn>
              </a:cxnLst>
              <a:rect l="l" t="t" r="r" b="b"/>
              <a:pathLst>
                <a:path w="17138" h="28896">
                  <a:moveTo>
                    <a:pt x="177" y="4133"/>
                  </a:moveTo>
                  <a:cubicBezTo>
                    <a:pt x="4273" y="22421"/>
                    <a:pt x="5797" y="33946"/>
                    <a:pt x="7987" y="26707"/>
                  </a:cubicBezTo>
                  <a:cubicBezTo>
                    <a:pt x="12750" y="11181"/>
                    <a:pt x="24751" y="4514"/>
                    <a:pt x="10083" y="1275"/>
                  </a:cubicBezTo>
                  <a:cubicBezTo>
                    <a:pt x="8559" y="1275"/>
                    <a:pt x="-1442" y="-3011"/>
                    <a:pt x="177" y="4133"/>
                  </a:cubicBezTo>
                  <a:close/>
                </a:path>
              </a:pathLst>
            </a:custGeom>
            <a:grpFill/>
            <a:ln w="9525" cap="flat">
              <a:noFill/>
              <a:prstDash val="solid"/>
              <a:miter/>
            </a:ln>
          </p:spPr>
          <p:txBody>
            <a:bodyPr rtlCol="0" anchor="ctr"/>
            <a:lstStyle/>
            <a:p>
              <a:endParaRPr lang="en-IN"/>
            </a:p>
          </p:txBody>
        </p:sp>
        <p:sp>
          <p:nvSpPr>
            <p:cNvPr id="428" name="Freeform: Shape 427">
              <a:extLst>
                <a:ext uri="{FF2B5EF4-FFF2-40B4-BE49-F238E27FC236}">
                  <a16:creationId xmlns:a16="http://schemas.microsoft.com/office/drawing/2014/main" id="{9D6070A1-8367-1AC3-1C22-438E2638440C}"/>
                </a:ext>
              </a:extLst>
            </p:cNvPr>
            <p:cNvSpPr/>
            <p:nvPr/>
          </p:nvSpPr>
          <p:spPr>
            <a:xfrm>
              <a:off x="5679472" y="2141562"/>
              <a:ext cx="41136" cy="26705"/>
            </a:xfrm>
            <a:custGeom>
              <a:avLst/>
              <a:gdLst>
                <a:gd name="connsiteX0" fmla="*/ 26939 w 41136"/>
                <a:gd name="connsiteY0" fmla="*/ 25604 h 26705"/>
                <a:gd name="connsiteX1" fmla="*/ 36749 w 41136"/>
                <a:gd name="connsiteY1" fmla="*/ 24271 h 26705"/>
                <a:gd name="connsiteX2" fmla="*/ 41036 w 41136"/>
                <a:gd name="connsiteY2" fmla="*/ 19889 h 26705"/>
                <a:gd name="connsiteX3" fmla="*/ 33225 w 41136"/>
                <a:gd name="connsiteY3" fmla="*/ 5983 h 26705"/>
                <a:gd name="connsiteX4" fmla="*/ 23986 w 41136"/>
                <a:gd name="connsiteY4" fmla="*/ 6269 h 26705"/>
                <a:gd name="connsiteX5" fmla="*/ 7889 w 41136"/>
                <a:gd name="connsiteY5" fmla="*/ 649 h 26705"/>
                <a:gd name="connsiteX6" fmla="*/ 6079 w 41136"/>
                <a:gd name="connsiteY6" fmla="*/ 1315 h 26705"/>
                <a:gd name="connsiteX7" fmla="*/ 2650 w 41136"/>
                <a:gd name="connsiteY7" fmla="*/ 6935 h 26705"/>
                <a:gd name="connsiteX8" fmla="*/ 2650 w 41136"/>
                <a:gd name="connsiteY8" fmla="*/ 18079 h 26705"/>
                <a:gd name="connsiteX9" fmla="*/ 26939 w 41136"/>
                <a:gd name="connsiteY9" fmla="*/ 25700 h 2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36" h="26705">
                  <a:moveTo>
                    <a:pt x="26939" y="25604"/>
                  </a:moveTo>
                  <a:cubicBezTo>
                    <a:pt x="31225" y="23413"/>
                    <a:pt x="37702" y="24271"/>
                    <a:pt x="36749" y="24271"/>
                  </a:cubicBezTo>
                  <a:cubicBezTo>
                    <a:pt x="39702" y="24747"/>
                    <a:pt x="41607" y="22747"/>
                    <a:pt x="41036" y="19889"/>
                  </a:cubicBezTo>
                  <a:cubicBezTo>
                    <a:pt x="39416" y="15031"/>
                    <a:pt x="39893" y="1220"/>
                    <a:pt x="33225" y="5983"/>
                  </a:cubicBezTo>
                  <a:cubicBezTo>
                    <a:pt x="32272" y="6269"/>
                    <a:pt x="28463" y="9317"/>
                    <a:pt x="23986" y="6269"/>
                  </a:cubicBezTo>
                  <a:cubicBezTo>
                    <a:pt x="20938" y="4744"/>
                    <a:pt x="15128" y="-2114"/>
                    <a:pt x="7889" y="649"/>
                  </a:cubicBezTo>
                  <a:lnTo>
                    <a:pt x="6079" y="1315"/>
                  </a:lnTo>
                  <a:cubicBezTo>
                    <a:pt x="3317" y="2363"/>
                    <a:pt x="1793" y="4935"/>
                    <a:pt x="2650" y="6935"/>
                  </a:cubicBezTo>
                  <a:cubicBezTo>
                    <a:pt x="5126" y="12650"/>
                    <a:pt x="-4399" y="14651"/>
                    <a:pt x="2650" y="18079"/>
                  </a:cubicBezTo>
                  <a:cubicBezTo>
                    <a:pt x="17414" y="25414"/>
                    <a:pt x="21414" y="28462"/>
                    <a:pt x="26939" y="25700"/>
                  </a:cubicBezTo>
                  <a:close/>
                </a:path>
              </a:pathLst>
            </a:custGeom>
            <a:solidFill>
              <a:schemeClr val="bg1">
                <a:lumMod val="95000"/>
              </a:schemeClr>
            </a:solidFill>
            <a:ln w="9525" cap="flat">
              <a:noFill/>
              <a:prstDash val="solid"/>
              <a:miter/>
            </a:ln>
          </p:spPr>
          <p:txBody>
            <a:bodyPr rtlCol="0" anchor="ctr"/>
            <a:lstStyle/>
            <a:p>
              <a:endParaRPr lang="en-IN"/>
            </a:p>
          </p:txBody>
        </p:sp>
        <p:sp>
          <p:nvSpPr>
            <p:cNvPr id="429" name="Freeform: Shape 428">
              <a:extLst>
                <a:ext uri="{FF2B5EF4-FFF2-40B4-BE49-F238E27FC236}">
                  <a16:creationId xmlns:a16="http://schemas.microsoft.com/office/drawing/2014/main" id="{02ADA8DC-0C7F-E413-8DAE-455F654214C4}"/>
                </a:ext>
              </a:extLst>
            </p:cNvPr>
            <p:cNvSpPr/>
            <p:nvPr/>
          </p:nvSpPr>
          <p:spPr>
            <a:xfrm>
              <a:off x="5746827" y="2133251"/>
              <a:ext cx="23263" cy="14451"/>
            </a:xfrm>
            <a:custGeom>
              <a:avLst/>
              <a:gdLst>
                <a:gd name="connsiteX0" fmla="*/ 11686 w 23263"/>
                <a:gd name="connsiteY0" fmla="*/ 196 h 14451"/>
                <a:gd name="connsiteX1" fmla="*/ 1970 w 23263"/>
                <a:gd name="connsiteY1" fmla="*/ 6102 h 14451"/>
                <a:gd name="connsiteX2" fmla="*/ 6447 w 23263"/>
                <a:gd name="connsiteY2" fmla="*/ 12960 h 14451"/>
                <a:gd name="connsiteX3" fmla="*/ 19401 w 23263"/>
                <a:gd name="connsiteY3" fmla="*/ 9626 h 14451"/>
                <a:gd name="connsiteX4" fmla="*/ 15781 w 23263"/>
                <a:gd name="connsiteY4" fmla="*/ 6 h 14451"/>
                <a:gd name="connsiteX5" fmla="*/ 11686 w 23263"/>
                <a:gd name="connsiteY5" fmla="*/ 196 h 1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3" h="14451">
                  <a:moveTo>
                    <a:pt x="11686" y="196"/>
                  </a:moveTo>
                  <a:cubicBezTo>
                    <a:pt x="3780" y="482"/>
                    <a:pt x="8161" y="3054"/>
                    <a:pt x="1970" y="6102"/>
                  </a:cubicBezTo>
                  <a:cubicBezTo>
                    <a:pt x="-2888" y="8483"/>
                    <a:pt x="2256" y="18103"/>
                    <a:pt x="6447" y="12960"/>
                  </a:cubicBezTo>
                  <a:cubicBezTo>
                    <a:pt x="10447" y="8007"/>
                    <a:pt x="20353" y="9531"/>
                    <a:pt x="19401" y="9626"/>
                  </a:cubicBezTo>
                  <a:cubicBezTo>
                    <a:pt x="26449" y="10007"/>
                    <a:pt x="23020" y="-280"/>
                    <a:pt x="15781" y="6"/>
                  </a:cubicBezTo>
                  <a:lnTo>
                    <a:pt x="11686" y="196"/>
                  </a:lnTo>
                  <a:close/>
                </a:path>
              </a:pathLst>
            </a:custGeom>
            <a:grpFill/>
            <a:ln w="9525" cap="flat">
              <a:noFill/>
              <a:prstDash val="solid"/>
              <a:miter/>
            </a:ln>
          </p:spPr>
          <p:txBody>
            <a:bodyPr rtlCol="0" anchor="ctr"/>
            <a:lstStyle/>
            <a:p>
              <a:endParaRPr lang="en-IN"/>
            </a:p>
          </p:txBody>
        </p:sp>
        <p:sp>
          <p:nvSpPr>
            <p:cNvPr id="430" name="Freeform: Shape 429">
              <a:extLst>
                <a:ext uri="{FF2B5EF4-FFF2-40B4-BE49-F238E27FC236}">
                  <a16:creationId xmlns:a16="http://schemas.microsoft.com/office/drawing/2014/main" id="{A181386A-0B3B-E0F9-2026-FEF1BAF51957}"/>
                </a:ext>
              </a:extLst>
            </p:cNvPr>
            <p:cNvSpPr/>
            <p:nvPr/>
          </p:nvSpPr>
          <p:spPr>
            <a:xfrm>
              <a:off x="5502455" y="1899167"/>
              <a:ext cx="169495" cy="251139"/>
            </a:xfrm>
            <a:custGeom>
              <a:avLst/>
              <a:gdLst>
                <a:gd name="connsiteX0" fmla="*/ 87370 w 169495"/>
                <a:gd name="connsiteY0" fmla="*/ 251140 h 251139"/>
                <a:gd name="connsiteX1" fmla="*/ 87560 w 169495"/>
                <a:gd name="connsiteY1" fmla="*/ 251140 h 251139"/>
                <a:gd name="connsiteX2" fmla="*/ 88513 w 169495"/>
                <a:gd name="connsiteY2" fmla="*/ 248663 h 251139"/>
                <a:gd name="connsiteX3" fmla="*/ 116326 w 169495"/>
                <a:gd name="connsiteY3" fmla="*/ 242472 h 251139"/>
                <a:gd name="connsiteX4" fmla="*/ 102229 w 169495"/>
                <a:gd name="connsiteY4" fmla="*/ 231137 h 251139"/>
                <a:gd name="connsiteX5" fmla="*/ 82131 w 169495"/>
                <a:gd name="connsiteY5" fmla="*/ 231137 h 251139"/>
                <a:gd name="connsiteX6" fmla="*/ 81845 w 169495"/>
                <a:gd name="connsiteY6" fmla="*/ 229803 h 251139"/>
                <a:gd name="connsiteX7" fmla="*/ 95466 w 169495"/>
                <a:gd name="connsiteY7" fmla="*/ 218183 h 251139"/>
                <a:gd name="connsiteX8" fmla="*/ 93561 w 169495"/>
                <a:gd name="connsiteY8" fmla="*/ 193132 h 251139"/>
                <a:gd name="connsiteX9" fmla="*/ 97847 w 169495"/>
                <a:gd name="connsiteY9" fmla="*/ 188465 h 251139"/>
                <a:gd name="connsiteX10" fmla="*/ 99752 w 169495"/>
                <a:gd name="connsiteY10" fmla="*/ 178178 h 251139"/>
                <a:gd name="connsiteX11" fmla="*/ 115373 w 169495"/>
                <a:gd name="connsiteY11" fmla="*/ 173130 h 251139"/>
                <a:gd name="connsiteX12" fmla="*/ 110420 w 169495"/>
                <a:gd name="connsiteY12" fmla="*/ 168082 h 251139"/>
                <a:gd name="connsiteX13" fmla="*/ 111277 w 169495"/>
                <a:gd name="connsiteY13" fmla="*/ 161700 h 251139"/>
                <a:gd name="connsiteX14" fmla="*/ 120326 w 169495"/>
                <a:gd name="connsiteY14" fmla="*/ 162271 h 251139"/>
                <a:gd name="connsiteX15" fmla="*/ 128613 w 169495"/>
                <a:gd name="connsiteY15" fmla="*/ 154556 h 251139"/>
                <a:gd name="connsiteX16" fmla="*/ 127375 w 169495"/>
                <a:gd name="connsiteY16" fmla="*/ 143031 h 251139"/>
                <a:gd name="connsiteX17" fmla="*/ 134804 w 169495"/>
                <a:gd name="connsiteY17" fmla="*/ 129315 h 251139"/>
                <a:gd name="connsiteX18" fmla="*/ 138805 w 169495"/>
                <a:gd name="connsiteY18" fmla="*/ 131601 h 251139"/>
                <a:gd name="connsiteX19" fmla="*/ 147568 w 169495"/>
                <a:gd name="connsiteY19" fmla="*/ 137982 h 251139"/>
                <a:gd name="connsiteX20" fmla="*/ 154330 w 169495"/>
                <a:gd name="connsiteY20" fmla="*/ 134553 h 251139"/>
                <a:gd name="connsiteX21" fmla="*/ 161093 w 169495"/>
                <a:gd name="connsiteY21" fmla="*/ 132172 h 251139"/>
                <a:gd name="connsiteX22" fmla="*/ 168142 w 169495"/>
                <a:gd name="connsiteY22" fmla="*/ 109217 h 251139"/>
                <a:gd name="connsiteX23" fmla="*/ 159379 w 169495"/>
                <a:gd name="connsiteY23" fmla="*/ 105312 h 251139"/>
                <a:gd name="connsiteX24" fmla="*/ 144996 w 169495"/>
                <a:gd name="connsiteY24" fmla="*/ 106931 h 251139"/>
                <a:gd name="connsiteX25" fmla="*/ 134709 w 169495"/>
                <a:gd name="connsiteY25" fmla="*/ 99216 h 251139"/>
                <a:gd name="connsiteX26" fmla="*/ 129184 w 169495"/>
                <a:gd name="connsiteY26" fmla="*/ 75975 h 251139"/>
                <a:gd name="connsiteX27" fmla="*/ 146806 w 169495"/>
                <a:gd name="connsiteY27" fmla="*/ 38256 h 251139"/>
                <a:gd name="connsiteX28" fmla="*/ 146520 w 169495"/>
                <a:gd name="connsiteY28" fmla="*/ 30636 h 251139"/>
                <a:gd name="connsiteX29" fmla="*/ 142615 w 169495"/>
                <a:gd name="connsiteY29" fmla="*/ 19872 h 251139"/>
                <a:gd name="connsiteX30" fmla="*/ 143758 w 169495"/>
                <a:gd name="connsiteY30" fmla="*/ 11967 h 251139"/>
                <a:gd name="connsiteX31" fmla="*/ 151949 w 169495"/>
                <a:gd name="connsiteY31" fmla="*/ 5299 h 251139"/>
                <a:gd name="connsiteX32" fmla="*/ 142615 w 169495"/>
                <a:gd name="connsiteY32" fmla="*/ 2061 h 251139"/>
                <a:gd name="connsiteX33" fmla="*/ 105372 w 169495"/>
                <a:gd name="connsiteY33" fmla="*/ 20920 h 251139"/>
                <a:gd name="connsiteX34" fmla="*/ 48793 w 169495"/>
                <a:gd name="connsiteY34" fmla="*/ 53877 h 251139"/>
                <a:gd name="connsiteX35" fmla="*/ 33458 w 169495"/>
                <a:gd name="connsiteY35" fmla="*/ 56258 h 251139"/>
                <a:gd name="connsiteX36" fmla="*/ 25171 w 169495"/>
                <a:gd name="connsiteY36" fmla="*/ 60640 h 251139"/>
                <a:gd name="connsiteX37" fmla="*/ 1168 w 169495"/>
                <a:gd name="connsiteY37" fmla="*/ 103502 h 251139"/>
                <a:gd name="connsiteX38" fmla="*/ 2597 w 169495"/>
                <a:gd name="connsiteY38" fmla="*/ 177987 h 251139"/>
                <a:gd name="connsiteX39" fmla="*/ 2788 w 169495"/>
                <a:gd name="connsiteY39" fmla="*/ 194180 h 251139"/>
                <a:gd name="connsiteX40" fmla="*/ 16789 w 169495"/>
                <a:gd name="connsiteY40" fmla="*/ 206182 h 251139"/>
                <a:gd name="connsiteX41" fmla="*/ 18028 w 169495"/>
                <a:gd name="connsiteY41" fmla="*/ 198561 h 251139"/>
                <a:gd name="connsiteX42" fmla="*/ 11170 w 169495"/>
                <a:gd name="connsiteY42" fmla="*/ 187893 h 251139"/>
                <a:gd name="connsiteX43" fmla="*/ 16027 w 169495"/>
                <a:gd name="connsiteY43" fmla="*/ 187227 h 251139"/>
                <a:gd name="connsiteX44" fmla="*/ 32791 w 169495"/>
                <a:gd name="connsiteY44" fmla="*/ 205229 h 251139"/>
                <a:gd name="connsiteX45" fmla="*/ 34411 w 169495"/>
                <a:gd name="connsiteY45" fmla="*/ 227041 h 251139"/>
                <a:gd name="connsiteX46" fmla="*/ 32887 w 169495"/>
                <a:gd name="connsiteY46" fmla="*/ 250187 h 251139"/>
                <a:gd name="connsiteX47" fmla="*/ 32887 w 169495"/>
                <a:gd name="connsiteY47" fmla="*/ 250187 h 251139"/>
                <a:gd name="connsiteX48" fmla="*/ 87370 w 169495"/>
                <a:gd name="connsiteY48" fmla="*/ 250949 h 251139"/>
                <a:gd name="connsiteX49" fmla="*/ 84512 w 169495"/>
                <a:gd name="connsiteY49" fmla="*/ 58544 h 251139"/>
                <a:gd name="connsiteX50" fmla="*/ 99371 w 169495"/>
                <a:gd name="connsiteY50" fmla="*/ 59211 h 251139"/>
                <a:gd name="connsiteX51" fmla="*/ 88513 w 169495"/>
                <a:gd name="connsiteY51" fmla="*/ 69498 h 251139"/>
                <a:gd name="connsiteX52" fmla="*/ 84512 w 169495"/>
                <a:gd name="connsiteY52" fmla="*/ 58544 h 251139"/>
                <a:gd name="connsiteX53" fmla="*/ 68415 w 169495"/>
                <a:gd name="connsiteY53" fmla="*/ 100740 h 251139"/>
                <a:gd name="connsiteX54" fmla="*/ 57080 w 169495"/>
                <a:gd name="connsiteY54" fmla="*/ 98549 h 251139"/>
                <a:gd name="connsiteX55" fmla="*/ 66319 w 169495"/>
                <a:gd name="connsiteY55" fmla="*/ 89500 h 251139"/>
                <a:gd name="connsiteX56" fmla="*/ 69082 w 169495"/>
                <a:gd name="connsiteY56" fmla="*/ 90167 h 251139"/>
                <a:gd name="connsiteX57" fmla="*/ 68510 w 169495"/>
                <a:gd name="connsiteY57" fmla="*/ 100740 h 251139"/>
                <a:gd name="connsiteX58" fmla="*/ 67462 w 169495"/>
                <a:gd name="connsiteY58" fmla="*/ 70260 h 251139"/>
                <a:gd name="connsiteX59" fmla="*/ 59271 w 169495"/>
                <a:gd name="connsiteY59" fmla="*/ 81213 h 251139"/>
                <a:gd name="connsiteX60" fmla="*/ 53175 w 169495"/>
                <a:gd name="connsiteY60" fmla="*/ 81690 h 251139"/>
                <a:gd name="connsiteX61" fmla="*/ 41840 w 169495"/>
                <a:gd name="connsiteY61" fmla="*/ 71784 h 251139"/>
                <a:gd name="connsiteX62" fmla="*/ 40983 w 169495"/>
                <a:gd name="connsiteY62" fmla="*/ 71498 h 251139"/>
                <a:gd name="connsiteX63" fmla="*/ 67367 w 169495"/>
                <a:gd name="connsiteY63" fmla="*/ 70260 h 251139"/>
                <a:gd name="connsiteX64" fmla="*/ 12122 w 169495"/>
                <a:gd name="connsiteY64" fmla="*/ 161985 h 251139"/>
                <a:gd name="connsiteX65" fmla="*/ 6598 w 169495"/>
                <a:gd name="connsiteY65" fmla="*/ 151127 h 251139"/>
                <a:gd name="connsiteX66" fmla="*/ 14694 w 169495"/>
                <a:gd name="connsiteY66" fmla="*/ 148746 h 251139"/>
                <a:gd name="connsiteX67" fmla="*/ 15742 w 169495"/>
                <a:gd name="connsiteY67" fmla="*/ 151603 h 251139"/>
                <a:gd name="connsiteX68" fmla="*/ 12122 w 169495"/>
                <a:gd name="connsiteY68" fmla="*/ 161985 h 251139"/>
                <a:gd name="connsiteX69" fmla="*/ 34315 w 169495"/>
                <a:gd name="connsiteY69" fmla="*/ 111503 h 251139"/>
                <a:gd name="connsiteX70" fmla="*/ 21647 w 169495"/>
                <a:gd name="connsiteY70" fmla="*/ 104264 h 251139"/>
                <a:gd name="connsiteX71" fmla="*/ 12503 w 169495"/>
                <a:gd name="connsiteY71" fmla="*/ 101311 h 251139"/>
                <a:gd name="connsiteX72" fmla="*/ 10312 w 169495"/>
                <a:gd name="connsiteY72" fmla="*/ 95120 h 251139"/>
                <a:gd name="connsiteX73" fmla="*/ 24409 w 169495"/>
                <a:gd name="connsiteY73" fmla="*/ 96358 h 251139"/>
                <a:gd name="connsiteX74" fmla="*/ 38602 w 169495"/>
                <a:gd name="connsiteY74" fmla="*/ 90453 h 251139"/>
                <a:gd name="connsiteX75" fmla="*/ 43459 w 169495"/>
                <a:gd name="connsiteY75" fmla="*/ 94453 h 251139"/>
                <a:gd name="connsiteX76" fmla="*/ 39364 w 169495"/>
                <a:gd name="connsiteY76" fmla="*/ 104645 h 251139"/>
                <a:gd name="connsiteX77" fmla="*/ 34411 w 169495"/>
                <a:gd name="connsiteY77" fmla="*/ 111598 h 25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69495" h="251139">
                  <a:moveTo>
                    <a:pt x="87370" y="251140"/>
                  </a:moveTo>
                  <a:lnTo>
                    <a:pt x="87560" y="251140"/>
                  </a:lnTo>
                  <a:cubicBezTo>
                    <a:pt x="87465" y="250473"/>
                    <a:pt x="87751" y="249711"/>
                    <a:pt x="88513" y="248663"/>
                  </a:cubicBezTo>
                  <a:cubicBezTo>
                    <a:pt x="95371" y="239900"/>
                    <a:pt x="120993" y="252854"/>
                    <a:pt x="116326" y="242472"/>
                  </a:cubicBezTo>
                  <a:cubicBezTo>
                    <a:pt x="113278" y="235709"/>
                    <a:pt x="101276" y="230566"/>
                    <a:pt x="102229" y="231137"/>
                  </a:cubicBezTo>
                  <a:cubicBezTo>
                    <a:pt x="93085" y="226089"/>
                    <a:pt x="84036" y="240662"/>
                    <a:pt x="82131" y="231137"/>
                  </a:cubicBezTo>
                  <a:lnTo>
                    <a:pt x="81845" y="229803"/>
                  </a:lnTo>
                  <a:cubicBezTo>
                    <a:pt x="80131" y="221231"/>
                    <a:pt x="90703" y="224469"/>
                    <a:pt x="95466" y="218183"/>
                  </a:cubicBezTo>
                  <a:cubicBezTo>
                    <a:pt x="100705" y="211134"/>
                    <a:pt x="86417" y="201038"/>
                    <a:pt x="93561" y="193132"/>
                  </a:cubicBezTo>
                  <a:lnTo>
                    <a:pt x="97847" y="188465"/>
                  </a:lnTo>
                  <a:cubicBezTo>
                    <a:pt x="103181" y="182559"/>
                    <a:pt x="91846" y="178654"/>
                    <a:pt x="99752" y="178178"/>
                  </a:cubicBezTo>
                  <a:cubicBezTo>
                    <a:pt x="103467" y="177511"/>
                    <a:pt x="113087" y="179130"/>
                    <a:pt x="115373" y="173130"/>
                  </a:cubicBezTo>
                  <a:cubicBezTo>
                    <a:pt x="117088" y="168558"/>
                    <a:pt x="109468" y="167605"/>
                    <a:pt x="110420" y="168082"/>
                  </a:cubicBezTo>
                  <a:cubicBezTo>
                    <a:pt x="103372" y="167129"/>
                    <a:pt x="104134" y="161319"/>
                    <a:pt x="111277" y="161700"/>
                  </a:cubicBezTo>
                  <a:lnTo>
                    <a:pt x="120326" y="162271"/>
                  </a:lnTo>
                  <a:cubicBezTo>
                    <a:pt x="126803" y="162652"/>
                    <a:pt x="129280" y="153603"/>
                    <a:pt x="128613" y="154556"/>
                  </a:cubicBezTo>
                  <a:cubicBezTo>
                    <a:pt x="130708" y="148936"/>
                    <a:pt x="127184" y="142078"/>
                    <a:pt x="127375" y="143031"/>
                  </a:cubicBezTo>
                  <a:cubicBezTo>
                    <a:pt x="124041" y="136077"/>
                    <a:pt x="135566" y="128362"/>
                    <a:pt x="134804" y="129315"/>
                  </a:cubicBezTo>
                  <a:cubicBezTo>
                    <a:pt x="138995" y="125505"/>
                    <a:pt x="139186" y="132553"/>
                    <a:pt x="138805" y="131601"/>
                  </a:cubicBezTo>
                  <a:cubicBezTo>
                    <a:pt x="138805" y="138649"/>
                    <a:pt x="144615" y="144555"/>
                    <a:pt x="147568" y="137982"/>
                  </a:cubicBezTo>
                  <a:cubicBezTo>
                    <a:pt x="148425" y="137030"/>
                    <a:pt x="149949" y="132077"/>
                    <a:pt x="154330" y="134553"/>
                  </a:cubicBezTo>
                  <a:cubicBezTo>
                    <a:pt x="156616" y="135887"/>
                    <a:pt x="159664" y="134839"/>
                    <a:pt x="161093" y="132172"/>
                  </a:cubicBezTo>
                  <a:cubicBezTo>
                    <a:pt x="164522" y="124076"/>
                    <a:pt x="172714" y="116266"/>
                    <a:pt x="168142" y="109217"/>
                  </a:cubicBezTo>
                  <a:cubicBezTo>
                    <a:pt x="167189" y="108455"/>
                    <a:pt x="165094" y="103407"/>
                    <a:pt x="159379" y="105312"/>
                  </a:cubicBezTo>
                  <a:cubicBezTo>
                    <a:pt x="158426" y="105502"/>
                    <a:pt x="151663" y="108741"/>
                    <a:pt x="144996" y="106931"/>
                  </a:cubicBezTo>
                  <a:cubicBezTo>
                    <a:pt x="144044" y="106455"/>
                    <a:pt x="136328" y="105978"/>
                    <a:pt x="134709" y="99216"/>
                  </a:cubicBezTo>
                  <a:lnTo>
                    <a:pt x="129184" y="75975"/>
                  </a:lnTo>
                  <a:cubicBezTo>
                    <a:pt x="126327" y="63878"/>
                    <a:pt x="147282" y="51781"/>
                    <a:pt x="146806" y="38256"/>
                  </a:cubicBezTo>
                  <a:lnTo>
                    <a:pt x="146520" y="30636"/>
                  </a:lnTo>
                  <a:cubicBezTo>
                    <a:pt x="146329" y="24825"/>
                    <a:pt x="142138" y="18920"/>
                    <a:pt x="142615" y="19872"/>
                  </a:cubicBezTo>
                  <a:cubicBezTo>
                    <a:pt x="140900" y="17396"/>
                    <a:pt x="141472" y="13872"/>
                    <a:pt x="143758" y="11967"/>
                  </a:cubicBezTo>
                  <a:lnTo>
                    <a:pt x="151949" y="5299"/>
                  </a:lnTo>
                  <a:cubicBezTo>
                    <a:pt x="157474" y="822"/>
                    <a:pt x="148330" y="-2226"/>
                    <a:pt x="142615" y="2061"/>
                  </a:cubicBezTo>
                  <a:cubicBezTo>
                    <a:pt x="120421" y="18634"/>
                    <a:pt x="112420" y="10443"/>
                    <a:pt x="105372" y="20920"/>
                  </a:cubicBezTo>
                  <a:cubicBezTo>
                    <a:pt x="70701" y="72355"/>
                    <a:pt x="69367" y="41494"/>
                    <a:pt x="48793" y="53877"/>
                  </a:cubicBezTo>
                  <a:cubicBezTo>
                    <a:pt x="42888" y="57496"/>
                    <a:pt x="32506" y="56258"/>
                    <a:pt x="33458" y="56258"/>
                  </a:cubicBezTo>
                  <a:cubicBezTo>
                    <a:pt x="30505" y="56163"/>
                    <a:pt x="26791" y="58163"/>
                    <a:pt x="25171" y="60640"/>
                  </a:cubicBezTo>
                  <a:cubicBezTo>
                    <a:pt x="5740" y="91310"/>
                    <a:pt x="1549" y="95977"/>
                    <a:pt x="1168" y="103502"/>
                  </a:cubicBezTo>
                  <a:cubicBezTo>
                    <a:pt x="-2642" y="179892"/>
                    <a:pt x="7360" y="162938"/>
                    <a:pt x="2597" y="177987"/>
                  </a:cubicBezTo>
                  <a:cubicBezTo>
                    <a:pt x="2121" y="181035"/>
                    <a:pt x="-3118" y="189227"/>
                    <a:pt x="2788" y="194180"/>
                  </a:cubicBezTo>
                  <a:lnTo>
                    <a:pt x="16789" y="206182"/>
                  </a:lnTo>
                  <a:cubicBezTo>
                    <a:pt x="22219" y="210849"/>
                    <a:pt x="23457" y="203324"/>
                    <a:pt x="18028" y="198561"/>
                  </a:cubicBezTo>
                  <a:cubicBezTo>
                    <a:pt x="17075" y="197418"/>
                    <a:pt x="10312" y="193037"/>
                    <a:pt x="11170" y="187893"/>
                  </a:cubicBezTo>
                  <a:cubicBezTo>
                    <a:pt x="11455" y="185703"/>
                    <a:pt x="13646" y="185417"/>
                    <a:pt x="16027" y="187227"/>
                  </a:cubicBezTo>
                  <a:cubicBezTo>
                    <a:pt x="27838" y="196275"/>
                    <a:pt x="32315" y="198561"/>
                    <a:pt x="32791" y="205229"/>
                  </a:cubicBezTo>
                  <a:lnTo>
                    <a:pt x="34411" y="227041"/>
                  </a:lnTo>
                  <a:cubicBezTo>
                    <a:pt x="35173" y="237519"/>
                    <a:pt x="31553" y="244186"/>
                    <a:pt x="32887" y="250187"/>
                  </a:cubicBezTo>
                  <a:lnTo>
                    <a:pt x="32887" y="250187"/>
                  </a:lnTo>
                  <a:cubicBezTo>
                    <a:pt x="32887" y="250187"/>
                    <a:pt x="87370" y="250949"/>
                    <a:pt x="87370" y="250949"/>
                  </a:cubicBezTo>
                  <a:close/>
                  <a:moveTo>
                    <a:pt x="84512" y="58544"/>
                  </a:moveTo>
                  <a:cubicBezTo>
                    <a:pt x="84512" y="58544"/>
                    <a:pt x="103086" y="51876"/>
                    <a:pt x="99371" y="59211"/>
                  </a:cubicBezTo>
                  <a:cubicBezTo>
                    <a:pt x="96895" y="62735"/>
                    <a:pt x="94037" y="75308"/>
                    <a:pt x="88513" y="69498"/>
                  </a:cubicBezTo>
                  <a:cubicBezTo>
                    <a:pt x="87179" y="67593"/>
                    <a:pt x="76987" y="60258"/>
                    <a:pt x="84512" y="58544"/>
                  </a:cubicBezTo>
                  <a:close/>
                  <a:moveTo>
                    <a:pt x="68415" y="100740"/>
                  </a:moveTo>
                  <a:cubicBezTo>
                    <a:pt x="65748" y="100835"/>
                    <a:pt x="54318" y="105693"/>
                    <a:pt x="57080" y="98549"/>
                  </a:cubicBezTo>
                  <a:cubicBezTo>
                    <a:pt x="57937" y="97216"/>
                    <a:pt x="59271" y="87691"/>
                    <a:pt x="66319" y="89500"/>
                  </a:cubicBezTo>
                  <a:lnTo>
                    <a:pt x="69082" y="90167"/>
                  </a:lnTo>
                  <a:cubicBezTo>
                    <a:pt x="75940" y="91977"/>
                    <a:pt x="75368" y="99311"/>
                    <a:pt x="68510" y="100740"/>
                  </a:cubicBezTo>
                  <a:close/>
                  <a:moveTo>
                    <a:pt x="67462" y="70260"/>
                  </a:moveTo>
                  <a:cubicBezTo>
                    <a:pt x="66796" y="71688"/>
                    <a:pt x="66510" y="80642"/>
                    <a:pt x="59271" y="81213"/>
                  </a:cubicBezTo>
                  <a:lnTo>
                    <a:pt x="53175" y="81690"/>
                  </a:lnTo>
                  <a:cubicBezTo>
                    <a:pt x="45364" y="82357"/>
                    <a:pt x="49460" y="74165"/>
                    <a:pt x="41840" y="71784"/>
                  </a:cubicBezTo>
                  <a:lnTo>
                    <a:pt x="40983" y="71498"/>
                  </a:lnTo>
                  <a:cubicBezTo>
                    <a:pt x="28791" y="67593"/>
                    <a:pt x="70606" y="58353"/>
                    <a:pt x="67367" y="70260"/>
                  </a:cubicBezTo>
                  <a:close/>
                  <a:moveTo>
                    <a:pt x="12122" y="161985"/>
                  </a:moveTo>
                  <a:cubicBezTo>
                    <a:pt x="7360" y="160080"/>
                    <a:pt x="6217" y="150174"/>
                    <a:pt x="6598" y="151127"/>
                  </a:cubicBezTo>
                  <a:cubicBezTo>
                    <a:pt x="5264" y="144078"/>
                    <a:pt x="12408" y="141983"/>
                    <a:pt x="14694" y="148746"/>
                  </a:cubicBezTo>
                  <a:lnTo>
                    <a:pt x="15742" y="151603"/>
                  </a:lnTo>
                  <a:cubicBezTo>
                    <a:pt x="17647" y="157223"/>
                    <a:pt x="17647" y="164176"/>
                    <a:pt x="12122" y="161985"/>
                  </a:cubicBezTo>
                  <a:close/>
                  <a:moveTo>
                    <a:pt x="34315" y="111503"/>
                  </a:moveTo>
                  <a:cubicBezTo>
                    <a:pt x="26886" y="112074"/>
                    <a:pt x="29362" y="106836"/>
                    <a:pt x="21647" y="104264"/>
                  </a:cubicBezTo>
                  <a:lnTo>
                    <a:pt x="12503" y="101311"/>
                  </a:lnTo>
                  <a:cubicBezTo>
                    <a:pt x="7455" y="99692"/>
                    <a:pt x="10408" y="94167"/>
                    <a:pt x="10312" y="95120"/>
                  </a:cubicBezTo>
                  <a:cubicBezTo>
                    <a:pt x="14408" y="88738"/>
                    <a:pt x="25362" y="96644"/>
                    <a:pt x="24409" y="96358"/>
                  </a:cubicBezTo>
                  <a:cubicBezTo>
                    <a:pt x="31363" y="99978"/>
                    <a:pt x="30601" y="90453"/>
                    <a:pt x="38602" y="90453"/>
                  </a:cubicBezTo>
                  <a:cubicBezTo>
                    <a:pt x="39554" y="90738"/>
                    <a:pt x="47936" y="89500"/>
                    <a:pt x="43459" y="94453"/>
                  </a:cubicBezTo>
                  <a:cubicBezTo>
                    <a:pt x="42888" y="95406"/>
                    <a:pt x="39078" y="98740"/>
                    <a:pt x="39364" y="104645"/>
                  </a:cubicBezTo>
                  <a:cubicBezTo>
                    <a:pt x="39078" y="105597"/>
                    <a:pt x="39840" y="111122"/>
                    <a:pt x="34411" y="111598"/>
                  </a:cubicBezTo>
                  <a:close/>
                </a:path>
              </a:pathLst>
            </a:custGeom>
            <a:solidFill>
              <a:schemeClr val="bg1">
                <a:lumMod val="95000"/>
              </a:schemeClr>
            </a:solidFill>
            <a:ln w="9525" cap="flat">
              <a:noFill/>
              <a:prstDash val="solid"/>
              <a:miter/>
            </a:ln>
          </p:spPr>
          <p:txBody>
            <a:bodyPr rtlCol="0" anchor="ctr"/>
            <a:lstStyle/>
            <a:p>
              <a:endParaRPr lang="en-IN"/>
            </a:p>
          </p:txBody>
        </p:sp>
      </p:grpSp>
      <p:sp>
        <p:nvSpPr>
          <p:cNvPr id="431" name="Freeform: Shape 430">
            <a:extLst>
              <a:ext uri="{FF2B5EF4-FFF2-40B4-BE49-F238E27FC236}">
                <a16:creationId xmlns:a16="http://schemas.microsoft.com/office/drawing/2014/main" id="{6830E466-64C3-0C35-355B-BAFFFF94EBD0}"/>
              </a:ext>
            </a:extLst>
          </p:cNvPr>
          <p:cNvSpPr/>
          <p:nvPr/>
        </p:nvSpPr>
        <p:spPr>
          <a:xfrm>
            <a:off x="6323424" y="2003705"/>
            <a:ext cx="400431" cy="195929"/>
          </a:xfrm>
          <a:custGeom>
            <a:avLst/>
            <a:gdLst>
              <a:gd name="connsiteX0" fmla="*/ 175070 w 400431"/>
              <a:gd name="connsiteY0" fmla="*/ 161068 h 195929"/>
              <a:gd name="connsiteX1" fmla="*/ 289370 w 400431"/>
              <a:gd name="connsiteY1" fmla="*/ 193548 h 195929"/>
              <a:gd name="connsiteX2" fmla="*/ 289751 w 400431"/>
              <a:gd name="connsiteY2" fmla="*/ 193929 h 195929"/>
              <a:gd name="connsiteX3" fmla="*/ 299657 w 400431"/>
              <a:gd name="connsiteY3" fmla="*/ 172974 h 195929"/>
              <a:gd name="connsiteX4" fmla="*/ 345662 w 400431"/>
              <a:gd name="connsiteY4" fmla="*/ 168212 h 195929"/>
              <a:gd name="connsiteX5" fmla="*/ 360807 w 400431"/>
              <a:gd name="connsiteY5" fmla="*/ 140398 h 195929"/>
              <a:gd name="connsiteX6" fmla="*/ 400431 w 400431"/>
              <a:gd name="connsiteY6" fmla="*/ 122111 h 195929"/>
              <a:gd name="connsiteX7" fmla="*/ 383000 w 400431"/>
              <a:gd name="connsiteY7" fmla="*/ 91154 h 195929"/>
              <a:gd name="connsiteX8" fmla="*/ 329851 w 400431"/>
              <a:gd name="connsiteY8" fmla="*/ 82487 h 195929"/>
              <a:gd name="connsiteX9" fmla="*/ 339376 w 400431"/>
              <a:gd name="connsiteY9" fmla="*/ 63437 h 195929"/>
              <a:gd name="connsiteX10" fmla="*/ 289370 w 400431"/>
              <a:gd name="connsiteY10" fmla="*/ 51530 h 195929"/>
              <a:gd name="connsiteX11" fmla="*/ 290132 w 400431"/>
              <a:gd name="connsiteY11" fmla="*/ 68199 h 195929"/>
              <a:gd name="connsiteX12" fmla="*/ 271844 w 400431"/>
              <a:gd name="connsiteY12" fmla="*/ 79248 h 195929"/>
              <a:gd name="connsiteX13" fmla="*/ 244126 w 400431"/>
              <a:gd name="connsiteY13" fmla="*/ 53054 h 195929"/>
              <a:gd name="connsiteX14" fmla="*/ 256794 w 400431"/>
              <a:gd name="connsiteY14" fmla="*/ 35623 h 195929"/>
              <a:gd name="connsiteX15" fmla="*/ 198025 w 400431"/>
              <a:gd name="connsiteY15" fmla="*/ 23717 h 195929"/>
              <a:gd name="connsiteX16" fmla="*/ 190119 w 400431"/>
              <a:gd name="connsiteY16" fmla="*/ 1524 h 195929"/>
              <a:gd name="connsiteX17" fmla="*/ 170307 w 400431"/>
              <a:gd name="connsiteY17" fmla="*/ 0 h 195929"/>
              <a:gd name="connsiteX18" fmla="*/ 170307 w 400431"/>
              <a:gd name="connsiteY18" fmla="*/ 15335 h 195929"/>
              <a:gd name="connsiteX19" fmla="*/ 148876 w 400431"/>
              <a:gd name="connsiteY19" fmla="*/ 16573 h 195929"/>
              <a:gd name="connsiteX20" fmla="*/ 133350 w 400431"/>
              <a:gd name="connsiteY20" fmla="*/ 1048 h 195929"/>
              <a:gd name="connsiteX21" fmla="*/ 127445 w 400431"/>
              <a:gd name="connsiteY21" fmla="*/ 14192 h 195929"/>
              <a:gd name="connsiteX22" fmla="*/ 0 w 400431"/>
              <a:gd name="connsiteY22" fmla="*/ 60579 h 195929"/>
              <a:gd name="connsiteX23" fmla="*/ 22670 w 400431"/>
              <a:gd name="connsiteY23" fmla="*/ 90392 h 195929"/>
              <a:gd name="connsiteX24" fmla="*/ 14288 w 400431"/>
              <a:gd name="connsiteY24" fmla="*/ 109442 h 195929"/>
              <a:gd name="connsiteX25" fmla="*/ 100013 w 400431"/>
              <a:gd name="connsiteY25" fmla="*/ 180880 h 195929"/>
              <a:gd name="connsiteX26" fmla="*/ 156020 w 400431"/>
              <a:gd name="connsiteY26" fmla="*/ 195929 h 195929"/>
              <a:gd name="connsiteX27" fmla="*/ 175070 w 400431"/>
              <a:gd name="connsiteY27" fmla="*/ 161068 h 19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00431" h="195929">
                <a:moveTo>
                  <a:pt x="175070" y="161068"/>
                </a:moveTo>
                <a:lnTo>
                  <a:pt x="289370" y="193548"/>
                </a:lnTo>
                <a:lnTo>
                  <a:pt x="289751" y="193929"/>
                </a:lnTo>
                <a:lnTo>
                  <a:pt x="299657" y="172974"/>
                </a:lnTo>
                <a:lnTo>
                  <a:pt x="345662" y="168212"/>
                </a:lnTo>
                <a:lnTo>
                  <a:pt x="360807" y="140398"/>
                </a:lnTo>
                <a:lnTo>
                  <a:pt x="400431" y="122111"/>
                </a:lnTo>
                <a:lnTo>
                  <a:pt x="383000" y="91154"/>
                </a:lnTo>
                <a:lnTo>
                  <a:pt x="329851" y="82487"/>
                </a:lnTo>
                <a:lnTo>
                  <a:pt x="339376" y="63437"/>
                </a:lnTo>
                <a:lnTo>
                  <a:pt x="289370" y="51530"/>
                </a:lnTo>
                <a:lnTo>
                  <a:pt x="290132" y="68199"/>
                </a:lnTo>
                <a:lnTo>
                  <a:pt x="271844" y="79248"/>
                </a:lnTo>
                <a:lnTo>
                  <a:pt x="244126" y="53054"/>
                </a:lnTo>
                <a:lnTo>
                  <a:pt x="256794" y="35623"/>
                </a:lnTo>
                <a:lnTo>
                  <a:pt x="198025" y="23717"/>
                </a:lnTo>
                <a:lnTo>
                  <a:pt x="190119" y="1524"/>
                </a:lnTo>
                <a:lnTo>
                  <a:pt x="170307" y="0"/>
                </a:lnTo>
                <a:lnTo>
                  <a:pt x="170307" y="15335"/>
                </a:lnTo>
                <a:lnTo>
                  <a:pt x="148876" y="16573"/>
                </a:lnTo>
                <a:lnTo>
                  <a:pt x="133350" y="1048"/>
                </a:lnTo>
                <a:lnTo>
                  <a:pt x="127445" y="14192"/>
                </a:lnTo>
                <a:lnTo>
                  <a:pt x="0" y="60579"/>
                </a:lnTo>
                <a:lnTo>
                  <a:pt x="22670" y="90392"/>
                </a:lnTo>
                <a:lnTo>
                  <a:pt x="14288" y="109442"/>
                </a:lnTo>
                <a:lnTo>
                  <a:pt x="100013" y="180880"/>
                </a:lnTo>
                <a:lnTo>
                  <a:pt x="156020" y="195929"/>
                </a:lnTo>
                <a:lnTo>
                  <a:pt x="175070" y="161068"/>
                </a:lnTo>
                <a:close/>
              </a:path>
            </a:pathLst>
          </a:custGeom>
          <a:solidFill>
            <a:schemeClr val="bg1">
              <a:lumMod val="95000"/>
            </a:schemeClr>
          </a:solidFill>
          <a:ln w="9525" cap="flat">
            <a:noFill/>
            <a:prstDash val="solid"/>
            <a:miter/>
          </a:ln>
        </p:spPr>
        <p:txBody>
          <a:bodyPr rtlCol="0" anchor="ctr"/>
          <a:lstStyle/>
          <a:p>
            <a:endParaRPr lang="en-IN"/>
          </a:p>
        </p:txBody>
      </p:sp>
      <p:grpSp>
        <p:nvGrpSpPr>
          <p:cNvPr id="432" name="Graphic 166">
            <a:extLst>
              <a:ext uri="{FF2B5EF4-FFF2-40B4-BE49-F238E27FC236}">
                <a16:creationId xmlns:a16="http://schemas.microsoft.com/office/drawing/2014/main" id="{77B66B79-19CF-F34A-0E3A-78B3BE9D0E0D}"/>
              </a:ext>
            </a:extLst>
          </p:cNvPr>
          <p:cNvGrpSpPr/>
          <p:nvPr/>
        </p:nvGrpSpPr>
        <p:grpSpPr>
          <a:xfrm>
            <a:off x="6406596" y="2359464"/>
            <a:ext cx="352691" cy="290226"/>
            <a:chOff x="5827969" y="2810675"/>
            <a:chExt cx="352691" cy="290226"/>
          </a:xfrm>
          <a:solidFill>
            <a:schemeClr val="bg1">
              <a:lumMod val="85000"/>
            </a:schemeClr>
          </a:solidFill>
        </p:grpSpPr>
        <p:sp>
          <p:nvSpPr>
            <p:cNvPr id="433" name="Freeform: Shape 432">
              <a:extLst>
                <a:ext uri="{FF2B5EF4-FFF2-40B4-BE49-F238E27FC236}">
                  <a16:creationId xmlns:a16="http://schemas.microsoft.com/office/drawing/2014/main" id="{C2C89A80-AD50-38AE-530F-166CB7CACFD4}"/>
                </a:ext>
              </a:extLst>
            </p:cNvPr>
            <p:cNvSpPr/>
            <p:nvPr/>
          </p:nvSpPr>
          <p:spPr>
            <a:xfrm>
              <a:off x="5876273" y="2912719"/>
              <a:ext cx="12098" cy="29011"/>
            </a:xfrm>
            <a:custGeom>
              <a:avLst/>
              <a:gdLst>
                <a:gd name="connsiteX0" fmla="*/ 5303 w 12098"/>
                <a:gd name="connsiteY0" fmla="*/ 3779 h 29011"/>
                <a:gd name="connsiteX1" fmla="*/ 160 w 12098"/>
                <a:gd name="connsiteY1" fmla="*/ 2827 h 29011"/>
                <a:gd name="connsiteX2" fmla="*/ 8161 w 12098"/>
                <a:gd name="connsiteY2" fmla="*/ 27687 h 29011"/>
                <a:gd name="connsiteX3" fmla="*/ 11971 w 12098"/>
                <a:gd name="connsiteY3" fmla="*/ 26163 h 29011"/>
                <a:gd name="connsiteX4" fmla="*/ 5208 w 12098"/>
                <a:gd name="connsiteY4" fmla="*/ 3779 h 29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8" h="29011">
                  <a:moveTo>
                    <a:pt x="5303" y="3779"/>
                  </a:moveTo>
                  <a:cubicBezTo>
                    <a:pt x="4351" y="3112"/>
                    <a:pt x="-983" y="-3746"/>
                    <a:pt x="160" y="2827"/>
                  </a:cubicBezTo>
                  <a:cubicBezTo>
                    <a:pt x="2731" y="17114"/>
                    <a:pt x="2731" y="23305"/>
                    <a:pt x="8161" y="27687"/>
                  </a:cubicBezTo>
                  <a:cubicBezTo>
                    <a:pt x="9113" y="27972"/>
                    <a:pt x="12828" y="31306"/>
                    <a:pt x="11971" y="26163"/>
                  </a:cubicBezTo>
                  <a:cubicBezTo>
                    <a:pt x="10352" y="16257"/>
                    <a:pt x="10161" y="8922"/>
                    <a:pt x="5208" y="3779"/>
                  </a:cubicBezTo>
                  <a:close/>
                </a:path>
              </a:pathLst>
            </a:custGeom>
            <a:grpFill/>
            <a:ln w="9525" cap="flat">
              <a:noFill/>
              <a:prstDash val="solid"/>
              <a:miter/>
            </a:ln>
          </p:spPr>
          <p:txBody>
            <a:bodyPr rtlCol="0" anchor="ctr"/>
            <a:lstStyle/>
            <a:p>
              <a:endParaRPr lang="en-IN"/>
            </a:p>
          </p:txBody>
        </p:sp>
        <p:sp>
          <p:nvSpPr>
            <p:cNvPr id="434" name="Freeform: Shape 433">
              <a:extLst>
                <a:ext uri="{FF2B5EF4-FFF2-40B4-BE49-F238E27FC236}">
                  <a16:creationId xmlns:a16="http://schemas.microsoft.com/office/drawing/2014/main" id="{DABB236B-EFAF-B56D-318F-988CE5CBE575}"/>
                </a:ext>
              </a:extLst>
            </p:cNvPr>
            <p:cNvSpPr/>
            <p:nvPr/>
          </p:nvSpPr>
          <p:spPr>
            <a:xfrm>
              <a:off x="5876068" y="2945073"/>
              <a:ext cx="13699" cy="16392"/>
            </a:xfrm>
            <a:custGeom>
              <a:avLst/>
              <a:gdLst>
                <a:gd name="connsiteX0" fmla="*/ 13699 w 13699"/>
                <a:gd name="connsiteY0" fmla="*/ 14097 h 16392"/>
                <a:gd name="connsiteX1" fmla="*/ 3794 w 13699"/>
                <a:gd name="connsiteY1" fmla="*/ 1048 h 16392"/>
                <a:gd name="connsiteX2" fmla="*/ 174 w 13699"/>
                <a:gd name="connsiteY2" fmla="*/ 3810 h 16392"/>
                <a:gd name="connsiteX3" fmla="*/ 13699 w 13699"/>
                <a:gd name="connsiteY3" fmla="*/ 14097 h 16392"/>
              </a:gdLst>
              <a:ahLst/>
              <a:cxnLst>
                <a:cxn ang="0">
                  <a:pos x="connsiteX0" y="connsiteY0"/>
                </a:cxn>
                <a:cxn ang="0">
                  <a:pos x="connsiteX1" y="connsiteY1"/>
                </a:cxn>
                <a:cxn ang="0">
                  <a:pos x="connsiteX2" y="connsiteY2"/>
                </a:cxn>
                <a:cxn ang="0">
                  <a:pos x="connsiteX3" y="connsiteY3"/>
                </a:cxn>
              </a:cxnLst>
              <a:rect l="l" t="t" r="r" b="b"/>
              <a:pathLst>
                <a:path w="13699" h="16392">
                  <a:moveTo>
                    <a:pt x="13699" y="14097"/>
                  </a:moveTo>
                  <a:cubicBezTo>
                    <a:pt x="13699" y="7620"/>
                    <a:pt x="2936" y="95"/>
                    <a:pt x="3794" y="1048"/>
                  </a:cubicBezTo>
                  <a:cubicBezTo>
                    <a:pt x="-588" y="-2667"/>
                    <a:pt x="-112" y="4763"/>
                    <a:pt x="174" y="3810"/>
                  </a:cubicBezTo>
                  <a:cubicBezTo>
                    <a:pt x="746" y="11240"/>
                    <a:pt x="13699" y="20860"/>
                    <a:pt x="13699" y="14097"/>
                  </a:cubicBezTo>
                  <a:close/>
                </a:path>
              </a:pathLst>
            </a:custGeom>
            <a:grpFill/>
            <a:ln w="9525" cap="flat">
              <a:noFill/>
              <a:prstDash val="solid"/>
              <a:miter/>
            </a:ln>
          </p:spPr>
          <p:txBody>
            <a:bodyPr rtlCol="0" anchor="ctr"/>
            <a:lstStyle/>
            <a:p>
              <a:endParaRPr lang="en-IN"/>
            </a:p>
          </p:txBody>
        </p:sp>
        <p:sp>
          <p:nvSpPr>
            <p:cNvPr id="435" name="Freeform: Shape 434">
              <a:extLst>
                <a:ext uri="{FF2B5EF4-FFF2-40B4-BE49-F238E27FC236}">
                  <a16:creationId xmlns:a16="http://schemas.microsoft.com/office/drawing/2014/main" id="{3A51424E-D747-1A52-901C-FE1C5C49B8C7}"/>
                </a:ext>
              </a:extLst>
            </p:cNvPr>
            <p:cNvSpPr/>
            <p:nvPr/>
          </p:nvSpPr>
          <p:spPr>
            <a:xfrm>
              <a:off x="5894741" y="2927488"/>
              <a:ext cx="9152" cy="10279"/>
            </a:xfrm>
            <a:custGeom>
              <a:avLst/>
              <a:gdLst>
                <a:gd name="connsiteX0" fmla="*/ 74 w 9152"/>
                <a:gd name="connsiteY0" fmla="*/ 6060 h 10279"/>
                <a:gd name="connsiteX1" fmla="*/ 6742 w 9152"/>
                <a:gd name="connsiteY1" fmla="*/ 9679 h 10279"/>
                <a:gd name="connsiteX2" fmla="*/ 645 w 9152"/>
                <a:gd name="connsiteY2" fmla="*/ 2345 h 10279"/>
                <a:gd name="connsiteX3" fmla="*/ 74 w 9152"/>
                <a:gd name="connsiteY3" fmla="*/ 6060 h 10279"/>
              </a:gdLst>
              <a:ahLst/>
              <a:cxnLst>
                <a:cxn ang="0">
                  <a:pos x="connsiteX0" y="connsiteY0"/>
                </a:cxn>
                <a:cxn ang="0">
                  <a:pos x="connsiteX1" y="connsiteY1"/>
                </a:cxn>
                <a:cxn ang="0">
                  <a:pos x="connsiteX2" y="connsiteY2"/>
                </a:cxn>
                <a:cxn ang="0">
                  <a:pos x="connsiteX3" y="connsiteY3"/>
                </a:cxn>
              </a:cxnLst>
              <a:rect l="l" t="t" r="r" b="b"/>
              <a:pathLst>
                <a:path w="9152" h="10279">
                  <a:moveTo>
                    <a:pt x="74" y="6060"/>
                  </a:moveTo>
                  <a:cubicBezTo>
                    <a:pt x="-878" y="12346"/>
                    <a:pt x="7694" y="9775"/>
                    <a:pt x="6742" y="9679"/>
                  </a:cubicBezTo>
                  <a:cubicBezTo>
                    <a:pt x="14266" y="7965"/>
                    <a:pt x="1884" y="-5275"/>
                    <a:pt x="645" y="2345"/>
                  </a:cubicBezTo>
                  <a:lnTo>
                    <a:pt x="74" y="6060"/>
                  </a:lnTo>
                  <a:close/>
                </a:path>
              </a:pathLst>
            </a:custGeom>
            <a:grpFill/>
            <a:ln w="9525" cap="flat">
              <a:noFill/>
              <a:prstDash val="solid"/>
              <a:miter/>
            </a:ln>
          </p:spPr>
          <p:txBody>
            <a:bodyPr rtlCol="0" anchor="ctr"/>
            <a:lstStyle/>
            <a:p>
              <a:endParaRPr lang="en-IN"/>
            </a:p>
          </p:txBody>
        </p:sp>
        <p:sp>
          <p:nvSpPr>
            <p:cNvPr id="436" name="Freeform: Shape 435">
              <a:extLst>
                <a:ext uri="{FF2B5EF4-FFF2-40B4-BE49-F238E27FC236}">
                  <a16:creationId xmlns:a16="http://schemas.microsoft.com/office/drawing/2014/main" id="{FF7606DF-0AD0-7FA6-2707-A022DAA7B980}"/>
                </a:ext>
              </a:extLst>
            </p:cNvPr>
            <p:cNvSpPr/>
            <p:nvPr/>
          </p:nvSpPr>
          <p:spPr>
            <a:xfrm>
              <a:off x="5906795" y="2946131"/>
              <a:ext cx="21457" cy="18768"/>
            </a:xfrm>
            <a:custGeom>
              <a:avLst/>
              <a:gdLst>
                <a:gd name="connsiteX0" fmla="*/ 20025 w 21457"/>
                <a:gd name="connsiteY0" fmla="*/ 16182 h 18768"/>
                <a:gd name="connsiteX1" fmla="*/ 213 w 21457"/>
                <a:gd name="connsiteY1" fmla="*/ 2752 h 18768"/>
                <a:gd name="connsiteX2" fmla="*/ 8214 w 21457"/>
                <a:gd name="connsiteY2" fmla="*/ 16468 h 18768"/>
                <a:gd name="connsiteX3" fmla="*/ 20025 w 21457"/>
                <a:gd name="connsiteY3" fmla="*/ 16182 h 18768"/>
              </a:gdLst>
              <a:ahLst/>
              <a:cxnLst>
                <a:cxn ang="0">
                  <a:pos x="connsiteX0" y="connsiteY0"/>
                </a:cxn>
                <a:cxn ang="0">
                  <a:pos x="connsiteX1" y="connsiteY1"/>
                </a:cxn>
                <a:cxn ang="0">
                  <a:pos x="connsiteX2" y="connsiteY2"/>
                </a:cxn>
                <a:cxn ang="0">
                  <a:pos x="connsiteX3" y="connsiteY3"/>
                </a:cxn>
              </a:cxnLst>
              <a:rect l="l" t="t" r="r" b="b"/>
              <a:pathLst>
                <a:path w="21457" h="18768">
                  <a:moveTo>
                    <a:pt x="20025" y="16182"/>
                  </a:moveTo>
                  <a:cubicBezTo>
                    <a:pt x="6309" y="3990"/>
                    <a:pt x="-1406" y="-4678"/>
                    <a:pt x="213" y="2752"/>
                  </a:cubicBezTo>
                  <a:cubicBezTo>
                    <a:pt x="1165" y="5324"/>
                    <a:pt x="784" y="14849"/>
                    <a:pt x="8214" y="16468"/>
                  </a:cubicBezTo>
                  <a:cubicBezTo>
                    <a:pt x="13262" y="17516"/>
                    <a:pt x="25645" y="21231"/>
                    <a:pt x="20025" y="16182"/>
                  </a:cubicBezTo>
                  <a:close/>
                </a:path>
              </a:pathLst>
            </a:custGeom>
            <a:grpFill/>
            <a:ln w="9525" cap="flat">
              <a:noFill/>
              <a:prstDash val="solid"/>
              <a:miter/>
            </a:ln>
          </p:spPr>
          <p:txBody>
            <a:bodyPr rtlCol="0" anchor="ctr"/>
            <a:lstStyle/>
            <a:p>
              <a:endParaRPr lang="en-IN"/>
            </a:p>
          </p:txBody>
        </p:sp>
        <p:sp>
          <p:nvSpPr>
            <p:cNvPr id="437" name="Freeform: Shape 436">
              <a:extLst>
                <a:ext uri="{FF2B5EF4-FFF2-40B4-BE49-F238E27FC236}">
                  <a16:creationId xmlns:a16="http://schemas.microsoft.com/office/drawing/2014/main" id="{9EFD1215-8725-970F-DA3E-784D1F3F3341}"/>
                </a:ext>
              </a:extLst>
            </p:cNvPr>
            <p:cNvSpPr/>
            <p:nvPr/>
          </p:nvSpPr>
          <p:spPr>
            <a:xfrm>
              <a:off x="5906799" y="2968884"/>
              <a:ext cx="32029" cy="32005"/>
            </a:xfrm>
            <a:custGeom>
              <a:avLst/>
              <a:gdLst>
                <a:gd name="connsiteX0" fmla="*/ 26497 w 32029"/>
                <a:gd name="connsiteY0" fmla="*/ 32005 h 32005"/>
                <a:gd name="connsiteX1" fmla="*/ 30593 w 32029"/>
                <a:gd name="connsiteY1" fmla="*/ 27814 h 32005"/>
                <a:gd name="connsiteX2" fmla="*/ 3733 w 32029"/>
                <a:gd name="connsiteY2" fmla="*/ 1239 h 32005"/>
                <a:gd name="connsiteX3" fmla="*/ 208 w 32029"/>
                <a:gd name="connsiteY3" fmla="*/ 5335 h 32005"/>
                <a:gd name="connsiteX4" fmla="*/ 26497 w 32029"/>
                <a:gd name="connsiteY4" fmla="*/ 31910 h 32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29" h="32005">
                  <a:moveTo>
                    <a:pt x="26497" y="32005"/>
                  </a:moveTo>
                  <a:cubicBezTo>
                    <a:pt x="27450" y="31719"/>
                    <a:pt x="35165" y="32386"/>
                    <a:pt x="30593" y="27814"/>
                  </a:cubicBezTo>
                  <a:lnTo>
                    <a:pt x="3733" y="1239"/>
                  </a:lnTo>
                  <a:cubicBezTo>
                    <a:pt x="-935" y="-3333"/>
                    <a:pt x="18" y="6287"/>
                    <a:pt x="208" y="5335"/>
                  </a:cubicBezTo>
                  <a:cubicBezTo>
                    <a:pt x="589" y="14574"/>
                    <a:pt x="18782" y="32291"/>
                    <a:pt x="26497" y="31910"/>
                  </a:cubicBezTo>
                  <a:close/>
                </a:path>
              </a:pathLst>
            </a:custGeom>
            <a:grpFill/>
            <a:ln w="9525" cap="flat">
              <a:noFill/>
              <a:prstDash val="solid"/>
              <a:miter/>
            </a:ln>
          </p:spPr>
          <p:txBody>
            <a:bodyPr rtlCol="0" anchor="ctr"/>
            <a:lstStyle/>
            <a:p>
              <a:endParaRPr lang="en-IN"/>
            </a:p>
          </p:txBody>
        </p:sp>
        <p:sp>
          <p:nvSpPr>
            <p:cNvPr id="438" name="Freeform: Shape 437">
              <a:extLst>
                <a:ext uri="{FF2B5EF4-FFF2-40B4-BE49-F238E27FC236}">
                  <a16:creationId xmlns:a16="http://schemas.microsoft.com/office/drawing/2014/main" id="{D4F4FF54-DCCE-61A5-BA4E-36B08F041B04}"/>
                </a:ext>
              </a:extLst>
            </p:cNvPr>
            <p:cNvSpPr/>
            <p:nvPr/>
          </p:nvSpPr>
          <p:spPr>
            <a:xfrm>
              <a:off x="6017845" y="3066791"/>
              <a:ext cx="27475" cy="7932"/>
            </a:xfrm>
            <a:custGeom>
              <a:avLst/>
              <a:gdLst>
                <a:gd name="connsiteX0" fmla="*/ 15559 w 27475"/>
                <a:gd name="connsiteY0" fmla="*/ 11 h 7932"/>
                <a:gd name="connsiteX1" fmla="*/ 129 w 27475"/>
                <a:gd name="connsiteY1" fmla="*/ 4393 h 7932"/>
                <a:gd name="connsiteX2" fmla="*/ 4415 w 27475"/>
                <a:gd name="connsiteY2" fmla="*/ 7917 h 7932"/>
                <a:gd name="connsiteX3" fmla="*/ 25751 w 27475"/>
                <a:gd name="connsiteY3" fmla="*/ 3059 h 7932"/>
                <a:gd name="connsiteX4" fmla="*/ 15559 w 27475"/>
                <a:gd name="connsiteY4" fmla="*/ 11 h 7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75" h="7932">
                  <a:moveTo>
                    <a:pt x="15559" y="11"/>
                  </a:moveTo>
                  <a:cubicBezTo>
                    <a:pt x="11844" y="583"/>
                    <a:pt x="1843" y="-1132"/>
                    <a:pt x="129" y="4393"/>
                  </a:cubicBezTo>
                  <a:cubicBezTo>
                    <a:pt x="-538" y="6488"/>
                    <a:pt x="1462" y="8108"/>
                    <a:pt x="4415" y="7917"/>
                  </a:cubicBezTo>
                  <a:cubicBezTo>
                    <a:pt x="21083" y="6679"/>
                    <a:pt x="31847" y="7060"/>
                    <a:pt x="25751" y="3059"/>
                  </a:cubicBezTo>
                  <a:cubicBezTo>
                    <a:pt x="23655" y="2107"/>
                    <a:pt x="20893" y="-179"/>
                    <a:pt x="15559" y="11"/>
                  </a:cubicBezTo>
                  <a:close/>
                </a:path>
              </a:pathLst>
            </a:custGeom>
            <a:grpFill/>
            <a:ln w="9525" cap="flat">
              <a:noFill/>
              <a:prstDash val="solid"/>
              <a:miter/>
            </a:ln>
          </p:spPr>
          <p:txBody>
            <a:bodyPr rtlCol="0" anchor="ctr"/>
            <a:lstStyle/>
            <a:p>
              <a:endParaRPr lang="en-IN"/>
            </a:p>
          </p:txBody>
        </p:sp>
        <p:sp>
          <p:nvSpPr>
            <p:cNvPr id="439" name="Freeform: Shape 438">
              <a:extLst>
                <a:ext uri="{FF2B5EF4-FFF2-40B4-BE49-F238E27FC236}">
                  <a16:creationId xmlns:a16="http://schemas.microsoft.com/office/drawing/2014/main" id="{92034BA2-8980-E889-772D-DC552F3BE100}"/>
                </a:ext>
              </a:extLst>
            </p:cNvPr>
            <p:cNvSpPr/>
            <p:nvPr/>
          </p:nvSpPr>
          <p:spPr>
            <a:xfrm>
              <a:off x="6001297" y="3050064"/>
              <a:ext cx="37431" cy="9280"/>
            </a:xfrm>
            <a:custGeom>
              <a:avLst/>
              <a:gdLst>
                <a:gd name="connsiteX0" fmla="*/ 35060 w 37431"/>
                <a:gd name="connsiteY0" fmla="*/ 3594 h 9280"/>
                <a:gd name="connsiteX1" fmla="*/ 960 w 37431"/>
                <a:gd name="connsiteY1" fmla="*/ 2070 h 9280"/>
                <a:gd name="connsiteX2" fmla="*/ 25440 w 37431"/>
                <a:gd name="connsiteY2" fmla="*/ 8737 h 9280"/>
                <a:gd name="connsiteX3" fmla="*/ 35155 w 37431"/>
                <a:gd name="connsiteY3" fmla="*/ 3498 h 9280"/>
              </a:gdLst>
              <a:ahLst/>
              <a:cxnLst>
                <a:cxn ang="0">
                  <a:pos x="connsiteX0" y="connsiteY0"/>
                </a:cxn>
                <a:cxn ang="0">
                  <a:pos x="connsiteX1" y="connsiteY1"/>
                </a:cxn>
                <a:cxn ang="0">
                  <a:pos x="connsiteX2" y="connsiteY2"/>
                </a:cxn>
                <a:cxn ang="0">
                  <a:pos x="connsiteX3" y="connsiteY3"/>
                </a:cxn>
              </a:cxnLst>
              <a:rect l="l" t="t" r="r" b="b"/>
              <a:pathLst>
                <a:path w="37431" h="9280">
                  <a:moveTo>
                    <a:pt x="35060" y="3594"/>
                  </a:moveTo>
                  <a:cubicBezTo>
                    <a:pt x="9724" y="-26"/>
                    <a:pt x="5437" y="-1550"/>
                    <a:pt x="960" y="2070"/>
                  </a:cubicBezTo>
                  <a:cubicBezTo>
                    <a:pt x="-5040" y="6927"/>
                    <a:pt x="18772" y="10737"/>
                    <a:pt x="25440" y="8737"/>
                  </a:cubicBezTo>
                  <a:cubicBezTo>
                    <a:pt x="29821" y="7404"/>
                    <a:pt x="42585" y="4641"/>
                    <a:pt x="35155" y="3498"/>
                  </a:cubicBezTo>
                  <a:close/>
                </a:path>
              </a:pathLst>
            </a:custGeom>
            <a:grpFill/>
            <a:ln w="9525" cap="flat">
              <a:noFill/>
              <a:prstDash val="solid"/>
              <a:miter/>
            </a:ln>
          </p:spPr>
          <p:txBody>
            <a:bodyPr rtlCol="0" anchor="ctr"/>
            <a:lstStyle/>
            <a:p>
              <a:endParaRPr lang="en-IN"/>
            </a:p>
          </p:txBody>
        </p:sp>
        <p:sp>
          <p:nvSpPr>
            <p:cNvPr id="440" name="Freeform: Shape 439">
              <a:extLst>
                <a:ext uri="{FF2B5EF4-FFF2-40B4-BE49-F238E27FC236}">
                  <a16:creationId xmlns:a16="http://schemas.microsoft.com/office/drawing/2014/main" id="{7ADFD06D-7238-14B1-4B41-929D5B2A2621}"/>
                </a:ext>
              </a:extLst>
            </p:cNvPr>
            <p:cNvSpPr/>
            <p:nvPr/>
          </p:nvSpPr>
          <p:spPr>
            <a:xfrm>
              <a:off x="5980038" y="3056781"/>
              <a:ext cx="13053" cy="8129"/>
            </a:xfrm>
            <a:custGeom>
              <a:avLst/>
              <a:gdLst>
                <a:gd name="connsiteX0" fmla="*/ 6027 w 13053"/>
                <a:gd name="connsiteY0" fmla="*/ 8116 h 8129"/>
                <a:gd name="connsiteX1" fmla="*/ 9360 w 13053"/>
                <a:gd name="connsiteY1" fmla="*/ 306 h 8129"/>
                <a:gd name="connsiteX2" fmla="*/ 4217 w 13053"/>
                <a:gd name="connsiteY2" fmla="*/ 20 h 8129"/>
                <a:gd name="connsiteX3" fmla="*/ 5931 w 13053"/>
                <a:gd name="connsiteY3" fmla="*/ 8116 h 8129"/>
              </a:gdLst>
              <a:ahLst/>
              <a:cxnLst>
                <a:cxn ang="0">
                  <a:pos x="connsiteX0" y="connsiteY0"/>
                </a:cxn>
                <a:cxn ang="0">
                  <a:pos x="connsiteX1" y="connsiteY1"/>
                </a:cxn>
                <a:cxn ang="0">
                  <a:pos x="connsiteX2" y="connsiteY2"/>
                </a:cxn>
                <a:cxn ang="0">
                  <a:pos x="connsiteX3" y="connsiteY3"/>
                </a:cxn>
              </a:cxnLst>
              <a:rect l="l" t="t" r="r" b="b"/>
              <a:pathLst>
                <a:path w="13053" h="8129">
                  <a:moveTo>
                    <a:pt x="6027" y="8116"/>
                  </a:moveTo>
                  <a:cubicBezTo>
                    <a:pt x="12122" y="8497"/>
                    <a:pt x="16504" y="782"/>
                    <a:pt x="9360" y="306"/>
                  </a:cubicBezTo>
                  <a:lnTo>
                    <a:pt x="4217" y="20"/>
                  </a:lnTo>
                  <a:cubicBezTo>
                    <a:pt x="-2927" y="-456"/>
                    <a:pt x="-70" y="7735"/>
                    <a:pt x="5931" y="8116"/>
                  </a:cubicBezTo>
                  <a:close/>
                </a:path>
              </a:pathLst>
            </a:custGeom>
            <a:grpFill/>
            <a:ln w="9525" cap="flat">
              <a:noFill/>
              <a:prstDash val="solid"/>
              <a:miter/>
            </a:ln>
          </p:spPr>
          <p:txBody>
            <a:bodyPr rtlCol="0" anchor="ctr"/>
            <a:lstStyle/>
            <a:p>
              <a:endParaRPr lang="en-IN"/>
            </a:p>
          </p:txBody>
        </p:sp>
        <p:sp>
          <p:nvSpPr>
            <p:cNvPr id="441" name="Freeform: Shape 440">
              <a:extLst>
                <a:ext uri="{FF2B5EF4-FFF2-40B4-BE49-F238E27FC236}">
                  <a16:creationId xmlns:a16="http://schemas.microsoft.com/office/drawing/2014/main" id="{EE3F2060-2B52-1609-E50F-C33F42E691E2}"/>
                </a:ext>
              </a:extLst>
            </p:cNvPr>
            <p:cNvSpPr/>
            <p:nvPr/>
          </p:nvSpPr>
          <p:spPr>
            <a:xfrm>
              <a:off x="6025065" y="3082536"/>
              <a:ext cx="12160" cy="8270"/>
            </a:xfrm>
            <a:custGeom>
              <a:avLst/>
              <a:gdLst>
                <a:gd name="connsiteX0" fmla="*/ 7577 w 12160"/>
                <a:gd name="connsiteY0" fmla="*/ 8174 h 8270"/>
                <a:gd name="connsiteX1" fmla="*/ 6244 w 12160"/>
                <a:gd name="connsiteY1" fmla="*/ 78 h 8270"/>
                <a:gd name="connsiteX2" fmla="*/ 3672 w 12160"/>
                <a:gd name="connsiteY2" fmla="*/ 459 h 8270"/>
                <a:gd name="connsiteX3" fmla="*/ 7577 w 12160"/>
                <a:gd name="connsiteY3" fmla="*/ 8174 h 8270"/>
              </a:gdLst>
              <a:ahLst/>
              <a:cxnLst>
                <a:cxn ang="0">
                  <a:pos x="connsiteX0" y="connsiteY0"/>
                </a:cxn>
                <a:cxn ang="0">
                  <a:pos x="connsiteX1" y="connsiteY1"/>
                </a:cxn>
                <a:cxn ang="0">
                  <a:pos x="connsiteX2" y="connsiteY2"/>
                </a:cxn>
                <a:cxn ang="0">
                  <a:pos x="connsiteX3" y="connsiteY3"/>
                </a:cxn>
              </a:cxnLst>
              <a:rect l="l" t="t" r="r" b="b"/>
              <a:pathLst>
                <a:path w="12160" h="8270">
                  <a:moveTo>
                    <a:pt x="7577" y="8174"/>
                  </a:moveTo>
                  <a:cubicBezTo>
                    <a:pt x="14340" y="7221"/>
                    <a:pt x="13387" y="-875"/>
                    <a:pt x="6244" y="78"/>
                  </a:cubicBezTo>
                  <a:lnTo>
                    <a:pt x="3672" y="459"/>
                  </a:lnTo>
                  <a:cubicBezTo>
                    <a:pt x="-3377" y="1411"/>
                    <a:pt x="719" y="9222"/>
                    <a:pt x="7577" y="8174"/>
                  </a:cubicBezTo>
                  <a:close/>
                </a:path>
              </a:pathLst>
            </a:custGeom>
            <a:grpFill/>
            <a:ln w="9525" cap="flat">
              <a:noFill/>
              <a:prstDash val="solid"/>
              <a:miter/>
            </a:ln>
          </p:spPr>
          <p:txBody>
            <a:bodyPr rtlCol="0" anchor="ctr"/>
            <a:lstStyle/>
            <a:p>
              <a:endParaRPr lang="en-IN"/>
            </a:p>
          </p:txBody>
        </p:sp>
        <p:sp>
          <p:nvSpPr>
            <p:cNvPr id="442" name="Freeform: Shape 441">
              <a:extLst>
                <a:ext uri="{FF2B5EF4-FFF2-40B4-BE49-F238E27FC236}">
                  <a16:creationId xmlns:a16="http://schemas.microsoft.com/office/drawing/2014/main" id="{71572D7D-3A8D-E1CC-7FFC-2BC50387C2DD}"/>
                </a:ext>
              </a:extLst>
            </p:cNvPr>
            <p:cNvSpPr/>
            <p:nvPr/>
          </p:nvSpPr>
          <p:spPr>
            <a:xfrm>
              <a:off x="6056830" y="3079593"/>
              <a:ext cx="26610" cy="13064"/>
            </a:xfrm>
            <a:custGeom>
              <a:avLst/>
              <a:gdLst>
                <a:gd name="connsiteX0" fmla="*/ 6387 w 26610"/>
                <a:gd name="connsiteY0" fmla="*/ 10070 h 13064"/>
                <a:gd name="connsiteX1" fmla="*/ 26389 w 26610"/>
                <a:gd name="connsiteY1" fmla="*/ 10641 h 13064"/>
                <a:gd name="connsiteX2" fmla="*/ 22675 w 26610"/>
                <a:gd name="connsiteY2" fmla="*/ 5593 h 13064"/>
                <a:gd name="connsiteX3" fmla="*/ 4196 w 26610"/>
                <a:gd name="connsiteY3" fmla="*/ 259 h 13064"/>
                <a:gd name="connsiteX4" fmla="*/ 6387 w 26610"/>
                <a:gd name="connsiteY4" fmla="*/ 10070 h 13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0" h="13064">
                  <a:moveTo>
                    <a:pt x="6387" y="10070"/>
                  </a:moveTo>
                  <a:cubicBezTo>
                    <a:pt x="16007" y="12165"/>
                    <a:pt x="24389" y="15308"/>
                    <a:pt x="26389" y="10641"/>
                  </a:cubicBezTo>
                  <a:cubicBezTo>
                    <a:pt x="27247" y="8736"/>
                    <a:pt x="25532" y="6450"/>
                    <a:pt x="22675" y="5593"/>
                  </a:cubicBezTo>
                  <a:lnTo>
                    <a:pt x="4196" y="259"/>
                  </a:lnTo>
                  <a:cubicBezTo>
                    <a:pt x="-2566" y="-1741"/>
                    <a:pt x="-662" y="8450"/>
                    <a:pt x="6387" y="10070"/>
                  </a:cubicBezTo>
                  <a:close/>
                </a:path>
              </a:pathLst>
            </a:custGeom>
            <a:grpFill/>
            <a:ln w="9525" cap="flat">
              <a:noFill/>
              <a:prstDash val="solid"/>
              <a:miter/>
            </a:ln>
          </p:spPr>
          <p:txBody>
            <a:bodyPr rtlCol="0" anchor="ctr"/>
            <a:lstStyle/>
            <a:p>
              <a:endParaRPr lang="en-IN"/>
            </a:p>
          </p:txBody>
        </p:sp>
        <p:sp>
          <p:nvSpPr>
            <p:cNvPr id="443" name="Freeform: Shape 442">
              <a:extLst>
                <a:ext uri="{FF2B5EF4-FFF2-40B4-BE49-F238E27FC236}">
                  <a16:creationId xmlns:a16="http://schemas.microsoft.com/office/drawing/2014/main" id="{A013E6A9-70E0-DFDF-73D5-79F511714FDD}"/>
                </a:ext>
              </a:extLst>
            </p:cNvPr>
            <p:cNvSpPr/>
            <p:nvPr/>
          </p:nvSpPr>
          <p:spPr>
            <a:xfrm>
              <a:off x="5994425" y="3033999"/>
              <a:ext cx="33983" cy="9942"/>
            </a:xfrm>
            <a:custGeom>
              <a:avLst/>
              <a:gdLst>
                <a:gd name="connsiteX0" fmla="*/ 32597 w 33983"/>
                <a:gd name="connsiteY0" fmla="*/ 6800 h 9942"/>
                <a:gd name="connsiteX1" fmla="*/ 20596 w 33983"/>
                <a:gd name="connsiteY1" fmla="*/ 1657 h 9942"/>
                <a:gd name="connsiteX2" fmla="*/ 1927 w 33983"/>
                <a:gd name="connsiteY2" fmla="*/ 1942 h 9942"/>
                <a:gd name="connsiteX3" fmla="*/ 22120 w 33983"/>
                <a:gd name="connsiteY3" fmla="*/ 9658 h 9942"/>
                <a:gd name="connsiteX4" fmla="*/ 32502 w 33983"/>
                <a:gd name="connsiteY4" fmla="*/ 6800 h 9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83" h="9942">
                  <a:moveTo>
                    <a:pt x="32597" y="6800"/>
                  </a:moveTo>
                  <a:cubicBezTo>
                    <a:pt x="31645" y="6324"/>
                    <a:pt x="27359" y="2323"/>
                    <a:pt x="20596" y="1657"/>
                  </a:cubicBezTo>
                  <a:cubicBezTo>
                    <a:pt x="7356" y="418"/>
                    <a:pt x="-4836" y="-1487"/>
                    <a:pt x="1927" y="1942"/>
                  </a:cubicBezTo>
                  <a:cubicBezTo>
                    <a:pt x="9356" y="5752"/>
                    <a:pt x="15262" y="9563"/>
                    <a:pt x="22120" y="9658"/>
                  </a:cubicBezTo>
                  <a:cubicBezTo>
                    <a:pt x="22120" y="9658"/>
                    <a:pt x="38979" y="11277"/>
                    <a:pt x="32502" y="6800"/>
                  </a:cubicBezTo>
                  <a:close/>
                </a:path>
              </a:pathLst>
            </a:custGeom>
            <a:grpFill/>
            <a:ln w="9525" cap="flat">
              <a:noFill/>
              <a:prstDash val="solid"/>
              <a:miter/>
            </a:ln>
          </p:spPr>
          <p:txBody>
            <a:bodyPr rtlCol="0" anchor="ctr"/>
            <a:lstStyle/>
            <a:p>
              <a:endParaRPr lang="en-IN"/>
            </a:p>
          </p:txBody>
        </p:sp>
        <p:sp>
          <p:nvSpPr>
            <p:cNvPr id="444" name="Freeform: Shape 443">
              <a:extLst>
                <a:ext uri="{FF2B5EF4-FFF2-40B4-BE49-F238E27FC236}">
                  <a16:creationId xmlns:a16="http://schemas.microsoft.com/office/drawing/2014/main" id="{D050B116-CE93-1DC1-E51F-31BDBA71C349}"/>
                </a:ext>
              </a:extLst>
            </p:cNvPr>
            <p:cNvSpPr/>
            <p:nvPr/>
          </p:nvSpPr>
          <p:spPr>
            <a:xfrm>
              <a:off x="5827969" y="2810675"/>
              <a:ext cx="352691" cy="243935"/>
            </a:xfrm>
            <a:custGeom>
              <a:avLst/>
              <a:gdLst>
                <a:gd name="connsiteX0" fmla="*/ 352310 w 352691"/>
                <a:gd name="connsiteY0" fmla="*/ 86868 h 243935"/>
                <a:gd name="connsiteX1" fmla="*/ 331736 w 352691"/>
                <a:gd name="connsiteY1" fmla="*/ 80105 h 243935"/>
                <a:gd name="connsiteX2" fmla="*/ 320402 w 352691"/>
                <a:gd name="connsiteY2" fmla="*/ 43339 h 243935"/>
                <a:gd name="connsiteX3" fmla="*/ 303733 w 352691"/>
                <a:gd name="connsiteY3" fmla="*/ 41148 h 243935"/>
                <a:gd name="connsiteX4" fmla="*/ 293636 w 352691"/>
                <a:gd name="connsiteY4" fmla="*/ 53626 h 243935"/>
                <a:gd name="connsiteX5" fmla="*/ 257346 w 352691"/>
                <a:gd name="connsiteY5" fmla="*/ 51816 h 243935"/>
                <a:gd name="connsiteX6" fmla="*/ 247821 w 352691"/>
                <a:gd name="connsiteY6" fmla="*/ 40481 h 243935"/>
                <a:gd name="connsiteX7" fmla="*/ 224009 w 352691"/>
                <a:gd name="connsiteY7" fmla="*/ 35147 h 243935"/>
                <a:gd name="connsiteX8" fmla="*/ 185337 w 352691"/>
                <a:gd name="connsiteY8" fmla="*/ 0 h 243935"/>
                <a:gd name="connsiteX9" fmla="*/ 124568 w 352691"/>
                <a:gd name="connsiteY9" fmla="*/ 22003 h 243935"/>
                <a:gd name="connsiteX10" fmla="*/ 132283 w 352691"/>
                <a:gd name="connsiteY10" fmla="*/ 44672 h 243935"/>
                <a:gd name="connsiteX11" fmla="*/ 107327 w 352691"/>
                <a:gd name="connsiteY11" fmla="*/ 53054 h 243935"/>
                <a:gd name="connsiteX12" fmla="*/ 111518 w 352691"/>
                <a:gd name="connsiteY12" fmla="*/ 74486 h 243935"/>
                <a:gd name="connsiteX13" fmla="*/ 66275 w 352691"/>
                <a:gd name="connsiteY13" fmla="*/ 58388 h 243935"/>
                <a:gd name="connsiteX14" fmla="*/ 56750 w 352691"/>
                <a:gd name="connsiteY14" fmla="*/ 70295 h 243935"/>
                <a:gd name="connsiteX15" fmla="*/ 1219 w 352691"/>
                <a:gd name="connsiteY15" fmla="*/ 70580 h 243935"/>
                <a:gd name="connsiteX16" fmla="*/ 1219 w 352691"/>
                <a:gd name="connsiteY16" fmla="*/ 70580 h 243935"/>
                <a:gd name="connsiteX17" fmla="*/ 171 w 352691"/>
                <a:gd name="connsiteY17" fmla="*/ 75819 h 243935"/>
                <a:gd name="connsiteX18" fmla="*/ 8839 w 352691"/>
                <a:gd name="connsiteY18" fmla="*/ 105823 h 243935"/>
                <a:gd name="connsiteX19" fmla="*/ 27222 w 352691"/>
                <a:gd name="connsiteY19" fmla="*/ 121825 h 243935"/>
                <a:gd name="connsiteX20" fmla="*/ 50940 w 352691"/>
                <a:gd name="connsiteY20" fmla="*/ 85630 h 243935"/>
                <a:gd name="connsiteX21" fmla="*/ 60369 w 352691"/>
                <a:gd name="connsiteY21" fmla="*/ 94583 h 243935"/>
                <a:gd name="connsiteX22" fmla="*/ 59893 w 352691"/>
                <a:gd name="connsiteY22" fmla="*/ 96393 h 243935"/>
                <a:gd name="connsiteX23" fmla="*/ 73038 w 352691"/>
                <a:gd name="connsiteY23" fmla="*/ 103918 h 243935"/>
                <a:gd name="connsiteX24" fmla="*/ 77133 w 352691"/>
                <a:gd name="connsiteY24" fmla="*/ 98488 h 243935"/>
                <a:gd name="connsiteX25" fmla="*/ 83229 w 352691"/>
                <a:gd name="connsiteY25" fmla="*/ 108109 h 243935"/>
                <a:gd name="connsiteX26" fmla="*/ 89230 w 352691"/>
                <a:gd name="connsiteY26" fmla="*/ 133540 h 243935"/>
                <a:gd name="connsiteX27" fmla="*/ 115328 w 352691"/>
                <a:gd name="connsiteY27" fmla="*/ 160782 h 243935"/>
                <a:gd name="connsiteX28" fmla="*/ 102660 w 352691"/>
                <a:gd name="connsiteY28" fmla="*/ 166973 h 243935"/>
                <a:gd name="connsiteX29" fmla="*/ 133998 w 352691"/>
                <a:gd name="connsiteY29" fmla="*/ 197072 h 243935"/>
                <a:gd name="connsiteX30" fmla="*/ 145523 w 352691"/>
                <a:gd name="connsiteY30" fmla="*/ 207073 h 243935"/>
                <a:gd name="connsiteX31" fmla="*/ 152762 w 352691"/>
                <a:gd name="connsiteY31" fmla="*/ 215741 h 243935"/>
                <a:gd name="connsiteX32" fmla="*/ 177241 w 352691"/>
                <a:gd name="connsiteY32" fmla="*/ 214027 h 243935"/>
                <a:gd name="connsiteX33" fmla="*/ 208674 w 352691"/>
                <a:gd name="connsiteY33" fmla="*/ 227266 h 243935"/>
                <a:gd name="connsiteX34" fmla="*/ 229438 w 352691"/>
                <a:gd name="connsiteY34" fmla="*/ 243935 h 243935"/>
                <a:gd name="connsiteX35" fmla="*/ 229438 w 352691"/>
                <a:gd name="connsiteY35" fmla="*/ 243935 h 243935"/>
                <a:gd name="connsiteX36" fmla="*/ 238963 w 352691"/>
                <a:gd name="connsiteY36" fmla="*/ 232601 h 243935"/>
                <a:gd name="connsiteX37" fmla="*/ 227057 w 352691"/>
                <a:gd name="connsiteY37" fmla="*/ 223456 h 243935"/>
                <a:gd name="connsiteX38" fmla="*/ 224580 w 352691"/>
                <a:gd name="connsiteY38" fmla="*/ 205359 h 243935"/>
                <a:gd name="connsiteX39" fmla="*/ 209340 w 352691"/>
                <a:gd name="connsiteY39" fmla="*/ 203549 h 243935"/>
                <a:gd name="connsiteX40" fmla="*/ 161620 w 352691"/>
                <a:gd name="connsiteY40" fmla="*/ 162211 h 243935"/>
                <a:gd name="connsiteX41" fmla="*/ 155238 w 352691"/>
                <a:gd name="connsiteY41" fmla="*/ 140589 h 243935"/>
                <a:gd name="connsiteX42" fmla="*/ 133616 w 352691"/>
                <a:gd name="connsiteY42" fmla="*/ 126778 h 243935"/>
                <a:gd name="connsiteX43" fmla="*/ 137522 w 352691"/>
                <a:gd name="connsiteY43" fmla="*/ 94202 h 243935"/>
                <a:gd name="connsiteX44" fmla="*/ 168383 w 352691"/>
                <a:gd name="connsiteY44" fmla="*/ 111538 h 243935"/>
                <a:gd name="connsiteX45" fmla="*/ 179336 w 352691"/>
                <a:gd name="connsiteY45" fmla="*/ 94488 h 243935"/>
                <a:gd name="connsiteX46" fmla="*/ 208769 w 352691"/>
                <a:gd name="connsiteY46" fmla="*/ 93059 h 243935"/>
                <a:gd name="connsiteX47" fmla="*/ 261251 w 352691"/>
                <a:gd name="connsiteY47" fmla="*/ 107252 h 243935"/>
                <a:gd name="connsiteX48" fmla="*/ 271158 w 352691"/>
                <a:gd name="connsiteY48" fmla="*/ 98393 h 243935"/>
                <a:gd name="connsiteX49" fmla="*/ 308686 w 352691"/>
                <a:gd name="connsiteY49" fmla="*/ 104108 h 243935"/>
                <a:gd name="connsiteX50" fmla="*/ 323926 w 352691"/>
                <a:gd name="connsiteY50" fmla="*/ 121158 h 243935"/>
                <a:gd name="connsiteX51" fmla="*/ 334594 w 352691"/>
                <a:gd name="connsiteY51" fmla="*/ 101346 h 243935"/>
                <a:gd name="connsiteX52" fmla="*/ 352691 w 352691"/>
                <a:gd name="connsiteY52" fmla="*/ 98488 h 243935"/>
                <a:gd name="connsiteX53" fmla="*/ 352215 w 352691"/>
                <a:gd name="connsiteY53" fmla="*/ 86773 h 24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52691" h="243935">
                  <a:moveTo>
                    <a:pt x="352310" y="86868"/>
                  </a:moveTo>
                  <a:lnTo>
                    <a:pt x="331736" y="80105"/>
                  </a:lnTo>
                  <a:lnTo>
                    <a:pt x="320402" y="43339"/>
                  </a:lnTo>
                  <a:lnTo>
                    <a:pt x="303733" y="41148"/>
                  </a:lnTo>
                  <a:lnTo>
                    <a:pt x="293636" y="53626"/>
                  </a:lnTo>
                  <a:lnTo>
                    <a:pt x="257346" y="51816"/>
                  </a:lnTo>
                  <a:lnTo>
                    <a:pt x="247821" y="40481"/>
                  </a:lnTo>
                  <a:lnTo>
                    <a:pt x="224009" y="35147"/>
                  </a:lnTo>
                  <a:lnTo>
                    <a:pt x="185337" y="0"/>
                  </a:lnTo>
                  <a:lnTo>
                    <a:pt x="124568" y="22003"/>
                  </a:lnTo>
                  <a:lnTo>
                    <a:pt x="132283" y="44672"/>
                  </a:lnTo>
                  <a:lnTo>
                    <a:pt x="107327" y="53054"/>
                  </a:lnTo>
                  <a:lnTo>
                    <a:pt x="111518" y="74486"/>
                  </a:lnTo>
                  <a:lnTo>
                    <a:pt x="66275" y="58388"/>
                  </a:lnTo>
                  <a:lnTo>
                    <a:pt x="56750" y="70295"/>
                  </a:lnTo>
                  <a:lnTo>
                    <a:pt x="1219" y="70580"/>
                  </a:lnTo>
                  <a:lnTo>
                    <a:pt x="1219" y="70580"/>
                  </a:lnTo>
                  <a:cubicBezTo>
                    <a:pt x="266" y="72104"/>
                    <a:pt x="-305" y="73819"/>
                    <a:pt x="171" y="75819"/>
                  </a:cubicBezTo>
                  <a:cubicBezTo>
                    <a:pt x="3219" y="90297"/>
                    <a:pt x="4267" y="99727"/>
                    <a:pt x="8839" y="105823"/>
                  </a:cubicBezTo>
                  <a:cubicBezTo>
                    <a:pt x="19983" y="120396"/>
                    <a:pt x="23984" y="128206"/>
                    <a:pt x="27222" y="121825"/>
                  </a:cubicBezTo>
                  <a:cubicBezTo>
                    <a:pt x="43510" y="88773"/>
                    <a:pt x="44082" y="83153"/>
                    <a:pt x="50940" y="85630"/>
                  </a:cubicBezTo>
                  <a:cubicBezTo>
                    <a:pt x="52464" y="86582"/>
                    <a:pt x="62179" y="87535"/>
                    <a:pt x="60369" y="94583"/>
                  </a:cubicBezTo>
                  <a:lnTo>
                    <a:pt x="59893" y="96393"/>
                  </a:lnTo>
                  <a:cubicBezTo>
                    <a:pt x="57988" y="103918"/>
                    <a:pt x="73323" y="111633"/>
                    <a:pt x="73038" y="103918"/>
                  </a:cubicBezTo>
                  <a:cubicBezTo>
                    <a:pt x="73228" y="102965"/>
                    <a:pt x="71704" y="94393"/>
                    <a:pt x="77133" y="98488"/>
                  </a:cubicBezTo>
                  <a:cubicBezTo>
                    <a:pt x="77991" y="99441"/>
                    <a:pt x="82658" y="101918"/>
                    <a:pt x="83229" y="108109"/>
                  </a:cubicBezTo>
                  <a:cubicBezTo>
                    <a:pt x="84753" y="125730"/>
                    <a:pt x="84467" y="129540"/>
                    <a:pt x="89230" y="133540"/>
                  </a:cubicBezTo>
                  <a:cubicBezTo>
                    <a:pt x="116091" y="156115"/>
                    <a:pt x="122567" y="159734"/>
                    <a:pt x="115328" y="160782"/>
                  </a:cubicBezTo>
                  <a:cubicBezTo>
                    <a:pt x="111042" y="161925"/>
                    <a:pt x="97041" y="161068"/>
                    <a:pt x="102660" y="166973"/>
                  </a:cubicBezTo>
                  <a:cubicBezTo>
                    <a:pt x="120567" y="185738"/>
                    <a:pt x="126949" y="193834"/>
                    <a:pt x="133998" y="197072"/>
                  </a:cubicBezTo>
                  <a:cubicBezTo>
                    <a:pt x="135712" y="198215"/>
                    <a:pt x="144094" y="199835"/>
                    <a:pt x="145523" y="207073"/>
                  </a:cubicBezTo>
                  <a:cubicBezTo>
                    <a:pt x="146190" y="208407"/>
                    <a:pt x="145904" y="216884"/>
                    <a:pt x="152762" y="215741"/>
                  </a:cubicBezTo>
                  <a:cubicBezTo>
                    <a:pt x="163144" y="213836"/>
                    <a:pt x="170478" y="211646"/>
                    <a:pt x="177241" y="214027"/>
                  </a:cubicBezTo>
                  <a:cubicBezTo>
                    <a:pt x="194195" y="220123"/>
                    <a:pt x="202673" y="222313"/>
                    <a:pt x="208674" y="227266"/>
                  </a:cubicBezTo>
                  <a:cubicBezTo>
                    <a:pt x="217627" y="234601"/>
                    <a:pt x="224390" y="239935"/>
                    <a:pt x="229438" y="243935"/>
                  </a:cubicBezTo>
                  <a:lnTo>
                    <a:pt x="229438" y="243935"/>
                  </a:lnTo>
                  <a:cubicBezTo>
                    <a:pt x="229438" y="243935"/>
                    <a:pt x="238963" y="232601"/>
                    <a:pt x="238963" y="232601"/>
                  </a:cubicBezTo>
                  <a:lnTo>
                    <a:pt x="227057" y="223456"/>
                  </a:lnTo>
                  <a:lnTo>
                    <a:pt x="224580" y="205359"/>
                  </a:lnTo>
                  <a:lnTo>
                    <a:pt x="209340" y="203549"/>
                  </a:lnTo>
                  <a:lnTo>
                    <a:pt x="161620" y="162211"/>
                  </a:lnTo>
                  <a:lnTo>
                    <a:pt x="155238" y="140589"/>
                  </a:lnTo>
                  <a:lnTo>
                    <a:pt x="133616" y="126778"/>
                  </a:lnTo>
                  <a:lnTo>
                    <a:pt x="137522" y="94202"/>
                  </a:lnTo>
                  <a:lnTo>
                    <a:pt x="168383" y="111538"/>
                  </a:lnTo>
                  <a:lnTo>
                    <a:pt x="179336" y="94488"/>
                  </a:lnTo>
                  <a:lnTo>
                    <a:pt x="208769" y="93059"/>
                  </a:lnTo>
                  <a:lnTo>
                    <a:pt x="261251" y="107252"/>
                  </a:lnTo>
                  <a:lnTo>
                    <a:pt x="271158" y="98393"/>
                  </a:lnTo>
                  <a:lnTo>
                    <a:pt x="308686" y="104108"/>
                  </a:lnTo>
                  <a:lnTo>
                    <a:pt x="323926" y="121158"/>
                  </a:lnTo>
                  <a:lnTo>
                    <a:pt x="334594" y="101346"/>
                  </a:lnTo>
                  <a:lnTo>
                    <a:pt x="352691" y="98488"/>
                  </a:lnTo>
                  <a:lnTo>
                    <a:pt x="352215" y="86773"/>
                  </a:lnTo>
                  <a:close/>
                </a:path>
              </a:pathLst>
            </a:custGeom>
            <a:solidFill>
              <a:schemeClr val="bg1">
                <a:lumMod val="95000"/>
              </a:schemeClr>
            </a:solidFill>
            <a:ln w="9525" cap="flat">
              <a:noFill/>
              <a:prstDash val="solid"/>
              <a:miter/>
            </a:ln>
          </p:spPr>
          <p:txBody>
            <a:bodyPr rtlCol="0" anchor="ctr"/>
            <a:lstStyle/>
            <a:p>
              <a:endParaRPr lang="en-IN"/>
            </a:p>
          </p:txBody>
        </p:sp>
        <p:sp>
          <p:nvSpPr>
            <p:cNvPr id="445" name="Freeform: Shape 444">
              <a:extLst>
                <a:ext uri="{FF2B5EF4-FFF2-40B4-BE49-F238E27FC236}">
                  <a16:creationId xmlns:a16="http://schemas.microsoft.com/office/drawing/2014/main" id="{81D27D9E-BF94-39D4-E18F-6132223507F9}"/>
                </a:ext>
              </a:extLst>
            </p:cNvPr>
            <p:cNvSpPr/>
            <p:nvPr/>
          </p:nvSpPr>
          <p:spPr>
            <a:xfrm>
              <a:off x="6054593" y="3054896"/>
              <a:ext cx="69203" cy="46005"/>
            </a:xfrm>
            <a:custGeom>
              <a:avLst/>
              <a:gdLst>
                <a:gd name="connsiteX0" fmla="*/ 25579 w 69203"/>
                <a:gd name="connsiteY0" fmla="*/ 0 h 46005"/>
                <a:gd name="connsiteX1" fmla="*/ 13482 w 69203"/>
                <a:gd name="connsiteY1" fmla="*/ 9716 h 46005"/>
                <a:gd name="connsiteX2" fmla="*/ 13482 w 69203"/>
                <a:gd name="connsiteY2" fmla="*/ 9716 h 46005"/>
                <a:gd name="connsiteX3" fmla="*/ 10911 w 69203"/>
                <a:gd name="connsiteY3" fmla="*/ 10859 h 46005"/>
                <a:gd name="connsiteX4" fmla="*/ 1767 w 69203"/>
                <a:gd name="connsiteY4" fmla="*/ 13335 h 46005"/>
                <a:gd name="connsiteX5" fmla="*/ 39962 w 69203"/>
                <a:gd name="connsiteY5" fmla="*/ 28099 h 46005"/>
                <a:gd name="connsiteX6" fmla="*/ 66156 w 69203"/>
                <a:gd name="connsiteY6" fmla="*/ 46006 h 46005"/>
                <a:gd name="connsiteX7" fmla="*/ 69204 w 69203"/>
                <a:gd name="connsiteY7" fmla="*/ 29051 h 46005"/>
                <a:gd name="connsiteX8" fmla="*/ 25579 w 69203"/>
                <a:gd name="connsiteY8" fmla="*/ 95 h 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203" h="46005">
                  <a:moveTo>
                    <a:pt x="25579" y="0"/>
                  </a:moveTo>
                  <a:lnTo>
                    <a:pt x="13482" y="9716"/>
                  </a:lnTo>
                  <a:lnTo>
                    <a:pt x="13482" y="9716"/>
                  </a:lnTo>
                  <a:cubicBezTo>
                    <a:pt x="13673" y="10573"/>
                    <a:pt x="12816" y="10859"/>
                    <a:pt x="10911" y="10859"/>
                  </a:cubicBezTo>
                  <a:cubicBezTo>
                    <a:pt x="8529" y="11049"/>
                    <a:pt x="-4710" y="9239"/>
                    <a:pt x="1767" y="13335"/>
                  </a:cubicBezTo>
                  <a:cubicBezTo>
                    <a:pt x="22150" y="26099"/>
                    <a:pt x="28341" y="20193"/>
                    <a:pt x="39962" y="28099"/>
                  </a:cubicBezTo>
                  <a:cubicBezTo>
                    <a:pt x="50249" y="35147"/>
                    <a:pt x="58821" y="40958"/>
                    <a:pt x="66156" y="46006"/>
                  </a:cubicBezTo>
                  <a:lnTo>
                    <a:pt x="69204" y="29051"/>
                  </a:lnTo>
                  <a:lnTo>
                    <a:pt x="25579" y="95"/>
                  </a:lnTo>
                  <a:close/>
                </a:path>
              </a:pathLst>
            </a:custGeom>
            <a:solidFill>
              <a:schemeClr val="bg1">
                <a:lumMod val="95000"/>
              </a:schemeClr>
            </a:solidFill>
            <a:ln w="9525" cap="flat">
              <a:noFill/>
              <a:prstDash val="solid"/>
              <a:miter/>
            </a:ln>
          </p:spPr>
          <p:txBody>
            <a:bodyPr rtlCol="0" anchor="ctr"/>
            <a:lstStyle/>
            <a:p>
              <a:endParaRPr lang="en-IN"/>
            </a:p>
          </p:txBody>
        </p:sp>
      </p:grpSp>
      <p:sp>
        <p:nvSpPr>
          <p:cNvPr id="446" name="Freeform: Shape 445">
            <a:extLst>
              <a:ext uri="{FF2B5EF4-FFF2-40B4-BE49-F238E27FC236}">
                <a16:creationId xmlns:a16="http://schemas.microsoft.com/office/drawing/2014/main" id="{489AD25C-62FB-DDA3-CA0D-05BFA147ED04}"/>
              </a:ext>
            </a:extLst>
          </p:cNvPr>
          <p:cNvSpPr/>
          <p:nvPr/>
        </p:nvSpPr>
        <p:spPr>
          <a:xfrm>
            <a:off x="7533546" y="3126575"/>
            <a:ext cx="138778" cy="73494"/>
          </a:xfrm>
          <a:custGeom>
            <a:avLst/>
            <a:gdLst>
              <a:gd name="connsiteX0" fmla="*/ 88325 w 138778"/>
              <a:gd name="connsiteY0" fmla="*/ 47181 h 73494"/>
              <a:gd name="connsiteX1" fmla="*/ 107185 w 138778"/>
              <a:gd name="connsiteY1" fmla="*/ 41657 h 73494"/>
              <a:gd name="connsiteX2" fmla="*/ 103851 w 138778"/>
              <a:gd name="connsiteY2" fmla="*/ 25845 h 73494"/>
              <a:gd name="connsiteX3" fmla="*/ 137951 w 138778"/>
              <a:gd name="connsiteY3" fmla="*/ 890 h 73494"/>
              <a:gd name="connsiteX4" fmla="*/ 78705 w 138778"/>
              <a:gd name="connsiteY4" fmla="*/ 20321 h 73494"/>
              <a:gd name="connsiteX5" fmla="*/ 38891 w 138778"/>
              <a:gd name="connsiteY5" fmla="*/ 25464 h 73494"/>
              <a:gd name="connsiteX6" fmla="*/ 32509 w 138778"/>
              <a:gd name="connsiteY6" fmla="*/ 34989 h 73494"/>
              <a:gd name="connsiteX7" fmla="*/ 22127 w 138778"/>
              <a:gd name="connsiteY7" fmla="*/ 33941 h 73494"/>
              <a:gd name="connsiteX8" fmla="*/ 12983 w 138778"/>
              <a:gd name="connsiteY8" fmla="*/ 38132 h 73494"/>
              <a:gd name="connsiteX9" fmla="*/ 3363 w 138778"/>
              <a:gd name="connsiteY9" fmla="*/ 40228 h 73494"/>
              <a:gd name="connsiteX10" fmla="*/ 410 w 138778"/>
              <a:gd name="connsiteY10" fmla="*/ 43466 h 73494"/>
              <a:gd name="connsiteX11" fmla="*/ 14983 w 138778"/>
              <a:gd name="connsiteY11" fmla="*/ 65374 h 73494"/>
              <a:gd name="connsiteX12" fmla="*/ 27747 w 138778"/>
              <a:gd name="connsiteY12" fmla="*/ 66993 h 73494"/>
              <a:gd name="connsiteX13" fmla="*/ 39176 w 138778"/>
              <a:gd name="connsiteY13" fmla="*/ 72232 h 73494"/>
              <a:gd name="connsiteX14" fmla="*/ 53464 w 138778"/>
              <a:gd name="connsiteY14" fmla="*/ 65469 h 73494"/>
              <a:gd name="connsiteX15" fmla="*/ 80706 w 138778"/>
              <a:gd name="connsiteY15" fmla="*/ 52610 h 73494"/>
              <a:gd name="connsiteX16" fmla="*/ 88230 w 138778"/>
              <a:gd name="connsiteY16" fmla="*/ 47276 h 7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778" h="73494">
                <a:moveTo>
                  <a:pt x="88325" y="47181"/>
                </a:moveTo>
                <a:cubicBezTo>
                  <a:pt x="96898" y="45943"/>
                  <a:pt x="111662" y="48896"/>
                  <a:pt x="107185" y="41657"/>
                </a:cubicBezTo>
                <a:cubicBezTo>
                  <a:pt x="105661" y="37942"/>
                  <a:pt x="96898" y="30227"/>
                  <a:pt x="103851" y="25845"/>
                </a:cubicBezTo>
                <a:cubicBezTo>
                  <a:pt x="135950" y="5843"/>
                  <a:pt x="141189" y="3842"/>
                  <a:pt x="137951" y="890"/>
                </a:cubicBezTo>
                <a:cubicBezTo>
                  <a:pt x="131664" y="-5016"/>
                  <a:pt x="94422" y="20416"/>
                  <a:pt x="78705" y="20321"/>
                </a:cubicBezTo>
                <a:cubicBezTo>
                  <a:pt x="44415" y="20130"/>
                  <a:pt x="39653" y="18416"/>
                  <a:pt x="38891" y="25464"/>
                </a:cubicBezTo>
                <a:cubicBezTo>
                  <a:pt x="38414" y="26893"/>
                  <a:pt x="39748" y="35751"/>
                  <a:pt x="32509" y="34989"/>
                </a:cubicBezTo>
                <a:lnTo>
                  <a:pt x="22127" y="33941"/>
                </a:lnTo>
                <a:cubicBezTo>
                  <a:pt x="16507" y="33370"/>
                  <a:pt x="12030" y="38799"/>
                  <a:pt x="12983" y="38132"/>
                </a:cubicBezTo>
                <a:cubicBezTo>
                  <a:pt x="9363" y="42704"/>
                  <a:pt x="2410" y="40228"/>
                  <a:pt x="3363" y="40228"/>
                </a:cubicBezTo>
                <a:cubicBezTo>
                  <a:pt x="600" y="39275"/>
                  <a:pt x="-733" y="40704"/>
                  <a:pt x="410" y="43466"/>
                </a:cubicBezTo>
                <a:cubicBezTo>
                  <a:pt x="7077" y="58992"/>
                  <a:pt x="8220" y="64517"/>
                  <a:pt x="14983" y="65374"/>
                </a:cubicBezTo>
                <a:lnTo>
                  <a:pt x="27747" y="66993"/>
                </a:lnTo>
                <a:cubicBezTo>
                  <a:pt x="33842" y="67755"/>
                  <a:pt x="40129" y="72708"/>
                  <a:pt x="39176" y="72232"/>
                </a:cubicBezTo>
                <a:cubicBezTo>
                  <a:pt x="45177" y="76709"/>
                  <a:pt x="45463" y="68041"/>
                  <a:pt x="53464" y="65469"/>
                </a:cubicBezTo>
                <a:cubicBezTo>
                  <a:pt x="73371" y="59183"/>
                  <a:pt x="78134" y="58897"/>
                  <a:pt x="80706" y="52610"/>
                </a:cubicBezTo>
                <a:cubicBezTo>
                  <a:pt x="80706" y="52610"/>
                  <a:pt x="83182" y="47467"/>
                  <a:pt x="88230" y="47276"/>
                </a:cubicBezTo>
                <a:close/>
              </a:path>
            </a:pathLst>
          </a:custGeom>
          <a:solidFill>
            <a:schemeClr val="bg1">
              <a:lumMod val="85000"/>
            </a:schemeClr>
          </a:solidFill>
          <a:ln w="9525" cap="flat">
            <a:noFill/>
            <a:prstDash val="solid"/>
            <a:miter/>
          </a:ln>
        </p:spPr>
        <p:txBody>
          <a:bodyPr rtlCol="0" anchor="ctr"/>
          <a:lstStyle/>
          <a:p>
            <a:endParaRPr lang="en-IN"/>
          </a:p>
        </p:txBody>
      </p:sp>
      <p:sp>
        <p:nvSpPr>
          <p:cNvPr id="447" name="Freeform: Shape 446">
            <a:extLst>
              <a:ext uri="{FF2B5EF4-FFF2-40B4-BE49-F238E27FC236}">
                <a16:creationId xmlns:a16="http://schemas.microsoft.com/office/drawing/2014/main" id="{B1818349-8654-10CC-EA49-EA3DA8B4588F}"/>
              </a:ext>
            </a:extLst>
          </p:cNvPr>
          <p:cNvSpPr/>
          <p:nvPr/>
        </p:nvSpPr>
        <p:spPr>
          <a:xfrm>
            <a:off x="6936739" y="2529104"/>
            <a:ext cx="377190" cy="210216"/>
          </a:xfrm>
          <a:custGeom>
            <a:avLst/>
            <a:gdLst>
              <a:gd name="connsiteX0" fmla="*/ 39529 w 377190"/>
              <a:gd name="connsiteY0" fmla="*/ 77724 h 210216"/>
              <a:gd name="connsiteX1" fmla="*/ 8572 w 377190"/>
              <a:gd name="connsiteY1" fmla="*/ 100774 h 210216"/>
              <a:gd name="connsiteX2" fmla="*/ 2191 w 377190"/>
              <a:gd name="connsiteY2" fmla="*/ 138113 h 210216"/>
              <a:gd name="connsiteX3" fmla="*/ 36290 w 377190"/>
              <a:gd name="connsiteY3" fmla="*/ 169831 h 210216"/>
              <a:gd name="connsiteX4" fmla="*/ 39433 w 377190"/>
              <a:gd name="connsiteY4" fmla="*/ 204788 h 210216"/>
              <a:gd name="connsiteX5" fmla="*/ 39624 w 377190"/>
              <a:gd name="connsiteY5" fmla="*/ 205073 h 210216"/>
              <a:gd name="connsiteX6" fmla="*/ 119634 w 377190"/>
              <a:gd name="connsiteY6" fmla="*/ 190405 h 210216"/>
              <a:gd name="connsiteX7" fmla="*/ 170879 w 377190"/>
              <a:gd name="connsiteY7" fmla="*/ 210217 h 210216"/>
              <a:gd name="connsiteX8" fmla="*/ 225838 w 377190"/>
              <a:gd name="connsiteY8" fmla="*/ 207169 h 210216"/>
              <a:gd name="connsiteX9" fmla="*/ 220313 w 377190"/>
              <a:gd name="connsiteY9" fmla="*/ 179356 h 210216"/>
              <a:gd name="connsiteX10" fmla="*/ 240125 w 377190"/>
              <a:gd name="connsiteY10" fmla="*/ 181832 h 210216"/>
              <a:gd name="connsiteX11" fmla="*/ 253746 w 377190"/>
              <a:gd name="connsiteY11" fmla="*/ 162687 h 210216"/>
              <a:gd name="connsiteX12" fmla="*/ 293941 w 377190"/>
              <a:gd name="connsiteY12" fmla="*/ 152210 h 210216"/>
              <a:gd name="connsiteX13" fmla="*/ 310610 w 377190"/>
              <a:gd name="connsiteY13" fmla="*/ 165830 h 210216"/>
              <a:gd name="connsiteX14" fmla="*/ 339757 w 377190"/>
              <a:gd name="connsiteY14" fmla="*/ 168973 h 210216"/>
              <a:gd name="connsiteX15" fmla="*/ 340042 w 377190"/>
              <a:gd name="connsiteY15" fmla="*/ 168973 h 210216"/>
              <a:gd name="connsiteX16" fmla="*/ 342138 w 377190"/>
              <a:gd name="connsiteY16" fmla="*/ 166116 h 210216"/>
              <a:gd name="connsiteX17" fmla="*/ 343281 w 377190"/>
              <a:gd name="connsiteY17" fmla="*/ 159544 h 210216"/>
              <a:gd name="connsiteX18" fmla="*/ 316516 w 377190"/>
              <a:gd name="connsiteY18" fmla="*/ 127445 h 210216"/>
              <a:gd name="connsiteX19" fmla="*/ 302609 w 377190"/>
              <a:gd name="connsiteY19" fmla="*/ 122777 h 210216"/>
              <a:gd name="connsiteX20" fmla="*/ 327279 w 377190"/>
              <a:gd name="connsiteY20" fmla="*/ 105346 h 210216"/>
              <a:gd name="connsiteX21" fmla="*/ 327946 w 377190"/>
              <a:gd name="connsiteY21" fmla="*/ 105346 h 210216"/>
              <a:gd name="connsiteX22" fmla="*/ 353568 w 377190"/>
              <a:gd name="connsiteY22" fmla="*/ 54959 h 210216"/>
              <a:gd name="connsiteX23" fmla="*/ 376523 w 377190"/>
              <a:gd name="connsiteY23" fmla="*/ 38957 h 210216"/>
              <a:gd name="connsiteX24" fmla="*/ 377190 w 377190"/>
              <a:gd name="connsiteY24" fmla="*/ 28670 h 210216"/>
              <a:gd name="connsiteX25" fmla="*/ 376999 w 377190"/>
              <a:gd name="connsiteY25" fmla="*/ 28670 h 210216"/>
              <a:gd name="connsiteX26" fmla="*/ 333375 w 377190"/>
              <a:gd name="connsiteY26" fmla="*/ 25432 h 210216"/>
              <a:gd name="connsiteX27" fmla="*/ 294513 w 377190"/>
              <a:gd name="connsiteY27" fmla="*/ 4001 h 210216"/>
              <a:gd name="connsiteX28" fmla="*/ 228600 w 377190"/>
              <a:gd name="connsiteY28" fmla="*/ 14288 h 210216"/>
              <a:gd name="connsiteX29" fmla="*/ 199263 w 377190"/>
              <a:gd name="connsiteY29" fmla="*/ 42101 h 210216"/>
              <a:gd name="connsiteX30" fmla="*/ 42100 w 377190"/>
              <a:gd name="connsiteY30" fmla="*/ 29432 h 210216"/>
              <a:gd name="connsiteX31" fmla="*/ 52388 w 377190"/>
              <a:gd name="connsiteY31" fmla="*/ 6382 h 210216"/>
              <a:gd name="connsiteX32" fmla="*/ 26194 w 377190"/>
              <a:gd name="connsiteY32" fmla="*/ 0 h 210216"/>
              <a:gd name="connsiteX33" fmla="*/ 0 w 377190"/>
              <a:gd name="connsiteY33" fmla="*/ 34957 h 210216"/>
              <a:gd name="connsiteX34" fmla="*/ 39719 w 377190"/>
              <a:gd name="connsiteY34" fmla="*/ 77819 h 2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77190" h="210216">
                <a:moveTo>
                  <a:pt x="39529" y="77724"/>
                </a:moveTo>
                <a:lnTo>
                  <a:pt x="8572" y="100774"/>
                </a:lnTo>
                <a:lnTo>
                  <a:pt x="2191" y="138113"/>
                </a:lnTo>
                <a:lnTo>
                  <a:pt x="36290" y="169831"/>
                </a:lnTo>
                <a:lnTo>
                  <a:pt x="39433" y="204788"/>
                </a:lnTo>
                <a:lnTo>
                  <a:pt x="39624" y="205073"/>
                </a:lnTo>
                <a:lnTo>
                  <a:pt x="119634" y="190405"/>
                </a:lnTo>
                <a:lnTo>
                  <a:pt x="170879" y="210217"/>
                </a:lnTo>
                <a:lnTo>
                  <a:pt x="225838" y="207169"/>
                </a:lnTo>
                <a:lnTo>
                  <a:pt x="220313" y="179356"/>
                </a:lnTo>
                <a:lnTo>
                  <a:pt x="240125" y="181832"/>
                </a:lnTo>
                <a:lnTo>
                  <a:pt x="253746" y="162687"/>
                </a:lnTo>
                <a:lnTo>
                  <a:pt x="293941" y="152210"/>
                </a:lnTo>
                <a:lnTo>
                  <a:pt x="310610" y="165830"/>
                </a:lnTo>
                <a:lnTo>
                  <a:pt x="339757" y="168973"/>
                </a:lnTo>
                <a:lnTo>
                  <a:pt x="340042" y="168973"/>
                </a:lnTo>
                <a:cubicBezTo>
                  <a:pt x="340233" y="167830"/>
                  <a:pt x="340805" y="166878"/>
                  <a:pt x="342138" y="166116"/>
                </a:cubicBezTo>
                <a:cubicBezTo>
                  <a:pt x="344424" y="164973"/>
                  <a:pt x="344900" y="162020"/>
                  <a:pt x="343281" y="159544"/>
                </a:cubicBezTo>
                <a:cubicBezTo>
                  <a:pt x="324707" y="131921"/>
                  <a:pt x="323564" y="127826"/>
                  <a:pt x="316516" y="127445"/>
                </a:cubicBezTo>
                <a:cubicBezTo>
                  <a:pt x="311277" y="126587"/>
                  <a:pt x="296704" y="128492"/>
                  <a:pt x="302609" y="122777"/>
                </a:cubicBezTo>
                <a:cubicBezTo>
                  <a:pt x="317563" y="108585"/>
                  <a:pt x="320516" y="104204"/>
                  <a:pt x="327279" y="105346"/>
                </a:cubicBezTo>
                <a:lnTo>
                  <a:pt x="327946" y="105346"/>
                </a:lnTo>
                <a:cubicBezTo>
                  <a:pt x="343090" y="107823"/>
                  <a:pt x="324612" y="55721"/>
                  <a:pt x="353568" y="54959"/>
                </a:cubicBezTo>
                <a:cubicBezTo>
                  <a:pt x="359759" y="54102"/>
                  <a:pt x="375285" y="58864"/>
                  <a:pt x="376523" y="38957"/>
                </a:cubicBezTo>
                <a:lnTo>
                  <a:pt x="377190" y="28670"/>
                </a:lnTo>
                <a:lnTo>
                  <a:pt x="376999" y="28670"/>
                </a:lnTo>
                <a:cubicBezTo>
                  <a:pt x="376999" y="28670"/>
                  <a:pt x="333375" y="25432"/>
                  <a:pt x="333375" y="25432"/>
                </a:cubicBezTo>
                <a:lnTo>
                  <a:pt x="294513" y="4001"/>
                </a:lnTo>
                <a:lnTo>
                  <a:pt x="228600" y="14288"/>
                </a:lnTo>
                <a:lnTo>
                  <a:pt x="199263" y="42101"/>
                </a:lnTo>
                <a:lnTo>
                  <a:pt x="42100" y="29432"/>
                </a:lnTo>
                <a:lnTo>
                  <a:pt x="52388" y="6382"/>
                </a:lnTo>
                <a:lnTo>
                  <a:pt x="26194" y="0"/>
                </a:lnTo>
                <a:lnTo>
                  <a:pt x="0" y="34957"/>
                </a:lnTo>
                <a:lnTo>
                  <a:pt x="39719" y="77819"/>
                </a:lnTo>
                <a:close/>
              </a:path>
            </a:pathLst>
          </a:custGeom>
          <a:solidFill>
            <a:schemeClr val="bg1">
              <a:lumMod val="95000"/>
            </a:schemeClr>
          </a:solidFill>
          <a:ln w="9525" cap="flat">
            <a:noFill/>
            <a:prstDash val="solid"/>
            <a:miter/>
          </a:ln>
        </p:spPr>
        <p:txBody>
          <a:bodyPr rtlCol="0" anchor="ctr"/>
          <a:lstStyle/>
          <a:p>
            <a:endParaRPr lang="en-IN"/>
          </a:p>
        </p:txBody>
      </p:sp>
      <p:sp>
        <p:nvSpPr>
          <p:cNvPr id="448" name="Freeform: Shape 447">
            <a:extLst>
              <a:ext uri="{FF2B5EF4-FFF2-40B4-BE49-F238E27FC236}">
                <a16:creationId xmlns:a16="http://schemas.microsoft.com/office/drawing/2014/main" id="{71DC493A-20D2-140B-3861-2EFA9955DDAA}"/>
              </a:ext>
            </a:extLst>
          </p:cNvPr>
          <p:cNvSpPr/>
          <p:nvPr/>
        </p:nvSpPr>
        <p:spPr>
          <a:xfrm>
            <a:off x="6540308" y="2452714"/>
            <a:ext cx="227837" cy="180022"/>
          </a:xfrm>
          <a:custGeom>
            <a:avLst/>
            <a:gdLst>
              <a:gd name="connsiteX0" fmla="*/ 195643 w 227837"/>
              <a:gd name="connsiteY0" fmla="*/ 140875 h 180022"/>
              <a:gd name="connsiteX1" fmla="*/ 194500 w 227837"/>
              <a:gd name="connsiteY1" fmla="*/ 118872 h 180022"/>
              <a:gd name="connsiteX2" fmla="*/ 216598 w 227837"/>
              <a:gd name="connsiteY2" fmla="*/ 132207 h 180022"/>
              <a:gd name="connsiteX3" fmla="*/ 227457 w 227837"/>
              <a:gd name="connsiteY3" fmla="*/ 119539 h 180022"/>
              <a:gd name="connsiteX4" fmla="*/ 211741 w 227837"/>
              <a:gd name="connsiteY4" fmla="*/ 97441 h 180022"/>
              <a:gd name="connsiteX5" fmla="*/ 227838 w 227837"/>
              <a:gd name="connsiteY5" fmla="*/ 87916 h 180022"/>
              <a:gd name="connsiteX6" fmla="*/ 203263 w 227837"/>
              <a:gd name="connsiteY6" fmla="*/ 65151 h 180022"/>
              <a:gd name="connsiteX7" fmla="*/ 217741 w 227837"/>
              <a:gd name="connsiteY7" fmla="*/ 30099 h 180022"/>
              <a:gd name="connsiteX8" fmla="*/ 190309 w 227837"/>
              <a:gd name="connsiteY8" fmla="*/ 28099 h 180022"/>
              <a:gd name="connsiteX9" fmla="*/ 175070 w 227837"/>
              <a:gd name="connsiteY9" fmla="*/ 11049 h 180022"/>
              <a:gd name="connsiteX10" fmla="*/ 137541 w 227837"/>
              <a:gd name="connsiteY10" fmla="*/ 5334 h 180022"/>
              <a:gd name="connsiteX11" fmla="*/ 127635 w 227837"/>
              <a:gd name="connsiteY11" fmla="*/ 14192 h 180022"/>
              <a:gd name="connsiteX12" fmla="*/ 75152 w 227837"/>
              <a:gd name="connsiteY12" fmla="*/ 0 h 180022"/>
              <a:gd name="connsiteX13" fmla="*/ 45720 w 227837"/>
              <a:gd name="connsiteY13" fmla="*/ 1429 h 180022"/>
              <a:gd name="connsiteX14" fmla="*/ 34766 w 227837"/>
              <a:gd name="connsiteY14" fmla="*/ 18479 h 180022"/>
              <a:gd name="connsiteX15" fmla="*/ 3905 w 227837"/>
              <a:gd name="connsiteY15" fmla="*/ 1143 h 180022"/>
              <a:gd name="connsiteX16" fmla="*/ 0 w 227837"/>
              <a:gd name="connsiteY16" fmla="*/ 33718 h 180022"/>
              <a:gd name="connsiteX17" fmla="*/ 21622 w 227837"/>
              <a:gd name="connsiteY17" fmla="*/ 47530 h 180022"/>
              <a:gd name="connsiteX18" fmla="*/ 28004 w 227837"/>
              <a:gd name="connsiteY18" fmla="*/ 69151 h 180022"/>
              <a:gd name="connsiteX19" fmla="*/ 75724 w 227837"/>
              <a:gd name="connsiteY19" fmla="*/ 110490 h 180022"/>
              <a:gd name="connsiteX20" fmla="*/ 90964 w 227837"/>
              <a:gd name="connsiteY20" fmla="*/ 112300 h 180022"/>
              <a:gd name="connsiteX21" fmla="*/ 93440 w 227837"/>
              <a:gd name="connsiteY21" fmla="*/ 130397 h 180022"/>
              <a:gd name="connsiteX22" fmla="*/ 105346 w 227837"/>
              <a:gd name="connsiteY22" fmla="*/ 139541 h 180022"/>
              <a:gd name="connsiteX23" fmla="*/ 95821 w 227837"/>
              <a:gd name="connsiteY23" fmla="*/ 150876 h 180022"/>
              <a:gd name="connsiteX24" fmla="*/ 95821 w 227837"/>
              <a:gd name="connsiteY24" fmla="*/ 150876 h 180022"/>
              <a:gd name="connsiteX25" fmla="*/ 106394 w 227837"/>
              <a:gd name="connsiteY25" fmla="*/ 160687 h 180022"/>
              <a:gd name="connsiteX26" fmla="*/ 106394 w 227837"/>
              <a:gd name="connsiteY26" fmla="*/ 160687 h 180022"/>
              <a:gd name="connsiteX27" fmla="*/ 118491 w 227837"/>
              <a:gd name="connsiteY27" fmla="*/ 151066 h 180022"/>
              <a:gd name="connsiteX28" fmla="*/ 162115 w 227837"/>
              <a:gd name="connsiteY28" fmla="*/ 180022 h 180022"/>
              <a:gd name="connsiteX29" fmla="*/ 174212 w 227837"/>
              <a:gd name="connsiteY29" fmla="*/ 148114 h 180022"/>
              <a:gd name="connsiteX30" fmla="*/ 195643 w 227837"/>
              <a:gd name="connsiteY30" fmla="*/ 140970 h 18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7837" h="180022">
                <a:moveTo>
                  <a:pt x="195643" y="140875"/>
                </a:moveTo>
                <a:lnTo>
                  <a:pt x="194500" y="118872"/>
                </a:lnTo>
                <a:lnTo>
                  <a:pt x="216598" y="132207"/>
                </a:lnTo>
                <a:lnTo>
                  <a:pt x="227457" y="119539"/>
                </a:lnTo>
                <a:lnTo>
                  <a:pt x="211741" y="97441"/>
                </a:lnTo>
                <a:lnTo>
                  <a:pt x="227838" y="87916"/>
                </a:lnTo>
                <a:lnTo>
                  <a:pt x="203263" y="65151"/>
                </a:lnTo>
                <a:lnTo>
                  <a:pt x="217741" y="30099"/>
                </a:lnTo>
                <a:lnTo>
                  <a:pt x="190309" y="28099"/>
                </a:lnTo>
                <a:lnTo>
                  <a:pt x="175070" y="11049"/>
                </a:lnTo>
                <a:lnTo>
                  <a:pt x="137541" y="5334"/>
                </a:lnTo>
                <a:lnTo>
                  <a:pt x="127635" y="14192"/>
                </a:lnTo>
                <a:lnTo>
                  <a:pt x="75152" y="0"/>
                </a:lnTo>
                <a:lnTo>
                  <a:pt x="45720" y="1429"/>
                </a:lnTo>
                <a:lnTo>
                  <a:pt x="34766" y="18479"/>
                </a:lnTo>
                <a:lnTo>
                  <a:pt x="3905" y="1143"/>
                </a:lnTo>
                <a:lnTo>
                  <a:pt x="0" y="33718"/>
                </a:lnTo>
                <a:lnTo>
                  <a:pt x="21622" y="47530"/>
                </a:lnTo>
                <a:lnTo>
                  <a:pt x="28004" y="69151"/>
                </a:lnTo>
                <a:lnTo>
                  <a:pt x="75724" y="110490"/>
                </a:lnTo>
                <a:lnTo>
                  <a:pt x="90964" y="112300"/>
                </a:lnTo>
                <a:lnTo>
                  <a:pt x="93440" y="130397"/>
                </a:lnTo>
                <a:lnTo>
                  <a:pt x="105346" y="139541"/>
                </a:lnTo>
                <a:lnTo>
                  <a:pt x="95821" y="150876"/>
                </a:lnTo>
                <a:lnTo>
                  <a:pt x="95821" y="150876"/>
                </a:lnTo>
                <a:cubicBezTo>
                  <a:pt x="102489" y="156305"/>
                  <a:pt x="106013" y="159258"/>
                  <a:pt x="106394" y="160687"/>
                </a:cubicBezTo>
                <a:lnTo>
                  <a:pt x="106394" y="160687"/>
                </a:lnTo>
                <a:cubicBezTo>
                  <a:pt x="106394" y="160687"/>
                  <a:pt x="118491" y="151066"/>
                  <a:pt x="118491" y="151066"/>
                </a:cubicBezTo>
                <a:lnTo>
                  <a:pt x="162115" y="180022"/>
                </a:lnTo>
                <a:lnTo>
                  <a:pt x="174212" y="148114"/>
                </a:lnTo>
                <a:lnTo>
                  <a:pt x="195643" y="140970"/>
                </a:lnTo>
                <a:close/>
              </a:path>
            </a:pathLst>
          </a:custGeom>
          <a:solidFill>
            <a:schemeClr val="bg1">
              <a:lumMod val="95000"/>
            </a:schemeClr>
          </a:solidFill>
          <a:ln w="9525" cap="flat">
            <a:noFill/>
            <a:prstDash val="solid"/>
            <a:miter/>
          </a:ln>
        </p:spPr>
        <p:txBody>
          <a:bodyPr rtlCol="0" anchor="ctr"/>
          <a:lstStyle/>
          <a:p>
            <a:endParaRPr lang="en-IN"/>
          </a:p>
        </p:txBody>
      </p:sp>
      <p:sp>
        <p:nvSpPr>
          <p:cNvPr id="449" name="Freeform: Shape 448">
            <a:extLst>
              <a:ext uri="{FF2B5EF4-FFF2-40B4-BE49-F238E27FC236}">
                <a16:creationId xmlns:a16="http://schemas.microsoft.com/office/drawing/2014/main" id="{B6B1FC33-3283-6F6D-DC31-D7569545AEF9}"/>
              </a:ext>
            </a:extLst>
          </p:cNvPr>
          <p:cNvSpPr/>
          <p:nvPr/>
        </p:nvSpPr>
        <p:spPr>
          <a:xfrm>
            <a:off x="5738874" y="1973797"/>
            <a:ext cx="240411" cy="151256"/>
          </a:xfrm>
          <a:custGeom>
            <a:avLst/>
            <a:gdLst>
              <a:gd name="connsiteX0" fmla="*/ 198787 w 240411"/>
              <a:gd name="connsiteY0" fmla="*/ 22669 h 151256"/>
              <a:gd name="connsiteX1" fmla="*/ 146399 w 240411"/>
              <a:gd name="connsiteY1" fmla="*/ 0 h 151256"/>
              <a:gd name="connsiteX2" fmla="*/ 93440 w 240411"/>
              <a:gd name="connsiteY2" fmla="*/ 19621 h 151256"/>
              <a:gd name="connsiteX3" fmla="*/ 52483 w 240411"/>
              <a:gd name="connsiteY3" fmla="*/ 3334 h 151256"/>
              <a:gd name="connsiteX4" fmla="*/ 0 w 240411"/>
              <a:gd name="connsiteY4" fmla="*/ 27527 h 151256"/>
              <a:gd name="connsiteX5" fmla="*/ 14859 w 240411"/>
              <a:gd name="connsiteY5" fmla="*/ 59531 h 151256"/>
              <a:gd name="connsiteX6" fmla="*/ 44006 w 240411"/>
              <a:gd name="connsiteY6" fmla="*/ 54769 h 151256"/>
              <a:gd name="connsiteX7" fmla="*/ 68961 w 240411"/>
              <a:gd name="connsiteY7" fmla="*/ 86106 h 151256"/>
              <a:gd name="connsiteX8" fmla="*/ 100489 w 240411"/>
              <a:gd name="connsiteY8" fmla="*/ 88678 h 151256"/>
              <a:gd name="connsiteX9" fmla="*/ 119539 w 240411"/>
              <a:gd name="connsiteY9" fmla="*/ 120205 h 151256"/>
              <a:gd name="connsiteX10" fmla="*/ 137446 w 240411"/>
              <a:gd name="connsiteY10" fmla="*/ 101155 h 151256"/>
              <a:gd name="connsiteX11" fmla="*/ 151162 w 240411"/>
              <a:gd name="connsiteY11" fmla="*/ 104108 h 151256"/>
              <a:gd name="connsiteX12" fmla="*/ 153924 w 240411"/>
              <a:gd name="connsiteY12" fmla="*/ 138398 h 151256"/>
              <a:gd name="connsiteX13" fmla="*/ 205931 w 240411"/>
              <a:gd name="connsiteY13" fmla="*/ 151257 h 151256"/>
              <a:gd name="connsiteX14" fmla="*/ 206121 w 240411"/>
              <a:gd name="connsiteY14" fmla="*/ 150971 h 151256"/>
              <a:gd name="connsiteX15" fmla="*/ 198501 w 240411"/>
              <a:gd name="connsiteY15" fmla="*/ 124968 h 151256"/>
              <a:gd name="connsiteX16" fmla="*/ 215837 w 240411"/>
              <a:gd name="connsiteY16" fmla="*/ 100203 h 151256"/>
              <a:gd name="connsiteX17" fmla="*/ 223742 w 240411"/>
              <a:gd name="connsiteY17" fmla="*/ 107632 h 151256"/>
              <a:gd name="connsiteX18" fmla="*/ 240411 w 240411"/>
              <a:gd name="connsiteY18" fmla="*/ 89154 h 151256"/>
              <a:gd name="connsiteX19" fmla="*/ 217170 w 240411"/>
              <a:gd name="connsiteY19" fmla="*/ 55245 h 151256"/>
              <a:gd name="connsiteX20" fmla="*/ 194500 w 240411"/>
              <a:gd name="connsiteY20" fmla="*/ 52292 h 151256"/>
              <a:gd name="connsiteX21" fmla="*/ 198692 w 240411"/>
              <a:gd name="connsiteY21" fmla="*/ 22574 h 1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0411" h="151256">
                <a:moveTo>
                  <a:pt x="198787" y="22669"/>
                </a:moveTo>
                <a:lnTo>
                  <a:pt x="146399" y="0"/>
                </a:lnTo>
                <a:lnTo>
                  <a:pt x="93440" y="19621"/>
                </a:lnTo>
                <a:lnTo>
                  <a:pt x="52483" y="3334"/>
                </a:lnTo>
                <a:cubicBezTo>
                  <a:pt x="38957" y="6191"/>
                  <a:pt x="15145" y="22574"/>
                  <a:pt x="0" y="27527"/>
                </a:cubicBezTo>
                <a:lnTo>
                  <a:pt x="14859" y="59531"/>
                </a:lnTo>
                <a:lnTo>
                  <a:pt x="44006" y="54769"/>
                </a:lnTo>
                <a:lnTo>
                  <a:pt x="68961" y="86106"/>
                </a:lnTo>
                <a:lnTo>
                  <a:pt x="100489" y="88678"/>
                </a:lnTo>
                <a:lnTo>
                  <a:pt x="119539" y="120205"/>
                </a:lnTo>
                <a:lnTo>
                  <a:pt x="137446" y="101155"/>
                </a:lnTo>
                <a:lnTo>
                  <a:pt x="151162" y="104108"/>
                </a:lnTo>
                <a:lnTo>
                  <a:pt x="153924" y="138398"/>
                </a:lnTo>
                <a:lnTo>
                  <a:pt x="205931" y="151257"/>
                </a:lnTo>
                <a:lnTo>
                  <a:pt x="206121" y="150971"/>
                </a:lnTo>
                <a:lnTo>
                  <a:pt x="198501" y="124968"/>
                </a:lnTo>
                <a:lnTo>
                  <a:pt x="215837" y="100203"/>
                </a:lnTo>
                <a:lnTo>
                  <a:pt x="223742" y="107632"/>
                </a:lnTo>
                <a:lnTo>
                  <a:pt x="240411" y="89154"/>
                </a:lnTo>
                <a:lnTo>
                  <a:pt x="217170" y="55245"/>
                </a:lnTo>
                <a:lnTo>
                  <a:pt x="194500" y="52292"/>
                </a:lnTo>
                <a:lnTo>
                  <a:pt x="198692" y="22574"/>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450" name="Freeform: Shape 449">
            <a:extLst>
              <a:ext uri="{FF2B5EF4-FFF2-40B4-BE49-F238E27FC236}">
                <a16:creationId xmlns:a16="http://schemas.microsoft.com/office/drawing/2014/main" id="{FB435D09-0B07-3F55-DA5A-087D25B08144}"/>
              </a:ext>
            </a:extLst>
          </p:cNvPr>
          <p:cNvSpPr/>
          <p:nvPr/>
        </p:nvSpPr>
        <p:spPr>
          <a:xfrm>
            <a:off x="6984268" y="1587463"/>
            <a:ext cx="577215" cy="405002"/>
          </a:xfrm>
          <a:custGeom>
            <a:avLst/>
            <a:gdLst>
              <a:gd name="connsiteX0" fmla="*/ 57341 w 577215"/>
              <a:gd name="connsiteY0" fmla="*/ 375761 h 405002"/>
              <a:gd name="connsiteX1" fmla="*/ 78200 w 577215"/>
              <a:gd name="connsiteY1" fmla="*/ 347948 h 405002"/>
              <a:gd name="connsiteX2" fmla="*/ 238696 w 577215"/>
              <a:gd name="connsiteY2" fmla="*/ 359473 h 405002"/>
              <a:gd name="connsiteX3" fmla="*/ 272605 w 577215"/>
              <a:gd name="connsiteY3" fmla="*/ 383381 h 405002"/>
              <a:gd name="connsiteX4" fmla="*/ 360521 w 577215"/>
              <a:gd name="connsiteY4" fmla="*/ 372618 h 405002"/>
              <a:gd name="connsiteX5" fmla="*/ 371285 w 577215"/>
              <a:gd name="connsiteY5" fmla="*/ 390334 h 405002"/>
              <a:gd name="connsiteX6" fmla="*/ 419862 w 577215"/>
              <a:gd name="connsiteY6" fmla="*/ 383381 h 405002"/>
              <a:gd name="connsiteX7" fmla="*/ 435293 w 577215"/>
              <a:gd name="connsiteY7" fmla="*/ 405003 h 405002"/>
              <a:gd name="connsiteX8" fmla="*/ 453009 w 577215"/>
              <a:gd name="connsiteY8" fmla="*/ 396526 h 405002"/>
              <a:gd name="connsiteX9" fmla="*/ 443770 w 577215"/>
              <a:gd name="connsiteY9" fmla="*/ 369475 h 405002"/>
              <a:gd name="connsiteX10" fmla="*/ 472345 w 577215"/>
              <a:gd name="connsiteY10" fmla="*/ 333184 h 405002"/>
              <a:gd name="connsiteX11" fmla="*/ 515398 w 577215"/>
              <a:gd name="connsiteY11" fmla="*/ 334137 h 405002"/>
              <a:gd name="connsiteX12" fmla="*/ 506349 w 577215"/>
              <a:gd name="connsiteY12" fmla="*/ 279178 h 405002"/>
              <a:gd name="connsiteX13" fmla="*/ 489204 w 577215"/>
              <a:gd name="connsiteY13" fmla="*/ 258984 h 405002"/>
              <a:gd name="connsiteX14" fmla="*/ 502063 w 577215"/>
              <a:gd name="connsiteY14" fmla="*/ 243078 h 405002"/>
              <a:gd name="connsiteX15" fmla="*/ 541592 w 577215"/>
              <a:gd name="connsiteY15" fmla="*/ 255079 h 405002"/>
              <a:gd name="connsiteX16" fmla="*/ 575120 w 577215"/>
              <a:gd name="connsiteY16" fmla="*/ 234505 h 405002"/>
              <a:gd name="connsiteX17" fmla="*/ 577215 w 577215"/>
              <a:gd name="connsiteY17" fmla="*/ 224599 h 405002"/>
              <a:gd name="connsiteX18" fmla="*/ 558737 w 577215"/>
              <a:gd name="connsiteY18" fmla="*/ 214313 h 405002"/>
              <a:gd name="connsiteX19" fmla="*/ 559594 w 577215"/>
              <a:gd name="connsiteY19" fmla="*/ 203168 h 405002"/>
              <a:gd name="connsiteX20" fmla="*/ 516636 w 577215"/>
              <a:gd name="connsiteY20" fmla="*/ 196310 h 405002"/>
              <a:gd name="connsiteX21" fmla="*/ 522637 w 577215"/>
              <a:gd name="connsiteY21" fmla="*/ 174879 h 405002"/>
              <a:gd name="connsiteX22" fmla="*/ 499015 w 577215"/>
              <a:gd name="connsiteY22" fmla="*/ 165830 h 405002"/>
              <a:gd name="connsiteX23" fmla="*/ 476726 w 577215"/>
              <a:gd name="connsiteY23" fmla="*/ 140017 h 405002"/>
              <a:gd name="connsiteX24" fmla="*/ 482346 w 577215"/>
              <a:gd name="connsiteY24" fmla="*/ 128873 h 405002"/>
              <a:gd name="connsiteX25" fmla="*/ 457962 w 577215"/>
              <a:gd name="connsiteY25" fmla="*/ 114395 h 405002"/>
              <a:gd name="connsiteX26" fmla="*/ 473012 w 577215"/>
              <a:gd name="connsiteY26" fmla="*/ 88963 h 405002"/>
              <a:gd name="connsiteX27" fmla="*/ 459486 w 577215"/>
              <a:gd name="connsiteY27" fmla="*/ 73057 h 405002"/>
              <a:gd name="connsiteX28" fmla="*/ 469011 w 577215"/>
              <a:gd name="connsiteY28" fmla="*/ 50006 h 405002"/>
              <a:gd name="connsiteX29" fmla="*/ 428530 w 577215"/>
              <a:gd name="connsiteY29" fmla="*/ 25432 h 405002"/>
              <a:gd name="connsiteX30" fmla="*/ 377762 w 577215"/>
              <a:gd name="connsiteY30" fmla="*/ 37338 h 405002"/>
              <a:gd name="connsiteX31" fmla="*/ 372999 w 577215"/>
              <a:gd name="connsiteY31" fmla="*/ 12763 h 405002"/>
              <a:gd name="connsiteX32" fmla="*/ 338042 w 577215"/>
              <a:gd name="connsiteY32" fmla="*/ 18288 h 405002"/>
              <a:gd name="connsiteX33" fmla="*/ 300704 w 577215"/>
              <a:gd name="connsiteY33" fmla="*/ 0 h 405002"/>
              <a:gd name="connsiteX34" fmla="*/ 208217 w 577215"/>
              <a:gd name="connsiteY34" fmla="*/ 38481 h 405002"/>
              <a:gd name="connsiteX35" fmla="*/ 201073 w 577215"/>
              <a:gd name="connsiteY35" fmla="*/ 59912 h 405002"/>
              <a:gd name="connsiteX36" fmla="*/ 222504 w 577215"/>
              <a:gd name="connsiteY36" fmla="*/ 70580 h 405002"/>
              <a:gd name="connsiteX37" fmla="*/ 212979 w 577215"/>
              <a:gd name="connsiteY37" fmla="*/ 86011 h 405002"/>
              <a:gd name="connsiteX38" fmla="*/ 160592 w 577215"/>
              <a:gd name="connsiteY38" fmla="*/ 107442 h 405002"/>
              <a:gd name="connsiteX39" fmla="*/ 150304 w 577215"/>
              <a:gd name="connsiteY39" fmla="*/ 140589 h 405002"/>
              <a:gd name="connsiteX40" fmla="*/ 159448 w 577215"/>
              <a:gd name="connsiteY40" fmla="*/ 165830 h 405002"/>
              <a:gd name="connsiteX41" fmla="*/ 142018 w 577215"/>
              <a:gd name="connsiteY41" fmla="*/ 172974 h 405002"/>
              <a:gd name="connsiteX42" fmla="*/ 128588 w 577215"/>
              <a:gd name="connsiteY42" fmla="*/ 160496 h 405002"/>
              <a:gd name="connsiteX43" fmla="*/ 72962 w 577215"/>
              <a:gd name="connsiteY43" fmla="*/ 188023 h 405002"/>
              <a:gd name="connsiteX44" fmla="*/ 25337 w 577215"/>
              <a:gd name="connsiteY44" fmla="*/ 188023 h 405002"/>
              <a:gd name="connsiteX45" fmla="*/ 25337 w 577215"/>
              <a:gd name="connsiteY45" fmla="*/ 188023 h 405002"/>
              <a:gd name="connsiteX46" fmla="*/ 45244 w 577215"/>
              <a:gd name="connsiteY46" fmla="*/ 248317 h 405002"/>
              <a:gd name="connsiteX47" fmla="*/ 45244 w 577215"/>
              <a:gd name="connsiteY47" fmla="*/ 285655 h 405002"/>
              <a:gd name="connsiteX48" fmla="*/ 13526 w 577215"/>
              <a:gd name="connsiteY48" fmla="*/ 299180 h 405002"/>
              <a:gd name="connsiteX49" fmla="*/ 0 w 577215"/>
              <a:gd name="connsiteY49" fmla="*/ 322993 h 405002"/>
              <a:gd name="connsiteX50" fmla="*/ 29337 w 577215"/>
              <a:gd name="connsiteY50" fmla="*/ 336518 h 405002"/>
              <a:gd name="connsiteX51" fmla="*/ 26194 w 577215"/>
              <a:gd name="connsiteY51" fmla="*/ 373475 h 405002"/>
              <a:gd name="connsiteX52" fmla="*/ 26479 w 577215"/>
              <a:gd name="connsiteY52" fmla="*/ 373189 h 405002"/>
              <a:gd name="connsiteX53" fmla="*/ 57341 w 577215"/>
              <a:gd name="connsiteY53" fmla="*/ 375475 h 40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7215" h="405002">
                <a:moveTo>
                  <a:pt x="57341" y="375761"/>
                </a:moveTo>
                <a:lnTo>
                  <a:pt x="78200" y="347948"/>
                </a:lnTo>
                <a:lnTo>
                  <a:pt x="238696" y="359473"/>
                </a:lnTo>
                <a:lnTo>
                  <a:pt x="272605" y="383381"/>
                </a:lnTo>
                <a:lnTo>
                  <a:pt x="360521" y="372618"/>
                </a:lnTo>
                <a:lnTo>
                  <a:pt x="371285" y="390334"/>
                </a:lnTo>
                <a:lnTo>
                  <a:pt x="419862" y="383381"/>
                </a:lnTo>
                <a:lnTo>
                  <a:pt x="435293" y="405003"/>
                </a:lnTo>
                <a:lnTo>
                  <a:pt x="453009" y="396526"/>
                </a:lnTo>
                <a:lnTo>
                  <a:pt x="443770" y="369475"/>
                </a:lnTo>
                <a:lnTo>
                  <a:pt x="472345" y="333184"/>
                </a:lnTo>
                <a:lnTo>
                  <a:pt x="515398" y="334137"/>
                </a:lnTo>
                <a:lnTo>
                  <a:pt x="506349" y="279178"/>
                </a:lnTo>
                <a:lnTo>
                  <a:pt x="489204" y="258984"/>
                </a:lnTo>
                <a:lnTo>
                  <a:pt x="502063" y="243078"/>
                </a:lnTo>
                <a:lnTo>
                  <a:pt x="541592" y="255079"/>
                </a:lnTo>
                <a:lnTo>
                  <a:pt x="575120" y="234505"/>
                </a:lnTo>
                <a:lnTo>
                  <a:pt x="577215" y="224599"/>
                </a:lnTo>
                <a:lnTo>
                  <a:pt x="558737" y="214313"/>
                </a:lnTo>
                <a:lnTo>
                  <a:pt x="559594" y="203168"/>
                </a:lnTo>
                <a:lnTo>
                  <a:pt x="516636" y="196310"/>
                </a:lnTo>
                <a:lnTo>
                  <a:pt x="522637" y="174879"/>
                </a:lnTo>
                <a:lnTo>
                  <a:pt x="499015" y="165830"/>
                </a:lnTo>
                <a:cubicBezTo>
                  <a:pt x="499015" y="165830"/>
                  <a:pt x="476726" y="141351"/>
                  <a:pt x="476726" y="140017"/>
                </a:cubicBezTo>
                <a:cubicBezTo>
                  <a:pt x="476726" y="138684"/>
                  <a:pt x="482346" y="128873"/>
                  <a:pt x="482346" y="128873"/>
                </a:cubicBezTo>
                <a:lnTo>
                  <a:pt x="457962" y="114395"/>
                </a:lnTo>
                <a:lnTo>
                  <a:pt x="473012" y="88963"/>
                </a:lnTo>
                <a:lnTo>
                  <a:pt x="459486" y="73057"/>
                </a:lnTo>
                <a:lnTo>
                  <a:pt x="469011" y="50006"/>
                </a:lnTo>
                <a:lnTo>
                  <a:pt x="428530" y="25432"/>
                </a:lnTo>
                <a:lnTo>
                  <a:pt x="377762" y="37338"/>
                </a:lnTo>
                <a:lnTo>
                  <a:pt x="372999" y="12763"/>
                </a:lnTo>
                <a:lnTo>
                  <a:pt x="338042" y="18288"/>
                </a:lnTo>
                <a:lnTo>
                  <a:pt x="300704" y="0"/>
                </a:lnTo>
                <a:lnTo>
                  <a:pt x="208217" y="38481"/>
                </a:lnTo>
                <a:lnTo>
                  <a:pt x="201073" y="59912"/>
                </a:lnTo>
                <a:lnTo>
                  <a:pt x="222504" y="70580"/>
                </a:lnTo>
                <a:lnTo>
                  <a:pt x="212979" y="86011"/>
                </a:lnTo>
                <a:lnTo>
                  <a:pt x="160592" y="107442"/>
                </a:lnTo>
                <a:lnTo>
                  <a:pt x="150304" y="140589"/>
                </a:lnTo>
                <a:lnTo>
                  <a:pt x="159448" y="165830"/>
                </a:lnTo>
                <a:lnTo>
                  <a:pt x="142018" y="172974"/>
                </a:lnTo>
                <a:lnTo>
                  <a:pt x="128588" y="160496"/>
                </a:lnTo>
                <a:lnTo>
                  <a:pt x="72962" y="188023"/>
                </a:lnTo>
                <a:lnTo>
                  <a:pt x="25337" y="188023"/>
                </a:lnTo>
                <a:cubicBezTo>
                  <a:pt x="25337" y="188023"/>
                  <a:pt x="25337" y="188023"/>
                  <a:pt x="25337" y="188023"/>
                </a:cubicBezTo>
                <a:lnTo>
                  <a:pt x="45244" y="248317"/>
                </a:lnTo>
                <a:lnTo>
                  <a:pt x="45244" y="285655"/>
                </a:lnTo>
                <a:lnTo>
                  <a:pt x="13526" y="299180"/>
                </a:lnTo>
                <a:lnTo>
                  <a:pt x="0" y="322993"/>
                </a:lnTo>
                <a:lnTo>
                  <a:pt x="29337" y="336518"/>
                </a:lnTo>
                <a:lnTo>
                  <a:pt x="26194" y="373475"/>
                </a:lnTo>
                <a:lnTo>
                  <a:pt x="26479" y="373189"/>
                </a:lnTo>
                <a:lnTo>
                  <a:pt x="57341" y="375475"/>
                </a:lnTo>
                <a:close/>
              </a:path>
            </a:pathLst>
          </a:custGeom>
          <a:solidFill>
            <a:schemeClr val="bg1">
              <a:lumMod val="95000"/>
            </a:schemeClr>
          </a:solidFill>
          <a:ln w="9525" cap="flat">
            <a:noFill/>
            <a:prstDash val="solid"/>
            <a:miter/>
          </a:ln>
        </p:spPr>
        <p:txBody>
          <a:bodyPr rtlCol="0" anchor="ctr"/>
          <a:lstStyle/>
          <a:p>
            <a:endParaRPr lang="en-IN"/>
          </a:p>
        </p:txBody>
      </p:sp>
      <p:sp>
        <p:nvSpPr>
          <p:cNvPr id="451" name="Freeform: Shape 450">
            <a:extLst>
              <a:ext uri="{FF2B5EF4-FFF2-40B4-BE49-F238E27FC236}">
                <a16:creationId xmlns:a16="http://schemas.microsoft.com/office/drawing/2014/main" id="{CB33B819-9713-41A8-9E15-7290B4AD30CB}"/>
              </a:ext>
            </a:extLst>
          </p:cNvPr>
          <p:cNvSpPr/>
          <p:nvPr/>
        </p:nvSpPr>
        <p:spPr>
          <a:xfrm>
            <a:off x="5677057" y="2635784"/>
            <a:ext cx="30956" cy="27527"/>
          </a:xfrm>
          <a:custGeom>
            <a:avLst/>
            <a:gdLst>
              <a:gd name="connsiteX0" fmla="*/ 30956 w 30956"/>
              <a:gd name="connsiteY0" fmla="*/ 22860 h 27527"/>
              <a:gd name="connsiteX1" fmla="*/ 25908 w 30956"/>
              <a:gd name="connsiteY1" fmla="*/ 6953 h 27527"/>
              <a:gd name="connsiteX2" fmla="*/ 0 w 30956"/>
              <a:gd name="connsiteY2" fmla="*/ 0 h 27527"/>
              <a:gd name="connsiteX3" fmla="*/ 5620 w 30956"/>
              <a:gd name="connsiteY3" fmla="*/ 27527 h 27527"/>
              <a:gd name="connsiteX4" fmla="*/ 30956 w 30956"/>
              <a:gd name="connsiteY4" fmla="*/ 22860 h 27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 h="27527">
                <a:moveTo>
                  <a:pt x="30956" y="22860"/>
                </a:moveTo>
                <a:lnTo>
                  <a:pt x="25908" y="6953"/>
                </a:lnTo>
                <a:lnTo>
                  <a:pt x="0" y="0"/>
                </a:lnTo>
                <a:lnTo>
                  <a:pt x="5620" y="27527"/>
                </a:lnTo>
                <a:lnTo>
                  <a:pt x="30956" y="22860"/>
                </a:lnTo>
                <a:close/>
              </a:path>
            </a:pathLst>
          </a:custGeom>
          <a:solidFill>
            <a:schemeClr val="bg1">
              <a:lumMod val="85000"/>
            </a:schemeClr>
          </a:solidFill>
          <a:ln w="9525" cap="flat">
            <a:noFill/>
            <a:prstDash val="solid"/>
            <a:miter/>
          </a:ln>
        </p:spPr>
        <p:txBody>
          <a:bodyPr rtlCol="0" anchor="ctr"/>
          <a:lstStyle/>
          <a:p>
            <a:endParaRPr lang="en-IN"/>
          </a:p>
        </p:txBody>
      </p:sp>
      <p:sp>
        <p:nvSpPr>
          <p:cNvPr id="452" name="Freeform: Shape 451">
            <a:extLst>
              <a:ext uri="{FF2B5EF4-FFF2-40B4-BE49-F238E27FC236}">
                <a16:creationId xmlns:a16="http://schemas.microsoft.com/office/drawing/2014/main" id="{6E9E067D-1569-EBDE-92C2-2C8F92FC6485}"/>
              </a:ext>
            </a:extLst>
          </p:cNvPr>
          <p:cNvSpPr/>
          <p:nvPr/>
        </p:nvSpPr>
        <p:spPr>
          <a:xfrm>
            <a:off x="6754906" y="2642928"/>
            <a:ext cx="104584" cy="212407"/>
          </a:xfrm>
          <a:custGeom>
            <a:avLst/>
            <a:gdLst>
              <a:gd name="connsiteX0" fmla="*/ 70771 w 104584"/>
              <a:gd name="connsiteY0" fmla="*/ 102013 h 212407"/>
              <a:gd name="connsiteX1" fmla="*/ 77438 w 104584"/>
              <a:gd name="connsiteY1" fmla="*/ 50673 h 212407"/>
              <a:gd name="connsiteX2" fmla="*/ 43624 w 104584"/>
              <a:gd name="connsiteY2" fmla="*/ 6001 h 212407"/>
              <a:gd name="connsiteX3" fmla="*/ 28956 w 104584"/>
              <a:gd name="connsiteY3" fmla="*/ 15526 h 212407"/>
              <a:gd name="connsiteX4" fmla="*/ 18288 w 104584"/>
              <a:gd name="connsiteY4" fmla="*/ 0 h 212407"/>
              <a:gd name="connsiteX5" fmla="*/ 0 w 104584"/>
              <a:gd name="connsiteY5" fmla="*/ 51625 h 212407"/>
              <a:gd name="connsiteX6" fmla="*/ 0 w 104584"/>
              <a:gd name="connsiteY6" fmla="*/ 51911 h 212407"/>
              <a:gd name="connsiteX7" fmla="*/ 17240 w 104584"/>
              <a:gd name="connsiteY7" fmla="*/ 63151 h 212407"/>
              <a:gd name="connsiteX8" fmla="*/ 13811 w 104584"/>
              <a:gd name="connsiteY8" fmla="*/ 76771 h 212407"/>
              <a:gd name="connsiteX9" fmla="*/ 9144 w 104584"/>
              <a:gd name="connsiteY9" fmla="*/ 93726 h 212407"/>
              <a:gd name="connsiteX10" fmla="*/ 8858 w 104584"/>
              <a:gd name="connsiteY10" fmla="*/ 107537 h 212407"/>
              <a:gd name="connsiteX11" fmla="*/ 11906 w 104584"/>
              <a:gd name="connsiteY11" fmla="*/ 121063 h 212407"/>
              <a:gd name="connsiteX12" fmla="*/ 4096 w 104584"/>
              <a:gd name="connsiteY12" fmla="*/ 125349 h 212407"/>
              <a:gd name="connsiteX13" fmla="*/ 5429 w 104584"/>
              <a:gd name="connsiteY13" fmla="*/ 145351 h 212407"/>
              <a:gd name="connsiteX14" fmla="*/ 6287 w 104584"/>
              <a:gd name="connsiteY14" fmla="*/ 146209 h 212407"/>
              <a:gd name="connsiteX15" fmla="*/ 10001 w 104584"/>
              <a:gd name="connsiteY15" fmla="*/ 154972 h 212407"/>
              <a:gd name="connsiteX16" fmla="*/ 3905 w 104584"/>
              <a:gd name="connsiteY16" fmla="*/ 156115 h 212407"/>
              <a:gd name="connsiteX17" fmla="*/ 1429 w 104584"/>
              <a:gd name="connsiteY17" fmla="*/ 159448 h 212407"/>
              <a:gd name="connsiteX18" fmla="*/ 36195 w 104584"/>
              <a:gd name="connsiteY18" fmla="*/ 188119 h 212407"/>
              <a:gd name="connsiteX19" fmla="*/ 42005 w 104584"/>
              <a:gd name="connsiteY19" fmla="*/ 199834 h 212407"/>
              <a:gd name="connsiteX20" fmla="*/ 49530 w 104584"/>
              <a:gd name="connsiteY20" fmla="*/ 208312 h 212407"/>
              <a:gd name="connsiteX21" fmla="*/ 52388 w 104584"/>
              <a:gd name="connsiteY21" fmla="*/ 212407 h 212407"/>
              <a:gd name="connsiteX22" fmla="*/ 65627 w 104584"/>
              <a:gd name="connsiteY22" fmla="*/ 201739 h 212407"/>
              <a:gd name="connsiteX23" fmla="*/ 61341 w 104584"/>
              <a:gd name="connsiteY23" fmla="*/ 188119 h 212407"/>
              <a:gd name="connsiteX24" fmla="*/ 81153 w 104584"/>
              <a:gd name="connsiteY24" fmla="*/ 182594 h 212407"/>
              <a:gd name="connsiteX25" fmla="*/ 89154 w 104584"/>
              <a:gd name="connsiteY25" fmla="*/ 155448 h 212407"/>
              <a:gd name="connsiteX26" fmla="*/ 104584 w 104584"/>
              <a:gd name="connsiteY26" fmla="*/ 148018 h 212407"/>
              <a:gd name="connsiteX27" fmla="*/ 98393 w 104584"/>
              <a:gd name="connsiteY27" fmla="*/ 129445 h 212407"/>
              <a:gd name="connsiteX28" fmla="*/ 70866 w 104584"/>
              <a:gd name="connsiteY28" fmla="*/ 101727 h 21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584" h="212407">
                <a:moveTo>
                  <a:pt x="70771" y="102013"/>
                </a:moveTo>
                <a:lnTo>
                  <a:pt x="77438" y="50673"/>
                </a:lnTo>
                <a:lnTo>
                  <a:pt x="43624" y="6001"/>
                </a:lnTo>
                <a:lnTo>
                  <a:pt x="28956" y="15526"/>
                </a:lnTo>
                <a:lnTo>
                  <a:pt x="18288" y="0"/>
                </a:lnTo>
                <a:lnTo>
                  <a:pt x="0" y="51625"/>
                </a:lnTo>
                <a:lnTo>
                  <a:pt x="0" y="51911"/>
                </a:lnTo>
                <a:cubicBezTo>
                  <a:pt x="12287" y="56102"/>
                  <a:pt x="21146" y="58102"/>
                  <a:pt x="17240" y="63151"/>
                </a:cubicBezTo>
                <a:cubicBezTo>
                  <a:pt x="12954" y="68675"/>
                  <a:pt x="17812" y="70104"/>
                  <a:pt x="13811" y="76771"/>
                </a:cubicBezTo>
                <a:cubicBezTo>
                  <a:pt x="11906" y="81248"/>
                  <a:pt x="3810" y="89059"/>
                  <a:pt x="9144" y="93726"/>
                </a:cubicBezTo>
                <a:cubicBezTo>
                  <a:pt x="14002" y="97917"/>
                  <a:pt x="8668" y="108490"/>
                  <a:pt x="8858" y="107537"/>
                </a:cubicBezTo>
                <a:cubicBezTo>
                  <a:pt x="6287" y="114776"/>
                  <a:pt x="14764" y="116967"/>
                  <a:pt x="11906" y="121063"/>
                </a:cubicBezTo>
                <a:cubicBezTo>
                  <a:pt x="8858" y="125444"/>
                  <a:pt x="5334" y="117538"/>
                  <a:pt x="4096" y="125349"/>
                </a:cubicBezTo>
                <a:cubicBezTo>
                  <a:pt x="3810" y="130969"/>
                  <a:pt x="-191" y="139541"/>
                  <a:pt x="5429" y="145351"/>
                </a:cubicBezTo>
                <a:lnTo>
                  <a:pt x="6287" y="146209"/>
                </a:lnTo>
                <a:cubicBezTo>
                  <a:pt x="8382" y="148304"/>
                  <a:pt x="10001" y="152305"/>
                  <a:pt x="10001" y="154972"/>
                </a:cubicBezTo>
                <a:cubicBezTo>
                  <a:pt x="10001" y="160591"/>
                  <a:pt x="2953" y="155924"/>
                  <a:pt x="3905" y="156115"/>
                </a:cubicBezTo>
                <a:cubicBezTo>
                  <a:pt x="-1143" y="152971"/>
                  <a:pt x="1429" y="160496"/>
                  <a:pt x="1429" y="159448"/>
                </a:cubicBezTo>
                <a:cubicBezTo>
                  <a:pt x="5620" y="171736"/>
                  <a:pt x="30099" y="175927"/>
                  <a:pt x="36195" y="188119"/>
                </a:cubicBezTo>
                <a:lnTo>
                  <a:pt x="42005" y="199834"/>
                </a:lnTo>
                <a:cubicBezTo>
                  <a:pt x="44482" y="204883"/>
                  <a:pt x="50482" y="209169"/>
                  <a:pt x="49530" y="208312"/>
                </a:cubicBezTo>
                <a:cubicBezTo>
                  <a:pt x="51340" y="209550"/>
                  <a:pt x="52102" y="210979"/>
                  <a:pt x="52388" y="212407"/>
                </a:cubicBezTo>
                <a:lnTo>
                  <a:pt x="65627" y="201739"/>
                </a:lnTo>
                <a:lnTo>
                  <a:pt x="61341" y="188119"/>
                </a:lnTo>
                <a:lnTo>
                  <a:pt x="81153" y="182594"/>
                </a:lnTo>
                <a:lnTo>
                  <a:pt x="89154" y="155448"/>
                </a:lnTo>
                <a:lnTo>
                  <a:pt x="104584" y="148018"/>
                </a:lnTo>
                <a:lnTo>
                  <a:pt x="98393" y="129445"/>
                </a:lnTo>
                <a:lnTo>
                  <a:pt x="70866" y="101727"/>
                </a:lnTo>
                <a:close/>
              </a:path>
            </a:pathLst>
          </a:custGeom>
          <a:solidFill>
            <a:schemeClr val="bg1">
              <a:lumMod val="95000"/>
            </a:schemeClr>
          </a:solidFill>
          <a:ln w="9525" cap="flat">
            <a:noFill/>
            <a:prstDash val="solid"/>
            <a:miter/>
          </a:ln>
        </p:spPr>
        <p:txBody>
          <a:bodyPr rtlCol="0" anchor="ctr"/>
          <a:lstStyle/>
          <a:p>
            <a:endParaRPr lang="en-IN"/>
          </a:p>
        </p:txBody>
      </p:sp>
      <p:sp>
        <p:nvSpPr>
          <p:cNvPr id="453" name="Freeform: Shape 452">
            <a:extLst>
              <a:ext uri="{FF2B5EF4-FFF2-40B4-BE49-F238E27FC236}">
                <a16:creationId xmlns:a16="http://schemas.microsoft.com/office/drawing/2014/main" id="{780315D4-CF8F-8838-9BFC-02656B27B9DE}"/>
              </a:ext>
            </a:extLst>
          </p:cNvPr>
          <p:cNvSpPr/>
          <p:nvPr/>
        </p:nvSpPr>
        <p:spPr>
          <a:xfrm>
            <a:off x="6175310" y="2164773"/>
            <a:ext cx="448532" cy="201167"/>
          </a:xfrm>
          <a:custGeom>
            <a:avLst/>
            <a:gdLst>
              <a:gd name="connsiteX0" fmla="*/ 226314 w 448532"/>
              <a:gd name="connsiteY0" fmla="*/ 38100 h 201167"/>
              <a:gd name="connsiteX1" fmla="*/ 223171 w 448532"/>
              <a:gd name="connsiteY1" fmla="*/ 50863 h 201167"/>
              <a:gd name="connsiteX2" fmla="*/ 185166 w 448532"/>
              <a:gd name="connsiteY2" fmla="*/ 70961 h 201167"/>
              <a:gd name="connsiteX3" fmla="*/ 205359 w 448532"/>
              <a:gd name="connsiteY3" fmla="*/ 96964 h 201167"/>
              <a:gd name="connsiteX4" fmla="*/ 196882 w 448532"/>
              <a:gd name="connsiteY4" fmla="*/ 119729 h 201167"/>
              <a:gd name="connsiteX5" fmla="*/ 178403 w 448532"/>
              <a:gd name="connsiteY5" fmla="*/ 100489 h 201167"/>
              <a:gd name="connsiteX6" fmla="*/ 150209 w 448532"/>
              <a:gd name="connsiteY6" fmla="*/ 99155 h 201167"/>
              <a:gd name="connsiteX7" fmla="*/ 152971 w 448532"/>
              <a:gd name="connsiteY7" fmla="*/ 107632 h 201167"/>
              <a:gd name="connsiteX8" fmla="*/ 116205 w 448532"/>
              <a:gd name="connsiteY8" fmla="*/ 111728 h 201167"/>
              <a:gd name="connsiteX9" fmla="*/ 80010 w 448532"/>
              <a:gd name="connsiteY9" fmla="*/ 126492 h 201167"/>
              <a:gd name="connsiteX10" fmla="*/ 72390 w 448532"/>
              <a:gd name="connsiteY10" fmla="*/ 113538 h 201167"/>
              <a:gd name="connsiteX11" fmla="*/ 45529 w 448532"/>
              <a:gd name="connsiteY11" fmla="*/ 110776 h 201167"/>
              <a:gd name="connsiteX12" fmla="*/ 47815 w 448532"/>
              <a:gd name="connsiteY12" fmla="*/ 124206 h 201167"/>
              <a:gd name="connsiteX13" fmla="*/ 29908 w 448532"/>
              <a:gd name="connsiteY13" fmla="*/ 133636 h 201167"/>
              <a:gd name="connsiteX14" fmla="*/ 5620 w 448532"/>
              <a:gd name="connsiteY14" fmla="*/ 112681 h 201167"/>
              <a:gd name="connsiteX15" fmla="*/ 0 w 448532"/>
              <a:gd name="connsiteY15" fmla="*/ 130397 h 201167"/>
              <a:gd name="connsiteX16" fmla="*/ 0 w 448532"/>
              <a:gd name="connsiteY16" fmla="*/ 141446 h 201167"/>
              <a:gd name="connsiteX17" fmla="*/ 4000 w 448532"/>
              <a:gd name="connsiteY17" fmla="*/ 155257 h 201167"/>
              <a:gd name="connsiteX18" fmla="*/ 24670 w 448532"/>
              <a:gd name="connsiteY18" fmla="*/ 165830 h 201167"/>
              <a:gd name="connsiteX19" fmla="*/ 41338 w 448532"/>
              <a:gd name="connsiteY19" fmla="*/ 155543 h 201167"/>
              <a:gd name="connsiteX20" fmla="*/ 80296 w 448532"/>
              <a:gd name="connsiteY20" fmla="*/ 172974 h 201167"/>
              <a:gd name="connsiteX21" fmla="*/ 91345 w 448532"/>
              <a:gd name="connsiteY21" fmla="*/ 154781 h 201167"/>
              <a:gd name="connsiteX22" fmla="*/ 149352 w 448532"/>
              <a:gd name="connsiteY22" fmla="*/ 149162 h 201167"/>
              <a:gd name="connsiteX23" fmla="*/ 162020 w 448532"/>
              <a:gd name="connsiteY23" fmla="*/ 176213 h 201167"/>
              <a:gd name="connsiteX24" fmla="*/ 242221 w 448532"/>
              <a:gd name="connsiteY24" fmla="*/ 191262 h 201167"/>
              <a:gd name="connsiteX25" fmla="*/ 294608 w 448532"/>
              <a:gd name="connsiteY25" fmla="*/ 201168 h 201167"/>
              <a:gd name="connsiteX26" fmla="*/ 314801 w 448532"/>
              <a:gd name="connsiteY26" fmla="*/ 183737 h 201167"/>
              <a:gd name="connsiteX27" fmla="*/ 380714 w 448532"/>
              <a:gd name="connsiteY27" fmla="*/ 180118 h 201167"/>
              <a:gd name="connsiteX28" fmla="*/ 379476 w 448532"/>
              <a:gd name="connsiteY28" fmla="*/ 162306 h 201167"/>
              <a:gd name="connsiteX29" fmla="*/ 410432 w 448532"/>
              <a:gd name="connsiteY29" fmla="*/ 154305 h 201167"/>
              <a:gd name="connsiteX30" fmla="*/ 406527 w 448532"/>
              <a:gd name="connsiteY30" fmla="*/ 129349 h 201167"/>
              <a:gd name="connsiteX31" fmla="*/ 418814 w 448532"/>
              <a:gd name="connsiteY31" fmla="*/ 128111 h 201167"/>
              <a:gd name="connsiteX32" fmla="*/ 422720 w 448532"/>
              <a:gd name="connsiteY32" fmla="*/ 115443 h 201167"/>
              <a:gd name="connsiteX33" fmla="*/ 404527 w 448532"/>
              <a:gd name="connsiteY33" fmla="*/ 108680 h 201167"/>
              <a:gd name="connsiteX34" fmla="*/ 412052 w 448532"/>
              <a:gd name="connsiteY34" fmla="*/ 95631 h 201167"/>
              <a:gd name="connsiteX35" fmla="*/ 442246 w 448532"/>
              <a:gd name="connsiteY35" fmla="*/ 103156 h 201167"/>
              <a:gd name="connsiteX36" fmla="*/ 448532 w 448532"/>
              <a:gd name="connsiteY36" fmla="*/ 76962 h 201167"/>
              <a:gd name="connsiteX37" fmla="*/ 429482 w 448532"/>
              <a:gd name="connsiteY37" fmla="*/ 50768 h 201167"/>
              <a:gd name="connsiteX38" fmla="*/ 437864 w 448532"/>
              <a:gd name="connsiteY38" fmla="*/ 32861 h 201167"/>
              <a:gd name="connsiteX39" fmla="*/ 437483 w 448532"/>
              <a:gd name="connsiteY39" fmla="*/ 32480 h 201167"/>
              <a:gd name="connsiteX40" fmla="*/ 323183 w 448532"/>
              <a:gd name="connsiteY40" fmla="*/ 0 h 201167"/>
              <a:gd name="connsiteX41" fmla="*/ 304133 w 448532"/>
              <a:gd name="connsiteY41" fmla="*/ 34862 h 201167"/>
              <a:gd name="connsiteX42" fmla="*/ 248126 w 448532"/>
              <a:gd name="connsiteY42" fmla="*/ 19812 h 201167"/>
              <a:gd name="connsiteX43" fmla="*/ 244221 w 448532"/>
              <a:gd name="connsiteY43" fmla="*/ 37910 h 201167"/>
              <a:gd name="connsiteX44" fmla="*/ 226314 w 448532"/>
              <a:gd name="connsiteY44" fmla="*/ 38100 h 2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32" h="201167">
                <a:moveTo>
                  <a:pt x="226314" y="38100"/>
                </a:moveTo>
                <a:lnTo>
                  <a:pt x="223171" y="50863"/>
                </a:lnTo>
                <a:lnTo>
                  <a:pt x="185166" y="70961"/>
                </a:lnTo>
                <a:lnTo>
                  <a:pt x="205359" y="96964"/>
                </a:lnTo>
                <a:lnTo>
                  <a:pt x="196882" y="119729"/>
                </a:lnTo>
                <a:lnTo>
                  <a:pt x="178403" y="100489"/>
                </a:lnTo>
                <a:lnTo>
                  <a:pt x="150209" y="99155"/>
                </a:lnTo>
                <a:lnTo>
                  <a:pt x="152971" y="107632"/>
                </a:lnTo>
                <a:lnTo>
                  <a:pt x="116205" y="111728"/>
                </a:lnTo>
                <a:lnTo>
                  <a:pt x="80010" y="126492"/>
                </a:lnTo>
                <a:lnTo>
                  <a:pt x="72390" y="113538"/>
                </a:lnTo>
                <a:lnTo>
                  <a:pt x="45529" y="110776"/>
                </a:lnTo>
                <a:lnTo>
                  <a:pt x="47815" y="124206"/>
                </a:lnTo>
                <a:lnTo>
                  <a:pt x="29908" y="133636"/>
                </a:lnTo>
                <a:lnTo>
                  <a:pt x="5620" y="112681"/>
                </a:lnTo>
                <a:lnTo>
                  <a:pt x="0" y="130397"/>
                </a:lnTo>
                <a:lnTo>
                  <a:pt x="0" y="141446"/>
                </a:lnTo>
                <a:lnTo>
                  <a:pt x="4000" y="155257"/>
                </a:lnTo>
                <a:lnTo>
                  <a:pt x="24670" y="165830"/>
                </a:lnTo>
                <a:lnTo>
                  <a:pt x="41338" y="155543"/>
                </a:lnTo>
                <a:lnTo>
                  <a:pt x="80296" y="172974"/>
                </a:lnTo>
                <a:lnTo>
                  <a:pt x="91345" y="154781"/>
                </a:lnTo>
                <a:lnTo>
                  <a:pt x="149352" y="149162"/>
                </a:lnTo>
                <a:lnTo>
                  <a:pt x="162020" y="176213"/>
                </a:lnTo>
                <a:lnTo>
                  <a:pt x="242221" y="191262"/>
                </a:lnTo>
                <a:lnTo>
                  <a:pt x="294608" y="201168"/>
                </a:lnTo>
                <a:lnTo>
                  <a:pt x="314801" y="183737"/>
                </a:lnTo>
                <a:lnTo>
                  <a:pt x="380714" y="180118"/>
                </a:lnTo>
                <a:lnTo>
                  <a:pt x="379476" y="162306"/>
                </a:lnTo>
                <a:lnTo>
                  <a:pt x="410432" y="154305"/>
                </a:lnTo>
                <a:lnTo>
                  <a:pt x="406527" y="129349"/>
                </a:lnTo>
                <a:lnTo>
                  <a:pt x="418814" y="128111"/>
                </a:lnTo>
                <a:lnTo>
                  <a:pt x="422720" y="115443"/>
                </a:lnTo>
                <a:lnTo>
                  <a:pt x="404527" y="108680"/>
                </a:lnTo>
                <a:lnTo>
                  <a:pt x="412052" y="95631"/>
                </a:lnTo>
                <a:lnTo>
                  <a:pt x="442246" y="103156"/>
                </a:lnTo>
                <a:lnTo>
                  <a:pt x="448532" y="76962"/>
                </a:lnTo>
                <a:lnTo>
                  <a:pt x="429482" y="50768"/>
                </a:lnTo>
                <a:lnTo>
                  <a:pt x="437864" y="32861"/>
                </a:lnTo>
                <a:lnTo>
                  <a:pt x="437483" y="32480"/>
                </a:lnTo>
                <a:lnTo>
                  <a:pt x="323183" y="0"/>
                </a:lnTo>
                <a:lnTo>
                  <a:pt x="304133" y="34862"/>
                </a:lnTo>
                <a:lnTo>
                  <a:pt x="248126" y="19812"/>
                </a:lnTo>
                <a:lnTo>
                  <a:pt x="244221" y="37910"/>
                </a:lnTo>
                <a:lnTo>
                  <a:pt x="226314" y="38100"/>
                </a:lnTo>
                <a:close/>
              </a:path>
            </a:pathLst>
          </a:custGeom>
          <a:solidFill>
            <a:schemeClr val="bg1">
              <a:lumMod val="95000"/>
            </a:schemeClr>
          </a:solidFill>
          <a:ln w="9525" cap="flat">
            <a:noFill/>
            <a:prstDash val="solid"/>
            <a:miter/>
          </a:ln>
        </p:spPr>
        <p:txBody>
          <a:bodyPr rtlCol="0" anchor="ctr"/>
          <a:lstStyle/>
          <a:p>
            <a:endParaRPr lang="en-IN"/>
          </a:p>
        </p:txBody>
      </p:sp>
      <p:sp>
        <p:nvSpPr>
          <p:cNvPr id="454" name="Freeform: Shape 453">
            <a:extLst>
              <a:ext uri="{FF2B5EF4-FFF2-40B4-BE49-F238E27FC236}">
                <a16:creationId xmlns:a16="http://schemas.microsoft.com/office/drawing/2014/main" id="{E14318C4-A47B-77BF-EAA0-260EBEDC4D72}"/>
              </a:ext>
            </a:extLst>
          </p:cNvPr>
          <p:cNvSpPr/>
          <p:nvPr/>
        </p:nvSpPr>
        <p:spPr>
          <a:xfrm>
            <a:off x="6169023" y="2295170"/>
            <a:ext cx="10286" cy="24860"/>
          </a:xfrm>
          <a:custGeom>
            <a:avLst/>
            <a:gdLst>
              <a:gd name="connsiteX0" fmla="*/ 6287 w 10286"/>
              <a:gd name="connsiteY0" fmla="*/ 0 h 24860"/>
              <a:gd name="connsiteX1" fmla="*/ 6287 w 10286"/>
              <a:gd name="connsiteY1" fmla="*/ 11049 h 24860"/>
              <a:gd name="connsiteX2" fmla="*/ 10287 w 10286"/>
              <a:gd name="connsiteY2" fmla="*/ 24860 h 24860"/>
              <a:gd name="connsiteX3" fmla="*/ 0 w 10286"/>
              <a:gd name="connsiteY3" fmla="*/ 19621 h 24860"/>
              <a:gd name="connsiteX4" fmla="*/ 6287 w 10286"/>
              <a:gd name="connsiteY4" fmla="*/ 0 h 24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6" h="24860">
                <a:moveTo>
                  <a:pt x="6287" y="0"/>
                </a:moveTo>
                <a:lnTo>
                  <a:pt x="6287" y="11049"/>
                </a:lnTo>
                <a:lnTo>
                  <a:pt x="10287" y="24860"/>
                </a:lnTo>
                <a:lnTo>
                  <a:pt x="0" y="19621"/>
                </a:lnTo>
                <a:lnTo>
                  <a:pt x="6287" y="0"/>
                </a:lnTo>
                <a:close/>
              </a:path>
            </a:pathLst>
          </a:custGeom>
          <a:solidFill>
            <a:schemeClr val="bg1">
              <a:lumMod val="85000"/>
            </a:schemeClr>
          </a:solidFill>
          <a:ln w="9525" cap="flat">
            <a:noFill/>
            <a:prstDash val="solid"/>
            <a:miter/>
          </a:ln>
        </p:spPr>
        <p:txBody>
          <a:bodyPr rtlCol="0" anchor="ctr"/>
          <a:lstStyle/>
          <a:p>
            <a:endParaRPr lang="en-IN"/>
          </a:p>
        </p:txBody>
      </p:sp>
      <p:sp>
        <p:nvSpPr>
          <p:cNvPr id="455" name="Freeform: Shape 454">
            <a:extLst>
              <a:ext uri="{FF2B5EF4-FFF2-40B4-BE49-F238E27FC236}">
                <a16:creationId xmlns:a16="http://schemas.microsoft.com/office/drawing/2014/main" id="{71662980-F13A-005C-168A-0A445742139C}"/>
              </a:ext>
            </a:extLst>
          </p:cNvPr>
          <p:cNvSpPr/>
          <p:nvPr/>
        </p:nvSpPr>
        <p:spPr>
          <a:xfrm>
            <a:off x="7196962" y="2207635"/>
            <a:ext cx="228028" cy="229457"/>
          </a:xfrm>
          <a:custGeom>
            <a:avLst/>
            <a:gdLst>
              <a:gd name="connsiteX0" fmla="*/ 142304 w 228028"/>
              <a:gd name="connsiteY0" fmla="*/ 192310 h 229457"/>
              <a:gd name="connsiteX1" fmla="*/ 141160 w 228028"/>
              <a:gd name="connsiteY1" fmla="*/ 166306 h 229457"/>
              <a:gd name="connsiteX2" fmla="*/ 154210 w 228028"/>
              <a:gd name="connsiteY2" fmla="*/ 156305 h 229457"/>
              <a:gd name="connsiteX3" fmla="*/ 160687 w 228028"/>
              <a:gd name="connsiteY3" fmla="*/ 167449 h 229457"/>
              <a:gd name="connsiteX4" fmla="*/ 196501 w 228028"/>
              <a:gd name="connsiteY4" fmla="*/ 170497 h 229457"/>
              <a:gd name="connsiteX5" fmla="*/ 227076 w 228028"/>
              <a:gd name="connsiteY5" fmla="*/ 174498 h 229457"/>
              <a:gd name="connsiteX6" fmla="*/ 228029 w 228028"/>
              <a:gd name="connsiteY6" fmla="*/ 173260 h 229457"/>
              <a:gd name="connsiteX7" fmla="*/ 227838 w 228028"/>
              <a:gd name="connsiteY7" fmla="*/ 172974 h 229457"/>
              <a:gd name="connsiteX8" fmla="*/ 196882 w 228028"/>
              <a:gd name="connsiteY8" fmla="*/ 129349 h 229457"/>
              <a:gd name="connsiteX9" fmla="*/ 173831 w 228028"/>
              <a:gd name="connsiteY9" fmla="*/ 119824 h 229457"/>
              <a:gd name="connsiteX10" fmla="*/ 177832 w 228028"/>
              <a:gd name="connsiteY10" fmla="*/ 92012 h 229457"/>
              <a:gd name="connsiteX11" fmla="*/ 146875 w 228028"/>
              <a:gd name="connsiteY11" fmla="*/ 76200 h 229457"/>
              <a:gd name="connsiteX12" fmla="*/ 147638 w 228028"/>
              <a:gd name="connsiteY12" fmla="*/ 42005 h 229457"/>
              <a:gd name="connsiteX13" fmla="*/ 56388 w 228028"/>
              <a:gd name="connsiteY13" fmla="*/ 0 h 229457"/>
              <a:gd name="connsiteX14" fmla="*/ 0 w 228028"/>
              <a:gd name="connsiteY14" fmla="*/ 7906 h 229457"/>
              <a:gd name="connsiteX15" fmla="*/ 93250 w 228028"/>
              <a:gd name="connsiteY15" fmla="*/ 146780 h 229457"/>
              <a:gd name="connsiteX16" fmla="*/ 83248 w 228028"/>
              <a:gd name="connsiteY16" fmla="*/ 222790 h 229457"/>
              <a:gd name="connsiteX17" fmla="*/ 93821 w 228028"/>
              <a:gd name="connsiteY17" fmla="*/ 229457 h 229457"/>
              <a:gd name="connsiteX18" fmla="*/ 114014 w 228028"/>
              <a:gd name="connsiteY18" fmla="*/ 227743 h 229457"/>
              <a:gd name="connsiteX19" fmla="*/ 142304 w 228028"/>
              <a:gd name="connsiteY19" fmla="*/ 192310 h 22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8028" h="229457">
                <a:moveTo>
                  <a:pt x="142304" y="192310"/>
                </a:moveTo>
                <a:lnTo>
                  <a:pt x="141160" y="166306"/>
                </a:lnTo>
                <a:lnTo>
                  <a:pt x="154210" y="156305"/>
                </a:lnTo>
                <a:lnTo>
                  <a:pt x="160687" y="167449"/>
                </a:lnTo>
                <a:lnTo>
                  <a:pt x="196501" y="170497"/>
                </a:lnTo>
                <a:lnTo>
                  <a:pt x="227076" y="174498"/>
                </a:lnTo>
                <a:lnTo>
                  <a:pt x="228029" y="173260"/>
                </a:lnTo>
                <a:lnTo>
                  <a:pt x="227838" y="172974"/>
                </a:lnTo>
                <a:lnTo>
                  <a:pt x="196882" y="129349"/>
                </a:lnTo>
                <a:lnTo>
                  <a:pt x="173831" y="119824"/>
                </a:lnTo>
                <a:lnTo>
                  <a:pt x="177832" y="92012"/>
                </a:lnTo>
                <a:lnTo>
                  <a:pt x="146875" y="76200"/>
                </a:lnTo>
                <a:lnTo>
                  <a:pt x="147638" y="42005"/>
                </a:lnTo>
                <a:lnTo>
                  <a:pt x="56388" y="0"/>
                </a:lnTo>
                <a:lnTo>
                  <a:pt x="0" y="7906"/>
                </a:lnTo>
                <a:lnTo>
                  <a:pt x="93250" y="146780"/>
                </a:lnTo>
                <a:lnTo>
                  <a:pt x="83248" y="222790"/>
                </a:lnTo>
                <a:lnTo>
                  <a:pt x="93821" y="229457"/>
                </a:lnTo>
                <a:lnTo>
                  <a:pt x="114014" y="227743"/>
                </a:lnTo>
                <a:lnTo>
                  <a:pt x="142304" y="192310"/>
                </a:lnTo>
                <a:close/>
              </a:path>
            </a:pathLst>
          </a:custGeom>
          <a:solidFill>
            <a:schemeClr val="bg1">
              <a:lumMod val="95000"/>
            </a:schemeClr>
          </a:solidFill>
          <a:ln w="9525" cap="flat">
            <a:noFill/>
            <a:prstDash val="solid"/>
            <a:miter/>
          </a:ln>
        </p:spPr>
        <p:txBody>
          <a:bodyPr rtlCol="0" anchor="ctr"/>
          <a:lstStyle/>
          <a:p>
            <a:endParaRPr lang="en-IN"/>
          </a:p>
        </p:txBody>
      </p:sp>
      <p:grpSp>
        <p:nvGrpSpPr>
          <p:cNvPr id="456" name="Graphic 166">
            <a:extLst>
              <a:ext uri="{FF2B5EF4-FFF2-40B4-BE49-F238E27FC236}">
                <a16:creationId xmlns:a16="http://schemas.microsoft.com/office/drawing/2014/main" id="{30E14222-8743-FABF-914D-F3678DD4248E}"/>
              </a:ext>
            </a:extLst>
          </p:cNvPr>
          <p:cNvGrpSpPr/>
          <p:nvPr/>
        </p:nvGrpSpPr>
        <p:grpSpPr>
          <a:xfrm>
            <a:off x="6924261" y="1899026"/>
            <a:ext cx="1081277" cy="611058"/>
            <a:chOff x="6345634" y="2350237"/>
            <a:chExt cx="1081277" cy="611058"/>
          </a:xfrm>
          <a:solidFill>
            <a:schemeClr val="bg1">
              <a:lumMod val="85000"/>
            </a:schemeClr>
          </a:solidFill>
        </p:grpSpPr>
        <p:sp>
          <p:nvSpPr>
            <p:cNvPr id="457" name="Freeform: Shape 456">
              <a:extLst>
                <a:ext uri="{FF2B5EF4-FFF2-40B4-BE49-F238E27FC236}">
                  <a16:creationId xmlns:a16="http://schemas.microsoft.com/office/drawing/2014/main" id="{5F81AC1A-A70A-A19C-D973-9724E3779DAE}"/>
                </a:ext>
              </a:extLst>
            </p:cNvPr>
            <p:cNvSpPr/>
            <p:nvPr/>
          </p:nvSpPr>
          <p:spPr>
            <a:xfrm>
              <a:off x="6345634" y="2350237"/>
              <a:ext cx="1081277" cy="611058"/>
            </a:xfrm>
            <a:custGeom>
              <a:avLst/>
              <a:gdLst>
                <a:gd name="connsiteX0" fmla="*/ 1058608 w 1081277"/>
                <a:gd name="connsiteY0" fmla="*/ 273272 h 611058"/>
                <a:gd name="connsiteX1" fmla="*/ 1053941 w 1081277"/>
                <a:gd name="connsiteY1" fmla="*/ 264033 h 611058"/>
                <a:gd name="connsiteX2" fmla="*/ 1081278 w 1081277"/>
                <a:gd name="connsiteY2" fmla="*/ 249079 h 611058"/>
                <a:gd name="connsiteX3" fmla="*/ 1079182 w 1081277"/>
                <a:gd name="connsiteY3" fmla="*/ 221742 h 611058"/>
                <a:gd name="connsiteX4" fmla="*/ 1059085 w 1081277"/>
                <a:gd name="connsiteY4" fmla="*/ 222790 h 611058"/>
                <a:gd name="connsiteX5" fmla="*/ 1027081 w 1081277"/>
                <a:gd name="connsiteY5" fmla="*/ 202216 h 611058"/>
                <a:gd name="connsiteX6" fmla="*/ 1006507 w 1081277"/>
                <a:gd name="connsiteY6" fmla="*/ 203263 h 611058"/>
                <a:gd name="connsiteX7" fmla="*/ 968883 w 1081277"/>
                <a:gd name="connsiteY7" fmla="*/ 184118 h 611058"/>
                <a:gd name="connsiteX8" fmla="*/ 952786 w 1081277"/>
                <a:gd name="connsiteY8" fmla="*/ 196215 h 611058"/>
                <a:gd name="connsiteX9" fmla="*/ 916496 w 1081277"/>
                <a:gd name="connsiteY9" fmla="*/ 155257 h 611058"/>
                <a:gd name="connsiteX10" fmla="*/ 883063 w 1081277"/>
                <a:gd name="connsiteY10" fmla="*/ 163354 h 611058"/>
                <a:gd name="connsiteX11" fmla="*/ 870395 w 1081277"/>
                <a:gd name="connsiteY11" fmla="*/ 173736 h 611058"/>
                <a:gd name="connsiteX12" fmla="*/ 834104 w 1081277"/>
                <a:gd name="connsiteY12" fmla="*/ 155829 h 611058"/>
                <a:gd name="connsiteX13" fmla="*/ 811625 w 1081277"/>
                <a:gd name="connsiteY13" fmla="*/ 165640 h 611058"/>
                <a:gd name="connsiteX14" fmla="*/ 793147 w 1081277"/>
                <a:gd name="connsiteY14" fmla="*/ 144304 h 611058"/>
                <a:gd name="connsiteX15" fmla="*/ 800100 w 1081277"/>
                <a:gd name="connsiteY15" fmla="*/ 129349 h 611058"/>
                <a:gd name="connsiteX16" fmla="*/ 779812 w 1081277"/>
                <a:gd name="connsiteY16" fmla="*/ 95155 h 611058"/>
                <a:gd name="connsiteX17" fmla="*/ 726281 w 1081277"/>
                <a:gd name="connsiteY17" fmla="*/ 92773 h 611058"/>
                <a:gd name="connsiteX18" fmla="*/ 717328 w 1081277"/>
                <a:gd name="connsiteY18" fmla="*/ 58293 h 611058"/>
                <a:gd name="connsiteX19" fmla="*/ 737521 w 1081277"/>
                <a:gd name="connsiteY19" fmla="*/ 51149 h 611058"/>
                <a:gd name="connsiteX20" fmla="*/ 703040 w 1081277"/>
                <a:gd name="connsiteY20" fmla="*/ 2953 h 611058"/>
                <a:gd name="connsiteX21" fmla="*/ 668560 w 1081277"/>
                <a:gd name="connsiteY21" fmla="*/ 0 h 611058"/>
                <a:gd name="connsiteX22" fmla="*/ 650653 w 1081277"/>
                <a:gd name="connsiteY22" fmla="*/ 11335 h 611058"/>
                <a:gd name="connsiteX23" fmla="*/ 615505 w 1081277"/>
                <a:gd name="connsiteY23" fmla="*/ 6001 h 611058"/>
                <a:gd name="connsiteX24" fmla="*/ 607790 w 1081277"/>
                <a:gd name="connsiteY24" fmla="*/ 25622 h 611058"/>
                <a:gd name="connsiteX25" fmla="*/ 575500 w 1081277"/>
                <a:gd name="connsiteY25" fmla="*/ 22955 h 611058"/>
                <a:gd name="connsiteX26" fmla="*/ 532447 w 1081277"/>
                <a:gd name="connsiteY26" fmla="*/ 22003 h 611058"/>
                <a:gd name="connsiteX27" fmla="*/ 503872 w 1081277"/>
                <a:gd name="connsiteY27" fmla="*/ 58293 h 611058"/>
                <a:gd name="connsiteX28" fmla="*/ 513112 w 1081277"/>
                <a:gd name="connsiteY28" fmla="*/ 85344 h 611058"/>
                <a:gd name="connsiteX29" fmla="*/ 495395 w 1081277"/>
                <a:gd name="connsiteY29" fmla="*/ 93821 h 611058"/>
                <a:gd name="connsiteX30" fmla="*/ 479965 w 1081277"/>
                <a:gd name="connsiteY30" fmla="*/ 72199 h 611058"/>
                <a:gd name="connsiteX31" fmla="*/ 431387 w 1081277"/>
                <a:gd name="connsiteY31" fmla="*/ 79153 h 611058"/>
                <a:gd name="connsiteX32" fmla="*/ 420624 w 1081277"/>
                <a:gd name="connsiteY32" fmla="*/ 61436 h 611058"/>
                <a:gd name="connsiteX33" fmla="*/ 332708 w 1081277"/>
                <a:gd name="connsiteY33" fmla="*/ 72199 h 611058"/>
                <a:gd name="connsiteX34" fmla="*/ 298799 w 1081277"/>
                <a:gd name="connsiteY34" fmla="*/ 48292 h 611058"/>
                <a:gd name="connsiteX35" fmla="*/ 138303 w 1081277"/>
                <a:gd name="connsiteY35" fmla="*/ 36766 h 611058"/>
                <a:gd name="connsiteX36" fmla="*/ 117443 w 1081277"/>
                <a:gd name="connsiteY36" fmla="*/ 64579 h 611058"/>
                <a:gd name="connsiteX37" fmla="*/ 86582 w 1081277"/>
                <a:gd name="connsiteY37" fmla="*/ 62294 h 611058"/>
                <a:gd name="connsiteX38" fmla="*/ 86296 w 1081277"/>
                <a:gd name="connsiteY38" fmla="*/ 62579 h 611058"/>
                <a:gd name="connsiteX39" fmla="*/ 85534 w 1081277"/>
                <a:gd name="connsiteY39" fmla="*/ 71723 h 611058"/>
                <a:gd name="connsiteX40" fmla="*/ 121444 w 1081277"/>
                <a:gd name="connsiteY40" fmla="*/ 145542 h 611058"/>
                <a:gd name="connsiteX41" fmla="*/ 111347 w 1081277"/>
                <a:gd name="connsiteY41" fmla="*/ 162211 h 611058"/>
                <a:gd name="connsiteX42" fmla="*/ 92297 w 1081277"/>
                <a:gd name="connsiteY42" fmla="*/ 159258 h 611058"/>
                <a:gd name="connsiteX43" fmla="*/ 32766 w 1081277"/>
                <a:gd name="connsiteY43" fmla="*/ 225933 h 611058"/>
                <a:gd name="connsiteX44" fmla="*/ 47625 w 1081277"/>
                <a:gd name="connsiteY44" fmla="*/ 266986 h 611058"/>
                <a:gd name="connsiteX45" fmla="*/ 25622 w 1081277"/>
                <a:gd name="connsiteY45" fmla="*/ 262223 h 611058"/>
                <a:gd name="connsiteX46" fmla="*/ 0 w 1081277"/>
                <a:gd name="connsiteY46" fmla="*/ 312801 h 611058"/>
                <a:gd name="connsiteX47" fmla="*/ 44005 w 1081277"/>
                <a:gd name="connsiteY47" fmla="*/ 348520 h 611058"/>
                <a:gd name="connsiteX48" fmla="*/ 144971 w 1081277"/>
                <a:gd name="connsiteY48" fmla="*/ 350330 h 611058"/>
                <a:gd name="connsiteX49" fmla="*/ 171926 w 1081277"/>
                <a:gd name="connsiteY49" fmla="*/ 370141 h 611058"/>
                <a:gd name="connsiteX50" fmla="*/ 194977 w 1081277"/>
                <a:gd name="connsiteY50" fmla="*/ 351854 h 611058"/>
                <a:gd name="connsiteX51" fmla="*/ 245745 w 1081277"/>
                <a:gd name="connsiteY51" fmla="*/ 347091 h 611058"/>
                <a:gd name="connsiteX52" fmla="*/ 272701 w 1081277"/>
                <a:gd name="connsiteY52" fmla="*/ 316897 h 611058"/>
                <a:gd name="connsiteX53" fmla="*/ 329089 w 1081277"/>
                <a:gd name="connsiteY53" fmla="*/ 308991 h 611058"/>
                <a:gd name="connsiteX54" fmla="*/ 420338 w 1081277"/>
                <a:gd name="connsiteY54" fmla="*/ 351091 h 611058"/>
                <a:gd name="connsiteX55" fmla="*/ 419576 w 1081277"/>
                <a:gd name="connsiteY55" fmla="*/ 385191 h 611058"/>
                <a:gd name="connsiteX56" fmla="*/ 450532 w 1081277"/>
                <a:gd name="connsiteY56" fmla="*/ 401098 h 611058"/>
                <a:gd name="connsiteX57" fmla="*/ 446532 w 1081277"/>
                <a:gd name="connsiteY57" fmla="*/ 428911 h 611058"/>
                <a:gd name="connsiteX58" fmla="*/ 469582 w 1081277"/>
                <a:gd name="connsiteY58" fmla="*/ 438436 h 611058"/>
                <a:gd name="connsiteX59" fmla="*/ 500539 w 1081277"/>
                <a:gd name="connsiteY59" fmla="*/ 482060 h 611058"/>
                <a:gd name="connsiteX60" fmla="*/ 500824 w 1081277"/>
                <a:gd name="connsiteY60" fmla="*/ 482346 h 611058"/>
                <a:gd name="connsiteX61" fmla="*/ 515207 w 1081277"/>
                <a:gd name="connsiteY61" fmla="*/ 463677 h 611058"/>
                <a:gd name="connsiteX62" fmla="*/ 517970 w 1081277"/>
                <a:gd name="connsiteY62" fmla="*/ 453295 h 611058"/>
                <a:gd name="connsiteX63" fmla="*/ 522922 w 1081277"/>
                <a:gd name="connsiteY63" fmla="*/ 447199 h 611058"/>
                <a:gd name="connsiteX64" fmla="*/ 610553 w 1081277"/>
                <a:gd name="connsiteY64" fmla="*/ 459105 h 611058"/>
                <a:gd name="connsiteX65" fmla="*/ 583501 w 1081277"/>
                <a:gd name="connsiteY65" fmla="*/ 467487 h 611058"/>
                <a:gd name="connsiteX66" fmla="*/ 578263 w 1081277"/>
                <a:gd name="connsiteY66" fmla="*/ 472821 h 611058"/>
                <a:gd name="connsiteX67" fmla="*/ 590359 w 1081277"/>
                <a:gd name="connsiteY67" fmla="*/ 476631 h 611058"/>
                <a:gd name="connsiteX68" fmla="*/ 624840 w 1081277"/>
                <a:gd name="connsiteY68" fmla="*/ 489490 h 611058"/>
                <a:gd name="connsiteX69" fmla="*/ 669703 w 1081277"/>
                <a:gd name="connsiteY69" fmla="*/ 482727 h 611058"/>
                <a:gd name="connsiteX70" fmla="*/ 694658 w 1081277"/>
                <a:gd name="connsiteY70" fmla="*/ 499015 h 611058"/>
                <a:gd name="connsiteX71" fmla="*/ 651224 w 1081277"/>
                <a:gd name="connsiteY71" fmla="*/ 515398 h 611058"/>
                <a:gd name="connsiteX72" fmla="*/ 643604 w 1081277"/>
                <a:gd name="connsiteY72" fmla="*/ 524542 h 611058"/>
                <a:gd name="connsiteX73" fmla="*/ 624459 w 1081277"/>
                <a:gd name="connsiteY73" fmla="*/ 537972 h 611058"/>
                <a:gd name="connsiteX74" fmla="*/ 636461 w 1081277"/>
                <a:gd name="connsiteY74" fmla="*/ 542068 h 611058"/>
                <a:gd name="connsiteX75" fmla="*/ 657511 w 1081277"/>
                <a:gd name="connsiteY75" fmla="*/ 540544 h 611058"/>
                <a:gd name="connsiteX76" fmla="*/ 673703 w 1081277"/>
                <a:gd name="connsiteY76" fmla="*/ 553117 h 611058"/>
                <a:gd name="connsiteX77" fmla="*/ 680180 w 1081277"/>
                <a:gd name="connsiteY77" fmla="*/ 550164 h 611058"/>
                <a:gd name="connsiteX78" fmla="*/ 686562 w 1081277"/>
                <a:gd name="connsiteY78" fmla="*/ 560356 h 611058"/>
                <a:gd name="connsiteX79" fmla="*/ 689991 w 1081277"/>
                <a:gd name="connsiteY79" fmla="*/ 573500 h 611058"/>
                <a:gd name="connsiteX80" fmla="*/ 681895 w 1081277"/>
                <a:gd name="connsiteY80" fmla="*/ 595122 h 611058"/>
                <a:gd name="connsiteX81" fmla="*/ 680942 w 1081277"/>
                <a:gd name="connsiteY81" fmla="*/ 601694 h 611058"/>
                <a:gd name="connsiteX82" fmla="*/ 705707 w 1081277"/>
                <a:gd name="connsiteY82" fmla="*/ 610457 h 611058"/>
                <a:gd name="connsiteX83" fmla="*/ 736378 w 1081277"/>
                <a:gd name="connsiteY83" fmla="*/ 596455 h 611058"/>
                <a:gd name="connsiteX84" fmla="*/ 749808 w 1081277"/>
                <a:gd name="connsiteY84" fmla="*/ 582739 h 611058"/>
                <a:gd name="connsiteX85" fmla="*/ 775906 w 1081277"/>
                <a:gd name="connsiteY85" fmla="*/ 579406 h 611058"/>
                <a:gd name="connsiteX86" fmla="*/ 784860 w 1081277"/>
                <a:gd name="connsiteY86" fmla="*/ 573405 h 611058"/>
                <a:gd name="connsiteX87" fmla="*/ 798290 w 1081277"/>
                <a:gd name="connsiteY87" fmla="*/ 563404 h 611058"/>
                <a:gd name="connsiteX88" fmla="*/ 798766 w 1081277"/>
                <a:gd name="connsiteY88" fmla="*/ 561404 h 611058"/>
                <a:gd name="connsiteX89" fmla="*/ 821246 w 1081277"/>
                <a:gd name="connsiteY89" fmla="*/ 561594 h 611058"/>
                <a:gd name="connsiteX90" fmla="*/ 830961 w 1081277"/>
                <a:gd name="connsiteY90" fmla="*/ 564832 h 611058"/>
                <a:gd name="connsiteX91" fmla="*/ 860012 w 1081277"/>
                <a:gd name="connsiteY91" fmla="*/ 554927 h 611058"/>
                <a:gd name="connsiteX92" fmla="*/ 864298 w 1081277"/>
                <a:gd name="connsiteY92" fmla="*/ 539115 h 611058"/>
                <a:gd name="connsiteX93" fmla="*/ 865822 w 1081277"/>
                <a:gd name="connsiteY93" fmla="*/ 533686 h 611058"/>
                <a:gd name="connsiteX94" fmla="*/ 851725 w 1081277"/>
                <a:gd name="connsiteY94" fmla="*/ 529209 h 611058"/>
                <a:gd name="connsiteX95" fmla="*/ 838676 w 1081277"/>
                <a:gd name="connsiteY95" fmla="*/ 534638 h 611058"/>
                <a:gd name="connsiteX96" fmla="*/ 829818 w 1081277"/>
                <a:gd name="connsiteY96" fmla="*/ 534067 h 611058"/>
                <a:gd name="connsiteX97" fmla="*/ 807720 w 1081277"/>
                <a:gd name="connsiteY97" fmla="*/ 539687 h 611058"/>
                <a:gd name="connsiteX98" fmla="*/ 801338 w 1081277"/>
                <a:gd name="connsiteY98" fmla="*/ 535591 h 611058"/>
                <a:gd name="connsiteX99" fmla="*/ 797242 w 1081277"/>
                <a:gd name="connsiteY99" fmla="*/ 541211 h 611058"/>
                <a:gd name="connsiteX100" fmla="*/ 792289 w 1081277"/>
                <a:gd name="connsiteY100" fmla="*/ 545211 h 611058"/>
                <a:gd name="connsiteX101" fmla="*/ 775049 w 1081277"/>
                <a:gd name="connsiteY101" fmla="*/ 535305 h 611058"/>
                <a:gd name="connsiteX102" fmla="*/ 777430 w 1081277"/>
                <a:gd name="connsiteY102" fmla="*/ 532352 h 611058"/>
                <a:gd name="connsiteX103" fmla="*/ 775335 w 1081277"/>
                <a:gd name="connsiteY103" fmla="*/ 520351 h 611058"/>
                <a:gd name="connsiteX104" fmla="*/ 751808 w 1081277"/>
                <a:gd name="connsiteY104" fmla="*/ 509778 h 611058"/>
                <a:gd name="connsiteX105" fmla="*/ 724757 w 1081277"/>
                <a:gd name="connsiteY105" fmla="*/ 492252 h 611058"/>
                <a:gd name="connsiteX106" fmla="*/ 705707 w 1081277"/>
                <a:gd name="connsiteY106" fmla="*/ 485965 h 611058"/>
                <a:gd name="connsiteX107" fmla="*/ 704088 w 1081277"/>
                <a:gd name="connsiteY107" fmla="*/ 472630 h 611058"/>
                <a:gd name="connsiteX108" fmla="*/ 728091 w 1081277"/>
                <a:gd name="connsiteY108" fmla="*/ 473107 h 611058"/>
                <a:gd name="connsiteX109" fmla="*/ 759905 w 1081277"/>
                <a:gd name="connsiteY109" fmla="*/ 484918 h 611058"/>
                <a:gd name="connsiteX110" fmla="*/ 768001 w 1081277"/>
                <a:gd name="connsiteY110" fmla="*/ 496729 h 611058"/>
                <a:gd name="connsiteX111" fmla="*/ 772287 w 1081277"/>
                <a:gd name="connsiteY111" fmla="*/ 497491 h 611058"/>
                <a:gd name="connsiteX112" fmla="*/ 775716 w 1081277"/>
                <a:gd name="connsiteY112" fmla="*/ 469011 h 611058"/>
                <a:gd name="connsiteX113" fmla="*/ 788956 w 1081277"/>
                <a:gd name="connsiteY113" fmla="*/ 462534 h 611058"/>
                <a:gd name="connsiteX114" fmla="*/ 789337 w 1081277"/>
                <a:gd name="connsiteY114" fmla="*/ 463772 h 611058"/>
                <a:gd name="connsiteX115" fmla="*/ 802576 w 1081277"/>
                <a:gd name="connsiteY115" fmla="*/ 455771 h 611058"/>
                <a:gd name="connsiteX116" fmla="*/ 805339 w 1081277"/>
                <a:gd name="connsiteY116" fmla="*/ 445484 h 611058"/>
                <a:gd name="connsiteX117" fmla="*/ 824960 w 1081277"/>
                <a:gd name="connsiteY117" fmla="*/ 448532 h 611058"/>
                <a:gd name="connsiteX118" fmla="*/ 878491 w 1081277"/>
                <a:gd name="connsiteY118" fmla="*/ 436055 h 611058"/>
                <a:gd name="connsiteX119" fmla="*/ 889063 w 1081277"/>
                <a:gd name="connsiteY119" fmla="*/ 437769 h 611058"/>
                <a:gd name="connsiteX120" fmla="*/ 931926 w 1081277"/>
                <a:gd name="connsiteY120" fmla="*/ 410146 h 611058"/>
                <a:gd name="connsiteX121" fmla="*/ 964025 w 1081277"/>
                <a:gd name="connsiteY121" fmla="*/ 407861 h 611058"/>
                <a:gd name="connsiteX122" fmla="*/ 971169 w 1081277"/>
                <a:gd name="connsiteY122" fmla="*/ 376142 h 611058"/>
                <a:gd name="connsiteX123" fmla="*/ 994315 w 1081277"/>
                <a:gd name="connsiteY123" fmla="*/ 371475 h 611058"/>
                <a:gd name="connsiteX124" fmla="*/ 1000982 w 1081277"/>
                <a:gd name="connsiteY124" fmla="*/ 356521 h 611058"/>
                <a:gd name="connsiteX125" fmla="*/ 1057180 w 1081277"/>
                <a:gd name="connsiteY125" fmla="*/ 357569 h 611058"/>
                <a:gd name="connsiteX126" fmla="*/ 1071086 w 1081277"/>
                <a:gd name="connsiteY126" fmla="*/ 326136 h 611058"/>
                <a:gd name="connsiteX127" fmla="*/ 1052036 w 1081277"/>
                <a:gd name="connsiteY127" fmla="*/ 299371 h 611058"/>
                <a:gd name="connsiteX128" fmla="*/ 1075182 w 1081277"/>
                <a:gd name="connsiteY128" fmla="*/ 279749 h 611058"/>
                <a:gd name="connsiteX129" fmla="*/ 1058704 w 1081277"/>
                <a:gd name="connsiteY129" fmla="*/ 273558 h 611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081277" h="611058">
                  <a:moveTo>
                    <a:pt x="1058608" y="273272"/>
                  </a:moveTo>
                  <a:lnTo>
                    <a:pt x="1053941" y="264033"/>
                  </a:lnTo>
                  <a:lnTo>
                    <a:pt x="1081278" y="249079"/>
                  </a:lnTo>
                  <a:lnTo>
                    <a:pt x="1079182" y="221742"/>
                  </a:lnTo>
                  <a:lnTo>
                    <a:pt x="1059085" y="222790"/>
                  </a:lnTo>
                  <a:lnTo>
                    <a:pt x="1027081" y="202216"/>
                  </a:lnTo>
                  <a:lnTo>
                    <a:pt x="1006507" y="203263"/>
                  </a:lnTo>
                  <a:lnTo>
                    <a:pt x="968883" y="184118"/>
                  </a:lnTo>
                  <a:lnTo>
                    <a:pt x="952786" y="196215"/>
                  </a:lnTo>
                  <a:lnTo>
                    <a:pt x="916496" y="155257"/>
                  </a:lnTo>
                  <a:lnTo>
                    <a:pt x="883063" y="163354"/>
                  </a:lnTo>
                  <a:lnTo>
                    <a:pt x="870395" y="173736"/>
                  </a:lnTo>
                  <a:lnTo>
                    <a:pt x="834104" y="155829"/>
                  </a:lnTo>
                  <a:lnTo>
                    <a:pt x="811625" y="165640"/>
                  </a:lnTo>
                  <a:lnTo>
                    <a:pt x="793147" y="144304"/>
                  </a:lnTo>
                  <a:lnTo>
                    <a:pt x="800100" y="129349"/>
                  </a:lnTo>
                  <a:lnTo>
                    <a:pt x="779812" y="95155"/>
                  </a:lnTo>
                  <a:lnTo>
                    <a:pt x="726281" y="92773"/>
                  </a:lnTo>
                  <a:lnTo>
                    <a:pt x="717328" y="58293"/>
                  </a:lnTo>
                  <a:lnTo>
                    <a:pt x="737521" y="51149"/>
                  </a:lnTo>
                  <a:lnTo>
                    <a:pt x="703040" y="2953"/>
                  </a:lnTo>
                  <a:lnTo>
                    <a:pt x="668560" y="0"/>
                  </a:lnTo>
                  <a:lnTo>
                    <a:pt x="650653" y="11335"/>
                  </a:lnTo>
                  <a:lnTo>
                    <a:pt x="615505" y="6001"/>
                  </a:lnTo>
                  <a:lnTo>
                    <a:pt x="607790" y="25622"/>
                  </a:lnTo>
                  <a:lnTo>
                    <a:pt x="575500" y="22955"/>
                  </a:lnTo>
                  <a:lnTo>
                    <a:pt x="532447" y="22003"/>
                  </a:lnTo>
                  <a:lnTo>
                    <a:pt x="503872" y="58293"/>
                  </a:lnTo>
                  <a:lnTo>
                    <a:pt x="513112" y="85344"/>
                  </a:lnTo>
                  <a:lnTo>
                    <a:pt x="495395" y="93821"/>
                  </a:lnTo>
                  <a:lnTo>
                    <a:pt x="479965" y="72199"/>
                  </a:lnTo>
                  <a:lnTo>
                    <a:pt x="431387" y="79153"/>
                  </a:lnTo>
                  <a:lnTo>
                    <a:pt x="420624" y="61436"/>
                  </a:lnTo>
                  <a:lnTo>
                    <a:pt x="332708" y="72199"/>
                  </a:lnTo>
                  <a:lnTo>
                    <a:pt x="298799" y="48292"/>
                  </a:lnTo>
                  <a:lnTo>
                    <a:pt x="138303" y="36766"/>
                  </a:lnTo>
                  <a:lnTo>
                    <a:pt x="117443" y="64579"/>
                  </a:lnTo>
                  <a:lnTo>
                    <a:pt x="86582" y="62294"/>
                  </a:lnTo>
                  <a:lnTo>
                    <a:pt x="86296" y="62579"/>
                  </a:lnTo>
                  <a:lnTo>
                    <a:pt x="85534" y="71723"/>
                  </a:lnTo>
                  <a:lnTo>
                    <a:pt x="121444" y="145542"/>
                  </a:lnTo>
                  <a:lnTo>
                    <a:pt x="111347" y="162211"/>
                  </a:lnTo>
                  <a:lnTo>
                    <a:pt x="92297" y="159258"/>
                  </a:lnTo>
                  <a:lnTo>
                    <a:pt x="32766" y="225933"/>
                  </a:lnTo>
                  <a:lnTo>
                    <a:pt x="47625" y="266986"/>
                  </a:lnTo>
                  <a:lnTo>
                    <a:pt x="25622" y="262223"/>
                  </a:lnTo>
                  <a:lnTo>
                    <a:pt x="0" y="312801"/>
                  </a:lnTo>
                  <a:lnTo>
                    <a:pt x="44005" y="348520"/>
                  </a:lnTo>
                  <a:lnTo>
                    <a:pt x="144971" y="350330"/>
                  </a:lnTo>
                  <a:lnTo>
                    <a:pt x="171926" y="370141"/>
                  </a:lnTo>
                  <a:lnTo>
                    <a:pt x="194977" y="351854"/>
                  </a:lnTo>
                  <a:lnTo>
                    <a:pt x="245745" y="347091"/>
                  </a:lnTo>
                  <a:lnTo>
                    <a:pt x="272701" y="316897"/>
                  </a:lnTo>
                  <a:lnTo>
                    <a:pt x="329089" y="308991"/>
                  </a:lnTo>
                  <a:lnTo>
                    <a:pt x="420338" y="351091"/>
                  </a:lnTo>
                  <a:lnTo>
                    <a:pt x="419576" y="385191"/>
                  </a:lnTo>
                  <a:lnTo>
                    <a:pt x="450532" y="401098"/>
                  </a:lnTo>
                  <a:lnTo>
                    <a:pt x="446532" y="428911"/>
                  </a:lnTo>
                  <a:lnTo>
                    <a:pt x="469582" y="438436"/>
                  </a:lnTo>
                  <a:lnTo>
                    <a:pt x="500539" y="482060"/>
                  </a:lnTo>
                  <a:lnTo>
                    <a:pt x="500824" y="482346"/>
                  </a:lnTo>
                  <a:lnTo>
                    <a:pt x="515207" y="463677"/>
                  </a:lnTo>
                  <a:cubicBezTo>
                    <a:pt x="518636" y="459200"/>
                    <a:pt x="518160" y="452342"/>
                    <a:pt x="517970" y="453295"/>
                  </a:cubicBezTo>
                  <a:cubicBezTo>
                    <a:pt x="517684" y="450342"/>
                    <a:pt x="519970" y="447580"/>
                    <a:pt x="522922" y="447199"/>
                  </a:cubicBezTo>
                  <a:cubicBezTo>
                    <a:pt x="624268" y="434054"/>
                    <a:pt x="628459" y="460057"/>
                    <a:pt x="610553" y="459105"/>
                  </a:cubicBezTo>
                  <a:cubicBezTo>
                    <a:pt x="528923" y="454914"/>
                    <a:pt x="599599" y="461867"/>
                    <a:pt x="583501" y="467487"/>
                  </a:cubicBezTo>
                  <a:cubicBezTo>
                    <a:pt x="582549" y="468058"/>
                    <a:pt x="575977" y="469582"/>
                    <a:pt x="578263" y="472821"/>
                  </a:cubicBezTo>
                  <a:cubicBezTo>
                    <a:pt x="580834" y="476440"/>
                    <a:pt x="591312" y="476821"/>
                    <a:pt x="590359" y="476631"/>
                  </a:cubicBezTo>
                  <a:cubicBezTo>
                    <a:pt x="603409" y="477964"/>
                    <a:pt x="614077" y="491966"/>
                    <a:pt x="624840" y="489490"/>
                  </a:cubicBezTo>
                  <a:cubicBezTo>
                    <a:pt x="659606" y="481584"/>
                    <a:pt x="663226" y="479584"/>
                    <a:pt x="669703" y="482727"/>
                  </a:cubicBezTo>
                  <a:cubicBezTo>
                    <a:pt x="693706" y="494157"/>
                    <a:pt x="701421" y="496443"/>
                    <a:pt x="694658" y="499015"/>
                  </a:cubicBezTo>
                  <a:lnTo>
                    <a:pt x="651224" y="515398"/>
                  </a:lnTo>
                  <a:cubicBezTo>
                    <a:pt x="643414" y="518350"/>
                    <a:pt x="651224" y="521303"/>
                    <a:pt x="643604" y="524542"/>
                  </a:cubicBezTo>
                  <a:cubicBezTo>
                    <a:pt x="633793" y="529780"/>
                    <a:pt x="617791" y="532066"/>
                    <a:pt x="624459" y="537972"/>
                  </a:cubicBezTo>
                  <a:cubicBezTo>
                    <a:pt x="625412" y="538544"/>
                    <a:pt x="630174" y="544925"/>
                    <a:pt x="636461" y="542068"/>
                  </a:cubicBezTo>
                  <a:cubicBezTo>
                    <a:pt x="644652" y="538258"/>
                    <a:pt x="662654" y="534067"/>
                    <a:pt x="657511" y="540544"/>
                  </a:cubicBezTo>
                  <a:cubicBezTo>
                    <a:pt x="653034" y="546259"/>
                    <a:pt x="667036" y="556260"/>
                    <a:pt x="673703" y="553117"/>
                  </a:cubicBezTo>
                  <a:lnTo>
                    <a:pt x="680180" y="550164"/>
                  </a:lnTo>
                  <a:cubicBezTo>
                    <a:pt x="686848" y="547116"/>
                    <a:pt x="682562" y="553212"/>
                    <a:pt x="686562" y="560356"/>
                  </a:cubicBezTo>
                  <a:cubicBezTo>
                    <a:pt x="687133" y="561880"/>
                    <a:pt x="691324" y="566738"/>
                    <a:pt x="689991" y="573500"/>
                  </a:cubicBezTo>
                  <a:cubicBezTo>
                    <a:pt x="687991" y="583406"/>
                    <a:pt x="687800" y="590931"/>
                    <a:pt x="681895" y="595122"/>
                  </a:cubicBezTo>
                  <a:cubicBezTo>
                    <a:pt x="681228" y="596074"/>
                    <a:pt x="675704" y="598932"/>
                    <a:pt x="680942" y="601694"/>
                  </a:cubicBezTo>
                  <a:cubicBezTo>
                    <a:pt x="691420" y="607314"/>
                    <a:pt x="698659" y="612934"/>
                    <a:pt x="705707" y="610457"/>
                  </a:cubicBezTo>
                  <a:cubicBezTo>
                    <a:pt x="726948" y="603123"/>
                    <a:pt x="732377" y="602266"/>
                    <a:pt x="736378" y="596455"/>
                  </a:cubicBezTo>
                  <a:cubicBezTo>
                    <a:pt x="739235" y="593027"/>
                    <a:pt x="742283" y="584930"/>
                    <a:pt x="749808" y="582739"/>
                  </a:cubicBezTo>
                  <a:cubicBezTo>
                    <a:pt x="766763" y="577977"/>
                    <a:pt x="771049" y="575786"/>
                    <a:pt x="775906" y="579406"/>
                  </a:cubicBezTo>
                  <a:cubicBezTo>
                    <a:pt x="780955" y="583311"/>
                    <a:pt x="785717" y="572453"/>
                    <a:pt x="784860" y="573405"/>
                  </a:cubicBezTo>
                  <a:cubicBezTo>
                    <a:pt x="788861" y="566261"/>
                    <a:pt x="796480" y="571214"/>
                    <a:pt x="798290" y="563404"/>
                  </a:cubicBezTo>
                  <a:lnTo>
                    <a:pt x="798766" y="561404"/>
                  </a:lnTo>
                  <a:cubicBezTo>
                    <a:pt x="800672" y="553307"/>
                    <a:pt x="816292" y="557022"/>
                    <a:pt x="821246" y="561594"/>
                  </a:cubicBezTo>
                  <a:cubicBezTo>
                    <a:pt x="822198" y="562070"/>
                    <a:pt x="825627" y="565690"/>
                    <a:pt x="830961" y="564832"/>
                  </a:cubicBezTo>
                  <a:cubicBezTo>
                    <a:pt x="854583" y="561213"/>
                    <a:pt x="860203" y="561880"/>
                    <a:pt x="860012" y="554927"/>
                  </a:cubicBezTo>
                  <a:cubicBezTo>
                    <a:pt x="860393" y="551783"/>
                    <a:pt x="857726" y="542925"/>
                    <a:pt x="864298" y="539115"/>
                  </a:cubicBezTo>
                  <a:cubicBezTo>
                    <a:pt x="865156" y="538163"/>
                    <a:pt x="871728" y="535496"/>
                    <a:pt x="865822" y="533686"/>
                  </a:cubicBezTo>
                  <a:lnTo>
                    <a:pt x="851725" y="529209"/>
                  </a:lnTo>
                  <a:cubicBezTo>
                    <a:pt x="844963" y="527018"/>
                    <a:pt x="837724" y="535305"/>
                    <a:pt x="838676" y="534638"/>
                  </a:cubicBezTo>
                  <a:cubicBezTo>
                    <a:pt x="834390" y="538544"/>
                    <a:pt x="828865" y="533686"/>
                    <a:pt x="829818" y="534067"/>
                  </a:cubicBezTo>
                  <a:cubicBezTo>
                    <a:pt x="821531" y="526923"/>
                    <a:pt x="817055" y="545687"/>
                    <a:pt x="807720" y="539687"/>
                  </a:cubicBezTo>
                  <a:lnTo>
                    <a:pt x="801338" y="535591"/>
                  </a:lnTo>
                  <a:cubicBezTo>
                    <a:pt x="795718" y="531971"/>
                    <a:pt x="796957" y="542163"/>
                    <a:pt x="797242" y="541211"/>
                  </a:cubicBezTo>
                  <a:cubicBezTo>
                    <a:pt x="797433" y="544163"/>
                    <a:pt x="795147" y="545973"/>
                    <a:pt x="792289" y="545211"/>
                  </a:cubicBezTo>
                  <a:cubicBezTo>
                    <a:pt x="784384" y="542068"/>
                    <a:pt x="769620" y="541877"/>
                    <a:pt x="775049" y="535305"/>
                  </a:cubicBezTo>
                  <a:lnTo>
                    <a:pt x="777430" y="532352"/>
                  </a:lnTo>
                  <a:cubicBezTo>
                    <a:pt x="781717" y="527018"/>
                    <a:pt x="774954" y="519398"/>
                    <a:pt x="775335" y="520351"/>
                  </a:cubicBezTo>
                  <a:cubicBezTo>
                    <a:pt x="770572" y="513588"/>
                    <a:pt x="750856" y="509492"/>
                    <a:pt x="751808" y="509778"/>
                  </a:cubicBezTo>
                  <a:cubicBezTo>
                    <a:pt x="739235" y="505968"/>
                    <a:pt x="739140" y="483203"/>
                    <a:pt x="724757" y="492252"/>
                  </a:cubicBezTo>
                  <a:cubicBezTo>
                    <a:pt x="718566" y="496157"/>
                    <a:pt x="704755" y="485489"/>
                    <a:pt x="705707" y="485965"/>
                  </a:cubicBezTo>
                  <a:cubicBezTo>
                    <a:pt x="699706" y="482441"/>
                    <a:pt x="696849" y="472821"/>
                    <a:pt x="704088" y="472630"/>
                  </a:cubicBezTo>
                  <a:cubicBezTo>
                    <a:pt x="714375" y="472249"/>
                    <a:pt x="721042" y="471583"/>
                    <a:pt x="728091" y="473107"/>
                  </a:cubicBezTo>
                  <a:cubicBezTo>
                    <a:pt x="752189" y="478346"/>
                    <a:pt x="758095" y="478060"/>
                    <a:pt x="759905" y="484918"/>
                  </a:cubicBezTo>
                  <a:cubicBezTo>
                    <a:pt x="760762" y="486728"/>
                    <a:pt x="760666" y="495395"/>
                    <a:pt x="768001" y="496729"/>
                  </a:cubicBezTo>
                  <a:lnTo>
                    <a:pt x="772287" y="497491"/>
                  </a:lnTo>
                  <a:cubicBezTo>
                    <a:pt x="783717" y="499586"/>
                    <a:pt x="767334" y="477488"/>
                    <a:pt x="775716" y="469011"/>
                  </a:cubicBezTo>
                  <a:cubicBezTo>
                    <a:pt x="779336" y="466249"/>
                    <a:pt x="786574" y="454723"/>
                    <a:pt x="788956" y="462534"/>
                  </a:cubicBezTo>
                  <a:lnTo>
                    <a:pt x="789337" y="463772"/>
                  </a:lnTo>
                  <a:cubicBezTo>
                    <a:pt x="791623" y="471297"/>
                    <a:pt x="804005" y="462915"/>
                    <a:pt x="802576" y="455771"/>
                  </a:cubicBezTo>
                  <a:cubicBezTo>
                    <a:pt x="802576" y="453962"/>
                    <a:pt x="798195" y="443198"/>
                    <a:pt x="805339" y="445484"/>
                  </a:cubicBezTo>
                  <a:cubicBezTo>
                    <a:pt x="812578" y="447770"/>
                    <a:pt x="818483" y="450628"/>
                    <a:pt x="824960" y="448532"/>
                  </a:cubicBezTo>
                  <a:cubicBezTo>
                    <a:pt x="867823" y="434816"/>
                    <a:pt x="872585" y="431482"/>
                    <a:pt x="878491" y="436055"/>
                  </a:cubicBezTo>
                  <a:cubicBezTo>
                    <a:pt x="879443" y="436436"/>
                    <a:pt x="883730" y="441674"/>
                    <a:pt x="889063" y="437769"/>
                  </a:cubicBezTo>
                  <a:cubicBezTo>
                    <a:pt x="922401" y="413671"/>
                    <a:pt x="924592" y="410623"/>
                    <a:pt x="931926" y="410146"/>
                  </a:cubicBezTo>
                  <a:cubicBezTo>
                    <a:pt x="944689" y="409194"/>
                    <a:pt x="955262" y="408527"/>
                    <a:pt x="964025" y="407861"/>
                  </a:cubicBezTo>
                  <a:lnTo>
                    <a:pt x="971169" y="376142"/>
                  </a:lnTo>
                  <a:lnTo>
                    <a:pt x="994315" y="371475"/>
                  </a:lnTo>
                  <a:lnTo>
                    <a:pt x="1000982" y="356521"/>
                  </a:lnTo>
                  <a:lnTo>
                    <a:pt x="1057180" y="357569"/>
                  </a:lnTo>
                  <a:lnTo>
                    <a:pt x="1071086" y="326136"/>
                  </a:lnTo>
                  <a:lnTo>
                    <a:pt x="1052036" y="299371"/>
                  </a:lnTo>
                  <a:lnTo>
                    <a:pt x="1075182" y="279749"/>
                  </a:lnTo>
                  <a:lnTo>
                    <a:pt x="1058704" y="273558"/>
                  </a:lnTo>
                  <a:close/>
                </a:path>
              </a:pathLst>
            </a:custGeom>
            <a:solidFill>
              <a:schemeClr val="bg1">
                <a:lumMod val="95000"/>
              </a:schemeClr>
            </a:solidFill>
            <a:ln w="9525" cap="flat">
              <a:noFill/>
              <a:prstDash val="solid"/>
              <a:miter/>
            </a:ln>
          </p:spPr>
          <p:txBody>
            <a:bodyPr rtlCol="0" anchor="ctr"/>
            <a:lstStyle/>
            <a:p>
              <a:endParaRPr lang="en-IN"/>
            </a:p>
          </p:txBody>
        </p:sp>
        <p:sp>
          <p:nvSpPr>
            <p:cNvPr id="458" name="Freeform: Shape 457">
              <a:extLst>
                <a:ext uri="{FF2B5EF4-FFF2-40B4-BE49-F238E27FC236}">
                  <a16:creationId xmlns:a16="http://schemas.microsoft.com/office/drawing/2014/main" id="{6395024B-F6AE-30B3-4277-EBEC684D091E}"/>
                </a:ext>
              </a:extLst>
            </p:cNvPr>
            <p:cNvSpPr/>
            <p:nvPr/>
          </p:nvSpPr>
          <p:spPr>
            <a:xfrm>
              <a:off x="6712251" y="2815152"/>
              <a:ext cx="133254" cy="89249"/>
            </a:xfrm>
            <a:custGeom>
              <a:avLst/>
              <a:gdLst>
                <a:gd name="connsiteX0" fmla="*/ 49244 w 133254"/>
                <a:gd name="connsiteY0" fmla="*/ 71533 h 89249"/>
                <a:gd name="connsiteX1" fmla="*/ 88106 w 133254"/>
                <a:gd name="connsiteY1" fmla="*/ 88202 h 89249"/>
                <a:gd name="connsiteX2" fmla="*/ 88392 w 133254"/>
                <a:gd name="connsiteY2" fmla="*/ 88487 h 89249"/>
                <a:gd name="connsiteX3" fmla="*/ 92012 w 133254"/>
                <a:gd name="connsiteY3" fmla="*/ 73723 h 89249"/>
                <a:gd name="connsiteX4" fmla="*/ 86678 w 133254"/>
                <a:gd name="connsiteY4" fmla="*/ 65722 h 89249"/>
                <a:gd name="connsiteX5" fmla="*/ 82105 w 133254"/>
                <a:gd name="connsiteY5" fmla="*/ 58293 h 89249"/>
                <a:gd name="connsiteX6" fmla="*/ 87059 w 133254"/>
                <a:gd name="connsiteY6" fmla="*/ 44005 h 89249"/>
                <a:gd name="connsiteX7" fmla="*/ 98584 w 133254"/>
                <a:gd name="connsiteY7" fmla="*/ 50863 h 89249"/>
                <a:gd name="connsiteX8" fmla="*/ 103442 w 133254"/>
                <a:gd name="connsiteY8" fmla="*/ 39338 h 89249"/>
                <a:gd name="connsiteX9" fmla="*/ 110871 w 133254"/>
                <a:gd name="connsiteY9" fmla="*/ 38576 h 89249"/>
                <a:gd name="connsiteX10" fmla="*/ 118396 w 133254"/>
                <a:gd name="connsiteY10" fmla="*/ 37624 h 89249"/>
                <a:gd name="connsiteX11" fmla="*/ 133255 w 133254"/>
                <a:gd name="connsiteY11" fmla="*/ 18288 h 89249"/>
                <a:gd name="connsiteX12" fmla="*/ 102584 w 133254"/>
                <a:gd name="connsiteY12" fmla="*/ 14192 h 89249"/>
                <a:gd name="connsiteX13" fmla="*/ 66865 w 133254"/>
                <a:gd name="connsiteY13" fmla="*/ 11144 h 89249"/>
                <a:gd name="connsiteX14" fmla="*/ 60388 w 133254"/>
                <a:gd name="connsiteY14" fmla="*/ 0 h 89249"/>
                <a:gd name="connsiteX15" fmla="*/ 47339 w 133254"/>
                <a:gd name="connsiteY15" fmla="*/ 10001 h 89249"/>
                <a:gd name="connsiteX16" fmla="*/ 48482 w 133254"/>
                <a:gd name="connsiteY16" fmla="*/ 36004 h 89249"/>
                <a:gd name="connsiteX17" fmla="*/ 20193 w 133254"/>
                <a:gd name="connsiteY17" fmla="*/ 71438 h 89249"/>
                <a:gd name="connsiteX18" fmla="*/ 0 w 133254"/>
                <a:gd name="connsiteY18" fmla="*/ 73152 h 89249"/>
                <a:gd name="connsiteX19" fmla="*/ 25527 w 133254"/>
                <a:gd name="connsiteY19" fmla="*/ 89249 h 89249"/>
                <a:gd name="connsiteX20" fmla="*/ 49339 w 133254"/>
                <a:gd name="connsiteY20" fmla="*/ 71533 h 8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3254" h="89249">
                  <a:moveTo>
                    <a:pt x="49244" y="71533"/>
                  </a:moveTo>
                  <a:lnTo>
                    <a:pt x="88106" y="88202"/>
                  </a:lnTo>
                  <a:lnTo>
                    <a:pt x="88392" y="88487"/>
                  </a:lnTo>
                  <a:lnTo>
                    <a:pt x="92012" y="73723"/>
                  </a:lnTo>
                  <a:cubicBezTo>
                    <a:pt x="93440" y="67818"/>
                    <a:pt x="85725" y="64961"/>
                    <a:pt x="86678" y="65722"/>
                  </a:cubicBezTo>
                  <a:cubicBezTo>
                    <a:pt x="83915" y="64579"/>
                    <a:pt x="81915" y="61246"/>
                    <a:pt x="82105" y="58293"/>
                  </a:cubicBezTo>
                  <a:cubicBezTo>
                    <a:pt x="83153" y="52864"/>
                    <a:pt x="81915" y="37529"/>
                    <a:pt x="87059" y="44005"/>
                  </a:cubicBezTo>
                  <a:cubicBezTo>
                    <a:pt x="89821" y="46577"/>
                    <a:pt x="95440" y="58103"/>
                    <a:pt x="98584" y="50863"/>
                  </a:cubicBezTo>
                  <a:lnTo>
                    <a:pt x="103442" y="39338"/>
                  </a:lnTo>
                  <a:cubicBezTo>
                    <a:pt x="105823" y="33814"/>
                    <a:pt x="111823" y="38862"/>
                    <a:pt x="110871" y="38576"/>
                  </a:cubicBezTo>
                  <a:cubicBezTo>
                    <a:pt x="113252" y="40386"/>
                    <a:pt x="116586" y="40005"/>
                    <a:pt x="118396" y="37624"/>
                  </a:cubicBezTo>
                  <a:lnTo>
                    <a:pt x="133255" y="18288"/>
                  </a:lnTo>
                  <a:lnTo>
                    <a:pt x="102584" y="14192"/>
                  </a:lnTo>
                  <a:lnTo>
                    <a:pt x="66865" y="11144"/>
                  </a:lnTo>
                  <a:lnTo>
                    <a:pt x="60388" y="0"/>
                  </a:lnTo>
                  <a:lnTo>
                    <a:pt x="47339" y="10001"/>
                  </a:lnTo>
                  <a:lnTo>
                    <a:pt x="48482" y="36004"/>
                  </a:lnTo>
                  <a:lnTo>
                    <a:pt x="20193" y="71438"/>
                  </a:lnTo>
                  <a:lnTo>
                    <a:pt x="0" y="73152"/>
                  </a:lnTo>
                  <a:lnTo>
                    <a:pt x="25527" y="89249"/>
                  </a:lnTo>
                  <a:lnTo>
                    <a:pt x="49339" y="71533"/>
                  </a:lnTo>
                  <a:close/>
                </a:path>
              </a:pathLst>
            </a:custGeom>
            <a:solidFill>
              <a:schemeClr val="bg1">
                <a:lumMod val="95000"/>
              </a:schemeClr>
            </a:solidFill>
            <a:ln w="9525" cap="flat">
              <a:noFill/>
              <a:prstDash val="solid"/>
              <a:miter/>
            </a:ln>
          </p:spPr>
          <p:txBody>
            <a:bodyPr rtlCol="0" anchor="ctr"/>
            <a:lstStyle/>
            <a:p>
              <a:endParaRPr lang="en-IN"/>
            </a:p>
          </p:txBody>
        </p:sp>
      </p:grpSp>
      <p:sp>
        <p:nvSpPr>
          <p:cNvPr id="459" name="Freeform: Shape 458">
            <a:extLst>
              <a:ext uri="{FF2B5EF4-FFF2-40B4-BE49-F238E27FC236}">
                <a16:creationId xmlns:a16="http://schemas.microsoft.com/office/drawing/2014/main" id="{F4112CC5-86A9-D129-D665-B97A08C9C6A4}"/>
              </a:ext>
            </a:extLst>
          </p:cNvPr>
          <p:cNvSpPr/>
          <p:nvPr/>
        </p:nvSpPr>
        <p:spPr>
          <a:xfrm>
            <a:off x="6335997" y="2540915"/>
            <a:ext cx="13144" cy="13144"/>
          </a:xfrm>
          <a:custGeom>
            <a:avLst/>
            <a:gdLst>
              <a:gd name="connsiteX0" fmla="*/ 13145 w 13144"/>
              <a:gd name="connsiteY0" fmla="*/ 6572 h 13144"/>
              <a:gd name="connsiteX1" fmla="*/ 6572 w 13144"/>
              <a:gd name="connsiteY1" fmla="*/ 13145 h 13144"/>
              <a:gd name="connsiteX2" fmla="*/ 0 w 13144"/>
              <a:gd name="connsiteY2" fmla="*/ 6572 h 13144"/>
              <a:gd name="connsiteX3" fmla="*/ 6572 w 13144"/>
              <a:gd name="connsiteY3" fmla="*/ 0 h 13144"/>
              <a:gd name="connsiteX4" fmla="*/ 13145 w 13144"/>
              <a:gd name="connsiteY4" fmla="*/ 6572 h 1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44" h="13144">
                <a:moveTo>
                  <a:pt x="13145" y="6572"/>
                </a:moveTo>
                <a:cubicBezTo>
                  <a:pt x="13145" y="10192"/>
                  <a:pt x="10192" y="13145"/>
                  <a:pt x="6572" y="13145"/>
                </a:cubicBezTo>
                <a:cubicBezTo>
                  <a:pt x="2953" y="13145"/>
                  <a:pt x="0" y="10192"/>
                  <a:pt x="0" y="6572"/>
                </a:cubicBezTo>
                <a:cubicBezTo>
                  <a:pt x="0" y="2953"/>
                  <a:pt x="2953" y="0"/>
                  <a:pt x="6572" y="0"/>
                </a:cubicBezTo>
                <a:cubicBezTo>
                  <a:pt x="10192" y="0"/>
                  <a:pt x="13145" y="2953"/>
                  <a:pt x="13145" y="6572"/>
                </a:cubicBezTo>
                <a:close/>
              </a:path>
            </a:pathLst>
          </a:custGeom>
          <a:solidFill>
            <a:schemeClr val="bg1">
              <a:lumMod val="85000"/>
            </a:schemeClr>
          </a:solidFill>
          <a:ln w="9525" cap="flat">
            <a:noFill/>
            <a:prstDash val="solid"/>
            <a:miter/>
          </a:ln>
        </p:spPr>
        <p:txBody>
          <a:bodyPr rtlCol="0" anchor="ctr"/>
          <a:lstStyle/>
          <a:p>
            <a:endParaRPr lang="en-IN"/>
          </a:p>
        </p:txBody>
      </p:sp>
      <p:sp>
        <p:nvSpPr>
          <p:cNvPr id="460" name="Freeform: Shape 459">
            <a:extLst>
              <a:ext uri="{FF2B5EF4-FFF2-40B4-BE49-F238E27FC236}">
                <a16:creationId xmlns:a16="http://schemas.microsoft.com/office/drawing/2014/main" id="{22F28D9F-E908-EBD0-263B-4C5A48EF0DFB}"/>
              </a:ext>
            </a:extLst>
          </p:cNvPr>
          <p:cNvSpPr/>
          <p:nvPr/>
        </p:nvSpPr>
        <p:spPr>
          <a:xfrm>
            <a:off x="6348665" y="2701507"/>
            <a:ext cx="13144" cy="13144"/>
          </a:xfrm>
          <a:custGeom>
            <a:avLst/>
            <a:gdLst>
              <a:gd name="connsiteX0" fmla="*/ 13144 w 13144"/>
              <a:gd name="connsiteY0" fmla="*/ 6572 h 13144"/>
              <a:gd name="connsiteX1" fmla="*/ 6572 w 13144"/>
              <a:gd name="connsiteY1" fmla="*/ 13145 h 13144"/>
              <a:gd name="connsiteX2" fmla="*/ 0 w 13144"/>
              <a:gd name="connsiteY2" fmla="*/ 6572 h 13144"/>
              <a:gd name="connsiteX3" fmla="*/ 6572 w 13144"/>
              <a:gd name="connsiteY3" fmla="*/ 0 h 13144"/>
              <a:gd name="connsiteX4" fmla="*/ 13144 w 13144"/>
              <a:gd name="connsiteY4" fmla="*/ 6572 h 1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44" h="13144">
                <a:moveTo>
                  <a:pt x="13144" y="6572"/>
                </a:moveTo>
                <a:cubicBezTo>
                  <a:pt x="13144" y="10192"/>
                  <a:pt x="10192" y="13145"/>
                  <a:pt x="6572" y="13145"/>
                </a:cubicBezTo>
                <a:cubicBezTo>
                  <a:pt x="2953" y="13145"/>
                  <a:pt x="0" y="10192"/>
                  <a:pt x="0" y="6572"/>
                </a:cubicBezTo>
                <a:cubicBezTo>
                  <a:pt x="0" y="2953"/>
                  <a:pt x="2953" y="0"/>
                  <a:pt x="6572" y="0"/>
                </a:cubicBezTo>
                <a:cubicBezTo>
                  <a:pt x="10192" y="0"/>
                  <a:pt x="13144" y="2953"/>
                  <a:pt x="13144" y="6572"/>
                </a:cubicBezTo>
                <a:close/>
              </a:path>
            </a:pathLst>
          </a:custGeom>
          <a:solidFill>
            <a:schemeClr val="bg1">
              <a:lumMod val="85000"/>
            </a:schemeClr>
          </a:solidFill>
          <a:ln w="9525" cap="flat">
            <a:noFill/>
            <a:prstDash val="solid"/>
            <a:miter/>
          </a:ln>
        </p:spPr>
        <p:txBody>
          <a:bodyPr rtlCol="0" anchor="ctr"/>
          <a:lstStyle/>
          <a:p>
            <a:endParaRPr lang="en-IN"/>
          </a:p>
        </p:txBody>
      </p:sp>
      <p:sp>
        <p:nvSpPr>
          <p:cNvPr id="461" name="Freeform: Shape 460">
            <a:extLst>
              <a:ext uri="{FF2B5EF4-FFF2-40B4-BE49-F238E27FC236}">
                <a16:creationId xmlns:a16="http://schemas.microsoft.com/office/drawing/2014/main" id="{9C9CBCAC-6454-D6B1-AEEE-C0B230F02F20}"/>
              </a:ext>
            </a:extLst>
          </p:cNvPr>
          <p:cNvSpPr/>
          <p:nvPr/>
        </p:nvSpPr>
        <p:spPr>
          <a:xfrm>
            <a:off x="6008527" y="2557965"/>
            <a:ext cx="13144" cy="13144"/>
          </a:xfrm>
          <a:custGeom>
            <a:avLst/>
            <a:gdLst>
              <a:gd name="connsiteX0" fmla="*/ 13145 w 13144"/>
              <a:gd name="connsiteY0" fmla="*/ 6572 h 13144"/>
              <a:gd name="connsiteX1" fmla="*/ 6572 w 13144"/>
              <a:gd name="connsiteY1" fmla="*/ 13145 h 13144"/>
              <a:gd name="connsiteX2" fmla="*/ 0 w 13144"/>
              <a:gd name="connsiteY2" fmla="*/ 6572 h 13144"/>
              <a:gd name="connsiteX3" fmla="*/ 6572 w 13144"/>
              <a:gd name="connsiteY3" fmla="*/ 0 h 13144"/>
              <a:gd name="connsiteX4" fmla="*/ 13145 w 13144"/>
              <a:gd name="connsiteY4" fmla="*/ 6572 h 1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44" h="13144">
                <a:moveTo>
                  <a:pt x="13145" y="6572"/>
                </a:moveTo>
                <a:cubicBezTo>
                  <a:pt x="13145" y="10192"/>
                  <a:pt x="10192" y="13145"/>
                  <a:pt x="6572" y="13145"/>
                </a:cubicBezTo>
                <a:cubicBezTo>
                  <a:pt x="2953" y="13145"/>
                  <a:pt x="0" y="10192"/>
                  <a:pt x="0" y="6572"/>
                </a:cubicBezTo>
                <a:cubicBezTo>
                  <a:pt x="0" y="2953"/>
                  <a:pt x="2953" y="0"/>
                  <a:pt x="6572" y="0"/>
                </a:cubicBezTo>
                <a:cubicBezTo>
                  <a:pt x="10192" y="0"/>
                  <a:pt x="13145" y="2953"/>
                  <a:pt x="13145" y="6572"/>
                </a:cubicBezTo>
                <a:close/>
              </a:path>
            </a:pathLst>
          </a:custGeom>
          <a:solidFill>
            <a:schemeClr val="bg1">
              <a:lumMod val="85000"/>
            </a:schemeClr>
          </a:solidFill>
          <a:ln w="9525" cap="flat">
            <a:noFill/>
            <a:prstDash val="solid"/>
            <a:miter/>
          </a:ln>
        </p:spPr>
        <p:txBody>
          <a:bodyPr rtlCol="0" anchor="ctr"/>
          <a:lstStyle/>
          <a:p>
            <a:endParaRPr lang="en-IN"/>
          </a:p>
        </p:txBody>
      </p:sp>
      <p:grpSp>
        <p:nvGrpSpPr>
          <p:cNvPr id="462" name="Group 461">
            <a:extLst>
              <a:ext uri="{FF2B5EF4-FFF2-40B4-BE49-F238E27FC236}">
                <a16:creationId xmlns:a16="http://schemas.microsoft.com/office/drawing/2014/main" id="{B33AA494-8B2C-B35F-FD82-4E0AABD070A0}"/>
              </a:ext>
            </a:extLst>
          </p:cNvPr>
          <p:cNvGrpSpPr/>
          <p:nvPr/>
        </p:nvGrpSpPr>
        <p:grpSpPr>
          <a:xfrm>
            <a:off x="7036480" y="880709"/>
            <a:ext cx="5773901" cy="4138639"/>
            <a:chOff x="6663532" y="-497554"/>
            <a:chExt cx="10294723" cy="7379091"/>
          </a:xfrm>
          <a:solidFill>
            <a:schemeClr val="bg1">
              <a:lumMod val="95000"/>
            </a:schemeClr>
          </a:solidFill>
        </p:grpSpPr>
        <p:grpSp>
          <p:nvGrpSpPr>
            <p:cNvPr id="463" name="Graphic 470">
              <a:extLst>
                <a:ext uri="{FF2B5EF4-FFF2-40B4-BE49-F238E27FC236}">
                  <a16:creationId xmlns:a16="http://schemas.microsoft.com/office/drawing/2014/main" id="{5D21C1D8-35D0-DBBC-91AF-13176212FFED}"/>
                </a:ext>
              </a:extLst>
            </p:cNvPr>
            <p:cNvGrpSpPr/>
            <p:nvPr/>
          </p:nvGrpSpPr>
          <p:grpSpPr>
            <a:xfrm>
              <a:off x="7673261" y="5008116"/>
              <a:ext cx="752270" cy="435710"/>
              <a:chOff x="7673261" y="5008116"/>
              <a:chExt cx="752270" cy="435710"/>
            </a:xfrm>
            <a:grpFill/>
          </p:grpSpPr>
          <p:sp>
            <p:nvSpPr>
              <p:cNvPr id="856" name="Freeform: Shape 855">
                <a:extLst>
                  <a:ext uri="{FF2B5EF4-FFF2-40B4-BE49-F238E27FC236}">
                    <a16:creationId xmlns:a16="http://schemas.microsoft.com/office/drawing/2014/main" id="{6BE99273-8701-13B5-80CB-0CD3B6045AFF}"/>
                  </a:ext>
                </a:extLst>
              </p:cNvPr>
              <p:cNvSpPr/>
              <p:nvPr/>
            </p:nvSpPr>
            <p:spPr>
              <a:xfrm>
                <a:off x="8275771" y="5435159"/>
                <a:ext cx="18079" cy="8667"/>
              </a:xfrm>
              <a:custGeom>
                <a:avLst/>
                <a:gdLst>
                  <a:gd name="connsiteX0" fmla="*/ 13114 w 18079"/>
                  <a:gd name="connsiteY0" fmla="*/ 1077 h 8667"/>
                  <a:gd name="connsiteX1" fmla="*/ 4947 w 18079"/>
                  <a:gd name="connsiteY1" fmla="*/ 94 h 8667"/>
                  <a:gd name="connsiteX2" fmla="*/ 27 w 18079"/>
                  <a:gd name="connsiteY2" fmla="*/ 2062 h 8667"/>
                  <a:gd name="connsiteX3" fmla="*/ 5931 w 18079"/>
                  <a:gd name="connsiteY3" fmla="*/ 6391 h 8667"/>
                  <a:gd name="connsiteX4" fmla="*/ 12031 w 18079"/>
                  <a:gd name="connsiteY4" fmla="*/ 8359 h 8667"/>
                  <a:gd name="connsiteX5" fmla="*/ 18033 w 18079"/>
                  <a:gd name="connsiteY5" fmla="*/ 5899 h 8667"/>
                  <a:gd name="connsiteX6" fmla="*/ 13212 w 18079"/>
                  <a:gd name="connsiteY6" fmla="*/ 1077 h 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79" h="8667">
                    <a:moveTo>
                      <a:pt x="13114" y="1077"/>
                    </a:moveTo>
                    <a:lnTo>
                      <a:pt x="4947" y="94"/>
                    </a:lnTo>
                    <a:cubicBezTo>
                      <a:pt x="1896" y="-300"/>
                      <a:pt x="-268" y="586"/>
                      <a:pt x="27" y="2062"/>
                    </a:cubicBezTo>
                    <a:cubicBezTo>
                      <a:pt x="322" y="3537"/>
                      <a:pt x="3077" y="5505"/>
                      <a:pt x="5931" y="6391"/>
                    </a:cubicBezTo>
                    <a:lnTo>
                      <a:pt x="12031" y="8359"/>
                    </a:lnTo>
                    <a:cubicBezTo>
                      <a:pt x="14983" y="9244"/>
                      <a:pt x="17640" y="8162"/>
                      <a:pt x="18033" y="5899"/>
                    </a:cubicBezTo>
                    <a:cubicBezTo>
                      <a:pt x="18427" y="3636"/>
                      <a:pt x="16262" y="1471"/>
                      <a:pt x="13212" y="1077"/>
                    </a:cubicBezTo>
                    <a:close/>
                  </a:path>
                </a:pathLst>
              </a:custGeom>
              <a:grpFill/>
              <a:ln w="9835" cap="flat">
                <a:noFill/>
                <a:prstDash val="solid"/>
                <a:miter/>
              </a:ln>
            </p:spPr>
            <p:txBody>
              <a:bodyPr rtlCol="0" anchor="ctr"/>
              <a:lstStyle/>
              <a:p>
                <a:endParaRPr lang="en-IN"/>
              </a:p>
            </p:txBody>
          </p:sp>
          <p:sp>
            <p:nvSpPr>
              <p:cNvPr id="857" name="Freeform: Shape 856">
                <a:extLst>
                  <a:ext uri="{FF2B5EF4-FFF2-40B4-BE49-F238E27FC236}">
                    <a16:creationId xmlns:a16="http://schemas.microsoft.com/office/drawing/2014/main" id="{A9EE7DFE-FD48-0CFC-9699-D90D3C6A059F}"/>
                  </a:ext>
                </a:extLst>
              </p:cNvPr>
              <p:cNvSpPr/>
              <p:nvPr/>
            </p:nvSpPr>
            <p:spPr>
              <a:xfrm>
                <a:off x="7693643" y="5319577"/>
                <a:ext cx="9829" cy="13271"/>
              </a:xfrm>
              <a:custGeom>
                <a:avLst/>
                <a:gdLst>
                  <a:gd name="connsiteX0" fmla="*/ 3488 w 9829"/>
                  <a:gd name="connsiteY0" fmla="*/ 1045 h 13271"/>
                  <a:gd name="connsiteX1" fmla="*/ 1618 w 9829"/>
                  <a:gd name="connsiteY1" fmla="*/ 2422 h 13271"/>
                  <a:gd name="connsiteX2" fmla="*/ 9785 w 9829"/>
                  <a:gd name="connsiteY2" fmla="*/ 10590 h 13271"/>
                  <a:gd name="connsiteX3" fmla="*/ 3586 w 9829"/>
                  <a:gd name="connsiteY3" fmla="*/ 1045 h 13271"/>
                </a:gdLst>
                <a:ahLst/>
                <a:cxnLst>
                  <a:cxn ang="0">
                    <a:pos x="connsiteX0" y="connsiteY0"/>
                  </a:cxn>
                  <a:cxn ang="0">
                    <a:pos x="connsiteX1" y="connsiteY1"/>
                  </a:cxn>
                  <a:cxn ang="0">
                    <a:pos x="connsiteX2" y="connsiteY2"/>
                  </a:cxn>
                  <a:cxn ang="0">
                    <a:pos x="connsiteX3" y="connsiteY3"/>
                  </a:cxn>
                </a:cxnLst>
                <a:rect l="l" t="t" r="r" b="b"/>
                <a:pathLst>
                  <a:path w="9829" h="13271">
                    <a:moveTo>
                      <a:pt x="3488" y="1045"/>
                    </a:moveTo>
                    <a:lnTo>
                      <a:pt x="1618" y="2422"/>
                    </a:lnTo>
                    <a:cubicBezTo>
                      <a:pt x="-4974" y="7244"/>
                      <a:pt x="10769" y="18363"/>
                      <a:pt x="9785" y="10590"/>
                    </a:cubicBezTo>
                    <a:cubicBezTo>
                      <a:pt x="9096" y="8523"/>
                      <a:pt x="9785" y="-3580"/>
                      <a:pt x="3586" y="1045"/>
                    </a:cubicBezTo>
                    <a:close/>
                  </a:path>
                </a:pathLst>
              </a:custGeom>
              <a:grpFill/>
              <a:ln w="9835" cap="flat">
                <a:noFill/>
                <a:prstDash val="solid"/>
                <a:miter/>
              </a:ln>
            </p:spPr>
            <p:txBody>
              <a:bodyPr rtlCol="0" anchor="ctr"/>
              <a:lstStyle/>
              <a:p>
                <a:endParaRPr lang="en-IN"/>
              </a:p>
            </p:txBody>
          </p:sp>
          <p:sp>
            <p:nvSpPr>
              <p:cNvPr id="858" name="Freeform: Shape 857">
                <a:extLst>
                  <a:ext uri="{FF2B5EF4-FFF2-40B4-BE49-F238E27FC236}">
                    <a16:creationId xmlns:a16="http://schemas.microsoft.com/office/drawing/2014/main" id="{64E1387B-473B-D615-7D4B-64B648574080}"/>
                  </a:ext>
                </a:extLst>
              </p:cNvPr>
              <p:cNvSpPr/>
              <p:nvPr/>
            </p:nvSpPr>
            <p:spPr>
              <a:xfrm>
                <a:off x="7673261" y="5217919"/>
                <a:ext cx="12588" cy="18422"/>
              </a:xfrm>
              <a:custGeom>
                <a:avLst/>
                <a:gdLst>
                  <a:gd name="connsiteX0" fmla="*/ 58 w 12588"/>
                  <a:gd name="connsiteY0" fmla="*/ 2928 h 18422"/>
                  <a:gd name="connsiteX1" fmla="*/ 6159 w 12588"/>
                  <a:gd name="connsiteY1" fmla="*/ 17786 h 18422"/>
                  <a:gd name="connsiteX2" fmla="*/ 10980 w 12588"/>
                  <a:gd name="connsiteY2" fmla="*/ 8636 h 18422"/>
                  <a:gd name="connsiteX3" fmla="*/ 58 w 12588"/>
                  <a:gd name="connsiteY3" fmla="*/ 2928 h 18422"/>
                </a:gdLst>
                <a:ahLst/>
                <a:cxnLst>
                  <a:cxn ang="0">
                    <a:pos x="connsiteX0" y="connsiteY0"/>
                  </a:cxn>
                  <a:cxn ang="0">
                    <a:pos x="connsiteX1" y="connsiteY1"/>
                  </a:cxn>
                  <a:cxn ang="0">
                    <a:pos x="connsiteX2" y="connsiteY2"/>
                  </a:cxn>
                  <a:cxn ang="0">
                    <a:pos x="connsiteX3" y="connsiteY3"/>
                  </a:cxn>
                </a:cxnLst>
                <a:rect l="l" t="t" r="r" b="b"/>
                <a:pathLst>
                  <a:path w="12588" h="18422">
                    <a:moveTo>
                      <a:pt x="58" y="2928"/>
                    </a:moveTo>
                    <a:cubicBezTo>
                      <a:pt x="58" y="2928"/>
                      <a:pt x="-1024" y="22116"/>
                      <a:pt x="6159" y="17786"/>
                    </a:cubicBezTo>
                    <a:cubicBezTo>
                      <a:pt x="7142" y="16803"/>
                      <a:pt x="16195" y="13752"/>
                      <a:pt x="10980" y="8636"/>
                    </a:cubicBezTo>
                    <a:cubicBezTo>
                      <a:pt x="8028" y="6274"/>
                      <a:pt x="-631" y="-5337"/>
                      <a:pt x="58" y="2928"/>
                    </a:cubicBezTo>
                    <a:close/>
                  </a:path>
                </a:pathLst>
              </a:custGeom>
              <a:grpFill/>
              <a:ln w="9835" cap="flat">
                <a:noFill/>
                <a:prstDash val="solid"/>
                <a:miter/>
              </a:ln>
            </p:spPr>
            <p:txBody>
              <a:bodyPr rtlCol="0" anchor="ctr"/>
              <a:lstStyle/>
              <a:p>
                <a:endParaRPr lang="en-IN"/>
              </a:p>
            </p:txBody>
          </p:sp>
          <p:sp>
            <p:nvSpPr>
              <p:cNvPr id="859" name="Freeform: Shape 858">
                <a:extLst>
                  <a:ext uri="{FF2B5EF4-FFF2-40B4-BE49-F238E27FC236}">
                    <a16:creationId xmlns:a16="http://schemas.microsoft.com/office/drawing/2014/main" id="{49ED5C21-563F-9124-774A-DC2579524400}"/>
                  </a:ext>
                </a:extLst>
              </p:cNvPr>
              <p:cNvSpPr/>
              <p:nvPr/>
            </p:nvSpPr>
            <p:spPr>
              <a:xfrm>
                <a:off x="8354763" y="5408386"/>
                <a:ext cx="70768" cy="26019"/>
              </a:xfrm>
              <a:custGeom>
                <a:avLst/>
                <a:gdLst>
                  <a:gd name="connsiteX0" fmla="*/ 68628 w 70768"/>
                  <a:gd name="connsiteY0" fmla="*/ 8270 h 26019"/>
                  <a:gd name="connsiteX1" fmla="*/ 42652 w 70768"/>
                  <a:gd name="connsiteY1" fmla="*/ 890 h 26019"/>
                  <a:gd name="connsiteX2" fmla="*/ 23957 w 70768"/>
                  <a:gd name="connsiteY2" fmla="*/ 3547 h 26019"/>
                  <a:gd name="connsiteX3" fmla="*/ 10083 w 70768"/>
                  <a:gd name="connsiteY3" fmla="*/ 1579 h 26019"/>
                  <a:gd name="connsiteX4" fmla="*/ 2113 w 70768"/>
                  <a:gd name="connsiteY4" fmla="*/ 13583 h 26019"/>
                  <a:gd name="connsiteX5" fmla="*/ 29172 w 70768"/>
                  <a:gd name="connsiteY5" fmla="*/ 25489 h 26019"/>
                  <a:gd name="connsiteX6" fmla="*/ 68628 w 70768"/>
                  <a:gd name="connsiteY6" fmla="*/ 8368 h 2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68" h="26019">
                    <a:moveTo>
                      <a:pt x="68628" y="8270"/>
                    </a:moveTo>
                    <a:cubicBezTo>
                      <a:pt x="53279" y="1284"/>
                      <a:pt x="49146" y="-1570"/>
                      <a:pt x="42652" y="890"/>
                    </a:cubicBezTo>
                    <a:cubicBezTo>
                      <a:pt x="42652" y="890"/>
                      <a:pt x="30943" y="7483"/>
                      <a:pt x="23957" y="3547"/>
                    </a:cubicBezTo>
                    <a:cubicBezTo>
                      <a:pt x="22677" y="3153"/>
                      <a:pt x="16183" y="-2750"/>
                      <a:pt x="10083" y="1579"/>
                    </a:cubicBezTo>
                    <a:cubicBezTo>
                      <a:pt x="7131" y="4432"/>
                      <a:pt x="-4775" y="9254"/>
                      <a:pt x="2113" y="13583"/>
                    </a:cubicBezTo>
                    <a:cubicBezTo>
                      <a:pt x="15691" y="22046"/>
                      <a:pt x="21890" y="27851"/>
                      <a:pt x="29172" y="25489"/>
                    </a:cubicBezTo>
                    <a:cubicBezTo>
                      <a:pt x="66267" y="13091"/>
                      <a:pt x="75614" y="11517"/>
                      <a:pt x="68628" y="8368"/>
                    </a:cubicBezTo>
                    <a:close/>
                  </a:path>
                </a:pathLst>
              </a:custGeom>
              <a:grpFill/>
              <a:ln w="9835" cap="flat">
                <a:noFill/>
                <a:prstDash val="solid"/>
                <a:miter/>
              </a:ln>
            </p:spPr>
            <p:txBody>
              <a:bodyPr rtlCol="0" anchor="ctr"/>
              <a:lstStyle/>
              <a:p>
                <a:endParaRPr lang="en-IN"/>
              </a:p>
            </p:txBody>
          </p:sp>
          <p:sp>
            <p:nvSpPr>
              <p:cNvPr id="860" name="Freeform: Shape 859">
                <a:extLst>
                  <a:ext uri="{FF2B5EF4-FFF2-40B4-BE49-F238E27FC236}">
                    <a16:creationId xmlns:a16="http://schemas.microsoft.com/office/drawing/2014/main" id="{EA6F9DF5-8827-D30C-C17F-FC37AA282311}"/>
                  </a:ext>
                </a:extLst>
              </p:cNvPr>
              <p:cNvSpPr/>
              <p:nvPr/>
            </p:nvSpPr>
            <p:spPr>
              <a:xfrm>
                <a:off x="7689056" y="5008116"/>
                <a:ext cx="646172" cy="405335"/>
              </a:xfrm>
              <a:custGeom>
                <a:avLst/>
                <a:gdLst>
                  <a:gd name="connsiteX0" fmla="*/ 394968 w 646172"/>
                  <a:gd name="connsiteY0" fmla="*/ 27846 h 405335"/>
                  <a:gd name="connsiteX1" fmla="*/ 332290 w 646172"/>
                  <a:gd name="connsiteY1" fmla="*/ 61104 h 405335"/>
                  <a:gd name="connsiteX2" fmla="*/ 295391 w 646172"/>
                  <a:gd name="connsiteY2" fmla="*/ 124176 h 405335"/>
                  <a:gd name="connsiteX3" fmla="*/ 270792 w 646172"/>
                  <a:gd name="connsiteY3" fmla="*/ 132441 h 405335"/>
                  <a:gd name="connsiteX4" fmla="*/ 248063 w 646172"/>
                  <a:gd name="connsiteY4" fmla="*/ 111581 h 405335"/>
                  <a:gd name="connsiteX5" fmla="*/ 148978 w 646172"/>
                  <a:gd name="connsiteY5" fmla="*/ 98494 h 405335"/>
                  <a:gd name="connsiteX6" fmla="*/ 76460 w 646172"/>
                  <a:gd name="connsiteY6" fmla="*/ 106563 h 405335"/>
                  <a:gd name="connsiteX7" fmla="*/ 61110 w 646172"/>
                  <a:gd name="connsiteY7" fmla="*/ 88655 h 405335"/>
                  <a:gd name="connsiteX8" fmla="*/ 33953 w 646172"/>
                  <a:gd name="connsiteY8" fmla="*/ 95444 h 405335"/>
                  <a:gd name="connsiteX9" fmla="*/ 33658 w 646172"/>
                  <a:gd name="connsiteY9" fmla="*/ 145331 h 405335"/>
                  <a:gd name="connsiteX10" fmla="*/ 10830 w 646172"/>
                  <a:gd name="connsiteY10" fmla="*/ 163042 h 405335"/>
                  <a:gd name="connsiteX11" fmla="*/ 10535 w 646172"/>
                  <a:gd name="connsiteY11" fmla="*/ 200236 h 405335"/>
                  <a:gd name="connsiteX12" fmla="*/ 6993 w 646172"/>
                  <a:gd name="connsiteY12" fmla="*/ 210961 h 405335"/>
                  <a:gd name="connsiteX13" fmla="*/ 6599 w 646172"/>
                  <a:gd name="connsiteY13" fmla="*/ 232215 h 405335"/>
                  <a:gd name="connsiteX14" fmla="*/ 5025 w 646172"/>
                  <a:gd name="connsiteY14" fmla="*/ 231723 h 405335"/>
                  <a:gd name="connsiteX15" fmla="*/ 5320 w 646172"/>
                  <a:gd name="connsiteY15" fmla="*/ 241759 h 405335"/>
                  <a:gd name="connsiteX16" fmla="*/ 15652 w 646172"/>
                  <a:gd name="connsiteY16" fmla="*/ 251599 h 405335"/>
                  <a:gd name="connsiteX17" fmla="*/ 42120 w 646172"/>
                  <a:gd name="connsiteY17" fmla="*/ 345665 h 405335"/>
                  <a:gd name="connsiteX18" fmla="*/ 40743 w 646172"/>
                  <a:gd name="connsiteY18" fmla="*/ 369575 h 405335"/>
                  <a:gd name="connsiteX19" fmla="*/ 51861 w 646172"/>
                  <a:gd name="connsiteY19" fmla="*/ 394765 h 405335"/>
                  <a:gd name="connsiteX20" fmla="*/ 51664 w 646172"/>
                  <a:gd name="connsiteY20" fmla="*/ 395946 h 405335"/>
                  <a:gd name="connsiteX21" fmla="*/ 67211 w 646172"/>
                  <a:gd name="connsiteY21" fmla="*/ 399094 h 405335"/>
                  <a:gd name="connsiteX22" fmla="*/ 89055 w 646172"/>
                  <a:gd name="connsiteY22" fmla="*/ 404309 h 405335"/>
                  <a:gd name="connsiteX23" fmla="*/ 113654 w 646172"/>
                  <a:gd name="connsiteY23" fmla="*/ 398602 h 405335"/>
                  <a:gd name="connsiteX24" fmla="*/ 125658 w 646172"/>
                  <a:gd name="connsiteY24" fmla="*/ 392895 h 405335"/>
                  <a:gd name="connsiteX25" fmla="*/ 140221 w 646172"/>
                  <a:gd name="connsiteY25" fmla="*/ 394174 h 405335"/>
                  <a:gd name="connsiteX26" fmla="*/ 148092 w 646172"/>
                  <a:gd name="connsiteY26" fmla="*/ 393682 h 405335"/>
                  <a:gd name="connsiteX27" fmla="*/ 153898 w 646172"/>
                  <a:gd name="connsiteY27" fmla="*/ 389550 h 405335"/>
                  <a:gd name="connsiteX28" fmla="*/ 162655 w 646172"/>
                  <a:gd name="connsiteY28" fmla="*/ 379513 h 405335"/>
                  <a:gd name="connsiteX29" fmla="*/ 175250 w 646172"/>
                  <a:gd name="connsiteY29" fmla="*/ 373413 h 405335"/>
                  <a:gd name="connsiteX30" fmla="*/ 192174 w 646172"/>
                  <a:gd name="connsiteY30" fmla="*/ 359244 h 405335"/>
                  <a:gd name="connsiteX31" fmla="*/ 252589 w 646172"/>
                  <a:gd name="connsiteY31" fmla="*/ 353143 h 405335"/>
                  <a:gd name="connsiteX32" fmla="*/ 266856 w 646172"/>
                  <a:gd name="connsiteY32" fmla="*/ 348026 h 405335"/>
                  <a:gd name="connsiteX33" fmla="*/ 301098 w 646172"/>
                  <a:gd name="connsiteY33" fmla="*/ 336416 h 405335"/>
                  <a:gd name="connsiteX34" fmla="*/ 324812 w 646172"/>
                  <a:gd name="connsiteY34" fmla="*/ 317524 h 405335"/>
                  <a:gd name="connsiteX35" fmla="*/ 355216 w 646172"/>
                  <a:gd name="connsiteY35" fmla="*/ 317819 h 405335"/>
                  <a:gd name="connsiteX36" fmla="*/ 381980 w 646172"/>
                  <a:gd name="connsiteY36" fmla="*/ 312309 h 405335"/>
                  <a:gd name="connsiteX37" fmla="*/ 403922 w 646172"/>
                  <a:gd name="connsiteY37" fmla="*/ 281314 h 405335"/>
                  <a:gd name="connsiteX38" fmla="*/ 452038 w 646172"/>
                  <a:gd name="connsiteY38" fmla="*/ 261734 h 405335"/>
                  <a:gd name="connsiteX39" fmla="*/ 473193 w 646172"/>
                  <a:gd name="connsiteY39" fmla="*/ 259175 h 405335"/>
                  <a:gd name="connsiteX40" fmla="*/ 492872 w 646172"/>
                  <a:gd name="connsiteY40" fmla="*/ 247859 h 405335"/>
                  <a:gd name="connsiteX41" fmla="*/ 559781 w 646172"/>
                  <a:gd name="connsiteY41" fmla="*/ 226311 h 405335"/>
                  <a:gd name="connsiteX42" fmla="*/ 592645 w 646172"/>
                  <a:gd name="connsiteY42" fmla="*/ 205156 h 405335"/>
                  <a:gd name="connsiteX43" fmla="*/ 593531 w 646172"/>
                  <a:gd name="connsiteY43" fmla="*/ 182131 h 405335"/>
                  <a:gd name="connsiteX44" fmla="*/ 614096 w 646172"/>
                  <a:gd name="connsiteY44" fmla="*/ 154187 h 405335"/>
                  <a:gd name="connsiteX45" fmla="*/ 646173 w 646172"/>
                  <a:gd name="connsiteY45" fmla="*/ 144839 h 405335"/>
                  <a:gd name="connsiteX46" fmla="*/ 570506 w 646172"/>
                  <a:gd name="connsiteY46" fmla="*/ 0 h 405335"/>
                  <a:gd name="connsiteX47" fmla="*/ 395066 w 646172"/>
                  <a:gd name="connsiteY47" fmla="*/ 27846 h 40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46172" h="405335">
                    <a:moveTo>
                      <a:pt x="394968" y="27846"/>
                    </a:moveTo>
                    <a:lnTo>
                      <a:pt x="332290" y="61104"/>
                    </a:lnTo>
                    <a:lnTo>
                      <a:pt x="295391" y="124176"/>
                    </a:lnTo>
                    <a:lnTo>
                      <a:pt x="270792" y="132441"/>
                    </a:lnTo>
                    <a:lnTo>
                      <a:pt x="248063" y="111581"/>
                    </a:lnTo>
                    <a:lnTo>
                      <a:pt x="148978" y="98494"/>
                    </a:lnTo>
                    <a:lnTo>
                      <a:pt x="76460" y="106563"/>
                    </a:lnTo>
                    <a:lnTo>
                      <a:pt x="61110" y="88655"/>
                    </a:lnTo>
                    <a:lnTo>
                      <a:pt x="33953" y="95444"/>
                    </a:lnTo>
                    <a:lnTo>
                      <a:pt x="33658" y="145331"/>
                    </a:lnTo>
                    <a:lnTo>
                      <a:pt x="10830" y="163042"/>
                    </a:lnTo>
                    <a:cubicBezTo>
                      <a:pt x="14077" y="192561"/>
                      <a:pt x="14766" y="195415"/>
                      <a:pt x="10535" y="200236"/>
                    </a:cubicBezTo>
                    <a:cubicBezTo>
                      <a:pt x="10043" y="201220"/>
                      <a:pt x="5713" y="204762"/>
                      <a:pt x="6993" y="210961"/>
                    </a:cubicBezTo>
                    <a:cubicBezTo>
                      <a:pt x="8075" y="220309"/>
                      <a:pt x="15160" y="234773"/>
                      <a:pt x="6599" y="232215"/>
                    </a:cubicBezTo>
                    <a:lnTo>
                      <a:pt x="5025" y="231723"/>
                    </a:lnTo>
                    <a:cubicBezTo>
                      <a:pt x="-2060" y="229558"/>
                      <a:pt x="-1371" y="238610"/>
                      <a:pt x="5320" y="241759"/>
                    </a:cubicBezTo>
                    <a:cubicBezTo>
                      <a:pt x="6501" y="242645"/>
                      <a:pt x="14077" y="244514"/>
                      <a:pt x="15652" y="251599"/>
                    </a:cubicBezTo>
                    <a:cubicBezTo>
                      <a:pt x="33363" y="330217"/>
                      <a:pt x="45072" y="332382"/>
                      <a:pt x="42120" y="345665"/>
                    </a:cubicBezTo>
                    <a:cubicBezTo>
                      <a:pt x="39955" y="355308"/>
                      <a:pt x="36807" y="363278"/>
                      <a:pt x="40743" y="369575"/>
                    </a:cubicBezTo>
                    <a:cubicBezTo>
                      <a:pt x="49598" y="384237"/>
                      <a:pt x="52845" y="387975"/>
                      <a:pt x="51861" y="394765"/>
                    </a:cubicBezTo>
                    <a:lnTo>
                      <a:pt x="51664" y="395946"/>
                    </a:lnTo>
                    <a:cubicBezTo>
                      <a:pt x="50582" y="404014"/>
                      <a:pt x="59339" y="395552"/>
                      <a:pt x="67211" y="399094"/>
                    </a:cubicBezTo>
                    <a:cubicBezTo>
                      <a:pt x="73705" y="401259"/>
                      <a:pt x="81380" y="407851"/>
                      <a:pt x="89055" y="404309"/>
                    </a:cubicBezTo>
                    <a:cubicBezTo>
                      <a:pt x="105192" y="399684"/>
                      <a:pt x="107652" y="405195"/>
                      <a:pt x="113654" y="398602"/>
                    </a:cubicBezTo>
                    <a:cubicBezTo>
                      <a:pt x="114638" y="397815"/>
                      <a:pt x="118770" y="390829"/>
                      <a:pt x="125658" y="392895"/>
                    </a:cubicBezTo>
                    <a:cubicBezTo>
                      <a:pt x="128315" y="393486"/>
                      <a:pt x="138450" y="398110"/>
                      <a:pt x="140221" y="394174"/>
                    </a:cubicBezTo>
                    <a:cubicBezTo>
                      <a:pt x="141795" y="390534"/>
                      <a:pt x="147502" y="390731"/>
                      <a:pt x="148092" y="393682"/>
                    </a:cubicBezTo>
                    <a:cubicBezTo>
                      <a:pt x="148683" y="396536"/>
                      <a:pt x="151241" y="396634"/>
                      <a:pt x="153898" y="389550"/>
                    </a:cubicBezTo>
                    <a:cubicBezTo>
                      <a:pt x="154488" y="388566"/>
                      <a:pt x="155669" y="380989"/>
                      <a:pt x="162655" y="379513"/>
                    </a:cubicBezTo>
                    <a:cubicBezTo>
                      <a:pt x="164229" y="378923"/>
                      <a:pt x="170527" y="378923"/>
                      <a:pt x="175250" y="373413"/>
                    </a:cubicBezTo>
                    <a:cubicBezTo>
                      <a:pt x="180465" y="367312"/>
                      <a:pt x="184893" y="360424"/>
                      <a:pt x="192174" y="359244"/>
                    </a:cubicBezTo>
                    <a:cubicBezTo>
                      <a:pt x="239502" y="351372"/>
                      <a:pt x="253573" y="353143"/>
                      <a:pt x="252589" y="353143"/>
                    </a:cubicBezTo>
                    <a:cubicBezTo>
                      <a:pt x="259673" y="353143"/>
                      <a:pt x="267840" y="347633"/>
                      <a:pt x="266856" y="348026"/>
                    </a:cubicBezTo>
                    <a:cubicBezTo>
                      <a:pt x="278467" y="341336"/>
                      <a:pt x="292243" y="343501"/>
                      <a:pt x="301098" y="336416"/>
                    </a:cubicBezTo>
                    <a:lnTo>
                      <a:pt x="324812" y="317524"/>
                    </a:lnTo>
                    <a:cubicBezTo>
                      <a:pt x="336914" y="307881"/>
                      <a:pt x="348623" y="318213"/>
                      <a:pt x="355216" y="317819"/>
                    </a:cubicBezTo>
                    <a:cubicBezTo>
                      <a:pt x="373124" y="316835"/>
                      <a:pt x="377650" y="317327"/>
                      <a:pt x="381980" y="312309"/>
                    </a:cubicBezTo>
                    <a:cubicBezTo>
                      <a:pt x="404316" y="286726"/>
                      <a:pt x="394181" y="285841"/>
                      <a:pt x="403922" y="281314"/>
                    </a:cubicBezTo>
                    <a:cubicBezTo>
                      <a:pt x="435999" y="266358"/>
                      <a:pt x="443969" y="261438"/>
                      <a:pt x="452038" y="261734"/>
                    </a:cubicBezTo>
                    <a:cubicBezTo>
                      <a:pt x="457941" y="261438"/>
                      <a:pt x="466403" y="263898"/>
                      <a:pt x="473193" y="259175"/>
                    </a:cubicBezTo>
                    <a:cubicBezTo>
                      <a:pt x="480080" y="254354"/>
                      <a:pt x="485787" y="249729"/>
                      <a:pt x="492872" y="247859"/>
                    </a:cubicBezTo>
                    <a:cubicBezTo>
                      <a:pt x="554665" y="231821"/>
                      <a:pt x="556239" y="233002"/>
                      <a:pt x="559781" y="226311"/>
                    </a:cubicBezTo>
                    <a:cubicBezTo>
                      <a:pt x="572573" y="211059"/>
                      <a:pt x="593826" y="217061"/>
                      <a:pt x="592645" y="205156"/>
                    </a:cubicBezTo>
                    <a:cubicBezTo>
                      <a:pt x="591661" y="195513"/>
                      <a:pt x="589890" y="188330"/>
                      <a:pt x="593531" y="182131"/>
                    </a:cubicBezTo>
                    <a:cubicBezTo>
                      <a:pt x="605929" y="160779"/>
                      <a:pt x="607306" y="156253"/>
                      <a:pt x="614096" y="154187"/>
                    </a:cubicBezTo>
                    <a:cubicBezTo>
                      <a:pt x="627084" y="150349"/>
                      <a:pt x="637612" y="147299"/>
                      <a:pt x="646173" y="144839"/>
                    </a:cubicBezTo>
                    <a:lnTo>
                      <a:pt x="570506" y="0"/>
                    </a:lnTo>
                    <a:lnTo>
                      <a:pt x="395066" y="27846"/>
                    </a:lnTo>
                    <a:close/>
                  </a:path>
                </a:pathLst>
              </a:custGeom>
              <a:grpFill/>
              <a:ln w="9835" cap="flat">
                <a:noFill/>
                <a:prstDash val="solid"/>
                <a:miter/>
              </a:ln>
            </p:spPr>
            <p:txBody>
              <a:bodyPr rtlCol="0" anchor="ctr"/>
              <a:lstStyle/>
              <a:p>
                <a:endParaRPr lang="en-IN"/>
              </a:p>
            </p:txBody>
          </p:sp>
        </p:grpSp>
        <p:sp>
          <p:nvSpPr>
            <p:cNvPr id="464" name="Freeform: Shape 463">
              <a:extLst>
                <a:ext uri="{FF2B5EF4-FFF2-40B4-BE49-F238E27FC236}">
                  <a16:creationId xmlns:a16="http://schemas.microsoft.com/office/drawing/2014/main" id="{5BC691D8-B037-B887-1F92-04DCACDE3CC1}"/>
                </a:ext>
              </a:extLst>
            </p:cNvPr>
            <p:cNvSpPr/>
            <p:nvPr/>
          </p:nvSpPr>
          <p:spPr>
            <a:xfrm>
              <a:off x="11378616" y="4723358"/>
              <a:ext cx="456315" cy="941360"/>
            </a:xfrm>
            <a:custGeom>
              <a:avLst/>
              <a:gdLst>
                <a:gd name="connsiteX0" fmla="*/ 157925 w 456315"/>
                <a:gd name="connsiteY0" fmla="*/ 840400 h 941360"/>
                <a:gd name="connsiteX1" fmla="*/ 158221 w 456315"/>
                <a:gd name="connsiteY1" fmla="*/ 840203 h 941360"/>
                <a:gd name="connsiteX2" fmla="*/ 167175 w 456315"/>
                <a:gd name="connsiteY2" fmla="*/ 840597 h 941360"/>
                <a:gd name="connsiteX3" fmla="*/ 178589 w 456315"/>
                <a:gd name="connsiteY3" fmla="*/ 857226 h 941360"/>
                <a:gd name="connsiteX4" fmla="*/ 168060 w 456315"/>
                <a:gd name="connsiteY4" fmla="*/ 871198 h 941360"/>
                <a:gd name="connsiteX5" fmla="*/ 168454 w 456315"/>
                <a:gd name="connsiteY5" fmla="*/ 927776 h 941360"/>
                <a:gd name="connsiteX6" fmla="*/ 164911 w 456315"/>
                <a:gd name="connsiteY6" fmla="*/ 936927 h 941360"/>
                <a:gd name="connsiteX7" fmla="*/ 173374 w 456315"/>
                <a:gd name="connsiteY7" fmla="*/ 941355 h 941360"/>
                <a:gd name="connsiteX8" fmla="*/ 198268 w 456315"/>
                <a:gd name="connsiteY8" fmla="*/ 924037 h 941360"/>
                <a:gd name="connsiteX9" fmla="*/ 213126 w 456315"/>
                <a:gd name="connsiteY9" fmla="*/ 905243 h 941360"/>
                <a:gd name="connsiteX10" fmla="*/ 249827 w 456315"/>
                <a:gd name="connsiteY10" fmla="*/ 886449 h 941360"/>
                <a:gd name="connsiteX11" fmla="*/ 249827 w 456315"/>
                <a:gd name="connsiteY11" fmla="*/ 874445 h 941360"/>
                <a:gd name="connsiteX12" fmla="*/ 259175 w 456315"/>
                <a:gd name="connsiteY12" fmla="*/ 878774 h 941360"/>
                <a:gd name="connsiteX13" fmla="*/ 270687 w 456315"/>
                <a:gd name="connsiteY13" fmla="*/ 876807 h 941360"/>
                <a:gd name="connsiteX14" fmla="*/ 267243 w 456315"/>
                <a:gd name="connsiteY14" fmla="*/ 862047 h 941360"/>
                <a:gd name="connsiteX15" fmla="*/ 274131 w 456315"/>
                <a:gd name="connsiteY15" fmla="*/ 861654 h 941360"/>
                <a:gd name="connsiteX16" fmla="*/ 282593 w 456315"/>
                <a:gd name="connsiteY16" fmla="*/ 854864 h 941360"/>
                <a:gd name="connsiteX17" fmla="*/ 276492 w 456315"/>
                <a:gd name="connsiteY17" fmla="*/ 840006 h 941360"/>
                <a:gd name="connsiteX18" fmla="*/ 278362 w 456315"/>
                <a:gd name="connsiteY18" fmla="*/ 836760 h 941360"/>
                <a:gd name="connsiteX19" fmla="*/ 281707 w 456315"/>
                <a:gd name="connsiteY19" fmla="*/ 837350 h 941360"/>
                <a:gd name="connsiteX20" fmla="*/ 294696 w 456315"/>
                <a:gd name="connsiteY20" fmla="*/ 815801 h 941360"/>
                <a:gd name="connsiteX21" fmla="*/ 294696 w 456315"/>
                <a:gd name="connsiteY21" fmla="*/ 815801 h 941360"/>
                <a:gd name="connsiteX22" fmla="*/ 305126 w 456315"/>
                <a:gd name="connsiteY22" fmla="*/ 826133 h 941360"/>
                <a:gd name="connsiteX23" fmla="*/ 418970 w 456315"/>
                <a:gd name="connsiteY23" fmla="*/ 773688 h 941360"/>
                <a:gd name="connsiteX24" fmla="*/ 425464 w 456315"/>
                <a:gd name="connsiteY24" fmla="*/ 762274 h 941360"/>
                <a:gd name="connsiteX25" fmla="*/ 435303 w 456315"/>
                <a:gd name="connsiteY25" fmla="*/ 750860 h 941360"/>
                <a:gd name="connsiteX26" fmla="*/ 437468 w 456315"/>
                <a:gd name="connsiteY26" fmla="*/ 712780 h 941360"/>
                <a:gd name="connsiteX27" fmla="*/ 442782 w 456315"/>
                <a:gd name="connsiteY27" fmla="*/ 699202 h 941360"/>
                <a:gd name="connsiteX28" fmla="*/ 444455 w 456315"/>
                <a:gd name="connsiteY28" fmla="*/ 689756 h 941360"/>
                <a:gd name="connsiteX29" fmla="*/ 456065 w 456315"/>
                <a:gd name="connsiteY29" fmla="*/ 684639 h 941360"/>
                <a:gd name="connsiteX30" fmla="*/ 440027 w 456315"/>
                <a:gd name="connsiteY30" fmla="*/ 609957 h 941360"/>
                <a:gd name="connsiteX31" fmla="*/ 441601 w 456315"/>
                <a:gd name="connsiteY31" fmla="*/ 601396 h 941360"/>
                <a:gd name="connsiteX32" fmla="*/ 419068 w 456315"/>
                <a:gd name="connsiteY32" fmla="*/ 527304 h 941360"/>
                <a:gd name="connsiteX33" fmla="*/ 411098 w 456315"/>
                <a:gd name="connsiteY33" fmla="*/ 510577 h 941360"/>
                <a:gd name="connsiteX34" fmla="*/ 406966 w 456315"/>
                <a:gd name="connsiteY34" fmla="*/ 508412 h 941360"/>
                <a:gd name="connsiteX35" fmla="*/ 380005 w 456315"/>
                <a:gd name="connsiteY35" fmla="*/ 470333 h 941360"/>
                <a:gd name="connsiteX36" fmla="*/ 310144 w 456315"/>
                <a:gd name="connsiteY36" fmla="*/ 409131 h 941360"/>
                <a:gd name="connsiteX37" fmla="*/ 304437 w 456315"/>
                <a:gd name="connsiteY37" fmla="*/ 397127 h 941360"/>
                <a:gd name="connsiteX38" fmla="*/ 267637 w 456315"/>
                <a:gd name="connsiteY38" fmla="*/ 356489 h 941360"/>
                <a:gd name="connsiteX39" fmla="*/ 264488 w 456315"/>
                <a:gd name="connsiteY39" fmla="*/ 337794 h 941360"/>
                <a:gd name="connsiteX40" fmla="*/ 226409 w 456315"/>
                <a:gd name="connsiteY40" fmla="*/ 301781 h 941360"/>
                <a:gd name="connsiteX41" fmla="*/ 215881 w 456315"/>
                <a:gd name="connsiteY41" fmla="*/ 271376 h 941360"/>
                <a:gd name="connsiteX42" fmla="*/ 241759 w 456315"/>
                <a:gd name="connsiteY42" fmla="*/ 211847 h 941360"/>
                <a:gd name="connsiteX43" fmla="*/ 257010 w 456315"/>
                <a:gd name="connsiteY43" fmla="*/ 207616 h 941360"/>
                <a:gd name="connsiteX44" fmla="*/ 276197 w 456315"/>
                <a:gd name="connsiteY44" fmla="*/ 181836 h 941360"/>
                <a:gd name="connsiteX45" fmla="*/ 288399 w 456315"/>
                <a:gd name="connsiteY45" fmla="*/ 157926 h 941360"/>
                <a:gd name="connsiteX46" fmla="*/ 329922 w 456315"/>
                <a:gd name="connsiteY46" fmla="*/ 148381 h 941360"/>
                <a:gd name="connsiteX47" fmla="*/ 343894 w 456315"/>
                <a:gd name="connsiteY47" fmla="*/ 123093 h 941360"/>
                <a:gd name="connsiteX48" fmla="*/ 359440 w 456315"/>
                <a:gd name="connsiteY48" fmla="*/ 118075 h 941360"/>
                <a:gd name="connsiteX49" fmla="*/ 350486 w 456315"/>
                <a:gd name="connsiteY49" fmla="*/ 99675 h 941360"/>
                <a:gd name="connsiteX50" fmla="*/ 319984 w 456315"/>
                <a:gd name="connsiteY50" fmla="*/ 102725 h 941360"/>
                <a:gd name="connsiteX51" fmla="*/ 304732 w 456315"/>
                <a:gd name="connsiteY51" fmla="*/ 85506 h 941360"/>
                <a:gd name="connsiteX52" fmla="*/ 283282 w 456315"/>
                <a:gd name="connsiteY52" fmla="*/ 82653 h 941360"/>
                <a:gd name="connsiteX53" fmla="*/ 275902 w 456315"/>
                <a:gd name="connsiteY53" fmla="*/ 52150 h 941360"/>
                <a:gd name="connsiteX54" fmla="*/ 289284 w 456315"/>
                <a:gd name="connsiteY54" fmla="*/ 51658 h 941360"/>
                <a:gd name="connsiteX55" fmla="*/ 292334 w 456315"/>
                <a:gd name="connsiteY55" fmla="*/ 30798 h 941360"/>
                <a:gd name="connsiteX56" fmla="*/ 217455 w 456315"/>
                <a:gd name="connsiteY56" fmla="*/ 19876 h 941360"/>
                <a:gd name="connsiteX57" fmla="*/ 199449 w 456315"/>
                <a:gd name="connsiteY57" fmla="*/ 0 h 941360"/>
                <a:gd name="connsiteX58" fmla="*/ 172488 w 456315"/>
                <a:gd name="connsiteY58" fmla="*/ 10824 h 941360"/>
                <a:gd name="connsiteX59" fmla="*/ 167863 w 456315"/>
                <a:gd name="connsiteY59" fmla="*/ 28043 h 941360"/>
                <a:gd name="connsiteX60" fmla="*/ 139427 w 456315"/>
                <a:gd name="connsiteY60" fmla="*/ 43885 h 941360"/>
                <a:gd name="connsiteX61" fmla="*/ 133130 w 456315"/>
                <a:gd name="connsiteY61" fmla="*/ 30798 h 941360"/>
                <a:gd name="connsiteX62" fmla="*/ 119551 w 456315"/>
                <a:gd name="connsiteY62" fmla="*/ 33848 h 941360"/>
                <a:gd name="connsiteX63" fmla="*/ 113451 w 456315"/>
                <a:gd name="connsiteY63" fmla="*/ 55791 h 941360"/>
                <a:gd name="connsiteX64" fmla="*/ 92197 w 456315"/>
                <a:gd name="connsiteY64" fmla="*/ 37391 h 941360"/>
                <a:gd name="connsiteX65" fmla="*/ 79209 w 456315"/>
                <a:gd name="connsiteY65" fmla="*/ 37981 h 941360"/>
                <a:gd name="connsiteX66" fmla="*/ 58250 w 456315"/>
                <a:gd name="connsiteY66" fmla="*/ 57070 h 941360"/>
                <a:gd name="connsiteX67" fmla="*/ 20270 w 456315"/>
                <a:gd name="connsiteY67" fmla="*/ 39260 h 941360"/>
                <a:gd name="connsiteX68" fmla="*/ 0 w 456315"/>
                <a:gd name="connsiteY68" fmla="*/ 62777 h 941360"/>
                <a:gd name="connsiteX69" fmla="*/ 32471 w 456315"/>
                <a:gd name="connsiteY69" fmla="*/ 104693 h 941360"/>
                <a:gd name="connsiteX70" fmla="*/ 53035 w 456315"/>
                <a:gd name="connsiteY70" fmla="*/ 97806 h 941360"/>
                <a:gd name="connsiteX71" fmla="*/ 56774 w 456315"/>
                <a:gd name="connsiteY71" fmla="*/ 117583 h 941360"/>
                <a:gd name="connsiteX72" fmla="*/ 44376 w 456315"/>
                <a:gd name="connsiteY72" fmla="*/ 137853 h 941360"/>
                <a:gd name="connsiteX73" fmla="*/ 63564 w 456315"/>
                <a:gd name="connsiteY73" fmla="*/ 165896 h 941360"/>
                <a:gd name="connsiteX74" fmla="*/ 96625 w 456315"/>
                <a:gd name="connsiteY74" fmla="*/ 174948 h 941360"/>
                <a:gd name="connsiteX75" fmla="*/ 118370 w 456315"/>
                <a:gd name="connsiteY75" fmla="*/ 153891 h 941360"/>
                <a:gd name="connsiteX76" fmla="*/ 152809 w 456315"/>
                <a:gd name="connsiteY76" fmla="*/ 170520 h 941360"/>
                <a:gd name="connsiteX77" fmla="*/ 142477 w 456315"/>
                <a:gd name="connsiteY77" fmla="*/ 186460 h 941360"/>
                <a:gd name="connsiteX78" fmla="*/ 174161 w 456315"/>
                <a:gd name="connsiteY78" fmla="*/ 208206 h 941360"/>
                <a:gd name="connsiteX79" fmla="*/ 153596 w 456315"/>
                <a:gd name="connsiteY79" fmla="*/ 242251 h 941360"/>
                <a:gd name="connsiteX80" fmla="*/ 118173 w 456315"/>
                <a:gd name="connsiteY80" fmla="*/ 237528 h 941360"/>
                <a:gd name="connsiteX81" fmla="*/ 108727 w 456315"/>
                <a:gd name="connsiteY81" fmla="*/ 263505 h 941360"/>
                <a:gd name="connsiteX82" fmla="*/ 187838 w 456315"/>
                <a:gd name="connsiteY82" fmla="*/ 303650 h 941360"/>
                <a:gd name="connsiteX83" fmla="*/ 184788 w 456315"/>
                <a:gd name="connsiteY83" fmla="*/ 319295 h 941360"/>
                <a:gd name="connsiteX84" fmla="*/ 213224 w 456315"/>
                <a:gd name="connsiteY84" fmla="*/ 338187 h 941360"/>
                <a:gd name="connsiteX85" fmla="*/ 217553 w 456315"/>
                <a:gd name="connsiteY85" fmla="*/ 356981 h 941360"/>
                <a:gd name="connsiteX86" fmla="*/ 272754 w 456315"/>
                <a:gd name="connsiteY86" fmla="*/ 412378 h 941360"/>
                <a:gd name="connsiteX87" fmla="*/ 279543 w 456315"/>
                <a:gd name="connsiteY87" fmla="*/ 442880 h 941360"/>
                <a:gd name="connsiteX88" fmla="*/ 330414 w 456315"/>
                <a:gd name="connsiteY88" fmla="*/ 469841 h 941360"/>
                <a:gd name="connsiteX89" fmla="*/ 326281 w 456315"/>
                <a:gd name="connsiteY89" fmla="*/ 482731 h 941360"/>
                <a:gd name="connsiteX90" fmla="*/ 311915 w 456315"/>
                <a:gd name="connsiteY90" fmla="*/ 485190 h 941360"/>
                <a:gd name="connsiteX91" fmla="*/ 343106 w 456315"/>
                <a:gd name="connsiteY91" fmla="*/ 518153 h 941360"/>
                <a:gd name="connsiteX92" fmla="*/ 324510 w 456315"/>
                <a:gd name="connsiteY92" fmla="*/ 590376 h 941360"/>
                <a:gd name="connsiteX93" fmla="*/ 344878 w 456315"/>
                <a:gd name="connsiteY93" fmla="*/ 628455 h 941360"/>
                <a:gd name="connsiteX94" fmla="*/ 331102 w 456315"/>
                <a:gd name="connsiteY94" fmla="*/ 656695 h 941360"/>
                <a:gd name="connsiteX95" fmla="*/ 341237 w 456315"/>
                <a:gd name="connsiteY95" fmla="*/ 699497 h 941360"/>
                <a:gd name="connsiteX96" fmla="*/ 270687 w 456315"/>
                <a:gd name="connsiteY96" fmla="*/ 728917 h 941360"/>
                <a:gd name="connsiteX97" fmla="*/ 270490 w 456315"/>
                <a:gd name="connsiteY97" fmla="*/ 746924 h 941360"/>
                <a:gd name="connsiteX98" fmla="*/ 238610 w 456315"/>
                <a:gd name="connsiteY98" fmla="*/ 740824 h 941360"/>
                <a:gd name="connsiteX99" fmla="*/ 232018 w 456315"/>
                <a:gd name="connsiteY99" fmla="*/ 768079 h 941360"/>
                <a:gd name="connsiteX100" fmla="*/ 249926 w 456315"/>
                <a:gd name="connsiteY100" fmla="*/ 784314 h 941360"/>
                <a:gd name="connsiteX101" fmla="*/ 248548 w 456315"/>
                <a:gd name="connsiteY101" fmla="*/ 807733 h 941360"/>
                <a:gd name="connsiteX102" fmla="*/ 220013 w 456315"/>
                <a:gd name="connsiteY102" fmla="*/ 791596 h 941360"/>
                <a:gd name="connsiteX103" fmla="*/ 221391 w 456315"/>
                <a:gd name="connsiteY103" fmla="*/ 789431 h 941360"/>
                <a:gd name="connsiteX104" fmla="*/ 181836 w 456315"/>
                <a:gd name="connsiteY104" fmla="*/ 794450 h 941360"/>
                <a:gd name="connsiteX105" fmla="*/ 183115 w 456315"/>
                <a:gd name="connsiteY105" fmla="*/ 811373 h 941360"/>
                <a:gd name="connsiteX106" fmla="*/ 141100 w 456315"/>
                <a:gd name="connsiteY106" fmla="*/ 826723 h 941360"/>
                <a:gd name="connsiteX107" fmla="*/ 141100 w 456315"/>
                <a:gd name="connsiteY107" fmla="*/ 827019 h 941360"/>
                <a:gd name="connsiteX108" fmla="*/ 158221 w 456315"/>
                <a:gd name="connsiteY108" fmla="*/ 840302 h 94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456315" h="941360">
                  <a:moveTo>
                    <a:pt x="157925" y="840400"/>
                  </a:moveTo>
                  <a:lnTo>
                    <a:pt x="158221" y="840203"/>
                  </a:lnTo>
                  <a:cubicBezTo>
                    <a:pt x="160779" y="838531"/>
                    <a:pt x="164813" y="838728"/>
                    <a:pt x="167175" y="840597"/>
                  </a:cubicBezTo>
                  <a:cubicBezTo>
                    <a:pt x="172488" y="846205"/>
                    <a:pt x="185279" y="851618"/>
                    <a:pt x="178589" y="857226"/>
                  </a:cubicBezTo>
                  <a:cubicBezTo>
                    <a:pt x="176621" y="859292"/>
                    <a:pt x="168552" y="863327"/>
                    <a:pt x="168060" y="871198"/>
                  </a:cubicBezTo>
                  <a:cubicBezTo>
                    <a:pt x="166683" y="913115"/>
                    <a:pt x="161369" y="925611"/>
                    <a:pt x="168454" y="927776"/>
                  </a:cubicBezTo>
                  <a:cubicBezTo>
                    <a:pt x="173767" y="929350"/>
                    <a:pt x="165600" y="935942"/>
                    <a:pt x="164911" y="936927"/>
                  </a:cubicBezTo>
                  <a:cubicBezTo>
                    <a:pt x="159598" y="942535"/>
                    <a:pt x="171701" y="941059"/>
                    <a:pt x="173374" y="941355"/>
                  </a:cubicBezTo>
                  <a:cubicBezTo>
                    <a:pt x="182426" y="941649"/>
                    <a:pt x="195021" y="929940"/>
                    <a:pt x="198268" y="924037"/>
                  </a:cubicBezTo>
                  <a:cubicBezTo>
                    <a:pt x="202597" y="917542"/>
                    <a:pt x="204959" y="908097"/>
                    <a:pt x="213126" y="905243"/>
                  </a:cubicBezTo>
                  <a:cubicBezTo>
                    <a:pt x="236937" y="895108"/>
                    <a:pt x="251008" y="895994"/>
                    <a:pt x="249827" y="886449"/>
                  </a:cubicBezTo>
                  <a:cubicBezTo>
                    <a:pt x="249827" y="885367"/>
                    <a:pt x="248155" y="877003"/>
                    <a:pt x="249827" y="874445"/>
                  </a:cubicBezTo>
                  <a:cubicBezTo>
                    <a:pt x="251402" y="871887"/>
                    <a:pt x="258092" y="878086"/>
                    <a:pt x="259175" y="878774"/>
                  </a:cubicBezTo>
                  <a:cubicBezTo>
                    <a:pt x="264784" y="883104"/>
                    <a:pt x="269703" y="877200"/>
                    <a:pt x="270687" y="876807"/>
                  </a:cubicBezTo>
                  <a:cubicBezTo>
                    <a:pt x="276886" y="872083"/>
                    <a:pt x="268424" y="864605"/>
                    <a:pt x="267243" y="862047"/>
                  </a:cubicBezTo>
                  <a:cubicBezTo>
                    <a:pt x="263012" y="855947"/>
                    <a:pt x="273049" y="861457"/>
                    <a:pt x="274131" y="861654"/>
                  </a:cubicBezTo>
                  <a:cubicBezTo>
                    <a:pt x="280724" y="864409"/>
                    <a:pt x="281904" y="855848"/>
                    <a:pt x="282593" y="854864"/>
                  </a:cubicBezTo>
                  <a:cubicBezTo>
                    <a:pt x="285348" y="847681"/>
                    <a:pt x="277673" y="842073"/>
                    <a:pt x="276492" y="840006"/>
                  </a:cubicBezTo>
                  <a:cubicBezTo>
                    <a:pt x="274525" y="837645"/>
                    <a:pt x="275410" y="836169"/>
                    <a:pt x="278362" y="836760"/>
                  </a:cubicBezTo>
                  <a:lnTo>
                    <a:pt x="281707" y="837350"/>
                  </a:lnTo>
                  <a:cubicBezTo>
                    <a:pt x="293909" y="839613"/>
                    <a:pt x="282888" y="811865"/>
                    <a:pt x="294696" y="815801"/>
                  </a:cubicBezTo>
                  <a:lnTo>
                    <a:pt x="294696" y="815801"/>
                  </a:lnTo>
                  <a:cubicBezTo>
                    <a:pt x="301780" y="818163"/>
                    <a:pt x="304043" y="824755"/>
                    <a:pt x="305126" y="826133"/>
                  </a:cubicBezTo>
                  <a:cubicBezTo>
                    <a:pt x="310636" y="835185"/>
                    <a:pt x="316737" y="823771"/>
                    <a:pt x="418970" y="773688"/>
                  </a:cubicBezTo>
                  <a:cubicBezTo>
                    <a:pt x="425267" y="770441"/>
                    <a:pt x="425070" y="763258"/>
                    <a:pt x="425464" y="762274"/>
                  </a:cubicBezTo>
                  <a:cubicBezTo>
                    <a:pt x="426743" y="754894"/>
                    <a:pt x="434025" y="751942"/>
                    <a:pt x="435303" y="750860"/>
                  </a:cubicBezTo>
                  <a:cubicBezTo>
                    <a:pt x="443175" y="745645"/>
                    <a:pt x="437665" y="734329"/>
                    <a:pt x="437468" y="712780"/>
                  </a:cubicBezTo>
                  <a:cubicBezTo>
                    <a:pt x="436878" y="704318"/>
                    <a:pt x="445930" y="706877"/>
                    <a:pt x="442782" y="699202"/>
                  </a:cubicBezTo>
                  <a:cubicBezTo>
                    <a:pt x="442683" y="698218"/>
                    <a:pt x="437173" y="689658"/>
                    <a:pt x="444455" y="689756"/>
                  </a:cubicBezTo>
                  <a:cubicBezTo>
                    <a:pt x="446816" y="689362"/>
                    <a:pt x="458131" y="692216"/>
                    <a:pt x="456065" y="684639"/>
                  </a:cubicBezTo>
                  <a:cubicBezTo>
                    <a:pt x="441306" y="624814"/>
                    <a:pt x="433729" y="615959"/>
                    <a:pt x="440027" y="609957"/>
                  </a:cubicBezTo>
                  <a:cubicBezTo>
                    <a:pt x="441995" y="608185"/>
                    <a:pt x="442683" y="604348"/>
                    <a:pt x="441601" y="601396"/>
                  </a:cubicBezTo>
                  <a:cubicBezTo>
                    <a:pt x="422217" y="543146"/>
                    <a:pt x="415034" y="535865"/>
                    <a:pt x="419068" y="527304"/>
                  </a:cubicBezTo>
                  <a:cubicBezTo>
                    <a:pt x="422119" y="520908"/>
                    <a:pt x="417297" y="513824"/>
                    <a:pt x="411098" y="510577"/>
                  </a:cubicBezTo>
                  <a:lnTo>
                    <a:pt x="406966" y="508412"/>
                  </a:lnTo>
                  <a:cubicBezTo>
                    <a:pt x="398405" y="503886"/>
                    <a:pt x="396142" y="494735"/>
                    <a:pt x="380005" y="470333"/>
                  </a:cubicBezTo>
                  <a:cubicBezTo>
                    <a:pt x="369772" y="453901"/>
                    <a:pt x="312801" y="422414"/>
                    <a:pt x="310144" y="409131"/>
                  </a:cubicBezTo>
                  <a:cubicBezTo>
                    <a:pt x="309750" y="408147"/>
                    <a:pt x="309455" y="401948"/>
                    <a:pt x="304437" y="397127"/>
                  </a:cubicBezTo>
                  <a:cubicBezTo>
                    <a:pt x="277280" y="369575"/>
                    <a:pt x="266948" y="366230"/>
                    <a:pt x="267637" y="356489"/>
                  </a:cubicBezTo>
                  <a:cubicBezTo>
                    <a:pt x="267440" y="352356"/>
                    <a:pt x="270589" y="343107"/>
                    <a:pt x="264488" y="337794"/>
                  </a:cubicBezTo>
                  <a:cubicBezTo>
                    <a:pt x="238807" y="314572"/>
                    <a:pt x="230640" y="310440"/>
                    <a:pt x="226409" y="301781"/>
                  </a:cubicBezTo>
                  <a:cubicBezTo>
                    <a:pt x="220505" y="287808"/>
                    <a:pt x="212830" y="280035"/>
                    <a:pt x="215881" y="271376"/>
                  </a:cubicBezTo>
                  <a:cubicBezTo>
                    <a:pt x="233592" y="225327"/>
                    <a:pt x="231722" y="211847"/>
                    <a:pt x="241759" y="211847"/>
                  </a:cubicBezTo>
                  <a:cubicBezTo>
                    <a:pt x="243923" y="211551"/>
                    <a:pt x="251992" y="213421"/>
                    <a:pt x="257010" y="207616"/>
                  </a:cubicBezTo>
                  <a:cubicBezTo>
                    <a:pt x="266161" y="196300"/>
                    <a:pt x="273737" y="190593"/>
                    <a:pt x="276197" y="181836"/>
                  </a:cubicBezTo>
                  <a:cubicBezTo>
                    <a:pt x="280330" y="171209"/>
                    <a:pt x="279543" y="158811"/>
                    <a:pt x="288399" y="157926"/>
                  </a:cubicBezTo>
                  <a:cubicBezTo>
                    <a:pt x="314670" y="153597"/>
                    <a:pt x="326576" y="157336"/>
                    <a:pt x="329922" y="148381"/>
                  </a:cubicBezTo>
                  <a:cubicBezTo>
                    <a:pt x="334940" y="137361"/>
                    <a:pt x="335333" y="126045"/>
                    <a:pt x="343894" y="123093"/>
                  </a:cubicBezTo>
                  <a:cubicBezTo>
                    <a:pt x="349601" y="121322"/>
                    <a:pt x="354718" y="119650"/>
                    <a:pt x="359440" y="118075"/>
                  </a:cubicBezTo>
                  <a:lnTo>
                    <a:pt x="350486" y="99675"/>
                  </a:lnTo>
                  <a:lnTo>
                    <a:pt x="319984" y="102725"/>
                  </a:lnTo>
                  <a:lnTo>
                    <a:pt x="304732" y="85506"/>
                  </a:lnTo>
                  <a:lnTo>
                    <a:pt x="283282" y="82653"/>
                  </a:lnTo>
                  <a:lnTo>
                    <a:pt x="275902" y="52150"/>
                  </a:lnTo>
                  <a:lnTo>
                    <a:pt x="289284" y="51658"/>
                  </a:lnTo>
                  <a:lnTo>
                    <a:pt x="292334" y="30798"/>
                  </a:lnTo>
                  <a:lnTo>
                    <a:pt x="217455" y="19876"/>
                  </a:lnTo>
                  <a:lnTo>
                    <a:pt x="199449" y="0"/>
                  </a:lnTo>
                  <a:lnTo>
                    <a:pt x="172488" y="10824"/>
                  </a:lnTo>
                  <a:lnTo>
                    <a:pt x="167863" y="28043"/>
                  </a:lnTo>
                  <a:lnTo>
                    <a:pt x="139427" y="43885"/>
                  </a:lnTo>
                  <a:lnTo>
                    <a:pt x="133130" y="30798"/>
                  </a:lnTo>
                  <a:lnTo>
                    <a:pt x="119551" y="33848"/>
                  </a:lnTo>
                  <a:lnTo>
                    <a:pt x="113451" y="55791"/>
                  </a:lnTo>
                  <a:lnTo>
                    <a:pt x="92197" y="37391"/>
                  </a:lnTo>
                  <a:lnTo>
                    <a:pt x="79209" y="37981"/>
                  </a:lnTo>
                  <a:lnTo>
                    <a:pt x="58250" y="57070"/>
                  </a:lnTo>
                  <a:lnTo>
                    <a:pt x="20270" y="39260"/>
                  </a:lnTo>
                  <a:lnTo>
                    <a:pt x="0" y="62777"/>
                  </a:lnTo>
                  <a:lnTo>
                    <a:pt x="32471" y="104693"/>
                  </a:lnTo>
                  <a:lnTo>
                    <a:pt x="53035" y="97806"/>
                  </a:lnTo>
                  <a:lnTo>
                    <a:pt x="56774" y="117583"/>
                  </a:lnTo>
                  <a:lnTo>
                    <a:pt x="44376" y="137853"/>
                  </a:lnTo>
                  <a:lnTo>
                    <a:pt x="63564" y="165896"/>
                  </a:lnTo>
                  <a:lnTo>
                    <a:pt x="96625" y="174948"/>
                  </a:lnTo>
                  <a:lnTo>
                    <a:pt x="118370" y="153891"/>
                  </a:lnTo>
                  <a:lnTo>
                    <a:pt x="152809" y="170520"/>
                  </a:lnTo>
                  <a:lnTo>
                    <a:pt x="142477" y="186460"/>
                  </a:lnTo>
                  <a:lnTo>
                    <a:pt x="174161" y="208206"/>
                  </a:lnTo>
                  <a:lnTo>
                    <a:pt x="153596" y="242251"/>
                  </a:lnTo>
                  <a:lnTo>
                    <a:pt x="118173" y="237528"/>
                  </a:lnTo>
                  <a:lnTo>
                    <a:pt x="108727" y="263505"/>
                  </a:lnTo>
                  <a:lnTo>
                    <a:pt x="187838" y="303650"/>
                  </a:lnTo>
                  <a:lnTo>
                    <a:pt x="184788" y="319295"/>
                  </a:lnTo>
                  <a:lnTo>
                    <a:pt x="213224" y="338187"/>
                  </a:lnTo>
                  <a:lnTo>
                    <a:pt x="217553" y="356981"/>
                  </a:lnTo>
                  <a:lnTo>
                    <a:pt x="272754" y="412378"/>
                  </a:lnTo>
                  <a:lnTo>
                    <a:pt x="279543" y="442880"/>
                  </a:lnTo>
                  <a:lnTo>
                    <a:pt x="330414" y="469841"/>
                  </a:lnTo>
                  <a:lnTo>
                    <a:pt x="326281" y="482731"/>
                  </a:lnTo>
                  <a:lnTo>
                    <a:pt x="311915" y="485190"/>
                  </a:lnTo>
                  <a:lnTo>
                    <a:pt x="343106" y="518153"/>
                  </a:lnTo>
                  <a:lnTo>
                    <a:pt x="324510" y="590376"/>
                  </a:lnTo>
                  <a:lnTo>
                    <a:pt x="344878" y="628455"/>
                  </a:lnTo>
                  <a:lnTo>
                    <a:pt x="331102" y="656695"/>
                  </a:lnTo>
                  <a:lnTo>
                    <a:pt x="341237" y="699497"/>
                  </a:lnTo>
                  <a:lnTo>
                    <a:pt x="270687" y="728917"/>
                  </a:lnTo>
                  <a:lnTo>
                    <a:pt x="270490" y="746924"/>
                  </a:lnTo>
                  <a:lnTo>
                    <a:pt x="238610" y="740824"/>
                  </a:lnTo>
                  <a:lnTo>
                    <a:pt x="232018" y="768079"/>
                  </a:lnTo>
                  <a:lnTo>
                    <a:pt x="249926" y="784314"/>
                  </a:lnTo>
                  <a:lnTo>
                    <a:pt x="248548" y="807733"/>
                  </a:lnTo>
                  <a:lnTo>
                    <a:pt x="220013" y="791596"/>
                  </a:lnTo>
                  <a:lnTo>
                    <a:pt x="221391" y="789431"/>
                  </a:lnTo>
                  <a:lnTo>
                    <a:pt x="181836" y="794450"/>
                  </a:lnTo>
                  <a:lnTo>
                    <a:pt x="183115" y="811373"/>
                  </a:lnTo>
                  <a:lnTo>
                    <a:pt x="141100" y="826723"/>
                  </a:lnTo>
                  <a:lnTo>
                    <a:pt x="141100" y="827019"/>
                  </a:lnTo>
                  <a:cubicBezTo>
                    <a:pt x="147889" y="835972"/>
                    <a:pt x="151825" y="844631"/>
                    <a:pt x="158221" y="840302"/>
                  </a:cubicBezTo>
                  <a:close/>
                </a:path>
              </a:pathLst>
            </a:custGeom>
            <a:grpFill/>
            <a:ln w="9835" cap="flat">
              <a:noFill/>
              <a:prstDash val="solid"/>
              <a:miter/>
            </a:ln>
          </p:spPr>
          <p:txBody>
            <a:bodyPr rtlCol="0" anchor="ctr"/>
            <a:lstStyle/>
            <a:p>
              <a:endParaRPr lang="en-IN"/>
            </a:p>
          </p:txBody>
        </p:sp>
        <p:sp>
          <p:nvSpPr>
            <p:cNvPr id="465" name="Freeform: Shape 464">
              <a:extLst>
                <a:ext uri="{FF2B5EF4-FFF2-40B4-BE49-F238E27FC236}">
                  <a16:creationId xmlns:a16="http://schemas.microsoft.com/office/drawing/2014/main" id="{F7FDEF33-4A70-08A9-EDDB-626ECA7EBA0E}"/>
                </a:ext>
              </a:extLst>
            </p:cNvPr>
            <p:cNvSpPr/>
            <p:nvPr/>
          </p:nvSpPr>
          <p:spPr>
            <a:xfrm>
              <a:off x="8517950" y="3159649"/>
              <a:ext cx="1065825" cy="623338"/>
            </a:xfrm>
            <a:custGeom>
              <a:avLst/>
              <a:gdLst>
                <a:gd name="connsiteX0" fmla="*/ 993110 w 1065825"/>
                <a:gd name="connsiteY0" fmla="*/ 395749 h 623338"/>
                <a:gd name="connsiteX1" fmla="*/ 1001868 w 1065825"/>
                <a:gd name="connsiteY1" fmla="*/ 383351 h 623338"/>
                <a:gd name="connsiteX2" fmla="*/ 1018300 w 1065825"/>
                <a:gd name="connsiteY2" fmla="*/ 388172 h 623338"/>
                <a:gd name="connsiteX3" fmla="*/ 1016627 w 1065825"/>
                <a:gd name="connsiteY3" fmla="*/ 371445 h 623338"/>
                <a:gd name="connsiteX4" fmla="*/ 1036405 w 1065825"/>
                <a:gd name="connsiteY4" fmla="*/ 373806 h 623338"/>
                <a:gd name="connsiteX5" fmla="*/ 1065825 w 1065825"/>
                <a:gd name="connsiteY5" fmla="*/ 359933 h 623338"/>
                <a:gd name="connsiteX6" fmla="*/ 1062086 w 1065825"/>
                <a:gd name="connsiteY6" fmla="*/ 350093 h 623338"/>
                <a:gd name="connsiteX7" fmla="*/ 1015053 w 1065825"/>
                <a:gd name="connsiteY7" fmla="*/ 341828 h 623338"/>
                <a:gd name="connsiteX8" fmla="*/ 1007673 w 1065825"/>
                <a:gd name="connsiteY8" fmla="*/ 330315 h 623338"/>
                <a:gd name="connsiteX9" fmla="*/ 987207 w 1065825"/>
                <a:gd name="connsiteY9" fmla="*/ 329528 h 623338"/>
                <a:gd name="connsiteX10" fmla="*/ 985239 w 1065825"/>
                <a:gd name="connsiteY10" fmla="*/ 310144 h 623338"/>
                <a:gd name="connsiteX11" fmla="*/ 969889 w 1065825"/>
                <a:gd name="connsiteY11" fmla="*/ 300993 h 623338"/>
                <a:gd name="connsiteX12" fmla="*/ 954539 w 1065825"/>
                <a:gd name="connsiteY12" fmla="*/ 333857 h 623338"/>
                <a:gd name="connsiteX13" fmla="*/ 920002 w 1065825"/>
                <a:gd name="connsiteY13" fmla="*/ 325002 h 623338"/>
                <a:gd name="connsiteX14" fmla="*/ 916066 w 1065825"/>
                <a:gd name="connsiteY14" fmla="*/ 307980 h 623338"/>
                <a:gd name="connsiteX15" fmla="*/ 883202 w 1065825"/>
                <a:gd name="connsiteY15" fmla="*/ 303552 h 623338"/>
                <a:gd name="connsiteX16" fmla="*/ 948143 w 1065825"/>
                <a:gd name="connsiteY16" fmla="*/ 256125 h 623338"/>
                <a:gd name="connsiteX17" fmla="*/ 931810 w 1065825"/>
                <a:gd name="connsiteY17" fmla="*/ 243924 h 623338"/>
                <a:gd name="connsiteX18" fmla="*/ 912426 w 1065825"/>
                <a:gd name="connsiteY18" fmla="*/ 252090 h 623338"/>
                <a:gd name="connsiteX19" fmla="*/ 905243 w 1065825"/>
                <a:gd name="connsiteY19" fmla="*/ 263800 h 623338"/>
                <a:gd name="connsiteX20" fmla="*/ 886055 w 1065825"/>
                <a:gd name="connsiteY20" fmla="*/ 263209 h 623338"/>
                <a:gd name="connsiteX21" fmla="*/ 871296 w 1065825"/>
                <a:gd name="connsiteY21" fmla="*/ 282101 h 623338"/>
                <a:gd name="connsiteX22" fmla="*/ 808716 w 1065825"/>
                <a:gd name="connsiteY22" fmla="*/ 313686 h 623338"/>
                <a:gd name="connsiteX23" fmla="*/ 807929 w 1065825"/>
                <a:gd name="connsiteY23" fmla="*/ 329036 h 623338"/>
                <a:gd name="connsiteX24" fmla="*/ 781264 w 1065825"/>
                <a:gd name="connsiteY24" fmla="*/ 349010 h 623338"/>
                <a:gd name="connsiteX25" fmla="*/ 783626 w 1065825"/>
                <a:gd name="connsiteY25" fmla="*/ 373806 h 623338"/>
                <a:gd name="connsiteX26" fmla="*/ 745054 w 1065825"/>
                <a:gd name="connsiteY26" fmla="*/ 361113 h 623338"/>
                <a:gd name="connsiteX27" fmla="*/ 750368 w 1065825"/>
                <a:gd name="connsiteY27" fmla="*/ 340352 h 623338"/>
                <a:gd name="connsiteX28" fmla="*/ 733935 w 1065825"/>
                <a:gd name="connsiteY28" fmla="*/ 328249 h 623338"/>
                <a:gd name="connsiteX29" fmla="*/ 664271 w 1065825"/>
                <a:gd name="connsiteY29" fmla="*/ 331102 h 623338"/>
                <a:gd name="connsiteX30" fmla="*/ 651578 w 1065825"/>
                <a:gd name="connsiteY30" fmla="*/ 269802 h 623338"/>
                <a:gd name="connsiteX31" fmla="*/ 620583 w 1065825"/>
                <a:gd name="connsiteY31" fmla="*/ 269408 h 623338"/>
                <a:gd name="connsiteX32" fmla="*/ 626094 w 1065825"/>
                <a:gd name="connsiteY32" fmla="*/ 195808 h 623338"/>
                <a:gd name="connsiteX33" fmla="*/ 605824 w 1065825"/>
                <a:gd name="connsiteY33" fmla="*/ 200826 h 623338"/>
                <a:gd name="connsiteX34" fmla="*/ 590474 w 1065825"/>
                <a:gd name="connsiteY34" fmla="*/ 170816 h 623338"/>
                <a:gd name="connsiteX35" fmla="*/ 572468 w 1065825"/>
                <a:gd name="connsiteY35" fmla="*/ 162157 h 623338"/>
                <a:gd name="connsiteX36" fmla="*/ 553576 w 1065825"/>
                <a:gd name="connsiteY36" fmla="*/ 138738 h 623338"/>
                <a:gd name="connsiteX37" fmla="*/ 523565 w 1065825"/>
                <a:gd name="connsiteY37" fmla="*/ 153891 h 623338"/>
                <a:gd name="connsiteX38" fmla="*/ 443471 w 1065825"/>
                <a:gd name="connsiteY38" fmla="*/ 146807 h 623338"/>
                <a:gd name="connsiteX39" fmla="*/ 373216 w 1065825"/>
                <a:gd name="connsiteY39" fmla="*/ 158811 h 623338"/>
                <a:gd name="connsiteX40" fmla="*/ 318213 w 1065825"/>
                <a:gd name="connsiteY40" fmla="*/ 104201 h 623338"/>
                <a:gd name="connsiteX41" fmla="*/ 312014 w 1065825"/>
                <a:gd name="connsiteY41" fmla="*/ 89540 h 623338"/>
                <a:gd name="connsiteX42" fmla="*/ 279346 w 1065825"/>
                <a:gd name="connsiteY42" fmla="*/ 70452 h 623338"/>
                <a:gd name="connsiteX43" fmla="*/ 263996 w 1065825"/>
                <a:gd name="connsiteY43" fmla="*/ 92000 h 623338"/>
                <a:gd name="connsiteX44" fmla="*/ 256125 w 1065825"/>
                <a:gd name="connsiteY44" fmla="*/ 99577 h 623338"/>
                <a:gd name="connsiteX45" fmla="*/ 247367 w 1065825"/>
                <a:gd name="connsiteY45" fmla="*/ 105284 h 623338"/>
                <a:gd name="connsiteX46" fmla="*/ 237233 w 1065825"/>
                <a:gd name="connsiteY46" fmla="*/ 107547 h 623338"/>
                <a:gd name="connsiteX47" fmla="*/ 203975 w 1065825"/>
                <a:gd name="connsiteY47" fmla="*/ 102627 h 623338"/>
                <a:gd name="connsiteX48" fmla="*/ 197579 w 1065825"/>
                <a:gd name="connsiteY48" fmla="*/ 96330 h 623338"/>
                <a:gd name="connsiteX49" fmla="*/ 195611 w 1065825"/>
                <a:gd name="connsiteY49" fmla="*/ 84030 h 623338"/>
                <a:gd name="connsiteX50" fmla="*/ 199153 w 1065825"/>
                <a:gd name="connsiteY50" fmla="*/ 75076 h 623338"/>
                <a:gd name="connsiteX51" fmla="*/ 199350 w 1065825"/>
                <a:gd name="connsiteY51" fmla="*/ 75076 h 623338"/>
                <a:gd name="connsiteX52" fmla="*/ 202696 w 1065825"/>
                <a:gd name="connsiteY52" fmla="*/ 66024 h 623338"/>
                <a:gd name="connsiteX53" fmla="*/ 201515 w 1065825"/>
                <a:gd name="connsiteY53" fmla="*/ 59726 h 623338"/>
                <a:gd name="connsiteX54" fmla="*/ 203089 w 1065825"/>
                <a:gd name="connsiteY54" fmla="*/ 49296 h 623338"/>
                <a:gd name="connsiteX55" fmla="*/ 212437 w 1065825"/>
                <a:gd name="connsiteY55" fmla="*/ 31388 h 623338"/>
                <a:gd name="connsiteX56" fmla="*/ 176719 w 1065825"/>
                <a:gd name="connsiteY56" fmla="*/ 10528 h 623338"/>
                <a:gd name="connsiteX57" fmla="*/ 177506 w 1065825"/>
                <a:gd name="connsiteY57" fmla="*/ 18302 h 623338"/>
                <a:gd name="connsiteX58" fmla="*/ 174751 w 1065825"/>
                <a:gd name="connsiteY58" fmla="*/ 28338 h 623338"/>
                <a:gd name="connsiteX59" fmla="*/ 171504 w 1065825"/>
                <a:gd name="connsiteY59" fmla="*/ 32864 h 623338"/>
                <a:gd name="connsiteX60" fmla="*/ 171504 w 1065825"/>
                <a:gd name="connsiteY60" fmla="*/ 41917 h 623338"/>
                <a:gd name="connsiteX61" fmla="*/ 178097 w 1065825"/>
                <a:gd name="connsiteY61" fmla="*/ 50969 h 623338"/>
                <a:gd name="connsiteX62" fmla="*/ 180163 w 1065825"/>
                <a:gd name="connsiteY62" fmla="*/ 60022 h 623338"/>
                <a:gd name="connsiteX63" fmla="*/ 173964 w 1065825"/>
                <a:gd name="connsiteY63" fmla="*/ 62088 h 623338"/>
                <a:gd name="connsiteX64" fmla="*/ 173275 w 1065825"/>
                <a:gd name="connsiteY64" fmla="*/ 61793 h 623338"/>
                <a:gd name="connsiteX65" fmla="*/ 169241 w 1065825"/>
                <a:gd name="connsiteY65" fmla="*/ 64843 h 623338"/>
                <a:gd name="connsiteX66" fmla="*/ 172291 w 1065825"/>
                <a:gd name="connsiteY66" fmla="*/ 82161 h 623338"/>
                <a:gd name="connsiteX67" fmla="*/ 167667 w 1065825"/>
                <a:gd name="connsiteY67" fmla="*/ 87671 h 623338"/>
                <a:gd name="connsiteX68" fmla="*/ 152219 w 1065825"/>
                <a:gd name="connsiteY68" fmla="*/ 87671 h 623338"/>
                <a:gd name="connsiteX69" fmla="*/ 146118 w 1065825"/>
                <a:gd name="connsiteY69" fmla="*/ 82161 h 623338"/>
                <a:gd name="connsiteX70" fmla="*/ 143166 w 1065825"/>
                <a:gd name="connsiteY70" fmla="*/ 51461 h 623338"/>
                <a:gd name="connsiteX71" fmla="*/ 144445 w 1065825"/>
                <a:gd name="connsiteY71" fmla="*/ 40638 h 623338"/>
                <a:gd name="connsiteX72" fmla="*/ 158614 w 1065825"/>
                <a:gd name="connsiteY72" fmla="*/ 0 h 623338"/>
                <a:gd name="connsiteX73" fmla="*/ 158614 w 1065825"/>
                <a:gd name="connsiteY73" fmla="*/ 0 h 623338"/>
                <a:gd name="connsiteX74" fmla="*/ 0 w 1065825"/>
                <a:gd name="connsiteY74" fmla="*/ 42999 h 623338"/>
                <a:gd name="connsiteX75" fmla="*/ 0 w 1065825"/>
                <a:gd name="connsiteY75" fmla="*/ 326871 h 623338"/>
                <a:gd name="connsiteX76" fmla="*/ 69861 w 1065825"/>
                <a:gd name="connsiteY76" fmla="*/ 324018 h 623338"/>
                <a:gd name="connsiteX77" fmla="*/ 65335 w 1065825"/>
                <a:gd name="connsiteY77" fmla="*/ 277772 h 623338"/>
                <a:gd name="connsiteX78" fmla="*/ 121125 w 1065825"/>
                <a:gd name="connsiteY78" fmla="*/ 236052 h 623338"/>
                <a:gd name="connsiteX79" fmla="*/ 143068 w 1065825"/>
                <a:gd name="connsiteY79" fmla="*/ 251402 h 623338"/>
                <a:gd name="connsiteX80" fmla="*/ 156942 w 1065825"/>
                <a:gd name="connsiteY80" fmla="*/ 243825 h 623338"/>
                <a:gd name="connsiteX81" fmla="*/ 139132 w 1065825"/>
                <a:gd name="connsiteY81" fmla="*/ 217849 h 623338"/>
                <a:gd name="connsiteX82" fmla="*/ 164518 w 1065825"/>
                <a:gd name="connsiteY82" fmla="*/ 212437 h 623338"/>
                <a:gd name="connsiteX83" fmla="*/ 209977 w 1065825"/>
                <a:gd name="connsiteY83" fmla="*/ 245006 h 623338"/>
                <a:gd name="connsiteX84" fmla="*/ 251697 w 1065825"/>
                <a:gd name="connsiteY84" fmla="*/ 249532 h 623338"/>
                <a:gd name="connsiteX85" fmla="*/ 252779 w 1065825"/>
                <a:gd name="connsiteY85" fmla="*/ 310242 h 623338"/>
                <a:gd name="connsiteX86" fmla="*/ 282200 w 1065825"/>
                <a:gd name="connsiteY86" fmla="*/ 330020 h 623338"/>
                <a:gd name="connsiteX87" fmla="*/ 329823 w 1065825"/>
                <a:gd name="connsiteY87" fmla="*/ 330020 h 623338"/>
                <a:gd name="connsiteX88" fmla="*/ 329823 w 1065825"/>
                <a:gd name="connsiteY88" fmla="*/ 319000 h 623338"/>
                <a:gd name="connsiteX89" fmla="*/ 368493 w 1065825"/>
                <a:gd name="connsiteY89" fmla="*/ 333562 h 623338"/>
                <a:gd name="connsiteX90" fmla="*/ 376758 w 1065825"/>
                <a:gd name="connsiteY90" fmla="*/ 373609 h 623338"/>
                <a:gd name="connsiteX91" fmla="*/ 394666 w 1065825"/>
                <a:gd name="connsiteY91" fmla="*/ 385319 h 623338"/>
                <a:gd name="connsiteX92" fmla="*/ 402636 w 1065825"/>
                <a:gd name="connsiteY92" fmla="*/ 419462 h 623338"/>
                <a:gd name="connsiteX93" fmla="*/ 495817 w 1065825"/>
                <a:gd name="connsiteY93" fmla="*/ 485781 h 623338"/>
                <a:gd name="connsiteX94" fmla="*/ 522286 w 1065825"/>
                <a:gd name="connsiteY94" fmla="*/ 490504 h 623338"/>
                <a:gd name="connsiteX95" fmla="*/ 596575 w 1065825"/>
                <a:gd name="connsiteY95" fmla="*/ 544523 h 623338"/>
                <a:gd name="connsiteX96" fmla="*/ 615959 w 1065825"/>
                <a:gd name="connsiteY96" fmla="*/ 543343 h 623338"/>
                <a:gd name="connsiteX97" fmla="*/ 659942 w 1065825"/>
                <a:gd name="connsiteY97" fmla="*/ 562530 h 623338"/>
                <a:gd name="connsiteX98" fmla="*/ 655219 w 1065825"/>
                <a:gd name="connsiteY98" fmla="*/ 607694 h 623338"/>
                <a:gd name="connsiteX99" fmla="*/ 683753 w 1065825"/>
                <a:gd name="connsiteY99" fmla="*/ 607694 h 623338"/>
                <a:gd name="connsiteX100" fmla="*/ 701268 w 1065825"/>
                <a:gd name="connsiteY100" fmla="*/ 623338 h 623338"/>
                <a:gd name="connsiteX101" fmla="*/ 727835 w 1065825"/>
                <a:gd name="connsiteY101" fmla="*/ 618320 h 623338"/>
                <a:gd name="connsiteX102" fmla="*/ 766997 w 1065825"/>
                <a:gd name="connsiteY102" fmla="*/ 552395 h 623338"/>
                <a:gd name="connsiteX103" fmla="*/ 752237 w 1065825"/>
                <a:gd name="connsiteY103" fmla="*/ 532322 h 623338"/>
                <a:gd name="connsiteX104" fmla="*/ 754992 w 1065825"/>
                <a:gd name="connsiteY104" fmla="*/ 496998 h 623338"/>
                <a:gd name="connsiteX105" fmla="*/ 728720 w 1065825"/>
                <a:gd name="connsiteY105" fmla="*/ 490504 h 623338"/>
                <a:gd name="connsiteX106" fmla="*/ 724981 w 1065825"/>
                <a:gd name="connsiteY106" fmla="*/ 476335 h 623338"/>
                <a:gd name="connsiteX107" fmla="*/ 704810 w 1065825"/>
                <a:gd name="connsiteY107" fmla="*/ 469250 h 623338"/>
                <a:gd name="connsiteX108" fmla="*/ 719078 w 1065825"/>
                <a:gd name="connsiteY108" fmla="*/ 443176 h 623338"/>
                <a:gd name="connsiteX109" fmla="*/ 775065 w 1065825"/>
                <a:gd name="connsiteY109" fmla="*/ 450654 h 623338"/>
                <a:gd name="connsiteX110" fmla="*/ 797007 w 1065825"/>
                <a:gd name="connsiteY110" fmla="*/ 401849 h 623338"/>
                <a:gd name="connsiteX111" fmla="*/ 821508 w 1065825"/>
                <a:gd name="connsiteY111" fmla="*/ 400373 h 623338"/>
                <a:gd name="connsiteX112" fmla="*/ 818261 w 1065825"/>
                <a:gd name="connsiteY112" fmla="*/ 376069 h 623338"/>
                <a:gd name="connsiteX113" fmla="*/ 834201 w 1065825"/>
                <a:gd name="connsiteY113" fmla="*/ 354718 h 623338"/>
                <a:gd name="connsiteX114" fmla="*/ 852503 w 1065825"/>
                <a:gd name="connsiteY114" fmla="*/ 370166 h 623338"/>
                <a:gd name="connsiteX115" fmla="*/ 893730 w 1065825"/>
                <a:gd name="connsiteY115" fmla="*/ 340450 h 623338"/>
                <a:gd name="connsiteX116" fmla="*/ 917837 w 1065825"/>
                <a:gd name="connsiteY116" fmla="*/ 358949 h 623338"/>
                <a:gd name="connsiteX117" fmla="*/ 889106 w 1065825"/>
                <a:gd name="connsiteY117" fmla="*/ 385417 h 623338"/>
                <a:gd name="connsiteX118" fmla="*/ 919412 w 1065825"/>
                <a:gd name="connsiteY118" fmla="*/ 400275 h 623338"/>
                <a:gd name="connsiteX119" fmla="*/ 946864 w 1065825"/>
                <a:gd name="connsiteY119" fmla="*/ 391714 h 623338"/>
                <a:gd name="connsiteX120" fmla="*/ 993701 w 1065825"/>
                <a:gd name="connsiteY120" fmla="*/ 395552 h 62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065825" h="623338">
                  <a:moveTo>
                    <a:pt x="993110" y="395749"/>
                  </a:moveTo>
                  <a:lnTo>
                    <a:pt x="1001868" y="383351"/>
                  </a:lnTo>
                  <a:lnTo>
                    <a:pt x="1018300" y="388172"/>
                  </a:lnTo>
                  <a:lnTo>
                    <a:pt x="1016627" y="371445"/>
                  </a:lnTo>
                  <a:lnTo>
                    <a:pt x="1036405" y="373806"/>
                  </a:lnTo>
                  <a:lnTo>
                    <a:pt x="1065825" y="359933"/>
                  </a:lnTo>
                  <a:lnTo>
                    <a:pt x="1062086" y="350093"/>
                  </a:lnTo>
                  <a:lnTo>
                    <a:pt x="1015053" y="341828"/>
                  </a:lnTo>
                  <a:lnTo>
                    <a:pt x="1007673" y="330315"/>
                  </a:lnTo>
                  <a:lnTo>
                    <a:pt x="987207" y="329528"/>
                  </a:lnTo>
                  <a:lnTo>
                    <a:pt x="985239" y="310144"/>
                  </a:lnTo>
                  <a:lnTo>
                    <a:pt x="969889" y="300993"/>
                  </a:lnTo>
                  <a:lnTo>
                    <a:pt x="954539" y="333857"/>
                  </a:lnTo>
                  <a:lnTo>
                    <a:pt x="920002" y="325002"/>
                  </a:lnTo>
                  <a:lnTo>
                    <a:pt x="916066" y="307980"/>
                  </a:lnTo>
                  <a:lnTo>
                    <a:pt x="883202" y="303552"/>
                  </a:lnTo>
                  <a:lnTo>
                    <a:pt x="948143" y="256125"/>
                  </a:lnTo>
                  <a:lnTo>
                    <a:pt x="931810" y="243924"/>
                  </a:lnTo>
                  <a:lnTo>
                    <a:pt x="912426" y="252090"/>
                  </a:lnTo>
                  <a:lnTo>
                    <a:pt x="905243" y="263800"/>
                  </a:lnTo>
                  <a:lnTo>
                    <a:pt x="886055" y="263209"/>
                  </a:lnTo>
                  <a:lnTo>
                    <a:pt x="871296" y="282101"/>
                  </a:lnTo>
                  <a:lnTo>
                    <a:pt x="808716" y="313686"/>
                  </a:lnTo>
                  <a:lnTo>
                    <a:pt x="807929" y="329036"/>
                  </a:lnTo>
                  <a:lnTo>
                    <a:pt x="781264" y="349010"/>
                  </a:lnTo>
                  <a:lnTo>
                    <a:pt x="783626" y="373806"/>
                  </a:lnTo>
                  <a:lnTo>
                    <a:pt x="745054" y="361113"/>
                  </a:lnTo>
                  <a:lnTo>
                    <a:pt x="750368" y="340352"/>
                  </a:lnTo>
                  <a:lnTo>
                    <a:pt x="733935" y="328249"/>
                  </a:lnTo>
                  <a:lnTo>
                    <a:pt x="664271" y="331102"/>
                  </a:lnTo>
                  <a:lnTo>
                    <a:pt x="651578" y="269802"/>
                  </a:lnTo>
                  <a:lnTo>
                    <a:pt x="620583" y="269408"/>
                  </a:lnTo>
                  <a:lnTo>
                    <a:pt x="626094" y="195808"/>
                  </a:lnTo>
                  <a:lnTo>
                    <a:pt x="605824" y="200826"/>
                  </a:lnTo>
                  <a:lnTo>
                    <a:pt x="590474" y="170816"/>
                  </a:lnTo>
                  <a:lnTo>
                    <a:pt x="572468" y="162157"/>
                  </a:lnTo>
                  <a:lnTo>
                    <a:pt x="553576" y="138738"/>
                  </a:lnTo>
                  <a:lnTo>
                    <a:pt x="523565" y="153891"/>
                  </a:lnTo>
                  <a:lnTo>
                    <a:pt x="443471" y="146807"/>
                  </a:lnTo>
                  <a:lnTo>
                    <a:pt x="373216" y="158811"/>
                  </a:lnTo>
                  <a:lnTo>
                    <a:pt x="318213" y="104201"/>
                  </a:lnTo>
                  <a:lnTo>
                    <a:pt x="312014" y="89540"/>
                  </a:lnTo>
                  <a:lnTo>
                    <a:pt x="279346" y="70452"/>
                  </a:lnTo>
                  <a:lnTo>
                    <a:pt x="263996" y="92000"/>
                  </a:lnTo>
                  <a:cubicBezTo>
                    <a:pt x="262225" y="94460"/>
                    <a:pt x="258683" y="97904"/>
                    <a:pt x="256125" y="99577"/>
                  </a:cubicBezTo>
                  <a:lnTo>
                    <a:pt x="247367" y="105284"/>
                  </a:lnTo>
                  <a:cubicBezTo>
                    <a:pt x="244809" y="106956"/>
                    <a:pt x="240185" y="107940"/>
                    <a:pt x="237233" y="107547"/>
                  </a:cubicBezTo>
                  <a:lnTo>
                    <a:pt x="203975" y="102627"/>
                  </a:lnTo>
                  <a:cubicBezTo>
                    <a:pt x="200925" y="102135"/>
                    <a:pt x="198071" y="99281"/>
                    <a:pt x="197579" y="96330"/>
                  </a:cubicBezTo>
                  <a:lnTo>
                    <a:pt x="195611" y="84030"/>
                  </a:lnTo>
                  <a:cubicBezTo>
                    <a:pt x="195119" y="80980"/>
                    <a:pt x="196694" y="76946"/>
                    <a:pt x="199153" y="75076"/>
                  </a:cubicBezTo>
                  <a:lnTo>
                    <a:pt x="199350" y="75076"/>
                  </a:lnTo>
                  <a:cubicBezTo>
                    <a:pt x="201810" y="73010"/>
                    <a:pt x="203286" y="69074"/>
                    <a:pt x="202696" y="66024"/>
                  </a:cubicBezTo>
                  <a:lnTo>
                    <a:pt x="201515" y="59726"/>
                  </a:lnTo>
                  <a:cubicBezTo>
                    <a:pt x="200925" y="56676"/>
                    <a:pt x="201613" y="52052"/>
                    <a:pt x="203089" y="49296"/>
                  </a:cubicBezTo>
                  <a:lnTo>
                    <a:pt x="212437" y="31388"/>
                  </a:lnTo>
                  <a:lnTo>
                    <a:pt x="176719" y="10528"/>
                  </a:lnTo>
                  <a:lnTo>
                    <a:pt x="177506" y="18302"/>
                  </a:lnTo>
                  <a:cubicBezTo>
                    <a:pt x="177802" y="21352"/>
                    <a:pt x="176522" y="25878"/>
                    <a:pt x="174751" y="28338"/>
                  </a:cubicBezTo>
                  <a:lnTo>
                    <a:pt x="171504" y="32864"/>
                  </a:lnTo>
                  <a:cubicBezTo>
                    <a:pt x="169733" y="35324"/>
                    <a:pt x="169733" y="39358"/>
                    <a:pt x="171504" y="41917"/>
                  </a:cubicBezTo>
                  <a:lnTo>
                    <a:pt x="178097" y="50969"/>
                  </a:lnTo>
                  <a:cubicBezTo>
                    <a:pt x="179868" y="53429"/>
                    <a:pt x="180852" y="57463"/>
                    <a:pt x="180163" y="60022"/>
                  </a:cubicBezTo>
                  <a:cubicBezTo>
                    <a:pt x="179474" y="62481"/>
                    <a:pt x="176719" y="63367"/>
                    <a:pt x="173964" y="62088"/>
                  </a:cubicBezTo>
                  <a:lnTo>
                    <a:pt x="173275" y="61793"/>
                  </a:lnTo>
                  <a:cubicBezTo>
                    <a:pt x="170520" y="60415"/>
                    <a:pt x="168749" y="61793"/>
                    <a:pt x="169241" y="64843"/>
                  </a:cubicBezTo>
                  <a:lnTo>
                    <a:pt x="172291" y="82161"/>
                  </a:lnTo>
                  <a:cubicBezTo>
                    <a:pt x="172783" y="85211"/>
                    <a:pt x="170717" y="87671"/>
                    <a:pt x="167667" y="87671"/>
                  </a:cubicBezTo>
                  <a:lnTo>
                    <a:pt x="152219" y="87671"/>
                  </a:lnTo>
                  <a:cubicBezTo>
                    <a:pt x="149168" y="87671"/>
                    <a:pt x="146413" y="85211"/>
                    <a:pt x="146118" y="82161"/>
                  </a:cubicBezTo>
                  <a:lnTo>
                    <a:pt x="143166" y="51461"/>
                  </a:lnTo>
                  <a:cubicBezTo>
                    <a:pt x="142871" y="48411"/>
                    <a:pt x="143461" y="43491"/>
                    <a:pt x="144445" y="40638"/>
                  </a:cubicBezTo>
                  <a:lnTo>
                    <a:pt x="158614" y="0"/>
                  </a:lnTo>
                  <a:lnTo>
                    <a:pt x="158614" y="0"/>
                  </a:lnTo>
                  <a:lnTo>
                    <a:pt x="0" y="42999"/>
                  </a:lnTo>
                  <a:lnTo>
                    <a:pt x="0" y="326871"/>
                  </a:lnTo>
                  <a:lnTo>
                    <a:pt x="69861" y="324018"/>
                  </a:lnTo>
                  <a:lnTo>
                    <a:pt x="65335" y="277772"/>
                  </a:lnTo>
                  <a:lnTo>
                    <a:pt x="121125" y="236052"/>
                  </a:lnTo>
                  <a:lnTo>
                    <a:pt x="143068" y="251402"/>
                  </a:lnTo>
                  <a:lnTo>
                    <a:pt x="156942" y="243825"/>
                  </a:lnTo>
                  <a:lnTo>
                    <a:pt x="139132" y="217849"/>
                  </a:lnTo>
                  <a:lnTo>
                    <a:pt x="164518" y="212437"/>
                  </a:lnTo>
                  <a:lnTo>
                    <a:pt x="209977" y="245006"/>
                  </a:lnTo>
                  <a:lnTo>
                    <a:pt x="251697" y="249532"/>
                  </a:lnTo>
                  <a:lnTo>
                    <a:pt x="252779" y="310242"/>
                  </a:lnTo>
                  <a:lnTo>
                    <a:pt x="282200" y="330020"/>
                  </a:lnTo>
                  <a:lnTo>
                    <a:pt x="329823" y="330020"/>
                  </a:lnTo>
                  <a:lnTo>
                    <a:pt x="329823" y="319000"/>
                  </a:lnTo>
                  <a:lnTo>
                    <a:pt x="368493" y="333562"/>
                  </a:lnTo>
                  <a:lnTo>
                    <a:pt x="376758" y="373609"/>
                  </a:lnTo>
                  <a:lnTo>
                    <a:pt x="394666" y="385319"/>
                  </a:lnTo>
                  <a:lnTo>
                    <a:pt x="402636" y="419462"/>
                  </a:lnTo>
                  <a:lnTo>
                    <a:pt x="495817" y="485781"/>
                  </a:lnTo>
                  <a:lnTo>
                    <a:pt x="522286" y="490504"/>
                  </a:lnTo>
                  <a:lnTo>
                    <a:pt x="596575" y="544523"/>
                  </a:lnTo>
                  <a:lnTo>
                    <a:pt x="615959" y="543343"/>
                  </a:lnTo>
                  <a:lnTo>
                    <a:pt x="659942" y="562530"/>
                  </a:lnTo>
                  <a:lnTo>
                    <a:pt x="655219" y="607694"/>
                  </a:lnTo>
                  <a:lnTo>
                    <a:pt x="683753" y="607694"/>
                  </a:lnTo>
                  <a:lnTo>
                    <a:pt x="701268" y="623338"/>
                  </a:lnTo>
                  <a:lnTo>
                    <a:pt x="727835" y="618320"/>
                  </a:lnTo>
                  <a:lnTo>
                    <a:pt x="766997" y="552395"/>
                  </a:lnTo>
                  <a:lnTo>
                    <a:pt x="752237" y="532322"/>
                  </a:lnTo>
                  <a:lnTo>
                    <a:pt x="754992" y="496998"/>
                  </a:lnTo>
                  <a:lnTo>
                    <a:pt x="728720" y="490504"/>
                  </a:lnTo>
                  <a:lnTo>
                    <a:pt x="724981" y="476335"/>
                  </a:lnTo>
                  <a:lnTo>
                    <a:pt x="704810" y="469250"/>
                  </a:lnTo>
                  <a:lnTo>
                    <a:pt x="719078" y="443176"/>
                  </a:lnTo>
                  <a:lnTo>
                    <a:pt x="775065" y="450654"/>
                  </a:lnTo>
                  <a:lnTo>
                    <a:pt x="797007" y="401849"/>
                  </a:lnTo>
                  <a:lnTo>
                    <a:pt x="821508" y="400373"/>
                  </a:lnTo>
                  <a:lnTo>
                    <a:pt x="818261" y="376069"/>
                  </a:lnTo>
                  <a:lnTo>
                    <a:pt x="834201" y="354718"/>
                  </a:lnTo>
                  <a:lnTo>
                    <a:pt x="852503" y="370166"/>
                  </a:lnTo>
                  <a:lnTo>
                    <a:pt x="893730" y="340450"/>
                  </a:lnTo>
                  <a:lnTo>
                    <a:pt x="917837" y="358949"/>
                  </a:lnTo>
                  <a:lnTo>
                    <a:pt x="889106" y="385417"/>
                  </a:lnTo>
                  <a:lnTo>
                    <a:pt x="919412" y="400275"/>
                  </a:lnTo>
                  <a:lnTo>
                    <a:pt x="946864" y="391714"/>
                  </a:lnTo>
                  <a:lnTo>
                    <a:pt x="993701" y="395552"/>
                  </a:lnTo>
                  <a:close/>
                </a:path>
              </a:pathLst>
            </a:custGeom>
            <a:grpFill/>
            <a:ln w="9835" cap="flat">
              <a:noFill/>
              <a:prstDash val="solid"/>
              <a:miter/>
            </a:ln>
          </p:spPr>
          <p:txBody>
            <a:bodyPr rtlCol="0" anchor="ctr"/>
            <a:lstStyle/>
            <a:p>
              <a:endParaRPr lang="en-IN"/>
            </a:p>
          </p:txBody>
        </p:sp>
        <p:grpSp>
          <p:nvGrpSpPr>
            <p:cNvPr id="466" name="Graphic 470">
              <a:extLst>
                <a:ext uri="{FF2B5EF4-FFF2-40B4-BE49-F238E27FC236}">
                  <a16:creationId xmlns:a16="http://schemas.microsoft.com/office/drawing/2014/main" id="{70C6BC5F-D085-AF16-2DA3-981D1B4C23A8}"/>
                </a:ext>
              </a:extLst>
            </p:cNvPr>
            <p:cNvGrpSpPr/>
            <p:nvPr/>
          </p:nvGrpSpPr>
          <p:grpSpPr>
            <a:xfrm>
              <a:off x="15746826" y="1585143"/>
              <a:ext cx="1211429" cy="1090093"/>
              <a:chOff x="15746826" y="1585143"/>
              <a:chExt cx="1211429" cy="1090093"/>
            </a:xfrm>
            <a:grpFill/>
          </p:grpSpPr>
          <p:sp>
            <p:nvSpPr>
              <p:cNvPr id="839" name="Freeform: Shape 838">
                <a:extLst>
                  <a:ext uri="{FF2B5EF4-FFF2-40B4-BE49-F238E27FC236}">
                    <a16:creationId xmlns:a16="http://schemas.microsoft.com/office/drawing/2014/main" id="{BCAA3065-A47D-39DD-CD05-71451156F4C3}"/>
                  </a:ext>
                </a:extLst>
              </p:cNvPr>
              <p:cNvSpPr/>
              <p:nvPr/>
            </p:nvSpPr>
            <p:spPr>
              <a:xfrm>
                <a:off x="15746826" y="2560430"/>
                <a:ext cx="50479" cy="23484"/>
              </a:xfrm>
              <a:custGeom>
                <a:avLst/>
                <a:gdLst>
                  <a:gd name="connsiteX0" fmla="*/ 45833 w 50479"/>
                  <a:gd name="connsiteY0" fmla="*/ 4908 h 23484"/>
                  <a:gd name="connsiteX1" fmla="*/ 2932 w 50479"/>
                  <a:gd name="connsiteY1" fmla="*/ 184 h 23484"/>
                  <a:gd name="connsiteX2" fmla="*/ 17986 w 50479"/>
                  <a:gd name="connsiteY2" fmla="*/ 20848 h 23484"/>
                  <a:gd name="connsiteX3" fmla="*/ 47308 w 50479"/>
                  <a:gd name="connsiteY3" fmla="*/ 17699 h 23484"/>
                  <a:gd name="connsiteX4" fmla="*/ 45734 w 50479"/>
                  <a:gd name="connsiteY4" fmla="*/ 5006 h 23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79" h="23484">
                    <a:moveTo>
                      <a:pt x="45833" y="4908"/>
                    </a:moveTo>
                    <a:cubicBezTo>
                      <a:pt x="40814" y="-3259"/>
                      <a:pt x="29400" y="1562"/>
                      <a:pt x="2932" y="184"/>
                    </a:cubicBezTo>
                    <a:cubicBezTo>
                      <a:pt x="-4546" y="184"/>
                      <a:pt x="2932" y="5596"/>
                      <a:pt x="17986" y="20848"/>
                    </a:cubicBezTo>
                    <a:cubicBezTo>
                      <a:pt x="22906" y="25866"/>
                      <a:pt x="28023" y="23111"/>
                      <a:pt x="47308" y="17699"/>
                    </a:cubicBezTo>
                    <a:cubicBezTo>
                      <a:pt x="54885" y="15534"/>
                      <a:pt x="46619" y="7171"/>
                      <a:pt x="45734" y="5006"/>
                    </a:cubicBezTo>
                    <a:close/>
                  </a:path>
                </a:pathLst>
              </a:custGeom>
              <a:grpFill/>
              <a:ln w="9835" cap="flat">
                <a:noFill/>
                <a:prstDash val="solid"/>
                <a:miter/>
              </a:ln>
            </p:spPr>
            <p:txBody>
              <a:bodyPr rtlCol="0" anchor="ctr"/>
              <a:lstStyle/>
              <a:p>
                <a:endParaRPr lang="en-IN"/>
              </a:p>
            </p:txBody>
          </p:sp>
          <p:sp>
            <p:nvSpPr>
              <p:cNvPr id="840" name="Freeform: Shape 839">
                <a:extLst>
                  <a:ext uri="{FF2B5EF4-FFF2-40B4-BE49-F238E27FC236}">
                    <a16:creationId xmlns:a16="http://schemas.microsoft.com/office/drawing/2014/main" id="{D7A67823-408B-00DF-D8BE-430D85DF3DEF}"/>
                  </a:ext>
                </a:extLst>
              </p:cNvPr>
              <p:cNvSpPr/>
              <p:nvPr/>
            </p:nvSpPr>
            <p:spPr>
              <a:xfrm>
                <a:off x="15793786" y="2598230"/>
                <a:ext cx="26431" cy="23260"/>
              </a:xfrm>
              <a:custGeom>
                <a:avLst/>
                <a:gdLst>
                  <a:gd name="connsiteX0" fmla="*/ 20519 w 26431"/>
                  <a:gd name="connsiteY0" fmla="*/ 562 h 23260"/>
                  <a:gd name="connsiteX1" fmla="*/ 2316 w 26431"/>
                  <a:gd name="connsiteY1" fmla="*/ 14928 h 23260"/>
                  <a:gd name="connsiteX2" fmla="*/ 26423 w 26431"/>
                  <a:gd name="connsiteY2" fmla="*/ 19553 h 23260"/>
                  <a:gd name="connsiteX3" fmla="*/ 20519 w 26431"/>
                  <a:gd name="connsiteY3" fmla="*/ 661 h 23260"/>
                </a:gdLst>
                <a:ahLst/>
                <a:cxnLst>
                  <a:cxn ang="0">
                    <a:pos x="connsiteX0" y="connsiteY0"/>
                  </a:cxn>
                  <a:cxn ang="0">
                    <a:pos x="connsiteX1" y="connsiteY1"/>
                  </a:cxn>
                  <a:cxn ang="0">
                    <a:pos x="connsiteX2" y="connsiteY2"/>
                  </a:cxn>
                  <a:cxn ang="0">
                    <a:pos x="connsiteX3" y="connsiteY3"/>
                  </a:cxn>
                </a:cxnLst>
                <a:rect l="l" t="t" r="r" b="b"/>
                <a:pathLst>
                  <a:path w="26431" h="23260">
                    <a:moveTo>
                      <a:pt x="20519" y="562"/>
                    </a:moveTo>
                    <a:cubicBezTo>
                      <a:pt x="4284" y="9025"/>
                      <a:pt x="-4474" y="12075"/>
                      <a:pt x="2316" y="14928"/>
                    </a:cubicBezTo>
                    <a:cubicBezTo>
                      <a:pt x="13533" y="18471"/>
                      <a:pt x="26816" y="28704"/>
                      <a:pt x="26423" y="19553"/>
                    </a:cubicBezTo>
                    <a:cubicBezTo>
                      <a:pt x="25242" y="12075"/>
                      <a:pt x="28292" y="-3373"/>
                      <a:pt x="20519" y="661"/>
                    </a:cubicBezTo>
                    <a:close/>
                  </a:path>
                </a:pathLst>
              </a:custGeom>
              <a:grpFill/>
              <a:ln w="9835" cap="flat">
                <a:noFill/>
                <a:prstDash val="solid"/>
                <a:miter/>
              </a:ln>
            </p:spPr>
            <p:txBody>
              <a:bodyPr rtlCol="0" anchor="ctr"/>
              <a:lstStyle/>
              <a:p>
                <a:endParaRPr lang="en-IN"/>
              </a:p>
            </p:txBody>
          </p:sp>
          <p:sp>
            <p:nvSpPr>
              <p:cNvPr id="841" name="Freeform: Shape 840">
                <a:extLst>
                  <a:ext uri="{FF2B5EF4-FFF2-40B4-BE49-F238E27FC236}">
                    <a16:creationId xmlns:a16="http://schemas.microsoft.com/office/drawing/2014/main" id="{0465CA46-BF4F-E5D9-B718-EE1177ECDFC0}"/>
                  </a:ext>
                </a:extLst>
              </p:cNvPr>
              <p:cNvSpPr/>
              <p:nvPr/>
            </p:nvSpPr>
            <p:spPr>
              <a:xfrm>
                <a:off x="16894105" y="2517920"/>
                <a:ext cx="64150" cy="56637"/>
              </a:xfrm>
              <a:custGeom>
                <a:avLst/>
                <a:gdLst>
                  <a:gd name="connsiteX0" fmla="*/ 64054 w 64150"/>
                  <a:gd name="connsiteY0" fmla="*/ 4714 h 56637"/>
                  <a:gd name="connsiteX1" fmla="*/ 47424 w 64150"/>
                  <a:gd name="connsiteY1" fmla="*/ 1566 h 56637"/>
                  <a:gd name="connsiteX2" fmla="*/ 36601 w 64150"/>
                  <a:gd name="connsiteY2" fmla="*/ 16030 h 56637"/>
                  <a:gd name="connsiteX3" fmla="*/ 17906 w 64150"/>
                  <a:gd name="connsiteY3" fmla="*/ 23705 h 56637"/>
                  <a:gd name="connsiteX4" fmla="*/ 588 w 64150"/>
                  <a:gd name="connsiteY4" fmla="*/ 53814 h 56637"/>
                  <a:gd name="connsiteX5" fmla="*/ 59331 w 64150"/>
                  <a:gd name="connsiteY5" fmla="*/ 20950 h 56637"/>
                  <a:gd name="connsiteX6" fmla="*/ 64054 w 64150"/>
                  <a:gd name="connsiteY6" fmla="*/ 4714 h 5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50" h="56637">
                    <a:moveTo>
                      <a:pt x="64054" y="4714"/>
                    </a:moveTo>
                    <a:cubicBezTo>
                      <a:pt x="64054" y="-3551"/>
                      <a:pt x="47424" y="1566"/>
                      <a:pt x="47424" y="1566"/>
                    </a:cubicBezTo>
                    <a:cubicBezTo>
                      <a:pt x="39455" y="2746"/>
                      <a:pt x="38471" y="12685"/>
                      <a:pt x="36601" y="16030"/>
                    </a:cubicBezTo>
                    <a:cubicBezTo>
                      <a:pt x="33552" y="23803"/>
                      <a:pt x="23515" y="22130"/>
                      <a:pt x="17906" y="23705"/>
                    </a:cubicBezTo>
                    <a:cubicBezTo>
                      <a:pt x="10821" y="24787"/>
                      <a:pt x="10329" y="29707"/>
                      <a:pt x="588" y="53814"/>
                    </a:cubicBezTo>
                    <a:cubicBezTo>
                      <a:pt x="-2462" y="61292"/>
                      <a:pt x="4819" y="55093"/>
                      <a:pt x="59331" y="20950"/>
                    </a:cubicBezTo>
                    <a:cubicBezTo>
                      <a:pt x="66021" y="16817"/>
                      <a:pt x="63660" y="7568"/>
                      <a:pt x="64054" y="4714"/>
                    </a:cubicBezTo>
                    <a:close/>
                  </a:path>
                </a:pathLst>
              </a:custGeom>
              <a:grpFill/>
              <a:ln w="9835" cap="flat">
                <a:noFill/>
                <a:prstDash val="solid"/>
                <a:miter/>
              </a:ln>
            </p:spPr>
            <p:txBody>
              <a:bodyPr rtlCol="0" anchor="ctr"/>
              <a:lstStyle/>
              <a:p>
                <a:endParaRPr lang="en-IN"/>
              </a:p>
            </p:txBody>
          </p:sp>
          <p:sp>
            <p:nvSpPr>
              <p:cNvPr id="842" name="Freeform: Shape 841">
                <a:extLst>
                  <a:ext uri="{FF2B5EF4-FFF2-40B4-BE49-F238E27FC236}">
                    <a16:creationId xmlns:a16="http://schemas.microsoft.com/office/drawing/2014/main" id="{E0EAC0EC-5FBA-843F-6114-001F110FC524}"/>
                  </a:ext>
                </a:extLst>
              </p:cNvPr>
              <p:cNvSpPr/>
              <p:nvPr/>
            </p:nvSpPr>
            <p:spPr>
              <a:xfrm>
                <a:off x="16818466" y="2568522"/>
                <a:ext cx="31960" cy="17718"/>
              </a:xfrm>
              <a:custGeom>
                <a:avLst/>
                <a:gdLst>
                  <a:gd name="connsiteX0" fmla="*/ 25947 w 31960"/>
                  <a:gd name="connsiteY0" fmla="*/ 1244 h 17718"/>
                  <a:gd name="connsiteX1" fmla="*/ 5776 w 31960"/>
                  <a:gd name="connsiteY1" fmla="*/ 4196 h 17718"/>
                  <a:gd name="connsiteX2" fmla="*/ 3415 w 31960"/>
                  <a:gd name="connsiteY2" fmla="*/ 17676 h 17718"/>
                  <a:gd name="connsiteX3" fmla="*/ 26735 w 31960"/>
                  <a:gd name="connsiteY3" fmla="*/ 15413 h 17718"/>
                  <a:gd name="connsiteX4" fmla="*/ 31949 w 31960"/>
                  <a:gd name="connsiteY4" fmla="*/ 9313 h 17718"/>
                  <a:gd name="connsiteX5" fmla="*/ 31949 w 31960"/>
                  <a:gd name="connsiteY5" fmla="*/ 7345 h 17718"/>
                  <a:gd name="connsiteX6" fmla="*/ 25947 w 31960"/>
                  <a:gd name="connsiteY6" fmla="*/ 1146 h 1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60" h="17718">
                    <a:moveTo>
                      <a:pt x="25947" y="1244"/>
                    </a:moveTo>
                    <a:cubicBezTo>
                      <a:pt x="19649" y="1342"/>
                      <a:pt x="9908" y="-3085"/>
                      <a:pt x="5776" y="4196"/>
                    </a:cubicBezTo>
                    <a:cubicBezTo>
                      <a:pt x="4300" y="7935"/>
                      <a:pt x="-4851" y="18464"/>
                      <a:pt x="3415" y="17676"/>
                    </a:cubicBezTo>
                    <a:lnTo>
                      <a:pt x="26735" y="15413"/>
                    </a:lnTo>
                    <a:cubicBezTo>
                      <a:pt x="29784" y="15118"/>
                      <a:pt x="32146" y="12363"/>
                      <a:pt x="31949" y="9313"/>
                    </a:cubicBezTo>
                    <a:lnTo>
                      <a:pt x="31949" y="7345"/>
                    </a:lnTo>
                    <a:cubicBezTo>
                      <a:pt x="31654" y="4295"/>
                      <a:pt x="28997" y="1539"/>
                      <a:pt x="25947" y="1146"/>
                    </a:cubicBezTo>
                    <a:close/>
                  </a:path>
                </a:pathLst>
              </a:custGeom>
              <a:grpFill/>
              <a:ln w="9835" cap="flat">
                <a:noFill/>
                <a:prstDash val="solid"/>
                <a:miter/>
              </a:ln>
            </p:spPr>
            <p:txBody>
              <a:bodyPr rtlCol="0" anchor="ctr"/>
              <a:lstStyle/>
              <a:p>
                <a:endParaRPr lang="en-IN"/>
              </a:p>
            </p:txBody>
          </p:sp>
          <p:sp>
            <p:nvSpPr>
              <p:cNvPr id="843" name="Freeform: Shape 842">
                <a:extLst>
                  <a:ext uri="{FF2B5EF4-FFF2-40B4-BE49-F238E27FC236}">
                    <a16:creationId xmlns:a16="http://schemas.microsoft.com/office/drawing/2014/main" id="{A9D55A7F-3135-3788-A10A-335029FB2DE9}"/>
                  </a:ext>
                </a:extLst>
              </p:cNvPr>
              <p:cNvSpPr/>
              <p:nvPr/>
            </p:nvSpPr>
            <p:spPr>
              <a:xfrm>
                <a:off x="16774537" y="2584844"/>
                <a:ext cx="22602" cy="19187"/>
              </a:xfrm>
              <a:custGeom>
                <a:avLst/>
                <a:gdLst>
                  <a:gd name="connsiteX0" fmla="*/ 7985 w 22602"/>
                  <a:gd name="connsiteY0" fmla="*/ 1256 h 19187"/>
                  <a:gd name="connsiteX1" fmla="*/ 113 w 22602"/>
                  <a:gd name="connsiteY1" fmla="*/ 15228 h 19187"/>
                  <a:gd name="connsiteX2" fmla="*/ 14380 w 22602"/>
                  <a:gd name="connsiteY2" fmla="*/ 15818 h 19187"/>
                  <a:gd name="connsiteX3" fmla="*/ 22350 w 22602"/>
                  <a:gd name="connsiteY3" fmla="*/ 4700 h 19187"/>
                  <a:gd name="connsiteX4" fmla="*/ 8082 w 22602"/>
                  <a:gd name="connsiteY4" fmla="*/ 1157 h 19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2" h="19187">
                    <a:moveTo>
                      <a:pt x="7985" y="1256"/>
                    </a:moveTo>
                    <a:cubicBezTo>
                      <a:pt x="113" y="2141"/>
                      <a:pt x="1097" y="12473"/>
                      <a:pt x="113" y="15228"/>
                    </a:cubicBezTo>
                    <a:cubicBezTo>
                      <a:pt x="-1265" y="23395"/>
                      <a:pt x="10346" y="16507"/>
                      <a:pt x="14380" y="15818"/>
                    </a:cubicBezTo>
                    <a:cubicBezTo>
                      <a:pt x="21170" y="13654"/>
                      <a:pt x="21760" y="5782"/>
                      <a:pt x="22350" y="4700"/>
                    </a:cubicBezTo>
                    <a:cubicBezTo>
                      <a:pt x="24515" y="-3271"/>
                      <a:pt x="12117" y="1354"/>
                      <a:pt x="8082" y="1157"/>
                    </a:cubicBezTo>
                    <a:close/>
                  </a:path>
                </a:pathLst>
              </a:custGeom>
              <a:grpFill/>
              <a:ln w="9835" cap="flat">
                <a:noFill/>
                <a:prstDash val="solid"/>
                <a:miter/>
              </a:ln>
            </p:spPr>
            <p:txBody>
              <a:bodyPr rtlCol="0" anchor="ctr"/>
              <a:lstStyle/>
              <a:p>
                <a:endParaRPr lang="en-IN"/>
              </a:p>
            </p:txBody>
          </p:sp>
          <p:sp>
            <p:nvSpPr>
              <p:cNvPr id="844" name="Freeform: Shape 843">
                <a:extLst>
                  <a:ext uri="{FF2B5EF4-FFF2-40B4-BE49-F238E27FC236}">
                    <a16:creationId xmlns:a16="http://schemas.microsoft.com/office/drawing/2014/main" id="{9B483AF6-85AE-B961-A442-8FF68A51191A}"/>
                  </a:ext>
                </a:extLst>
              </p:cNvPr>
              <p:cNvSpPr/>
              <p:nvPr/>
            </p:nvSpPr>
            <p:spPr>
              <a:xfrm>
                <a:off x="16667165" y="2609917"/>
                <a:ext cx="24500" cy="16644"/>
              </a:xfrm>
              <a:custGeom>
                <a:avLst/>
                <a:gdLst>
                  <a:gd name="connsiteX0" fmla="*/ 17946 w 24500"/>
                  <a:gd name="connsiteY0" fmla="*/ 782 h 16644"/>
                  <a:gd name="connsiteX1" fmla="*/ 1513 w 24500"/>
                  <a:gd name="connsiteY1" fmla="*/ 9047 h 16644"/>
                  <a:gd name="connsiteX2" fmla="*/ 8499 w 24500"/>
                  <a:gd name="connsiteY2" fmla="*/ 16230 h 16644"/>
                  <a:gd name="connsiteX3" fmla="*/ 22865 w 24500"/>
                  <a:gd name="connsiteY3" fmla="*/ 9342 h 16644"/>
                  <a:gd name="connsiteX4" fmla="*/ 17946 w 24500"/>
                  <a:gd name="connsiteY4" fmla="*/ 782 h 16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00" h="16644">
                    <a:moveTo>
                      <a:pt x="17946" y="782"/>
                    </a:moveTo>
                    <a:cubicBezTo>
                      <a:pt x="10467" y="-3154"/>
                      <a:pt x="1513" y="9047"/>
                      <a:pt x="1513" y="9047"/>
                    </a:cubicBezTo>
                    <a:cubicBezTo>
                      <a:pt x="-3997" y="14262"/>
                      <a:pt x="7220" y="15541"/>
                      <a:pt x="8499" y="16230"/>
                    </a:cubicBezTo>
                    <a:cubicBezTo>
                      <a:pt x="15977" y="18493"/>
                      <a:pt x="20700" y="10818"/>
                      <a:pt x="22865" y="9342"/>
                    </a:cubicBezTo>
                    <a:cubicBezTo>
                      <a:pt x="28178" y="4324"/>
                      <a:pt x="18929" y="1668"/>
                      <a:pt x="17946" y="782"/>
                    </a:cubicBezTo>
                    <a:close/>
                  </a:path>
                </a:pathLst>
              </a:custGeom>
              <a:grpFill/>
              <a:ln w="9835" cap="flat">
                <a:noFill/>
                <a:prstDash val="solid"/>
                <a:miter/>
              </a:ln>
            </p:spPr>
            <p:txBody>
              <a:bodyPr rtlCol="0" anchor="ctr"/>
              <a:lstStyle/>
              <a:p>
                <a:endParaRPr lang="en-IN"/>
              </a:p>
            </p:txBody>
          </p:sp>
          <p:sp>
            <p:nvSpPr>
              <p:cNvPr id="845" name="Freeform: Shape 844">
                <a:extLst>
                  <a:ext uri="{FF2B5EF4-FFF2-40B4-BE49-F238E27FC236}">
                    <a16:creationId xmlns:a16="http://schemas.microsoft.com/office/drawing/2014/main" id="{3EA21F6B-B7B5-6053-E07C-2792B1B3CDCE}"/>
                  </a:ext>
                </a:extLst>
              </p:cNvPr>
              <p:cNvSpPr/>
              <p:nvPr/>
            </p:nvSpPr>
            <p:spPr>
              <a:xfrm>
                <a:off x="16505055" y="2609928"/>
                <a:ext cx="79192" cy="35706"/>
              </a:xfrm>
              <a:custGeom>
                <a:avLst/>
                <a:gdLst>
                  <a:gd name="connsiteX0" fmla="*/ 69064 w 79192"/>
                  <a:gd name="connsiteY0" fmla="*/ 278 h 35706"/>
                  <a:gd name="connsiteX1" fmla="*/ 51451 w 79192"/>
                  <a:gd name="connsiteY1" fmla="*/ 9331 h 35706"/>
                  <a:gd name="connsiteX2" fmla="*/ 7468 w 79192"/>
                  <a:gd name="connsiteY2" fmla="*/ 23007 h 35706"/>
                  <a:gd name="connsiteX3" fmla="*/ 580 w 79192"/>
                  <a:gd name="connsiteY3" fmla="*/ 29797 h 35706"/>
                  <a:gd name="connsiteX4" fmla="*/ 187 w 79192"/>
                  <a:gd name="connsiteY4" fmla="*/ 31273 h 35706"/>
                  <a:gd name="connsiteX5" fmla="*/ 4221 w 79192"/>
                  <a:gd name="connsiteY5" fmla="*/ 35602 h 35706"/>
                  <a:gd name="connsiteX6" fmla="*/ 58831 w 79192"/>
                  <a:gd name="connsiteY6" fmla="*/ 25369 h 35706"/>
                  <a:gd name="connsiteX7" fmla="*/ 78018 w 79192"/>
                  <a:gd name="connsiteY7" fmla="*/ 7362 h 35706"/>
                  <a:gd name="connsiteX8" fmla="*/ 68965 w 79192"/>
                  <a:gd name="connsiteY8" fmla="*/ 179 h 3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192" h="35706">
                    <a:moveTo>
                      <a:pt x="69064" y="278"/>
                    </a:moveTo>
                    <a:cubicBezTo>
                      <a:pt x="61094" y="-1592"/>
                      <a:pt x="55879" y="6477"/>
                      <a:pt x="51451" y="9331"/>
                    </a:cubicBezTo>
                    <a:cubicBezTo>
                      <a:pt x="45843" y="14053"/>
                      <a:pt x="41709" y="14349"/>
                      <a:pt x="7468" y="23007"/>
                    </a:cubicBezTo>
                    <a:cubicBezTo>
                      <a:pt x="4516" y="23795"/>
                      <a:pt x="1466" y="26845"/>
                      <a:pt x="580" y="29797"/>
                    </a:cubicBezTo>
                    <a:lnTo>
                      <a:pt x="187" y="31273"/>
                    </a:lnTo>
                    <a:cubicBezTo>
                      <a:pt x="-601" y="34225"/>
                      <a:pt x="1170" y="36192"/>
                      <a:pt x="4221" y="35602"/>
                    </a:cubicBezTo>
                    <a:lnTo>
                      <a:pt x="58831" y="25369"/>
                    </a:lnTo>
                    <a:cubicBezTo>
                      <a:pt x="66112" y="23991"/>
                      <a:pt x="69753" y="17596"/>
                      <a:pt x="78018" y="7362"/>
                    </a:cubicBezTo>
                    <a:cubicBezTo>
                      <a:pt x="82937" y="1262"/>
                      <a:pt x="70933" y="1065"/>
                      <a:pt x="68965" y="179"/>
                    </a:cubicBezTo>
                    <a:close/>
                  </a:path>
                </a:pathLst>
              </a:custGeom>
              <a:grpFill/>
              <a:ln w="9835" cap="flat">
                <a:noFill/>
                <a:prstDash val="solid"/>
                <a:miter/>
              </a:ln>
            </p:spPr>
            <p:txBody>
              <a:bodyPr rtlCol="0" anchor="ctr"/>
              <a:lstStyle/>
              <a:p>
                <a:endParaRPr lang="en-IN"/>
              </a:p>
            </p:txBody>
          </p:sp>
          <p:sp>
            <p:nvSpPr>
              <p:cNvPr id="846" name="Freeform: Shape 845">
                <a:extLst>
                  <a:ext uri="{FF2B5EF4-FFF2-40B4-BE49-F238E27FC236}">
                    <a16:creationId xmlns:a16="http://schemas.microsoft.com/office/drawing/2014/main" id="{F90AEBAC-A6AB-D957-801C-0FAEBAB5824D}"/>
                  </a:ext>
                </a:extLst>
              </p:cNvPr>
              <p:cNvSpPr/>
              <p:nvPr/>
            </p:nvSpPr>
            <p:spPr>
              <a:xfrm>
                <a:off x="16593768" y="2626076"/>
                <a:ext cx="52135" cy="15529"/>
              </a:xfrm>
              <a:custGeom>
                <a:avLst/>
                <a:gdLst>
                  <a:gd name="connsiteX0" fmla="*/ 50212 w 52135"/>
                  <a:gd name="connsiteY0" fmla="*/ 10895 h 15529"/>
                  <a:gd name="connsiteX1" fmla="*/ 18627 w 52135"/>
                  <a:gd name="connsiteY1" fmla="*/ 1547 h 15529"/>
                  <a:gd name="connsiteX2" fmla="*/ 2588 w 52135"/>
                  <a:gd name="connsiteY2" fmla="*/ 15519 h 15529"/>
                  <a:gd name="connsiteX3" fmla="*/ 50114 w 52135"/>
                  <a:gd name="connsiteY3" fmla="*/ 10993 h 15529"/>
                </a:gdLst>
                <a:ahLst/>
                <a:cxnLst>
                  <a:cxn ang="0">
                    <a:pos x="connsiteX0" y="connsiteY0"/>
                  </a:cxn>
                  <a:cxn ang="0">
                    <a:pos x="connsiteX1" y="connsiteY1"/>
                  </a:cxn>
                  <a:cxn ang="0">
                    <a:pos x="connsiteX2" y="connsiteY2"/>
                  </a:cxn>
                  <a:cxn ang="0">
                    <a:pos x="connsiteX3" y="connsiteY3"/>
                  </a:cxn>
                </a:cxnLst>
                <a:rect l="l" t="t" r="r" b="b"/>
                <a:pathLst>
                  <a:path w="52135" h="15529">
                    <a:moveTo>
                      <a:pt x="50212" y="10895"/>
                    </a:moveTo>
                    <a:cubicBezTo>
                      <a:pt x="29450" y="1350"/>
                      <a:pt x="24629" y="-2389"/>
                      <a:pt x="18627" y="1547"/>
                    </a:cubicBezTo>
                    <a:cubicBezTo>
                      <a:pt x="5836" y="10009"/>
                      <a:pt x="-5185" y="15814"/>
                      <a:pt x="2588" y="15519"/>
                    </a:cubicBezTo>
                    <a:cubicBezTo>
                      <a:pt x="41061" y="13846"/>
                      <a:pt x="58379" y="14732"/>
                      <a:pt x="50114" y="10993"/>
                    </a:cubicBezTo>
                    <a:close/>
                  </a:path>
                </a:pathLst>
              </a:custGeom>
              <a:grpFill/>
              <a:ln w="9835" cap="flat">
                <a:noFill/>
                <a:prstDash val="solid"/>
                <a:miter/>
              </a:ln>
            </p:spPr>
            <p:txBody>
              <a:bodyPr rtlCol="0" anchor="ctr"/>
              <a:lstStyle/>
              <a:p>
                <a:endParaRPr lang="en-IN"/>
              </a:p>
            </p:txBody>
          </p:sp>
          <p:sp>
            <p:nvSpPr>
              <p:cNvPr id="847" name="Freeform: Shape 846">
                <a:extLst>
                  <a:ext uri="{FF2B5EF4-FFF2-40B4-BE49-F238E27FC236}">
                    <a16:creationId xmlns:a16="http://schemas.microsoft.com/office/drawing/2014/main" id="{9097E3F9-FA6F-219C-A704-8869F93A471B}"/>
                  </a:ext>
                </a:extLst>
              </p:cNvPr>
              <p:cNvSpPr/>
              <p:nvPr/>
            </p:nvSpPr>
            <p:spPr>
              <a:xfrm>
                <a:off x="16400952" y="2645298"/>
                <a:ext cx="38044" cy="29938"/>
              </a:xfrm>
              <a:custGeom>
                <a:avLst/>
                <a:gdLst>
                  <a:gd name="connsiteX0" fmla="*/ 32657 w 38044"/>
                  <a:gd name="connsiteY0" fmla="*/ 10761 h 29938"/>
                  <a:gd name="connsiteX1" fmla="*/ 28623 w 38044"/>
                  <a:gd name="connsiteY1" fmla="*/ 10761 h 29938"/>
                  <a:gd name="connsiteX2" fmla="*/ 22227 w 38044"/>
                  <a:gd name="connsiteY2" fmla="*/ 5251 h 29938"/>
                  <a:gd name="connsiteX3" fmla="*/ 22227 w 38044"/>
                  <a:gd name="connsiteY3" fmla="*/ 4759 h 29938"/>
                  <a:gd name="connsiteX4" fmla="*/ 12093 w 38044"/>
                  <a:gd name="connsiteY4" fmla="*/ 528 h 29938"/>
                  <a:gd name="connsiteX5" fmla="*/ 187 w 38044"/>
                  <a:gd name="connsiteY5" fmla="*/ 25815 h 29938"/>
                  <a:gd name="connsiteX6" fmla="*/ 4123 w 38044"/>
                  <a:gd name="connsiteY6" fmla="*/ 29751 h 29938"/>
                  <a:gd name="connsiteX7" fmla="*/ 32756 w 38044"/>
                  <a:gd name="connsiteY7" fmla="*/ 21683 h 29938"/>
                  <a:gd name="connsiteX8" fmla="*/ 32559 w 38044"/>
                  <a:gd name="connsiteY8" fmla="*/ 10761 h 2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44" h="29938">
                    <a:moveTo>
                      <a:pt x="32657" y="10761"/>
                    </a:moveTo>
                    <a:lnTo>
                      <a:pt x="28623" y="10761"/>
                    </a:lnTo>
                    <a:cubicBezTo>
                      <a:pt x="25573" y="10761"/>
                      <a:pt x="22720" y="8301"/>
                      <a:pt x="22227" y="5251"/>
                    </a:cubicBezTo>
                    <a:lnTo>
                      <a:pt x="22227" y="4759"/>
                    </a:lnTo>
                    <a:cubicBezTo>
                      <a:pt x="21145" y="-2326"/>
                      <a:pt x="13077" y="626"/>
                      <a:pt x="12093" y="528"/>
                    </a:cubicBezTo>
                    <a:cubicBezTo>
                      <a:pt x="3139" y="1807"/>
                      <a:pt x="4320" y="14303"/>
                      <a:pt x="187" y="25815"/>
                    </a:cubicBezTo>
                    <a:cubicBezTo>
                      <a:pt x="-600" y="28767"/>
                      <a:pt x="1171" y="30539"/>
                      <a:pt x="4123" y="29751"/>
                    </a:cubicBezTo>
                    <a:lnTo>
                      <a:pt x="32756" y="21683"/>
                    </a:lnTo>
                    <a:cubicBezTo>
                      <a:pt x="39742" y="19715"/>
                      <a:pt x="39939" y="10761"/>
                      <a:pt x="32559" y="10761"/>
                    </a:cubicBezTo>
                    <a:close/>
                  </a:path>
                </a:pathLst>
              </a:custGeom>
              <a:grpFill/>
              <a:ln w="9835" cap="flat">
                <a:noFill/>
                <a:prstDash val="solid"/>
                <a:miter/>
              </a:ln>
            </p:spPr>
            <p:txBody>
              <a:bodyPr rtlCol="0" anchor="ctr"/>
              <a:lstStyle/>
              <a:p>
                <a:endParaRPr lang="en-IN"/>
              </a:p>
            </p:txBody>
          </p:sp>
          <p:sp>
            <p:nvSpPr>
              <p:cNvPr id="848" name="Freeform: Shape 847">
                <a:extLst>
                  <a:ext uri="{FF2B5EF4-FFF2-40B4-BE49-F238E27FC236}">
                    <a16:creationId xmlns:a16="http://schemas.microsoft.com/office/drawing/2014/main" id="{8EB50CB1-571E-A0B8-D814-E879FA7317A4}"/>
                  </a:ext>
                </a:extLst>
              </p:cNvPr>
              <p:cNvSpPr/>
              <p:nvPr/>
            </p:nvSpPr>
            <p:spPr>
              <a:xfrm>
                <a:off x="16447477" y="2634479"/>
                <a:ext cx="28860" cy="22648"/>
              </a:xfrm>
              <a:custGeom>
                <a:avLst/>
                <a:gdLst>
                  <a:gd name="connsiteX0" fmla="*/ 23622 w 28860"/>
                  <a:gd name="connsiteY0" fmla="*/ 5739 h 22648"/>
                  <a:gd name="connsiteX1" fmla="*/ 4434 w 28860"/>
                  <a:gd name="connsiteY1" fmla="*/ 228 h 22648"/>
                  <a:gd name="connsiteX2" fmla="*/ 105 w 28860"/>
                  <a:gd name="connsiteY2" fmla="*/ 4164 h 22648"/>
                  <a:gd name="connsiteX3" fmla="*/ 2958 w 28860"/>
                  <a:gd name="connsiteY3" fmla="*/ 18628 h 22648"/>
                  <a:gd name="connsiteX4" fmla="*/ 23622 w 28860"/>
                  <a:gd name="connsiteY4" fmla="*/ 18333 h 22648"/>
                  <a:gd name="connsiteX5" fmla="*/ 23622 w 28860"/>
                  <a:gd name="connsiteY5" fmla="*/ 5739 h 2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60" h="22648">
                    <a:moveTo>
                      <a:pt x="23622" y="5739"/>
                    </a:moveTo>
                    <a:lnTo>
                      <a:pt x="4434" y="228"/>
                    </a:lnTo>
                    <a:cubicBezTo>
                      <a:pt x="1482" y="-657"/>
                      <a:pt x="-486" y="1114"/>
                      <a:pt x="105" y="4164"/>
                    </a:cubicBezTo>
                    <a:lnTo>
                      <a:pt x="2958" y="18628"/>
                    </a:lnTo>
                    <a:cubicBezTo>
                      <a:pt x="4631" y="27189"/>
                      <a:pt x="16045" y="19612"/>
                      <a:pt x="23622" y="18333"/>
                    </a:cubicBezTo>
                    <a:cubicBezTo>
                      <a:pt x="30607" y="16267"/>
                      <a:pt x="30607" y="7805"/>
                      <a:pt x="23622" y="5739"/>
                    </a:cubicBezTo>
                    <a:close/>
                  </a:path>
                </a:pathLst>
              </a:custGeom>
              <a:grpFill/>
              <a:ln w="9835" cap="flat">
                <a:noFill/>
                <a:prstDash val="solid"/>
                <a:miter/>
              </a:ln>
            </p:spPr>
            <p:txBody>
              <a:bodyPr rtlCol="0" anchor="ctr"/>
              <a:lstStyle/>
              <a:p>
                <a:endParaRPr lang="en-IN"/>
              </a:p>
            </p:txBody>
          </p:sp>
          <p:sp>
            <p:nvSpPr>
              <p:cNvPr id="849" name="Freeform: Shape 848">
                <a:extLst>
                  <a:ext uri="{FF2B5EF4-FFF2-40B4-BE49-F238E27FC236}">
                    <a16:creationId xmlns:a16="http://schemas.microsoft.com/office/drawing/2014/main" id="{5311C667-022F-BF2B-DB80-94A16C5A5D3A}"/>
                  </a:ext>
                </a:extLst>
              </p:cNvPr>
              <p:cNvSpPr/>
              <p:nvPr/>
            </p:nvSpPr>
            <p:spPr>
              <a:xfrm>
                <a:off x="16360970" y="2648890"/>
                <a:ext cx="28858" cy="23685"/>
              </a:xfrm>
              <a:custGeom>
                <a:avLst/>
                <a:gdLst>
                  <a:gd name="connsiteX0" fmla="*/ 18620 w 28858"/>
                  <a:gd name="connsiteY0" fmla="*/ 2741 h 23685"/>
                  <a:gd name="connsiteX1" fmla="*/ 9864 w 28858"/>
                  <a:gd name="connsiteY1" fmla="*/ 11695 h 23685"/>
                  <a:gd name="connsiteX2" fmla="*/ 2287 w 28858"/>
                  <a:gd name="connsiteY2" fmla="*/ 18386 h 23685"/>
                  <a:gd name="connsiteX3" fmla="*/ 25016 w 28858"/>
                  <a:gd name="connsiteY3" fmla="*/ 19960 h 23685"/>
                  <a:gd name="connsiteX4" fmla="*/ 28460 w 28858"/>
                  <a:gd name="connsiteY4" fmla="*/ 9629 h 23685"/>
                  <a:gd name="connsiteX5" fmla="*/ 18620 w 28858"/>
                  <a:gd name="connsiteY5" fmla="*/ 2741 h 2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58" h="23685">
                    <a:moveTo>
                      <a:pt x="18620" y="2741"/>
                    </a:moveTo>
                    <a:cubicBezTo>
                      <a:pt x="17834" y="3725"/>
                      <a:pt x="16161" y="9235"/>
                      <a:pt x="9864" y="11695"/>
                    </a:cubicBezTo>
                    <a:cubicBezTo>
                      <a:pt x="7896" y="12778"/>
                      <a:pt x="-5191" y="15926"/>
                      <a:pt x="2287" y="18386"/>
                    </a:cubicBezTo>
                    <a:cubicBezTo>
                      <a:pt x="11339" y="20256"/>
                      <a:pt x="22261" y="28324"/>
                      <a:pt x="25016" y="19960"/>
                    </a:cubicBezTo>
                    <a:lnTo>
                      <a:pt x="28460" y="9629"/>
                    </a:lnTo>
                    <a:cubicBezTo>
                      <a:pt x="30821" y="2643"/>
                      <a:pt x="22065" y="-3851"/>
                      <a:pt x="18620" y="2741"/>
                    </a:cubicBezTo>
                    <a:close/>
                  </a:path>
                </a:pathLst>
              </a:custGeom>
              <a:grpFill/>
              <a:ln w="9835" cap="flat">
                <a:noFill/>
                <a:prstDash val="solid"/>
                <a:miter/>
              </a:ln>
            </p:spPr>
            <p:txBody>
              <a:bodyPr rtlCol="0" anchor="ctr"/>
              <a:lstStyle/>
              <a:p>
                <a:endParaRPr lang="en-IN"/>
              </a:p>
            </p:txBody>
          </p:sp>
          <p:sp>
            <p:nvSpPr>
              <p:cNvPr id="850" name="Freeform: Shape 849">
                <a:extLst>
                  <a:ext uri="{FF2B5EF4-FFF2-40B4-BE49-F238E27FC236}">
                    <a16:creationId xmlns:a16="http://schemas.microsoft.com/office/drawing/2014/main" id="{BA77692C-4CB7-E6FD-4154-4575E0086FA9}"/>
                  </a:ext>
                </a:extLst>
              </p:cNvPr>
              <p:cNvSpPr/>
              <p:nvPr/>
            </p:nvSpPr>
            <p:spPr>
              <a:xfrm>
                <a:off x="16320293" y="2646272"/>
                <a:ext cx="24779" cy="13654"/>
              </a:xfrm>
              <a:custGeom>
                <a:avLst/>
                <a:gdLst>
                  <a:gd name="connsiteX0" fmla="*/ 18168 w 24779"/>
                  <a:gd name="connsiteY0" fmla="*/ 2407 h 13654"/>
                  <a:gd name="connsiteX1" fmla="*/ 2129 w 24779"/>
                  <a:gd name="connsiteY1" fmla="*/ 4178 h 13654"/>
                  <a:gd name="connsiteX2" fmla="*/ 1933 w 24779"/>
                  <a:gd name="connsiteY2" fmla="*/ 9393 h 13654"/>
                  <a:gd name="connsiteX3" fmla="*/ 5475 w 24779"/>
                  <a:gd name="connsiteY3" fmla="*/ 11460 h 13654"/>
                  <a:gd name="connsiteX4" fmla="*/ 21907 w 24779"/>
                  <a:gd name="connsiteY4" fmla="*/ 12935 h 13654"/>
                  <a:gd name="connsiteX5" fmla="*/ 18168 w 24779"/>
                  <a:gd name="connsiteY5" fmla="*/ 2407 h 1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79" h="13654">
                    <a:moveTo>
                      <a:pt x="18168" y="2407"/>
                    </a:moveTo>
                    <a:cubicBezTo>
                      <a:pt x="12658" y="-3497"/>
                      <a:pt x="5376" y="3194"/>
                      <a:pt x="2129" y="4178"/>
                    </a:cubicBezTo>
                    <a:cubicBezTo>
                      <a:pt x="-626" y="5457"/>
                      <a:pt x="-724" y="7819"/>
                      <a:pt x="1933" y="9393"/>
                    </a:cubicBezTo>
                    <a:lnTo>
                      <a:pt x="5475" y="11460"/>
                    </a:lnTo>
                    <a:cubicBezTo>
                      <a:pt x="11969" y="15297"/>
                      <a:pt x="19840" y="12935"/>
                      <a:pt x="21907" y="12935"/>
                    </a:cubicBezTo>
                    <a:cubicBezTo>
                      <a:pt x="29680" y="12050"/>
                      <a:pt x="19348" y="4277"/>
                      <a:pt x="18168" y="2407"/>
                    </a:cubicBezTo>
                    <a:close/>
                  </a:path>
                </a:pathLst>
              </a:custGeom>
              <a:grpFill/>
              <a:ln w="9835" cap="flat">
                <a:noFill/>
                <a:prstDash val="solid"/>
                <a:miter/>
              </a:ln>
            </p:spPr>
            <p:txBody>
              <a:bodyPr rtlCol="0" anchor="ctr"/>
              <a:lstStyle/>
              <a:p>
                <a:endParaRPr lang="en-IN"/>
              </a:p>
            </p:txBody>
          </p:sp>
          <p:sp>
            <p:nvSpPr>
              <p:cNvPr id="851" name="Freeform: Shape 850">
                <a:extLst>
                  <a:ext uri="{FF2B5EF4-FFF2-40B4-BE49-F238E27FC236}">
                    <a16:creationId xmlns:a16="http://schemas.microsoft.com/office/drawing/2014/main" id="{ADAD77DA-7B31-675F-4E07-013081EBE2A7}"/>
                  </a:ext>
                </a:extLst>
              </p:cNvPr>
              <p:cNvSpPr/>
              <p:nvPr/>
            </p:nvSpPr>
            <p:spPr>
              <a:xfrm>
                <a:off x="16039796" y="2634627"/>
                <a:ext cx="24540" cy="23994"/>
              </a:xfrm>
              <a:custGeom>
                <a:avLst/>
                <a:gdLst>
                  <a:gd name="connsiteX0" fmla="*/ 24436 w 24540"/>
                  <a:gd name="connsiteY0" fmla="*/ 3229 h 23994"/>
                  <a:gd name="connsiteX1" fmla="*/ 2788 w 24540"/>
                  <a:gd name="connsiteY1" fmla="*/ 11789 h 23994"/>
                  <a:gd name="connsiteX2" fmla="*/ 624 w 24540"/>
                  <a:gd name="connsiteY2" fmla="*/ 19858 h 23994"/>
                  <a:gd name="connsiteX3" fmla="*/ 1214 w 24540"/>
                  <a:gd name="connsiteY3" fmla="*/ 21038 h 23994"/>
                  <a:gd name="connsiteX4" fmla="*/ 19516 w 24540"/>
                  <a:gd name="connsiteY4" fmla="*/ 17890 h 23994"/>
                  <a:gd name="connsiteX5" fmla="*/ 24436 w 24540"/>
                  <a:gd name="connsiteY5" fmla="*/ 3327 h 2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40" h="23994">
                    <a:moveTo>
                      <a:pt x="24436" y="3229"/>
                    </a:moveTo>
                    <a:cubicBezTo>
                      <a:pt x="24436" y="-4151"/>
                      <a:pt x="17548" y="2146"/>
                      <a:pt x="2788" y="11789"/>
                    </a:cubicBezTo>
                    <a:cubicBezTo>
                      <a:pt x="230" y="13462"/>
                      <a:pt x="-754" y="17102"/>
                      <a:pt x="624" y="19858"/>
                    </a:cubicBezTo>
                    <a:lnTo>
                      <a:pt x="1214" y="21038"/>
                    </a:lnTo>
                    <a:cubicBezTo>
                      <a:pt x="4953" y="28516"/>
                      <a:pt x="14203" y="19661"/>
                      <a:pt x="19516" y="17890"/>
                    </a:cubicBezTo>
                    <a:cubicBezTo>
                      <a:pt x="26305" y="14446"/>
                      <a:pt x="24141" y="5393"/>
                      <a:pt x="24436" y="3327"/>
                    </a:cubicBezTo>
                    <a:close/>
                  </a:path>
                </a:pathLst>
              </a:custGeom>
              <a:grpFill/>
              <a:ln w="9835" cap="flat">
                <a:noFill/>
                <a:prstDash val="solid"/>
                <a:miter/>
              </a:ln>
            </p:spPr>
            <p:txBody>
              <a:bodyPr rtlCol="0" anchor="ctr"/>
              <a:lstStyle/>
              <a:p>
                <a:endParaRPr lang="en-IN"/>
              </a:p>
            </p:txBody>
          </p:sp>
          <p:sp>
            <p:nvSpPr>
              <p:cNvPr id="852" name="Freeform: Shape 851">
                <a:extLst>
                  <a:ext uri="{FF2B5EF4-FFF2-40B4-BE49-F238E27FC236}">
                    <a16:creationId xmlns:a16="http://schemas.microsoft.com/office/drawing/2014/main" id="{A691A124-F9E6-9A6C-4031-43891CB5F9E1}"/>
                  </a:ext>
                </a:extLst>
              </p:cNvPr>
              <p:cNvSpPr/>
              <p:nvPr/>
            </p:nvSpPr>
            <p:spPr>
              <a:xfrm>
                <a:off x="16804926" y="2191388"/>
                <a:ext cx="19119" cy="15540"/>
              </a:xfrm>
              <a:custGeom>
                <a:avLst/>
                <a:gdLst>
                  <a:gd name="connsiteX0" fmla="*/ 19119 w 19119"/>
                  <a:gd name="connsiteY0" fmla="*/ 5752 h 15540"/>
                  <a:gd name="connsiteX1" fmla="*/ 19119 w 19119"/>
                  <a:gd name="connsiteY1" fmla="*/ 4768 h 15540"/>
                  <a:gd name="connsiteX2" fmla="*/ 3769 w 19119"/>
                  <a:gd name="connsiteY2" fmla="*/ 1325 h 15540"/>
                  <a:gd name="connsiteX3" fmla="*/ 1998 w 19119"/>
                  <a:gd name="connsiteY3" fmla="*/ 11951 h 15540"/>
                  <a:gd name="connsiteX4" fmla="*/ 13805 w 19119"/>
                  <a:gd name="connsiteY4" fmla="*/ 13329 h 15540"/>
                  <a:gd name="connsiteX5" fmla="*/ 19021 w 19119"/>
                  <a:gd name="connsiteY5" fmla="*/ 5752 h 1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19" h="15540">
                    <a:moveTo>
                      <a:pt x="19119" y="5752"/>
                    </a:moveTo>
                    <a:lnTo>
                      <a:pt x="19119" y="4768"/>
                    </a:lnTo>
                    <a:cubicBezTo>
                      <a:pt x="19119" y="-3399"/>
                      <a:pt x="7902" y="1423"/>
                      <a:pt x="3769" y="1325"/>
                    </a:cubicBezTo>
                    <a:cubicBezTo>
                      <a:pt x="-3512" y="2309"/>
                      <a:pt x="1998" y="11951"/>
                      <a:pt x="1998" y="11951"/>
                    </a:cubicBezTo>
                    <a:cubicBezTo>
                      <a:pt x="4655" y="18938"/>
                      <a:pt x="12329" y="13624"/>
                      <a:pt x="13805" y="13329"/>
                    </a:cubicBezTo>
                    <a:cubicBezTo>
                      <a:pt x="16659" y="12246"/>
                      <a:pt x="19021" y="8803"/>
                      <a:pt x="19021" y="5752"/>
                    </a:cubicBezTo>
                    <a:close/>
                  </a:path>
                </a:pathLst>
              </a:custGeom>
              <a:grpFill/>
              <a:ln w="9835" cap="flat">
                <a:noFill/>
                <a:prstDash val="solid"/>
                <a:miter/>
              </a:ln>
            </p:spPr>
            <p:txBody>
              <a:bodyPr rtlCol="0" anchor="ctr"/>
              <a:lstStyle/>
              <a:p>
                <a:endParaRPr lang="en-IN"/>
              </a:p>
            </p:txBody>
          </p:sp>
          <p:sp>
            <p:nvSpPr>
              <p:cNvPr id="853" name="Freeform: Shape 852">
                <a:extLst>
                  <a:ext uri="{FF2B5EF4-FFF2-40B4-BE49-F238E27FC236}">
                    <a16:creationId xmlns:a16="http://schemas.microsoft.com/office/drawing/2014/main" id="{DAF8EB44-10FD-21D5-F8A9-83E4E230F9A5}"/>
                  </a:ext>
                </a:extLst>
              </p:cNvPr>
              <p:cNvSpPr/>
              <p:nvPr/>
            </p:nvSpPr>
            <p:spPr>
              <a:xfrm>
                <a:off x="16845935" y="2245507"/>
                <a:ext cx="21878" cy="18350"/>
              </a:xfrm>
              <a:custGeom>
                <a:avLst/>
                <a:gdLst>
                  <a:gd name="connsiteX0" fmla="*/ 2807 w 21878"/>
                  <a:gd name="connsiteY0" fmla="*/ 1324 h 18350"/>
                  <a:gd name="connsiteX1" fmla="*/ 7432 w 21878"/>
                  <a:gd name="connsiteY1" fmla="*/ 16378 h 18350"/>
                  <a:gd name="connsiteX2" fmla="*/ 21010 w 21878"/>
                  <a:gd name="connsiteY2" fmla="*/ 4275 h 18350"/>
                  <a:gd name="connsiteX3" fmla="*/ 2807 w 21878"/>
                  <a:gd name="connsiteY3" fmla="*/ 1422 h 18350"/>
                </a:gdLst>
                <a:ahLst/>
                <a:cxnLst>
                  <a:cxn ang="0">
                    <a:pos x="connsiteX0" y="connsiteY0"/>
                  </a:cxn>
                  <a:cxn ang="0">
                    <a:pos x="connsiteX1" y="connsiteY1"/>
                  </a:cxn>
                  <a:cxn ang="0">
                    <a:pos x="connsiteX2" y="connsiteY2"/>
                  </a:cxn>
                  <a:cxn ang="0">
                    <a:pos x="connsiteX3" y="connsiteY3"/>
                  </a:cxn>
                </a:cxnLst>
                <a:rect l="l" t="t" r="r" b="b"/>
                <a:pathLst>
                  <a:path w="21878" h="18350">
                    <a:moveTo>
                      <a:pt x="2807" y="1324"/>
                    </a:moveTo>
                    <a:cubicBezTo>
                      <a:pt x="-5556" y="2013"/>
                      <a:pt x="7432" y="16378"/>
                      <a:pt x="7432" y="16378"/>
                    </a:cubicBezTo>
                    <a:cubicBezTo>
                      <a:pt x="12351" y="23463"/>
                      <a:pt x="16779" y="9589"/>
                      <a:pt x="21010" y="4275"/>
                    </a:cubicBezTo>
                    <a:cubicBezTo>
                      <a:pt x="25733" y="-3301"/>
                      <a:pt x="9990" y="1520"/>
                      <a:pt x="2807" y="1422"/>
                    </a:cubicBezTo>
                    <a:close/>
                  </a:path>
                </a:pathLst>
              </a:custGeom>
              <a:grpFill/>
              <a:ln w="9835" cap="flat">
                <a:noFill/>
                <a:prstDash val="solid"/>
                <a:miter/>
              </a:ln>
            </p:spPr>
            <p:txBody>
              <a:bodyPr rtlCol="0" anchor="ctr"/>
              <a:lstStyle/>
              <a:p>
                <a:endParaRPr lang="en-IN"/>
              </a:p>
            </p:txBody>
          </p:sp>
          <p:sp>
            <p:nvSpPr>
              <p:cNvPr id="854" name="Freeform: Shape 853">
                <a:extLst>
                  <a:ext uri="{FF2B5EF4-FFF2-40B4-BE49-F238E27FC236}">
                    <a16:creationId xmlns:a16="http://schemas.microsoft.com/office/drawing/2014/main" id="{1C3FD950-CF3D-8CE6-A2D6-BA5D3CE05560}"/>
                  </a:ext>
                </a:extLst>
              </p:cNvPr>
              <p:cNvSpPr/>
              <p:nvPr/>
            </p:nvSpPr>
            <p:spPr>
              <a:xfrm>
                <a:off x="16639748" y="1882101"/>
                <a:ext cx="52347" cy="30012"/>
              </a:xfrm>
              <a:custGeom>
                <a:avLst/>
                <a:gdLst>
                  <a:gd name="connsiteX0" fmla="*/ 50970 w 52347"/>
                  <a:gd name="connsiteY0" fmla="*/ 22901 h 30012"/>
                  <a:gd name="connsiteX1" fmla="*/ 38671 w 52347"/>
                  <a:gd name="connsiteY1" fmla="*/ 16801 h 30012"/>
                  <a:gd name="connsiteX2" fmla="*/ 4232 w 52347"/>
                  <a:gd name="connsiteY2" fmla="*/ 762 h 30012"/>
                  <a:gd name="connsiteX3" fmla="*/ 2265 w 52347"/>
                  <a:gd name="connsiteY3" fmla="*/ 1746 h 30012"/>
                  <a:gd name="connsiteX4" fmla="*/ 1675 w 52347"/>
                  <a:gd name="connsiteY4" fmla="*/ 7650 h 30012"/>
                  <a:gd name="connsiteX5" fmla="*/ 23518 w 52347"/>
                  <a:gd name="connsiteY5" fmla="*/ 24771 h 30012"/>
                  <a:gd name="connsiteX6" fmla="*/ 48511 w 52347"/>
                  <a:gd name="connsiteY6" fmla="*/ 29986 h 30012"/>
                  <a:gd name="connsiteX7" fmla="*/ 51955 w 52347"/>
                  <a:gd name="connsiteY7" fmla="*/ 25263 h 30012"/>
                  <a:gd name="connsiteX8" fmla="*/ 50970 w 52347"/>
                  <a:gd name="connsiteY8" fmla="*/ 22901 h 3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47" h="30012">
                    <a:moveTo>
                      <a:pt x="50970" y="22901"/>
                    </a:moveTo>
                    <a:cubicBezTo>
                      <a:pt x="48216" y="16112"/>
                      <a:pt x="39950" y="17096"/>
                      <a:pt x="38671" y="16801"/>
                    </a:cubicBezTo>
                    <a:cubicBezTo>
                      <a:pt x="25092" y="15522"/>
                      <a:pt x="13974" y="-4059"/>
                      <a:pt x="4232" y="762"/>
                    </a:cubicBezTo>
                    <a:lnTo>
                      <a:pt x="2265" y="1746"/>
                    </a:lnTo>
                    <a:cubicBezTo>
                      <a:pt x="-490" y="3124"/>
                      <a:pt x="-785" y="5780"/>
                      <a:pt x="1675" y="7650"/>
                    </a:cubicBezTo>
                    <a:lnTo>
                      <a:pt x="23518" y="24771"/>
                    </a:lnTo>
                    <a:cubicBezTo>
                      <a:pt x="29422" y="29395"/>
                      <a:pt x="38179" y="29100"/>
                      <a:pt x="48511" y="29986"/>
                    </a:cubicBezTo>
                    <a:cubicBezTo>
                      <a:pt x="51561" y="30281"/>
                      <a:pt x="53136" y="28116"/>
                      <a:pt x="51955" y="25263"/>
                    </a:cubicBezTo>
                    <a:lnTo>
                      <a:pt x="50970" y="22901"/>
                    </a:lnTo>
                    <a:close/>
                  </a:path>
                </a:pathLst>
              </a:custGeom>
              <a:grpFill/>
              <a:ln w="9835" cap="flat">
                <a:noFill/>
                <a:prstDash val="solid"/>
                <a:miter/>
              </a:ln>
            </p:spPr>
            <p:txBody>
              <a:bodyPr rtlCol="0" anchor="ctr"/>
              <a:lstStyle/>
              <a:p>
                <a:endParaRPr lang="en-IN"/>
              </a:p>
            </p:txBody>
          </p:sp>
          <p:sp>
            <p:nvSpPr>
              <p:cNvPr id="855" name="Freeform: Shape 854">
                <a:extLst>
                  <a:ext uri="{FF2B5EF4-FFF2-40B4-BE49-F238E27FC236}">
                    <a16:creationId xmlns:a16="http://schemas.microsoft.com/office/drawing/2014/main" id="{4E4FF884-9069-B8EE-1F76-E6A0DC7282FB}"/>
                  </a:ext>
                </a:extLst>
              </p:cNvPr>
              <p:cNvSpPr/>
              <p:nvPr/>
            </p:nvSpPr>
            <p:spPr>
              <a:xfrm>
                <a:off x="16714304" y="1585143"/>
                <a:ext cx="199846" cy="68359"/>
              </a:xfrm>
              <a:custGeom>
                <a:avLst/>
                <a:gdLst>
                  <a:gd name="connsiteX0" fmla="*/ 196526 w 199846"/>
                  <a:gd name="connsiteY0" fmla="*/ 35200 h 68359"/>
                  <a:gd name="connsiteX1" fmla="*/ 152248 w 199846"/>
                  <a:gd name="connsiteY1" fmla="*/ 31264 h 68359"/>
                  <a:gd name="connsiteX2" fmla="*/ 93801 w 199846"/>
                  <a:gd name="connsiteY2" fmla="*/ 1450 h 68359"/>
                  <a:gd name="connsiteX3" fmla="*/ 62118 w 199846"/>
                  <a:gd name="connsiteY3" fmla="*/ 9027 h 68359"/>
                  <a:gd name="connsiteX4" fmla="*/ 19315 w 199846"/>
                  <a:gd name="connsiteY4" fmla="*/ 2434 h 68359"/>
                  <a:gd name="connsiteX5" fmla="*/ 1506 w 199846"/>
                  <a:gd name="connsiteY5" fmla="*/ 15422 h 68359"/>
                  <a:gd name="connsiteX6" fmla="*/ 14690 w 199846"/>
                  <a:gd name="connsiteY6" fmla="*/ 35495 h 68359"/>
                  <a:gd name="connsiteX7" fmla="*/ 58870 w 199846"/>
                  <a:gd name="connsiteY7" fmla="*/ 29591 h 68359"/>
                  <a:gd name="connsiteX8" fmla="*/ 133258 w 199846"/>
                  <a:gd name="connsiteY8" fmla="*/ 67375 h 68359"/>
                  <a:gd name="connsiteX9" fmla="*/ 151363 w 199846"/>
                  <a:gd name="connsiteY9" fmla="*/ 56847 h 68359"/>
                  <a:gd name="connsiteX10" fmla="*/ 184226 w 199846"/>
                  <a:gd name="connsiteY10" fmla="*/ 54977 h 68359"/>
                  <a:gd name="connsiteX11" fmla="*/ 199084 w 199846"/>
                  <a:gd name="connsiteY11" fmla="*/ 40415 h 68359"/>
                  <a:gd name="connsiteX12" fmla="*/ 196526 w 199846"/>
                  <a:gd name="connsiteY12" fmla="*/ 35200 h 6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9846" h="68359">
                    <a:moveTo>
                      <a:pt x="196526" y="35200"/>
                    </a:moveTo>
                    <a:lnTo>
                      <a:pt x="152248" y="31264"/>
                    </a:lnTo>
                    <a:cubicBezTo>
                      <a:pt x="144573" y="30575"/>
                      <a:pt x="142901" y="28607"/>
                      <a:pt x="93801" y="1450"/>
                    </a:cubicBezTo>
                    <a:cubicBezTo>
                      <a:pt x="87602" y="-1994"/>
                      <a:pt x="83765" y="761"/>
                      <a:pt x="62118" y="9027"/>
                    </a:cubicBezTo>
                    <a:cubicBezTo>
                      <a:pt x="54640" y="11880"/>
                      <a:pt x="46177" y="8633"/>
                      <a:pt x="19315" y="2434"/>
                    </a:cubicBezTo>
                    <a:cubicBezTo>
                      <a:pt x="10951" y="466"/>
                      <a:pt x="6523" y="10896"/>
                      <a:pt x="1506" y="15422"/>
                    </a:cubicBezTo>
                    <a:cubicBezTo>
                      <a:pt x="-4300" y="22113"/>
                      <a:pt x="8098" y="27820"/>
                      <a:pt x="14690" y="35495"/>
                    </a:cubicBezTo>
                    <a:cubicBezTo>
                      <a:pt x="19906" y="40415"/>
                      <a:pt x="22956" y="38250"/>
                      <a:pt x="58870" y="29591"/>
                    </a:cubicBezTo>
                    <a:cubicBezTo>
                      <a:pt x="66250" y="27820"/>
                      <a:pt x="64479" y="28509"/>
                      <a:pt x="133258" y="67375"/>
                    </a:cubicBezTo>
                    <a:cubicBezTo>
                      <a:pt x="140736" y="71606"/>
                      <a:pt x="146049" y="61078"/>
                      <a:pt x="151363" y="56847"/>
                    </a:cubicBezTo>
                    <a:cubicBezTo>
                      <a:pt x="156282" y="51927"/>
                      <a:pt x="161104" y="53305"/>
                      <a:pt x="184226" y="54977"/>
                    </a:cubicBezTo>
                    <a:cubicBezTo>
                      <a:pt x="192590" y="55568"/>
                      <a:pt x="195247" y="45335"/>
                      <a:pt x="199084" y="40415"/>
                    </a:cubicBezTo>
                    <a:cubicBezTo>
                      <a:pt x="200758" y="37856"/>
                      <a:pt x="199577" y="35495"/>
                      <a:pt x="196526" y="35200"/>
                    </a:cubicBezTo>
                    <a:close/>
                  </a:path>
                </a:pathLst>
              </a:custGeom>
              <a:grpFill/>
              <a:ln w="9835" cap="flat">
                <a:noFill/>
                <a:prstDash val="solid"/>
                <a:miter/>
              </a:ln>
            </p:spPr>
            <p:txBody>
              <a:bodyPr rtlCol="0" anchor="ctr"/>
              <a:lstStyle/>
              <a:p>
                <a:endParaRPr lang="en-IN"/>
              </a:p>
            </p:txBody>
          </p:sp>
        </p:grpSp>
        <p:grpSp>
          <p:nvGrpSpPr>
            <p:cNvPr id="467" name="Graphic 470">
              <a:extLst>
                <a:ext uri="{FF2B5EF4-FFF2-40B4-BE49-F238E27FC236}">
                  <a16:creationId xmlns:a16="http://schemas.microsoft.com/office/drawing/2014/main" id="{8C9329BB-7687-650D-7C7A-1DA5A8605711}"/>
                </a:ext>
              </a:extLst>
            </p:cNvPr>
            <p:cNvGrpSpPr/>
            <p:nvPr/>
          </p:nvGrpSpPr>
          <p:grpSpPr>
            <a:xfrm>
              <a:off x="8243622" y="4550083"/>
              <a:ext cx="302075" cy="216274"/>
              <a:chOff x="8243622" y="4550083"/>
              <a:chExt cx="302075" cy="216274"/>
            </a:xfrm>
            <a:grpFill/>
          </p:grpSpPr>
          <p:sp>
            <p:nvSpPr>
              <p:cNvPr id="836" name="Freeform: Shape 835">
                <a:extLst>
                  <a:ext uri="{FF2B5EF4-FFF2-40B4-BE49-F238E27FC236}">
                    <a16:creationId xmlns:a16="http://schemas.microsoft.com/office/drawing/2014/main" id="{800003BE-8A31-D3D0-F432-28C08C62E238}"/>
                  </a:ext>
                </a:extLst>
              </p:cNvPr>
              <p:cNvSpPr/>
              <p:nvPr/>
            </p:nvSpPr>
            <p:spPr>
              <a:xfrm>
                <a:off x="8301800" y="4632272"/>
                <a:ext cx="15537" cy="17443"/>
              </a:xfrm>
              <a:custGeom>
                <a:avLst/>
                <a:gdLst>
                  <a:gd name="connsiteX0" fmla="*/ 6173 w 15537"/>
                  <a:gd name="connsiteY0" fmla="*/ 1053 h 17443"/>
                  <a:gd name="connsiteX1" fmla="*/ 761 w 15537"/>
                  <a:gd name="connsiteY1" fmla="*/ 10598 h 17443"/>
                  <a:gd name="connsiteX2" fmla="*/ 9617 w 15537"/>
                  <a:gd name="connsiteY2" fmla="*/ 16403 h 17443"/>
                  <a:gd name="connsiteX3" fmla="*/ 14733 w 15537"/>
                  <a:gd name="connsiteY3" fmla="*/ 5776 h 17443"/>
                  <a:gd name="connsiteX4" fmla="*/ 6173 w 15537"/>
                  <a:gd name="connsiteY4" fmla="*/ 955 h 17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7" h="17443">
                    <a:moveTo>
                      <a:pt x="6173" y="1053"/>
                    </a:moveTo>
                    <a:cubicBezTo>
                      <a:pt x="5189" y="2037"/>
                      <a:pt x="-2388" y="4104"/>
                      <a:pt x="761" y="10598"/>
                    </a:cubicBezTo>
                    <a:cubicBezTo>
                      <a:pt x="761" y="10598"/>
                      <a:pt x="3811" y="20634"/>
                      <a:pt x="9617" y="16403"/>
                    </a:cubicBezTo>
                    <a:cubicBezTo>
                      <a:pt x="10404" y="15419"/>
                      <a:pt x="17980" y="12271"/>
                      <a:pt x="14733" y="5776"/>
                    </a:cubicBezTo>
                    <a:cubicBezTo>
                      <a:pt x="13848" y="4793"/>
                      <a:pt x="12077" y="-2587"/>
                      <a:pt x="6173" y="955"/>
                    </a:cubicBezTo>
                    <a:close/>
                  </a:path>
                </a:pathLst>
              </a:custGeom>
              <a:grpFill/>
              <a:ln w="9835" cap="flat">
                <a:noFill/>
                <a:prstDash val="solid"/>
                <a:miter/>
              </a:ln>
            </p:spPr>
            <p:txBody>
              <a:bodyPr rtlCol="0" anchor="ctr"/>
              <a:lstStyle/>
              <a:p>
                <a:endParaRPr lang="en-IN"/>
              </a:p>
            </p:txBody>
          </p:sp>
          <p:sp>
            <p:nvSpPr>
              <p:cNvPr id="837" name="Freeform: Shape 836">
                <a:extLst>
                  <a:ext uri="{FF2B5EF4-FFF2-40B4-BE49-F238E27FC236}">
                    <a16:creationId xmlns:a16="http://schemas.microsoft.com/office/drawing/2014/main" id="{9A33879F-886D-3578-9B86-C083A3FD0590}"/>
                  </a:ext>
                </a:extLst>
              </p:cNvPr>
              <p:cNvSpPr/>
              <p:nvPr/>
            </p:nvSpPr>
            <p:spPr>
              <a:xfrm>
                <a:off x="8374484" y="4642189"/>
                <a:ext cx="20145" cy="15755"/>
              </a:xfrm>
              <a:custGeom>
                <a:avLst/>
                <a:gdLst>
                  <a:gd name="connsiteX0" fmla="*/ 16241 w 20145"/>
                  <a:gd name="connsiteY0" fmla="*/ 288 h 15755"/>
                  <a:gd name="connsiteX1" fmla="*/ 1088 w 20145"/>
                  <a:gd name="connsiteY1" fmla="*/ 10521 h 15755"/>
                  <a:gd name="connsiteX2" fmla="*/ 2268 w 20145"/>
                  <a:gd name="connsiteY2" fmla="*/ 12096 h 15755"/>
                  <a:gd name="connsiteX3" fmla="*/ 16241 w 20145"/>
                  <a:gd name="connsiteY3" fmla="*/ 288 h 15755"/>
                </a:gdLst>
                <a:ahLst/>
                <a:cxnLst>
                  <a:cxn ang="0">
                    <a:pos x="connsiteX0" y="connsiteY0"/>
                  </a:cxn>
                  <a:cxn ang="0">
                    <a:pos x="connsiteX1" y="connsiteY1"/>
                  </a:cxn>
                  <a:cxn ang="0">
                    <a:pos x="connsiteX2" y="connsiteY2"/>
                  </a:cxn>
                  <a:cxn ang="0">
                    <a:pos x="connsiteX3" y="connsiteY3"/>
                  </a:cxn>
                </a:cxnLst>
                <a:rect l="l" t="t" r="r" b="b"/>
                <a:pathLst>
                  <a:path w="20145" h="15755">
                    <a:moveTo>
                      <a:pt x="16241" y="288"/>
                    </a:moveTo>
                    <a:cubicBezTo>
                      <a:pt x="10239" y="3043"/>
                      <a:pt x="-4029" y="3535"/>
                      <a:pt x="1088" y="10521"/>
                    </a:cubicBezTo>
                    <a:lnTo>
                      <a:pt x="2268" y="12096"/>
                    </a:lnTo>
                    <a:cubicBezTo>
                      <a:pt x="12206" y="25674"/>
                      <a:pt x="27359" y="-3155"/>
                      <a:pt x="16241" y="288"/>
                    </a:cubicBezTo>
                    <a:close/>
                  </a:path>
                </a:pathLst>
              </a:custGeom>
              <a:grpFill/>
              <a:ln w="9835" cap="flat">
                <a:noFill/>
                <a:prstDash val="solid"/>
                <a:miter/>
              </a:ln>
            </p:spPr>
            <p:txBody>
              <a:bodyPr rtlCol="0" anchor="ctr"/>
              <a:lstStyle/>
              <a:p>
                <a:endParaRPr lang="en-IN"/>
              </a:p>
            </p:txBody>
          </p:sp>
          <p:sp>
            <p:nvSpPr>
              <p:cNvPr id="838" name="Freeform: Shape 837">
                <a:extLst>
                  <a:ext uri="{FF2B5EF4-FFF2-40B4-BE49-F238E27FC236}">
                    <a16:creationId xmlns:a16="http://schemas.microsoft.com/office/drawing/2014/main" id="{C13BD3DD-C321-2533-AF07-9D4C2643117A}"/>
                  </a:ext>
                </a:extLst>
              </p:cNvPr>
              <p:cNvSpPr/>
              <p:nvPr/>
            </p:nvSpPr>
            <p:spPr>
              <a:xfrm>
                <a:off x="8243622" y="4550083"/>
                <a:ext cx="302075" cy="216274"/>
              </a:xfrm>
              <a:custGeom>
                <a:avLst/>
                <a:gdLst>
                  <a:gd name="connsiteX0" fmla="*/ 276788 w 302075"/>
                  <a:gd name="connsiteY0" fmla="*/ 127324 h 216274"/>
                  <a:gd name="connsiteX1" fmla="*/ 271278 w 302075"/>
                  <a:gd name="connsiteY1" fmla="*/ 113254 h 216274"/>
                  <a:gd name="connsiteX2" fmla="*/ 260749 w 302075"/>
                  <a:gd name="connsiteY2" fmla="*/ 111581 h 216274"/>
                  <a:gd name="connsiteX3" fmla="*/ 261438 w 302075"/>
                  <a:gd name="connsiteY3" fmla="*/ 68385 h 216274"/>
                  <a:gd name="connsiteX4" fmla="*/ 275312 w 302075"/>
                  <a:gd name="connsiteY4" fmla="*/ 68090 h 216274"/>
                  <a:gd name="connsiteX5" fmla="*/ 281609 w 302075"/>
                  <a:gd name="connsiteY5" fmla="*/ 79406 h 216274"/>
                  <a:gd name="connsiteX6" fmla="*/ 302076 w 302075"/>
                  <a:gd name="connsiteY6" fmla="*/ 65827 h 216274"/>
                  <a:gd name="connsiteX7" fmla="*/ 301190 w 302075"/>
                  <a:gd name="connsiteY7" fmla="*/ 61497 h 216274"/>
                  <a:gd name="connsiteX8" fmla="*/ 298238 w 302075"/>
                  <a:gd name="connsiteY8" fmla="*/ 30995 h 216274"/>
                  <a:gd name="connsiteX9" fmla="*/ 272852 w 302075"/>
                  <a:gd name="connsiteY9" fmla="*/ 0 h 216274"/>
                  <a:gd name="connsiteX10" fmla="*/ 272852 w 302075"/>
                  <a:gd name="connsiteY10" fmla="*/ 0 h 216274"/>
                  <a:gd name="connsiteX11" fmla="*/ 268916 w 302075"/>
                  <a:gd name="connsiteY11" fmla="*/ 4428 h 216274"/>
                  <a:gd name="connsiteX12" fmla="*/ 182033 w 302075"/>
                  <a:gd name="connsiteY12" fmla="*/ 87769 h 216274"/>
                  <a:gd name="connsiteX13" fmla="*/ 178884 w 302075"/>
                  <a:gd name="connsiteY13" fmla="*/ 98691 h 216274"/>
                  <a:gd name="connsiteX14" fmla="*/ 172095 w 302075"/>
                  <a:gd name="connsiteY14" fmla="*/ 97412 h 216274"/>
                  <a:gd name="connsiteX15" fmla="*/ 165797 w 302075"/>
                  <a:gd name="connsiteY15" fmla="*/ 96822 h 216274"/>
                  <a:gd name="connsiteX16" fmla="*/ 155662 w 302075"/>
                  <a:gd name="connsiteY16" fmla="*/ 109121 h 216274"/>
                  <a:gd name="connsiteX17" fmla="*/ 138050 w 302075"/>
                  <a:gd name="connsiteY17" fmla="*/ 116403 h 216274"/>
                  <a:gd name="connsiteX18" fmla="*/ 122208 w 302075"/>
                  <a:gd name="connsiteY18" fmla="*/ 112565 h 216274"/>
                  <a:gd name="connsiteX19" fmla="*/ 60218 w 302075"/>
                  <a:gd name="connsiteY19" fmla="*/ 110302 h 216274"/>
                  <a:gd name="connsiteX20" fmla="*/ 40933 w 302075"/>
                  <a:gd name="connsiteY20" fmla="*/ 122602 h 216274"/>
                  <a:gd name="connsiteX21" fmla="*/ 14071 w 302075"/>
                  <a:gd name="connsiteY21" fmla="*/ 114533 h 216274"/>
                  <a:gd name="connsiteX22" fmla="*/ 8167 w 302075"/>
                  <a:gd name="connsiteY22" fmla="*/ 101840 h 216274"/>
                  <a:gd name="connsiteX23" fmla="*/ 0 w 302075"/>
                  <a:gd name="connsiteY23" fmla="*/ 98297 h 216274"/>
                  <a:gd name="connsiteX24" fmla="*/ 0 w 302075"/>
                  <a:gd name="connsiteY24" fmla="*/ 128702 h 216274"/>
                  <a:gd name="connsiteX25" fmla="*/ 49493 w 302075"/>
                  <a:gd name="connsiteY25" fmla="*/ 195316 h 216274"/>
                  <a:gd name="connsiteX26" fmla="*/ 222965 w 302075"/>
                  <a:gd name="connsiteY26" fmla="*/ 216274 h 216274"/>
                  <a:gd name="connsiteX27" fmla="*/ 248745 w 302075"/>
                  <a:gd name="connsiteY27" fmla="*/ 134114 h 216274"/>
                  <a:gd name="connsiteX28" fmla="*/ 276788 w 302075"/>
                  <a:gd name="connsiteY28" fmla="*/ 127620 h 216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2075" h="216274">
                    <a:moveTo>
                      <a:pt x="276788" y="127324"/>
                    </a:moveTo>
                    <a:lnTo>
                      <a:pt x="271278" y="113254"/>
                    </a:lnTo>
                    <a:lnTo>
                      <a:pt x="260749" y="111581"/>
                    </a:lnTo>
                    <a:lnTo>
                      <a:pt x="261438" y="68385"/>
                    </a:lnTo>
                    <a:lnTo>
                      <a:pt x="275312" y="68090"/>
                    </a:lnTo>
                    <a:lnTo>
                      <a:pt x="281609" y="79406"/>
                    </a:lnTo>
                    <a:lnTo>
                      <a:pt x="302076" y="65827"/>
                    </a:lnTo>
                    <a:cubicBezTo>
                      <a:pt x="301485" y="64351"/>
                      <a:pt x="301289" y="63170"/>
                      <a:pt x="301190" y="61497"/>
                    </a:cubicBezTo>
                    <a:cubicBezTo>
                      <a:pt x="300009" y="48509"/>
                      <a:pt x="299025" y="38670"/>
                      <a:pt x="298238" y="30995"/>
                    </a:cubicBezTo>
                    <a:lnTo>
                      <a:pt x="272852" y="0"/>
                    </a:lnTo>
                    <a:lnTo>
                      <a:pt x="272852" y="0"/>
                    </a:lnTo>
                    <a:cubicBezTo>
                      <a:pt x="271573" y="1673"/>
                      <a:pt x="270294" y="3149"/>
                      <a:pt x="268916" y="4428"/>
                    </a:cubicBezTo>
                    <a:cubicBezTo>
                      <a:pt x="203876" y="64745"/>
                      <a:pt x="169536" y="82062"/>
                      <a:pt x="182033" y="87769"/>
                    </a:cubicBezTo>
                    <a:cubicBezTo>
                      <a:pt x="188724" y="90819"/>
                      <a:pt x="178294" y="99675"/>
                      <a:pt x="178884" y="98691"/>
                    </a:cubicBezTo>
                    <a:cubicBezTo>
                      <a:pt x="174948" y="102922"/>
                      <a:pt x="171111" y="96625"/>
                      <a:pt x="172095" y="97412"/>
                    </a:cubicBezTo>
                    <a:cubicBezTo>
                      <a:pt x="170619" y="94755"/>
                      <a:pt x="167765" y="94460"/>
                      <a:pt x="165797" y="96822"/>
                    </a:cubicBezTo>
                    <a:lnTo>
                      <a:pt x="155662" y="109121"/>
                    </a:lnTo>
                    <a:cubicBezTo>
                      <a:pt x="150644" y="115222"/>
                      <a:pt x="137164" y="116697"/>
                      <a:pt x="138050" y="116403"/>
                    </a:cubicBezTo>
                    <a:cubicBezTo>
                      <a:pt x="130768" y="117977"/>
                      <a:pt x="121224" y="112270"/>
                      <a:pt x="122208" y="112565"/>
                    </a:cubicBezTo>
                    <a:cubicBezTo>
                      <a:pt x="113746" y="108531"/>
                      <a:pt x="66712" y="104202"/>
                      <a:pt x="60218" y="110302"/>
                    </a:cubicBezTo>
                    <a:cubicBezTo>
                      <a:pt x="54511" y="114730"/>
                      <a:pt x="49592" y="123389"/>
                      <a:pt x="40933" y="122602"/>
                    </a:cubicBezTo>
                    <a:cubicBezTo>
                      <a:pt x="27551" y="120043"/>
                      <a:pt x="14759" y="123487"/>
                      <a:pt x="14071" y="114533"/>
                    </a:cubicBezTo>
                    <a:cubicBezTo>
                      <a:pt x="13677" y="113155"/>
                      <a:pt x="14858" y="104792"/>
                      <a:pt x="8167" y="101840"/>
                    </a:cubicBezTo>
                    <a:lnTo>
                      <a:pt x="0" y="98297"/>
                    </a:lnTo>
                    <a:lnTo>
                      <a:pt x="0" y="128702"/>
                    </a:lnTo>
                    <a:lnTo>
                      <a:pt x="49493" y="195316"/>
                    </a:lnTo>
                    <a:lnTo>
                      <a:pt x="222965" y="216274"/>
                    </a:lnTo>
                    <a:lnTo>
                      <a:pt x="248745" y="134114"/>
                    </a:lnTo>
                    <a:lnTo>
                      <a:pt x="276788" y="127620"/>
                    </a:lnTo>
                    <a:close/>
                  </a:path>
                </a:pathLst>
              </a:custGeom>
              <a:grpFill/>
              <a:ln w="9835" cap="flat">
                <a:noFill/>
                <a:prstDash val="solid"/>
                <a:miter/>
              </a:ln>
            </p:spPr>
            <p:txBody>
              <a:bodyPr rtlCol="0" anchor="ctr"/>
              <a:lstStyle/>
              <a:p>
                <a:endParaRPr lang="en-IN"/>
              </a:p>
            </p:txBody>
          </p:sp>
        </p:grpSp>
        <p:sp>
          <p:nvSpPr>
            <p:cNvPr id="468" name="Freeform: Shape 467">
              <a:extLst>
                <a:ext uri="{FF2B5EF4-FFF2-40B4-BE49-F238E27FC236}">
                  <a16:creationId xmlns:a16="http://schemas.microsoft.com/office/drawing/2014/main" id="{3455B0C1-204F-CB22-A623-376831373BA0}"/>
                </a:ext>
              </a:extLst>
            </p:cNvPr>
            <p:cNvSpPr/>
            <p:nvPr/>
          </p:nvSpPr>
          <p:spPr>
            <a:xfrm>
              <a:off x="8299603" y="3372185"/>
              <a:ext cx="877796" cy="553182"/>
            </a:xfrm>
            <a:custGeom>
              <a:avLst/>
              <a:gdLst>
                <a:gd name="connsiteX0" fmla="*/ 657784 w 877796"/>
                <a:gd name="connsiteY0" fmla="*/ 532224 h 553182"/>
                <a:gd name="connsiteX1" fmla="*/ 658177 w 877796"/>
                <a:gd name="connsiteY1" fmla="*/ 503590 h 553182"/>
                <a:gd name="connsiteX2" fmla="*/ 749685 w 877796"/>
                <a:gd name="connsiteY2" fmla="*/ 467971 h 553182"/>
                <a:gd name="connsiteX3" fmla="*/ 764937 w 877796"/>
                <a:gd name="connsiteY3" fmla="*/ 411295 h 553182"/>
                <a:gd name="connsiteX4" fmla="*/ 809805 w 877796"/>
                <a:gd name="connsiteY4" fmla="*/ 405195 h 553182"/>
                <a:gd name="connsiteX5" fmla="*/ 817579 w 877796"/>
                <a:gd name="connsiteY5" fmla="*/ 380793 h 553182"/>
                <a:gd name="connsiteX6" fmla="*/ 873074 w 877796"/>
                <a:gd name="connsiteY6" fmla="*/ 395257 h 553182"/>
                <a:gd name="connsiteX7" fmla="*/ 877797 w 877796"/>
                <a:gd name="connsiteY7" fmla="*/ 350093 h 553182"/>
                <a:gd name="connsiteX8" fmla="*/ 833814 w 877796"/>
                <a:gd name="connsiteY8" fmla="*/ 330906 h 553182"/>
                <a:gd name="connsiteX9" fmla="*/ 814430 w 877796"/>
                <a:gd name="connsiteY9" fmla="*/ 332086 h 553182"/>
                <a:gd name="connsiteX10" fmla="*/ 740141 w 877796"/>
                <a:gd name="connsiteY10" fmla="*/ 278067 h 553182"/>
                <a:gd name="connsiteX11" fmla="*/ 713672 w 877796"/>
                <a:gd name="connsiteY11" fmla="*/ 273344 h 553182"/>
                <a:gd name="connsiteX12" fmla="*/ 620491 w 877796"/>
                <a:gd name="connsiteY12" fmla="*/ 207025 h 553182"/>
                <a:gd name="connsiteX13" fmla="*/ 612521 w 877796"/>
                <a:gd name="connsiteY13" fmla="*/ 172882 h 553182"/>
                <a:gd name="connsiteX14" fmla="*/ 594613 w 877796"/>
                <a:gd name="connsiteY14" fmla="*/ 161173 h 553182"/>
                <a:gd name="connsiteX15" fmla="*/ 586348 w 877796"/>
                <a:gd name="connsiteY15" fmla="*/ 121125 h 553182"/>
                <a:gd name="connsiteX16" fmla="*/ 547678 w 877796"/>
                <a:gd name="connsiteY16" fmla="*/ 106563 h 553182"/>
                <a:gd name="connsiteX17" fmla="*/ 547678 w 877796"/>
                <a:gd name="connsiteY17" fmla="*/ 117583 h 553182"/>
                <a:gd name="connsiteX18" fmla="*/ 500055 w 877796"/>
                <a:gd name="connsiteY18" fmla="*/ 117583 h 553182"/>
                <a:gd name="connsiteX19" fmla="*/ 470634 w 877796"/>
                <a:gd name="connsiteY19" fmla="*/ 97806 h 553182"/>
                <a:gd name="connsiteX20" fmla="*/ 469552 w 877796"/>
                <a:gd name="connsiteY20" fmla="*/ 37095 h 553182"/>
                <a:gd name="connsiteX21" fmla="*/ 427832 w 877796"/>
                <a:gd name="connsiteY21" fmla="*/ 32569 h 553182"/>
                <a:gd name="connsiteX22" fmla="*/ 382373 w 877796"/>
                <a:gd name="connsiteY22" fmla="*/ 0 h 553182"/>
                <a:gd name="connsiteX23" fmla="*/ 356987 w 877796"/>
                <a:gd name="connsiteY23" fmla="*/ 5412 h 553182"/>
                <a:gd name="connsiteX24" fmla="*/ 374797 w 877796"/>
                <a:gd name="connsiteY24" fmla="*/ 31388 h 553182"/>
                <a:gd name="connsiteX25" fmla="*/ 360923 w 877796"/>
                <a:gd name="connsiteY25" fmla="*/ 38965 h 553182"/>
                <a:gd name="connsiteX26" fmla="*/ 338981 w 877796"/>
                <a:gd name="connsiteY26" fmla="*/ 23615 h 553182"/>
                <a:gd name="connsiteX27" fmla="*/ 283190 w 877796"/>
                <a:gd name="connsiteY27" fmla="*/ 65335 h 553182"/>
                <a:gd name="connsiteX28" fmla="*/ 287716 w 877796"/>
                <a:gd name="connsiteY28" fmla="*/ 111581 h 553182"/>
                <a:gd name="connsiteX29" fmla="*/ 180563 w 877796"/>
                <a:gd name="connsiteY29" fmla="*/ 115910 h 553182"/>
                <a:gd name="connsiteX30" fmla="*/ 160097 w 877796"/>
                <a:gd name="connsiteY30" fmla="*/ 66516 h 553182"/>
                <a:gd name="connsiteX31" fmla="*/ 110407 w 877796"/>
                <a:gd name="connsiteY31" fmla="*/ 23615 h 553182"/>
                <a:gd name="connsiteX32" fmla="*/ 49500 w 877796"/>
                <a:gd name="connsiteY32" fmla="*/ 23615 h 553182"/>
                <a:gd name="connsiteX33" fmla="*/ 1679 w 877796"/>
                <a:gd name="connsiteY33" fmla="*/ 56873 h 553182"/>
                <a:gd name="connsiteX34" fmla="*/ 1679 w 877796"/>
                <a:gd name="connsiteY34" fmla="*/ 56873 h 553182"/>
                <a:gd name="connsiteX35" fmla="*/ 203 w 877796"/>
                <a:gd name="connsiteY35" fmla="*/ 66122 h 553182"/>
                <a:gd name="connsiteX36" fmla="*/ 4139 w 877796"/>
                <a:gd name="connsiteY36" fmla="*/ 74978 h 553182"/>
                <a:gd name="connsiteX37" fmla="*/ 7681 w 877796"/>
                <a:gd name="connsiteY37" fmla="*/ 84030 h 553182"/>
                <a:gd name="connsiteX38" fmla="*/ 20768 w 877796"/>
                <a:gd name="connsiteY38" fmla="*/ 104792 h 553182"/>
                <a:gd name="connsiteX39" fmla="*/ 27065 w 877796"/>
                <a:gd name="connsiteY39" fmla="*/ 130079 h 553182"/>
                <a:gd name="connsiteX40" fmla="*/ 20178 w 877796"/>
                <a:gd name="connsiteY40" fmla="*/ 159303 h 553182"/>
                <a:gd name="connsiteX41" fmla="*/ 22244 w 877796"/>
                <a:gd name="connsiteY41" fmla="*/ 201515 h 553182"/>
                <a:gd name="connsiteX42" fmla="*/ 39562 w 877796"/>
                <a:gd name="connsiteY42" fmla="*/ 198465 h 553182"/>
                <a:gd name="connsiteX43" fmla="*/ 54419 w 877796"/>
                <a:gd name="connsiteY43" fmla="*/ 200433 h 553182"/>
                <a:gd name="connsiteX44" fmla="*/ 61799 w 877796"/>
                <a:gd name="connsiteY44" fmla="*/ 212831 h 553182"/>
                <a:gd name="connsiteX45" fmla="*/ 63964 w 877796"/>
                <a:gd name="connsiteY45" fmla="*/ 221588 h 553182"/>
                <a:gd name="connsiteX46" fmla="*/ 56289 w 877796"/>
                <a:gd name="connsiteY46" fmla="*/ 231329 h 553182"/>
                <a:gd name="connsiteX47" fmla="*/ 46745 w 877796"/>
                <a:gd name="connsiteY47" fmla="*/ 226606 h 553182"/>
                <a:gd name="connsiteX48" fmla="*/ 42809 w 877796"/>
                <a:gd name="connsiteY48" fmla="*/ 234281 h 553182"/>
                <a:gd name="connsiteX49" fmla="*/ 43990 w 877796"/>
                <a:gd name="connsiteY49" fmla="*/ 251500 h 553182"/>
                <a:gd name="connsiteX50" fmla="*/ 48024 w 877796"/>
                <a:gd name="connsiteY50" fmla="*/ 249434 h 553182"/>
                <a:gd name="connsiteX51" fmla="*/ 68490 w 877796"/>
                <a:gd name="connsiteY51" fmla="*/ 251992 h 553182"/>
                <a:gd name="connsiteX52" fmla="*/ 76559 w 877796"/>
                <a:gd name="connsiteY52" fmla="*/ 263701 h 553182"/>
                <a:gd name="connsiteX53" fmla="*/ 90432 w 877796"/>
                <a:gd name="connsiteY53" fmla="*/ 271868 h 553182"/>
                <a:gd name="connsiteX54" fmla="*/ 93876 w 877796"/>
                <a:gd name="connsiteY54" fmla="*/ 278854 h 553182"/>
                <a:gd name="connsiteX55" fmla="*/ 87481 w 877796"/>
                <a:gd name="connsiteY55" fmla="*/ 296664 h 553182"/>
                <a:gd name="connsiteX56" fmla="*/ 87382 w 877796"/>
                <a:gd name="connsiteY56" fmla="*/ 330020 h 553182"/>
                <a:gd name="connsiteX57" fmla="*/ 85217 w 877796"/>
                <a:gd name="connsiteY57" fmla="*/ 347338 h 553182"/>
                <a:gd name="connsiteX58" fmla="*/ 92696 w 877796"/>
                <a:gd name="connsiteY58" fmla="*/ 399586 h 553182"/>
                <a:gd name="connsiteX59" fmla="*/ 144157 w 877796"/>
                <a:gd name="connsiteY59" fmla="*/ 385909 h 553182"/>
                <a:gd name="connsiteX60" fmla="*/ 171904 w 877796"/>
                <a:gd name="connsiteY60" fmla="*/ 349995 h 553182"/>
                <a:gd name="connsiteX61" fmla="*/ 233599 w 877796"/>
                <a:gd name="connsiteY61" fmla="*/ 345665 h 553182"/>
                <a:gd name="connsiteX62" fmla="*/ 246292 w 877796"/>
                <a:gd name="connsiteY62" fmla="*/ 331299 h 553182"/>
                <a:gd name="connsiteX63" fmla="*/ 300016 w 877796"/>
                <a:gd name="connsiteY63" fmla="*/ 331299 h 553182"/>
                <a:gd name="connsiteX64" fmla="*/ 307396 w 877796"/>
                <a:gd name="connsiteY64" fmla="*/ 353045 h 553182"/>
                <a:gd name="connsiteX65" fmla="*/ 424487 w 877796"/>
                <a:gd name="connsiteY65" fmla="*/ 378529 h 553182"/>
                <a:gd name="connsiteX66" fmla="*/ 440230 w 877796"/>
                <a:gd name="connsiteY66" fmla="*/ 408147 h 553182"/>
                <a:gd name="connsiteX67" fmla="*/ 471914 w 877796"/>
                <a:gd name="connsiteY67" fmla="*/ 417396 h 553182"/>
                <a:gd name="connsiteX68" fmla="*/ 488838 w 877796"/>
                <a:gd name="connsiteY68" fmla="*/ 444553 h 553182"/>
                <a:gd name="connsiteX69" fmla="*/ 536166 w 877796"/>
                <a:gd name="connsiteY69" fmla="*/ 446619 h 553182"/>
                <a:gd name="connsiteX70" fmla="*/ 542267 w 877796"/>
                <a:gd name="connsiteY70" fmla="*/ 531437 h 553182"/>
                <a:gd name="connsiteX71" fmla="*/ 627478 w 877796"/>
                <a:gd name="connsiteY71" fmla="*/ 553182 h 553182"/>
                <a:gd name="connsiteX72" fmla="*/ 657980 w 877796"/>
                <a:gd name="connsiteY72" fmla="*/ 532224 h 553182"/>
                <a:gd name="connsiteX73" fmla="*/ 145141 w 877796"/>
                <a:gd name="connsiteY73" fmla="*/ 133130 h 553182"/>
                <a:gd name="connsiteX74" fmla="*/ 135793 w 877796"/>
                <a:gd name="connsiteY74" fmla="*/ 140116 h 553182"/>
                <a:gd name="connsiteX75" fmla="*/ 123198 w 877796"/>
                <a:gd name="connsiteY75" fmla="*/ 133819 h 553182"/>
                <a:gd name="connsiteX76" fmla="*/ 115819 w 877796"/>
                <a:gd name="connsiteY76" fmla="*/ 152514 h 553182"/>
                <a:gd name="connsiteX77" fmla="*/ 81774 w 877796"/>
                <a:gd name="connsiteY77" fmla="*/ 148676 h 553182"/>
                <a:gd name="connsiteX78" fmla="*/ 79806 w 877796"/>
                <a:gd name="connsiteY78" fmla="*/ 140706 h 553182"/>
                <a:gd name="connsiteX79" fmla="*/ 70852 w 877796"/>
                <a:gd name="connsiteY79" fmla="*/ 142379 h 553182"/>
                <a:gd name="connsiteX80" fmla="*/ 57273 w 877796"/>
                <a:gd name="connsiteY80" fmla="*/ 143658 h 553182"/>
                <a:gd name="connsiteX81" fmla="*/ 43104 w 877796"/>
                <a:gd name="connsiteY81" fmla="*/ 138738 h 553182"/>
                <a:gd name="connsiteX82" fmla="*/ 30313 w 877796"/>
                <a:gd name="connsiteY82" fmla="*/ 92295 h 553182"/>
                <a:gd name="connsiteX83" fmla="*/ 32871 w 877796"/>
                <a:gd name="connsiteY83" fmla="*/ 81669 h 553182"/>
                <a:gd name="connsiteX84" fmla="*/ 26573 w 877796"/>
                <a:gd name="connsiteY84" fmla="*/ 71337 h 553182"/>
                <a:gd name="connsiteX85" fmla="*/ 61110 w 877796"/>
                <a:gd name="connsiteY85" fmla="*/ 46935 h 553182"/>
                <a:gd name="connsiteX86" fmla="*/ 80986 w 877796"/>
                <a:gd name="connsiteY86" fmla="*/ 43294 h 553182"/>
                <a:gd name="connsiteX87" fmla="*/ 94565 w 877796"/>
                <a:gd name="connsiteY87" fmla="*/ 52445 h 553182"/>
                <a:gd name="connsiteX88" fmla="*/ 97910 w 877796"/>
                <a:gd name="connsiteY88" fmla="*/ 66024 h 553182"/>
                <a:gd name="connsiteX89" fmla="*/ 103125 w 877796"/>
                <a:gd name="connsiteY89" fmla="*/ 77831 h 553182"/>
                <a:gd name="connsiteX90" fmla="*/ 108045 w 877796"/>
                <a:gd name="connsiteY90" fmla="*/ 93279 h 553182"/>
                <a:gd name="connsiteX91" fmla="*/ 145141 w 877796"/>
                <a:gd name="connsiteY91" fmla="*/ 133228 h 55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77796" h="553182">
                  <a:moveTo>
                    <a:pt x="657784" y="532224"/>
                  </a:moveTo>
                  <a:lnTo>
                    <a:pt x="658177" y="503590"/>
                  </a:lnTo>
                  <a:lnTo>
                    <a:pt x="749685" y="467971"/>
                  </a:lnTo>
                  <a:lnTo>
                    <a:pt x="764937" y="411295"/>
                  </a:lnTo>
                  <a:lnTo>
                    <a:pt x="809805" y="405195"/>
                  </a:lnTo>
                  <a:lnTo>
                    <a:pt x="817579" y="380793"/>
                  </a:lnTo>
                  <a:lnTo>
                    <a:pt x="873074" y="395257"/>
                  </a:lnTo>
                  <a:lnTo>
                    <a:pt x="877797" y="350093"/>
                  </a:lnTo>
                  <a:lnTo>
                    <a:pt x="833814" y="330906"/>
                  </a:lnTo>
                  <a:lnTo>
                    <a:pt x="814430" y="332086"/>
                  </a:lnTo>
                  <a:lnTo>
                    <a:pt x="740141" y="278067"/>
                  </a:lnTo>
                  <a:lnTo>
                    <a:pt x="713672" y="273344"/>
                  </a:lnTo>
                  <a:lnTo>
                    <a:pt x="620491" y="207025"/>
                  </a:lnTo>
                  <a:lnTo>
                    <a:pt x="612521" y="172882"/>
                  </a:lnTo>
                  <a:lnTo>
                    <a:pt x="594613" y="161173"/>
                  </a:lnTo>
                  <a:lnTo>
                    <a:pt x="586348" y="121125"/>
                  </a:lnTo>
                  <a:lnTo>
                    <a:pt x="547678" y="106563"/>
                  </a:lnTo>
                  <a:lnTo>
                    <a:pt x="547678" y="117583"/>
                  </a:lnTo>
                  <a:lnTo>
                    <a:pt x="500055" y="117583"/>
                  </a:lnTo>
                  <a:lnTo>
                    <a:pt x="470634" y="97806"/>
                  </a:lnTo>
                  <a:lnTo>
                    <a:pt x="469552" y="37095"/>
                  </a:lnTo>
                  <a:lnTo>
                    <a:pt x="427832" y="32569"/>
                  </a:lnTo>
                  <a:lnTo>
                    <a:pt x="382373" y="0"/>
                  </a:lnTo>
                  <a:lnTo>
                    <a:pt x="356987" y="5412"/>
                  </a:lnTo>
                  <a:lnTo>
                    <a:pt x="374797" y="31388"/>
                  </a:lnTo>
                  <a:lnTo>
                    <a:pt x="360923" y="38965"/>
                  </a:lnTo>
                  <a:lnTo>
                    <a:pt x="338981" y="23615"/>
                  </a:lnTo>
                  <a:lnTo>
                    <a:pt x="283190" y="65335"/>
                  </a:lnTo>
                  <a:lnTo>
                    <a:pt x="287716" y="111581"/>
                  </a:lnTo>
                  <a:lnTo>
                    <a:pt x="180563" y="115910"/>
                  </a:lnTo>
                  <a:lnTo>
                    <a:pt x="160097" y="66516"/>
                  </a:lnTo>
                  <a:lnTo>
                    <a:pt x="110407" y="23615"/>
                  </a:lnTo>
                  <a:lnTo>
                    <a:pt x="49500" y="23615"/>
                  </a:lnTo>
                  <a:lnTo>
                    <a:pt x="1679" y="56873"/>
                  </a:lnTo>
                  <a:lnTo>
                    <a:pt x="1679" y="56873"/>
                  </a:lnTo>
                  <a:cubicBezTo>
                    <a:pt x="1384" y="62186"/>
                    <a:pt x="7" y="66909"/>
                    <a:pt x="203" y="66122"/>
                  </a:cubicBezTo>
                  <a:cubicBezTo>
                    <a:pt x="-1174" y="71829"/>
                    <a:pt x="4926" y="75962"/>
                    <a:pt x="4139" y="74978"/>
                  </a:cubicBezTo>
                  <a:cubicBezTo>
                    <a:pt x="8862" y="78126"/>
                    <a:pt x="7878" y="85014"/>
                    <a:pt x="7681" y="84030"/>
                  </a:cubicBezTo>
                  <a:cubicBezTo>
                    <a:pt x="5910" y="93870"/>
                    <a:pt x="18013" y="93870"/>
                    <a:pt x="20768" y="104792"/>
                  </a:cubicBezTo>
                  <a:lnTo>
                    <a:pt x="27065" y="130079"/>
                  </a:lnTo>
                  <a:cubicBezTo>
                    <a:pt x="31297" y="146708"/>
                    <a:pt x="18603" y="161861"/>
                    <a:pt x="20178" y="159303"/>
                  </a:cubicBezTo>
                  <a:cubicBezTo>
                    <a:pt x="14176" y="167667"/>
                    <a:pt x="18013" y="195808"/>
                    <a:pt x="22244" y="201515"/>
                  </a:cubicBezTo>
                  <a:cubicBezTo>
                    <a:pt x="51566" y="240775"/>
                    <a:pt x="24704" y="196595"/>
                    <a:pt x="39562" y="198465"/>
                  </a:cubicBezTo>
                  <a:lnTo>
                    <a:pt x="54419" y="200433"/>
                  </a:lnTo>
                  <a:cubicBezTo>
                    <a:pt x="61799" y="201417"/>
                    <a:pt x="65735" y="208895"/>
                    <a:pt x="61799" y="212831"/>
                  </a:cubicBezTo>
                  <a:cubicBezTo>
                    <a:pt x="58257" y="216373"/>
                    <a:pt x="64554" y="222572"/>
                    <a:pt x="63964" y="221588"/>
                  </a:cubicBezTo>
                  <a:cubicBezTo>
                    <a:pt x="72131" y="230542"/>
                    <a:pt x="53927" y="232116"/>
                    <a:pt x="56289" y="231329"/>
                  </a:cubicBezTo>
                  <a:cubicBezTo>
                    <a:pt x="48221" y="231132"/>
                    <a:pt x="50385" y="219521"/>
                    <a:pt x="46745" y="226606"/>
                  </a:cubicBezTo>
                  <a:lnTo>
                    <a:pt x="42809" y="234281"/>
                  </a:lnTo>
                  <a:cubicBezTo>
                    <a:pt x="39267" y="241267"/>
                    <a:pt x="44186" y="252484"/>
                    <a:pt x="43990" y="251500"/>
                  </a:cubicBezTo>
                  <a:cubicBezTo>
                    <a:pt x="45859" y="257798"/>
                    <a:pt x="48614" y="248450"/>
                    <a:pt x="48024" y="249434"/>
                  </a:cubicBezTo>
                  <a:cubicBezTo>
                    <a:pt x="50484" y="241759"/>
                    <a:pt x="64259" y="245891"/>
                    <a:pt x="68490" y="251992"/>
                  </a:cubicBezTo>
                  <a:lnTo>
                    <a:pt x="76559" y="263701"/>
                  </a:lnTo>
                  <a:cubicBezTo>
                    <a:pt x="80691" y="269802"/>
                    <a:pt x="91416" y="272360"/>
                    <a:pt x="90432" y="271868"/>
                  </a:cubicBezTo>
                  <a:cubicBezTo>
                    <a:pt x="93384" y="272852"/>
                    <a:pt x="94860" y="276001"/>
                    <a:pt x="93876" y="278854"/>
                  </a:cubicBezTo>
                  <a:lnTo>
                    <a:pt x="87481" y="296664"/>
                  </a:lnTo>
                  <a:cubicBezTo>
                    <a:pt x="83742" y="307291"/>
                    <a:pt x="90236" y="318508"/>
                    <a:pt x="87382" y="330020"/>
                  </a:cubicBezTo>
                  <a:cubicBezTo>
                    <a:pt x="86103" y="335038"/>
                    <a:pt x="84332" y="340942"/>
                    <a:pt x="85217" y="347338"/>
                  </a:cubicBezTo>
                  <a:cubicBezTo>
                    <a:pt x="89350" y="376463"/>
                    <a:pt x="91023" y="390927"/>
                    <a:pt x="92696" y="399586"/>
                  </a:cubicBezTo>
                  <a:lnTo>
                    <a:pt x="144157" y="385909"/>
                  </a:lnTo>
                  <a:lnTo>
                    <a:pt x="171904" y="349995"/>
                  </a:lnTo>
                  <a:lnTo>
                    <a:pt x="233599" y="345665"/>
                  </a:lnTo>
                  <a:lnTo>
                    <a:pt x="246292" y="331299"/>
                  </a:lnTo>
                  <a:lnTo>
                    <a:pt x="300016" y="331299"/>
                  </a:lnTo>
                  <a:lnTo>
                    <a:pt x="307396" y="353045"/>
                  </a:lnTo>
                  <a:lnTo>
                    <a:pt x="424487" y="378529"/>
                  </a:lnTo>
                  <a:lnTo>
                    <a:pt x="440230" y="408147"/>
                  </a:lnTo>
                  <a:lnTo>
                    <a:pt x="471914" y="417396"/>
                  </a:lnTo>
                  <a:lnTo>
                    <a:pt x="488838" y="444553"/>
                  </a:lnTo>
                  <a:lnTo>
                    <a:pt x="536166" y="446619"/>
                  </a:lnTo>
                  <a:lnTo>
                    <a:pt x="542267" y="531437"/>
                  </a:lnTo>
                  <a:lnTo>
                    <a:pt x="627478" y="553182"/>
                  </a:lnTo>
                  <a:lnTo>
                    <a:pt x="657980" y="532224"/>
                  </a:lnTo>
                  <a:close/>
                  <a:moveTo>
                    <a:pt x="145141" y="133130"/>
                  </a:moveTo>
                  <a:cubicBezTo>
                    <a:pt x="145141" y="133130"/>
                    <a:pt x="141992" y="139919"/>
                    <a:pt x="135793" y="140116"/>
                  </a:cubicBezTo>
                  <a:cubicBezTo>
                    <a:pt x="128315" y="140411"/>
                    <a:pt x="130676" y="134901"/>
                    <a:pt x="123198" y="133819"/>
                  </a:cubicBezTo>
                  <a:cubicBezTo>
                    <a:pt x="112867" y="132343"/>
                    <a:pt x="127036" y="152022"/>
                    <a:pt x="115819" y="152514"/>
                  </a:cubicBezTo>
                  <a:cubicBezTo>
                    <a:pt x="88661" y="153793"/>
                    <a:pt x="83446" y="155466"/>
                    <a:pt x="81774" y="148676"/>
                  </a:cubicBezTo>
                  <a:lnTo>
                    <a:pt x="79806" y="140706"/>
                  </a:lnTo>
                  <a:cubicBezTo>
                    <a:pt x="78035" y="133622"/>
                    <a:pt x="72426" y="135196"/>
                    <a:pt x="70852" y="142379"/>
                  </a:cubicBezTo>
                  <a:cubicBezTo>
                    <a:pt x="69277" y="149660"/>
                    <a:pt x="65833" y="143461"/>
                    <a:pt x="57273" y="143658"/>
                  </a:cubicBezTo>
                  <a:cubicBezTo>
                    <a:pt x="55305" y="143363"/>
                    <a:pt x="45662" y="145921"/>
                    <a:pt x="43104" y="138738"/>
                  </a:cubicBezTo>
                  <a:cubicBezTo>
                    <a:pt x="29427" y="101053"/>
                    <a:pt x="27065" y="98101"/>
                    <a:pt x="30313" y="92295"/>
                  </a:cubicBezTo>
                  <a:cubicBezTo>
                    <a:pt x="32871" y="87769"/>
                    <a:pt x="33068" y="80685"/>
                    <a:pt x="32871" y="81669"/>
                  </a:cubicBezTo>
                  <a:cubicBezTo>
                    <a:pt x="33068" y="73305"/>
                    <a:pt x="22146" y="78422"/>
                    <a:pt x="26573" y="71337"/>
                  </a:cubicBezTo>
                  <a:cubicBezTo>
                    <a:pt x="50287" y="33652"/>
                    <a:pt x="39267" y="54511"/>
                    <a:pt x="61110" y="46935"/>
                  </a:cubicBezTo>
                  <a:cubicBezTo>
                    <a:pt x="68097" y="44475"/>
                    <a:pt x="74197" y="41523"/>
                    <a:pt x="80986" y="43294"/>
                  </a:cubicBezTo>
                  <a:cubicBezTo>
                    <a:pt x="84037" y="44672"/>
                    <a:pt x="94663" y="44377"/>
                    <a:pt x="94565" y="52445"/>
                  </a:cubicBezTo>
                  <a:cubicBezTo>
                    <a:pt x="94762" y="54019"/>
                    <a:pt x="93384" y="60317"/>
                    <a:pt x="97910" y="66024"/>
                  </a:cubicBezTo>
                  <a:cubicBezTo>
                    <a:pt x="98501" y="67008"/>
                    <a:pt x="103027" y="70943"/>
                    <a:pt x="103125" y="77831"/>
                  </a:cubicBezTo>
                  <a:cubicBezTo>
                    <a:pt x="103519" y="80390"/>
                    <a:pt x="101354" y="89147"/>
                    <a:pt x="108045" y="93279"/>
                  </a:cubicBezTo>
                  <a:cubicBezTo>
                    <a:pt x="123297" y="102529"/>
                    <a:pt x="154783" y="117977"/>
                    <a:pt x="145141" y="133228"/>
                  </a:cubicBezTo>
                  <a:close/>
                </a:path>
              </a:pathLst>
            </a:custGeom>
            <a:grpFill/>
            <a:ln w="9835" cap="flat">
              <a:noFill/>
              <a:prstDash val="solid"/>
              <a:miter/>
            </a:ln>
          </p:spPr>
          <p:txBody>
            <a:bodyPr rtlCol="0" anchor="ctr"/>
            <a:lstStyle/>
            <a:p>
              <a:endParaRPr lang="en-IN"/>
            </a:p>
          </p:txBody>
        </p:sp>
        <p:grpSp>
          <p:nvGrpSpPr>
            <p:cNvPr id="469" name="Graphic 470">
              <a:extLst>
                <a:ext uri="{FF2B5EF4-FFF2-40B4-BE49-F238E27FC236}">
                  <a16:creationId xmlns:a16="http://schemas.microsoft.com/office/drawing/2014/main" id="{AD923673-A7E4-1EA5-9AC5-6C23E953636B}"/>
                </a:ext>
              </a:extLst>
            </p:cNvPr>
            <p:cNvGrpSpPr/>
            <p:nvPr/>
          </p:nvGrpSpPr>
          <p:grpSpPr>
            <a:xfrm>
              <a:off x="6663532" y="3420825"/>
              <a:ext cx="1160628" cy="449046"/>
              <a:chOff x="6663532" y="3420825"/>
              <a:chExt cx="1160628" cy="449046"/>
            </a:xfrm>
            <a:grpFill/>
          </p:grpSpPr>
          <p:sp>
            <p:nvSpPr>
              <p:cNvPr id="834" name="Freeform: Shape 833">
                <a:extLst>
                  <a:ext uri="{FF2B5EF4-FFF2-40B4-BE49-F238E27FC236}">
                    <a16:creationId xmlns:a16="http://schemas.microsoft.com/office/drawing/2014/main" id="{B760A650-7765-631B-21F6-40E9A9A2903B}"/>
                  </a:ext>
                </a:extLst>
              </p:cNvPr>
              <p:cNvSpPr/>
              <p:nvPr/>
            </p:nvSpPr>
            <p:spPr>
              <a:xfrm>
                <a:off x="6764699" y="3531644"/>
                <a:ext cx="18169" cy="9315"/>
              </a:xfrm>
              <a:custGeom>
                <a:avLst/>
                <a:gdLst>
                  <a:gd name="connsiteX0" fmla="*/ 10462 w 18169"/>
                  <a:gd name="connsiteY0" fmla="*/ 8109 h 9315"/>
                  <a:gd name="connsiteX1" fmla="*/ 15480 w 18169"/>
                  <a:gd name="connsiteY1" fmla="*/ 729 h 9315"/>
                  <a:gd name="connsiteX2" fmla="*/ 819 w 18169"/>
                  <a:gd name="connsiteY2" fmla="*/ 4370 h 9315"/>
                  <a:gd name="connsiteX3" fmla="*/ 10462 w 18169"/>
                  <a:gd name="connsiteY3" fmla="*/ 8109 h 9315"/>
                </a:gdLst>
                <a:ahLst/>
                <a:cxnLst>
                  <a:cxn ang="0">
                    <a:pos x="connsiteX0" y="connsiteY0"/>
                  </a:cxn>
                  <a:cxn ang="0">
                    <a:pos x="connsiteX1" y="connsiteY1"/>
                  </a:cxn>
                  <a:cxn ang="0">
                    <a:pos x="connsiteX2" y="connsiteY2"/>
                  </a:cxn>
                  <a:cxn ang="0">
                    <a:pos x="connsiteX3" y="connsiteY3"/>
                  </a:cxn>
                </a:cxnLst>
                <a:rect l="l" t="t" r="r" b="b"/>
                <a:pathLst>
                  <a:path w="18169" h="9315">
                    <a:moveTo>
                      <a:pt x="10462" y="8109"/>
                    </a:moveTo>
                    <a:cubicBezTo>
                      <a:pt x="11839" y="6928"/>
                      <a:pt x="23253" y="1123"/>
                      <a:pt x="15480" y="729"/>
                    </a:cubicBezTo>
                    <a:cubicBezTo>
                      <a:pt x="15480" y="729"/>
                      <a:pt x="-4199" y="-2420"/>
                      <a:pt x="819" y="4370"/>
                    </a:cubicBezTo>
                    <a:cubicBezTo>
                      <a:pt x="1803" y="5157"/>
                      <a:pt x="4657" y="12045"/>
                      <a:pt x="10462" y="8109"/>
                    </a:cubicBezTo>
                    <a:close/>
                  </a:path>
                </a:pathLst>
              </a:custGeom>
              <a:grpFill/>
              <a:ln w="9835" cap="flat">
                <a:noFill/>
                <a:prstDash val="solid"/>
                <a:miter/>
              </a:ln>
            </p:spPr>
            <p:txBody>
              <a:bodyPr rtlCol="0" anchor="ctr"/>
              <a:lstStyle/>
              <a:p>
                <a:endParaRPr lang="en-IN"/>
              </a:p>
            </p:txBody>
          </p:sp>
          <p:sp>
            <p:nvSpPr>
              <p:cNvPr id="835" name="Freeform: Shape 834">
                <a:extLst>
                  <a:ext uri="{FF2B5EF4-FFF2-40B4-BE49-F238E27FC236}">
                    <a16:creationId xmlns:a16="http://schemas.microsoft.com/office/drawing/2014/main" id="{F0FF42AD-7C2B-6B7A-1129-FE6532246F0D}"/>
                  </a:ext>
                </a:extLst>
              </p:cNvPr>
              <p:cNvSpPr/>
              <p:nvPr/>
            </p:nvSpPr>
            <p:spPr>
              <a:xfrm>
                <a:off x="6663532" y="3420825"/>
                <a:ext cx="1160628" cy="449046"/>
              </a:xfrm>
              <a:custGeom>
                <a:avLst/>
                <a:gdLst>
                  <a:gd name="connsiteX0" fmla="*/ 632144 w 1160628"/>
                  <a:gd name="connsiteY0" fmla="*/ 449047 h 449046"/>
                  <a:gd name="connsiteX1" fmla="*/ 658317 w 1160628"/>
                  <a:gd name="connsiteY1" fmla="*/ 422873 h 449046"/>
                  <a:gd name="connsiteX2" fmla="*/ 658317 w 1160628"/>
                  <a:gd name="connsiteY2" fmla="*/ 384105 h 449046"/>
                  <a:gd name="connsiteX3" fmla="*/ 700529 w 1160628"/>
                  <a:gd name="connsiteY3" fmla="*/ 397979 h 449046"/>
                  <a:gd name="connsiteX4" fmla="*/ 746185 w 1160628"/>
                  <a:gd name="connsiteY4" fmla="*/ 375447 h 449046"/>
                  <a:gd name="connsiteX5" fmla="*/ 775703 w 1160628"/>
                  <a:gd name="connsiteY5" fmla="*/ 378693 h 449046"/>
                  <a:gd name="connsiteX6" fmla="*/ 791250 w 1160628"/>
                  <a:gd name="connsiteY6" fmla="*/ 394831 h 449046"/>
                  <a:gd name="connsiteX7" fmla="*/ 851862 w 1160628"/>
                  <a:gd name="connsiteY7" fmla="*/ 389911 h 449046"/>
                  <a:gd name="connsiteX8" fmla="*/ 906472 w 1160628"/>
                  <a:gd name="connsiteY8" fmla="*/ 365410 h 449046"/>
                  <a:gd name="connsiteX9" fmla="*/ 970921 w 1160628"/>
                  <a:gd name="connsiteY9" fmla="*/ 364033 h 449046"/>
                  <a:gd name="connsiteX10" fmla="*/ 984303 w 1160628"/>
                  <a:gd name="connsiteY10" fmla="*/ 349273 h 449046"/>
                  <a:gd name="connsiteX11" fmla="*/ 1002801 w 1160628"/>
                  <a:gd name="connsiteY11" fmla="*/ 349273 h 449046"/>
                  <a:gd name="connsiteX12" fmla="*/ 1008410 w 1160628"/>
                  <a:gd name="connsiteY12" fmla="*/ 370822 h 449046"/>
                  <a:gd name="connsiteX13" fmla="*/ 1026515 w 1160628"/>
                  <a:gd name="connsiteY13" fmla="*/ 362655 h 449046"/>
                  <a:gd name="connsiteX14" fmla="*/ 1031730 w 1160628"/>
                  <a:gd name="connsiteY14" fmla="*/ 346124 h 449046"/>
                  <a:gd name="connsiteX15" fmla="*/ 1096474 w 1160628"/>
                  <a:gd name="connsiteY15" fmla="*/ 356850 h 449046"/>
                  <a:gd name="connsiteX16" fmla="*/ 1106019 w 1160628"/>
                  <a:gd name="connsiteY16" fmla="*/ 346124 h 449046"/>
                  <a:gd name="connsiteX17" fmla="*/ 1121467 w 1160628"/>
                  <a:gd name="connsiteY17" fmla="*/ 352717 h 449046"/>
                  <a:gd name="connsiteX18" fmla="*/ 1125501 w 1160628"/>
                  <a:gd name="connsiteY18" fmla="*/ 374463 h 449046"/>
                  <a:gd name="connsiteX19" fmla="*/ 1160628 w 1160628"/>
                  <a:gd name="connsiteY19" fmla="*/ 357538 h 449046"/>
                  <a:gd name="connsiteX20" fmla="*/ 1145672 w 1160628"/>
                  <a:gd name="connsiteY20" fmla="*/ 318869 h 449046"/>
                  <a:gd name="connsiteX21" fmla="*/ 1123435 w 1160628"/>
                  <a:gd name="connsiteY21" fmla="*/ 306865 h 449046"/>
                  <a:gd name="connsiteX22" fmla="*/ 1135045 w 1160628"/>
                  <a:gd name="connsiteY22" fmla="*/ 273410 h 449046"/>
                  <a:gd name="connsiteX23" fmla="*/ 1111234 w 1160628"/>
                  <a:gd name="connsiteY23" fmla="*/ 200499 h 449046"/>
                  <a:gd name="connsiteX24" fmla="*/ 1134258 w 1160628"/>
                  <a:gd name="connsiteY24" fmla="*/ 198039 h 449046"/>
                  <a:gd name="connsiteX25" fmla="*/ 1137800 w 1160628"/>
                  <a:gd name="connsiteY25" fmla="*/ 183870 h 449046"/>
                  <a:gd name="connsiteX26" fmla="*/ 1159644 w 1160628"/>
                  <a:gd name="connsiteY26" fmla="*/ 188691 h 449046"/>
                  <a:gd name="connsiteX27" fmla="*/ 1159644 w 1160628"/>
                  <a:gd name="connsiteY27" fmla="*/ 173046 h 449046"/>
                  <a:gd name="connsiteX28" fmla="*/ 1133766 w 1160628"/>
                  <a:gd name="connsiteY28" fmla="*/ 150120 h 449046"/>
                  <a:gd name="connsiteX29" fmla="*/ 1091456 w 1160628"/>
                  <a:gd name="connsiteY29" fmla="*/ 149825 h 449046"/>
                  <a:gd name="connsiteX30" fmla="*/ 1082305 w 1160628"/>
                  <a:gd name="connsiteY30" fmla="*/ 121978 h 449046"/>
                  <a:gd name="connsiteX31" fmla="*/ 1093522 w 1160628"/>
                  <a:gd name="connsiteY31" fmla="*/ 106432 h 449046"/>
                  <a:gd name="connsiteX32" fmla="*/ 1090078 w 1160628"/>
                  <a:gd name="connsiteY32" fmla="*/ 85080 h 449046"/>
                  <a:gd name="connsiteX33" fmla="*/ 1040585 w 1160628"/>
                  <a:gd name="connsiteY33" fmla="*/ 36079 h 449046"/>
                  <a:gd name="connsiteX34" fmla="*/ 1023366 w 1160628"/>
                  <a:gd name="connsiteY34" fmla="*/ 36079 h 449046"/>
                  <a:gd name="connsiteX35" fmla="*/ 1014117 w 1160628"/>
                  <a:gd name="connsiteY35" fmla="*/ 50150 h 449046"/>
                  <a:gd name="connsiteX36" fmla="*/ 954095 w 1160628"/>
                  <a:gd name="connsiteY36" fmla="*/ 42868 h 449046"/>
                  <a:gd name="connsiteX37" fmla="*/ 937761 w 1160628"/>
                  <a:gd name="connsiteY37" fmla="*/ 57824 h 449046"/>
                  <a:gd name="connsiteX38" fmla="*/ 898305 w 1160628"/>
                  <a:gd name="connsiteY38" fmla="*/ 76520 h 449046"/>
                  <a:gd name="connsiteX39" fmla="*/ 863177 w 1160628"/>
                  <a:gd name="connsiteY39" fmla="*/ 82817 h 449046"/>
                  <a:gd name="connsiteX40" fmla="*/ 825492 w 1160628"/>
                  <a:gd name="connsiteY40" fmla="*/ 72190 h 449046"/>
                  <a:gd name="connsiteX41" fmla="*/ 812995 w 1160628"/>
                  <a:gd name="connsiteY41" fmla="*/ 73174 h 449046"/>
                  <a:gd name="connsiteX42" fmla="*/ 784067 w 1160628"/>
                  <a:gd name="connsiteY42" fmla="*/ 79865 h 449046"/>
                  <a:gd name="connsiteX43" fmla="*/ 774227 w 1160628"/>
                  <a:gd name="connsiteY43" fmla="*/ 82817 h 449046"/>
                  <a:gd name="connsiteX44" fmla="*/ 738608 w 1160628"/>
                  <a:gd name="connsiteY44" fmla="*/ 79078 h 449046"/>
                  <a:gd name="connsiteX45" fmla="*/ 724734 w 1160628"/>
                  <a:gd name="connsiteY45" fmla="*/ 70124 h 449046"/>
                  <a:gd name="connsiteX46" fmla="*/ 715879 w 1160628"/>
                  <a:gd name="connsiteY46" fmla="*/ 71796 h 449046"/>
                  <a:gd name="connsiteX47" fmla="*/ 706826 w 1160628"/>
                  <a:gd name="connsiteY47" fmla="*/ 74355 h 449046"/>
                  <a:gd name="connsiteX48" fmla="*/ 686753 w 1160628"/>
                  <a:gd name="connsiteY48" fmla="*/ 68353 h 449046"/>
                  <a:gd name="connsiteX49" fmla="*/ 677996 w 1160628"/>
                  <a:gd name="connsiteY49" fmla="*/ 60579 h 449046"/>
                  <a:gd name="connsiteX50" fmla="*/ 662154 w 1160628"/>
                  <a:gd name="connsiteY50" fmla="*/ 51330 h 449046"/>
                  <a:gd name="connsiteX51" fmla="*/ 640507 w 1160628"/>
                  <a:gd name="connsiteY51" fmla="*/ 58120 h 449046"/>
                  <a:gd name="connsiteX52" fmla="*/ 627617 w 1160628"/>
                  <a:gd name="connsiteY52" fmla="*/ 49559 h 449046"/>
                  <a:gd name="connsiteX53" fmla="*/ 622599 w 1160628"/>
                  <a:gd name="connsiteY53" fmla="*/ 37850 h 449046"/>
                  <a:gd name="connsiteX54" fmla="*/ 614334 w 1160628"/>
                  <a:gd name="connsiteY54" fmla="*/ 27617 h 449046"/>
                  <a:gd name="connsiteX55" fmla="*/ 577632 w 1160628"/>
                  <a:gd name="connsiteY55" fmla="*/ 31061 h 449046"/>
                  <a:gd name="connsiteX56" fmla="*/ 562086 w 1160628"/>
                  <a:gd name="connsiteY56" fmla="*/ 17482 h 449046"/>
                  <a:gd name="connsiteX57" fmla="*/ 556674 w 1160628"/>
                  <a:gd name="connsiteY57" fmla="*/ 2034 h 449046"/>
                  <a:gd name="connsiteX58" fmla="*/ 554903 w 1160628"/>
                  <a:gd name="connsiteY58" fmla="*/ 1050 h 449046"/>
                  <a:gd name="connsiteX59" fmla="*/ 530304 w 1160628"/>
                  <a:gd name="connsiteY59" fmla="*/ 9610 h 449046"/>
                  <a:gd name="connsiteX60" fmla="*/ 445388 w 1160628"/>
                  <a:gd name="connsiteY60" fmla="*/ 5182 h 449046"/>
                  <a:gd name="connsiteX61" fmla="*/ 395501 w 1160628"/>
                  <a:gd name="connsiteY61" fmla="*/ 20926 h 449046"/>
                  <a:gd name="connsiteX62" fmla="*/ 327903 w 1160628"/>
                  <a:gd name="connsiteY62" fmla="*/ 60481 h 449046"/>
                  <a:gd name="connsiteX63" fmla="*/ 316391 w 1160628"/>
                  <a:gd name="connsiteY63" fmla="*/ 70911 h 449046"/>
                  <a:gd name="connsiteX64" fmla="*/ 253221 w 1160628"/>
                  <a:gd name="connsiteY64" fmla="*/ 65007 h 449046"/>
                  <a:gd name="connsiteX65" fmla="*/ 188083 w 1160628"/>
                  <a:gd name="connsiteY65" fmla="*/ 67270 h 449046"/>
                  <a:gd name="connsiteX66" fmla="*/ 186803 w 1160628"/>
                  <a:gd name="connsiteY66" fmla="*/ 81735 h 449046"/>
                  <a:gd name="connsiteX67" fmla="*/ 208451 w 1160628"/>
                  <a:gd name="connsiteY67" fmla="*/ 91574 h 449046"/>
                  <a:gd name="connsiteX68" fmla="*/ 233640 w 1160628"/>
                  <a:gd name="connsiteY68" fmla="*/ 96789 h 449046"/>
                  <a:gd name="connsiteX69" fmla="*/ 228720 w 1160628"/>
                  <a:gd name="connsiteY69" fmla="*/ 100725 h 449046"/>
                  <a:gd name="connsiteX70" fmla="*/ 186705 w 1160628"/>
                  <a:gd name="connsiteY70" fmla="*/ 102398 h 449046"/>
                  <a:gd name="connsiteX71" fmla="*/ 171749 w 1160628"/>
                  <a:gd name="connsiteY71" fmla="*/ 109482 h 449046"/>
                  <a:gd name="connsiteX72" fmla="*/ 172733 w 1160628"/>
                  <a:gd name="connsiteY72" fmla="*/ 113713 h 449046"/>
                  <a:gd name="connsiteX73" fmla="*/ 185721 w 1160628"/>
                  <a:gd name="connsiteY73" fmla="*/ 115878 h 449046"/>
                  <a:gd name="connsiteX74" fmla="*/ 187000 w 1160628"/>
                  <a:gd name="connsiteY74" fmla="*/ 121290 h 449046"/>
                  <a:gd name="connsiteX75" fmla="*/ 177653 w 1160628"/>
                  <a:gd name="connsiteY75" fmla="*/ 125324 h 449046"/>
                  <a:gd name="connsiteX76" fmla="*/ 118418 w 1160628"/>
                  <a:gd name="connsiteY76" fmla="*/ 124242 h 449046"/>
                  <a:gd name="connsiteX77" fmla="*/ 85160 w 1160628"/>
                  <a:gd name="connsiteY77" fmla="*/ 127587 h 449046"/>
                  <a:gd name="connsiteX78" fmla="*/ 66564 w 1160628"/>
                  <a:gd name="connsiteY78" fmla="*/ 120011 h 449046"/>
                  <a:gd name="connsiteX79" fmla="*/ 34683 w 1160628"/>
                  <a:gd name="connsiteY79" fmla="*/ 129161 h 449046"/>
                  <a:gd name="connsiteX80" fmla="*/ 4377 w 1160628"/>
                  <a:gd name="connsiteY80" fmla="*/ 161731 h 449046"/>
                  <a:gd name="connsiteX81" fmla="*/ 3885 w 1160628"/>
                  <a:gd name="connsiteY81" fmla="*/ 171767 h 449046"/>
                  <a:gd name="connsiteX82" fmla="*/ 3689 w 1160628"/>
                  <a:gd name="connsiteY82" fmla="*/ 189970 h 449046"/>
                  <a:gd name="connsiteX83" fmla="*/ 51804 w 1160628"/>
                  <a:gd name="connsiteY83" fmla="*/ 183377 h 449046"/>
                  <a:gd name="connsiteX84" fmla="*/ 34978 w 1160628"/>
                  <a:gd name="connsiteY84" fmla="*/ 202663 h 449046"/>
                  <a:gd name="connsiteX85" fmla="*/ 47081 w 1160628"/>
                  <a:gd name="connsiteY85" fmla="*/ 219686 h 449046"/>
                  <a:gd name="connsiteX86" fmla="*/ 46294 w 1160628"/>
                  <a:gd name="connsiteY86" fmla="*/ 221162 h 449046"/>
                  <a:gd name="connsiteX87" fmla="*/ 59184 w 1160628"/>
                  <a:gd name="connsiteY87" fmla="*/ 231887 h 449046"/>
                  <a:gd name="connsiteX88" fmla="*/ 45704 w 1160628"/>
                  <a:gd name="connsiteY88" fmla="*/ 239758 h 449046"/>
                  <a:gd name="connsiteX89" fmla="*/ 46688 w 1160628"/>
                  <a:gd name="connsiteY89" fmla="*/ 252058 h 449046"/>
                  <a:gd name="connsiteX90" fmla="*/ 59873 w 1160628"/>
                  <a:gd name="connsiteY90" fmla="*/ 260618 h 449046"/>
                  <a:gd name="connsiteX91" fmla="*/ 59676 w 1160628"/>
                  <a:gd name="connsiteY91" fmla="*/ 263669 h 449046"/>
                  <a:gd name="connsiteX92" fmla="*/ 39013 w 1160628"/>
                  <a:gd name="connsiteY92" fmla="*/ 267998 h 449046"/>
                  <a:gd name="connsiteX93" fmla="*/ 31043 w 1160628"/>
                  <a:gd name="connsiteY93" fmla="*/ 254813 h 449046"/>
                  <a:gd name="connsiteX94" fmla="*/ 19727 w 1160628"/>
                  <a:gd name="connsiteY94" fmla="*/ 248811 h 449046"/>
                  <a:gd name="connsiteX95" fmla="*/ 18645 w 1160628"/>
                  <a:gd name="connsiteY95" fmla="*/ 250090 h 449046"/>
                  <a:gd name="connsiteX96" fmla="*/ 19825 w 1160628"/>
                  <a:gd name="connsiteY96" fmla="*/ 260618 h 449046"/>
                  <a:gd name="connsiteX97" fmla="*/ 13233 w 1160628"/>
                  <a:gd name="connsiteY97" fmla="*/ 278231 h 449046"/>
                  <a:gd name="connsiteX98" fmla="*/ 30846 w 1160628"/>
                  <a:gd name="connsiteY98" fmla="*/ 283545 h 449046"/>
                  <a:gd name="connsiteX99" fmla="*/ 43834 w 1160628"/>
                  <a:gd name="connsiteY99" fmla="*/ 282757 h 449046"/>
                  <a:gd name="connsiteX100" fmla="*/ 54166 w 1160628"/>
                  <a:gd name="connsiteY100" fmla="*/ 293089 h 449046"/>
                  <a:gd name="connsiteX101" fmla="*/ 71877 w 1160628"/>
                  <a:gd name="connsiteY101" fmla="*/ 301846 h 449046"/>
                  <a:gd name="connsiteX102" fmla="*/ 68236 w 1160628"/>
                  <a:gd name="connsiteY102" fmla="*/ 314244 h 449046"/>
                  <a:gd name="connsiteX103" fmla="*/ 68040 w 1160628"/>
                  <a:gd name="connsiteY103" fmla="*/ 322805 h 449046"/>
                  <a:gd name="connsiteX104" fmla="*/ 84275 w 1160628"/>
                  <a:gd name="connsiteY104" fmla="*/ 329004 h 449046"/>
                  <a:gd name="connsiteX105" fmla="*/ 76797 w 1160628"/>
                  <a:gd name="connsiteY105" fmla="*/ 331955 h 449046"/>
                  <a:gd name="connsiteX106" fmla="*/ 69909 w 1160628"/>
                  <a:gd name="connsiteY106" fmla="*/ 337958 h 449046"/>
                  <a:gd name="connsiteX107" fmla="*/ 74238 w 1160628"/>
                  <a:gd name="connsiteY107" fmla="*/ 342681 h 449046"/>
                  <a:gd name="connsiteX108" fmla="*/ 74238 w 1160628"/>
                  <a:gd name="connsiteY108" fmla="*/ 342681 h 449046"/>
                  <a:gd name="connsiteX109" fmla="*/ 89391 w 1160628"/>
                  <a:gd name="connsiteY109" fmla="*/ 347994 h 449046"/>
                  <a:gd name="connsiteX110" fmla="*/ 83389 w 1160628"/>
                  <a:gd name="connsiteY110" fmla="*/ 357440 h 449046"/>
                  <a:gd name="connsiteX111" fmla="*/ 81421 w 1160628"/>
                  <a:gd name="connsiteY111" fmla="*/ 356850 h 449046"/>
                  <a:gd name="connsiteX112" fmla="*/ 71582 w 1160628"/>
                  <a:gd name="connsiteY112" fmla="*/ 362458 h 449046"/>
                  <a:gd name="connsiteX113" fmla="*/ 74238 w 1160628"/>
                  <a:gd name="connsiteY113" fmla="*/ 367575 h 449046"/>
                  <a:gd name="connsiteX114" fmla="*/ 118123 w 1160628"/>
                  <a:gd name="connsiteY114" fmla="*/ 362753 h 449046"/>
                  <a:gd name="connsiteX115" fmla="*/ 134260 w 1160628"/>
                  <a:gd name="connsiteY115" fmla="*/ 365410 h 449046"/>
                  <a:gd name="connsiteX116" fmla="*/ 81815 w 1160628"/>
                  <a:gd name="connsiteY116" fmla="*/ 390895 h 449046"/>
                  <a:gd name="connsiteX117" fmla="*/ 87227 w 1160628"/>
                  <a:gd name="connsiteY117" fmla="*/ 393847 h 449046"/>
                  <a:gd name="connsiteX118" fmla="*/ 96673 w 1160628"/>
                  <a:gd name="connsiteY118" fmla="*/ 388927 h 449046"/>
                  <a:gd name="connsiteX119" fmla="*/ 115762 w 1160628"/>
                  <a:gd name="connsiteY119" fmla="*/ 385877 h 449046"/>
                  <a:gd name="connsiteX120" fmla="*/ 117729 w 1160628"/>
                  <a:gd name="connsiteY120" fmla="*/ 393060 h 449046"/>
                  <a:gd name="connsiteX121" fmla="*/ 128651 w 1160628"/>
                  <a:gd name="connsiteY121" fmla="*/ 392272 h 449046"/>
                  <a:gd name="connsiteX122" fmla="*/ 142919 w 1160628"/>
                  <a:gd name="connsiteY122" fmla="*/ 380071 h 449046"/>
                  <a:gd name="connsiteX123" fmla="*/ 157678 w 1160628"/>
                  <a:gd name="connsiteY123" fmla="*/ 384007 h 449046"/>
                  <a:gd name="connsiteX124" fmla="*/ 163680 w 1160628"/>
                  <a:gd name="connsiteY124" fmla="*/ 390600 h 449046"/>
                  <a:gd name="connsiteX125" fmla="*/ 171650 w 1160628"/>
                  <a:gd name="connsiteY125" fmla="*/ 389419 h 449046"/>
                  <a:gd name="connsiteX126" fmla="*/ 183950 w 1160628"/>
                  <a:gd name="connsiteY126" fmla="*/ 389025 h 449046"/>
                  <a:gd name="connsiteX127" fmla="*/ 191034 w 1160628"/>
                  <a:gd name="connsiteY127" fmla="*/ 411164 h 449046"/>
                  <a:gd name="connsiteX128" fmla="*/ 229999 w 1160628"/>
                  <a:gd name="connsiteY128" fmla="*/ 425530 h 449046"/>
                  <a:gd name="connsiteX129" fmla="*/ 259616 w 1160628"/>
                  <a:gd name="connsiteY129" fmla="*/ 417363 h 449046"/>
                  <a:gd name="connsiteX130" fmla="*/ 272310 w 1160628"/>
                  <a:gd name="connsiteY130" fmla="*/ 416379 h 449046"/>
                  <a:gd name="connsiteX131" fmla="*/ 282936 w 1160628"/>
                  <a:gd name="connsiteY131" fmla="*/ 377021 h 449046"/>
                  <a:gd name="connsiteX132" fmla="*/ 327411 w 1160628"/>
                  <a:gd name="connsiteY132" fmla="*/ 380957 h 449046"/>
                  <a:gd name="connsiteX133" fmla="*/ 379660 w 1160628"/>
                  <a:gd name="connsiteY133" fmla="*/ 409491 h 449046"/>
                  <a:gd name="connsiteX134" fmla="*/ 407506 w 1160628"/>
                  <a:gd name="connsiteY134" fmla="*/ 431631 h 449046"/>
                  <a:gd name="connsiteX135" fmla="*/ 493110 w 1160628"/>
                  <a:gd name="connsiteY135" fmla="*/ 414903 h 449046"/>
                  <a:gd name="connsiteX136" fmla="*/ 539061 w 1160628"/>
                  <a:gd name="connsiteY136" fmla="*/ 381547 h 449046"/>
                  <a:gd name="connsiteX137" fmla="*/ 580387 w 1160628"/>
                  <a:gd name="connsiteY137" fmla="*/ 395716 h 449046"/>
                  <a:gd name="connsiteX138" fmla="*/ 617384 w 1160628"/>
                  <a:gd name="connsiteY138" fmla="*/ 376431 h 449046"/>
                  <a:gd name="connsiteX139" fmla="*/ 628208 w 1160628"/>
                  <a:gd name="connsiteY139" fmla="*/ 388828 h 449046"/>
                  <a:gd name="connsiteX140" fmla="*/ 623780 w 1160628"/>
                  <a:gd name="connsiteY140" fmla="*/ 398963 h 449046"/>
                  <a:gd name="connsiteX141" fmla="*/ 604888 w 1160628"/>
                  <a:gd name="connsiteY141" fmla="*/ 420807 h 449046"/>
                  <a:gd name="connsiteX142" fmla="*/ 611284 w 1160628"/>
                  <a:gd name="connsiteY142" fmla="*/ 439994 h 449046"/>
                  <a:gd name="connsiteX143" fmla="*/ 607446 w 1160628"/>
                  <a:gd name="connsiteY143" fmla="*/ 448653 h 449046"/>
                  <a:gd name="connsiteX144" fmla="*/ 632340 w 1160628"/>
                  <a:gd name="connsiteY144" fmla="*/ 448653 h 44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160628" h="449046">
                    <a:moveTo>
                      <a:pt x="632144" y="449047"/>
                    </a:moveTo>
                    <a:lnTo>
                      <a:pt x="658317" y="422873"/>
                    </a:lnTo>
                    <a:lnTo>
                      <a:pt x="658317" y="384105"/>
                    </a:lnTo>
                    <a:lnTo>
                      <a:pt x="700529" y="397979"/>
                    </a:lnTo>
                    <a:lnTo>
                      <a:pt x="746185" y="375447"/>
                    </a:lnTo>
                    <a:lnTo>
                      <a:pt x="775703" y="378693"/>
                    </a:lnTo>
                    <a:lnTo>
                      <a:pt x="791250" y="394831"/>
                    </a:lnTo>
                    <a:lnTo>
                      <a:pt x="851862" y="389911"/>
                    </a:lnTo>
                    <a:lnTo>
                      <a:pt x="906472" y="365410"/>
                    </a:lnTo>
                    <a:lnTo>
                      <a:pt x="970921" y="364033"/>
                    </a:lnTo>
                    <a:lnTo>
                      <a:pt x="984303" y="349273"/>
                    </a:lnTo>
                    <a:lnTo>
                      <a:pt x="1002801" y="349273"/>
                    </a:lnTo>
                    <a:lnTo>
                      <a:pt x="1008410" y="370822"/>
                    </a:lnTo>
                    <a:lnTo>
                      <a:pt x="1026515" y="362655"/>
                    </a:lnTo>
                    <a:lnTo>
                      <a:pt x="1031730" y="346124"/>
                    </a:lnTo>
                    <a:lnTo>
                      <a:pt x="1096474" y="356850"/>
                    </a:lnTo>
                    <a:lnTo>
                      <a:pt x="1106019" y="346124"/>
                    </a:lnTo>
                    <a:lnTo>
                      <a:pt x="1121467" y="352717"/>
                    </a:lnTo>
                    <a:lnTo>
                      <a:pt x="1125501" y="374463"/>
                    </a:lnTo>
                    <a:lnTo>
                      <a:pt x="1160628" y="357538"/>
                    </a:lnTo>
                    <a:lnTo>
                      <a:pt x="1145672" y="318869"/>
                    </a:lnTo>
                    <a:lnTo>
                      <a:pt x="1123435" y="306865"/>
                    </a:lnTo>
                    <a:lnTo>
                      <a:pt x="1135045" y="273410"/>
                    </a:lnTo>
                    <a:lnTo>
                      <a:pt x="1111234" y="200499"/>
                    </a:lnTo>
                    <a:lnTo>
                      <a:pt x="1134258" y="198039"/>
                    </a:lnTo>
                    <a:lnTo>
                      <a:pt x="1137800" y="183870"/>
                    </a:lnTo>
                    <a:lnTo>
                      <a:pt x="1159644" y="188691"/>
                    </a:lnTo>
                    <a:lnTo>
                      <a:pt x="1159644" y="173046"/>
                    </a:lnTo>
                    <a:lnTo>
                      <a:pt x="1133766" y="150120"/>
                    </a:lnTo>
                    <a:lnTo>
                      <a:pt x="1091456" y="149825"/>
                    </a:lnTo>
                    <a:lnTo>
                      <a:pt x="1082305" y="121978"/>
                    </a:lnTo>
                    <a:lnTo>
                      <a:pt x="1093522" y="106432"/>
                    </a:lnTo>
                    <a:lnTo>
                      <a:pt x="1090078" y="85080"/>
                    </a:lnTo>
                    <a:lnTo>
                      <a:pt x="1040585" y="36079"/>
                    </a:lnTo>
                    <a:lnTo>
                      <a:pt x="1023366" y="36079"/>
                    </a:lnTo>
                    <a:lnTo>
                      <a:pt x="1014117" y="50150"/>
                    </a:lnTo>
                    <a:lnTo>
                      <a:pt x="954095" y="42868"/>
                    </a:lnTo>
                    <a:cubicBezTo>
                      <a:pt x="947995" y="50346"/>
                      <a:pt x="943764" y="55856"/>
                      <a:pt x="937761" y="57824"/>
                    </a:cubicBezTo>
                    <a:cubicBezTo>
                      <a:pt x="902831" y="69140"/>
                      <a:pt x="909915" y="73273"/>
                      <a:pt x="898305" y="76520"/>
                    </a:cubicBezTo>
                    <a:cubicBezTo>
                      <a:pt x="874886" y="83014"/>
                      <a:pt x="870065" y="85474"/>
                      <a:pt x="863177" y="82817"/>
                    </a:cubicBezTo>
                    <a:cubicBezTo>
                      <a:pt x="835528" y="71993"/>
                      <a:pt x="832281" y="69435"/>
                      <a:pt x="825492" y="72190"/>
                    </a:cubicBezTo>
                    <a:cubicBezTo>
                      <a:pt x="824508" y="72387"/>
                      <a:pt x="817718" y="76520"/>
                      <a:pt x="812995" y="73174"/>
                    </a:cubicBezTo>
                    <a:cubicBezTo>
                      <a:pt x="802073" y="65302"/>
                      <a:pt x="778950" y="83210"/>
                      <a:pt x="784067" y="79865"/>
                    </a:cubicBezTo>
                    <a:cubicBezTo>
                      <a:pt x="781705" y="81833"/>
                      <a:pt x="777278" y="83112"/>
                      <a:pt x="774227" y="82817"/>
                    </a:cubicBezTo>
                    <a:lnTo>
                      <a:pt x="738608" y="79078"/>
                    </a:lnTo>
                    <a:cubicBezTo>
                      <a:pt x="731130" y="78291"/>
                      <a:pt x="723750" y="69337"/>
                      <a:pt x="724734" y="70124"/>
                    </a:cubicBezTo>
                    <a:cubicBezTo>
                      <a:pt x="720208" y="65598"/>
                      <a:pt x="714895" y="72387"/>
                      <a:pt x="715879" y="71796"/>
                    </a:cubicBezTo>
                    <a:cubicBezTo>
                      <a:pt x="713911" y="74060"/>
                      <a:pt x="709778" y="75240"/>
                      <a:pt x="706826" y="74355"/>
                    </a:cubicBezTo>
                    <a:lnTo>
                      <a:pt x="686753" y="68353"/>
                    </a:lnTo>
                    <a:cubicBezTo>
                      <a:pt x="680850" y="66581"/>
                      <a:pt x="677111" y="59595"/>
                      <a:pt x="677996" y="60579"/>
                    </a:cubicBezTo>
                    <a:cubicBezTo>
                      <a:pt x="674159" y="53692"/>
                      <a:pt x="661170" y="50838"/>
                      <a:pt x="662154" y="51330"/>
                    </a:cubicBezTo>
                    <a:cubicBezTo>
                      <a:pt x="651823" y="47886"/>
                      <a:pt x="649264" y="63925"/>
                      <a:pt x="640507" y="58120"/>
                    </a:cubicBezTo>
                    <a:lnTo>
                      <a:pt x="627617" y="49559"/>
                    </a:lnTo>
                    <a:cubicBezTo>
                      <a:pt x="622107" y="45919"/>
                      <a:pt x="622402" y="36866"/>
                      <a:pt x="622599" y="37850"/>
                    </a:cubicBezTo>
                    <a:cubicBezTo>
                      <a:pt x="622304" y="30962"/>
                      <a:pt x="613350" y="26830"/>
                      <a:pt x="614334" y="27617"/>
                    </a:cubicBezTo>
                    <a:cubicBezTo>
                      <a:pt x="602822" y="21024"/>
                      <a:pt x="586980" y="39227"/>
                      <a:pt x="577632" y="31061"/>
                    </a:cubicBezTo>
                    <a:lnTo>
                      <a:pt x="562086" y="17482"/>
                    </a:lnTo>
                    <a:cubicBezTo>
                      <a:pt x="555690" y="11972"/>
                      <a:pt x="564054" y="5871"/>
                      <a:pt x="556674" y="2034"/>
                    </a:cubicBezTo>
                    <a:lnTo>
                      <a:pt x="554903" y="1050"/>
                    </a:lnTo>
                    <a:cubicBezTo>
                      <a:pt x="545457" y="-3968"/>
                      <a:pt x="541914" y="10693"/>
                      <a:pt x="530304" y="9610"/>
                    </a:cubicBezTo>
                    <a:cubicBezTo>
                      <a:pt x="450209" y="2723"/>
                      <a:pt x="452079" y="1936"/>
                      <a:pt x="445388" y="5182"/>
                    </a:cubicBezTo>
                    <a:cubicBezTo>
                      <a:pt x="403275" y="25747"/>
                      <a:pt x="408883" y="13841"/>
                      <a:pt x="395501" y="20926"/>
                    </a:cubicBezTo>
                    <a:cubicBezTo>
                      <a:pt x="331642" y="55069"/>
                      <a:pt x="331446" y="53889"/>
                      <a:pt x="327903" y="60481"/>
                    </a:cubicBezTo>
                    <a:cubicBezTo>
                      <a:pt x="326329" y="62449"/>
                      <a:pt x="324164" y="71796"/>
                      <a:pt x="316391" y="70911"/>
                    </a:cubicBezTo>
                    <a:cubicBezTo>
                      <a:pt x="266406" y="64614"/>
                      <a:pt x="260797" y="63039"/>
                      <a:pt x="253221" y="65007"/>
                    </a:cubicBezTo>
                    <a:cubicBezTo>
                      <a:pt x="219077" y="74060"/>
                      <a:pt x="194183" y="55463"/>
                      <a:pt x="188083" y="67270"/>
                    </a:cubicBezTo>
                    <a:cubicBezTo>
                      <a:pt x="187295" y="70025"/>
                      <a:pt x="180113" y="77799"/>
                      <a:pt x="186803" y="81735"/>
                    </a:cubicBezTo>
                    <a:cubicBezTo>
                      <a:pt x="195561" y="86851"/>
                      <a:pt x="201169" y="91082"/>
                      <a:pt x="208451" y="91574"/>
                    </a:cubicBezTo>
                    <a:cubicBezTo>
                      <a:pt x="224391" y="92558"/>
                      <a:pt x="232853" y="91869"/>
                      <a:pt x="233640" y="96789"/>
                    </a:cubicBezTo>
                    <a:cubicBezTo>
                      <a:pt x="233935" y="98855"/>
                      <a:pt x="231770" y="100627"/>
                      <a:pt x="228720" y="100725"/>
                    </a:cubicBezTo>
                    <a:lnTo>
                      <a:pt x="186705" y="102398"/>
                    </a:lnTo>
                    <a:cubicBezTo>
                      <a:pt x="179227" y="102693"/>
                      <a:pt x="170765" y="110073"/>
                      <a:pt x="171749" y="109482"/>
                    </a:cubicBezTo>
                    <a:cubicBezTo>
                      <a:pt x="169289" y="111253"/>
                      <a:pt x="169683" y="113221"/>
                      <a:pt x="172733" y="113713"/>
                    </a:cubicBezTo>
                    <a:lnTo>
                      <a:pt x="185721" y="115878"/>
                    </a:lnTo>
                    <a:cubicBezTo>
                      <a:pt x="191428" y="116862"/>
                      <a:pt x="186705" y="122274"/>
                      <a:pt x="187000" y="121290"/>
                    </a:cubicBezTo>
                    <a:cubicBezTo>
                      <a:pt x="184934" y="123553"/>
                      <a:pt x="180703" y="125324"/>
                      <a:pt x="177653" y="125324"/>
                    </a:cubicBezTo>
                    <a:lnTo>
                      <a:pt x="118418" y="124242"/>
                    </a:lnTo>
                    <a:cubicBezTo>
                      <a:pt x="103659" y="123946"/>
                      <a:pt x="93819" y="133196"/>
                      <a:pt x="85160" y="127587"/>
                    </a:cubicBezTo>
                    <a:cubicBezTo>
                      <a:pt x="81028" y="125422"/>
                      <a:pt x="74632" y="118436"/>
                      <a:pt x="66564" y="120011"/>
                    </a:cubicBezTo>
                    <a:cubicBezTo>
                      <a:pt x="50328" y="123159"/>
                      <a:pt x="40587" y="123750"/>
                      <a:pt x="34683" y="129161"/>
                    </a:cubicBezTo>
                    <a:cubicBezTo>
                      <a:pt x="6936" y="154154"/>
                      <a:pt x="4771" y="154744"/>
                      <a:pt x="4377" y="161731"/>
                    </a:cubicBezTo>
                    <a:lnTo>
                      <a:pt x="3885" y="171767"/>
                    </a:lnTo>
                    <a:cubicBezTo>
                      <a:pt x="3393" y="183082"/>
                      <a:pt x="-4478" y="191938"/>
                      <a:pt x="3689" y="189970"/>
                    </a:cubicBezTo>
                    <a:cubicBezTo>
                      <a:pt x="47475" y="178950"/>
                      <a:pt x="52591" y="175900"/>
                      <a:pt x="51804" y="183377"/>
                    </a:cubicBezTo>
                    <a:cubicBezTo>
                      <a:pt x="50525" y="195284"/>
                      <a:pt x="26221" y="195480"/>
                      <a:pt x="34978" y="202663"/>
                    </a:cubicBezTo>
                    <a:cubicBezTo>
                      <a:pt x="39603" y="207485"/>
                      <a:pt x="50820" y="212011"/>
                      <a:pt x="47081" y="219686"/>
                    </a:cubicBezTo>
                    <a:lnTo>
                      <a:pt x="46294" y="221162"/>
                    </a:lnTo>
                    <a:cubicBezTo>
                      <a:pt x="41571" y="230608"/>
                      <a:pt x="61349" y="224802"/>
                      <a:pt x="59184" y="231887"/>
                    </a:cubicBezTo>
                    <a:cubicBezTo>
                      <a:pt x="57708" y="236610"/>
                      <a:pt x="44720" y="240152"/>
                      <a:pt x="45704" y="239758"/>
                    </a:cubicBezTo>
                    <a:cubicBezTo>
                      <a:pt x="38521" y="242415"/>
                      <a:pt x="46983" y="253042"/>
                      <a:pt x="46688" y="252058"/>
                    </a:cubicBezTo>
                    <a:cubicBezTo>
                      <a:pt x="50427" y="258355"/>
                      <a:pt x="60857" y="261209"/>
                      <a:pt x="59873" y="260618"/>
                    </a:cubicBezTo>
                    <a:cubicBezTo>
                      <a:pt x="62726" y="261701"/>
                      <a:pt x="62628" y="263078"/>
                      <a:pt x="59676" y="263669"/>
                    </a:cubicBezTo>
                    <a:lnTo>
                      <a:pt x="39013" y="267998"/>
                    </a:lnTo>
                    <a:cubicBezTo>
                      <a:pt x="31535" y="269572"/>
                      <a:pt x="36159" y="261701"/>
                      <a:pt x="31043" y="254813"/>
                    </a:cubicBezTo>
                    <a:cubicBezTo>
                      <a:pt x="29370" y="253337"/>
                      <a:pt x="24745" y="242809"/>
                      <a:pt x="19727" y="248811"/>
                    </a:cubicBezTo>
                    <a:lnTo>
                      <a:pt x="18645" y="250090"/>
                    </a:lnTo>
                    <a:cubicBezTo>
                      <a:pt x="14512" y="255108"/>
                      <a:pt x="20219" y="261602"/>
                      <a:pt x="19825" y="260618"/>
                    </a:cubicBezTo>
                    <a:cubicBezTo>
                      <a:pt x="26615" y="269376"/>
                      <a:pt x="3787" y="272426"/>
                      <a:pt x="13233" y="278231"/>
                    </a:cubicBezTo>
                    <a:cubicBezTo>
                      <a:pt x="18546" y="280691"/>
                      <a:pt x="28583" y="290432"/>
                      <a:pt x="30846" y="283545"/>
                    </a:cubicBezTo>
                    <a:cubicBezTo>
                      <a:pt x="32715" y="277542"/>
                      <a:pt x="40489" y="276263"/>
                      <a:pt x="43834" y="282757"/>
                    </a:cubicBezTo>
                    <a:cubicBezTo>
                      <a:pt x="44523" y="283741"/>
                      <a:pt x="46884" y="291810"/>
                      <a:pt x="54166" y="293089"/>
                    </a:cubicBezTo>
                    <a:cubicBezTo>
                      <a:pt x="60069" y="294959"/>
                      <a:pt x="72172" y="293483"/>
                      <a:pt x="71877" y="301846"/>
                    </a:cubicBezTo>
                    <a:cubicBezTo>
                      <a:pt x="71680" y="302830"/>
                      <a:pt x="72467" y="308734"/>
                      <a:pt x="68236" y="314244"/>
                    </a:cubicBezTo>
                    <a:cubicBezTo>
                      <a:pt x="67843" y="315228"/>
                      <a:pt x="61053" y="321230"/>
                      <a:pt x="68040" y="322805"/>
                    </a:cubicBezTo>
                    <a:cubicBezTo>
                      <a:pt x="76600" y="324674"/>
                      <a:pt x="82307" y="325265"/>
                      <a:pt x="84275" y="329004"/>
                    </a:cubicBezTo>
                    <a:cubicBezTo>
                      <a:pt x="86341" y="332841"/>
                      <a:pt x="75813" y="332152"/>
                      <a:pt x="76797" y="331955"/>
                    </a:cubicBezTo>
                    <a:cubicBezTo>
                      <a:pt x="70991" y="331955"/>
                      <a:pt x="69319" y="338942"/>
                      <a:pt x="69909" y="337958"/>
                    </a:cubicBezTo>
                    <a:cubicBezTo>
                      <a:pt x="69220" y="340909"/>
                      <a:pt x="71188" y="343074"/>
                      <a:pt x="74238" y="342681"/>
                    </a:cubicBezTo>
                    <a:lnTo>
                      <a:pt x="74238" y="342681"/>
                    </a:lnTo>
                    <a:cubicBezTo>
                      <a:pt x="81618" y="341697"/>
                      <a:pt x="90375" y="348486"/>
                      <a:pt x="89391" y="347994"/>
                    </a:cubicBezTo>
                    <a:cubicBezTo>
                      <a:pt x="95590" y="351930"/>
                      <a:pt x="90474" y="359506"/>
                      <a:pt x="83389" y="357440"/>
                    </a:cubicBezTo>
                    <a:lnTo>
                      <a:pt x="81421" y="356850"/>
                    </a:lnTo>
                    <a:cubicBezTo>
                      <a:pt x="75026" y="354980"/>
                      <a:pt x="70598" y="363344"/>
                      <a:pt x="71582" y="362458"/>
                    </a:cubicBezTo>
                    <a:cubicBezTo>
                      <a:pt x="70007" y="365017"/>
                      <a:pt x="71188" y="367378"/>
                      <a:pt x="74238" y="367575"/>
                    </a:cubicBezTo>
                    <a:cubicBezTo>
                      <a:pt x="116057" y="370232"/>
                      <a:pt x="104840" y="362753"/>
                      <a:pt x="118123" y="362753"/>
                    </a:cubicBezTo>
                    <a:cubicBezTo>
                      <a:pt x="125208" y="363246"/>
                      <a:pt x="141935" y="361278"/>
                      <a:pt x="134260" y="365410"/>
                    </a:cubicBezTo>
                    <a:cubicBezTo>
                      <a:pt x="97558" y="385188"/>
                      <a:pt x="80929" y="379874"/>
                      <a:pt x="81815" y="390895"/>
                    </a:cubicBezTo>
                    <a:cubicBezTo>
                      <a:pt x="82110" y="393945"/>
                      <a:pt x="84472" y="395224"/>
                      <a:pt x="87227" y="393847"/>
                    </a:cubicBezTo>
                    <a:lnTo>
                      <a:pt x="96673" y="388927"/>
                    </a:lnTo>
                    <a:cubicBezTo>
                      <a:pt x="103757" y="385188"/>
                      <a:pt x="116746" y="385877"/>
                      <a:pt x="115762" y="385877"/>
                    </a:cubicBezTo>
                    <a:cubicBezTo>
                      <a:pt x="122354" y="385680"/>
                      <a:pt x="117533" y="394043"/>
                      <a:pt x="117729" y="393060"/>
                    </a:cubicBezTo>
                    <a:cubicBezTo>
                      <a:pt x="114482" y="399455"/>
                      <a:pt x="124224" y="398471"/>
                      <a:pt x="128651" y="392272"/>
                    </a:cubicBezTo>
                    <a:cubicBezTo>
                      <a:pt x="131505" y="389222"/>
                      <a:pt x="134850" y="380268"/>
                      <a:pt x="142919" y="380071"/>
                    </a:cubicBezTo>
                    <a:cubicBezTo>
                      <a:pt x="144493" y="380268"/>
                      <a:pt x="152660" y="378595"/>
                      <a:pt x="157678" y="384007"/>
                    </a:cubicBezTo>
                    <a:lnTo>
                      <a:pt x="163680" y="390600"/>
                    </a:lnTo>
                    <a:cubicBezTo>
                      <a:pt x="167813" y="395126"/>
                      <a:pt x="172634" y="388828"/>
                      <a:pt x="171650" y="389419"/>
                    </a:cubicBezTo>
                    <a:cubicBezTo>
                      <a:pt x="175980" y="383908"/>
                      <a:pt x="184934" y="389222"/>
                      <a:pt x="183950" y="389025"/>
                    </a:cubicBezTo>
                    <a:cubicBezTo>
                      <a:pt x="194085" y="393650"/>
                      <a:pt x="181195" y="406245"/>
                      <a:pt x="191034" y="411164"/>
                    </a:cubicBezTo>
                    <a:cubicBezTo>
                      <a:pt x="219766" y="425136"/>
                      <a:pt x="223210" y="428285"/>
                      <a:pt x="229999" y="425530"/>
                    </a:cubicBezTo>
                    <a:cubicBezTo>
                      <a:pt x="246530" y="418642"/>
                      <a:pt x="252729" y="414805"/>
                      <a:pt x="259616" y="417363"/>
                    </a:cubicBezTo>
                    <a:cubicBezTo>
                      <a:pt x="261781" y="417757"/>
                      <a:pt x="271326" y="424152"/>
                      <a:pt x="272310" y="416379"/>
                    </a:cubicBezTo>
                    <a:cubicBezTo>
                      <a:pt x="276836" y="380662"/>
                      <a:pt x="275852" y="376726"/>
                      <a:pt x="282936" y="377021"/>
                    </a:cubicBezTo>
                    <a:cubicBezTo>
                      <a:pt x="316588" y="378202"/>
                      <a:pt x="320819" y="377611"/>
                      <a:pt x="327411" y="380957"/>
                    </a:cubicBezTo>
                    <a:cubicBezTo>
                      <a:pt x="364999" y="400046"/>
                      <a:pt x="373854" y="403489"/>
                      <a:pt x="379660" y="409491"/>
                    </a:cubicBezTo>
                    <a:cubicBezTo>
                      <a:pt x="398355" y="428777"/>
                      <a:pt x="400618" y="432811"/>
                      <a:pt x="407506" y="431631"/>
                    </a:cubicBezTo>
                    <a:cubicBezTo>
                      <a:pt x="488879" y="418544"/>
                      <a:pt x="487403" y="419921"/>
                      <a:pt x="493110" y="414903"/>
                    </a:cubicBezTo>
                    <a:cubicBezTo>
                      <a:pt x="530993" y="381744"/>
                      <a:pt x="532370" y="378398"/>
                      <a:pt x="539061" y="381547"/>
                    </a:cubicBezTo>
                    <a:cubicBezTo>
                      <a:pt x="568973" y="395618"/>
                      <a:pt x="574188" y="400046"/>
                      <a:pt x="580387" y="395716"/>
                    </a:cubicBezTo>
                    <a:cubicBezTo>
                      <a:pt x="608037" y="376627"/>
                      <a:pt x="611185" y="372494"/>
                      <a:pt x="617384" y="376431"/>
                    </a:cubicBezTo>
                    <a:cubicBezTo>
                      <a:pt x="619352" y="378103"/>
                      <a:pt x="628208" y="381055"/>
                      <a:pt x="628208" y="388828"/>
                    </a:cubicBezTo>
                    <a:cubicBezTo>
                      <a:pt x="628011" y="389812"/>
                      <a:pt x="628601" y="395224"/>
                      <a:pt x="623780" y="398963"/>
                    </a:cubicBezTo>
                    <a:cubicBezTo>
                      <a:pt x="613842" y="408212"/>
                      <a:pt x="599968" y="412837"/>
                      <a:pt x="604888" y="420807"/>
                    </a:cubicBezTo>
                    <a:cubicBezTo>
                      <a:pt x="607151" y="425727"/>
                      <a:pt x="614531" y="432516"/>
                      <a:pt x="611284" y="439994"/>
                    </a:cubicBezTo>
                    <a:cubicBezTo>
                      <a:pt x="609808" y="443340"/>
                      <a:pt x="608627" y="446095"/>
                      <a:pt x="607446" y="448653"/>
                    </a:cubicBezTo>
                    <a:lnTo>
                      <a:pt x="632340" y="448653"/>
                    </a:lnTo>
                    <a:close/>
                  </a:path>
                </a:pathLst>
              </a:custGeom>
              <a:grpFill/>
              <a:ln w="9835" cap="flat">
                <a:noFill/>
                <a:prstDash val="solid"/>
                <a:miter/>
              </a:ln>
            </p:spPr>
            <p:txBody>
              <a:bodyPr rtlCol="0" anchor="ctr"/>
              <a:lstStyle/>
              <a:p>
                <a:endParaRPr lang="en-IN"/>
              </a:p>
            </p:txBody>
          </p:sp>
        </p:grpSp>
        <p:grpSp>
          <p:nvGrpSpPr>
            <p:cNvPr id="470" name="Graphic 470">
              <a:extLst>
                <a:ext uri="{FF2B5EF4-FFF2-40B4-BE49-F238E27FC236}">
                  <a16:creationId xmlns:a16="http://schemas.microsoft.com/office/drawing/2014/main" id="{D0E41719-2D3F-EC90-8DE3-3A5EEB73172E}"/>
                </a:ext>
              </a:extLst>
            </p:cNvPr>
            <p:cNvGrpSpPr/>
            <p:nvPr/>
          </p:nvGrpSpPr>
          <p:grpSpPr>
            <a:xfrm>
              <a:off x="11084412" y="4918379"/>
              <a:ext cx="510281" cy="931219"/>
              <a:chOff x="11084412" y="4918379"/>
              <a:chExt cx="510281" cy="931219"/>
            </a:xfrm>
            <a:grpFill/>
          </p:grpSpPr>
          <p:sp>
            <p:nvSpPr>
              <p:cNvPr id="828" name="Freeform: Shape 827">
                <a:extLst>
                  <a:ext uri="{FF2B5EF4-FFF2-40B4-BE49-F238E27FC236}">
                    <a16:creationId xmlns:a16="http://schemas.microsoft.com/office/drawing/2014/main" id="{31458E6B-3E3A-B8DE-CB96-396B9569CCFF}"/>
                  </a:ext>
                </a:extLst>
              </p:cNvPr>
              <p:cNvSpPr/>
              <p:nvPr/>
            </p:nvSpPr>
            <p:spPr>
              <a:xfrm>
                <a:off x="11383279" y="5448621"/>
                <a:ext cx="13478" cy="10640"/>
              </a:xfrm>
              <a:custGeom>
                <a:avLst/>
                <a:gdLst>
                  <a:gd name="connsiteX0" fmla="*/ 8620 w 13478"/>
                  <a:gd name="connsiteY0" fmla="*/ 1884 h 10640"/>
                  <a:gd name="connsiteX1" fmla="*/ 6357 w 13478"/>
                  <a:gd name="connsiteY1" fmla="*/ 703 h 10640"/>
                  <a:gd name="connsiteX2" fmla="*/ 5275 w 13478"/>
                  <a:gd name="connsiteY2" fmla="*/ 10149 h 10640"/>
                  <a:gd name="connsiteX3" fmla="*/ 6751 w 13478"/>
                  <a:gd name="connsiteY3" fmla="*/ 10444 h 10640"/>
                  <a:gd name="connsiteX4" fmla="*/ 8719 w 13478"/>
                  <a:gd name="connsiteY4" fmla="*/ 1982 h 1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8" h="10640">
                    <a:moveTo>
                      <a:pt x="8620" y="1884"/>
                    </a:moveTo>
                    <a:lnTo>
                      <a:pt x="6357" y="703"/>
                    </a:lnTo>
                    <a:cubicBezTo>
                      <a:pt x="-826" y="-2938"/>
                      <a:pt x="-2892" y="8673"/>
                      <a:pt x="5275" y="10149"/>
                    </a:cubicBezTo>
                    <a:lnTo>
                      <a:pt x="6751" y="10444"/>
                    </a:lnTo>
                    <a:cubicBezTo>
                      <a:pt x="14721" y="11822"/>
                      <a:pt x="15902" y="5623"/>
                      <a:pt x="8719" y="1982"/>
                    </a:cubicBezTo>
                    <a:close/>
                  </a:path>
                </a:pathLst>
              </a:custGeom>
              <a:grpFill/>
              <a:ln w="9835" cap="flat">
                <a:noFill/>
                <a:prstDash val="solid"/>
                <a:miter/>
              </a:ln>
            </p:spPr>
            <p:txBody>
              <a:bodyPr rtlCol="0" anchor="ctr"/>
              <a:lstStyle/>
              <a:p>
                <a:endParaRPr lang="en-IN"/>
              </a:p>
            </p:txBody>
          </p:sp>
          <p:sp>
            <p:nvSpPr>
              <p:cNvPr id="829" name="Freeform: Shape 828">
                <a:extLst>
                  <a:ext uri="{FF2B5EF4-FFF2-40B4-BE49-F238E27FC236}">
                    <a16:creationId xmlns:a16="http://schemas.microsoft.com/office/drawing/2014/main" id="{9CD41777-9661-3E0D-57A2-DD665300A72F}"/>
                  </a:ext>
                </a:extLst>
              </p:cNvPr>
              <p:cNvSpPr/>
              <p:nvPr/>
            </p:nvSpPr>
            <p:spPr>
              <a:xfrm>
                <a:off x="11239090" y="5604760"/>
                <a:ext cx="11020" cy="8441"/>
              </a:xfrm>
              <a:custGeom>
                <a:avLst/>
                <a:gdLst>
                  <a:gd name="connsiteX0" fmla="*/ 0 w 11020"/>
                  <a:gd name="connsiteY0" fmla="*/ 3571 h 8441"/>
                  <a:gd name="connsiteX1" fmla="*/ 11021 w 11020"/>
                  <a:gd name="connsiteY1" fmla="*/ 3571 h 8441"/>
                  <a:gd name="connsiteX2" fmla="*/ 0 w 11020"/>
                  <a:gd name="connsiteY2" fmla="*/ 3571 h 8441"/>
                </a:gdLst>
                <a:ahLst/>
                <a:cxnLst>
                  <a:cxn ang="0">
                    <a:pos x="connsiteX0" y="connsiteY0"/>
                  </a:cxn>
                  <a:cxn ang="0">
                    <a:pos x="connsiteX1" y="connsiteY1"/>
                  </a:cxn>
                  <a:cxn ang="0">
                    <a:pos x="connsiteX2" y="connsiteY2"/>
                  </a:cxn>
                </a:cxnLst>
                <a:rect l="l" t="t" r="r" b="b"/>
                <a:pathLst>
                  <a:path w="11020" h="8441">
                    <a:moveTo>
                      <a:pt x="0" y="3571"/>
                    </a:moveTo>
                    <a:cubicBezTo>
                      <a:pt x="0" y="10065"/>
                      <a:pt x="11021" y="10065"/>
                      <a:pt x="11021" y="3571"/>
                    </a:cubicBezTo>
                    <a:cubicBezTo>
                      <a:pt x="11021" y="915"/>
                      <a:pt x="0" y="-2923"/>
                      <a:pt x="0" y="3571"/>
                    </a:cubicBezTo>
                    <a:close/>
                  </a:path>
                </a:pathLst>
              </a:custGeom>
              <a:grpFill/>
              <a:ln w="9835" cap="flat">
                <a:noFill/>
                <a:prstDash val="solid"/>
                <a:miter/>
              </a:ln>
            </p:spPr>
            <p:txBody>
              <a:bodyPr rtlCol="0" anchor="ctr"/>
              <a:lstStyle/>
              <a:p>
                <a:endParaRPr lang="en-IN"/>
              </a:p>
            </p:txBody>
          </p:sp>
          <p:sp>
            <p:nvSpPr>
              <p:cNvPr id="830" name="Freeform: Shape 829">
                <a:extLst>
                  <a:ext uri="{FF2B5EF4-FFF2-40B4-BE49-F238E27FC236}">
                    <a16:creationId xmlns:a16="http://schemas.microsoft.com/office/drawing/2014/main" id="{765AC742-822D-060E-64FC-FB03C1272326}"/>
                  </a:ext>
                </a:extLst>
              </p:cNvPr>
              <p:cNvSpPr/>
              <p:nvPr/>
            </p:nvSpPr>
            <p:spPr>
              <a:xfrm>
                <a:off x="11241976" y="5583890"/>
                <a:ext cx="9894" cy="10939"/>
              </a:xfrm>
              <a:custGeom>
                <a:avLst/>
                <a:gdLst>
                  <a:gd name="connsiteX0" fmla="*/ 6954 w 9894"/>
                  <a:gd name="connsiteY0" fmla="*/ 1417 h 10939"/>
                  <a:gd name="connsiteX1" fmla="*/ 559 w 9894"/>
                  <a:gd name="connsiteY1" fmla="*/ 1613 h 10939"/>
                  <a:gd name="connsiteX2" fmla="*/ 9119 w 9894"/>
                  <a:gd name="connsiteY2" fmla="*/ 9288 h 10939"/>
                  <a:gd name="connsiteX3" fmla="*/ 7545 w 9894"/>
                  <a:gd name="connsiteY3" fmla="*/ 1908 h 10939"/>
                  <a:gd name="connsiteX4" fmla="*/ 6954 w 9894"/>
                  <a:gd name="connsiteY4" fmla="*/ 1417 h 10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4" h="10939">
                    <a:moveTo>
                      <a:pt x="6954" y="1417"/>
                    </a:moveTo>
                    <a:cubicBezTo>
                      <a:pt x="4593" y="-551"/>
                      <a:pt x="1739" y="-453"/>
                      <a:pt x="559" y="1613"/>
                    </a:cubicBezTo>
                    <a:cubicBezTo>
                      <a:pt x="-2098" y="6435"/>
                      <a:pt x="5380" y="14405"/>
                      <a:pt x="9119" y="9288"/>
                    </a:cubicBezTo>
                    <a:cubicBezTo>
                      <a:pt x="10595" y="7222"/>
                      <a:pt x="9906" y="3876"/>
                      <a:pt x="7545" y="1908"/>
                    </a:cubicBezTo>
                    <a:lnTo>
                      <a:pt x="6954" y="1417"/>
                    </a:lnTo>
                    <a:close/>
                  </a:path>
                </a:pathLst>
              </a:custGeom>
              <a:grpFill/>
              <a:ln w="9835" cap="flat">
                <a:noFill/>
                <a:prstDash val="solid"/>
                <a:miter/>
              </a:ln>
            </p:spPr>
            <p:txBody>
              <a:bodyPr rtlCol="0" anchor="ctr"/>
              <a:lstStyle/>
              <a:p>
                <a:endParaRPr lang="en-IN"/>
              </a:p>
            </p:txBody>
          </p:sp>
          <p:sp>
            <p:nvSpPr>
              <p:cNvPr id="831" name="Freeform: Shape 830">
                <a:extLst>
                  <a:ext uri="{FF2B5EF4-FFF2-40B4-BE49-F238E27FC236}">
                    <a16:creationId xmlns:a16="http://schemas.microsoft.com/office/drawing/2014/main" id="{C5C574D7-1F2C-7956-72C9-E7DCDAAB6CD9}"/>
                  </a:ext>
                </a:extLst>
              </p:cNvPr>
              <p:cNvSpPr/>
              <p:nvPr/>
            </p:nvSpPr>
            <p:spPr>
              <a:xfrm>
                <a:off x="11396924" y="5467233"/>
                <a:ext cx="10130" cy="13607"/>
              </a:xfrm>
              <a:custGeom>
                <a:avLst/>
                <a:gdLst>
                  <a:gd name="connsiteX0" fmla="*/ 9341 w 10130"/>
                  <a:gd name="connsiteY0" fmla="*/ 4918 h 13607"/>
                  <a:gd name="connsiteX1" fmla="*/ 4421 w 10130"/>
                  <a:gd name="connsiteY1" fmla="*/ 97 h 13607"/>
                  <a:gd name="connsiteX2" fmla="*/ 92 w 10130"/>
                  <a:gd name="connsiteY2" fmla="*/ 7378 h 13607"/>
                  <a:gd name="connsiteX3" fmla="*/ 5307 w 10130"/>
                  <a:gd name="connsiteY3" fmla="*/ 13479 h 13607"/>
                  <a:gd name="connsiteX4" fmla="*/ 9931 w 10130"/>
                  <a:gd name="connsiteY4" fmla="*/ 7575 h 13607"/>
                  <a:gd name="connsiteX5" fmla="*/ 9341 w 10130"/>
                  <a:gd name="connsiteY5" fmla="*/ 5017 h 1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0" h="13607">
                    <a:moveTo>
                      <a:pt x="9341" y="4918"/>
                    </a:moveTo>
                    <a:cubicBezTo>
                      <a:pt x="8554" y="1671"/>
                      <a:pt x="6291" y="-493"/>
                      <a:pt x="4421" y="97"/>
                    </a:cubicBezTo>
                    <a:cubicBezTo>
                      <a:pt x="1076" y="1179"/>
                      <a:pt x="-302" y="8460"/>
                      <a:pt x="92" y="7378"/>
                    </a:cubicBezTo>
                    <a:cubicBezTo>
                      <a:pt x="-892" y="13282"/>
                      <a:pt x="6389" y="13971"/>
                      <a:pt x="5307" y="13479"/>
                    </a:cubicBezTo>
                    <a:cubicBezTo>
                      <a:pt x="8652" y="13479"/>
                      <a:pt x="10817" y="10822"/>
                      <a:pt x="9931" y="7575"/>
                    </a:cubicBezTo>
                    <a:lnTo>
                      <a:pt x="9341" y="5017"/>
                    </a:lnTo>
                    <a:close/>
                  </a:path>
                </a:pathLst>
              </a:custGeom>
              <a:grpFill/>
              <a:ln w="9835" cap="flat">
                <a:noFill/>
                <a:prstDash val="solid"/>
                <a:miter/>
              </a:ln>
            </p:spPr>
            <p:txBody>
              <a:bodyPr rtlCol="0" anchor="ctr"/>
              <a:lstStyle/>
              <a:p>
                <a:endParaRPr lang="en-IN"/>
              </a:p>
            </p:txBody>
          </p:sp>
          <p:sp>
            <p:nvSpPr>
              <p:cNvPr id="832" name="Freeform: Shape 831">
                <a:extLst>
                  <a:ext uri="{FF2B5EF4-FFF2-40B4-BE49-F238E27FC236}">
                    <a16:creationId xmlns:a16="http://schemas.microsoft.com/office/drawing/2014/main" id="{06569ABF-6E17-CEC7-2B86-BD83C1E39ECC}"/>
                  </a:ext>
                </a:extLst>
              </p:cNvPr>
              <p:cNvSpPr/>
              <p:nvPr/>
            </p:nvSpPr>
            <p:spPr>
              <a:xfrm>
                <a:off x="11219706" y="5797410"/>
                <a:ext cx="15186" cy="15545"/>
              </a:xfrm>
              <a:custGeom>
                <a:avLst/>
                <a:gdLst>
                  <a:gd name="connsiteX0" fmla="*/ 0 w 15186"/>
                  <a:gd name="connsiteY0" fmla="*/ 9090 h 15545"/>
                  <a:gd name="connsiteX1" fmla="*/ 5510 w 15186"/>
                  <a:gd name="connsiteY1" fmla="*/ 15289 h 15545"/>
                  <a:gd name="connsiteX2" fmla="*/ 7478 w 15186"/>
                  <a:gd name="connsiteY2" fmla="*/ 15486 h 15545"/>
                  <a:gd name="connsiteX3" fmla="*/ 15055 w 15186"/>
                  <a:gd name="connsiteY3" fmla="*/ 5548 h 15545"/>
                  <a:gd name="connsiteX4" fmla="*/ 5609 w 15186"/>
                  <a:gd name="connsiteY4" fmla="*/ 38 h 15545"/>
                  <a:gd name="connsiteX5" fmla="*/ 0 w 15186"/>
                  <a:gd name="connsiteY5" fmla="*/ 8992 h 1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6" h="15545">
                    <a:moveTo>
                      <a:pt x="0" y="9090"/>
                    </a:moveTo>
                    <a:cubicBezTo>
                      <a:pt x="0" y="12141"/>
                      <a:pt x="2460" y="14994"/>
                      <a:pt x="5510" y="15289"/>
                    </a:cubicBezTo>
                    <a:lnTo>
                      <a:pt x="7478" y="15486"/>
                    </a:lnTo>
                    <a:cubicBezTo>
                      <a:pt x="14956" y="16372"/>
                      <a:pt x="14366" y="7024"/>
                      <a:pt x="15055" y="5548"/>
                    </a:cubicBezTo>
                    <a:cubicBezTo>
                      <a:pt x="16432" y="-1634"/>
                      <a:pt x="6593" y="333"/>
                      <a:pt x="5609" y="38"/>
                    </a:cubicBezTo>
                    <a:cubicBezTo>
                      <a:pt x="-1377" y="38"/>
                      <a:pt x="295" y="8008"/>
                      <a:pt x="0" y="8992"/>
                    </a:cubicBezTo>
                    <a:close/>
                  </a:path>
                </a:pathLst>
              </a:custGeom>
              <a:grpFill/>
              <a:ln w="9835" cap="flat">
                <a:noFill/>
                <a:prstDash val="solid"/>
                <a:miter/>
              </a:ln>
            </p:spPr>
            <p:txBody>
              <a:bodyPr rtlCol="0" anchor="ctr"/>
              <a:lstStyle/>
              <a:p>
                <a:endParaRPr lang="en-IN"/>
              </a:p>
            </p:txBody>
          </p:sp>
          <p:sp>
            <p:nvSpPr>
              <p:cNvPr id="833" name="Freeform: Shape 832">
                <a:extLst>
                  <a:ext uri="{FF2B5EF4-FFF2-40B4-BE49-F238E27FC236}">
                    <a16:creationId xmlns:a16="http://schemas.microsoft.com/office/drawing/2014/main" id="{4C1A1F7A-1340-0ABB-1742-20F0EC4089AC}"/>
                  </a:ext>
                </a:extLst>
              </p:cNvPr>
              <p:cNvSpPr/>
              <p:nvPr/>
            </p:nvSpPr>
            <p:spPr>
              <a:xfrm>
                <a:off x="11084412" y="4918379"/>
                <a:ext cx="510281" cy="931219"/>
              </a:xfrm>
              <a:custGeom>
                <a:avLst/>
                <a:gdLst>
                  <a:gd name="connsiteX0" fmla="*/ 510282 w 510281"/>
                  <a:gd name="connsiteY0" fmla="*/ 298140 h 931219"/>
                  <a:gd name="connsiteX1" fmla="*/ 456656 w 510281"/>
                  <a:gd name="connsiteY1" fmla="*/ 242940 h 931219"/>
                  <a:gd name="connsiteX2" fmla="*/ 458132 w 510281"/>
                  <a:gd name="connsiteY2" fmla="*/ 187838 h 931219"/>
                  <a:gd name="connsiteX3" fmla="*/ 407163 w 510281"/>
                  <a:gd name="connsiteY3" fmla="*/ 129981 h 931219"/>
                  <a:gd name="connsiteX4" fmla="*/ 364951 w 510281"/>
                  <a:gd name="connsiteY4" fmla="*/ 125061 h 931219"/>
                  <a:gd name="connsiteX5" fmla="*/ 351372 w 510281"/>
                  <a:gd name="connsiteY5" fmla="*/ 150546 h 931219"/>
                  <a:gd name="connsiteX6" fmla="*/ 324805 w 510281"/>
                  <a:gd name="connsiteY6" fmla="*/ 163141 h 931219"/>
                  <a:gd name="connsiteX7" fmla="*/ 291252 w 510281"/>
                  <a:gd name="connsiteY7" fmla="*/ 138148 h 931219"/>
                  <a:gd name="connsiteX8" fmla="*/ 241365 w 510281"/>
                  <a:gd name="connsiteY8" fmla="*/ 182918 h 931219"/>
                  <a:gd name="connsiteX9" fmla="*/ 218341 w 510281"/>
                  <a:gd name="connsiteY9" fmla="*/ 178589 h 931219"/>
                  <a:gd name="connsiteX10" fmla="*/ 233690 w 510281"/>
                  <a:gd name="connsiteY10" fmla="*/ 142674 h 931219"/>
                  <a:gd name="connsiteX11" fmla="*/ 224048 w 510281"/>
                  <a:gd name="connsiteY11" fmla="*/ 120732 h 931219"/>
                  <a:gd name="connsiteX12" fmla="*/ 241365 w 510281"/>
                  <a:gd name="connsiteY12" fmla="*/ 91508 h 931219"/>
                  <a:gd name="connsiteX13" fmla="*/ 237233 w 510281"/>
                  <a:gd name="connsiteY13" fmla="*/ 48411 h 931219"/>
                  <a:gd name="connsiteX14" fmla="*/ 183115 w 510281"/>
                  <a:gd name="connsiteY14" fmla="*/ 51363 h 931219"/>
                  <a:gd name="connsiteX15" fmla="*/ 198071 w 510281"/>
                  <a:gd name="connsiteY15" fmla="*/ 12988 h 931219"/>
                  <a:gd name="connsiteX16" fmla="*/ 167667 w 510281"/>
                  <a:gd name="connsiteY16" fmla="*/ 0 h 931219"/>
                  <a:gd name="connsiteX17" fmla="*/ 110892 w 510281"/>
                  <a:gd name="connsiteY17" fmla="*/ 10528 h 931219"/>
                  <a:gd name="connsiteX18" fmla="*/ 102529 w 510281"/>
                  <a:gd name="connsiteY18" fmla="*/ 36702 h 931219"/>
                  <a:gd name="connsiteX19" fmla="*/ 35718 w 510281"/>
                  <a:gd name="connsiteY19" fmla="*/ 40933 h 931219"/>
                  <a:gd name="connsiteX20" fmla="*/ 28043 w 510281"/>
                  <a:gd name="connsiteY20" fmla="*/ 108727 h 931219"/>
                  <a:gd name="connsiteX21" fmla="*/ 0 w 510281"/>
                  <a:gd name="connsiteY21" fmla="*/ 121421 h 931219"/>
                  <a:gd name="connsiteX22" fmla="*/ 66614 w 510281"/>
                  <a:gd name="connsiteY22" fmla="*/ 214602 h 931219"/>
                  <a:gd name="connsiteX23" fmla="*/ 75568 w 510281"/>
                  <a:gd name="connsiteY23" fmla="*/ 247859 h 931219"/>
                  <a:gd name="connsiteX24" fmla="*/ 96330 w 510281"/>
                  <a:gd name="connsiteY24" fmla="*/ 243825 h 931219"/>
                  <a:gd name="connsiteX25" fmla="*/ 94165 w 510281"/>
                  <a:gd name="connsiteY25" fmla="*/ 271672 h 931219"/>
                  <a:gd name="connsiteX26" fmla="*/ 76651 w 510281"/>
                  <a:gd name="connsiteY26" fmla="*/ 276296 h 931219"/>
                  <a:gd name="connsiteX27" fmla="*/ 74289 w 510281"/>
                  <a:gd name="connsiteY27" fmla="*/ 318114 h 931219"/>
                  <a:gd name="connsiteX28" fmla="*/ 50084 w 510281"/>
                  <a:gd name="connsiteY28" fmla="*/ 330020 h 931219"/>
                  <a:gd name="connsiteX29" fmla="*/ 68484 w 510281"/>
                  <a:gd name="connsiteY29" fmla="*/ 379415 h 931219"/>
                  <a:gd name="connsiteX30" fmla="*/ 103808 w 510281"/>
                  <a:gd name="connsiteY30" fmla="*/ 411295 h 931219"/>
                  <a:gd name="connsiteX31" fmla="*/ 105874 w 510281"/>
                  <a:gd name="connsiteY31" fmla="*/ 476040 h 931219"/>
                  <a:gd name="connsiteX32" fmla="*/ 123290 w 510281"/>
                  <a:gd name="connsiteY32" fmla="*/ 492964 h 931219"/>
                  <a:gd name="connsiteX33" fmla="*/ 135294 w 510281"/>
                  <a:gd name="connsiteY33" fmla="*/ 535077 h 931219"/>
                  <a:gd name="connsiteX34" fmla="*/ 88458 w 510281"/>
                  <a:gd name="connsiteY34" fmla="*/ 618911 h 931219"/>
                  <a:gd name="connsiteX35" fmla="*/ 88458 w 510281"/>
                  <a:gd name="connsiteY35" fmla="*/ 644888 h 931219"/>
                  <a:gd name="connsiteX36" fmla="*/ 69960 w 510281"/>
                  <a:gd name="connsiteY36" fmla="*/ 662697 h 931219"/>
                  <a:gd name="connsiteX37" fmla="*/ 68582 w 510281"/>
                  <a:gd name="connsiteY37" fmla="*/ 672733 h 931219"/>
                  <a:gd name="connsiteX38" fmla="*/ 52839 w 510281"/>
                  <a:gd name="connsiteY38" fmla="*/ 723112 h 931219"/>
                  <a:gd name="connsiteX39" fmla="*/ 53232 w 510281"/>
                  <a:gd name="connsiteY39" fmla="*/ 790710 h 931219"/>
                  <a:gd name="connsiteX40" fmla="*/ 62285 w 510281"/>
                  <a:gd name="connsiteY40" fmla="*/ 791005 h 931219"/>
                  <a:gd name="connsiteX41" fmla="*/ 65237 w 510281"/>
                  <a:gd name="connsiteY41" fmla="*/ 766603 h 931219"/>
                  <a:gd name="connsiteX42" fmla="*/ 71436 w 510281"/>
                  <a:gd name="connsiteY42" fmla="*/ 760109 h 931219"/>
                  <a:gd name="connsiteX43" fmla="*/ 71928 w 510281"/>
                  <a:gd name="connsiteY43" fmla="*/ 760109 h 931219"/>
                  <a:gd name="connsiteX44" fmla="*/ 81078 w 510281"/>
                  <a:gd name="connsiteY44" fmla="*/ 774967 h 931219"/>
                  <a:gd name="connsiteX45" fmla="*/ 90820 w 510281"/>
                  <a:gd name="connsiteY45" fmla="*/ 781855 h 931219"/>
                  <a:gd name="connsiteX46" fmla="*/ 98003 w 510281"/>
                  <a:gd name="connsiteY46" fmla="*/ 806355 h 931219"/>
                  <a:gd name="connsiteX47" fmla="*/ 107547 w 510281"/>
                  <a:gd name="connsiteY47" fmla="*/ 811373 h 931219"/>
                  <a:gd name="connsiteX48" fmla="*/ 113451 w 510281"/>
                  <a:gd name="connsiteY48" fmla="*/ 804387 h 931219"/>
                  <a:gd name="connsiteX49" fmla="*/ 141690 w 510281"/>
                  <a:gd name="connsiteY49" fmla="*/ 837842 h 931219"/>
                  <a:gd name="connsiteX50" fmla="*/ 144839 w 510281"/>
                  <a:gd name="connsiteY50" fmla="*/ 854077 h 931219"/>
                  <a:gd name="connsiteX51" fmla="*/ 167470 w 510281"/>
                  <a:gd name="connsiteY51" fmla="*/ 887040 h 931219"/>
                  <a:gd name="connsiteX52" fmla="*/ 177211 w 510281"/>
                  <a:gd name="connsiteY52" fmla="*/ 864507 h 931219"/>
                  <a:gd name="connsiteX53" fmla="*/ 227885 w 510281"/>
                  <a:gd name="connsiteY53" fmla="*/ 893632 h 931219"/>
                  <a:gd name="connsiteX54" fmla="*/ 219718 w 510281"/>
                  <a:gd name="connsiteY54" fmla="*/ 920888 h 931219"/>
                  <a:gd name="connsiteX55" fmla="*/ 236347 w 510281"/>
                  <a:gd name="connsiteY55" fmla="*/ 931220 h 931219"/>
                  <a:gd name="connsiteX56" fmla="*/ 241661 w 510281"/>
                  <a:gd name="connsiteY56" fmla="*/ 918920 h 931219"/>
                  <a:gd name="connsiteX57" fmla="*/ 260257 w 510281"/>
                  <a:gd name="connsiteY57" fmla="*/ 912820 h 931219"/>
                  <a:gd name="connsiteX58" fmla="*/ 274131 w 510281"/>
                  <a:gd name="connsiteY58" fmla="*/ 925906 h 931219"/>
                  <a:gd name="connsiteX59" fmla="*/ 284561 w 510281"/>
                  <a:gd name="connsiteY59" fmla="*/ 918133 h 931219"/>
                  <a:gd name="connsiteX60" fmla="*/ 292039 w 510281"/>
                  <a:gd name="connsiteY60" fmla="*/ 889598 h 931219"/>
                  <a:gd name="connsiteX61" fmla="*/ 268720 w 510281"/>
                  <a:gd name="connsiteY61" fmla="*/ 874839 h 931219"/>
                  <a:gd name="connsiteX62" fmla="*/ 259864 w 510281"/>
                  <a:gd name="connsiteY62" fmla="*/ 859095 h 931219"/>
                  <a:gd name="connsiteX63" fmla="*/ 229459 w 510281"/>
                  <a:gd name="connsiteY63" fmla="*/ 855946 h 931219"/>
                  <a:gd name="connsiteX64" fmla="*/ 206238 w 510281"/>
                  <a:gd name="connsiteY64" fmla="*/ 843254 h 931219"/>
                  <a:gd name="connsiteX65" fmla="*/ 192659 w 510281"/>
                  <a:gd name="connsiteY65" fmla="*/ 822295 h 931219"/>
                  <a:gd name="connsiteX66" fmla="*/ 188724 w 510281"/>
                  <a:gd name="connsiteY66" fmla="*/ 830167 h 931219"/>
                  <a:gd name="connsiteX67" fmla="*/ 183902 w 510281"/>
                  <a:gd name="connsiteY67" fmla="*/ 832036 h 931219"/>
                  <a:gd name="connsiteX68" fmla="*/ 183509 w 510281"/>
                  <a:gd name="connsiteY68" fmla="*/ 831741 h 931219"/>
                  <a:gd name="connsiteX69" fmla="*/ 170619 w 510281"/>
                  <a:gd name="connsiteY69" fmla="*/ 807634 h 931219"/>
                  <a:gd name="connsiteX70" fmla="*/ 177900 w 510281"/>
                  <a:gd name="connsiteY70" fmla="*/ 803206 h 931219"/>
                  <a:gd name="connsiteX71" fmla="*/ 179573 w 510281"/>
                  <a:gd name="connsiteY71" fmla="*/ 806945 h 931219"/>
                  <a:gd name="connsiteX72" fmla="*/ 184591 w 510281"/>
                  <a:gd name="connsiteY72" fmla="*/ 809504 h 931219"/>
                  <a:gd name="connsiteX73" fmla="*/ 176227 w 510281"/>
                  <a:gd name="connsiteY73" fmla="*/ 764635 h 931219"/>
                  <a:gd name="connsiteX74" fmla="*/ 161665 w 510281"/>
                  <a:gd name="connsiteY74" fmla="*/ 750565 h 931219"/>
                  <a:gd name="connsiteX75" fmla="*/ 155958 w 510281"/>
                  <a:gd name="connsiteY75" fmla="*/ 714355 h 931219"/>
                  <a:gd name="connsiteX76" fmla="*/ 145134 w 510281"/>
                  <a:gd name="connsiteY76" fmla="*/ 701957 h 931219"/>
                  <a:gd name="connsiteX77" fmla="*/ 131949 w 510281"/>
                  <a:gd name="connsiteY77" fmla="*/ 705401 h 931219"/>
                  <a:gd name="connsiteX78" fmla="*/ 114533 w 510281"/>
                  <a:gd name="connsiteY78" fmla="*/ 706188 h 931219"/>
                  <a:gd name="connsiteX79" fmla="*/ 110499 w 510281"/>
                  <a:gd name="connsiteY79" fmla="*/ 699694 h 931219"/>
                  <a:gd name="connsiteX80" fmla="*/ 111286 w 510281"/>
                  <a:gd name="connsiteY80" fmla="*/ 696939 h 931219"/>
                  <a:gd name="connsiteX81" fmla="*/ 105677 w 510281"/>
                  <a:gd name="connsiteY81" fmla="*/ 647249 h 931219"/>
                  <a:gd name="connsiteX82" fmla="*/ 123487 w 510281"/>
                  <a:gd name="connsiteY82" fmla="*/ 609662 h 931219"/>
                  <a:gd name="connsiteX83" fmla="*/ 126341 w 510281"/>
                  <a:gd name="connsiteY83" fmla="*/ 593820 h 931219"/>
                  <a:gd name="connsiteX84" fmla="*/ 158221 w 510281"/>
                  <a:gd name="connsiteY84" fmla="*/ 526812 h 931219"/>
                  <a:gd name="connsiteX85" fmla="*/ 157335 w 510281"/>
                  <a:gd name="connsiteY85" fmla="*/ 503394 h 931219"/>
                  <a:gd name="connsiteX86" fmla="*/ 162747 w 510281"/>
                  <a:gd name="connsiteY86" fmla="*/ 473186 h 931219"/>
                  <a:gd name="connsiteX87" fmla="*/ 159402 w 510281"/>
                  <a:gd name="connsiteY87" fmla="*/ 460591 h 931219"/>
                  <a:gd name="connsiteX88" fmla="*/ 165896 w 510281"/>
                  <a:gd name="connsiteY88" fmla="*/ 446325 h 931219"/>
                  <a:gd name="connsiteX89" fmla="*/ 216373 w 510281"/>
                  <a:gd name="connsiteY89" fmla="*/ 442388 h 931219"/>
                  <a:gd name="connsiteX90" fmla="*/ 221096 w 510281"/>
                  <a:gd name="connsiteY90" fmla="*/ 447899 h 931219"/>
                  <a:gd name="connsiteX91" fmla="*/ 214995 w 510281"/>
                  <a:gd name="connsiteY91" fmla="*/ 486470 h 931219"/>
                  <a:gd name="connsiteX92" fmla="*/ 219620 w 510281"/>
                  <a:gd name="connsiteY92" fmla="*/ 492767 h 931219"/>
                  <a:gd name="connsiteX93" fmla="*/ 244613 w 510281"/>
                  <a:gd name="connsiteY93" fmla="*/ 496211 h 931219"/>
                  <a:gd name="connsiteX94" fmla="*/ 263111 w 510281"/>
                  <a:gd name="connsiteY94" fmla="*/ 490799 h 931219"/>
                  <a:gd name="connsiteX95" fmla="*/ 312998 w 510281"/>
                  <a:gd name="connsiteY95" fmla="*/ 527304 h 931219"/>
                  <a:gd name="connsiteX96" fmla="*/ 317229 w 510281"/>
                  <a:gd name="connsiteY96" fmla="*/ 526025 h 931219"/>
                  <a:gd name="connsiteX97" fmla="*/ 321656 w 510281"/>
                  <a:gd name="connsiteY97" fmla="*/ 520810 h 931219"/>
                  <a:gd name="connsiteX98" fmla="*/ 343500 w 510281"/>
                  <a:gd name="connsiteY98" fmla="*/ 556036 h 931219"/>
                  <a:gd name="connsiteX99" fmla="*/ 349404 w 510281"/>
                  <a:gd name="connsiteY99" fmla="*/ 541375 h 931219"/>
                  <a:gd name="connsiteX100" fmla="*/ 340155 w 510281"/>
                  <a:gd name="connsiteY100" fmla="*/ 500147 h 931219"/>
                  <a:gd name="connsiteX101" fmla="*/ 317918 w 510281"/>
                  <a:gd name="connsiteY101" fmla="*/ 484305 h 931219"/>
                  <a:gd name="connsiteX102" fmla="*/ 307389 w 510281"/>
                  <a:gd name="connsiteY102" fmla="*/ 434123 h 931219"/>
                  <a:gd name="connsiteX103" fmla="*/ 331988 w 510281"/>
                  <a:gd name="connsiteY103" fmla="*/ 427236 h 931219"/>
                  <a:gd name="connsiteX104" fmla="*/ 356587 w 510281"/>
                  <a:gd name="connsiteY104" fmla="*/ 383744 h 931219"/>
                  <a:gd name="connsiteX105" fmla="*/ 483026 w 510281"/>
                  <a:gd name="connsiteY105" fmla="*/ 385712 h 931219"/>
                  <a:gd name="connsiteX106" fmla="*/ 506247 w 510281"/>
                  <a:gd name="connsiteY106" fmla="*/ 367411 h 931219"/>
                  <a:gd name="connsiteX107" fmla="*/ 510282 w 510281"/>
                  <a:gd name="connsiteY107" fmla="*/ 298534 h 93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10281" h="931219">
                    <a:moveTo>
                      <a:pt x="510282" y="298140"/>
                    </a:moveTo>
                    <a:lnTo>
                      <a:pt x="456656" y="242940"/>
                    </a:lnTo>
                    <a:lnTo>
                      <a:pt x="458132" y="187838"/>
                    </a:lnTo>
                    <a:lnTo>
                      <a:pt x="407163" y="129981"/>
                    </a:lnTo>
                    <a:lnTo>
                      <a:pt x="364951" y="125061"/>
                    </a:lnTo>
                    <a:lnTo>
                      <a:pt x="351372" y="150546"/>
                    </a:lnTo>
                    <a:lnTo>
                      <a:pt x="324805" y="163141"/>
                    </a:lnTo>
                    <a:lnTo>
                      <a:pt x="291252" y="138148"/>
                    </a:lnTo>
                    <a:lnTo>
                      <a:pt x="241365" y="182918"/>
                    </a:lnTo>
                    <a:lnTo>
                      <a:pt x="218341" y="178589"/>
                    </a:lnTo>
                    <a:lnTo>
                      <a:pt x="233690" y="142674"/>
                    </a:lnTo>
                    <a:lnTo>
                      <a:pt x="224048" y="120732"/>
                    </a:lnTo>
                    <a:lnTo>
                      <a:pt x="241365" y="91508"/>
                    </a:lnTo>
                    <a:lnTo>
                      <a:pt x="237233" y="48411"/>
                    </a:lnTo>
                    <a:lnTo>
                      <a:pt x="183115" y="51363"/>
                    </a:lnTo>
                    <a:lnTo>
                      <a:pt x="198071" y="12988"/>
                    </a:lnTo>
                    <a:lnTo>
                      <a:pt x="167667" y="0"/>
                    </a:lnTo>
                    <a:lnTo>
                      <a:pt x="110892" y="10528"/>
                    </a:lnTo>
                    <a:lnTo>
                      <a:pt x="102529" y="36702"/>
                    </a:lnTo>
                    <a:lnTo>
                      <a:pt x="35718" y="40933"/>
                    </a:lnTo>
                    <a:lnTo>
                      <a:pt x="28043" y="108727"/>
                    </a:lnTo>
                    <a:lnTo>
                      <a:pt x="0" y="121421"/>
                    </a:lnTo>
                    <a:lnTo>
                      <a:pt x="66614" y="214602"/>
                    </a:lnTo>
                    <a:lnTo>
                      <a:pt x="75568" y="247859"/>
                    </a:lnTo>
                    <a:lnTo>
                      <a:pt x="96330" y="243825"/>
                    </a:lnTo>
                    <a:lnTo>
                      <a:pt x="94165" y="271672"/>
                    </a:lnTo>
                    <a:lnTo>
                      <a:pt x="76651" y="276296"/>
                    </a:lnTo>
                    <a:lnTo>
                      <a:pt x="74289" y="318114"/>
                    </a:lnTo>
                    <a:lnTo>
                      <a:pt x="50084" y="330020"/>
                    </a:lnTo>
                    <a:lnTo>
                      <a:pt x="68484" y="379415"/>
                    </a:lnTo>
                    <a:lnTo>
                      <a:pt x="103808" y="411295"/>
                    </a:lnTo>
                    <a:lnTo>
                      <a:pt x="105874" y="476040"/>
                    </a:lnTo>
                    <a:lnTo>
                      <a:pt x="123290" y="492964"/>
                    </a:lnTo>
                    <a:lnTo>
                      <a:pt x="135294" y="535077"/>
                    </a:lnTo>
                    <a:lnTo>
                      <a:pt x="88458" y="618911"/>
                    </a:lnTo>
                    <a:lnTo>
                      <a:pt x="88458" y="644888"/>
                    </a:lnTo>
                    <a:lnTo>
                      <a:pt x="69960" y="662697"/>
                    </a:lnTo>
                    <a:cubicBezTo>
                      <a:pt x="69960" y="666534"/>
                      <a:pt x="69665" y="669584"/>
                      <a:pt x="68582" y="672733"/>
                    </a:cubicBezTo>
                    <a:cubicBezTo>
                      <a:pt x="57562" y="705795"/>
                      <a:pt x="52740" y="713371"/>
                      <a:pt x="52839" y="723112"/>
                    </a:cubicBezTo>
                    <a:lnTo>
                      <a:pt x="53232" y="790710"/>
                    </a:lnTo>
                    <a:cubicBezTo>
                      <a:pt x="53232" y="797401"/>
                      <a:pt x="62285" y="793564"/>
                      <a:pt x="62285" y="791005"/>
                    </a:cubicBezTo>
                    <a:cubicBezTo>
                      <a:pt x="62285" y="789333"/>
                      <a:pt x="65237" y="766603"/>
                      <a:pt x="65237" y="766603"/>
                    </a:cubicBezTo>
                    <a:cubicBezTo>
                      <a:pt x="65630" y="763553"/>
                      <a:pt x="68385" y="760601"/>
                      <a:pt x="71436" y="760109"/>
                    </a:cubicBezTo>
                    <a:lnTo>
                      <a:pt x="71928" y="760109"/>
                    </a:lnTo>
                    <a:cubicBezTo>
                      <a:pt x="79996" y="758535"/>
                      <a:pt x="79307" y="770539"/>
                      <a:pt x="81078" y="774967"/>
                    </a:cubicBezTo>
                    <a:cubicBezTo>
                      <a:pt x="82653" y="781855"/>
                      <a:pt x="89737" y="781461"/>
                      <a:pt x="90820" y="781855"/>
                    </a:cubicBezTo>
                    <a:cubicBezTo>
                      <a:pt x="99478" y="783429"/>
                      <a:pt x="96133" y="795925"/>
                      <a:pt x="98003" y="806355"/>
                    </a:cubicBezTo>
                    <a:cubicBezTo>
                      <a:pt x="98494" y="813735"/>
                      <a:pt x="106268" y="818655"/>
                      <a:pt x="107547" y="811373"/>
                    </a:cubicBezTo>
                    <a:cubicBezTo>
                      <a:pt x="108039" y="810094"/>
                      <a:pt x="108137" y="799172"/>
                      <a:pt x="113451" y="804387"/>
                    </a:cubicBezTo>
                    <a:cubicBezTo>
                      <a:pt x="131949" y="824263"/>
                      <a:pt x="141690" y="828297"/>
                      <a:pt x="141690" y="837842"/>
                    </a:cubicBezTo>
                    <a:cubicBezTo>
                      <a:pt x="141887" y="839908"/>
                      <a:pt x="140608" y="847878"/>
                      <a:pt x="144839" y="854077"/>
                    </a:cubicBezTo>
                    <a:cubicBezTo>
                      <a:pt x="154580" y="868836"/>
                      <a:pt x="161960" y="879267"/>
                      <a:pt x="167470" y="887040"/>
                    </a:cubicBezTo>
                    <a:lnTo>
                      <a:pt x="177211" y="864507"/>
                    </a:lnTo>
                    <a:lnTo>
                      <a:pt x="227885" y="893632"/>
                    </a:lnTo>
                    <a:lnTo>
                      <a:pt x="219718" y="920888"/>
                    </a:lnTo>
                    <a:lnTo>
                      <a:pt x="236347" y="931220"/>
                    </a:lnTo>
                    <a:lnTo>
                      <a:pt x="241661" y="918920"/>
                    </a:lnTo>
                    <a:lnTo>
                      <a:pt x="260257" y="912820"/>
                    </a:lnTo>
                    <a:lnTo>
                      <a:pt x="274131" y="925906"/>
                    </a:lnTo>
                    <a:lnTo>
                      <a:pt x="284561" y="918133"/>
                    </a:lnTo>
                    <a:lnTo>
                      <a:pt x="292039" y="889598"/>
                    </a:lnTo>
                    <a:cubicBezTo>
                      <a:pt x="280035" y="883891"/>
                      <a:pt x="272458" y="881530"/>
                      <a:pt x="268720" y="874839"/>
                    </a:cubicBezTo>
                    <a:lnTo>
                      <a:pt x="259864" y="859095"/>
                    </a:lnTo>
                    <a:cubicBezTo>
                      <a:pt x="255338" y="851125"/>
                      <a:pt x="244121" y="856143"/>
                      <a:pt x="229459" y="855946"/>
                    </a:cubicBezTo>
                    <a:cubicBezTo>
                      <a:pt x="220899" y="856439"/>
                      <a:pt x="214700" y="848665"/>
                      <a:pt x="206238" y="843254"/>
                    </a:cubicBezTo>
                    <a:cubicBezTo>
                      <a:pt x="199252" y="838137"/>
                      <a:pt x="196792" y="829281"/>
                      <a:pt x="192659" y="822295"/>
                    </a:cubicBezTo>
                    <a:cubicBezTo>
                      <a:pt x="189117" y="815309"/>
                      <a:pt x="189117" y="828396"/>
                      <a:pt x="188724" y="830167"/>
                    </a:cubicBezTo>
                    <a:cubicBezTo>
                      <a:pt x="188429" y="833217"/>
                      <a:pt x="186264" y="834103"/>
                      <a:pt x="183902" y="832036"/>
                    </a:cubicBezTo>
                    <a:lnTo>
                      <a:pt x="183509" y="831741"/>
                    </a:lnTo>
                    <a:cubicBezTo>
                      <a:pt x="176916" y="826034"/>
                      <a:pt x="174948" y="816686"/>
                      <a:pt x="170619" y="807634"/>
                    </a:cubicBezTo>
                    <a:cubicBezTo>
                      <a:pt x="167765" y="800845"/>
                      <a:pt x="174751" y="796515"/>
                      <a:pt x="177900" y="803206"/>
                    </a:cubicBezTo>
                    <a:lnTo>
                      <a:pt x="179573" y="806945"/>
                    </a:lnTo>
                    <a:cubicBezTo>
                      <a:pt x="180852" y="809701"/>
                      <a:pt x="183115" y="810881"/>
                      <a:pt x="184591" y="809504"/>
                    </a:cubicBezTo>
                    <a:cubicBezTo>
                      <a:pt x="189314" y="805174"/>
                      <a:pt x="182918" y="794154"/>
                      <a:pt x="176227" y="764635"/>
                    </a:cubicBezTo>
                    <a:cubicBezTo>
                      <a:pt x="174161" y="756764"/>
                      <a:pt x="165699" y="753910"/>
                      <a:pt x="161665" y="750565"/>
                    </a:cubicBezTo>
                    <a:cubicBezTo>
                      <a:pt x="153793" y="745448"/>
                      <a:pt x="157827" y="734526"/>
                      <a:pt x="155958" y="714355"/>
                    </a:cubicBezTo>
                    <a:cubicBezTo>
                      <a:pt x="155761" y="706680"/>
                      <a:pt x="147102" y="703728"/>
                      <a:pt x="145134" y="701957"/>
                    </a:cubicBezTo>
                    <a:cubicBezTo>
                      <a:pt x="138935" y="697923"/>
                      <a:pt x="133228" y="704810"/>
                      <a:pt x="131949" y="705401"/>
                    </a:cubicBezTo>
                    <a:cubicBezTo>
                      <a:pt x="125553" y="710222"/>
                      <a:pt x="117977" y="706483"/>
                      <a:pt x="114533" y="706188"/>
                    </a:cubicBezTo>
                    <a:cubicBezTo>
                      <a:pt x="111483" y="705598"/>
                      <a:pt x="109712" y="702646"/>
                      <a:pt x="110499" y="699694"/>
                    </a:cubicBezTo>
                    <a:lnTo>
                      <a:pt x="111286" y="696939"/>
                    </a:lnTo>
                    <a:cubicBezTo>
                      <a:pt x="113844" y="687591"/>
                      <a:pt x="110105" y="679523"/>
                      <a:pt x="105677" y="647249"/>
                    </a:cubicBezTo>
                    <a:cubicBezTo>
                      <a:pt x="104103" y="637803"/>
                      <a:pt x="112270" y="630817"/>
                      <a:pt x="123487" y="609662"/>
                    </a:cubicBezTo>
                    <a:cubicBezTo>
                      <a:pt x="127324" y="603069"/>
                      <a:pt x="126144" y="595886"/>
                      <a:pt x="126341" y="593820"/>
                    </a:cubicBezTo>
                    <a:cubicBezTo>
                      <a:pt x="126341" y="583783"/>
                      <a:pt x="132441" y="578470"/>
                      <a:pt x="158221" y="526812"/>
                    </a:cubicBezTo>
                    <a:cubicBezTo>
                      <a:pt x="162157" y="519236"/>
                      <a:pt x="158221" y="510675"/>
                      <a:pt x="157335" y="503394"/>
                    </a:cubicBezTo>
                    <a:cubicBezTo>
                      <a:pt x="155662" y="494538"/>
                      <a:pt x="159893" y="486175"/>
                      <a:pt x="162747" y="473186"/>
                    </a:cubicBezTo>
                    <a:cubicBezTo>
                      <a:pt x="164518" y="466397"/>
                      <a:pt x="159795" y="461576"/>
                      <a:pt x="159402" y="460591"/>
                    </a:cubicBezTo>
                    <a:cubicBezTo>
                      <a:pt x="155072" y="453999"/>
                      <a:pt x="164223" y="448784"/>
                      <a:pt x="165896" y="446325"/>
                    </a:cubicBezTo>
                    <a:cubicBezTo>
                      <a:pt x="172784" y="439437"/>
                      <a:pt x="182525" y="443668"/>
                      <a:pt x="216373" y="442388"/>
                    </a:cubicBezTo>
                    <a:cubicBezTo>
                      <a:pt x="219423" y="442388"/>
                      <a:pt x="221588" y="444848"/>
                      <a:pt x="221096" y="447899"/>
                    </a:cubicBezTo>
                    <a:lnTo>
                      <a:pt x="214995" y="486470"/>
                    </a:lnTo>
                    <a:cubicBezTo>
                      <a:pt x="214503" y="489520"/>
                      <a:pt x="216668" y="492275"/>
                      <a:pt x="219620" y="492767"/>
                    </a:cubicBezTo>
                    <a:lnTo>
                      <a:pt x="244613" y="496211"/>
                    </a:lnTo>
                    <a:cubicBezTo>
                      <a:pt x="252583" y="497294"/>
                      <a:pt x="259372" y="492177"/>
                      <a:pt x="263111" y="490799"/>
                    </a:cubicBezTo>
                    <a:cubicBezTo>
                      <a:pt x="272065" y="486568"/>
                      <a:pt x="276690" y="498080"/>
                      <a:pt x="312998" y="527304"/>
                    </a:cubicBezTo>
                    <a:cubicBezTo>
                      <a:pt x="315359" y="529272"/>
                      <a:pt x="317229" y="528780"/>
                      <a:pt x="317229" y="526025"/>
                    </a:cubicBezTo>
                    <a:cubicBezTo>
                      <a:pt x="317229" y="523270"/>
                      <a:pt x="319197" y="521007"/>
                      <a:pt x="321656" y="520810"/>
                    </a:cubicBezTo>
                    <a:cubicBezTo>
                      <a:pt x="329036" y="520318"/>
                      <a:pt x="331004" y="532126"/>
                      <a:pt x="343500" y="556036"/>
                    </a:cubicBezTo>
                    <a:lnTo>
                      <a:pt x="349404" y="541375"/>
                    </a:lnTo>
                    <a:lnTo>
                      <a:pt x="340155" y="500147"/>
                    </a:lnTo>
                    <a:lnTo>
                      <a:pt x="317918" y="484305"/>
                    </a:lnTo>
                    <a:lnTo>
                      <a:pt x="307389" y="434123"/>
                    </a:lnTo>
                    <a:lnTo>
                      <a:pt x="331988" y="427236"/>
                    </a:lnTo>
                    <a:lnTo>
                      <a:pt x="356587" y="383744"/>
                    </a:lnTo>
                    <a:lnTo>
                      <a:pt x="483026" y="385712"/>
                    </a:lnTo>
                    <a:lnTo>
                      <a:pt x="506247" y="367411"/>
                    </a:lnTo>
                    <a:lnTo>
                      <a:pt x="510282" y="298534"/>
                    </a:lnTo>
                    <a:close/>
                  </a:path>
                </a:pathLst>
              </a:custGeom>
              <a:grpFill/>
              <a:ln w="9835" cap="flat">
                <a:noFill/>
                <a:prstDash val="solid"/>
                <a:miter/>
              </a:ln>
            </p:spPr>
            <p:txBody>
              <a:bodyPr rtlCol="0" anchor="ctr"/>
              <a:lstStyle/>
              <a:p>
                <a:endParaRPr lang="en-IN"/>
              </a:p>
            </p:txBody>
          </p:sp>
        </p:grpSp>
        <p:sp>
          <p:nvSpPr>
            <p:cNvPr id="471" name="Freeform: Shape 470">
              <a:extLst>
                <a:ext uri="{FF2B5EF4-FFF2-40B4-BE49-F238E27FC236}">
                  <a16:creationId xmlns:a16="http://schemas.microsoft.com/office/drawing/2014/main" id="{8390B15D-60F0-B2F9-20F3-24A6C78EBD3A}"/>
                </a:ext>
              </a:extLst>
            </p:cNvPr>
            <p:cNvSpPr/>
            <p:nvPr/>
          </p:nvSpPr>
          <p:spPr>
            <a:xfrm>
              <a:off x="12790007" y="6714064"/>
              <a:ext cx="145749" cy="68426"/>
            </a:xfrm>
            <a:custGeom>
              <a:avLst/>
              <a:gdLst>
                <a:gd name="connsiteX0" fmla="*/ 143757 w 145749"/>
                <a:gd name="connsiteY0" fmla="*/ 11160 h 68426"/>
                <a:gd name="connsiteX1" fmla="*/ 143757 w 145749"/>
                <a:gd name="connsiteY1" fmla="*/ 5158 h 68426"/>
                <a:gd name="connsiteX2" fmla="*/ 129391 w 145749"/>
                <a:gd name="connsiteY2" fmla="*/ 140 h 68426"/>
                <a:gd name="connsiteX3" fmla="*/ 25682 w 145749"/>
                <a:gd name="connsiteY3" fmla="*/ 16376 h 68426"/>
                <a:gd name="connsiteX4" fmla="*/ 0 w 145749"/>
                <a:gd name="connsiteY4" fmla="*/ 40581 h 68426"/>
                <a:gd name="connsiteX5" fmla="*/ 13776 w 145749"/>
                <a:gd name="connsiteY5" fmla="*/ 49633 h 68426"/>
                <a:gd name="connsiteX6" fmla="*/ 12299 w 145749"/>
                <a:gd name="connsiteY6" fmla="*/ 68427 h 68426"/>
                <a:gd name="connsiteX7" fmla="*/ 12299 w 145749"/>
                <a:gd name="connsiteY7" fmla="*/ 68427 h 68426"/>
                <a:gd name="connsiteX8" fmla="*/ 102234 w 145749"/>
                <a:gd name="connsiteY8" fmla="*/ 36744 h 68426"/>
                <a:gd name="connsiteX9" fmla="*/ 143658 w 145749"/>
                <a:gd name="connsiteY9" fmla="*/ 11160 h 68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49" h="68426">
                  <a:moveTo>
                    <a:pt x="143757" y="11160"/>
                  </a:moveTo>
                  <a:cubicBezTo>
                    <a:pt x="146413" y="9586"/>
                    <a:pt x="146413" y="6831"/>
                    <a:pt x="143757" y="5158"/>
                  </a:cubicBezTo>
                  <a:cubicBezTo>
                    <a:pt x="144741" y="5650"/>
                    <a:pt x="136574" y="-1041"/>
                    <a:pt x="129391" y="140"/>
                  </a:cubicBezTo>
                  <a:lnTo>
                    <a:pt x="25682" y="16376"/>
                  </a:lnTo>
                  <a:cubicBezTo>
                    <a:pt x="16629" y="17851"/>
                    <a:pt x="8364" y="30938"/>
                    <a:pt x="0" y="40581"/>
                  </a:cubicBezTo>
                  <a:lnTo>
                    <a:pt x="13776" y="49633"/>
                  </a:lnTo>
                  <a:lnTo>
                    <a:pt x="12299" y="68427"/>
                  </a:lnTo>
                  <a:lnTo>
                    <a:pt x="12299" y="68427"/>
                  </a:lnTo>
                  <a:cubicBezTo>
                    <a:pt x="29125" y="58784"/>
                    <a:pt x="89442" y="44714"/>
                    <a:pt x="102234" y="36744"/>
                  </a:cubicBezTo>
                  <a:lnTo>
                    <a:pt x="143658" y="11160"/>
                  </a:lnTo>
                  <a:close/>
                </a:path>
              </a:pathLst>
            </a:custGeom>
            <a:grpFill/>
            <a:ln w="9835" cap="flat">
              <a:noFill/>
              <a:prstDash val="solid"/>
              <a:miter/>
            </a:ln>
          </p:spPr>
          <p:txBody>
            <a:bodyPr rtlCol="0" anchor="ctr"/>
            <a:lstStyle/>
            <a:p>
              <a:endParaRPr lang="en-IN"/>
            </a:p>
          </p:txBody>
        </p:sp>
        <p:sp>
          <p:nvSpPr>
            <p:cNvPr id="472" name="Freeform: Shape 471">
              <a:extLst>
                <a:ext uri="{FF2B5EF4-FFF2-40B4-BE49-F238E27FC236}">
                  <a16:creationId xmlns:a16="http://schemas.microsoft.com/office/drawing/2014/main" id="{52586456-63F1-CCD2-F8F4-181A7ACD9994}"/>
                </a:ext>
              </a:extLst>
            </p:cNvPr>
            <p:cNvSpPr/>
            <p:nvPr/>
          </p:nvSpPr>
          <p:spPr>
            <a:xfrm>
              <a:off x="9222268" y="3500198"/>
              <a:ext cx="488634" cy="305027"/>
            </a:xfrm>
            <a:custGeom>
              <a:avLst/>
              <a:gdLst>
                <a:gd name="connsiteX0" fmla="*/ 301190 w 488634"/>
                <a:gd name="connsiteY0" fmla="*/ 133425 h 305027"/>
                <a:gd name="connsiteX1" fmla="*/ 288596 w 488634"/>
                <a:gd name="connsiteY1" fmla="*/ 120141 h 305027"/>
                <a:gd name="connsiteX2" fmla="*/ 270983 w 488634"/>
                <a:gd name="connsiteY2" fmla="*/ 124963 h 305027"/>
                <a:gd name="connsiteX3" fmla="*/ 257404 w 488634"/>
                <a:gd name="connsiteY3" fmla="*/ 105185 h 305027"/>
                <a:gd name="connsiteX4" fmla="*/ 213519 w 488634"/>
                <a:gd name="connsiteY4" fmla="*/ 121027 h 305027"/>
                <a:gd name="connsiteX5" fmla="*/ 196595 w 488634"/>
                <a:gd name="connsiteY5" fmla="*/ 106956 h 305027"/>
                <a:gd name="connsiteX6" fmla="*/ 124471 w 488634"/>
                <a:gd name="connsiteY6" fmla="*/ 114435 h 305027"/>
                <a:gd name="connsiteX7" fmla="*/ 118567 w 488634"/>
                <a:gd name="connsiteY7" fmla="*/ 86490 h 305027"/>
                <a:gd name="connsiteX8" fmla="*/ 158615 w 488634"/>
                <a:gd name="connsiteY8" fmla="*/ 64744 h 305027"/>
                <a:gd name="connsiteX9" fmla="*/ 199055 w 488634"/>
                <a:gd name="connsiteY9" fmla="*/ 78126 h 305027"/>
                <a:gd name="connsiteX10" fmla="*/ 214503 w 488634"/>
                <a:gd name="connsiteY10" fmla="*/ 59923 h 305027"/>
                <a:gd name="connsiteX11" fmla="*/ 184197 w 488634"/>
                <a:gd name="connsiteY11" fmla="*/ 44967 h 305027"/>
                <a:gd name="connsiteX12" fmla="*/ 212929 w 488634"/>
                <a:gd name="connsiteY12" fmla="*/ 18498 h 305027"/>
                <a:gd name="connsiteX13" fmla="*/ 188822 w 488634"/>
                <a:gd name="connsiteY13" fmla="*/ 0 h 305027"/>
                <a:gd name="connsiteX14" fmla="*/ 147594 w 488634"/>
                <a:gd name="connsiteY14" fmla="*/ 29617 h 305027"/>
                <a:gd name="connsiteX15" fmla="*/ 129292 w 488634"/>
                <a:gd name="connsiteY15" fmla="*/ 14169 h 305027"/>
                <a:gd name="connsiteX16" fmla="*/ 113352 w 488634"/>
                <a:gd name="connsiteY16" fmla="*/ 35521 h 305027"/>
                <a:gd name="connsiteX17" fmla="*/ 116599 w 488634"/>
                <a:gd name="connsiteY17" fmla="*/ 59923 h 305027"/>
                <a:gd name="connsiteX18" fmla="*/ 92197 w 488634"/>
                <a:gd name="connsiteY18" fmla="*/ 61399 h 305027"/>
                <a:gd name="connsiteX19" fmla="*/ 70255 w 488634"/>
                <a:gd name="connsiteY19" fmla="*/ 110203 h 305027"/>
                <a:gd name="connsiteX20" fmla="*/ 14268 w 488634"/>
                <a:gd name="connsiteY20" fmla="*/ 102725 h 305027"/>
                <a:gd name="connsiteX21" fmla="*/ 0 w 488634"/>
                <a:gd name="connsiteY21" fmla="*/ 128800 h 305027"/>
                <a:gd name="connsiteX22" fmla="*/ 20171 w 488634"/>
                <a:gd name="connsiteY22" fmla="*/ 135885 h 305027"/>
                <a:gd name="connsiteX23" fmla="*/ 23910 w 488634"/>
                <a:gd name="connsiteY23" fmla="*/ 150054 h 305027"/>
                <a:gd name="connsiteX24" fmla="*/ 50182 w 488634"/>
                <a:gd name="connsiteY24" fmla="*/ 156646 h 305027"/>
                <a:gd name="connsiteX25" fmla="*/ 47427 w 488634"/>
                <a:gd name="connsiteY25" fmla="*/ 191970 h 305027"/>
                <a:gd name="connsiteX26" fmla="*/ 62186 w 488634"/>
                <a:gd name="connsiteY26" fmla="*/ 211945 h 305027"/>
                <a:gd name="connsiteX27" fmla="*/ 23025 w 488634"/>
                <a:gd name="connsiteY27" fmla="*/ 277870 h 305027"/>
                <a:gd name="connsiteX28" fmla="*/ 42606 w 488634"/>
                <a:gd name="connsiteY28" fmla="*/ 298632 h 305027"/>
                <a:gd name="connsiteX29" fmla="*/ 96920 w 488634"/>
                <a:gd name="connsiteY29" fmla="*/ 271671 h 305027"/>
                <a:gd name="connsiteX30" fmla="*/ 113943 w 488634"/>
                <a:gd name="connsiteY30" fmla="*/ 289383 h 305027"/>
                <a:gd name="connsiteX31" fmla="*/ 131162 w 488634"/>
                <a:gd name="connsiteY31" fmla="*/ 280133 h 305027"/>
                <a:gd name="connsiteX32" fmla="*/ 124471 w 488634"/>
                <a:gd name="connsiteY32" fmla="*/ 255239 h 305027"/>
                <a:gd name="connsiteX33" fmla="*/ 177310 w 488634"/>
                <a:gd name="connsiteY33" fmla="*/ 254649 h 305027"/>
                <a:gd name="connsiteX34" fmla="*/ 184689 w 488634"/>
                <a:gd name="connsiteY34" fmla="*/ 239889 h 305027"/>
                <a:gd name="connsiteX35" fmla="*/ 177506 w 488634"/>
                <a:gd name="connsiteY35" fmla="*/ 226606 h 305027"/>
                <a:gd name="connsiteX36" fmla="*/ 210666 w 488634"/>
                <a:gd name="connsiteY36" fmla="*/ 190494 h 305027"/>
                <a:gd name="connsiteX37" fmla="*/ 242054 w 488634"/>
                <a:gd name="connsiteY37" fmla="*/ 202400 h 305027"/>
                <a:gd name="connsiteX38" fmla="*/ 237528 w 488634"/>
                <a:gd name="connsiteY38" fmla="*/ 228180 h 305027"/>
                <a:gd name="connsiteX39" fmla="*/ 262127 w 488634"/>
                <a:gd name="connsiteY39" fmla="*/ 232313 h 305027"/>
                <a:gd name="connsiteX40" fmla="*/ 253960 w 488634"/>
                <a:gd name="connsiteY40" fmla="*/ 275115 h 305027"/>
                <a:gd name="connsiteX41" fmla="*/ 268031 w 488634"/>
                <a:gd name="connsiteY41" fmla="*/ 305027 h 305027"/>
                <a:gd name="connsiteX42" fmla="*/ 365443 w 488634"/>
                <a:gd name="connsiteY42" fmla="*/ 252779 h 305027"/>
                <a:gd name="connsiteX43" fmla="*/ 398701 w 488634"/>
                <a:gd name="connsiteY43" fmla="*/ 253370 h 305027"/>
                <a:gd name="connsiteX44" fmla="*/ 389943 w 488634"/>
                <a:gd name="connsiteY44" fmla="*/ 272163 h 305027"/>
                <a:gd name="connsiteX45" fmla="*/ 432844 w 488634"/>
                <a:gd name="connsiteY45" fmla="*/ 254649 h 305027"/>
                <a:gd name="connsiteX46" fmla="*/ 453802 w 488634"/>
                <a:gd name="connsiteY46" fmla="*/ 255633 h 305027"/>
                <a:gd name="connsiteX47" fmla="*/ 462953 w 488634"/>
                <a:gd name="connsiteY47" fmla="*/ 271081 h 305027"/>
                <a:gd name="connsiteX48" fmla="*/ 488634 w 488634"/>
                <a:gd name="connsiteY48" fmla="*/ 261143 h 305027"/>
                <a:gd name="connsiteX49" fmla="*/ 461575 w 488634"/>
                <a:gd name="connsiteY49" fmla="*/ 183115 h 305027"/>
                <a:gd name="connsiteX50" fmla="*/ 422020 w 488634"/>
                <a:gd name="connsiteY50" fmla="*/ 172094 h 305027"/>
                <a:gd name="connsiteX51" fmla="*/ 414837 w 488634"/>
                <a:gd name="connsiteY51" fmla="*/ 186067 h 305027"/>
                <a:gd name="connsiteX52" fmla="*/ 395946 w 488634"/>
                <a:gd name="connsiteY52" fmla="*/ 177113 h 305027"/>
                <a:gd name="connsiteX53" fmla="*/ 390435 w 488634"/>
                <a:gd name="connsiteY53" fmla="*/ 118075 h 305027"/>
                <a:gd name="connsiteX54" fmla="*/ 321755 w 488634"/>
                <a:gd name="connsiteY54" fmla="*/ 122306 h 305027"/>
                <a:gd name="connsiteX55" fmla="*/ 301190 w 488634"/>
                <a:gd name="connsiteY55" fmla="*/ 133425 h 30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88634" h="305027">
                  <a:moveTo>
                    <a:pt x="301190" y="133425"/>
                  </a:moveTo>
                  <a:lnTo>
                    <a:pt x="288596" y="120141"/>
                  </a:lnTo>
                  <a:lnTo>
                    <a:pt x="270983" y="124963"/>
                  </a:lnTo>
                  <a:lnTo>
                    <a:pt x="257404" y="105185"/>
                  </a:lnTo>
                  <a:lnTo>
                    <a:pt x="213519" y="121027"/>
                  </a:lnTo>
                  <a:lnTo>
                    <a:pt x="196595" y="106956"/>
                  </a:lnTo>
                  <a:lnTo>
                    <a:pt x="124471" y="114435"/>
                  </a:lnTo>
                  <a:lnTo>
                    <a:pt x="118567" y="86490"/>
                  </a:lnTo>
                  <a:lnTo>
                    <a:pt x="158615" y="64744"/>
                  </a:lnTo>
                  <a:lnTo>
                    <a:pt x="199055" y="78126"/>
                  </a:lnTo>
                  <a:lnTo>
                    <a:pt x="214503" y="59923"/>
                  </a:lnTo>
                  <a:lnTo>
                    <a:pt x="184197" y="44967"/>
                  </a:lnTo>
                  <a:lnTo>
                    <a:pt x="212929" y="18498"/>
                  </a:lnTo>
                  <a:lnTo>
                    <a:pt x="188822" y="0"/>
                  </a:lnTo>
                  <a:lnTo>
                    <a:pt x="147594" y="29617"/>
                  </a:lnTo>
                  <a:lnTo>
                    <a:pt x="129292" y="14169"/>
                  </a:lnTo>
                  <a:lnTo>
                    <a:pt x="113352" y="35521"/>
                  </a:lnTo>
                  <a:lnTo>
                    <a:pt x="116599" y="59923"/>
                  </a:lnTo>
                  <a:lnTo>
                    <a:pt x="92197" y="61399"/>
                  </a:lnTo>
                  <a:lnTo>
                    <a:pt x="70255" y="110203"/>
                  </a:lnTo>
                  <a:lnTo>
                    <a:pt x="14268" y="102725"/>
                  </a:lnTo>
                  <a:lnTo>
                    <a:pt x="0" y="128800"/>
                  </a:lnTo>
                  <a:lnTo>
                    <a:pt x="20171" y="135885"/>
                  </a:lnTo>
                  <a:lnTo>
                    <a:pt x="23910" y="150054"/>
                  </a:lnTo>
                  <a:lnTo>
                    <a:pt x="50182" y="156646"/>
                  </a:lnTo>
                  <a:lnTo>
                    <a:pt x="47427" y="191970"/>
                  </a:lnTo>
                  <a:lnTo>
                    <a:pt x="62186" y="211945"/>
                  </a:lnTo>
                  <a:lnTo>
                    <a:pt x="23025" y="277870"/>
                  </a:lnTo>
                  <a:lnTo>
                    <a:pt x="42606" y="298632"/>
                  </a:lnTo>
                  <a:lnTo>
                    <a:pt x="96920" y="271671"/>
                  </a:lnTo>
                  <a:lnTo>
                    <a:pt x="113943" y="289383"/>
                  </a:lnTo>
                  <a:lnTo>
                    <a:pt x="131162" y="280133"/>
                  </a:lnTo>
                  <a:lnTo>
                    <a:pt x="124471" y="255239"/>
                  </a:lnTo>
                  <a:lnTo>
                    <a:pt x="177310" y="254649"/>
                  </a:lnTo>
                  <a:lnTo>
                    <a:pt x="184689" y="239889"/>
                  </a:lnTo>
                  <a:lnTo>
                    <a:pt x="177506" y="226606"/>
                  </a:lnTo>
                  <a:lnTo>
                    <a:pt x="210666" y="190494"/>
                  </a:lnTo>
                  <a:lnTo>
                    <a:pt x="242054" y="202400"/>
                  </a:lnTo>
                  <a:lnTo>
                    <a:pt x="237528" y="228180"/>
                  </a:lnTo>
                  <a:lnTo>
                    <a:pt x="262127" y="232313"/>
                  </a:lnTo>
                  <a:lnTo>
                    <a:pt x="253960" y="275115"/>
                  </a:lnTo>
                  <a:lnTo>
                    <a:pt x="268031" y="305027"/>
                  </a:lnTo>
                  <a:lnTo>
                    <a:pt x="365443" y="252779"/>
                  </a:lnTo>
                  <a:lnTo>
                    <a:pt x="398701" y="253370"/>
                  </a:lnTo>
                  <a:lnTo>
                    <a:pt x="389943" y="272163"/>
                  </a:lnTo>
                  <a:lnTo>
                    <a:pt x="432844" y="254649"/>
                  </a:lnTo>
                  <a:lnTo>
                    <a:pt x="453802" y="255633"/>
                  </a:lnTo>
                  <a:lnTo>
                    <a:pt x="462953" y="271081"/>
                  </a:lnTo>
                  <a:lnTo>
                    <a:pt x="488634" y="261143"/>
                  </a:lnTo>
                  <a:lnTo>
                    <a:pt x="461575" y="183115"/>
                  </a:lnTo>
                  <a:lnTo>
                    <a:pt x="422020" y="172094"/>
                  </a:lnTo>
                  <a:lnTo>
                    <a:pt x="414837" y="186067"/>
                  </a:lnTo>
                  <a:lnTo>
                    <a:pt x="395946" y="177113"/>
                  </a:lnTo>
                  <a:lnTo>
                    <a:pt x="390435" y="118075"/>
                  </a:lnTo>
                  <a:lnTo>
                    <a:pt x="321755" y="122306"/>
                  </a:lnTo>
                  <a:lnTo>
                    <a:pt x="301190" y="133425"/>
                  </a:lnTo>
                  <a:close/>
                </a:path>
              </a:pathLst>
            </a:custGeom>
            <a:grpFill/>
            <a:ln w="9835" cap="flat">
              <a:noFill/>
              <a:prstDash val="solid"/>
              <a:miter/>
            </a:ln>
          </p:spPr>
          <p:txBody>
            <a:bodyPr rtlCol="0" anchor="ctr"/>
            <a:lstStyle/>
            <a:p>
              <a:endParaRPr lang="en-IN"/>
            </a:p>
          </p:txBody>
        </p:sp>
        <p:sp>
          <p:nvSpPr>
            <p:cNvPr id="473" name="Freeform: Shape 472">
              <a:extLst>
                <a:ext uri="{FF2B5EF4-FFF2-40B4-BE49-F238E27FC236}">
                  <a16:creationId xmlns:a16="http://schemas.microsoft.com/office/drawing/2014/main" id="{7C0DD85C-2BE7-4C58-B56E-D19AB574267C}"/>
                </a:ext>
              </a:extLst>
            </p:cNvPr>
            <p:cNvSpPr/>
            <p:nvPr/>
          </p:nvSpPr>
          <p:spPr>
            <a:xfrm>
              <a:off x="12492846" y="4587639"/>
              <a:ext cx="112863" cy="220112"/>
            </a:xfrm>
            <a:custGeom>
              <a:avLst/>
              <a:gdLst>
                <a:gd name="connsiteX0" fmla="*/ 94564 w 112863"/>
                <a:gd name="connsiteY0" fmla="*/ 917 h 220112"/>
                <a:gd name="connsiteX1" fmla="*/ 86004 w 112863"/>
                <a:gd name="connsiteY1" fmla="*/ 2098 h 220112"/>
                <a:gd name="connsiteX2" fmla="*/ 84429 w 112863"/>
                <a:gd name="connsiteY2" fmla="*/ 3770 h 220112"/>
                <a:gd name="connsiteX3" fmla="*/ 62684 w 112863"/>
                <a:gd name="connsiteY3" fmla="*/ 12134 h 220112"/>
                <a:gd name="connsiteX4" fmla="*/ 7976 w 112863"/>
                <a:gd name="connsiteY4" fmla="*/ 92327 h 220112"/>
                <a:gd name="connsiteX5" fmla="*/ 202 w 112863"/>
                <a:gd name="connsiteY5" fmla="*/ 131488 h 220112"/>
                <a:gd name="connsiteX6" fmla="*/ 8369 w 112863"/>
                <a:gd name="connsiteY6" fmla="*/ 168583 h 220112"/>
                <a:gd name="connsiteX7" fmla="*/ 31689 w 112863"/>
                <a:gd name="connsiteY7" fmla="*/ 194265 h 220112"/>
                <a:gd name="connsiteX8" fmla="*/ 34247 w 112863"/>
                <a:gd name="connsiteY8" fmla="*/ 210303 h 220112"/>
                <a:gd name="connsiteX9" fmla="*/ 43595 w 112863"/>
                <a:gd name="connsiteY9" fmla="*/ 219651 h 220112"/>
                <a:gd name="connsiteX10" fmla="*/ 48810 w 112863"/>
                <a:gd name="connsiteY10" fmla="*/ 216404 h 220112"/>
                <a:gd name="connsiteX11" fmla="*/ 49695 w 112863"/>
                <a:gd name="connsiteY11" fmla="*/ 184524 h 220112"/>
                <a:gd name="connsiteX12" fmla="*/ 73507 w 112863"/>
                <a:gd name="connsiteY12" fmla="*/ 148314 h 220112"/>
                <a:gd name="connsiteX13" fmla="*/ 91120 w 112863"/>
                <a:gd name="connsiteY13" fmla="*/ 80420 h 220112"/>
                <a:gd name="connsiteX14" fmla="*/ 106175 w 112863"/>
                <a:gd name="connsiteY14" fmla="*/ 50902 h 220112"/>
                <a:gd name="connsiteX15" fmla="*/ 105092 w 112863"/>
                <a:gd name="connsiteY15" fmla="*/ 34175 h 220112"/>
                <a:gd name="connsiteX16" fmla="*/ 111685 w 112863"/>
                <a:gd name="connsiteY16" fmla="*/ 17939 h 220112"/>
                <a:gd name="connsiteX17" fmla="*/ 94564 w 112863"/>
                <a:gd name="connsiteY17" fmla="*/ 1015 h 22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2863" h="220112">
                  <a:moveTo>
                    <a:pt x="94564" y="917"/>
                  </a:moveTo>
                  <a:cubicBezTo>
                    <a:pt x="91907" y="-658"/>
                    <a:pt x="88069" y="-166"/>
                    <a:pt x="86004" y="2098"/>
                  </a:cubicBezTo>
                  <a:lnTo>
                    <a:pt x="84429" y="3770"/>
                  </a:lnTo>
                  <a:cubicBezTo>
                    <a:pt x="79411" y="9083"/>
                    <a:pt x="72129" y="9871"/>
                    <a:pt x="62684" y="12134"/>
                  </a:cubicBezTo>
                  <a:cubicBezTo>
                    <a:pt x="55009" y="14003"/>
                    <a:pt x="57271" y="13708"/>
                    <a:pt x="7976" y="92327"/>
                  </a:cubicBezTo>
                  <a:cubicBezTo>
                    <a:pt x="4040" y="98624"/>
                    <a:pt x="4138" y="103642"/>
                    <a:pt x="202" y="131488"/>
                  </a:cubicBezTo>
                  <a:cubicBezTo>
                    <a:pt x="-880" y="139360"/>
                    <a:pt x="2465" y="147724"/>
                    <a:pt x="8369" y="168583"/>
                  </a:cubicBezTo>
                  <a:cubicBezTo>
                    <a:pt x="11813" y="180686"/>
                    <a:pt x="29819" y="182555"/>
                    <a:pt x="31689" y="194265"/>
                  </a:cubicBezTo>
                  <a:lnTo>
                    <a:pt x="34247" y="210303"/>
                  </a:lnTo>
                  <a:cubicBezTo>
                    <a:pt x="35329" y="217388"/>
                    <a:pt x="42512" y="218962"/>
                    <a:pt x="43595" y="219651"/>
                  </a:cubicBezTo>
                  <a:cubicBezTo>
                    <a:pt x="46350" y="220930"/>
                    <a:pt x="48711" y="219454"/>
                    <a:pt x="48810" y="216404"/>
                  </a:cubicBezTo>
                  <a:lnTo>
                    <a:pt x="49695" y="184524"/>
                  </a:lnTo>
                  <a:cubicBezTo>
                    <a:pt x="49892" y="177341"/>
                    <a:pt x="52844" y="174979"/>
                    <a:pt x="73507" y="148314"/>
                  </a:cubicBezTo>
                  <a:cubicBezTo>
                    <a:pt x="78033" y="142508"/>
                    <a:pt x="77738" y="140737"/>
                    <a:pt x="91120" y="80420"/>
                  </a:cubicBezTo>
                  <a:cubicBezTo>
                    <a:pt x="92793" y="72647"/>
                    <a:pt x="98205" y="64776"/>
                    <a:pt x="106175" y="50902"/>
                  </a:cubicBezTo>
                  <a:cubicBezTo>
                    <a:pt x="110012" y="44211"/>
                    <a:pt x="105584" y="36733"/>
                    <a:pt x="105092" y="34175"/>
                  </a:cubicBezTo>
                  <a:cubicBezTo>
                    <a:pt x="102632" y="26598"/>
                    <a:pt x="109914" y="20989"/>
                    <a:pt x="111685" y="17939"/>
                  </a:cubicBezTo>
                  <a:cubicBezTo>
                    <a:pt x="116998" y="10854"/>
                    <a:pt x="103124" y="7509"/>
                    <a:pt x="94564" y="1015"/>
                  </a:cubicBezTo>
                  <a:close/>
                </a:path>
              </a:pathLst>
            </a:custGeom>
            <a:grpFill/>
            <a:ln w="9835" cap="flat">
              <a:noFill/>
              <a:prstDash val="solid"/>
              <a:miter/>
            </a:ln>
          </p:spPr>
          <p:txBody>
            <a:bodyPr rtlCol="0" anchor="ctr"/>
            <a:lstStyle/>
            <a:p>
              <a:endParaRPr lang="en-IN"/>
            </a:p>
          </p:txBody>
        </p:sp>
        <p:sp>
          <p:nvSpPr>
            <p:cNvPr id="474" name="Freeform: Shape 473">
              <a:extLst>
                <a:ext uri="{FF2B5EF4-FFF2-40B4-BE49-F238E27FC236}">
                  <a16:creationId xmlns:a16="http://schemas.microsoft.com/office/drawing/2014/main" id="{3EE31849-2277-38D8-46E4-145754C6D660}"/>
                </a:ext>
              </a:extLst>
            </p:cNvPr>
            <p:cNvSpPr/>
            <p:nvPr/>
          </p:nvSpPr>
          <p:spPr>
            <a:xfrm>
              <a:off x="7258088" y="3770197"/>
              <a:ext cx="413755" cy="350683"/>
            </a:xfrm>
            <a:custGeom>
              <a:avLst/>
              <a:gdLst>
                <a:gd name="connsiteX0" fmla="*/ 17908 w 413755"/>
                <a:gd name="connsiteY0" fmla="*/ 321656 h 350683"/>
                <a:gd name="connsiteX1" fmla="*/ 42113 w 413755"/>
                <a:gd name="connsiteY1" fmla="*/ 346944 h 350683"/>
                <a:gd name="connsiteX2" fmla="*/ 71140 w 413755"/>
                <a:gd name="connsiteY2" fmla="*/ 350683 h 350683"/>
                <a:gd name="connsiteX3" fmla="*/ 325789 w 413755"/>
                <a:gd name="connsiteY3" fmla="*/ 207615 h 350683"/>
                <a:gd name="connsiteX4" fmla="*/ 343796 w 413755"/>
                <a:gd name="connsiteY4" fmla="*/ 176030 h 350683"/>
                <a:gd name="connsiteX5" fmla="*/ 343796 w 413755"/>
                <a:gd name="connsiteY5" fmla="*/ 141985 h 350683"/>
                <a:gd name="connsiteX6" fmla="*/ 352258 w 413755"/>
                <a:gd name="connsiteY6" fmla="*/ 118567 h 350683"/>
                <a:gd name="connsiteX7" fmla="*/ 349207 w 413755"/>
                <a:gd name="connsiteY7" fmla="*/ 62678 h 350683"/>
                <a:gd name="connsiteX8" fmla="*/ 389353 w 413755"/>
                <a:gd name="connsiteY8" fmla="*/ 50871 h 350683"/>
                <a:gd name="connsiteX9" fmla="*/ 413755 w 413755"/>
                <a:gd name="connsiteY9" fmla="*/ 21549 h 350683"/>
                <a:gd name="connsiteX10" fmla="*/ 408146 w 413755"/>
                <a:gd name="connsiteY10" fmla="*/ 0 h 350683"/>
                <a:gd name="connsiteX11" fmla="*/ 389648 w 413755"/>
                <a:gd name="connsiteY11" fmla="*/ 0 h 350683"/>
                <a:gd name="connsiteX12" fmla="*/ 376266 w 413755"/>
                <a:gd name="connsiteY12" fmla="*/ 14759 h 350683"/>
                <a:gd name="connsiteX13" fmla="*/ 311817 w 413755"/>
                <a:gd name="connsiteY13" fmla="*/ 16137 h 350683"/>
                <a:gd name="connsiteX14" fmla="*/ 257207 w 413755"/>
                <a:gd name="connsiteY14" fmla="*/ 40637 h 350683"/>
                <a:gd name="connsiteX15" fmla="*/ 196595 w 413755"/>
                <a:gd name="connsiteY15" fmla="*/ 45557 h 350683"/>
                <a:gd name="connsiteX16" fmla="*/ 181049 w 413755"/>
                <a:gd name="connsiteY16" fmla="*/ 29420 h 350683"/>
                <a:gd name="connsiteX17" fmla="*/ 151530 w 413755"/>
                <a:gd name="connsiteY17" fmla="*/ 26173 h 350683"/>
                <a:gd name="connsiteX18" fmla="*/ 105874 w 413755"/>
                <a:gd name="connsiteY18" fmla="*/ 48706 h 350683"/>
                <a:gd name="connsiteX19" fmla="*/ 63662 w 413755"/>
                <a:gd name="connsiteY19" fmla="*/ 34832 h 350683"/>
                <a:gd name="connsiteX20" fmla="*/ 63662 w 413755"/>
                <a:gd name="connsiteY20" fmla="*/ 73600 h 350683"/>
                <a:gd name="connsiteX21" fmla="*/ 37489 w 413755"/>
                <a:gd name="connsiteY21" fmla="*/ 99773 h 350683"/>
                <a:gd name="connsiteX22" fmla="*/ 12595 w 413755"/>
                <a:gd name="connsiteY22" fmla="*/ 99773 h 350683"/>
                <a:gd name="connsiteX23" fmla="*/ 8659 w 413755"/>
                <a:gd name="connsiteY23" fmla="*/ 120928 h 350683"/>
                <a:gd name="connsiteX24" fmla="*/ 15547 w 413755"/>
                <a:gd name="connsiteY24" fmla="*/ 137459 h 350683"/>
                <a:gd name="connsiteX25" fmla="*/ 13972 w 413755"/>
                <a:gd name="connsiteY25" fmla="*/ 172390 h 350683"/>
                <a:gd name="connsiteX26" fmla="*/ 18302 w 413755"/>
                <a:gd name="connsiteY26" fmla="*/ 190199 h 350683"/>
                <a:gd name="connsiteX27" fmla="*/ 18400 w 413755"/>
                <a:gd name="connsiteY27" fmla="*/ 190199 h 350683"/>
                <a:gd name="connsiteX28" fmla="*/ 48903 w 413755"/>
                <a:gd name="connsiteY28" fmla="*/ 190199 h 350683"/>
                <a:gd name="connsiteX29" fmla="*/ 43294 w 413755"/>
                <a:gd name="connsiteY29" fmla="*/ 200629 h 350683"/>
                <a:gd name="connsiteX30" fmla="*/ 54216 w 413755"/>
                <a:gd name="connsiteY30" fmla="*/ 220801 h 350683"/>
                <a:gd name="connsiteX31" fmla="*/ 12988 w 413755"/>
                <a:gd name="connsiteY31" fmla="*/ 258289 h 350683"/>
                <a:gd name="connsiteX32" fmla="*/ 18892 w 413755"/>
                <a:gd name="connsiteY32" fmla="*/ 265472 h 350683"/>
                <a:gd name="connsiteX33" fmla="*/ 2460 w 413755"/>
                <a:gd name="connsiteY33" fmla="*/ 288989 h 350683"/>
                <a:gd name="connsiteX34" fmla="*/ 0 w 413755"/>
                <a:gd name="connsiteY34" fmla="*/ 327068 h 350683"/>
                <a:gd name="connsiteX35" fmla="*/ 0 w 413755"/>
                <a:gd name="connsiteY35" fmla="*/ 327068 h 350683"/>
                <a:gd name="connsiteX36" fmla="*/ 17810 w 413755"/>
                <a:gd name="connsiteY36" fmla="*/ 321755 h 350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3755" h="350683">
                  <a:moveTo>
                    <a:pt x="17908" y="321656"/>
                  </a:moveTo>
                  <a:lnTo>
                    <a:pt x="42113" y="346944"/>
                  </a:lnTo>
                  <a:lnTo>
                    <a:pt x="71140" y="350683"/>
                  </a:lnTo>
                  <a:lnTo>
                    <a:pt x="325789" y="207615"/>
                  </a:lnTo>
                  <a:lnTo>
                    <a:pt x="343796" y="176030"/>
                  </a:lnTo>
                  <a:lnTo>
                    <a:pt x="343796" y="141985"/>
                  </a:lnTo>
                  <a:lnTo>
                    <a:pt x="352258" y="118567"/>
                  </a:lnTo>
                  <a:lnTo>
                    <a:pt x="349207" y="62678"/>
                  </a:lnTo>
                  <a:lnTo>
                    <a:pt x="389353" y="50871"/>
                  </a:lnTo>
                  <a:lnTo>
                    <a:pt x="413755" y="21549"/>
                  </a:lnTo>
                  <a:lnTo>
                    <a:pt x="408146" y="0"/>
                  </a:lnTo>
                  <a:lnTo>
                    <a:pt x="389648" y="0"/>
                  </a:lnTo>
                  <a:lnTo>
                    <a:pt x="376266" y="14759"/>
                  </a:lnTo>
                  <a:lnTo>
                    <a:pt x="311817" y="16137"/>
                  </a:lnTo>
                  <a:lnTo>
                    <a:pt x="257207" y="40637"/>
                  </a:lnTo>
                  <a:lnTo>
                    <a:pt x="196595" y="45557"/>
                  </a:lnTo>
                  <a:lnTo>
                    <a:pt x="181049" y="29420"/>
                  </a:lnTo>
                  <a:lnTo>
                    <a:pt x="151530" y="26173"/>
                  </a:lnTo>
                  <a:lnTo>
                    <a:pt x="105874" y="48706"/>
                  </a:lnTo>
                  <a:lnTo>
                    <a:pt x="63662" y="34832"/>
                  </a:lnTo>
                  <a:lnTo>
                    <a:pt x="63662" y="73600"/>
                  </a:lnTo>
                  <a:lnTo>
                    <a:pt x="37489" y="99773"/>
                  </a:lnTo>
                  <a:lnTo>
                    <a:pt x="12595" y="99773"/>
                  </a:lnTo>
                  <a:cubicBezTo>
                    <a:pt x="7380" y="111286"/>
                    <a:pt x="5215" y="115910"/>
                    <a:pt x="8659" y="120928"/>
                  </a:cubicBezTo>
                  <a:cubicBezTo>
                    <a:pt x="10135" y="123683"/>
                    <a:pt x="16432" y="129686"/>
                    <a:pt x="15547" y="137459"/>
                  </a:cubicBezTo>
                  <a:cubicBezTo>
                    <a:pt x="13480" y="155269"/>
                    <a:pt x="11316" y="164911"/>
                    <a:pt x="13972" y="172390"/>
                  </a:cubicBezTo>
                  <a:cubicBezTo>
                    <a:pt x="15153" y="177703"/>
                    <a:pt x="19876" y="184689"/>
                    <a:pt x="18302" y="190199"/>
                  </a:cubicBezTo>
                  <a:lnTo>
                    <a:pt x="18400" y="190199"/>
                  </a:lnTo>
                  <a:cubicBezTo>
                    <a:pt x="18400" y="190199"/>
                    <a:pt x="48903" y="190199"/>
                    <a:pt x="48903" y="190199"/>
                  </a:cubicBezTo>
                  <a:lnTo>
                    <a:pt x="43294" y="200629"/>
                  </a:lnTo>
                  <a:lnTo>
                    <a:pt x="54216" y="220801"/>
                  </a:lnTo>
                  <a:lnTo>
                    <a:pt x="12988" y="258289"/>
                  </a:lnTo>
                  <a:lnTo>
                    <a:pt x="18892" y="265472"/>
                  </a:lnTo>
                  <a:lnTo>
                    <a:pt x="2460" y="288989"/>
                  </a:lnTo>
                  <a:lnTo>
                    <a:pt x="0" y="327068"/>
                  </a:lnTo>
                  <a:lnTo>
                    <a:pt x="0" y="327068"/>
                  </a:lnTo>
                  <a:lnTo>
                    <a:pt x="17810" y="321755"/>
                  </a:lnTo>
                  <a:close/>
                </a:path>
              </a:pathLst>
            </a:custGeom>
            <a:grpFill/>
            <a:ln w="9835" cap="flat">
              <a:noFill/>
              <a:prstDash val="solid"/>
              <a:miter/>
            </a:ln>
          </p:spPr>
          <p:txBody>
            <a:bodyPr rtlCol="0" anchor="ctr"/>
            <a:lstStyle/>
            <a:p>
              <a:endParaRPr lang="en-IN"/>
            </a:p>
          </p:txBody>
        </p:sp>
        <p:sp>
          <p:nvSpPr>
            <p:cNvPr id="475" name="Freeform: Shape 474">
              <a:extLst>
                <a:ext uri="{FF2B5EF4-FFF2-40B4-BE49-F238E27FC236}">
                  <a16:creationId xmlns:a16="http://schemas.microsoft.com/office/drawing/2014/main" id="{24F10D0D-38B8-EF5D-F633-653930B46FD0}"/>
                </a:ext>
              </a:extLst>
            </p:cNvPr>
            <p:cNvSpPr/>
            <p:nvPr/>
          </p:nvSpPr>
          <p:spPr>
            <a:xfrm>
              <a:off x="9987125" y="5587129"/>
              <a:ext cx="134439" cy="242355"/>
            </a:xfrm>
            <a:custGeom>
              <a:avLst/>
              <a:gdLst>
                <a:gd name="connsiteX0" fmla="*/ 93157 w 134439"/>
                <a:gd name="connsiteY0" fmla="*/ 84077 h 242355"/>
                <a:gd name="connsiteX1" fmla="*/ 92861 w 134439"/>
                <a:gd name="connsiteY1" fmla="*/ 84077 h 242355"/>
                <a:gd name="connsiteX2" fmla="*/ 89024 w 134439"/>
                <a:gd name="connsiteY2" fmla="*/ 79551 h 242355"/>
                <a:gd name="connsiteX3" fmla="*/ 88434 w 134439"/>
                <a:gd name="connsiteY3" fmla="*/ 67251 h 242355"/>
                <a:gd name="connsiteX4" fmla="*/ 71805 w 134439"/>
                <a:gd name="connsiteY4" fmla="*/ 40192 h 242355"/>
                <a:gd name="connsiteX5" fmla="*/ 31856 w 134439"/>
                <a:gd name="connsiteY5" fmla="*/ 2507 h 242355"/>
                <a:gd name="connsiteX6" fmla="*/ 13751 w 134439"/>
                <a:gd name="connsiteY6" fmla="*/ 2310 h 242355"/>
                <a:gd name="connsiteX7" fmla="*/ 4502 w 134439"/>
                <a:gd name="connsiteY7" fmla="*/ 12150 h 242355"/>
                <a:gd name="connsiteX8" fmla="*/ 22311 w 134439"/>
                <a:gd name="connsiteY8" fmla="*/ 12839 h 242355"/>
                <a:gd name="connsiteX9" fmla="*/ 35693 w 134439"/>
                <a:gd name="connsiteY9" fmla="*/ 17758 h 242355"/>
                <a:gd name="connsiteX10" fmla="*/ 30282 w 134439"/>
                <a:gd name="connsiteY10" fmla="*/ 25138 h 242355"/>
                <a:gd name="connsiteX11" fmla="*/ 22508 w 134439"/>
                <a:gd name="connsiteY11" fmla="*/ 44620 h 242355"/>
                <a:gd name="connsiteX12" fmla="*/ 8241 w 134439"/>
                <a:gd name="connsiteY12" fmla="*/ 45899 h 242355"/>
                <a:gd name="connsiteX13" fmla="*/ 4108 w 134439"/>
                <a:gd name="connsiteY13" fmla="*/ 53083 h 242355"/>
                <a:gd name="connsiteX14" fmla="*/ 9914 w 134439"/>
                <a:gd name="connsiteY14" fmla="*/ 58003 h 242355"/>
                <a:gd name="connsiteX15" fmla="*/ 7749 w 134439"/>
                <a:gd name="connsiteY15" fmla="*/ 97459 h 242355"/>
                <a:gd name="connsiteX16" fmla="*/ 3026 w 134439"/>
                <a:gd name="connsiteY16" fmla="*/ 101493 h 242355"/>
                <a:gd name="connsiteX17" fmla="*/ 4895 w 134439"/>
                <a:gd name="connsiteY17" fmla="*/ 162007 h 242355"/>
                <a:gd name="connsiteX18" fmla="*/ 19064 w 134439"/>
                <a:gd name="connsiteY18" fmla="*/ 221537 h 242355"/>
                <a:gd name="connsiteX19" fmla="*/ 24476 w 134439"/>
                <a:gd name="connsiteY19" fmla="*/ 230786 h 242355"/>
                <a:gd name="connsiteX20" fmla="*/ 38744 w 134439"/>
                <a:gd name="connsiteY20" fmla="*/ 240428 h 242355"/>
                <a:gd name="connsiteX21" fmla="*/ 57636 w 134439"/>
                <a:gd name="connsiteY21" fmla="*/ 241314 h 242355"/>
                <a:gd name="connsiteX22" fmla="*/ 91484 w 134439"/>
                <a:gd name="connsiteY22" fmla="*/ 228031 h 242355"/>
                <a:gd name="connsiteX23" fmla="*/ 123955 w 134439"/>
                <a:gd name="connsiteY23" fmla="*/ 205301 h 242355"/>
                <a:gd name="connsiteX24" fmla="*/ 134286 w 134439"/>
                <a:gd name="connsiteY24" fmla="*/ 156103 h 242355"/>
                <a:gd name="connsiteX25" fmla="*/ 112049 w 134439"/>
                <a:gd name="connsiteY25" fmla="*/ 116548 h 242355"/>
                <a:gd name="connsiteX26" fmla="*/ 93255 w 134439"/>
                <a:gd name="connsiteY26" fmla="*/ 84077 h 24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4439" h="242355">
                  <a:moveTo>
                    <a:pt x="93157" y="84077"/>
                  </a:moveTo>
                  <a:lnTo>
                    <a:pt x="92861" y="84077"/>
                  </a:lnTo>
                  <a:cubicBezTo>
                    <a:pt x="89811" y="84569"/>
                    <a:pt x="88040" y="82503"/>
                    <a:pt x="89024" y="79551"/>
                  </a:cubicBezTo>
                  <a:cubicBezTo>
                    <a:pt x="88926" y="80535"/>
                    <a:pt x="91877" y="72663"/>
                    <a:pt x="88434" y="67251"/>
                  </a:cubicBezTo>
                  <a:lnTo>
                    <a:pt x="71805" y="40192"/>
                  </a:lnTo>
                  <a:cubicBezTo>
                    <a:pt x="67869" y="33797"/>
                    <a:pt x="65311" y="32222"/>
                    <a:pt x="31856" y="2507"/>
                  </a:cubicBezTo>
                  <a:cubicBezTo>
                    <a:pt x="25854" y="-2807"/>
                    <a:pt x="17589" y="1917"/>
                    <a:pt x="13751" y="2310"/>
                  </a:cubicBezTo>
                  <a:cubicBezTo>
                    <a:pt x="6863" y="4081"/>
                    <a:pt x="5191" y="11166"/>
                    <a:pt x="4502" y="12150"/>
                  </a:cubicBezTo>
                  <a:cubicBezTo>
                    <a:pt x="763" y="20218"/>
                    <a:pt x="16014" y="13527"/>
                    <a:pt x="22311" y="12839"/>
                  </a:cubicBezTo>
                  <a:cubicBezTo>
                    <a:pt x="29396" y="11265"/>
                    <a:pt x="34316" y="17070"/>
                    <a:pt x="35693" y="17758"/>
                  </a:cubicBezTo>
                  <a:cubicBezTo>
                    <a:pt x="41499" y="22285"/>
                    <a:pt x="31364" y="24351"/>
                    <a:pt x="30282" y="25138"/>
                  </a:cubicBezTo>
                  <a:cubicBezTo>
                    <a:pt x="22508" y="28287"/>
                    <a:pt x="22508" y="44620"/>
                    <a:pt x="22508" y="44620"/>
                  </a:cubicBezTo>
                  <a:cubicBezTo>
                    <a:pt x="21328" y="52492"/>
                    <a:pt x="11390" y="46293"/>
                    <a:pt x="8241" y="45899"/>
                  </a:cubicBezTo>
                  <a:cubicBezTo>
                    <a:pt x="1255" y="43637"/>
                    <a:pt x="-1402" y="48359"/>
                    <a:pt x="4108" y="53083"/>
                  </a:cubicBezTo>
                  <a:lnTo>
                    <a:pt x="9914" y="58003"/>
                  </a:lnTo>
                  <a:cubicBezTo>
                    <a:pt x="15522" y="62824"/>
                    <a:pt x="13062" y="67547"/>
                    <a:pt x="7749" y="97459"/>
                  </a:cubicBezTo>
                  <a:cubicBezTo>
                    <a:pt x="7257" y="100509"/>
                    <a:pt x="5092" y="102281"/>
                    <a:pt x="3026" y="101493"/>
                  </a:cubicBezTo>
                  <a:cubicBezTo>
                    <a:pt x="-2288" y="99328"/>
                    <a:pt x="74" y="107102"/>
                    <a:pt x="4895" y="162007"/>
                  </a:cubicBezTo>
                  <a:cubicBezTo>
                    <a:pt x="5486" y="168796"/>
                    <a:pt x="6076" y="170567"/>
                    <a:pt x="19064" y="221537"/>
                  </a:cubicBezTo>
                  <a:cubicBezTo>
                    <a:pt x="19852" y="224488"/>
                    <a:pt x="22213" y="228719"/>
                    <a:pt x="24476" y="230786"/>
                  </a:cubicBezTo>
                  <a:cubicBezTo>
                    <a:pt x="23492" y="229999"/>
                    <a:pt x="31265" y="238854"/>
                    <a:pt x="38744" y="240428"/>
                  </a:cubicBezTo>
                  <a:cubicBezTo>
                    <a:pt x="37760" y="240232"/>
                    <a:pt x="50158" y="244168"/>
                    <a:pt x="57636" y="241314"/>
                  </a:cubicBezTo>
                  <a:lnTo>
                    <a:pt x="91484" y="228031"/>
                  </a:lnTo>
                  <a:cubicBezTo>
                    <a:pt x="98962" y="225079"/>
                    <a:pt x="105358" y="219470"/>
                    <a:pt x="123955" y="205301"/>
                  </a:cubicBezTo>
                  <a:cubicBezTo>
                    <a:pt x="129858" y="200775"/>
                    <a:pt x="128973" y="197331"/>
                    <a:pt x="134286" y="156103"/>
                  </a:cubicBezTo>
                  <a:cubicBezTo>
                    <a:pt x="135270" y="148723"/>
                    <a:pt x="131925" y="146067"/>
                    <a:pt x="112049" y="116548"/>
                  </a:cubicBezTo>
                  <a:cubicBezTo>
                    <a:pt x="101914" y="101493"/>
                    <a:pt x="103783" y="82602"/>
                    <a:pt x="93255" y="84077"/>
                  </a:cubicBezTo>
                  <a:close/>
                </a:path>
              </a:pathLst>
            </a:custGeom>
            <a:grpFill/>
            <a:ln w="9835" cap="flat">
              <a:noFill/>
              <a:prstDash val="solid"/>
              <a:miter/>
            </a:ln>
          </p:spPr>
          <p:txBody>
            <a:bodyPr rtlCol="0" anchor="ctr"/>
            <a:lstStyle/>
            <a:p>
              <a:endParaRPr lang="en-IN"/>
            </a:p>
          </p:txBody>
        </p:sp>
        <p:grpSp>
          <p:nvGrpSpPr>
            <p:cNvPr id="476" name="Graphic 470">
              <a:extLst>
                <a:ext uri="{FF2B5EF4-FFF2-40B4-BE49-F238E27FC236}">
                  <a16:creationId xmlns:a16="http://schemas.microsoft.com/office/drawing/2014/main" id="{7779FE87-2B9E-AAFA-3016-812B7FC47E46}"/>
                </a:ext>
              </a:extLst>
            </p:cNvPr>
            <p:cNvGrpSpPr/>
            <p:nvPr/>
          </p:nvGrpSpPr>
          <p:grpSpPr>
            <a:xfrm>
              <a:off x="12864147" y="3676622"/>
              <a:ext cx="213990" cy="372446"/>
              <a:chOff x="12864147" y="3676622"/>
              <a:chExt cx="213990" cy="372446"/>
            </a:xfrm>
            <a:grpFill/>
          </p:grpSpPr>
          <p:sp>
            <p:nvSpPr>
              <p:cNvPr id="823" name="Freeform: Shape 822">
                <a:extLst>
                  <a:ext uri="{FF2B5EF4-FFF2-40B4-BE49-F238E27FC236}">
                    <a16:creationId xmlns:a16="http://schemas.microsoft.com/office/drawing/2014/main" id="{F0B1EB8C-9885-173D-1AB8-0A48F3BF7468}"/>
                  </a:ext>
                </a:extLst>
              </p:cNvPr>
              <p:cNvSpPr/>
              <p:nvPr/>
            </p:nvSpPr>
            <p:spPr>
              <a:xfrm>
                <a:off x="12867015" y="4028719"/>
                <a:ext cx="47893" cy="20348"/>
              </a:xfrm>
              <a:custGeom>
                <a:avLst/>
                <a:gdLst>
                  <a:gd name="connsiteX0" fmla="*/ 16960 w 47893"/>
                  <a:gd name="connsiteY0" fmla="*/ 2719 h 20348"/>
                  <a:gd name="connsiteX1" fmla="*/ 3480 w 47893"/>
                  <a:gd name="connsiteY1" fmla="*/ 9803 h 20348"/>
                  <a:gd name="connsiteX2" fmla="*/ 6530 w 47893"/>
                  <a:gd name="connsiteY2" fmla="*/ 20332 h 20348"/>
                  <a:gd name="connsiteX3" fmla="*/ 35951 w 47893"/>
                  <a:gd name="connsiteY3" fmla="*/ 18561 h 20348"/>
                  <a:gd name="connsiteX4" fmla="*/ 44807 w 47893"/>
                  <a:gd name="connsiteY4" fmla="*/ 13739 h 20348"/>
                  <a:gd name="connsiteX5" fmla="*/ 47070 w 47893"/>
                  <a:gd name="connsiteY5" fmla="*/ 3211 h 20348"/>
                  <a:gd name="connsiteX6" fmla="*/ 16960 w 47893"/>
                  <a:gd name="connsiteY6" fmla="*/ 2817 h 20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93" h="20348">
                    <a:moveTo>
                      <a:pt x="16960" y="2719"/>
                    </a:moveTo>
                    <a:cubicBezTo>
                      <a:pt x="9679" y="3703"/>
                      <a:pt x="3480" y="9803"/>
                      <a:pt x="3480" y="9803"/>
                    </a:cubicBezTo>
                    <a:cubicBezTo>
                      <a:pt x="-2128" y="14329"/>
                      <a:pt x="-849" y="20725"/>
                      <a:pt x="6530" y="20332"/>
                    </a:cubicBezTo>
                    <a:lnTo>
                      <a:pt x="35951" y="18561"/>
                    </a:lnTo>
                    <a:cubicBezTo>
                      <a:pt x="39001" y="18364"/>
                      <a:pt x="43035" y="16199"/>
                      <a:pt x="44807" y="13739"/>
                    </a:cubicBezTo>
                    <a:cubicBezTo>
                      <a:pt x="44413" y="14723"/>
                      <a:pt x="49923" y="7934"/>
                      <a:pt x="47070" y="3211"/>
                    </a:cubicBezTo>
                    <a:cubicBezTo>
                      <a:pt x="43921" y="-1906"/>
                      <a:pt x="38509" y="-36"/>
                      <a:pt x="16960" y="2817"/>
                    </a:cubicBezTo>
                    <a:close/>
                  </a:path>
                </a:pathLst>
              </a:custGeom>
              <a:grpFill/>
              <a:ln w="9835" cap="flat">
                <a:noFill/>
                <a:prstDash val="solid"/>
                <a:miter/>
              </a:ln>
            </p:spPr>
            <p:txBody>
              <a:bodyPr rtlCol="0" anchor="ctr"/>
              <a:lstStyle/>
              <a:p>
                <a:endParaRPr lang="en-IN"/>
              </a:p>
            </p:txBody>
          </p:sp>
          <p:sp>
            <p:nvSpPr>
              <p:cNvPr id="824" name="Freeform: Shape 823">
                <a:extLst>
                  <a:ext uri="{FF2B5EF4-FFF2-40B4-BE49-F238E27FC236}">
                    <a16:creationId xmlns:a16="http://schemas.microsoft.com/office/drawing/2014/main" id="{40E250A7-D524-1A33-AEA5-5E70F3E72933}"/>
                  </a:ext>
                </a:extLst>
              </p:cNvPr>
              <p:cNvSpPr/>
              <p:nvPr/>
            </p:nvSpPr>
            <p:spPr>
              <a:xfrm>
                <a:off x="13015159" y="3932281"/>
                <a:ext cx="13588" cy="14364"/>
              </a:xfrm>
              <a:custGeom>
                <a:avLst/>
                <a:gdLst>
                  <a:gd name="connsiteX0" fmla="*/ 5390 w 13588"/>
                  <a:gd name="connsiteY0" fmla="*/ 1056 h 14364"/>
                  <a:gd name="connsiteX1" fmla="*/ 1553 w 13588"/>
                  <a:gd name="connsiteY1" fmla="*/ 10699 h 14364"/>
                  <a:gd name="connsiteX2" fmla="*/ 3324 w 13588"/>
                  <a:gd name="connsiteY2" fmla="*/ 12667 h 14364"/>
                  <a:gd name="connsiteX3" fmla="*/ 10900 w 13588"/>
                  <a:gd name="connsiteY3" fmla="*/ 12667 h 14364"/>
                  <a:gd name="connsiteX4" fmla="*/ 11491 w 13588"/>
                  <a:gd name="connsiteY4" fmla="*/ 12077 h 14364"/>
                  <a:gd name="connsiteX5" fmla="*/ 5489 w 13588"/>
                  <a:gd name="connsiteY5" fmla="*/ 1056 h 1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88" h="14364">
                    <a:moveTo>
                      <a:pt x="5390" y="1056"/>
                    </a:moveTo>
                    <a:cubicBezTo>
                      <a:pt x="4604" y="2040"/>
                      <a:pt x="-3269" y="5386"/>
                      <a:pt x="1553" y="10699"/>
                    </a:cubicBezTo>
                    <a:lnTo>
                      <a:pt x="3324" y="12667"/>
                    </a:lnTo>
                    <a:cubicBezTo>
                      <a:pt x="5390" y="14930"/>
                      <a:pt x="8736" y="14930"/>
                      <a:pt x="10900" y="12667"/>
                    </a:cubicBezTo>
                    <a:lnTo>
                      <a:pt x="11491" y="12077"/>
                    </a:lnTo>
                    <a:cubicBezTo>
                      <a:pt x="16608" y="6763"/>
                      <a:pt x="11491" y="-3273"/>
                      <a:pt x="5489" y="1056"/>
                    </a:cubicBezTo>
                    <a:close/>
                  </a:path>
                </a:pathLst>
              </a:custGeom>
              <a:grpFill/>
              <a:ln w="9835" cap="flat">
                <a:noFill/>
                <a:prstDash val="solid"/>
                <a:miter/>
              </a:ln>
            </p:spPr>
            <p:txBody>
              <a:bodyPr rtlCol="0" anchor="ctr"/>
              <a:lstStyle/>
              <a:p>
                <a:endParaRPr lang="en-IN"/>
              </a:p>
            </p:txBody>
          </p:sp>
          <p:sp>
            <p:nvSpPr>
              <p:cNvPr id="825" name="Freeform: Shape 824">
                <a:extLst>
                  <a:ext uri="{FF2B5EF4-FFF2-40B4-BE49-F238E27FC236}">
                    <a16:creationId xmlns:a16="http://schemas.microsoft.com/office/drawing/2014/main" id="{8462837B-EE97-2984-FA7F-9118A6357068}"/>
                  </a:ext>
                </a:extLst>
              </p:cNvPr>
              <p:cNvSpPr/>
              <p:nvPr/>
            </p:nvSpPr>
            <p:spPr>
              <a:xfrm>
                <a:off x="12958923" y="3948936"/>
                <a:ext cx="12934" cy="15690"/>
              </a:xfrm>
              <a:custGeom>
                <a:avLst/>
                <a:gdLst>
                  <a:gd name="connsiteX0" fmla="*/ 8394 w 12934"/>
                  <a:gd name="connsiteY0" fmla="*/ 1325 h 15690"/>
                  <a:gd name="connsiteX1" fmla="*/ 5934 w 12934"/>
                  <a:gd name="connsiteY1" fmla="*/ 341 h 15690"/>
                  <a:gd name="connsiteX2" fmla="*/ 227 w 12934"/>
                  <a:gd name="connsiteY2" fmla="*/ 3884 h 15690"/>
                  <a:gd name="connsiteX3" fmla="*/ 4655 w 12934"/>
                  <a:gd name="connsiteY3" fmla="*/ 14510 h 15690"/>
                  <a:gd name="connsiteX4" fmla="*/ 6623 w 12934"/>
                  <a:gd name="connsiteY4" fmla="*/ 15298 h 15690"/>
                  <a:gd name="connsiteX5" fmla="*/ 12526 w 12934"/>
                  <a:gd name="connsiteY5" fmla="*/ 11854 h 15690"/>
                  <a:gd name="connsiteX6" fmla="*/ 8394 w 12934"/>
                  <a:gd name="connsiteY6" fmla="*/ 1227 h 1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4" h="15690">
                    <a:moveTo>
                      <a:pt x="8394" y="1325"/>
                    </a:moveTo>
                    <a:lnTo>
                      <a:pt x="5934" y="341"/>
                    </a:lnTo>
                    <a:cubicBezTo>
                      <a:pt x="3081" y="-741"/>
                      <a:pt x="522" y="834"/>
                      <a:pt x="227" y="3884"/>
                    </a:cubicBezTo>
                    <a:cubicBezTo>
                      <a:pt x="424" y="4868"/>
                      <a:pt x="-1839" y="11952"/>
                      <a:pt x="4655" y="14510"/>
                    </a:cubicBezTo>
                    <a:lnTo>
                      <a:pt x="6623" y="15298"/>
                    </a:lnTo>
                    <a:cubicBezTo>
                      <a:pt x="9476" y="16478"/>
                      <a:pt x="12133" y="14904"/>
                      <a:pt x="12526" y="11854"/>
                    </a:cubicBezTo>
                    <a:cubicBezTo>
                      <a:pt x="12428" y="10870"/>
                      <a:pt x="14986" y="3785"/>
                      <a:pt x="8394" y="1227"/>
                    </a:cubicBezTo>
                    <a:close/>
                  </a:path>
                </a:pathLst>
              </a:custGeom>
              <a:grpFill/>
              <a:ln w="9835" cap="flat">
                <a:noFill/>
                <a:prstDash val="solid"/>
                <a:miter/>
              </a:ln>
            </p:spPr>
            <p:txBody>
              <a:bodyPr rtlCol="0" anchor="ctr"/>
              <a:lstStyle/>
              <a:p>
                <a:endParaRPr lang="en-IN"/>
              </a:p>
            </p:txBody>
          </p:sp>
          <p:sp>
            <p:nvSpPr>
              <p:cNvPr id="826" name="Freeform: Shape 825">
                <a:extLst>
                  <a:ext uri="{FF2B5EF4-FFF2-40B4-BE49-F238E27FC236}">
                    <a16:creationId xmlns:a16="http://schemas.microsoft.com/office/drawing/2014/main" id="{41921335-CDC2-5C62-051C-55C4497DD9AF}"/>
                  </a:ext>
                </a:extLst>
              </p:cNvPr>
              <p:cNvSpPr/>
              <p:nvPr/>
            </p:nvSpPr>
            <p:spPr>
              <a:xfrm>
                <a:off x="12864147" y="3951078"/>
                <a:ext cx="19654" cy="21839"/>
              </a:xfrm>
              <a:custGeom>
                <a:avLst/>
                <a:gdLst>
                  <a:gd name="connsiteX0" fmla="*/ 15795 w 19654"/>
                  <a:gd name="connsiteY0" fmla="*/ 1446 h 21839"/>
                  <a:gd name="connsiteX1" fmla="*/ 8808 w 19654"/>
                  <a:gd name="connsiteY1" fmla="*/ 2135 h 21839"/>
                  <a:gd name="connsiteX2" fmla="*/ 3003 w 19654"/>
                  <a:gd name="connsiteY2" fmla="*/ 20928 h 21839"/>
                  <a:gd name="connsiteX3" fmla="*/ 4184 w 19654"/>
                  <a:gd name="connsiteY3" fmla="*/ 21420 h 21839"/>
                  <a:gd name="connsiteX4" fmla="*/ 12843 w 19654"/>
                  <a:gd name="connsiteY4" fmla="*/ 18960 h 21839"/>
                  <a:gd name="connsiteX5" fmla="*/ 17763 w 19654"/>
                  <a:gd name="connsiteY5" fmla="*/ 3414 h 21839"/>
                  <a:gd name="connsiteX6" fmla="*/ 15795 w 19654"/>
                  <a:gd name="connsiteY6" fmla="*/ 1446 h 2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54" h="21839">
                    <a:moveTo>
                      <a:pt x="15795" y="1446"/>
                    </a:moveTo>
                    <a:cubicBezTo>
                      <a:pt x="13630" y="-719"/>
                      <a:pt x="10482" y="-424"/>
                      <a:pt x="8808" y="2135"/>
                    </a:cubicBezTo>
                    <a:cubicBezTo>
                      <a:pt x="5562" y="8629"/>
                      <a:pt x="-5164" y="17976"/>
                      <a:pt x="3003" y="20928"/>
                    </a:cubicBezTo>
                    <a:lnTo>
                      <a:pt x="4184" y="21420"/>
                    </a:lnTo>
                    <a:cubicBezTo>
                      <a:pt x="7037" y="22503"/>
                      <a:pt x="10973" y="21420"/>
                      <a:pt x="12843" y="18960"/>
                    </a:cubicBezTo>
                    <a:cubicBezTo>
                      <a:pt x="14614" y="15615"/>
                      <a:pt x="23470" y="9121"/>
                      <a:pt x="17763" y="3414"/>
                    </a:cubicBezTo>
                    <a:lnTo>
                      <a:pt x="15795" y="1446"/>
                    </a:lnTo>
                    <a:close/>
                  </a:path>
                </a:pathLst>
              </a:custGeom>
              <a:grpFill/>
              <a:ln w="9835" cap="flat">
                <a:noFill/>
                <a:prstDash val="solid"/>
                <a:miter/>
              </a:ln>
            </p:spPr>
            <p:txBody>
              <a:bodyPr rtlCol="0" anchor="ctr"/>
              <a:lstStyle/>
              <a:p>
                <a:endParaRPr lang="en-IN"/>
              </a:p>
            </p:txBody>
          </p:sp>
          <p:sp>
            <p:nvSpPr>
              <p:cNvPr id="827" name="Freeform: Shape 826">
                <a:extLst>
                  <a:ext uri="{FF2B5EF4-FFF2-40B4-BE49-F238E27FC236}">
                    <a16:creationId xmlns:a16="http://schemas.microsoft.com/office/drawing/2014/main" id="{EA8646E2-8C23-46EA-171F-3722835C18FB}"/>
                  </a:ext>
                </a:extLst>
              </p:cNvPr>
              <p:cNvSpPr/>
              <p:nvPr/>
            </p:nvSpPr>
            <p:spPr>
              <a:xfrm>
                <a:off x="12869216" y="3676622"/>
                <a:ext cx="208921" cy="299617"/>
              </a:xfrm>
              <a:custGeom>
                <a:avLst/>
                <a:gdLst>
                  <a:gd name="connsiteX0" fmla="*/ 57464 w 208921"/>
                  <a:gd name="connsiteY0" fmla="*/ 23123 h 299617"/>
                  <a:gd name="connsiteX1" fmla="*/ 33947 w 208921"/>
                  <a:gd name="connsiteY1" fmla="*/ 57168 h 299617"/>
                  <a:gd name="connsiteX2" fmla="*/ 0 w 208921"/>
                  <a:gd name="connsiteY2" fmla="*/ 57168 h 299617"/>
                  <a:gd name="connsiteX3" fmla="*/ 31290 w 208921"/>
                  <a:gd name="connsiteY3" fmla="*/ 77044 h 299617"/>
                  <a:gd name="connsiteX4" fmla="*/ 34734 w 208921"/>
                  <a:gd name="connsiteY4" fmla="*/ 95346 h 299617"/>
                  <a:gd name="connsiteX5" fmla="*/ 45557 w 208921"/>
                  <a:gd name="connsiteY5" fmla="*/ 121716 h 299617"/>
                  <a:gd name="connsiteX6" fmla="*/ 44771 w 208921"/>
                  <a:gd name="connsiteY6" fmla="*/ 122405 h 299617"/>
                  <a:gd name="connsiteX7" fmla="*/ 26764 w 208921"/>
                  <a:gd name="connsiteY7" fmla="*/ 113254 h 299617"/>
                  <a:gd name="connsiteX8" fmla="*/ 4329 w 208921"/>
                  <a:gd name="connsiteY8" fmla="*/ 123290 h 299617"/>
                  <a:gd name="connsiteX9" fmla="*/ 3444 w 208921"/>
                  <a:gd name="connsiteY9" fmla="*/ 144347 h 299617"/>
                  <a:gd name="connsiteX10" fmla="*/ 9249 w 208921"/>
                  <a:gd name="connsiteY10" fmla="*/ 136574 h 299617"/>
                  <a:gd name="connsiteX11" fmla="*/ 18991 w 208921"/>
                  <a:gd name="connsiteY11" fmla="*/ 141395 h 299617"/>
                  <a:gd name="connsiteX12" fmla="*/ 25780 w 208921"/>
                  <a:gd name="connsiteY12" fmla="*/ 175440 h 299617"/>
                  <a:gd name="connsiteX13" fmla="*/ 36407 w 208921"/>
                  <a:gd name="connsiteY13" fmla="*/ 195513 h 299617"/>
                  <a:gd name="connsiteX14" fmla="*/ 30602 w 208921"/>
                  <a:gd name="connsiteY14" fmla="*/ 200531 h 299617"/>
                  <a:gd name="connsiteX15" fmla="*/ 28142 w 208921"/>
                  <a:gd name="connsiteY15" fmla="*/ 200826 h 299617"/>
                  <a:gd name="connsiteX16" fmla="*/ 23615 w 208921"/>
                  <a:gd name="connsiteY16" fmla="*/ 211945 h 299617"/>
                  <a:gd name="connsiteX17" fmla="*/ 24107 w 208921"/>
                  <a:gd name="connsiteY17" fmla="*/ 212142 h 299617"/>
                  <a:gd name="connsiteX18" fmla="*/ 9840 w 208921"/>
                  <a:gd name="connsiteY18" fmla="*/ 240381 h 299617"/>
                  <a:gd name="connsiteX19" fmla="*/ 13087 w 208921"/>
                  <a:gd name="connsiteY19" fmla="*/ 263996 h 299617"/>
                  <a:gd name="connsiteX20" fmla="*/ 19286 w 208921"/>
                  <a:gd name="connsiteY20" fmla="*/ 263603 h 299617"/>
                  <a:gd name="connsiteX21" fmla="*/ 20467 w 208921"/>
                  <a:gd name="connsiteY21" fmla="*/ 262028 h 299617"/>
                  <a:gd name="connsiteX22" fmla="*/ 27453 w 208921"/>
                  <a:gd name="connsiteY22" fmla="*/ 261930 h 299617"/>
                  <a:gd name="connsiteX23" fmla="*/ 28928 w 208921"/>
                  <a:gd name="connsiteY23" fmla="*/ 263800 h 299617"/>
                  <a:gd name="connsiteX24" fmla="*/ 22139 w 208921"/>
                  <a:gd name="connsiteY24" fmla="*/ 294893 h 299617"/>
                  <a:gd name="connsiteX25" fmla="*/ 36702 w 208921"/>
                  <a:gd name="connsiteY25" fmla="*/ 298730 h 299617"/>
                  <a:gd name="connsiteX26" fmla="*/ 49198 w 208921"/>
                  <a:gd name="connsiteY26" fmla="*/ 282495 h 299617"/>
                  <a:gd name="connsiteX27" fmla="*/ 63859 w 208921"/>
                  <a:gd name="connsiteY27" fmla="*/ 277969 h 299617"/>
                  <a:gd name="connsiteX28" fmla="*/ 64351 w 208921"/>
                  <a:gd name="connsiteY28" fmla="*/ 281708 h 299617"/>
                  <a:gd name="connsiteX29" fmla="*/ 73699 w 208921"/>
                  <a:gd name="connsiteY29" fmla="*/ 285348 h 299617"/>
                  <a:gd name="connsiteX30" fmla="*/ 80488 w 208921"/>
                  <a:gd name="connsiteY30" fmla="*/ 269999 h 299617"/>
                  <a:gd name="connsiteX31" fmla="*/ 93378 w 208921"/>
                  <a:gd name="connsiteY31" fmla="*/ 261438 h 299617"/>
                  <a:gd name="connsiteX32" fmla="*/ 112959 w 208921"/>
                  <a:gd name="connsiteY32" fmla="*/ 269605 h 299617"/>
                  <a:gd name="connsiteX33" fmla="*/ 113451 w 208921"/>
                  <a:gd name="connsiteY33" fmla="*/ 269605 h 299617"/>
                  <a:gd name="connsiteX34" fmla="*/ 118666 w 208921"/>
                  <a:gd name="connsiteY34" fmla="*/ 264390 h 299617"/>
                  <a:gd name="connsiteX35" fmla="*/ 118666 w 208921"/>
                  <a:gd name="connsiteY35" fmla="*/ 262717 h 299617"/>
                  <a:gd name="connsiteX36" fmla="*/ 132048 w 208921"/>
                  <a:gd name="connsiteY36" fmla="*/ 257502 h 299617"/>
                  <a:gd name="connsiteX37" fmla="*/ 143953 w 208921"/>
                  <a:gd name="connsiteY37" fmla="*/ 247367 h 299617"/>
                  <a:gd name="connsiteX38" fmla="*/ 172784 w 208921"/>
                  <a:gd name="connsiteY38" fmla="*/ 245891 h 299617"/>
                  <a:gd name="connsiteX39" fmla="*/ 196300 w 208921"/>
                  <a:gd name="connsiteY39" fmla="*/ 222375 h 299617"/>
                  <a:gd name="connsiteX40" fmla="*/ 201121 w 208921"/>
                  <a:gd name="connsiteY40" fmla="*/ 212535 h 299617"/>
                  <a:gd name="connsiteX41" fmla="*/ 205057 w 208921"/>
                  <a:gd name="connsiteY41" fmla="*/ 180360 h 299617"/>
                  <a:gd name="connsiteX42" fmla="*/ 203385 w 208921"/>
                  <a:gd name="connsiteY42" fmla="*/ 180950 h 299617"/>
                  <a:gd name="connsiteX43" fmla="*/ 198367 w 208921"/>
                  <a:gd name="connsiteY43" fmla="*/ 177113 h 299617"/>
                  <a:gd name="connsiteX44" fmla="*/ 199154 w 208921"/>
                  <a:gd name="connsiteY44" fmla="*/ 105874 h 299617"/>
                  <a:gd name="connsiteX45" fmla="*/ 159500 w 208921"/>
                  <a:gd name="connsiteY45" fmla="*/ 43294 h 299617"/>
                  <a:gd name="connsiteX46" fmla="*/ 137951 w 208921"/>
                  <a:gd name="connsiteY46" fmla="*/ 0 h 299617"/>
                  <a:gd name="connsiteX47" fmla="*/ 128702 w 208921"/>
                  <a:gd name="connsiteY47" fmla="*/ 21057 h 299617"/>
                  <a:gd name="connsiteX48" fmla="*/ 57365 w 208921"/>
                  <a:gd name="connsiteY48" fmla="*/ 23221 h 29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8921" h="299617">
                    <a:moveTo>
                      <a:pt x="57464" y="23123"/>
                    </a:moveTo>
                    <a:lnTo>
                      <a:pt x="33947" y="57168"/>
                    </a:lnTo>
                    <a:lnTo>
                      <a:pt x="0" y="57168"/>
                    </a:lnTo>
                    <a:cubicBezTo>
                      <a:pt x="19187" y="67401"/>
                      <a:pt x="27551" y="69271"/>
                      <a:pt x="31290" y="77044"/>
                    </a:cubicBezTo>
                    <a:cubicBezTo>
                      <a:pt x="32963" y="82062"/>
                      <a:pt x="40638" y="90820"/>
                      <a:pt x="34734" y="95346"/>
                    </a:cubicBezTo>
                    <a:cubicBezTo>
                      <a:pt x="25485" y="102430"/>
                      <a:pt x="55004" y="113549"/>
                      <a:pt x="45557" y="121716"/>
                    </a:cubicBezTo>
                    <a:lnTo>
                      <a:pt x="44771" y="122405"/>
                    </a:lnTo>
                    <a:cubicBezTo>
                      <a:pt x="38473" y="127915"/>
                      <a:pt x="32176" y="117091"/>
                      <a:pt x="26764" y="113254"/>
                    </a:cubicBezTo>
                    <a:cubicBezTo>
                      <a:pt x="20270" y="107252"/>
                      <a:pt x="12988" y="118075"/>
                      <a:pt x="4329" y="123290"/>
                    </a:cubicBezTo>
                    <a:cubicBezTo>
                      <a:pt x="-2361" y="128407"/>
                      <a:pt x="2952" y="137853"/>
                      <a:pt x="3444" y="144347"/>
                    </a:cubicBezTo>
                    <a:cubicBezTo>
                      <a:pt x="5018" y="152120"/>
                      <a:pt x="8167" y="138837"/>
                      <a:pt x="9249" y="136574"/>
                    </a:cubicBezTo>
                    <a:cubicBezTo>
                      <a:pt x="11709" y="129588"/>
                      <a:pt x="18105" y="134114"/>
                      <a:pt x="18991" y="141395"/>
                    </a:cubicBezTo>
                    <a:cubicBezTo>
                      <a:pt x="21746" y="158811"/>
                      <a:pt x="20565" y="168060"/>
                      <a:pt x="25780" y="175440"/>
                    </a:cubicBezTo>
                    <a:cubicBezTo>
                      <a:pt x="29617" y="181737"/>
                      <a:pt x="36898" y="188822"/>
                      <a:pt x="36407" y="195513"/>
                    </a:cubicBezTo>
                    <a:cubicBezTo>
                      <a:pt x="36210" y="197874"/>
                      <a:pt x="33652" y="200137"/>
                      <a:pt x="30602" y="200531"/>
                    </a:cubicBezTo>
                    <a:lnTo>
                      <a:pt x="28142" y="200826"/>
                    </a:lnTo>
                    <a:cubicBezTo>
                      <a:pt x="20860" y="201810"/>
                      <a:pt x="16629" y="209583"/>
                      <a:pt x="23615" y="211945"/>
                    </a:cubicBezTo>
                    <a:lnTo>
                      <a:pt x="24107" y="212142"/>
                    </a:lnTo>
                    <a:cubicBezTo>
                      <a:pt x="35226" y="215881"/>
                      <a:pt x="9545" y="227688"/>
                      <a:pt x="9840" y="240381"/>
                    </a:cubicBezTo>
                    <a:cubicBezTo>
                      <a:pt x="10431" y="248056"/>
                      <a:pt x="8757" y="257798"/>
                      <a:pt x="13087" y="263996"/>
                    </a:cubicBezTo>
                    <a:cubicBezTo>
                      <a:pt x="14563" y="266161"/>
                      <a:pt x="17416" y="265964"/>
                      <a:pt x="19286" y="263603"/>
                    </a:cubicBezTo>
                    <a:lnTo>
                      <a:pt x="20467" y="262028"/>
                    </a:lnTo>
                    <a:cubicBezTo>
                      <a:pt x="22336" y="259569"/>
                      <a:pt x="25485" y="259569"/>
                      <a:pt x="27453" y="261930"/>
                    </a:cubicBezTo>
                    <a:lnTo>
                      <a:pt x="28928" y="263800"/>
                    </a:lnTo>
                    <a:cubicBezTo>
                      <a:pt x="34734" y="270884"/>
                      <a:pt x="26666" y="279937"/>
                      <a:pt x="22139" y="294893"/>
                    </a:cubicBezTo>
                    <a:cubicBezTo>
                      <a:pt x="19187" y="302666"/>
                      <a:pt x="31979" y="298435"/>
                      <a:pt x="36702" y="298730"/>
                    </a:cubicBezTo>
                    <a:cubicBezTo>
                      <a:pt x="45066" y="298041"/>
                      <a:pt x="46148" y="287612"/>
                      <a:pt x="49198" y="282495"/>
                    </a:cubicBezTo>
                    <a:cubicBezTo>
                      <a:pt x="52150" y="275607"/>
                      <a:pt x="62875" y="270490"/>
                      <a:pt x="63859" y="277969"/>
                    </a:cubicBezTo>
                    <a:lnTo>
                      <a:pt x="64351" y="281708"/>
                    </a:lnTo>
                    <a:cubicBezTo>
                      <a:pt x="65237" y="288694"/>
                      <a:pt x="72715" y="285250"/>
                      <a:pt x="73699" y="285348"/>
                    </a:cubicBezTo>
                    <a:cubicBezTo>
                      <a:pt x="81374" y="283675"/>
                      <a:pt x="79701" y="273245"/>
                      <a:pt x="80488" y="269999"/>
                    </a:cubicBezTo>
                    <a:cubicBezTo>
                      <a:pt x="81177" y="262225"/>
                      <a:pt x="91115" y="262422"/>
                      <a:pt x="93378" y="261438"/>
                    </a:cubicBezTo>
                    <a:cubicBezTo>
                      <a:pt x="102234" y="259273"/>
                      <a:pt x="103218" y="269113"/>
                      <a:pt x="112959" y="269605"/>
                    </a:cubicBezTo>
                    <a:lnTo>
                      <a:pt x="113451" y="269605"/>
                    </a:lnTo>
                    <a:cubicBezTo>
                      <a:pt x="116501" y="269802"/>
                      <a:pt x="118862" y="267440"/>
                      <a:pt x="118666" y="264390"/>
                    </a:cubicBezTo>
                    <a:lnTo>
                      <a:pt x="118666" y="262717"/>
                    </a:lnTo>
                    <a:cubicBezTo>
                      <a:pt x="117977" y="254747"/>
                      <a:pt x="129194" y="257994"/>
                      <a:pt x="132048" y="257502"/>
                    </a:cubicBezTo>
                    <a:cubicBezTo>
                      <a:pt x="139624" y="257699"/>
                      <a:pt x="142379" y="249040"/>
                      <a:pt x="143953" y="247367"/>
                    </a:cubicBezTo>
                    <a:cubicBezTo>
                      <a:pt x="148677" y="239692"/>
                      <a:pt x="159796" y="245301"/>
                      <a:pt x="172784" y="245891"/>
                    </a:cubicBezTo>
                    <a:cubicBezTo>
                      <a:pt x="182033" y="247072"/>
                      <a:pt x="185378" y="235068"/>
                      <a:pt x="196300" y="222375"/>
                    </a:cubicBezTo>
                    <a:cubicBezTo>
                      <a:pt x="198170" y="219915"/>
                      <a:pt x="200236" y="215487"/>
                      <a:pt x="201121" y="212535"/>
                    </a:cubicBezTo>
                    <a:cubicBezTo>
                      <a:pt x="205353" y="191971"/>
                      <a:pt x="213913" y="177408"/>
                      <a:pt x="205057" y="180360"/>
                    </a:cubicBezTo>
                    <a:lnTo>
                      <a:pt x="203385" y="180950"/>
                    </a:lnTo>
                    <a:cubicBezTo>
                      <a:pt x="200433" y="181934"/>
                      <a:pt x="198268" y="180163"/>
                      <a:pt x="198367" y="177113"/>
                    </a:cubicBezTo>
                    <a:cubicBezTo>
                      <a:pt x="200335" y="121912"/>
                      <a:pt x="204566" y="114238"/>
                      <a:pt x="199154" y="105874"/>
                    </a:cubicBezTo>
                    <a:cubicBezTo>
                      <a:pt x="168159" y="57463"/>
                      <a:pt x="163928" y="52150"/>
                      <a:pt x="159500" y="43294"/>
                    </a:cubicBezTo>
                    <a:cubicBezTo>
                      <a:pt x="147299" y="19974"/>
                      <a:pt x="141887" y="7576"/>
                      <a:pt x="137951" y="0"/>
                    </a:cubicBezTo>
                    <a:lnTo>
                      <a:pt x="128702" y="21057"/>
                    </a:lnTo>
                    <a:lnTo>
                      <a:pt x="57365" y="23221"/>
                    </a:lnTo>
                    <a:close/>
                  </a:path>
                </a:pathLst>
              </a:custGeom>
              <a:grpFill/>
              <a:ln w="9835" cap="flat">
                <a:noFill/>
                <a:prstDash val="solid"/>
                <a:miter/>
              </a:ln>
            </p:spPr>
            <p:txBody>
              <a:bodyPr rtlCol="0" anchor="ctr"/>
              <a:lstStyle/>
              <a:p>
                <a:endParaRPr lang="en-IN"/>
              </a:p>
            </p:txBody>
          </p:sp>
        </p:grpSp>
        <p:grpSp>
          <p:nvGrpSpPr>
            <p:cNvPr id="477" name="Graphic 470">
              <a:extLst>
                <a:ext uri="{FF2B5EF4-FFF2-40B4-BE49-F238E27FC236}">
                  <a16:creationId xmlns:a16="http://schemas.microsoft.com/office/drawing/2014/main" id="{B93E8B3E-BF75-315A-D4FB-938394CE8D62}"/>
                </a:ext>
              </a:extLst>
            </p:cNvPr>
            <p:cNvGrpSpPr/>
            <p:nvPr/>
          </p:nvGrpSpPr>
          <p:grpSpPr>
            <a:xfrm>
              <a:off x="7184793" y="4135934"/>
              <a:ext cx="1311805" cy="1035027"/>
              <a:chOff x="7184793" y="4135934"/>
              <a:chExt cx="1311805" cy="1035027"/>
            </a:xfrm>
            <a:grpFill/>
          </p:grpSpPr>
          <p:sp>
            <p:nvSpPr>
              <p:cNvPr id="816" name="Freeform: Shape 815">
                <a:extLst>
                  <a:ext uri="{FF2B5EF4-FFF2-40B4-BE49-F238E27FC236}">
                    <a16:creationId xmlns:a16="http://schemas.microsoft.com/office/drawing/2014/main" id="{D4FF46CC-DB52-3F71-182A-C23E0429C2F4}"/>
                  </a:ext>
                </a:extLst>
              </p:cNvPr>
              <p:cNvSpPr/>
              <p:nvPr/>
            </p:nvSpPr>
            <p:spPr>
              <a:xfrm>
                <a:off x="7184793" y="4405887"/>
                <a:ext cx="10398" cy="10058"/>
              </a:xfrm>
              <a:custGeom>
                <a:avLst/>
                <a:gdLst>
                  <a:gd name="connsiteX0" fmla="*/ 580 w 10398"/>
                  <a:gd name="connsiteY0" fmla="*/ 3096 h 10058"/>
                  <a:gd name="connsiteX1" fmla="*/ 4320 w 10398"/>
                  <a:gd name="connsiteY1" fmla="*/ 9688 h 10058"/>
                  <a:gd name="connsiteX2" fmla="*/ 8551 w 10398"/>
                  <a:gd name="connsiteY2" fmla="*/ 3194 h 10058"/>
                  <a:gd name="connsiteX3" fmla="*/ 482 w 10398"/>
                  <a:gd name="connsiteY3" fmla="*/ 3194 h 10058"/>
                </a:gdLst>
                <a:ahLst/>
                <a:cxnLst>
                  <a:cxn ang="0">
                    <a:pos x="connsiteX0" y="connsiteY0"/>
                  </a:cxn>
                  <a:cxn ang="0">
                    <a:pos x="connsiteX1" y="connsiteY1"/>
                  </a:cxn>
                  <a:cxn ang="0">
                    <a:pos x="connsiteX2" y="connsiteY2"/>
                  </a:cxn>
                  <a:cxn ang="0">
                    <a:pos x="connsiteX3" y="connsiteY3"/>
                  </a:cxn>
                </a:cxnLst>
                <a:rect l="l" t="t" r="r" b="b"/>
                <a:pathLst>
                  <a:path w="10398" h="10058">
                    <a:moveTo>
                      <a:pt x="580" y="3096"/>
                    </a:moveTo>
                    <a:cubicBezTo>
                      <a:pt x="580" y="3096"/>
                      <a:pt x="-2175" y="11951"/>
                      <a:pt x="4320" y="9688"/>
                    </a:cubicBezTo>
                    <a:cubicBezTo>
                      <a:pt x="5303" y="9000"/>
                      <a:pt x="14159" y="7524"/>
                      <a:pt x="8551" y="3194"/>
                    </a:cubicBezTo>
                    <a:cubicBezTo>
                      <a:pt x="7567" y="2801"/>
                      <a:pt x="1761" y="-3792"/>
                      <a:pt x="482" y="3194"/>
                    </a:cubicBezTo>
                    <a:close/>
                  </a:path>
                </a:pathLst>
              </a:custGeom>
              <a:grpFill/>
              <a:ln w="9835" cap="flat">
                <a:noFill/>
                <a:prstDash val="solid"/>
                <a:miter/>
              </a:ln>
            </p:spPr>
            <p:txBody>
              <a:bodyPr rtlCol="0" anchor="ctr"/>
              <a:lstStyle/>
              <a:p>
                <a:endParaRPr lang="en-IN"/>
              </a:p>
            </p:txBody>
          </p:sp>
          <p:sp>
            <p:nvSpPr>
              <p:cNvPr id="817" name="Freeform: Shape 816">
                <a:extLst>
                  <a:ext uri="{FF2B5EF4-FFF2-40B4-BE49-F238E27FC236}">
                    <a16:creationId xmlns:a16="http://schemas.microsoft.com/office/drawing/2014/main" id="{46453278-8D69-827E-8860-F2230329CAD0}"/>
                  </a:ext>
                </a:extLst>
              </p:cNvPr>
              <p:cNvSpPr/>
              <p:nvPr/>
            </p:nvSpPr>
            <p:spPr>
              <a:xfrm>
                <a:off x="7325219" y="4569007"/>
                <a:ext cx="12975" cy="12014"/>
              </a:xfrm>
              <a:custGeom>
                <a:avLst/>
                <a:gdLst>
                  <a:gd name="connsiteX0" fmla="*/ 10503 w 12975"/>
                  <a:gd name="connsiteY0" fmla="*/ 2231 h 12014"/>
                  <a:gd name="connsiteX1" fmla="*/ 664 w 12975"/>
                  <a:gd name="connsiteY1" fmla="*/ 4494 h 12014"/>
                  <a:gd name="connsiteX2" fmla="*/ 10503 w 12975"/>
                  <a:gd name="connsiteY2" fmla="*/ 11481 h 12014"/>
                  <a:gd name="connsiteX3" fmla="*/ 10503 w 12975"/>
                  <a:gd name="connsiteY3" fmla="*/ 2231 h 12014"/>
                </a:gdLst>
                <a:ahLst/>
                <a:cxnLst>
                  <a:cxn ang="0">
                    <a:pos x="connsiteX0" y="connsiteY0"/>
                  </a:cxn>
                  <a:cxn ang="0">
                    <a:pos x="connsiteX1" y="connsiteY1"/>
                  </a:cxn>
                  <a:cxn ang="0">
                    <a:pos x="connsiteX2" y="connsiteY2"/>
                  </a:cxn>
                  <a:cxn ang="0">
                    <a:pos x="connsiteX3" y="connsiteY3"/>
                  </a:cxn>
                </a:cxnLst>
                <a:rect l="l" t="t" r="r" b="b"/>
                <a:pathLst>
                  <a:path w="12975" h="12014">
                    <a:moveTo>
                      <a:pt x="10503" y="2231"/>
                    </a:moveTo>
                    <a:cubicBezTo>
                      <a:pt x="8831" y="-327"/>
                      <a:pt x="-2878" y="-1902"/>
                      <a:pt x="664" y="4494"/>
                    </a:cubicBezTo>
                    <a:cubicBezTo>
                      <a:pt x="1549" y="5478"/>
                      <a:pt x="4206" y="14235"/>
                      <a:pt x="10503" y="11481"/>
                    </a:cubicBezTo>
                    <a:cubicBezTo>
                      <a:pt x="16210" y="9021"/>
                      <a:pt x="10208" y="1247"/>
                      <a:pt x="10503" y="2231"/>
                    </a:cubicBezTo>
                    <a:close/>
                  </a:path>
                </a:pathLst>
              </a:custGeom>
              <a:grpFill/>
              <a:ln w="9835" cap="flat">
                <a:noFill/>
                <a:prstDash val="solid"/>
                <a:miter/>
              </a:ln>
            </p:spPr>
            <p:txBody>
              <a:bodyPr rtlCol="0" anchor="ctr"/>
              <a:lstStyle/>
              <a:p>
                <a:endParaRPr lang="en-IN"/>
              </a:p>
            </p:txBody>
          </p:sp>
          <p:sp>
            <p:nvSpPr>
              <p:cNvPr id="818" name="Freeform: Shape 817">
                <a:extLst>
                  <a:ext uri="{FF2B5EF4-FFF2-40B4-BE49-F238E27FC236}">
                    <a16:creationId xmlns:a16="http://schemas.microsoft.com/office/drawing/2014/main" id="{8A11E064-1A15-B921-DBC6-80CC3EDF9F31}"/>
                  </a:ext>
                </a:extLst>
              </p:cNvPr>
              <p:cNvSpPr/>
              <p:nvPr/>
            </p:nvSpPr>
            <p:spPr>
              <a:xfrm>
                <a:off x="7308835" y="4556225"/>
                <a:ext cx="9513" cy="8569"/>
              </a:xfrm>
              <a:custGeom>
                <a:avLst/>
                <a:gdLst>
                  <a:gd name="connsiteX0" fmla="*/ 6519 w 9513"/>
                  <a:gd name="connsiteY0" fmla="*/ 1336 h 8569"/>
                  <a:gd name="connsiteX1" fmla="*/ 812 w 9513"/>
                  <a:gd name="connsiteY1" fmla="*/ 2616 h 8569"/>
                  <a:gd name="connsiteX2" fmla="*/ 321 w 9513"/>
                  <a:gd name="connsiteY2" fmla="*/ 3993 h 8569"/>
                  <a:gd name="connsiteX3" fmla="*/ 6716 w 9513"/>
                  <a:gd name="connsiteY3" fmla="*/ 8126 h 8569"/>
                  <a:gd name="connsiteX4" fmla="*/ 6421 w 9513"/>
                  <a:gd name="connsiteY4" fmla="*/ 1336 h 8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3" h="8569">
                    <a:moveTo>
                      <a:pt x="6519" y="1336"/>
                    </a:moveTo>
                    <a:cubicBezTo>
                      <a:pt x="4355" y="-828"/>
                      <a:pt x="1796" y="-336"/>
                      <a:pt x="812" y="2616"/>
                    </a:cubicBezTo>
                    <a:lnTo>
                      <a:pt x="321" y="3993"/>
                    </a:lnTo>
                    <a:cubicBezTo>
                      <a:pt x="-1844" y="10290"/>
                      <a:pt x="7700" y="8323"/>
                      <a:pt x="6716" y="8126"/>
                    </a:cubicBezTo>
                    <a:cubicBezTo>
                      <a:pt x="13407" y="7240"/>
                      <a:pt x="5929" y="353"/>
                      <a:pt x="6421" y="1336"/>
                    </a:cubicBezTo>
                    <a:close/>
                  </a:path>
                </a:pathLst>
              </a:custGeom>
              <a:grpFill/>
              <a:ln w="9835" cap="flat">
                <a:noFill/>
                <a:prstDash val="solid"/>
                <a:miter/>
              </a:ln>
            </p:spPr>
            <p:txBody>
              <a:bodyPr rtlCol="0" anchor="ctr"/>
              <a:lstStyle/>
              <a:p>
                <a:endParaRPr lang="en-IN"/>
              </a:p>
            </p:txBody>
          </p:sp>
          <p:sp>
            <p:nvSpPr>
              <p:cNvPr id="819" name="Freeform: Shape 818">
                <a:extLst>
                  <a:ext uri="{FF2B5EF4-FFF2-40B4-BE49-F238E27FC236}">
                    <a16:creationId xmlns:a16="http://schemas.microsoft.com/office/drawing/2014/main" id="{27094FFB-7217-47BF-05B9-20367E012619}"/>
                  </a:ext>
                </a:extLst>
              </p:cNvPr>
              <p:cNvSpPr/>
              <p:nvPr/>
            </p:nvSpPr>
            <p:spPr>
              <a:xfrm>
                <a:off x="7656539" y="5142528"/>
                <a:ext cx="13154" cy="16082"/>
              </a:xfrm>
              <a:custGeom>
                <a:avLst/>
                <a:gdLst>
                  <a:gd name="connsiteX0" fmla="*/ 9204 w 13154"/>
                  <a:gd name="connsiteY0" fmla="*/ 2359 h 16082"/>
                  <a:gd name="connsiteX1" fmla="*/ 447 w 13154"/>
                  <a:gd name="connsiteY1" fmla="*/ 3539 h 16082"/>
                  <a:gd name="connsiteX2" fmla="*/ 53 w 13154"/>
                  <a:gd name="connsiteY2" fmla="*/ 6589 h 16082"/>
                  <a:gd name="connsiteX3" fmla="*/ 6547 w 13154"/>
                  <a:gd name="connsiteY3" fmla="*/ 15544 h 16082"/>
                  <a:gd name="connsiteX4" fmla="*/ 13041 w 13154"/>
                  <a:gd name="connsiteY4" fmla="*/ 10526 h 16082"/>
                  <a:gd name="connsiteX5" fmla="*/ 9204 w 13154"/>
                  <a:gd name="connsiteY5" fmla="*/ 2457 h 1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54" h="16082">
                    <a:moveTo>
                      <a:pt x="9204" y="2359"/>
                    </a:moveTo>
                    <a:cubicBezTo>
                      <a:pt x="8220" y="2162"/>
                      <a:pt x="1234" y="-3545"/>
                      <a:pt x="447" y="3539"/>
                    </a:cubicBezTo>
                    <a:lnTo>
                      <a:pt x="53" y="6589"/>
                    </a:lnTo>
                    <a:cubicBezTo>
                      <a:pt x="-734" y="13084"/>
                      <a:pt x="7531" y="16331"/>
                      <a:pt x="6547" y="15544"/>
                    </a:cubicBezTo>
                    <a:cubicBezTo>
                      <a:pt x="12352" y="18299"/>
                      <a:pt x="13533" y="9541"/>
                      <a:pt x="13041" y="10526"/>
                    </a:cubicBezTo>
                    <a:cubicBezTo>
                      <a:pt x="13632" y="7475"/>
                      <a:pt x="11861" y="3835"/>
                      <a:pt x="9204" y="2457"/>
                    </a:cubicBezTo>
                    <a:close/>
                  </a:path>
                </a:pathLst>
              </a:custGeom>
              <a:grpFill/>
              <a:ln w="9835" cap="flat">
                <a:noFill/>
                <a:prstDash val="solid"/>
                <a:miter/>
              </a:ln>
            </p:spPr>
            <p:txBody>
              <a:bodyPr rtlCol="0" anchor="ctr"/>
              <a:lstStyle/>
              <a:p>
                <a:endParaRPr lang="en-IN"/>
              </a:p>
            </p:txBody>
          </p:sp>
          <p:sp>
            <p:nvSpPr>
              <p:cNvPr id="820" name="Freeform: Shape 819">
                <a:extLst>
                  <a:ext uri="{FF2B5EF4-FFF2-40B4-BE49-F238E27FC236}">
                    <a16:creationId xmlns:a16="http://schemas.microsoft.com/office/drawing/2014/main" id="{E7810D75-6860-8395-FE53-98BB01EE2891}"/>
                  </a:ext>
                </a:extLst>
              </p:cNvPr>
              <p:cNvSpPr/>
              <p:nvPr/>
            </p:nvSpPr>
            <p:spPr>
              <a:xfrm>
                <a:off x="7640470" y="5114566"/>
                <a:ext cx="12587" cy="20023"/>
              </a:xfrm>
              <a:custGeom>
                <a:avLst/>
                <a:gdLst>
                  <a:gd name="connsiteX0" fmla="*/ 7759 w 12587"/>
                  <a:gd name="connsiteY0" fmla="*/ 1293 h 20023"/>
                  <a:gd name="connsiteX1" fmla="*/ 1756 w 12587"/>
                  <a:gd name="connsiteY1" fmla="*/ 13790 h 20023"/>
                  <a:gd name="connsiteX2" fmla="*/ 12580 w 12587"/>
                  <a:gd name="connsiteY2" fmla="*/ 16938 h 20023"/>
                  <a:gd name="connsiteX3" fmla="*/ 7759 w 12587"/>
                  <a:gd name="connsiteY3" fmla="*/ 1195 h 20023"/>
                </a:gdLst>
                <a:ahLst/>
                <a:cxnLst>
                  <a:cxn ang="0">
                    <a:pos x="connsiteX0" y="connsiteY0"/>
                  </a:cxn>
                  <a:cxn ang="0">
                    <a:pos x="connsiteX1" y="connsiteY1"/>
                  </a:cxn>
                  <a:cxn ang="0">
                    <a:pos x="connsiteX2" y="connsiteY2"/>
                  </a:cxn>
                  <a:cxn ang="0">
                    <a:pos x="connsiteX3" y="connsiteY3"/>
                  </a:cxn>
                </a:cxnLst>
                <a:rect l="l" t="t" r="r" b="b"/>
                <a:pathLst>
                  <a:path w="12587" h="20023">
                    <a:moveTo>
                      <a:pt x="7759" y="1293"/>
                    </a:moveTo>
                    <a:cubicBezTo>
                      <a:pt x="7759" y="1293"/>
                      <a:pt x="-4443" y="8870"/>
                      <a:pt x="1756" y="13790"/>
                    </a:cubicBezTo>
                    <a:cubicBezTo>
                      <a:pt x="3921" y="15069"/>
                      <a:pt x="12875" y="24908"/>
                      <a:pt x="12580" y="16938"/>
                    </a:cubicBezTo>
                    <a:cubicBezTo>
                      <a:pt x="11793" y="11231"/>
                      <a:pt x="14253" y="-4414"/>
                      <a:pt x="7759" y="1195"/>
                    </a:cubicBezTo>
                    <a:close/>
                  </a:path>
                </a:pathLst>
              </a:custGeom>
              <a:grpFill/>
              <a:ln w="9835" cap="flat">
                <a:noFill/>
                <a:prstDash val="solid"/>
                <a:miter/>
              </a:ln>
            </p:spPr>
            <p:txBody>
              <a:bodyPr rtlCol="0" anchor="ctr"/>
              <a:lstStyle/>
              <a:p>
                <a:endParaRPr lang="en-IN"/>
              </a:p>
            </p:txBody>
          </p:sp>
          <p:sp>
            <p:nvSpPr>
              <p:cNvPr id="821" name="Freeform: Shape 820">
                <a:extLst>
                  <a:ext uri="{FF2B5EF4-FFF2-40B4-BE49-F238E27FC236}">
                    <a16:creationId xmlns:a16="http://schemas.microsoft.com/office/drawing/2014/main" id="{2D467117-2E8B-1DD5-F53D-34BAE908D4D1}"/>
                  </a:ext>
                </a:extLst>
              </p:cNvPr>
              <p:cNvSpPr/>
              <p:nvPr/>
            </p:nvSpPr>
            <p:spPr>
              <a:xfrm>
                <a:off x="7632074" y="5137853"/>
                <a:ext cx="14926" cy="15599"/>
              </a:xfrm>
              <a:custGeom>
                <a:avLst/>
                <a:gdLst>
                  <a:gd name="connsiteX0" fmla="*/ 116 w 14926"/>
                  <a:gd name="connsiteY0" fmla="*/ 3000 h 15599"/>
                  <a:gd name="connsiteX1" fmla="*/ 6315 w 14926"/>
                  <a:gd name="connsiteY1" fmla="*/ 15397 h 15599"/>
                  <a:gd name="connsiteX2" fmla="*/ 13301 w 14926"/>
                  <a:gd name="connsiteY2" fmla="*/ 8706 h 15599"/>
                  <a:gd name="connsiteX3" fmla="*/ 18 w 14926"/>
                  <a:gd name="connsiteY3" fmla="*/ 3000 h 15599"/>
                </a:gdLst>
                <a:ahLst/>
                <a:cxnLst>
                  <a:cxn ang="0">
                    <a:pos x="connsiteX0" y="connsiteY0"/>
                  </a:cxn>
                  <a:cxn ang="0">
                    <a:pos x="connsiteX1" y="connsiteY1"/>
                  </a:cxn>
                  <a:cxn ang="0">
                    <a:pos x="connsiteX2" y="connsiteY2"/>
                  </a:cxn>
                  <a:cxn ang="0">
                    <a:pos x="connsiteX3" y="connsiteY3"/>
                  </a:cxn>
                </a:cxnLst>
                <a:rect l="l" t="t" r="r" b="b"/>
                <a:pathLst>
                  <a:path w="14926" h="15599">
                    <a:moveTo>
                      <a:pt x="116" y="3000"/>
                    </a:moveTo>
                    <a:cubicBezTo>
                      <a:pt x="116" y="3000"/>
                      <a:pt x="-1261" y="17464"/>
                      <a:pt x="6315" y="15397"/>
                    </a:cubicBezTo>
                    <a:cubicBezTo>
                      <a:pt x="7594" y="14708"/>
                      <a:pt x="19107" y="13528"/>
                      <a:pt x="13301" y="8706"/>
                    </a:cubicBezTo>
                    <a:cubicBezTo>
                      <a:pt x="9365" y="6148"/>
                      <a:pt x="-474" y="-5364"/>
                      <a:pt x="18" y="3000"/>
                    </a:cubicBezTo>
                    <a:close/>
                  </a:path>
                </a:pathLst>
              </a:custGeom>
              <a:grpFill/>
              <a:ln w="9835" cap="flat">
                <a:noFill/>
                <a:prstDash val="solid"/>
                <a:miter/>
              </a:ln>
            </p:spPr>
            <p:txBody>
              <a:bodyPr rtlCol="0" anchor="ctr"/>
              <a:lstStyle/>
              <a:p>
                <a:endParaRPr lang="en-IN"/>
              </a:p>
            </p:txBody>
          </p:sp>
          <p:sp>
            <p:nvSpPr>
              <p:cNvPr id="822" name="Freeform: Shape 821">
                <a:extLst>
                  <a:ext uri="{FF2B5EF4-FFF2-40B4-BE49-F238E27FC236}">
                    <a16:creationId xmlns:a16="http://schemas.microsoft.com/office/drawing/2014/main" id="{0D43C151-BF71-4A41-318A-818DD12748D0}"/>
                  </a:ext>
                </a:extLst>
              </p:cNvPr>
              <p:cNvSpPr/>
              <p:nvPr/>
            </p:nvSpPr>
            <p:spPr>
              <a:xfrm>
                <a:off x="7192601" y="4135934"/>
                <a:ext cx="1303997" cy="1035027"/>
              </a:xfrm>
              <a:custGeom>
                <a:avLst/>
                <a:gdLst>
                  <a:gd name="connsiteX0" fmla="*/ 1051021 w 1303997"/>
                  <a:gd name="connsiteY0" fmla="*/ 542555 h 1035027"/>
                  <a:gd name="connsiteX1" fmla="*/ 1051021 w 1303997"/>
                  <a:gd name="connsiteY1" fmla="*/ 512151 h 1035027"/>
                  <a:gd name="connsiteX2" fmla="*/ 1035868 w 1303997"/>
                  <a:gd name="connsiteY2" fmla="*/ 513135 h 1035027"/>
                  <a:gd name="connsiteX3" fmla="*/ 1033015 w 1303997"/>
                  <a:gd name="connsiteY3" fmla="*/ 509888 h 1035027"/>
                  <a:gd name="connsiteX4" fmla="*/ 1037147 w 1303997"/>
                  <a:gd name="connsiteY4" fmla="*/ 501721 h 1035027"/>
                  <a:gd name="connsiteX5" fmla="*/ 1012942 w 1303997"/>
                  <a:gd name="connsiteY5" fmla="*/ 501721 h 1035027"/>
                  <a:gd name="connsiteX6" fmla="*/ 1004185 w 1303997"/>
                  <a:gd name="connsiteY6" fmla="*/ 486076 h 1035027"/>
                  <a:gd name="connsiteX7" fmla="*/ 1004185 w 1303997"/>
                  <a:gd name="connsiteY7" fmla="*/ 486076 h 1035027"/>
                  <a:gd name="connsiteX8" fmla="*/ 1000150 w 1303997"/>
                  <a:gd name="connsiteY8" fmla="*/ 483616 h 1035027"/>
                  <a:gd name="connsiteX9" fmla="*/ 982242 w 1303997"/>
                  <a:gd name="connsiteY9" fmla="*/ 440420 h 1035027"/>
                  <a:gd name="connsiteX10" fmla="*/ 953904 w 1303997"/>
                  <a:gd name="connsiteY10" fmla="*/ 398012 h 1035027"/>
                  <a:gd name="connsiteX11" fmla="*/ 959316 w 1303997"/>
                  <a:gd name="connsiteY11" fmla="*/ 391222 h 1035027"/>
                  <a:gd name="connsiteX12" fmla="*/ 960891 w 1303997"/>
                  <a:gd name="connsiteY12" fmla="*/ 392009 h 1035027"/>
                  <a:gd name="connsiteX13" fmla="*/ 966794 w 1303997"/>
                  <a:gd name="connsiteY13" fmla="*/ 388861 h 1035027"/>
                  <a:gd name="connsiteX14" fmla="*/ 963941 w 1303997"/>
                  <a:gd name="connsiteY14" fmla="*/ 372429 h 1035027"/>
                  <a:gd name="connsiteX15" fmla="*/ 955675 w 1303997"/>
                  <a:gd name="connsiteY15" fmla="*/ 362983 h 1035027"/>
                  <a:gd name="connsiteX16" fmla="*/ 950952 w 1303997"/>
                  <a:gd name="connsiteY16" fmla="*/ 344484 h 1035027"/>
                  <a:gd name="connsiteX17" fmla="*/ 931568 w 1303997"/>
                  <a:gd name="connsiteY17" fmla="*/ 332579 h 1035027"/>
                  <a:gd name="connsiteX18" fmla="*/ 922024 w 1303997"/>
                  <a:gd name="connsiteY18" fmla="*/ 320082 h 1035027"/>
                  <a:gd name="connsiteX19" fmla="*/ 913070 w 1303997"/>
                  <a:gd name="connsiteY19" fmla="*/ 323132 h 1035027"/>
                  <a:gd name="connsiteX20" fmla="*/ 907658 w 1303997"/>
                  <a:gd name="connsiteY20" fmla="*/ 305421 h 1035027"/>
                  <a:gd name="connsiteX21" fmla="*/ 903722 w 1303997"/>
                  <a:gd name="connsiteY21" fmla="*/ 297746 h 1035027"/>
                  <a:gd name="connsiteX22" fmla="*/ 880796 w 1303997"/>
                  <a:gd name="connsiteY22" fmla="*/ 284266 h 1035027"/>
                  <a:gd name="connsiteX23" fmla="*/ 862298 w 1303997"/>
                  <a:gd name="connsiteY23" fmla="*/ 243038 h 1035027"/>
                  <a:gd name="connsiteX24" fmla="*/ 805622 w 1303997"/>
                  <a:gd name="connsiteY24" fmla="*/ 243038 h 1035027"/>
                  <a:gd name="connsiteX25" fmla="*/ 791649 w 1303997"/>
                  <a:gd name="connsiteY25" fmla="*/ 211256 h 1035027"/>
                  <a:gd name="connsiteX26" fmla="*/ 628509 w 1303997"/>
                  <a:gd name="connsiteY26" fmla="*/ 202597 h 1035027"/>
                  <a:gd name="connsiteX27" fmla="*/ 460645 w 1303997"/>
                  <a:gd name="connsiteY27" fmla="*/ 69369 h 1035027"/>
                  <a:gd name="connsiteX28" fmla="*/ 366087 w 1303997"/>
                  <a:gd name="connsiteY28" fmla="*/ 19483 h 1035027"/>
                  <a:gd name="connsiteX29" fmla="*/ 287075 w 1303997"/>
                  <a:gd name="connsiteY29" fmla="*/ 0 h 1035027"/>
                  <a:gd name="connsiteX30" fmla="*/ 156799 w 1303997"/>
                  <a:gd name="connsiteY30" fmla="*/ 48214 h 1035027"/>
                  <a:gd name="connsiteX31" fmla="*/ 207965 w 1303997"/>
                  <a:gd name="connsiteY31" fmla="*/ 110695 h 1035027"/>
                  <a:gd name="connsiteX32" fmla="*/ 177265 w 1303997"/>
                  <a:gd name="connsiteY32" fmla="*/ 144937 h 1035027"/>
                  <a:gd name="connsiteX33" fmla="*/ 126001 w 1303997"/>
                  <a:gd name="connsiteY33" fmla="*/ 154580 h 1035027"/>
                  <a:gd name="connsiteX34" fmla="*/ 91562 w 1303997"/>
                  <a:gd name="connsiteY34" fmla="*/ 199252 h 1035027"/>
                  <a:gd name="connsiteX35" fmla="*/ 19143 w 1303997"/>
                  <a:gd name="connsiteY35" fmla="*/ 187838 h 1035027"/>
                  <a:gd name="connsiteX36" fmla="*/ 8713 w 1303997"/>
                  <a:gd name="connsiteY36" fmla="*/ 240873 h 1035027"/>
                  <a:gd name="connsiteX37" fmla="*/ 3596 w 1303997"/>
                  <a:gd name="connsiteY37" fmla="*/ 264193 h 1035027"/>
                  <a:gd name="connsiteX38" fmla="*/ 33410 w 1303997"/>
                  <a:gd name="connsiteY38" fmla="*/ 266161 h 1035027"/>
                  <a:gd name="connsiteX39" fmla="*/ 73162 w 1303997"/>
                  <a:gd name="connsiteY39" fmla="*/ 324707 h 1035027"/>
                  <a:gd name="connsiteX40" fmla="*/ 91169 w 1303997"/>
                  <a:gd name="connsiteY40" fmla="*/ 346551 h 1035027"/>
                  <a:gd name="connsiteX41" fmla="*/ 114784 w 1303997"/>
                  <a:gd name="connsiteY41" fmla="*/ 390238 h 1035027"/>
                  <a:gd name="connsiteX42" fmla="*/ 125509 w 1303997"/>
                  <a:gd name="connsiteY42" fmla="*/ 396634 h 1035027"/>
                  <a:gd name="connsiteX43" fmla="*/ 132790 w 1303997"/>
                  <a:gd name="connsiteY43" fmla="*/ 415625 h 1035027"/>
                  <a:gd name="connsiteX44" fmla="*/ 146369 w 1303997"/>
                  <a:gd name="connsiteY44" fmla="*/ 428219 h 1035027"/>
                  <a:gd name="connsiteX45" fmla="*/ 160833 w 1303997"/>
                  <a:gd name="connsiteY45" fmla="*/ 452622 h 1035027"/>
                  <a:gd name="connsiteX46" fmla="*/ 159554 w 1303997"/>
                  <a:gd name="connsiteY46" fmla="*/ 477713 h 1035027"/>
                  <a:gd name="connsiteX47" fmla="*/ 159160 w 1303997"/>
                  <a:gd name="connsiteY47" fmla="*/ 483223 h 1035027"/>
                  <a:gd name="connsiteX48" fmla="*/ 180906 w 1303997"/>
                  <a:gd name="connsiteY48" fmla="*/ 513135 h 1035027"/>
                  <a:gd name="connsiteX49" fmla="*/ 193008 w 1303997"/>
                  <a:gd name="connsiteY49" fmla="*/ 514414 h 1035027"/>
                  <a:gd name="connsiteX50" fmla="*/ 239156 w 1303997"/>
                  <a:gd name="connsiteY50" fmla="*/ 546786 h 1035027"/>
                  <a:gd name="connsiteX51" fmla="*/ 276153 w 1303997"/>
                  <a:gd name="connsiteY51" fmla="*/ 629931 h 1035027"/>
                  <a:gd name="connsiteX52" fmla="*/ 270249 w 1303997"/>
                  <a:gd name="connsiteY52" fmla="*/ 675292 h 1035027"/>
                  <a:gd name="connsiteX53" fmla="*/ 282549 w 1303997"/>
                  <a:gd name="connsiteY53" fmla="*/ 698316 h 1035027"/>
                  <a:gd name="connsiteX54" fmla="*/ 279892 w 1303997"/>
                  <a:gd name="connsiteY54" fmla="*/ 711796 h 1035027"/>
                  <a:gd name="connsiteX55" fmla="*/ 323777 w 1303997"/>
                  <a:gd name="connsiteY55" fmla="*/ 773195 h 1035027"/>
                  <a:gd name="connsiteX56" fmla="*/ 369236 w 1303997"/>
                  <a:gd name="connsiteY56" fmla="*/ 800648 h 1035027"/>
                  <a:gd name="connsiteX57" fmla="*/ 377796 w 1303997"/>
                  <a:gd name="connsiteY57" fmla="*/ 810192 h 1035027"/>
                  <a:gd name="connsiteX58" fmla="*/ 384880 w 1303997"/>
                  <a:gd name="connsiteY58" fmla="*/ 819245 h 1035027"/>
                  <a:gd name="connsiteX59" fmla="*/ 390587 w 1303997"/>
                  <a:gd name="connsiteY59" fmla="*/ 827313 h 1035027"/>
                  <a:gd name="connsiteX60" fmla="*/ 416859 w 1303997"/>
                  <a:gd name="connsiteY60" fmla="*/ 888417 h 1035027"/>
                  <a:gd name="connsiteX61" fmla="*/ 426010 w 1303997"/>
                  <a:gd name="connsiteY61" fmla="*/ 897076 h 1035027"/>
                  <a:gd name="connsiteX62" fmla="*/ 442541 w 1303997"/>
                  <a:gd name="connsiteY62" fmla="*/ 933679 h 1035027"/>
                  <a:gd name="connsiteX63" fmla="*/ 479242 w 1303997"/>
                  <a:gd name="connsiteY63" fmla="*/ 965363 h 1035027"/>
                  <a:gd name="connsiteX64" fmla="*/ 487311 w 1303997"/>
                  <a:gd name="connsiteY64" fmla="*/ 985436 h 1035027"/>
                  <a:gd name="connsiteX65" fmla="*/ 494297 w 1303997"/>
                  <a:gd name="connsiteY65" fmla="*/ 994980 h 1035027"/>
                  <a:gd name="connsiteX66" fmla="*/ 497937 w 1303997"/>
                  <a:gd name="connsiteY66" fmla="*/ 1005509 h 1035027"/>
                  <a:gd name="connsiteX67" fmla="*/ 505908 w 1303997"/>
                  <a:gd name="connsiteY67" fmla="*/ 1017906 h 1035027"/>
                  <a:gd name="connsiteX68" fmla="*/ 507679 w 1303997"/>
                  <a:gd name="connsiteY68" fmla="*/ 1035027 h 1035027"/>
                  <a:gd name="connsiteX69" fmla="*/ 530507 w 1303997"/>
                  <a:gd name="connsiteY69" fmla="*/ 1017316 h 1035027"/>
                  <a:gd name="connsiteX70" fmla="*/ 530802 w 1303997"/>
                  <a:gd name="connsiteY70" fmla="*/ 967429 h 1035027"/>
                  <a:gd name="connsiteX71" fmla="*/ 557959 w 1303997"/>
                  <a:gd name="connsiteY71" fmla="*/ 960640 h 1035027"/>
                  <a:gd name="connsiteX72" fmla="*/ 573309 w 1303997"/>
                  <a:gd name="connsiteY72" fmla="*/ 978548 h 1035027"/>
                  <a:gd name="connsiteX73" fmla="*/ 645827 w 1303997"/>
                  <a:gd name="connsiteY73" fmla="*/ 970480 h 1035027"/>
                  <a:gd name="connsiteX74" fmla="*/ 744911 w 1303997"/>
                  <a:gd name="connsiteY74" fmla="*/ 983566 h 1035027"/>
                  <a:gd name="connsiteX75" fmla="*/ 767641 w 1303997"/>
                  <a:gd name="connsiteY75" fmla="*/ 1004426 h 1035027"/>
                  <a:gd name="connsiteX76" fmla="*/ 792240 w 1303997"/>
                  <a:gd name="connsiteY76" fmla="*/ 996161 h 1035027"/>
                  <a:gd name="connsiteX77" fmla="*/ 829138 w 1303997"/>
                  <a:gd name="connsiteY77" fmla="*/ 933089 h 1035027"/>
                  <a:gd name="connsiteX78" fmla="*/ 891817 w 1303997"/>
                  <a:gd name="connsiteY78" fmla="*/ 899831 h 1035027"/>
                  <a:gd name="connsiteX79" fmla="*/ 1067257 w 1303997"/>
                  <a:gd name="connsiteY79" fmla="*/ 871985 h 1035027"/>
                  <a:gd name="connsiteX80" fmla="*/ 1262671 w 1303997"/>
                  <a:gd name="connsiteY80" fmla="*/ 804682 h 1035027"/>
                  <a:gd name="connsiteX81" fmla="*/ 1303997 w 1303997"/>
                  <a:gd name="connsiteY81" fmla="*/ 675980 h 1035027"/>
                  <a:gd name="connsiteX82" fmla="*/ 1274478 w 1303997"/>
                  <a:gd name="connsiteY82" fmla="*/ 629931 h 1035027"/>
                  <a:gd name="connsiteX83" fmla="*/ 1101006 w 1303997"/>
                  <a:gd name="connsiteY83" fmla="*/ 608972 h 1035027"/>
                  <a:gd name="connsiteX84" fmla="*/ 1051513 w 1303997"/>
                  <a:gd name="connsiteY84" fmla="*/ 542359 h 103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03997" h="1035027">
                    <a:moveTo>
                      <a:pt x="1051021" y="542555"/>
                    </a:moveTo>
                    <a:lnTo>
                      <a:pt x="1051021" y="512151"/>
                    </a:lnTo>
                    <a:cubicBezTo>
                      <a:pt x="1044330" y="509297"/>
                      <a:pt x="1034884" y="513332"/>
                      <a:pt x="1035868" y="513135"/>
                    </a:cubicBezTo>
                    <a:cubicBezTo>
                      <a:pt x="1032916" y="514119"/>
                      <a:pt x="1031637" y="512545"/>
                      <a:pt x="1033015" y="509888"/>
                    </a:cubicBezTo>
                    <a:lnTo>
                      <a:pt x="1037147" y="501721"/>
                    </a:lnTo>
                    <a:lnTo>
                      <a:pt x="1012942" y="501721"/>
                    </a:lnTo>
                    <a:lnTo>
                      <a:pt x="1004185" y="486076"/>
                    </a:lnTo>
                    <a:lnTo>
                      <a:pt x="1004185" y="486076"/>
                    </a:lnTo>
                    <a:cubicBezTo>
                      <a:pt x="1002709" y="486273"/>
                      <a:pt x="1001233" y="485584"/>
                      <a:pt x="1000150" y="483616"/>
                    </a:cubicBezTo>
                    <a:cubicBezTo>
                      <a:pt x="977126" y="442192"/>
                      <a:pt x="991393" y="452228"/>
                      <a:pt x="982242" y="440420"/>
                    </a:cubicBezTo>
                    <a:cubicBezTo>
                      <a:pt x="956167" y="406867"/>
                      <a:pt x="953609" y="405293"/>
                      <a:pt x="953904" y="398012"/>
                    </a:cubicBezTo>
                    <a:cubicBezTo>
                      <a:pt x="954200" y="397028"/>
                      <a:pt x="952920" y="388172"/>
                      <a:pt x="959316" y="391222"/>
                    </a:cubicBezTo>
                    <a:lnTo>
                      <a:pt x="960891" y="392009"/>
                    </a:lnTo>
                    <a:cubicBezTo>
                      <a:pt x="963646" y="393289"/>
                      <a:pt x="966302" y="392009"/>
                      <a:pt x="966794" y="388861"/>
                    </a:cubicBezTo>
                    <a:cubicBezTo>
                      <a:pt x="966794" y="385023"/>
                      <a:pt x="971222" y="375676"/>
                      <a:pt x="963941" y="372429"/>
                    </a:cubicBezTo>
                    <a:cubicBezTo>
                      <a:pt x="962957" y="371642"/>
                      <a:pt x="955479" y="370166"/>
                      <a:pt x="955675" y="362983"/>
                    </a:cubicBezTo>
                    <a:cubicBezTo>
                      <a:pt x="955085" y="357669"/>
                      <a:pt x="958627" y="347338"/>
                      <a:pt x="950952" y="344484"/>
                    </a:cubicBezTo>
                    <a:cubicBezTo>
                      <a:pt x="944950" y="341532"/>
                      <a:pt x="934422" y="340647"/>
                      <a:pt x="931568" y="332579"/>
                    </a:cubicBezTo>
                    <a:cubicBezTo>
                      <a:pt x="929207" y="327954"/>
                      <a:pt x="927239" y="313391"/>
                      <a:pt x="922024" y="320082"/>
                    </a:cubicBezTo>
                    <a:cubicBezTo>
                      <a:pt x="921040" y="320869"/>
                      <a:pt x="916514" y="329528"/>
                      <a:pt x="913070" y="323132"/>
                    </a:cubicBezTo>
                    <a:cubicBezTo>
                      <a:pt x="911496" y="319197"/>
                      <a:pt x="905986" y="313293"/>
                      <a:pt x="907658" y="305421"/>
                    </a:cubicBezTo>
                    <a:cubicBezTo>
                      <a:pt x="907461" y="304437"/>
                      <a:pt x="908642" y="299714"/>
                      <a:pt x="903722" y="297746"/>
                    </a:cubicBezTo>
                    <a:cubicBezTo>
                      <a:pt x="891029" y="292630"/>
                      <a:pt x="883748" y="291055"/>
                      <a:pt x="880796" y="284266"/>
                    </a:cubicBezTo>
                    <a:cubicBezTo>
                      <a:pt x="873515" y="268129"/>
                      <a:pt x="867414" y="254452"/>
                      <a:pt x="862298" y="243038"/>
                    </a:cubicBezTo>
                    <a:lnTo>
                      <a:pt x="805622" y="243038"/>
                    </a:lnTo>
                    <a:lnTo>
                      <a:pt x="791649" y="211256"/>
                    </a:lnTo>
                    <a:lnTo>
                      <a:pt x="628509" y="202597"/>
                    </a:lnTo>
                    <a:lnTo>
                      <a:pt x="460645" y="69369"/>
                    </a:lnTo>
                    <a:lnTo>
                      <a:pt x="366087" y="19483"/>
                    </a:lnTo>
                    <a:lnTo>
                      <a:pt x="287075" y="0"/>
                    </a:lnTo>
                    <a:lnTo>
                      <a:pt x="156799" y="48214"/>
                    </a:lnTo>
                    <a:lnTo>
                      <a:pt x="207965" y="110695"/>
                    </a:lnTo>
                    <a:lnTo>
                      <a:pt x="177265" y="144937"/>
                    </a:lnTo>
                    <a:lnTo>
                      <a:pt x="126001" y="154580"/>
                    </a:lnTo>
                    <a:lnTo>
                      <a:pt x="91562" y="199252"/>
                    </a:lnTo>
                    <a:lnTo>
                      <a:pt x="19143" y="187838"/>
                    </a:lnTo>
                    <a:cubicBezTo>
                      <a:pt x="11468" y="233690"/>
                      <a:pt x="11369" y="234970"/>
                      <a:pt x="8713" y="240873"/>
                    </a:cubicBezTo>
                    <a:cubicBezTo>
                      <a:pt x="1333" y="257404"/>
                      <a:pt x="-3784" y="264882"/>
                      <a:pt x="3596" y="264193"/>
                    </a:cubicBezTo>
                    <a:cubicBezTo>
                      <a:pt x="23964" y="262225"/>
                      <a:pt x="29179" y="260454"/>
                      <a:pt x="33410" y="266161"/>
                    </a:cubicBezTo>
                    <a:cubicBezTo>
                      <a:pt x="72572" y="318409"/>
                      <a:pt x="73949" y="318606"/>
                      <a:pt x="73162" y="324707"/>
                    </a:cubicBezTo>
                    <a:cubicBezTo>
                      <a:pt x="71981" y="333464"/>
                      <a:pt x="84970" y="335137"/>
                      <a:pt x="91169" y="346551"/>
                    </a:cubicBezTo>
                    <a:lnTo>
                      <a:pt x="114784" y="390238"/>
                    </a:lnTo>
                    <a:cubicBezTo>
                      <a:pt x="117932" y="396044"/>
                      <a:pt x="126493" y="397028"/>
                      <a:pt x="125509" y="396634"/>
                    </a:cubicBezTo>
                    <a:cubicBezTo>
                      <a:pt x="135447" y="398405"/>
                      <a:pt x="124230" y="409426"/>
                      <a:pt x="132790" y="415625"/>
                    </a:cubicBezTo>
                    <a:cubicBezTo>
                      <a:pt x="137710" y="419167"/>
                      <a:pt x="143023" y="422513"/>
                      <a:pt x="146369" y="428219"/>
                    </a:cubicBezTo>
                    <a:lnTo>
                      <a:pt x="160833" y="452622"/>
                    </a:lnTo>
                    <a:cubicBezTo>
                      <a:pt x="164080" y="458132"/>
                      <a:pt x="165556" y="476040"/>
                      <a:pt x="159554" y="477713"/>
                    </a:cubicBezTo>
                    <a:cubicBezTo>
                      <a:pt x="157487" y="478303"/>
                      <a:pt x="157389" y="480763"/>
                      <a:pt x="159160" y="483223"/>
                    </a:cubicBezTo>
                    <a:lnTo>
                      <a:pt x="180906" y="513135"/>
                    </a:lnTo>
                    <a:cubicBezTo>
                      <a:pt x="185727" y="519826"/>
                      <a:pt x="185924" y="510085"/>
                      <a:pt x="193008" y="514414"/>
                    </a:cubicBezTo>
                    <a:cubicBezTo>
                      <a:pt x="226365" y="535274"/>
                      <a:pt x="235515" y="539406"/>
                      <a:pt x="239156" y="546786"/>
                    </a:cubicBezTo>
                    <a:cubicBezTo>
                      <a:pt x="275563" y="620682"/>
                      <a:pt x="277727" y="622453"/>
                      <a:pt x="276153" y="629931"/>
                    </a:cubicBezTo>
                    <a:cubicBezTo>
                      <a:pt x="268675" y="665846"/>
                      <a:pt x="266805" y="668896"/>
                      <a:pt x="270249" y="675292"/>
                    </a:cubicBezTo>
                    <a:lnTo>
                      <a:pt x="282549" y="698316"/>
                    </a:lnTo>
                    <a:cubicBezTo>
                      <a:pt x="286583" y="705893"/>
                      <a:pt x="275169" y="704614"/>
                      <a:pt x="279892" y="711796"/>
                    </a:cubicBezTo>
                    <a:cubicBezTo>
                      <a:pt x="317283" y="768473"/>
                      <a:pt x="317086" y="769752"/>
                      <a:pt x="323777" y="773195"/>
                    </a:cubicBezTo>
                    <a:cubicBezTo>
                      <a:pt x="362545" y="793465"/>
                      <a:pt x="365890" y="794055"/>
                      <a:pt x="369236" y="800648"/>
                    </a:cubicBezTo>
                    <a:cubicBezTo>
                      <a:pt x="369924" y="801632"/>
                      <a:pt x="371794" y="807044"/>
                      <a:pt x="377796" y="810192"/>
                    </a:cubicBezTo>
                    <a:cubicBezTo>
                      <a:pt x="378780" y="811078"/>
                      <a:pt x="384487" y="812652"/>
                      <a:pt x="384880" y="819245"/>
                    </a:cubicBezTo>
                    <a:cubicBezTo>
                      <a:pt x="385176" y="824853"/>
                      <a:pt x="391571" y="828199"/>
                      <a:pt x="390587" y="827313"/>
                    </a:cubicBezTo>
                    <a:cubicBezTo>
                      <a:pt x="404461" y="833808"/>
                      <a:pt x="403379" y="882120"/>
                      <a:pt x="416859" y="888417"/>
                    </a:cubicBezTo>
                    <a:cubicBezTo>
                      <a:pt x="417843" y="889106"/>
                      <a:pt x="423747" y="890680"/>
                      <a:pt x="426010" y="897076"/>
                    </a:cubicBezTo>
                    <a:cubicBezTo>
                      <a:pt x="435751" y="924135"/>
                      <a:pt x="436637" y="929350"/>
                      <a:pt x="442541" y="933679"/>
                    </a:cubicBezTo>
                    <a:cubicBezTo>
                      <a:pt x="473830" y="956704"/>
                      <a:pt x="477865" y="957983"/>
                      <a:pt x="479242" y="965363"/>
                    </a:cubicBezTo>
                    <a:cubicBezTo>
                      <a:pt x="481013" y="971562"/>
                      <a:pt x="479833" y="981500"/>
                      <a:pt x="487311" y="985436"/>
                    </a:cubicBezTo>
                    <a:cubicBezTo>
                      <a:pt x="488295" y="986321"/>
                      <a:pt x="494789" y="987994"/>
                      <a:pt x="494297" y="994980"/>
                    </a:cubicBezTo>
                    <a:cubicBezTo>
                      <a:pt x="494494" y="995964"/>
                      <a:pt x="493411" y="1001376"/>
                      <a:pt x="497937" y="1005509"/>
                    </a:cubicBezTo>
                    <a:cubicBezTo>
                      <a:pt x="498725" y="1006492"/>
                      <a:pt x="505120" y="1010625"/>
                      <a:pt x="505908" y="1017906"/>
                    </a:cubicBezTo>
                    <a:cubicBezTo>
                      <a:pt x="506596" y="1024499"/>
                      <a:pt x="507187" y="1030108"/>
                      <a:pt x="507679" y="1035027"/>
                    </a:cubicBezTo>
                    <a:lnTo>
                      <a:pt x="530507" y="1017316"/>
                    </a:lnTo>
                    <a:lnTo>
                      <a:pt x="530802" y="967429"/>
                    </a:lnTo>
                    <a:lnTo>
                      <a:pt x="557959" y="960640"/>
                    </a:lnTo>
                    <a:lnTo>
                      <a:pt x="573309" y="978548"/>
                    </a:lnTo>
                    <a:lnTo>
                      <a:pt x="645827" y="970480"/>
                    </a:lnTo>
                    <a:lnTo>
                      <a:pt x="744911" y="983566"/>
                    </a:lnTo>
                    <a:lnTo>
                      <a:pt x="767641" y="1004426"/>
                    </a:lnTo>
                    <a:lnTo>
                      <a:pt x="792240" y="996161"/>
                    </a:lnTo>
                    <a:lnTo>
                      <a:pt x="829138" y="933089"/>
                    </a:lnTo>
                    <a:lnTo>
                      <a:pt x="891817" y="899831"/>
                    </a:lnTo>
                    <a:lnTo>
                      <a:pt x="1067257" y="871985"/>
                    </a:lnTo>
                    <a:lnTo>
                      <a:pt x="1262671" y="804682"/>
                    </a:lnTo>
                    <a:lnTo>
                      <a:pt x="1303997" y="675980"/>
                    </a:lnTo>
                    <a:lnTo>
                      <a:pt x="1274478" y="629931"/>
                    </a:lnTo>
                    <a:lnTo>
                      <a:pt x="1101006" y="608972"/>
                    </a:lnTo>
                    <a:lnTo>
                      <a:pt x="1051513" y="542359"/>
                    </a:lnTo>
                    <a:close/>
                  </a:path>
                </a:pathLst>
              </a:custGeom>
              <a:grpFill/>
              <a:ln w="9835" cap="flat">
                <a:noFill/>
                <a:prstDash val="solid"/>
                <a:miter/>
              </a:ln>
            </p:spPr>
            <p:txBody>
              <a:bodyPr rtlCol="0" anchor="ctr"/>
              <a:lstStyle/>
              <a:p>
                <a:endParaRPr lang="en-IN"/>
              </a:p>
            </p:txBody>
          </p:sp>
        </p:grpSp>
        <p:grpSp>
          <p:nvGrpSpPr>
            <p:cNvPr id="478" name="Graphic 470">
              <a:extLst>
                <a:ext uri="{FF2B5EF4-FFF2-40B4-BE49-F238E27FC236}">
                  <a16:creationId xmlns:a16="http://schemas.microsoft.com/office/drawing/2014/main" id="{62C7E568-5C0A-4C97-9EFA-F9C815F70681}"/>
                </a:ext>
              </a:extLst>
            </p:cNvPr>
            <p:cNvGrpSpPr/>
            <p:nvPr/>
          </p:nvGrpSpPr>
          <p:grpSpPr>
            <a:xfrm>
              <a:off x="8586237" y="-497554"/>
              <a:ext cx="8317241" cy="3896307"/>
              <a:chOff x="8586237" y="-497554"/>
              <a:chExt cx="8317241" cy="3896307"/>
            </a:xfrm>
            <a:grpFill/>
          </p:grpSpPr>
          <p:sp>
            <p:nvSpPr>
              <p:cNvPr id="744" name="Freeform: Shape 743">
                <a:extLst>
                  <a:ext uri="{FF2B5EF4-FFF2-40B4-BE49-F238E27FC236}">
                    <a16:creationId xmlns:a16="http://schemas.microsoft.com/office/drawing/2014/main" id="{59E923FD-DDB0-5174-0D7C-625FD5D1716F}"/>
                  </a:ext>
                </a:extLst>
              </p:cNvPr>
              <p:cNvSpPr/>
              <p:nvPr/>
            </p:nvSpPr>
            <p:spPr>
              <a:xfrm>
                <a:off x="9197329" y="973170"/>
                <a:ext cx="26557" cy="23341"/>
              </a:xfrm>
              <a:custGeom>
                <a:avLst/>
                <a:gdLst>
                  <a:gd name="connsiteX0" fmla="*/ 2407 w 26557"/>
                  <a:gd name="connsiteY0" fmla="*/ 16750 h 23341"/>
                  <a:gd name="connsiteX1" fmla="*/ 21397 w 26557"/>
                  <a:gd name="connsiteY1" fmla="*/ 20095 h 23341"/>
                  <a:gd name="connsiteX2" fmla="*/ 22578 w 26557"/>
                  <a:gd name="connsiteY2" fmla="*/ 318 h 23341"/>
                  <a:gd name="connsiteX3" fmla="*/ 9294 w 26557"/>
                  <a:gd name="connsiteY3" fmla="*/ 3368 h 23341"/>
                  <a:gd name="connsiteX4" fmla="*/ 2407 w 26557"/>
                  <a:gd name="connsiteY4" fmla="*/ 16848 h 23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7" h="23341">
                    <a:moveTo>
                      <a:pt x="2407" y="16750"/>
                    </a:moveTo>
                    <a:cubicBezTo>
                      <a:pt x="8802" y="18915"/>
                      <a:pt x="18543" y="28164"/>
                      <a:pt x="21397" y="20095"/>
                    </a:cubicBezTo>
                    <a:cubicBezTo>
                      <a:pt x="22971" y="12716"/>
                      <a:pt x="31433" y="1007"/>
                      <a:pt x="22578" y="318"/>
                    </a:cubicBezTo>
                    <a:cubicBezTo>
                      <a:pt x="22578" y="318"/>
                      <a:pt x="14509" y="-1453"/>
                      <a:pt x="9294" y="3368"/>
                    </a:cubicBezTo>
                    <a:cubicBezTo>
                      <a:pt x="6736" y="6615"/>
                      <a:pt x="-4973" y="13208"/>
                      <a:pt x="2407" y="16848"/>
                    </a:cubicBezTo>
                    <a:close/>
                  </a:path>
                </a:pathLst>
              </a:custGeom>
              <a:grpFill/>
              <a:ln w="9835" cap="flat">
                <a:noFill/>
                <a:prstDash val="solid"/>
                <a:miter/>
              </a:ln>
            </p:spPr>
            <p:txBody>
              <a:bodyPr rtlCol="0" anchor="ctr"/>
              <a:lstStyle/>
              <a:p>
                <a:endParaRPr lang="en-IN"/>
              </a:p>
            </p:txBody>
          </p:sp>
          <p:grpSp>
            <p:nvGrpSpPr>
              <p:cNvPr id="745" name="Graphic 470">
                <a:extLst>
                  <a:ext uri="{FF2B5EF4-FFF2-40B4-BE49-F238E27FC236}">
                    <a16:creationId xmlns:a16="http://schemas.microsoft.com/office/drawing/2014/main" id="{243B1F9D-851C-2757-E0C6-663ED5361B07}"/>
                  </a:ext>
                </a:extLst>
              </p:cNvPr>
              <p:cNvGrpSpPr/>
              <p:nvPr/>
            </p:nvGrpSpPr>
            <p:grpSpPr>
              <a:xfrm>
                <a:off x="8586237" y="-497554"/>
                <a:ext cx="8317241" cy="3896307"/>
                <a:chOff x="8586237" y="-497554"/>
                <a:chExt cx="8317241" cy="3896307"/>
              </a:xfrm>
              <a:grpFill/>
            </p:grpSpPr>
            <p:sp>
              <p:nvSpPr>
                <p:cNvPr id="746" name="Freeform: Shape 745">
                  <a:extLst>
                    <a:ext uri="{FF2B5EF4-FFF2-40B4-BE49-F238E27FC236}">
                      <a16:creationId xmlns:a16="http://schemas.microsoft.com/office/drawing/2014/main" id="{C53BB583-1741-0F4A-4B6D-D5E833F545EB}"/>
                    </a:ext>
                  </a:extLst>
                </p:cNvPr>
                <p:cNvSpPr/>
                <p:nvPr/>
              </p:nvSpPr>
              <p:spPr>
                <a:xfrm>
                  <a:off x="14448689" y="3023760"/>
                  <a:ext cx="42246" cy="38934"/>
                </a:xfrm>
                <a:custGeom>
                  <a:avLst/>
                  <a:gdLst>
                    <a:gd name="connsiteX0" fmla="*/ 39732 w 42246"/>
                    <a:gd name="connsiteY0" fmla="*/ 1284 h 38934"/>
                    <a:gd name="connsiteX1" fmla="*/ 2735 w 42246"/>
                    <a:gd name="connsiteY1" fmla="*/ 38872 h 38934"/>
                    <a:gd name="connsiteX2" fmla="*/ 31859 w 42246"/>
                    <a:gd name="connsiteY2" fmla="*/ 30901 h 38934"/>
                    <a:gd name="connsiteX3" fmla="*/ 39732 w 42246"/>
                    <a:gd name="connsiteY3" fmla="*/ 1284 h 38934"/>
                  </a:gdLst>
                  <a:ahLst/>
                  <a:cxnLst>
                    <a:cxn ang="0">
                      <a:pos x="connsiteX0" y="connsiteY0"/>
                    </a:cxn>
                    <a:cxn ang="0">
                      <a:pos x="connsiteX1" y="connsiteY1"/>
                    </a:cxn>
                    <a:cxn ang="0">
                      <a:pos x="connsiteX2" y="connsiteY2"/>
                    </a:cxn>
                    <a:cxn ang="0">
                      <a:pos x="connsiteX3" y="connsiteY3"/>
                    </a:cxn>
                  </a:cxnLst>
                  <a:rect l="l" t="t" r="r" b="b"/>
                  <a:pathLst>
                    <a:path w="42246" h="38934">
                      <a:moveTo>
                        <a:pt x="39732" y="1284"/>
                      </a:moveTo>
                      <a:cubicBezTo>
                        <a:pt x="3718" y="33460"/>
                        <a:pt x="-5334" y="39659"/>
                        <a:pt x="2735" y="38872"/>
                      </a:cubicBezTo>
                      <a:cubicBezTo>
                        <a:pt x="25267" y="36608"/>
                        <a:pt x="29498" y="37396"/>
                        <a:pt x="31859" y="30901"/>
                      </a:cubicBezTo>
                      <a:cubicBezTo>
                        <a:pt x="40617" y="6401"/>
                        <a:pt x="45537" y="-3832"/>
                        <a:pt x="39732" y="1284"/>
                      </a:cubicBezTo>
                      <a:close/>
                    </a:path>
                  </a:pathLst>
                </a:custGeom>
                <a:grpFill/>
                <a:ln w="9835" cap="flat">
                  <a:noFill/>
                  <a:prstDash val="solid"/>
                  <a:miter/>
                </a:ln>
              </p:spPr>
              <p:txBody>
                <a:bodyPr rtlCol="0" anchor="ctr"/>
                <a:lstStyle/>
                <a:p>
                  <a:endParaRPr lang="en-IN"/>
                </a:p>
              </p:txBody>
            </p:sp>
            <p:sp>
              <p:nvSpPr>
                <p:cNvPr id="747" name="Freeform: Shape 746">
                  <a:extLst>
                    <a:ext uri="{FF2B5EF4-FFF2-40B4-BE49-F238E27FC236}">
                      <a16:creationId xmlns:a16="http://schemas.microsoft.com/office/drawing/2014/main" id="{7E28ECCE-F2A1-D4AF-29B1-963BC4029BF6}"/>
                    </a:ext>
                  </a:extLst>
                </p:cNvPr>
                <p:cNvSpPr/>
                <p:nvPr/>
              </p:nvSpPr>
              <p:spPr>
                <a:xfrm>
                  <a:off x="14313113" y="3103024"/>
                  <a:ext cx="67762" cy="49904"/>
                </a:xfrm>
                <a:custGeom>
                  <a:avLst/>
                  <a:gdLst>
                    <a:gd name="connsiteX0" fmla="*/ 66285 w 67762"/>
                    <a:gd name="connsiteY0" fmla="*/ 5755 h 49904"/>
                    <a:gd name="connsiteX1" fmla="*/ 54576 w 67762"/>
                    <a:gd name="connsiteY1" fmla="*/ 147 h 49904"/>
                    <a:gd name="connsiteX2" fmla="*/ 1441 w 67762"/>
                    <a:gd name="connsiteY2" fmla="*/ 44819 h 49904"/>
                    <a:gd name="connsiteX3" fmla="*/ 12363 w 67762"/>
                    <a:gd name="connsiteY3" fmla="*/ 49837 h 49904"/>
                    <a:gd name="connsiteX4" fmla="*/ 66285 w 67762"/>
                    <a:gd name="connsiteY4" fmla="*/ 5657 h 4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62" h="49904">
                      <a:moveTo>
                        <a:pt x="66285" y="5755"/>
                      </a:moveTo>
                      <a:cubicBezTo>
                        <a:pt x="72287" y="147"/>
                        <a:pt x="58315" y="1032"/>
                        <a:pt x="54576" y="147"/>
                      </a:cubicBezTo>
                      <a:cubicBezTo>
                        <a:pt x="47196" y="-739"/>
                        <a:pt x="47294" y="1032"/>
                        <a:pt x="1441" y="44819"/>
                      </a:cubicBezTo>
                      <a:cubicBezTo>
                        <a:pt x="-4364" y="50427"/>
                        <a:pt x="9018" y="49148"/>
                        <a:pt x="12363" y="49837"/>
                      </a:cubicBezTo>
                      <a:cubicBezTo>
                        <a:pt x="20038" y="50427"/>
                        <a:pt x="20334" y="48066"/>
                        <a:pt x="66285" y="5657"/>
                      </a:cubicBezTo>
                      <a:close/>
                    </a:path>
                  </a:pathLst>
                </a:custGeom>
                <a:grpFill/>
                <a:ln w="9835" cap="flat">
                  <a:noFill/>
                  <a:prstDash val="solid"/>
                  <a:miter/>
                </a:ln>
              </p:spPr>
              <p:txBody>
                <a:bodyPr rtlCol="0" anchor="ctr"/>
                <a:lstStyle/>
                <a:p>
                  <a:endParaRPr lang="en-IN"/>
                </a:p>
              </p:txBody>
            </p:sp>
            <p:sp>
              <p:nvSpPr>
                <p:cNvPr id="748" name="Freeform: Shape 747">
                  <a:extLst>
                    <a:ext uri="{FF2B5EF4-FFF2-40B4-BE49-F238E27FC236}">
                      <a16:creationId xmlns:a16="http://schemas.microsoft.com/office/drawing/2014/main" id="{B047B0CC-D1D0-BA97-B763-09A7F824108B}"/>
                    </a:ext>
                  </a:extLst>
                </p:cNvPr>
                <p:cNvSpPr/>
                <p:nvPr/>
              </p:nvSpPr>
              <p:spPr>
                <a:xfrm>
                  <a:off x="14527194" y="2978987"/>
                  <a:ext cx="12014" cy="15557"/>
                </a:xfrm>
                <a:custGeom>
                  <a:avLst/>
                  <a:gdLst>
                    <a:gd name="connsiteX0" fmla="*/ 10621 w 12014"/>
                    <a:gd name="connsiteY0" fmla="*/ 3058 h 15557"/>
                    <a:gd name="connsiteX1" fmla="*/ 191 w 12014"/>
                    <a:gd name="connsiteY1" fmla="*/ 8469 h 15557"/>
                    <a:gd name="connsiteX2" fmla="*/ 6686 w 12014"/>
                    <a:gd name="connsiteY2" fmla="*/ 14373 h 15557"/>
                    <a:gd name="connsiteX3" fmla="*/ 11113 w 12014"/>
                    <a:gd name="connsiteY3" fmla="*/ 3845 h 15557"/>
                    <a:gd name="connsiteX4" fmla="*/ 10621 w 12014"/>
                    <a:gd name="connsiteY4" fmla="*/ 3058 h 15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4" h="15557">
                      <a:moveTo>
                        <a:pt x="10621" y="3058"/>
                      </a:moveTo>
                      <a:cubicBezTo>
                        <a:pt x="7178" y="-3436"/>
                        <a:pt x="-1383" y="1385"/>
                        <a:pt x="191" y="8469"/>
                      </a:cubicBezTo>
                      <a:cubicBezTo>
                        <a:pt x="683" y="9453"/>
                        <a:pt x="979" y="18801"/>
                        <a:pt x="6686" y="14373"/>
                      </a:cubicBezTo>
                      <a:cubicBezTo>
                        <a:pt x="7472" y="13389"/>
                        <a:pt x="14459" y="10142"/>
                        <a:pt x="11113" y="3845"/>
                      </a:cubicBezTo>
                      <a:lnTo>
                        <a:pt x="10621" y="3058"/>
                      </a:lnTo>
                      <a:close/>
                    </a:path>
                  </a:pathLst>
                </a:custGeom>
                <a:grpFill/>
                <a:ln w="9835" cap="flat">
                  <a:noFill/>
                  <a:prstDash val="solid"/>
                  <a:miter/>
                </a:ln>
              </p:spPr>
              <p:txBody>
                <a:bodyPr rtlCol="0" anchor="ctr"/>
                <a:lstStyle/>
                <a:p>
                  <a:endParaRPr lang="en-IN"/>
                </a:p>
              </p:txBody>
            </p:sp>
            <p:sp>
              <p:nvSpPr>
                <p:cNvPr id="749" name="Freeform: Shape 748">
                  <a:extLst>
                    <a:ext uri="{FF2B5EF4-FFF2-40B4-BE49-F238E27FC236}">
                      <a16:creationId xmlns:a16="http://schemas.microsoft.com/office/drawing/2014/main" id="{AD693D28-798F-15A2-B448-B8A4CFEAE0F8}"/>
                    </a:ext>
                  </a:extLst>
                </p:cNvPr>
                <p:cNvSpPr/>
                <p:nvPr/>
              </p:nvSpPr>
              <p:spPr>
                <a:xfrm>
                  <a:off x="14151824" y="3155868"/>
                  <a:ext cx="126086" cy="83334"/>
                </a:xfrm>
                <a:custGeom>
                  <a:avLst/>
                  <a:gdLst>
                    <a:gd name="connsiteX0" fmla="*/ 19958 w 126086"/>
                    <a:gd name="connsiteY0" fmla="*/ 76693 h 83334"/>
                    <a:gd name="connsiteX1" fmla="*/ 50166 w 126086"/>
                    <a:gd name="connsiteY1" fmla="*/ 48552 h 83334"/>
                    <a:gd name="connsiteX2" fmla="*/ 61383 w 126086"/>
                    <a:gd name="connsiteY2" fmla="*/ 44124 h 83334"/>
                    <a:gd name="connsiteX3" fmla="*/ 119535 w 126086"/>
                    <a:gd name="connsiteY3" fmla="*/ 19525 h 83334"/>
                    <a:gd name="connsiteX4" fmla="*/ 126029 w 126086"/>
                    <a:gd name="connsiteY4" fmla="*/ 5455 h 83334"/>
                    <a:gd name="connsiteX5" fmla="*/ 111171 w 126086"/>
                    <a:gd name="connsiteY5" fmla="*/ 2798 h 83334"/>
                    <a:gd name="connsiteX6" fmla="*/ 91099 w 126086"/>
                    <a:gd name="connsiteY6" fmla="*/ 14999 h 83334"/>
                    <a:gd name="connsiteX7" fmla="*/ 70337 w 126086"/>
                    <a:gd name="connsiteY7" fmla="*/ 9095 h 83334"/>
                    <a:gd name="connsiteX8" fmla="*/ 61383 w 126086"/>
                    <a:gd name="connsiteY8" fmla="*/ 19131 h 83334"/>
                    <a:gd name="connsiteX9" fmla="*/ 30290 w 126086"/>
                    <a:gd name="connsiteY9" fmla="*/ 46387 h 83334"/>
                    <a:gd name="connsiteX10" fmla="*/ 1165 w 126086"/>
                    <a:gd name="connsiteY10" fmla="*/ 80629 h 83334"/>
                    <a:gd name="connsiteX11" fmla="*/ 19860 w 126086"/>
                    <a:gd name="connsiteY11" fmla="*/ 76792 h 8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086" h="83334">
                      <a:moveTo>
                        <a:pt x="19958" y="76693"/>
                      </a:moveTo>
                      <a:cubicBezTo>
                        <a:pt x="27436" y="73938"/>
                        <a:pt x="32848" y="66755"/>
                        <a:pt x="50166" y="48552"/>
                      </a:cubicBezTo>
                      <a:cubicBezTo>
                        <a:pt x="54692" y="43829"/>
                        <a:pt x="60399" y="44321"/>
                        <a:pt x="61383" y="44124"/>
                      </a:cubicBezTo>
                      <a:cubicBezTo>
                        <a:pt x="69451" y="43632"/>
                        <a:pt x="76438" y="39401"/>
                        <a:pt x="119535" y="19525"/>
                      </a:cubicBezTo>
                      <a:cubicBezTo>
                        <a:pt x="126423" y="16376"/>
                        <a:pt x="125439" y="7422"/>
                        <a:pt x="126029" y="5455"/>
                      </a:cubicBezTo>
                      <a:cubicBezTo>
                        <a:pt x="126914" y="-1728"/>
                        <a:pt x="117370" y="-941"/>
                        <a:pt x="111171" y="2798"/>
                      </a:cubicBezTo>
                      <a:lnTo>
                        <a:pt x="91099" y="14999"/>
                      </a:lnTo>
                      <a:cubicBezTo>
                        <a:pt x="83818" y="19427"/>
                        <a:pt x="76044" y="11457"/>
                        <a:pt x="70337" y="9095"/>
                      </a:cubicBezTo>
                      <a:cubicBezTo>
                        <a:pt x="63449" y="5258"/>
                        <a:pt x="62761" y="16672"/>
                        <a:pt x="61383" y="19131"/>
                      </a:cubicBezTo>
                      <a:cubicBezTo>
                        <a:pt x="58923" y="26708"/>
                        <a:pt x="51346" y="30644"/>
                        <a:pt x="30290" y="46387"/>
                      </a:cubicBezTo>
                      <a:cubicBezTo>
                        <a:pt x="23796" y="51209"/>
                        <a:pt x="19860" y="57211"/>
                        <a:pt x="1165" y="80629"/>
                      </a:cubicBezTo>
                      <a:cubicBezTo>
                        <a:pt x="-3755" y="86729"/>
                        <a:pt x="7757" y="81219"/>
                        <a:pt x="19860" y="76792"/>
                      </a:cubicBezTo>
                      <a:close/>
                    </a:path>
                  </a:pathLst>
                </a:custGeom>
                <a:grpFill/>
                <a:ln w="9835" cap="flat">
                  <a:noFill/>
                  <a:prstDash val="solid"/>
                  <a:miter/>
                </a:ln>
              </p:spPr>
              <p:txBody>
                <a:bodyPr rtlCol="0" anchor="ctr"/>
                <a:lstStyle/>
                <a:p>
                  <a:endParaRPr lang="en-IN"/>
                </a:p>
              </p:txBody>
            </p:sp>
            <p:sp>
              <p:nvSpPr>
                <p:cNvPr id="750" name="Freeform: Shape 749">
                  <a:extLst>
                    <a:ext uri="{FF2B5EF4-FFF2-40B4-BE49-F238E27FC236}">
                      <a16:creationId xmlns:a16="http://schemas.microsoft.com/office/drawing/2014/main" id="{35D74940-74ED-F1D0-2BAB-5C5D21607062}"/>
                    </a:ext>
                  </a:extLst>
                </p:cNvPr>
                <p:cNvSpPr/>
                <p:nvPr/>
              </p:nvSpPr>
              <p:spPr>
                <a:xfrm>
                  <a:off x="14135158" y="3282310"/>
                  <a:ext cx="22027" cy="17626"/>
                </a:xfrm>
                <a:custGeom>
                  <a:avLst/>
                  <a:gdLst>
                    <a:gd name="connsiteX0" fmla="*/ 414 w 22027"/>
                    <a:gd name="connsiteY0" fmla="*/ 12733 h 17626"/>
                    <a:gd name="connsiteX1" fmla="*/ 1005 w 22027"/>
                    <a:gd name="connsiteY1" fmla="*/ 14504 h 17626"/>
                    <a:gd name="connsiteX2" fmla="*/ 18913 w 22027"/>
                    <a:gd name="connsiteY2" fmla="*/ 10371 h 17626"/>
                    <a:gd name="connsiteX3" fmla="*/ 21570 w 22027"/>
                    <a:gd name="connsiteY3" fmla="*/ 2893 h 17626"/>
                    <a:gd name="connsiteX4" fmla="*/ 3563 w 22027"/>
                    <a:gd name="connsiteY4" fmla="*/ 5255 h 17626"/>
                    <a:gd name="connsiteX5" fmla="*/ 316 w 22027"/>
                    <a:gd name="connsiteY5" fmla="*/ 12831 h 1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27" h="17626">
                      <a:moveTo>
                        <a:pt x="414" y="12733"/>
                      </a:moveTo>
                      <a:lnTo>
                        <a:pt x="1005" y="14504"/>
                      </a:lnTo>
                      <a:cubicBezTo>
                        <a:pt x="3859" y="22572"/>
                        <a:pt x="13304" y="12733"/>
                        <a:pt x="18913" y="10371"/>
                      </a:cubicBezTo>
                      <a:cubicBezTo>
                        <a:pt x="21570" y="8797"/>
                        <a:pt x="22750" y="5452"/>
                        <a:pt x="21570" y="2893"/>
                      </a:cubicBezTo>
                      <a:cubicBezTo>
                        <a:pt x="18322" y="-4191"/>
                        <a:pt x="8778" y="3779"/>
                        <a:pt x="3563" y="5255"/>
                      </a:cubicBezTo>
                      <a:cubicBezTo>
                        <a:pt x="710" y="6534"/>
                        <a:pt x="-668" y="9879"/>
                        <a:pt x="316" y="12831"/>
                      </a:cubicBezTo>
                      <a:close/>
                    </a:path>
                  </a:pathLst>
                </a:custGeom>
                <a:grpFill/>
                <a:ln w="9835" cap="flat">
                  <a:noFill/>
                  <a:prstDash val="solid"/>
                  <a:miter/>
                </a:ln>
              </p:spPr>
              <p:txBody>
                <a:bodyPr rtlCol="0" anchor="ctr"/>
                <a:lstStyle/>
                <a:p>
                  <a:endParaRPr lang="en-IN"/>
                </a:p>
              </p:txBody>
            </p:sp>
            <p:sp>
              <p:nvSpPr>
                <p:cNvPr id="751" name="Freeform: Shape 750">
                  <a:extLst>
                    <a:ext uri="{FF2B5EF4-FFF2-40B4-BE49-F238E27FC236}">
                      <a16:creationId xmlns:a16="http://schemas.microsoft.com/office/drawing/2014/main" id="{7FA4C257-E2CE-3BB5-237D-F0A44667F5CC}"/>
                    </a:ext>
                  </a:extLst>
                </p:cNvPr>
                <p:cNvSpPr/>
                <p:nvPr/>
              </p:nvSpPr>
              <p:spPr>
                <a:xfrm>
                  <a:off x="14064843" y="3237607"/>
                  <a:ext cx="66264" cy="60801"/>
                </a:xfrm>
                <a:custGeom>
                  <a:avLst/>
                  <a:gdLst>
                    <a:gd name="connsiteX0" fmla="*/ 37176 w 66264"/>
                    <a:gd name="connsiteY0" fmla="*/ 23882 h 60801"/>
                    <a:gd name="connsiteX1" fmla="*/ 63841 w 66264"/>
                    <a:gd name="connsiteY1" fmla="*/ 5187 h 60801"/>
                    <a:gd name="connsiteX2" fmla="*/ 35798 w 66264"/>
                    <a:gd name="connsiteY2" fmla="*/ 3022 h 60801"/>
                    <a:gd name="connsiteX3" fmla="*/ 671 w 66264"/>
                    <a:gd name="connsiteY3" fmla="*/ 52417 h 60801"/>
                    <a:gd name="connsiteX4" fmla="*/ 7854 w 66264"/>
                    <a:gd name="connsiteY4" fmla="*/ 59009 h 60801"/>
                    <a:gd name="connsiteX5" fmla="*/ 37176 w 66264"/>
                    <a:gd name="connsiteY5" fmla="*/ 23784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264" h="60801">
                      <a:moveTo>
                        <a:pt x="37176" y="23882"/>
                      </a:moveTo>
                      <a:cubicBezTo>
                        <a:pt x="61578" y="10796"/>
                        <a:pt x="71221" y="7155"/>
                        <a:pt x="63841" y="5187"/>
                      </a:cubicBezTo>
                      <a:cubicBezTo>
                        <a:pt x="44753" y="169"/>
                        <a:pt x="40325" y="-2390"/>
                        <a:pt x="35798" y="3022"/>
                      </a:cubicBezTo>
                      <a:cubicBezTo>
                        <a:pt x="967" y="44545"/>
                        <a:pt x="-1789" y="45332"/>
                        <a:pt x="671" y="52417"/>
                      </a:cubicBezTo>
                      <a:cubicBezTo>
                        <a:pt x="1458" y="53794"/>
                        <a:pt x="3328" y="65110"/>
                        <a:pt x="7854" y="59009"/>
                      </a:cubicBezTo>
                      <a:cubicBezTo>
                        <a:pt x="28714" y="31065"/>
                        <a:pt x="30780" y="27227"/>
                        <a:pt x="37176" y="23784"/>
                      </a:cubicBezTo>
                      <a:close/>
                    </a:path>
                  </a:pathLst>
                </a:custGeom>
                <a:grpFill/>
                <a:ln w="9835" cap="flat">
                  <a:noFill/>
                  <a:prstDash val="solid"/>
                  <a:miter/>
                </a:ln>
              </p:spPr>
              <p:txBody>
                <a:bodyPr rtlCol="0" anchor="ctr"/>
                <a:lstStyle/>
                <a:p>
                  <a:endParaRPr lang="en-IN"/>
                </a:p>
              </p:txBody>
            </p:sp>
            <p:sp>
              <p:nvSpPr>
                <p:cNvPr id="752" name="Freeform: Shape 751">
                  <a:extLst>
                    <a:ext uri="{FF2B5EF4-FFF2-40B4-BE49-F238E27FC236}">
                      <a16:creationId xmlns:a16="http://schemas.microsoft.com/office/drawing/2014/main" id="{E2E3E2AE-3255-F649-7CC9-BA3AAF0045F5}"/>
                    </a:ext>
                  </a:extLst>
                </p:cNvPr>
                <p:cNvSpPr/>
                <p:nvPr/>
              </p:nvSpPr>
              <p:spPr>
                <a:xfrm>
                  <a:off x="9920702" y="573803"/>
                  <a:ext cx="58053" cy="42406"/>
                </a:xfrm>
                <a:custGeom>
                  <a:avLst/>
                  <a:gdLst>
                    <a:gd name="connsiteX0" fmla="*/ 38454 w 58053"/>
                    <a:gd name="connsiteY0" fmla="*/ 1378 h 42406"/>
                    <a:gd name="connsiteX1" fmla="*/ 29894 w 58053"/>
                    <a:gd name="connsiteY1" fmla="*/ 1575 h 42406"/>
                    <a:gd name="connsiteX2" fmla="*/ 1457 w 58053"/>
                    <a:gd name="connsiteY2" fmla="*/ 26273 h 42406"/>
                    <a:gd name="connsiteX3" fmla="*/ 2638 w 58053"/>
                    <a:gd name="connsiteY3" fmla="*/ 31192 h 42406"/>
                    <a:gd name="connsiteX4" fmla="*/ 49573 w 58053"/>
                    <a:gd name="connsiteY4" fmla="*/ 42213 h 42406"/>
                    <a:gd name="connsiteX5" fmla="*/ 57937 w 58053"/>
                    <a:gd name="connsiteY5" fmla="*/ 23222 h 42406"/>
                    <a:gd name="connsiteX6" fmla="*/ 38454 w 58053"/>
                    <a:gd name="connsiteY6" fmla="*/ 1477 h 4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53" h="42406">
                      <a:moveTo>
                        <a:pt x="38454" y="1378"/>
                      </a:moveTo>
                      <a:cubicBezTo>
                        <a:pt x="36093" y="-491"/>
                        <a:pt x="32157" y="-491"/>
                        <a:pt x="29894" y="1575"/>
                      </a:cubicBezTo>
                      <a:lnTo>
                        <a:pt x="1457" y="26273"/>
                      </a:lnTo>
                      <a:cubicBezTo>
                        <a:pt x="-904" y="28241"/>
                        <a:pt x="-314" y="30504"/>
                        <a:pt x="2638" y="31192"/>
                      </a:cubicBezTo>
                      <a:lnTo>
                        <a:pt x="49573" y="42213"/>
                      </a:lnTo>
                      <a:cubicBezTo>
                        <a:pt x="58035" y="44181"/>
                        <a:pt x="55870" y="30700"/>
                        <a:pt x="57937" y="23222"/>
                      </a:cubicBezTo>
                      <a:cubicBezTo>
                        <a:pt x="58920" y="16236"/>
                        <a:pt x="53804" y="13776"/>
                        <a:pt x="38454" y="1477"/>
                      </a:cubicBezTo>
                      <a:close/>
                    </a:path>
                  </a:pathLst>
                </a:custGeom>
                <a:grpFill/>
                <a:ln w="9835" cap="flat">
                  <a:noFill/>
                  <a:prstDash val="solid"/>
                  <a:miter/>
                </a:ln>
              </p:spPr>
              <p:txBody>
                <a:bodyPr rtlCol="0" anchor="ctr"/>
                <a:lstStyle/>
                <a:p>
                  <a:endParaRPr lang="en-IN"/>
                </a:p>
              </p:txBody>
            </p:sp>
            <p:sp>
              <p:nvSpPr>
                <p:cNvPr id="753" name="Freeform: Shape 752">
                  <a:extLst>
                    <a:ext uri="{FF2B5EF4-FFF2-40B4-BE49-F238E27FC236}">
                      <a16:creationId xmlns:a16="http://schemas.microsoft.com/office/drawing/2014/main" id="{ED8AADF5-3E50-8840-497B-7A0708202DBF}"/>
                    </a:ext>
                  </a:extLst>
                </p:cNvPr>
                <p:cNvSpPr/>
                <p:nvPr/>
              </p:nvSpPr>
              <p:spPr>
                <a:xfrm>
                  <a:off x="9812122" y="628209"/>
                  <a:ext cx="77567" cy="40728"/>
                </a:xfrm>
                <a:custGeom>
                  <a:avLst/>
                  <a:gdLst>
                    <a:gd name="connsiteX0" fmla="*/ 75008 w 77567"/>
                    <a:gd name="connsiteY0" fmla="*/ 8863 h 40728"/>
                    <a:gd name="connsiteX1" fmla="*/ 44702 w 77567"/>
                    <a:gd name="connsiteY1" fmla="*/ 401 h 40728"/>
                    <a:gd name="connsiteX2" fmla="*/ 1408 w 77567"/>
                    <a:gd name="connsiteY2" fmla="*/ 36808 h 40728"/>
                    <a:gd name="connsiteX3" fmla="*/ 42734 w 77567"/>
                    <a:gd name="connsiteY3" fmla="*/ 40055 h 40728"/>
                    <a:gd name="connsiteX4" fmla="*/ 76189 w 77567"/>
                    <a:gd name="connsiteY4" fmla="*/ 14275 h 40728"/>
                    <a:gd name="connsiteX5" fmla="*/ 74910 w 77567"/>
                    <a:gd name="connsiteY5" fmla="*/ 8962 h 4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567" h="40728">
                      <a:moveTo>
                        <a:pt x="75008" y="8863"/>
                      </a:moveTo>
                      <a:lnTo>
                        <a:pt x="44702" y="401"/>
                      </a:lnTo>
                      <a:cubicBezTo>
                        <a:pt x="37519" y="-1567"/>
                        <a:pt x="35453" y="2664"/>
                        <a:pt x="1408" y="36808"/>
                      </a:cubicBezTo>
                      <a:cubicBezTo>
                        <a:pt x="-4004" y="42220"/>
                        <a:pt x="5442" y="40645"/>
                        <a:pt x="42734" y="40055"/>
                      </a:cubicBezTo>
                      <a:cubicBezTo>
                        <a:pt x="50015" y="39956"/>
                        <a:pt x="51983" y="36513"/>
                        <a:pt x="76189" y="14275"/>
                      </a:cubicBezTo>
                      <a:cubicBezTo>
                        <a:pt x="78452" y="12209"/>
                        <a:pt x="77862" y="9847"/>
                        <a:pt x="74910" y="8962"/>
                      </a:cubicBezTo>
                      <a:close/>
                    </a:path>
                  </a:pathLst>
                </a:custGeom>
                <a:grpFill/>
                <a:ln w="9835" cap="flat">
                  <a:noFill/>
                  <a:prstDash val="solid"/>
                  <a:miter/>
                </a:ln>
              </p:spPr>
              <p:txBody>
                <a:bodyPr rtlCol="0" anchor="ctr"/>
                <a:lstStyle/>
                <a:p>
                  <a:endParaRPr lang="en-IN"/>
                </a:p>
              </p:txBody>
            </p:sp>
            <p:sp>
              <p:nvSpPr>
                <p:cNvPr id="754" name="Freeform: Shape 753">
                  <a:extLst>
                    <a:ext uri="{FF2B5EF4-FFF2-40B4-BE49-F238E27FC236}">
                      <a16:creationId xmlns:a16="http://schemas.microsoft.com/office/drawing/2014/main" id="{61CA0915-AD79-0AF1-00AF-587C7F42ECD9}"/>
                    </a:ext>
                  </a:extLst>
                </p:cNvPr>
                <p:cNvSpPr/>
                <p:nvPr/>
              </p:nvSpPr>
              <p:spPr>
                <a:xfrm>
                  <a:off x="9761325" y="555554"/>
                  <a:ext cx="38359" cy="15593"/>
                </a:xfrm>
                <a:custGeom>
                  <a:avLst/>
                  <a:gdLst>
                    <a:gd name="connsiteX0" fmla="*/ 31345 w 38359"/>
                    <a:gd name="connsiteY0" fmla="*/ 3490 h 15593"/>
                    <a:gd name="connsiteX1" fmla="*/ 5565 w 38359"/>
                    <a:gd name="connsiteY1" fmla="*/ 46 h 15593"/>
                    <a:gd name="connsiteX2" fmla="*/ 55 w 38359"/>
                    <a:gd name="connsiteY2" fmla="*/ 4868 h 15593"/>
                    <a:gd name="connsiteX3" fmla="*/ 5664 w 38359"/>
                    <a:gd name="connsiteY3" fmla="*/ 15593 h 15593"/>
                    <a:gd name="connsiteX4" fmla="*/ 33903 w 38359"/>
                    <a:gd name="connsiteY4" fmla="*/ 15002 h 15593"/>
                    <a:gd name="connsiteX5" fmla="*/ 31444 w 38359"/>
                    <a:gd name="connsiteY5" fmla="*/ 3490 h 1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59" h="15593">
                      <a:moveTo>
                        <a:pt x="31345" y="3490"/>
                      </a:moveTo>
                      <a:lnTo>
                        <a:pt x="5565" y="46"/>
                      </a:lnTo>
                      <a:cubicBezTo>
                        <a:pt x="2515" y="-347"/>
                        <a:pt x="55" y="1817"/>
                        <a:pt x="55" y="4868"/>
                      </a:cubicBezTo>
                      <a:cubicBezTo>
                        <a:pt x="350" y="6048"/>
                        <a:pt x="-1716" y="15691"/>
                        <a:pt x="5664" y="15593"/>
                      </a:cubicBezTo>
                      <a:lnTo>
                        <a:pt x="33903" y="15002"/>
                      </a:lnTo>
                      <a:cubicBezTo>
                        <a:pt x="41283" y="14806"/>
                        <a:pt x="38823" y="4474"/>
                        <a:pt x="31444" y="3490"/>
                      </a:cubicBezTo>
                      <a:close/>
                    </a:path>
                  </a:pathLst>
                </a:custGeom>
                <a:grpFill/>
                <a:ln w="9835" cap="flat">
                  <a:noFill/>
                  <a:prstDash val="solid"/>
                  <a:miter/>
                </a:ln>
              </p:spPr>
              <p:txBody>
                <a:bodyPr rtlCol="0" anchor="ctr"/>
                <a:lstStyle/>
                <a:p>
                  <a:endParaRPr lang="en-IN"/>
                </a:p>
              </p:txBody>
            </p:sp>
            <p:sp>
              <p:nvSpPr>
                <p:cNvPr id="755" name="Freeform: Shape 754">
                  <a:extLst>
                    <a:ext uri="{FF2B5EF4-FFF2-40B4-BE49-F238E27FC236}">
                      <a16:creationId xmlns:a16="http://schemas.microsoft.com/office/drawing/2014/main" id="{9775E6BA-E602-53E6-A2BA-0DCE6E62D0B2}"/>
                    </a:ext>
                  </a:extLst>
                </p:cNvPr>
                <p:cNvSpPr/>
                <p:nvPr/>
              </p:nvSpPr>
              <p:spPr>
                <a:xfrm>
                  <a:off x="10400666" y="337548"/>
                  <a:ext cx="46654" cy="17876"/>
                </a:xfrm>
                <a:custGeom>
                  <a:avLst/>
                  <a:gdLst>
                    <a:gd name="connsiteX0" fmla="*/ 878 w 46654"/>
                    <a:gd name="connsiteY0" fmla="*/ 10142 h 17876"/>
                    <a:gd name="connsiteX1" fmla="*/ 3141 w 46654"/>
                    <a:gd name="connsiteY1" fmla="*/ 15259 h 17876"/>
                    <a:gd name="connsiteX2" fmla="*/ 27740 w 46654"/>
                    <a:gd name="connsiteY2" fmla="*/ 17817 h 17876"/>
                    <a:gd name="connsiteX3" fmla="*/ 44960 w 46654"/>
                    <a:gd name="connsiteY3" fmla="*/ 8961 h 17876"/>
                    <a:gd name="connsiteX4" fmla="*/ 14260 w 46654"/>
                    <a:gd name="connsiteY4" fmla="*/ 106 h 17876"/>
                    <a:gd name="connsiteX5" fmla="*/ 977 w 46654"/>
                    <a:gd name="connsiteY5" fmla="*/ 10142 h 1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54" h="17876">
                      <a:moveTo>
                        <a:pt x="878" y="10142"/>
                      </a:moveTo>
                      <a:cubicBezTo>
                        <a:pt x="-893" y="12602"/>
                        <a:pt x="91" y="14964"/>
                        <a:pt x="3141" y="15259"/>
                      </a:cubicBezTo>
                      <a:lnTo>
                        <a:pt x="27740" y="17817"/>
                      </a:lnTo>
                      <a:cubicBezTo>
                        <a:pt x="35809" y="18604"/>
                        <a:pt x="41221" y="11323"/>
                        <a:pt x="44960" y="8961"/>
                      </a:cubicBezTo>
                      <a:cubicBezTo>
                        <a:pt x="50864" y="4140"/>
                        <a:pt x="41516" y="4238"/>
                        <a:pt x="14260" y="106"/>
                      </a:cubicBezTo>
                      <a:cubicBezTo>
                        <a:pt x="6487" y="-1075"/>
                        <a:pt x="3043" y="7977"/>
                        <a:pt x="977" y="10142"/>
                      </a:cubicBezTo>
                      <a:close/>
                    </a:path>
                  </a:pathLst>
                </a:custGeom>
                <a:grpFill/>
                <a:ln w="9835" cap="flat">
                  <a:noFill/>
                  <a:prstDash val="solid"/>
                  <a:miter/>
                </a:ln>
              </p:spPr>
              <p:txBody>
                <a:bodyPr rtlCol="0" anchor="ctr"/>
                <a:lstStyle/>
                <a:p>
                  <a:endParaRPr lang="en-IN"/>
                </a:p>
              </p:txBody>
            </p:sp>
            <p:sp>
              <p:nvSpPr>
                <p:cNvPr id="756" name="Freeform: Shape 755">
                  <a:extLst>
                    <a:ext uri="{FF2B5EF4-FFF2-40B4-BE49-F238E27FC236}">
                      <a16:creationId xmlns:a16="http://schemas.microsoft.com/office/drawing/2014/main" id="{F2E061A1-2A11-7752-7A7C-15C487D347BD}"/>
                    </a:ext>
                  </a:extLst>
                </p:cNvPr>
                <p:cNvSpPr/>
                <p:nvPr/>
              </p:nvSpPr>
              <p:spPr>
                <a:xfrm>
                  <a:off x="10352090" y="391847"/>
                  <a:ext cx="33079" cy="15474"/>
                </a:xfrm>
                <a:custGeom>
                  <a:avLst/>
                  <a:gdLst>
                    <a:gd name="connsiteX0" fmla="*/ 1241 w 33079"/>
                    <a:gd name="connsiteY0" fmla="*/ 10846 h 15474"/>
                    <a:gd name="connsiteX1" fmla="*/ 15311 w 33079"/>
                    <a:gd name="connsiteY1" fmla="*/ 15470 h 15474"/>
                    <a:gd name="connsiteX2" fmla="*/ 31645 w 33079"/>
                    <a:gd name="connsiteY2" fmla="*/ 5336 h 15474"/>
                    <a:gd name="connsiteX3" fmla="*/ 16590 w 33079"/>
                    <a:gd name="connsiteY3" fmla="*/ 22 h 15474"/>
                    <a:gd name="connsiteX4" fmla="*/ 1142 w 33079"/>
                    <a:gd name="connsiteY4" fmla="*/ 10748 h 15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79" h="15474">
                      <a:moveTo>
                        <a:pt x="1241" y="10846"/>
                      </a:moveTo>
                      <a:cubicBezTo>
                        <a:pt x="-4368" y="17242"/>
                        <a:pt x="10588" y="14782"/>
                        <a:pt x="15311" y="15470"/>
                      </a:cubicBezTo>
                      <a:cubicBezTo>
                        <a:pt x="23478" y="15667"/>
                        <a:pt x="28299" y="7894"/>
                        <a:pt x="31645" y="5336"/>
                      </a:cubicBezTo>
                      <a:cubicBezTo>
                        <a:pt x="37844" y="-666"/>
                        <a:pt x="22297" y="1105"/>
                        <a:pt x="16590" y="22"/>
                      </a:cubicBezTo>
                      <a:cubicBezTo>
                        <a:pt x="8522" y="-568"/>
                        <a:pt x="1142" y="10748"/>
                        <a:pt x="1142" y="10748"/>
                      </a:cubicBezTo>
                      <a:close/>
                    </a:path>
                  </a:pathLst>
                </a:custGeom>
                <a:grpFill/>
                <a:ln w="9835" cap="flat">
                  <a:noFill/>
                  <a:prstDash val="solid"/>
                  <a:miter/>
                </a:ln>
              </p:spPr>
              <p:txBody>
                <a:bodyPr rtlCol="0" anchor="ctr"/>
                <a:lstStyle/>
                <a:p>
                  <a:endParaRPr lang="en-IN"/>
                </a:p>
              </p:txBody>
            </p:sp>
            <p:sp>
              <p:nvSpPr>
                <p:cNvPr id="757" name="Freeform: Shape 756">
                  <a:extLst>
                    <a:ext uri="{FF2B5EF4-FFF2-40B4-BE49-F238E27FC236}">
                      <a16:creationId xmlns:a16="http://schemas.microsoft.com/office/drawing/2014/main" id="{ED7717A5-550C-725A-B035-369366D3965E}"/>
                    </a:ext>
                  </a:extLst>
                </p:cNvPr>
                <p:cNvSpPr/>
                <p:nvPr/>
              </p:nvSpPr>
              <p:spPr>
                <a:xfrm>
                  <a:off x="10312930" y="390128"/>
                  <a:ext cx="33992" cy="14251"/>
                </a:xfrm>
                <a:custGeom>
                  <a:avLst/>
                  <a:gdLst>
                    <a:gd name="connsiteX0" fmla="*/ 31151 w 33992"/>
                    <a:gd name="connsiteY0" fmla="*/ 167 h 14251"/>
                    <a:gd name="connsiteX1" fmla="*/ 747 w 33992"/>
                    <a:gd name="connsiteY1" fmla="*/ 3414 h 14251"/>
                    <a:gd name="connsiteX2" fmla="*/ 23082 w 33992"/>
                    <a:gd name="connsiteY2" fmla="*/ 12466 h 14251"/>
                    <a:gd name="connsiteX3" fmla="*/ 31151 w 33992"/>
                    <a:gd name="connsiteY3" fmla="*/ 167 h 14251"/>
                  </a:gdLst>
                  <a:ahLst/>
                  <a:cxnLst>
                    <a:cxn ang="0">
                      <a:pos x="connsiteX0" y="connsiteY0"/>
                    </a:cxn>
                    <a:cxn ang="0">
                      <a:pos x="connsiteX1" y="connsiteY1"/>
                    </a:cxn>
                    <a:cxn ang="0">
                      <a:pos x="connsiteX2" y="connsiteY2"/>
                    </a:cxn>
                    <a:cxn ang="0">
                      <a:pos x="connsiteX3" y="connsiteY3"/>
                    </a:cxn>
                  </a:cxnLst>
                  <a:rect l="l" t="t" r="r" b="b"/>
                  <a:pathLst>
                    <a:path w="33992" h="14251">
                      <a:moveTo>
                        <a:pt x="31151" y="167"/>
                      </a:moveTo>
                      <a:cubicBezTo>
                        <a:pt x="31151" y="167"/>
                        <a:pt x="-5649" y="-1112"/>
                        <a:pt x="747" y="3414"/>
                      </a:cubicBezTo>
                      <a:cubicBezTo>
                        <a:pt x="9307" y="8137"/>
                        <a:pt x="16490" y="18370"/>
                        <a:pt x="23082" y="12466"/>
                      </a:cubicBezTo>
                      <a:cubicBezTo>
                        <a:pt x="26526" y="8727"/>
                        <a:pt x="39711" y="167"/>
                        <a:pt x="31151" y="167"/>
                      </a:cubicBezTo>
                      <a:close/>
                    </a:path>
                  </a:pathLst>
                </a:custGeom>
                <a:grpFill/>
                <a:ln w="9835" cap="flat">
                  <a:noFill/>
                  <a:prstDash val="solid"/>
                  <a:miter/>
                </a:ln>
              </p:spPr>
              <p:txBody>
                <a:bodyPr rtlCol="0" anchor="ctr"/>
                <a:lstStyle/>
                <a:p>
                  <a:endParaRPr lang="en-IN"/>
                </a:p>
              </p:txBody>
            </p:sp>
            <p:sp>
              <p:nvSpPr>
                <p:cNvPr id="758" name="Freeform: Shape 757">
                  <a:extLst>
                    <a:ext uri="{FF2B5EF4-FFF2-40B4-BE49-F238E27FC236}">
                      <a16:creationId xmlns:a16="http://schemas.microsoft.com/office/drawing/2014/main" id="{8A6FBEFD-97DE-B8B2-DFE2-2B25110C0EF4}"/>
                    </a:ext>
                  </a:extLst>
                </p:cNvPr>
                <p:cNvSpPr/>
                <p:nvPr/>
              </p:nvSpPr>
              <p:spPr>
                <a:xfrm>
                  <a:off x="10576394" y="55032"/>
                  <a:ext cx="32505" cy="19120"/>
                </a:xfrm>
                <a:custGeom>
                  <a:avLst/>
                  <a:gdLst>
                    <a:gd name="connsiteX0" fmla="*/ 27256 w 32505"/>
                    <a:gd name="connsiteY0" fmla="*/ 1701 h 19120"/>
                    <a:gd name="connsiteX1" fmla="*/ 0 w 32505"/>
                    <a:gd name="connsiteY1" fmla="*/ 5243 h 19120"/>
                    <a:gd name="connsiteX2" fmla="*/ 0 w 32505"/>
                    <a:gd name="connsiteY2" fmla="*/ 13804 h 19120"/>
                    <a:gd name="connsiteX3" fmla="*/ 5608 w 32505"/>
                    <a:gd name="connsiteY3" fmla="*/ 19117 h 19120"/>
                    <a:gd name="connsiteX4" fmla="*/ 32274 w 32505"/>
                    <a:gd name="connsiteY4" fmla="*/ 12229 h 19120"/>
                    <a:gd name="connsiteX5" fmla="*/ 27256 w 32505"/>
                    <a:gd name="connsiteY5" fmla="*/ 1799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05" h="19120">
                      <a:moveTo>
                        <a:pt x="27256" y="1701"/>
                      </a:moveTo>
                      <a:cubicBezTo>
                        <a:pt x="27256" y="1701"/>
                        <a:pt x="0" y="-3908"/>
                        <a:pt x="0" y="5243"/>
                      </a:cubicBezTo>
                      <a:lnTo>
                        <a:pt x="0" y="13804"/>
                      </a:lnTo>
                      <a:cubicBezTo>
                        <a:pt x="0" y="16854"/>
                        <a:pt x="2460" y="19216"/>
                        <a:pt x="5608" y="19117"/>
                      </a:cubicBezTo>
                      <a:cubicBezTo>
                        <a:pt x="18695" y="17248"/>
                        <a:pt x="31880" y="21183"/>
                        <a:pt x="32274" y="12229"/>
                      </a:cubicBezTo>
                      <a:cubicBezTo>
                        <a:pt x="31979" y="10655"/>
                        <a:pt x="34635" y="2390"/>
                        <a:pt x="27256" y="1799"/>
                      </a:cubicBezTo>
                      <a:close/>
                    </a:path>
                  </a:pathLst>
                </a:custGeom>
                <a:grpFill/>
                <a:ln w="9835" cap="flat">
                  <a:noFill/>
                  <a:prstDash val="solid"/>
                  <a:miter/>
                </a:ln>
              </p:spPr>
              <p:txBody>
                <a:bodyPr rtlCol="0" anchor="ctr"/>
                <a:lstStyle/>
                <a:p>
                  <a:endParaRPr lang="en-IN"/>
                </a:p>
              </p:txBody>
            </p:sp>
            <p:sp>
              <p:nvSpPr>
                <p:cNvPr id="759" name="Freeform: Shape 758">
                  <a:extLst>
                    <a:ext uri="{FF2B5EF4-FFF2-40B4-BE49-F238E27FC236}">
                      <a16:creationId xmlns:a16="http://schemas.microsoft.com/office/drawing/2014/main" id="{27068468-677B-D4C5-E825-5DBD0D1CDC4B}"/>
                    </a:ext>
                  </a:extLst>
                </p:cNvPr>
                <p:cNvSpPr/>
                <p:nvPr/>
              </p:nvSpPr>
              <p:spPr>
                <a:xfrm>
                  <a:off x="10151910" y="438961"/>
                  <a:ext cx="24998" cy="19073"/>
                </a:xfrm>
                <a:custGeom>
                  <a:avLst/>
                  <a:gdLst>
                    <a:gd name="connsiteX0" fmla="*/ 2660 w 24998"/>
                    <a:gd name="connsiteY0" fmla="*/ 3091 h 19073"/>
                    <a:gd name="connsiteX1" fmla="*/ 6892 w 24998"/>
                    <a:gd name="connsiteY1" fmla="*/ 16473 h 19073"/>
                    <a:gd name="connsiteX2" fmla="*/ 21651 w 24998"/>
                    <a:gd name="connsiteY2" fmla="*/ 15784 h 19073"/>
                    <a:gd name="connsiteX3" fmla="*/ 23028 w 24998"/>
                    <a:gd name="connsiteY3" fmla="*/ 3977 h 19073"/>
                    <a:gd name="connsiteX4" fmla="*/ 2660 w 24998"/>
                    <a:gd name="connsiteY4" fmla="*/ 3189 h 1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98" h="19073">
                      <a:moveTo>
                        <a:pt x="2660" y="3091"/>
                      </a:moveTo>
                      <a:cubicBezTo>
                        <a:pt x="-5211" y="4960"/>
                        <a:pt x="6892" y="16473"/>
                        <a:pt x="6892" y="16473"/>
                      </a:cubicBezTo>
                      <a:cubicBezTo>
                        <a:pt x="11713" y="22475"/>
                        <a:pt x="19585" y="16276"/>
                        <a:pt x="21651" y="15784"/>
                      </a:cubicBezTo>
                      <a:cubicBezTo>
                        <a:pt x="28145" y="12832"/>
                        <a:pt x="23225" y="5452"/>
                        <a:pt x="23028" y="3977"/>
                      </a:cubicBezTo>
                      <a:cubicBezTo>
                        <a:pt x="19880" y="-4092"/>
                        <a:pt x="9450" y="2501"/>
                        <a:pt x="2660" y="3189"/>
                      </a:cubicBezTo>
                      <a:close/>
                    </a:path>
                  </a:pathLst>
                </a:custGeom>
                <a:grpFill/>
                <a:ln w="9835" cap="flat">
                  <a:noFill/>
                  <a:prstDash val="solid"/>
                  <a:miter/>
                </a:ln>
              </p:spPr>
              <p:txBody>
                <a:bodyPr rtlCol="0" anchor="ctr"/>
                <a:lstStyle/>
                <a:p>
                  <a:endParaRPr lang="en-IN"/>
                </a:p>
              </p:txBody>
            </p:sp>
            <p:sp>
              <p:nvSpPr>
                <p:cNvPr id="760" name="Freeform: Shape 759">
                  <a:extLst>
                    <a:ext uri="{FF2B5EF4-FFF2-40B4-BE49-F238E27FC236}">
                      <a16:creationId xmlns:a16="http://schemas.microsoft.com/office/drawing/2014/main" id="{9FEF4478-8A9C-D78D-7312-B38D3365D4F3}"/>
                    </a:ext>
                  </a:extLst>
                </p:cNvPr>
                <p:cNvSpPr/>
                <p:nvPr/>
              </p:nvSpPr>
              <p:spPr>
                <a:xfrm>
                  <a:off x="10202235" y="439506"/>
                  <a:ext cx="27770" cy="19576"/>
                </a:xfrm>
                <a:custGeom>
                  <a:avLst/>
                  <a:gdLst>
                    <a:gd name="connsiteX0" fmla="*/ 1730 w 27770"/>
                    <a:gd name="connsiteY0" fmla="*/ 1168 h 19576"/>
                    <a:gd name="connsiteX1" fmla="*/ 13439 w 27770"/>
                    <a:gd name="connsiteY1" fmla="*/ 18093 h 19576"/>
                    <a:gd name="connsiteX2" fmla="*/ 27018 w 27770"/>
                    <a:gd name="connsiteY2" fmla="*/ 4711 h 19576"/>
                    <a:gd name="connsiteX3" fmla="*/ 1730 w 27770"/>
                    <a:gd name="connsiteY3" fmla="*/ 1168 h 19576"/>
                  </a:gdLst>
                  <a:ahLst/>
                  <a:cxnLst>
                    <a:cxn ang="0">
                      <a:pos x="connsiteX0" y="connsiteY0"/>
                    </a:cxn>
                    <a:cxn ang="0">
                      <a:pos x="connsiteX1" y="connsiteY1"/>
                    </a:cxn>
                    <a:cxn ang="0">
                      <a:pos x="connsiteX2" y="connsiteY2"/>
                    </a:cxn>
                    <a:cxn ang="0">
                      <a:pos x="connsiteX3" y="connsiteY3"/>
                    </a:cxn>
                  </a:cxnLst>
                  <a:rect l="l" t="t" r="r" b="b"/>
                  <a:pathLst>
                    <a:path w="27770" h="19576">
                      <a:moveTo>
                        <a:pt x="1730" y="1168"/>
                      </a:moveTo>
                      <a:cubicBezTo>
                        <a:pt x="-5748" y="1562"/>
                        <a:pt x="13439" y="18093"/>
                        <a:pt x="13439" y="18093"/>
                      </a:cubicBezTo>
                      <a:cubicBezTo>
                        <a:pt x="19638" y="24095"/>
                        <a:pt x="22984" y="10319"/>
                        <a:pt x="27018" y="4711"/>
                      </a:cubicBezTo>
                      <a:cubicBezTo>
                        <a:pt x="31544" y="-3456"/>
                        <a:pt x="14718" y="1562"/>
                        <a:pt x="1730" y="1168"/>
                      </a:cubicBezTo>
                      <a:close/>
                    </a:path>
                  </a:pathLst>
                </a:custGeom>
                <a:grpFill/>
                <a:ln w="9835" cap="flat">
                  <a:noFill/>
                  <a:prstDash val="solid"/>
                  <a:miter/>
                </a:ln>
              </p:spPr>
              <p:txBody>
                <a:bodyPr rtlCol="0" anchor="ctr"/>
                <a:lstStyle/>
                <a:p>
                  <a:endParaRPr lang="en-IN"/>
                </a:p>
              </p:txBody>
            </p:sp>
            <p:sp>
              <p:nvSpPr>
                <p:cNvPr id="761" name="Freeform: Shape 760">
                  <a:extLst>
                    <a:ext uri="{FF2B5EF4-FFF2-40B4-BE49-F238E27FC236}">
                      <a16:creationId xmlns:a16="http://schemas.microsoft.com/office/drawing/2014/main" id="{6894D8D0-A5F6-78BA-C538-494F98D39396}"/>
                    </a:ext>
                  </a:extLst>
                </p:cNvPr>
                <p:cNvSpPr/>
                <p:nvPr/>
              </p:nvSpPr>
              <p:spPr>
                <a:xfrm>
                  <a:off x="11656733" y="-56717"/>
                  <a:ext cx="69943" cy="20186"/>
                </a:xfrm>
                <a:custGeom>
                  <a:avLst/>
                  <a:gdLst>
                    <a:gd name="connsiteX0" fmla="*/ 2606 w 69943"/>
                    <a:gd name="connsiteY0" fmla="*/ 12202 h 20186"/>
                    <a:gd name="connsiteX1" fmla="*/ 65482 w 69943"/>
                    <a:gd name="connsiteY1" fmla="*/ 16039 h 20186"/>
                    <a:gd name="connsiteX2" fmla="*/ 66072 w 69943"/>
                    <a:gd name="connsiteY2" fmla="*/ 1 h 20186"/>
                    <a:gd name="connsiteX3" fmla="*/ 10281 w 69943"/>
                    <a:gd name="connsiteY3" fmla="*/ 3543 h 20186"/>
                    <a:gd name="connsiteX4" fmla="*/ 2606 w 69943"/>
                    <a:gd name="connsiteY4" fmla="*/ 12202 h 20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43" h="20186">
                      <a:moveTo>
                        <a:pt x="2606" y="12202"/>
                      </a:moveTo>
                      <a:cubicBezTo>
                        <a:pt x="60069" y="20664"/>
                        <a:pt x="62726" y="23124"/>
                        <a:pt x="65482" y="16039"/>
                      </a:cubicBezTo>
                      <a:cubicBezTo>
                        <a:pt x="66662" y="11119"/>
                        <a:pt x="74534" y="-98"/>
                        <a:pt x="66072" y="1"/>
                      </a:cubicBezTo>
                      <a:cubicBezTo>
                        <a:pt x="23171" y="591"/>
                        <a:pt x="17071" y="-491"/>
                        <a:pt x="10281" y="3543"/>
                      </a:cubicBezTo>
                      <a:cubicBezTo>
                        <a:pt x="7526" y="5609"/>
                        <a:pt x="-5462" y="11021"/>
                        <a:pt x="2606" y="12202"/>
                      </a:cubicBezTo>
                      <a:close/>
                    </a:path>
                  </a:pathLst>
                </a:custGeom>
                <a:grpFill/>
                <a:ln w="9835" cap="flat">
                  <a:noFill/>
                  <a:prstDash val="solid"/>
                  <a:miter/>
                </a:ln>
              </p:spPr>
              <p:txBody>
                <a:bodyPr rtlCol="0" anchor="ctr"/>
                <a:lstStyle/>
                <a:p>
                  <a:endParaRPr lang="en-IN"/>
                </a:p>
              </p:txBody>
            </p:sp>
            <p:sp>
              <p:nvSpPr>
                <p:cNvPr id="762" name="Freeform: Shape 761">
                  <a:extLst>
                    <a:ext uri="{FF2B5EF4-FFF2-40B4-BE49-F238E27FC236}">
                      <a16:creationId xmlns:a16="http://schemas.microsoft.com/office/drawing/2014/main" id="{F57C782F-A49B-6034-2C88-9F44E9BB4799}"/>
                    </a:ext>
                  </a:extLst>
                </p:cNvPr>
                <p:cNvSpPr/>
                <p:nvPr/>
              </p:nvSpPr>
              <p:spPr>
                <a:xfrm>
                  <a:off x="11962309" y="393673"/>
                  <a:ext cx="119046" cy="57249"/>
                </a:xfrm>
                <a:custGeom>
                  <a:avLst/>
                  <a:gdLst>
                    <a:gd name="connsiteX0" fmla="*/ 116001 w 119046"/>
                    <a:gd name="connsiteY0" fmla="*/ 10201 h 57249"/>
                    <a:gd name="connsiteX1" fmla="*/ 35316 w 119046"/>
                    <a:gd name="connsiteY1" fmla="*/ 66 h 57249"/>
                    <a:gd name="connsiteX2" fmla="*/ 27149 w 119046"/>
                    <a:gd name="connsiteY2" fmla="*/ 21319 h 57249"/>
                    <a:gd name="connsiteX3" fmla="*/ 386 w 119046"/>
                    <a:gd name="connsiteY3" fmla="*/ 24468 h 57249"/>
                    <a:gd name="connsiteX4" fmla="*/ 4813 w 119046"/>
                    <a:gd name="connsiteY4" fmla="*/ 35685 h 57249"/>
                    <a:gd name="connsiteX5" fmla="*/ 80381 w 119046"/>
                    <a:gd name="connsiteY5" fmla="*/ 57234 h 57249"/>
                    <a:gd name="connsiteX6" fmla="*/ 117968 w 119046"/>
                    <a:gd name="connsiteY6" fmla="*/ 15219 h 57249"/>
                    <a:gd name="connsiteX7" fmla="*/ 116099 w 119046"/>
                    <a:gd name="connsiteY7" fmla="*/ 10299 h 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46" h="57249">
                      <a:moveTo>
                        <a:pt x="116001" y="10201"/>
                      </a:moveTo>
                      <a:lnTo>
                        <a:pt x="35316" y="66"/>
                      </a:lnTo>
                      <a:cubicBezTo>
                        <a:pt x="23311" y="-1410"/>
                        <a:pt x="39055" y="22402"/>
                        <a:pt x="27149" y="21319"/>
                      </a:cubicBezTo>
                      <a:cubicBezTo>
                        <a:pt x="14456" y="21319"/>
                        <a:pt x="1271" y="15416"/>
                        <a:pt x="386" y="24468"/>
                      </a:cubicBezTo>
                      <a:cubicBezTo>
                        <a:pt x="483" y="25452"/>
                        <a:pt x="-2074" y="33619"/>
                        <a:pt x="4813" y="35685"/>
                      </a:cubicBezTo>
                      <a:cubicBezTo>
                        <a:pt x="4813" y="35685"/>
                        <a:pt x="78216" y="57923"/>
                        <a:pt x="80381" y="57234"/>
                      </a:cubicBezTo>
                      <a:cubicBezTo>
                        <a:pt x="82546" y="56545"/>
                        <a:pt x="117968" y="15219"/>
                        <a:pt x="117968" y="15219"/>
                      </a:cubicBezTo>
                      <a:cubicBezTo>
                        <a:pt x="119936" y="12857"/>
                        <a:pt x="119149" y="10693"/>
                        <a:pt x="116099" y="10299"/>
                      </a:cubicBezTo>
                      <a:close/>
                    </a:path>
                  </a:pathLst>
                </a:custGeom>
                <a:grpFill/>
                <a:ln w="9835" cap="flat">
                  <a:noFill/>
                  <a:prstDash val="solid"/>
                  <a:miter/>
                </a:ln>
              </p:spPr>
              <p:txBody>
                <a:bodyPr rtlCol="0" anchor="ctr"/>
                <a:lstStyle/>
                <a:p>
                  <a:endParaRPr lang="en-IN"/>
                </a:p>
              </p:txBody>
            </p:sp>
            <p:sp>
              <p:nvSpPr>
                <p:cNvPr id="763" name="Freeform: Shape 762">
                  <a:extLst>
                    <a:ext uri="{FF2B5EF4-FFF2-40B4-BE49-F238E27FC236}">
                      <a16:creationId xmlns:a16="http://schemas.microsoft.com/office/drawing/2014/main" id="{2D4E904C-74BB-B831-9AB5-3F4FA20F086B}"/>
                    </a:ext>
                  </a:extLst>
                </p:cNvPr>
                <p:cNvSpPr/>
                <p:nvPr/>
              </p:nvSpPr>
              <p:spPr>
                <a:xfrm>
                  <a:off x="11209552" y="-234693"/>
                  <a:ext cx="377087" cy="209775"/>
                </a:xfrm>
                <a:custGeom>
                  <a:avLst/>
                  <a:gdLst>
                    <a:gd name="connsiteX0" fmla="*/ 333680 w 377087"/>
                    <a:gd name="connsiteY0" fmla="*/ 89224 h 209775"/>
                    <a:gd name="connsiteX1" fmla="*/ 291468 w 377087"/>
                    <a:gd name="connsiteY1" fmla="*/ 50456 h 209775"/>
                    <a:gd name="connsiteX2" fmla="*/ 268247 w 377087"/>
                    <a:gd name="connsiteY2" fmla="*/ 38550 h 209775"/>
                    <a:gd name="connsiteX3" fmla="*/ 238138 w 377087"/>
                    <a:gd name="connsiteY3" fmla="*/ 54195 h 209775"/>
                    <a:gd name="connsiteX4" fmla="*/ 209603 w 377087"/>
                    <a:gd name="connsiteY4" fmla="*/ 55375 h 209775"/>
                    <a:gd name="connsiteX5" fmla="*/ 206454 w 377087"/>
                    <a:gd name="connsiteY5" fmla="*/ 49865 h 209775"/>
                    <a:gd name="connsiteX6" fmla="*/ 220131 w 377087"/>
                    <a:gd name="connsiteY6" fmla="*/ 20642 h 209775"/>
                    <a:gd name="connsiteX7" fmla="*/ 217376 w 377087"/>
                    <a:gd name="connsiteY7" fmla="*/ 13459 h 209775"/>
                    <a:gd name="connsiteX8" fmla="*/ 187070 w 377087"/>
                    <a:gd name="connsiteY8" fmla="*/ 569 h 209775"/>
                    <a:gd name="connsiteX9" fmla="*/ 169654 w 377087"/>
                    <a:gd name="connsiteY9" fmla="*/ 22905 h 209775"/>
                    <a:gd name="connsiteX10" fmla="*/ 140234 w 377087"/>
                    <a:gd name="connsiteY10" fmla="*/ 16214 h 209775"/>
                    <a:gd name="connsiteX11" fmla="*/ 100482 w 377087"/>
                    <a:gd name="connsiteY11" fmla="*/ 65313 h 209775"/>
                    <a:gd name="connsiteX12" fmla="*/ 107960 w 377087"/>
                    <a:gd name="connsiteY12" fmla="*/ 90503 h 209775"/>
                    <a:gd name="connsiteX13" fmla="*/ 74308 w 377087"/>
                    <a:gd name="connsiteY13" fmla="*/ 93356 h 209775"/>
                    <a:gd name="connsiteX14" fmla="*/ 47348 w 377087"/>
                    <a:gd name="connsiteY14" fmla="*/ 139504 h 209775"/>
                    <a:gd name="connsiteX15" fmla="*/ 1397 w 377087"/>
                    <a:gd name="connsiteY15" fmla="*/ 188702 h 209775"/>
                    <a:gd name="connsiteX16" fmla="*/ 2282 w 377087"/>
                    <a:gd name="connsiteY16" fmla="*/ 195491 h 209775"/>
                    <a:gd name="connsiteX17" fmla="*/ 23438 w 377087"/>
                    <a:gd name="connsiteY17" fmla="*/ 208184 h 209775"/>
                    <a:gd name="connsiteX18" fmla="*/ 114159 w 377087"/>
                    <a:gd name="connsiteY18" fmla="*/ 173942 h 209775"/>
                    <a:gd name="connsiteX19" fmla="*/ 204781 w 377087"/>
                    <a:gd name="connsiteY19" fmla="*/ 179846 h 209775"/>
                    <a:gd name="connsiteX20" fmla="*/ 343815 w 377087"/>
                    <a:gd name="connsiteY20" fmla="*/ 155542 h 209775"/>
                    <a:gd name="connsiteX21" fmla="*/ 375105 w 377087"/>
                    <a:gd name="connsiteY21" fmla="*/ 125532 h 209775"/>
                    <a:gd name="connsiteX22" fmla="*/ 360542 w 377087"/>
                    <a:gd name="connsiteY22" fmla="*/ 88141 h 209775"/>
                    <a:gd name="connsiteX23" fmla="*/ 333779 w 377087"/>
                    <a:gd name="connsiteY23" fmla="*/ 89322 h 20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77087" h="209775">
                      <a:moveTo>
                        <a:pt x="333680" y="89224"/>
                      </a:moveTo>
                      <a:cubicBezTo>
                        <a:pt x="326497" y="90995"/>
                        <a:pt x="325808" y="87846"/>
                        <a:pt x="291468" y="50456"/>
                      </a:cubicBezTo>
                      <a:cubicBezTo>
                        <a:pt x="286450" y="44945"/>
                        <a:pt x="277890" y="42387"/>
                        <a:pt x="268247" y="38550"/>
                      </a:cubicBezTo>
                      <a:cubicBezTo>
                        <a:pt x="261556" y="35893"/>
                        <a:pt x="258801" y="39534"/>
                        <a:pt x="238138" y="54195"/>
                      </a:cubicBezTo>
                      <a:cubicBezTo>
                        <a:pt x="232136" y="58426"/>
                        <a:pt x="224657" y="56654"/>
                        <a:pt x="209603" y="55375"/>
                      </a:cubicBezTo>
                      <a:cubicBezTo>
                        <a:pt x="206553" y="55080"/>
                        <a:pt x="205077" y="52620"/>
                        <a:pt x="206454" y="49865"/>
                      </a:cubicBezTo>
                      <a:lnTo>
                        <a:pt x="220131" y="20642"/>
                      </a:lnTo>
                      <a:cubicBezTo>
                        <a:pt x="221410" y="17886"/>
                        <a:pt x="220131" y="14639"/>
                        <a:pt x="217376" y="13459"/>
                      </a:cubicBezTo>
                      <a:lnTo>
                        <a:pt x="187070" y="569"/>
                      </a:lnTo>
                      <a:cubicBezTo>
                        <a:pt x="178706" y="-2973"/>
                        <a:pt x="177230" y="10704"/>
                        <a:pt x="169654" y="22905"/>
                      </a:cubicBezTo>
                      <a:cubicBezTo>
                        <a:pt x="164045" y="34122"/>
                        <a:pt x="148204" y="6374"/>
                        <a:pt x="140234" y="16214"/>
                      </a:cubicBezTo>
                      <a:lnTo>
                        <a:pt x="100482" y="65313"/>
                      </a:lnTo>
                      <a:cubicBezTo>
                        <a:pt x="94873" y="72201"/>
                        <a:pt x="103827" y="80466"/>
                        <a:pt x="107960" y="90503"/>
                      </a:cubicBezTo>
                      <a:cubicBezTo>
                        <a:pt x="112388" y="98866"/>
                        <a:pt x="96152" y="93258"/>
                        <a:pt x="74308" y="93356"/>
                      </a:cubicBezTo>
                      <a:cubicBezTo>
                        <a:pt x="62403" y="92667"/>
                        <a:pt x="64862" y="92766"/>
                        <a:pt x="47348" y="139504"/>
                      </a:cubicBezTo>
                      <a:cubicBezTo>
                        <a:pt x="44593" y="146785"/>
                        <a:pt x="43117" y="146785"/>
                        <a:pt x="1397" y="188702"/>
                      </a:cubicBezTo>
                      <a:cubicBezTo>
                        <a:pt x="-768" y="190867"/>
                        <a:pt x="-374" y="193917"/>
                        <a:pt x="2282" y="195491"/>
                      </a:cubicBezTo>
                      <a:lnTo>
                        <a:pt x="23438" y="208184"/>
                      </a:lnTo>
                      <a:cubicBezTo>
                        <a:pt x="29932" y="212120"/>
                        <a:pt x="27472" y="211431"/>
                        <a:pt x="114159" y="173942"/>
                      </a:cubicBezTo>
                      <a:cubicBezTo>
                        <a:pt x="121342" y="170794"/>
                        <a:pt x="121243" y="171975"/>
                        <a:pt x="204781" y="179846"/>
                      </a:cubicBezTo>
                      <a:cubicBezTo>
                        <a:pt x="212456" y="180535"/>
                        <a:pt x="208028" y="180830"/>
                        <a:pt x="343815" y="155542"/>
                      </a:cubicBezTo>
                      <a:cubicBezTo>
                        <a:pt x="350899" y="154263"/>
                        <a:pt x="352572" y="150918"/>
                        <a:pt x="375105" y="125532"/>
                      </a:cubicBezTo>
                      <a:cubicBezTo>
                        <a:pt x="379926" y="120120"/>
                        <a:pt x="376286" y="116774"/>
                        <a:pt x="360542" y="88141"/>
                      </a:cubicBezTo>
                      <a:cubicBezTo>
                        <a:pt x="356213" y="80270"/>
                        <a:pt x="345192" y="87551"/>
                        <a:pt x="333779" y="89322"/>
                      </a:cubicBezTo>
                      <a:close/>
                    </a:path>
                  </a:pathLst>
                </a:custGeom>
                <a:grpFill/>
                <a:ln w="9835" cap="flat">
                  <a:noFill/>
                  <a:prstDash val="solid"/>
                  <a:miter/>
                </a:ln>
              </p:spPr>
              <p:txBody>
                <a:bodyPr rtlCol="0" anchor="ctr"/>
                <a:lstStyle/>
                <a:p>
                  <a:endParaRPr lang="en-IN"/>
                </a:p>
              </p:txBody>
            </p:sp>
            <p:sp>
              <p:nvSpPr>
                <p:cNvPr id="764" name="Freeform: Shape 763">
                  <a:extLst>
                    <a:ext uri="{FF2B5EF4-FFF2-40B4-BE49-F238E27FC236}">
                      <a16:creationId xmlns:a16="http://schemas.microsoft.com/office/drawing/2014/main" id="{5FC6D115-F3E2-189C-5841-BA9E0DC9099B}"/>
                    </a:ext>
                  </a:extLst>
                </p:cNvPr>
                <p:cNvSpPr/>
                <p:nvPr/>
              </p:nvSpPr>
              <p:spPr>
                <a:xfrm>
                  <a:off x="10853008" y="-336599"/>
                  <a:ext cx="393324" cy="190949"/>
                </a:xfrm>
                <a:custGeom>
                  <a:avLst/>
                  <a:gdLst>
                    <a:gd name="connsiteX0" fmla="*/ 389034 w 393324"/>
                    <a:gd name="connsiteY0" fmla="*/ 167810 h 190949"/>
                    <a:gd name="connsiteX1" fmla="*/ 389034 w 393324"/>
                    <a:gd name="connsiteY1" fmla="*/ 160627 h 190949"/>
                    <a:gd name="connsiteX2" fmla="*/ 349578 w 393324"/>
                    <a:gd name="connsiteY2" fmla="*/ 127271 h 190949"/>
                    <a:gd name="connsiteX3" fmla="*/ 350857 w 393324"/>
                    <a:gd name="connsiteY3" fmla="*/ 122941 h 190949"/>
                    <a:gd name="connsiteX4" fmla="*/ 381950 w 393324"/>
                    <a:gd name="connsiteY4" fmla="*/ 113298 h 190949"/>
                    <a:gd name="connsiteX5" fmla="*/ 389822 w 393324"/>
                    <a:gd name="connsiteY5" fmla="*/ 40682 h 190949"/>
                    <a:gd name="connsiteX6" fmla="*/ 345839 w 393324"/>
                    <a:gd name="connsiteY6" fmla="*/ 15788 h 190949"/>
                    <a:gd name="connsiteX7" fmla="*/ 308054 w 393324"/>
                    <a:gd name="connsiteY7" fmla="*/ 22774 h 190949"/>
                    <a:gd name="connsiteX8" fmla="*/ 289261 w 393324"/>
                    <a:gd name="connsiteY8" fmla="*/ 45897 h 190949"/>
                    <a:gd name="connsiteX9" fmla="*/ 254921 w 393324"/>
                    <a:gd name="connsiteY9" fmla="*/ 44028 h 190949"/>
                    <a:gd name="connsiteX10" fmla="*/ 259053 w 393324"/>
                    <a:gd name="connsiteY10" fmla="*/ 16772 h 190949"/>
                    <a:gd name="connsiteX11" fmla="*/ 216743 w 393324"/>
                    <a:gd name="connsiteY11" fmla="*/ 143 h 190949"/>
                    <a:gd name="connsiteX12" fmla="*/ 49470 w 393324"/>
                    <a:gd name="connsiteY12" fmla="*/ 22085 h 190949"/>
                    <a:gd name="connsiteX13" fmla="*/ 52225 w 393324"/>
                    <a:gd name="connsiteY13" fmla="*/ 46979 h 190949"/>
                    <a:gd name="connsiteX14" fmla="*/ 2141 w 393324"/>
                    <a:gd name="connsiteY14" fmla="*/ 70890 h 190949"/>
                    <a:gd name="connsiteX15" fmla="*/ 42878 w 393324"/>
                    <a:gd name="connsiteY15" fmla="*/ 98342 h 190949"/>
                    <a:gd name="connsiteX16" fmla="*/ 43271 w 393324"/>
                    <a:gd name="connsiteY16" fmla="*/ 121170 h 190949"/>
                    <a:gd name="connsiteX17" fmla="*/ 84007 w 393324"/>
                    <a:gd name="connsiteY17" fmla="*/ 152165 h 190949"/>
                    <a:gd name="connsiteX18" fmla="*/ 197261 w 393324"/>
                    <a:gd name="connsiteY18" fmla="*/ 160135 h 190949"/>
                    <a:gd name="connsiteX19" fmla="*/ 240752 w 393324"/>
                    <a:gd name="connsiteY19" fmla="*/ 188768 h 190949"/>
                    <a:gd name="connsiteX20" fmla="*/ 355678 w 393324"/>
                    <a:gd name="connsiteY20" fmla="*/ 190933 h 190949"/>
                    <a:gd name="connsiteX21" fmla="*/ 365518 w 393324"/>
                    <a:gd name="connsiteY21" fmla="*/ 187587 h 190949"/>
                    <a:gd name="connsiteX22" fmla="*/ 388936 w 393324"/>
                    <a:gd name="connsiteY22" fmla="*/ 167711 h 190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324" h="190949">
                      <a:moveTo>
                        <a:pt x="389034" y="167810"/>
                      </a:moveTo>
                      <a:cubicBezTo>
                        <a:pt x="391396" y="165842"/>
                        <a:pt x="391396" y="162595"/>
                        <a:pt x="389034" y="160627"/>
                      </a:cubicBezTo>
                      <a:lnTo>
                        <a:pt x="349578" y="127271"/>
                      </a:lnTo>
                      <a:cubicBezTo>
                        <a:pt x="347216" y="125303"/>
                        <a:pt x="347807" y="123335"/>
                        <a:pt x="350857" y="122941"/>
                      </a:cubicBezTo>
                      <a:cubicBezTo>
                        <a:pt x="374177" y="119694"/>
                        <a:pt x="380671" y="120580"/>
                        <a:pt x="381950" y="113298"/>
                      </a:cubicBezTo>
                      <a:cubicBezTo>
                        <a:pt x="394348" y="45012"/>
                        <a:pt x="396021" y="44716"/>
                        <a:pt x="389822" y="40682"/>
                      </a:cubicBezTo>
                      <a:cubicBezTo>
                        <a:pt x="354596" y="17559"/>
                        <a:pt x="353022" y="15394"/>
                        <a:pt x="345839" y="15788"/>
                      </a:cubicBezTo>
                      <a:cubicBezTo>
                        <a:pt x="317107" y="17461"/>
                        <a:pt x="311695" y="16378"/>
                        <a:pt x="308054" y="22774"/>
                      </a:cubicBezTo>
                      <a:cubicBezTo>
                        <a:pt x="298018" y="40485"/>
                        <a:pt x="296444" y="46291"/>
                        <a:pt x="289261" y="45897"/>
                      </a:cubicBezTo>
                      <a:lnTo>
                        <a:pt x="254921" y="44028"/>
                      </a:lnTo>
                      <a:cubicBezTo>
                        <a:pt x="242031" y="43339"/>
                        <a:pt x="270270" y="22085"/>
                        <a:pt x="259053" y="16772"/>
                      </a:cubicBezTo>
                      <a:cubicBezTo>
                        <a:pt x="228157" y="2209"/>
                        <a:pt x="224221" y="-743"/>
                        <a:pt x="216743" y="143"/>
                      </a:cubicBezTo>
                      <a:lnTo>
                        <a:pt x="49470" y="22085"/>
                      </a:lnTo>
                      <a:cubicBezTo>
                        <a:pt x="36974" y="23758"/>
                        <a:pt x="63737" y="42453"/>
                        <a:pt x="52225" y="46979"/>
                      </a:cubicBezTo>
                      <a:cubicBezTo>
                        <a:pt x="3617" y="65872"/>
                        <a:pt x="-4845" y="67249"/>
                        <a:pt x="2141" y="70890"/>
                      </a:cubicBezTo>
                      <a:cubicBezTo>
                        <a:pt x="39630" y="90569"/>
                        <a:pt x="44353" y="91061"/>
                        <a:pt x="42878" y="98342"/>
                      </a:cubicBezTo>
                      <a:cubicBezTo>
                        <a:pt x="42189" y="105624"/>
                        <a:pt x="36777" y="115463"/>
                        <a:pt x="43271" y="121170"/>
                      </a:cubicBezTo>
                      <a:cubicBezTo>
                        <a:pt x="75348" y="149311"/>
                        <a:pt x="76725" y="151870"/>
                        <a:pt x="84007" y="152165"/>
                      </a:cubicBezTo>
                      <a:cubicBezTo>
                        <a:pt x="190865" y="156888"/>
                        <a:pt x="190767" y="155313"/>
                        <a:pt x="197261" y="160135"/>
                      </a:cubicBezTo>
                      <a:cubicBezTo>
                        <a:pt x="197261" y="160135"/>
                        <a:pt x="240752" y="192507"/>
                        <a:pt x="240752" y="188768"/>
                      </a:cubicBezTo>
                      <a:cubicBezTo>
                        <a:pt x="240752" y="185029"/>
                        <a:pt x="355678" y="190933"/>
                        <a:pt x="355678" y="190933"/>
                      </a:cubicBezTo>
                      <a:cubicBezTo>
                        <a:pt x="358728" y="191130"/>
                        <a:pt x="363156" y="189555"/>
                        <a:pt x="365518" y="187587"/>
                      </a:cubicBezTo>
                      <a:lnTo>
                        <a:pt x="388936" y="167711"/>
                      </a:lnTo>
                      <a:close/>
                    </a:path>
                  </a:pathLst>
                </a:custGeom>
                <a:grpFill/>
                <a:ln w="9835" cap="flat">
                  <a:noFill/>
                  <a:prstDash val="solid"/>
                  <a:miter/>
                </a:ln>
              </p:spPr>
              <p:txBody>
                <a:bodyPr rtlCol="0" anchor="ctr"/>
                <a:lstStyle/>
                <a:p>
                  <a:endParaRPr lang="en-IN"/>
                </a:p>
              </p:txBody>
            </p:sp>
            <p:sp>
              <p:nvSpPr>
                <p:cNvPr id="765" name="Freeform: Shape 764">
                  <a:extLst>
                    <a:ext uri="{FF2B5EF4-FFF2-40B4-BE49-F238E27FC236}">
                      <a16:creationId xmlns:a16="http://schemas.microsoft.com/office/drawing/2014/main" id="{2654EC27-7FA8-02A8-A7F5-EEC4196470DD}"/>
                    </a:ext>
                  </a:extLst>
                </p:cNvPr>
                <p:cNvSpPr/>
                <p:nvPr/>
              </p:nvSpPr>
              <p:spPr>
                <a:xfrm>
                  <a:off x="10698715" y="-323584"/>
                  <a:ext cx="155854" cy="49862"/>
                </a:xfrm>
                <a:custGeom>
                  <a:avLst/>
                  <a:gdLst>
                    <a:gd name="connsiteX0" fmla="*/ 153679 w 155854"/>
                    <a:gd name="connsiteY0" fmla="*/ 18024 h 49862"/>
                    <a:gd name="connsiteX1" fmla="*/ 108319 w 155854"/>
                    <a:gd name="connsiteY1" fmla="*/ 706 h 49862"/>
                    <a:gd name="connsiteX2" fmla="*/ 14351 w 155854"/>
                    <a:gd name="connsiteY2" fmla="*/ 4150 h 49862"/>
                    <a:gd name="connsiteX3" fmla="*/ 477 w 155854"/>
                    <a:gd name="connsiteY3" fmla="*/ 22353 h 49862"/>
                    <a:gd name="connsiteX4" fmla="*/ 3625 w 155854"/>
                    <a:gd name="connsiteY4" fmla="*/ 28060 h 49862"/>
                    <a:gd name="connsiteX5" fmla="*/ 60597 w 155854"/>
                    <a:gd name="connsiteY5" fmla="*/ 34948 h 49862"/>
                    <a:gd name="connsiteX6" fmla="*/ 63450 w 155854"/>
                    <a:gd name="connsiteY6" fmla="*/ 49805 h 49862"/>
                    <a:gd name="connsiteX7" fmla="*/ 117076 w 155854"/>
                    <a:gd name="connsiteY7" fmla="*/ 44394 h 49862"/>
                    <a:gd name="connsiteX8" fmla="*/ 154073 w 155854"/>
                    <a:gd name="connsiteY8" fmla="*/ 23140 h 49862"/>
                    <a:gd name="connsiteX9" fmla="*/ 153483 w 155854"/>
                    <a:gd name="connsiteY9" fmla="*/ 18122 h 4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854" h="49862">
                      <a:moveTo>
                        <a:pt x="153679" y="18024"/>
                      </a:moveTo>
                      <a:lnTo>
                        <a:pt x="108319" y="706"/>
                      </a:lnTo>
                      <a:cubicBezTo>
                        <a:pt x="101037" y="-2049"/>
                        <a:pt x="14351" y="4150"/>
                        <a:pt x="14351" y="4150"/>
                      </a:cubicBezTo>
                      <a:cubicBezTo>
                        <a:pt x="5692" y="4642"/>
                        <a:pt x="4412" y="15859"/>
                        <a:pt x="477" y="22353"/>
                      </a:cubicBezTo>
                      <a:cubicBezTo>
                        <a:pt x="-803" y="25108"/>
                        <a:pt x="575" y="27666"/>
                        <a:pt x="3625" y="28060"/>
                      </a:cubicBezTo>
                      <a:lnTo>
                        <a:pt x="60597" y="34948"/>
                      </a:lnTo>
                      <a:cubicBezTo>
                        <a:pt x="71223" y="36227"/>
                        <a:pt x="52528" y="50888"/>
                        <a:pt x="63450" y="49805"/>
                      </a:cubicBezTo>
                      <a:lnTo>
                        <a:pt x="117076" y="44394"/>
                      </a:lnTo>
                      <a:cubicBezTo>
                        <a:pt x="125046" y="43606"/>
                        <a:pt x="131343" y="38096"/>
                        <a:pt x="154073" y="23140"/>
                      </a:cubicBezTo>
                      <a:cubicBezTo>
                        <a:pt x="156631" y="21467"/>
                        <a:pt x="156434" y="19204"/>
                        <a:pt x="153483" y="18122"/>
                      </a:cubicBezTo>
                      <a:close/>
                    </a:path>
                  </a:pathLst>
                </a:custGeom>
                <a:grpFill/>
                <a:ln w="9835" cap="flat">
                  <a:noFill/>
                  <a:prstDash val="solid"/>
                  <a:miter/>
                </a:ln>
              </p:spPr>
              <p:txBody>
                <a:bodyPr rtlCol="0" anchor="ctr"/>
                <a:lstStyle/>
                <a:p>
                  <a:endParaRPr lang="en-IN"/>
                </a:p>
              </p:txBody>
            </p:sp>
            <p:sp>
              <p:nvSpPr>
                <p:cNvPr id="766" name="Freeform: Shape 765">
                  <a:extLst>
                    <a:ext uri="{FF2B5EF4-FFF2-40B4-BE49-F238E27FC236}">
                      <a16:creationId xmlns:a16="http://schemas.microsoft.com/office/drawing/2014/main" id="{4ABC0EC7-1A8E-E1B4-1121-22B365C6425D}"/>
                    </a:ext>
                  </a:extLst>
                </p:cNvPr>
                <p:cNvSpPr/>
                <p:nvPr/>
              </p:nvSpPr>
              <p:spPr>
                <a:xfrm>
                  <a:off x="10618377" y="-497554"/>
                  <a:ext cx="78945" cy="27945"/>
                </a:xfrm>
                <a:custGeom>
                  <a:avLst/>
                  <a:gdLst>
                    <a:gd name="connsiteX0" fmla="*/ 78552 w 78945"/>
                    <a:gd name="connsiteY0" fmla="*/ 23540 h 27945"/>
                    <a:gd name="connsiteX1" fmla="*/ 67925 w 78945"/>
                    <a:gd name="connsiteY1" fmla="*/ 8683 h 27945"/>
                    <a:gd name="connsiteX2" fmla="*/ 26500 w 78945"/>
                    <a:gd name="connsiteY2" fmla="*/ 614 h 27945"/>
                    <a:gd name="connsiteX3" fmla="*/ 2492 w 78945"/>
                    <a:gd name="connsiteY3" fmla="*/ 17243 h 27945"/>
                    <a:gd name="connsiteX4" fmla="*/ 75108 w 78945"/>
                    <a:gd name="connsiteY4" fmla="*/ 27870 h 27945"/>
                    <a:gd name="connsiteX5" fmla="*/ 78552 w 78945"/>
                    <a:gd name="connsiteY5" fmla="*/ 23540 h 2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45" h="27945">
                      <a:moveTo>
                        <a:pt x="78552" y="23540"/>
                      </a:moveTo>
                      <a:cubicBezTo>
                        <a:pt x="76682" y="20195"/>
                        <a:pt x="75600" y="10946"/>
                        <a:pt x="67925" y="8683"/>
                      </a:cubicBezTo>
                      <a:cubicBezTo>
                        <a:pt x="67925" y="8683"/>
                        <a:pt x="32699" y="-2731"/>
                        <a:pt x="26500" y="614"/>
                      </a:cubicBezTo>
                      <a:cubicBezTo>
                        <a:pt x="5444" y="11831"/>
                        <a:pt x="-5183" y="16062"/>
                        <a:pt x="2492" y="17243"/>
                      </a:cubicBezTo>
                      <a:lnTo>
                        <a:pt x="75108" y="27870"/>
                      </a:lnTo>
                      <a:cubicBezTo>
                        <a:pt x="78158" y="28362"/>
                        <a:pt x="79733" y="26394"/>
                        <a:pt x="78552" y="23540"/>
                      </a:cubicBezTo>
                      <a:close/>
                    </a:path>
                  </a:pathLst>
                </a:custGeom>
                <a:grpFill/>
                <a:ln w="9835" cap="flat">
                  <a:noFill/>
                  <a:prstDash val="solid"/>
                  <a:miter/>
                </a:ln>
              </p:spPr>
              <p:txBody>
                <a:bodyPr rtlCol="0" anchor="ctr"/>
                <a:lstStyle/>
                <a:p>
                  <a:endParaRPr lang="en-IN"/>
                </a:p>
              </p:txBody>
            </p:sp>
            <p:sp>
              <p:nvSpPr>
                <p:cNvPr id="767" name="Freeform: Shape 766">
                  <a:extLst>
                    <a:ext uri="{FF2B5EF4-FFF2-40B4-BE49-F238E27FC236}">
                      <a16:creationId xmlns:a16="http://schemas.microsoft.com/office/drawing/2014/main" id="{51A641E7-40FB-680E-2B9E-22D858A30C2E}"/>
                    </a:ext>
                  </a:extLst>
                </p:cNvPr>
                <p:cNvSpPr/>
                <p:nvPr/>
              </p:nvSpPr>
              <p:spPr>
                <a:xfrm>
                  <a:off x="9947515" y="379863"/>
                  <a:ext cx="32087" cy="26422"/>
                </a:xfrm>
                <a:custGeom>
                  <a:avLst/>
                  <a:gdLst>
                    <a:gd name="connsiteX0" fmla="*/ 27778 w 32087"/>
                    <a:gd name="connsiteY0" fmla="*/ 2363 h 26422"/>
                    <a:gd name="connsiteX1" fmla="*/ 9673 w 32087"/>
                    <a:gd name="connsiteY1" fmla="*/ 2855 h 26422"/>
                    <a:gd name="connsiteX2" fmla="*/ 2687 w 32087"/>
                    <a:gd name="connsiteY2" fmla="*/ 18008 h 26422"/>
                    <a:gd name="connsiteX3" fmla="*/ 29352 w 32087"/>
                    <a:gd name="connsiteY3" fmla="*/ 22731 h 26422"/>
                    <a:gd name="connsiteX4" fmla="*/ 27778 w 32087"/>
                    <a:gd name="connsiteY4" fmla="*/ 2265 h 26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87" h="26422">
                      <a:moveTo>
                        <a:pt x="27778" y="2363"/>
                      </a:moveTo>
                      <a:cubicBezTo>
                        <a:pt x="23842" y="1970"/>
                        <a:pt x="15183" y="-3048"/>
                        <a:pt x="9673" y="2855"/>
                      </a:cubicBezTo>
                      <a:cubicBezTo>
                        <a:pt x="6426" y="7480"/>
                        <a:pt x="-5185" y="14958"/>
                        <a:pt x="2687" y="18008"/>
                      </a:cubicBezTo>
                      <a:cubicBezTo>
                        <a:pt x="16364" y="22043"/>
                        <a:pt x="27581" y="31685"/>
                        <a:pt x="29352" y="22731"/>
                      </a:cubicBezTo>
                      <a:cubicBezTo>
                        <a:pt x="29844" y="15548"/>
                        <a:pt x="36141" y="4331"/>
                        <a:pt x="27778" y="2265"/>
                      </a:cubicBezTo>
                      <a:close/>
                    </a:path>
                  </a:pathLst>
                </a:custGeom>
                <a:grpFill/>
                <a:ln w="9835" cap="flat">
                  <a:noFill/>
                  <a:prstDash val="solid"/>
                  <a:miter/>
                </a:ln>
              </p:spPr>
              <p:txBody>
                <a:bodyPr rtlCol="0" anchor="ctr"/>
                <a:lstStyle/>
                <a:p>
                  <a:endParaRPr lang="en-IN"/>
                </a:p>
              </p:txBody>
            </p:sp>
            <p:sp>
              <p:nvSpPr>
                <p:cNvPr id="768" name="Freeform: Shape 767">
                  <a:extLst>
                    <a:ext uri="{FF2B5EF4-FFF2-40B4-BE49-F238E27FC236}">
                      <a16:creationId xmlns:a16="http://schemas.microsoft.com/office/drawing/2014/main" id="{EF877E76-519F-335D-D469-C72619721193}"/>
                    </a:ext>
                  </a:extLst>
                </p:cNvPr>
                <p:cNvSpPr/>
                <p:nvPr/>
              </p:nvSpPr>
              <p:spPr>
                <a:xfrm>
                  <a:off x="10103451" y="274774"/>
                  <a:ext cx="50379" cy="51916"/>
                </a:xfrm>
                <a:custGeom>
                  <a:avLst/>
                  <a:gdLst>
                    <a:gd name="connsiteX0" fmla="*/ 49742 w 50379"/>
                    <a:gd name="connsiteY0" fmla="*/ 19979 h 51916"/>
                    <a:gd name="connsiteX1" fmla="*/ 36557 w 50379"/>
                    <a:gd name="connsiteY1" fmla="*/ 1185 h 51916"/>
                    <a:gd name="connsiteX2" fmla="*/ 15992 w 50379"/>
                    <a:gd name="connsiteY2" fmla="*/ 3251 h 51916"/>
                    <a:gd name="connsiteX3" fmla="*/ 1626 w 50379"/>
                    <a:gd name="connsiteY3" fmla="*/ 25587 h 51916"/>
                    <a:gd name="connsiteX4" fmla="*/ 24848 w 50379"/>
                    <a:gd name="connsiteY4" fmla="*/ 50580 h 51916"/>
                    <a:gd name="connsiteX5" fmla="*/ 29275 w 50379"/>
                    <a:gd name="connsiteY5" fmla="*/ 49104 h 51916"/>
                    <a:gd name="connsiteX6" fmla="*/ 36262 w 50379"/>
                    <a:gd name="connsiteY6" fmla="*/ 31589 h 51916"/>
                    <a:gd name="connsiteX7" fmla="*/ 49840 w 50379"/>
                    <a:gd name="connsiteY7" fmla="*/ 19979 h 51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79" h="51916">
                      <a:moveTo>
                        <a:pt x="49742" y="19979"/>
                      </a:moveTo>
                      <a:cubicBezTo>
                        <a:pt x="46101" y="13386"/>
                        <a:pt x="45117" y="2071"/>
                        <a:pt x="36557" y="1185"/>
                      </a:cubicBezTo>
                      <a:cubicBezTo>
                        <a:pt x="36557" y="1185"/>
                        <a:pt x="21896" y="-2554"/>
                        <a:pt x="15992" y="3251"/>
                      </a:cubicBezTo>
                      <a:cubicBezTo>
                        <a:pt x="8416" y="12501"/>
                        <a:pt x="-4572" y="18798"/>
                        <a:pt x="1626" y="25587"/>
                      </a:cubicBezTo>
                      <a:lnTo>
                        <a:pt x="24848" y="50580"/>
                      </a:lnTo>
                      <a:cubicBezTo>
                        <a:pt x="26914" y="52843"/>
                        <a:pt x="28980" y="52154"/>
                        <a:pt x="29275" y="49104"/>
                      </a:cubicBezTo>
                      <a:cubicBezTo>
                        <a:pt x="30456" y="44578"/>
                        <a:pt x="28685" y="34738"/>
                        <a:pt x="36262" y="31589"/>
                      </a:cubicBezTo>
                      <a:cubicBezTo>
                        <a:pt x="40788" y="28933"/>
                        <a:pt x="53087" y="27654"/>
                        <a:pt x="49840" y="19979"/>
                      </a:cubicBezTo>
                      <a:close/>
                    </a:path>
                  </a:pathLst>
                </a:custGeom>
                <a:grpFill/>
                <a:ln w="9835" cap="flat">
                  <a:noFill/>
                  <a:prstDash val="solid"/>
                  <a:miter/>
                </a:ln>
              </p:spPr>
              <p:txBody>
                <a:bodyPr rtlCol="0" anchor="ctr"/>
                <a:lstStyle/>
                <a:p>
                  <a:endParaRPr lang="en-IN"/>
                </a:p>
              </p:txBody>
            </p:sp>
            <p:sp>
              <p:nvSpPr>
                <p:cNvPr id="769" name="Freeform: Shape 768">
                  <a:extLst>
                    <a:ext uri="{FF2B5EF4-FFF2-40B4-BE49-F238E27FC236}">
                      <a16:creationId xmlns:a16="http://schemas.microsoft.com/office/drawing/2014/main" id="{291C8ED3-07D4-9918-1F7C-485C8FC1ABD9}"/>
                    </a:ext>
                  </a:extLst>
                </p:cNvPr>
                <p:cNvSpPr/>
                <p:nvPr/>
              </p:nvSpPr>
              <p:spPr>
                <a:xfrm>
                  <a:off x="10693596" y="-282298"/>
                  <a:ext cx="41886" cy="16632"/>
                </a:xfrm>
                <a:custGeom>
                  <a:avLst/>
                  <a:gdLst>
                    <a:gd name="connsiteX0" fmla="*/ 37574 w 41886"/>
                    <a:gd name="connsiteY0" fmla="*/ 3403 h 16632"/>
                    <a:gd name="connsiteX1" fmla="*/ 2644 w 41886"/>
                    <a:gd name="connsiteY1" fmla="*/ 3108 h 16632"/>
                    <a:gd name="connsiteX2" fmla="*/ 1266 w 41886"/>
                    <a:gd name="connsiteY2" fmla="*/ 4486 h 16632"/>
                    <a:gd name="connsiteX3" fmla="*/ 2742 w 41886"/>
                    <a:gd name="connsiteY3" fmla="*/ 9602 h 16632"/>
                    <a:gd name="connsiteX4" fmla="*/ 34032 w 41886"/>
                    <a:gd name="connsiteY4" fmla="*/ 16490 h 16632"/>
                    <a:gd name="connsiteX5" fmla="*/ 40919 w 41886"/>
                    <a:gd name="connsiteY5" fmla="*/ 12259 h 16632"/>
                    <a:gd name="connsiteX6" fmla="*/ 41707 w 41886"/>
                    <a:gd name="connsiteY6" fmla="*/ 9504 h 16632"/>
                    <a:gd name="connsiteX7" fmla="*/ 37574 w 41886"/>
                    <a:gd name="connsiteY7" fmla="*/ 3305 h 1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86" h="16632">
                      <a:moveTo>
                        <a:pt x="37574" y="3403"/>
                      </a:moveTo>
                      <a:cubicBezTo>
                        <a:pt x="12090" y="-139"/>
                        <a:pt x="7662" y="-1910"/>
                        <a:pt x="2644" y="3108"/>
                      </a:cubicBezTo>
                      <a:lnTo>
                        <a:pt x="1266" y="4486"/>
                      </a:lnTo>
                      <a:cubicBezTo>
                        <a:pt x="-899" y="6651"/>
                        <a:pt x="-210" y="9012"/>
                        <a:pt x="2742" y="9602"/>
                      </a:cubicBezTo>
                      <a:lnTo>
                        <a:pt x="34032" y="16490"/>
                      </a:lnTo>
                      <a:cubicBezTo>
                        <a:pt x="36984" y="17179"/>
                        <a:pt x="40132" y="15309"/>
                        <a:pt x="40919" y="12259"/>
                      </a:cubicBezTo>
                      <a:lnTo>
                        <a:pt x="41707" y="9504"/>
                      </a:lnTo>
                      <a:cubicBezTo>
                        <a:pt x="42494" y="6552"/>
                        <a:pt x="40624" y="3797"/>
                        <a:pt x="37574" y="3305"/>
                      </a:cubicBezTo>
                      <a:close/>
                    </a:path>
                  </a:pathLst>
                </a:custGeom>
                <a:grpFill/>
                <a:ln w="9835" cap="flat">
                  <a:noFill/>
                  <a:prstDash val="solid"/>
                  <a:miter/>
                </a:ln>
              </p:spPr>
              <p:txBody>
                <a:bodyPr rtlCol="0" anchor="ctr"/>
                <a:lstStyle/>
                <a:p>
                  <a:endParaRPr lang="en-IN"/>
                </a:p>
              </p:txBody>
            </p:sp>
            <p:sp>
              <p:nvSpPr>
                <p:cNvPr id="770" name="Freeform: Shape 769">
                  <a:extLst>
                    <a:ext uri="{FF2B5EF4-FFF2-40B4-BE49-F238E27FC236}">
                      <a16:creationId xmlns:a16="http://schemas.microsoft.com/office/drawing/2014/main" id="{22876D8F-CA50-7771-D57F-328E8663D872}"/>
                    </a:ext>
                  </a:extLst>
                </p:cNvPr>
                <p:cNvSpPr/>
                <p:nvPr/>
              </p:nvSpPr>
              <p:spPr>
                <a:xfrm>
                  <a:off x="13549321" y="753412"/>
                  <a:ext cx="52157" cy="14897"/>
                </a:xfrm>
                <a:custGeom>
                  <a:avLst/>
                  <a:gdLst>
                    <a:gd name="connsiteX0" fmla="*/ 3354 w 52157"/>
                    <a:gd name="connsiteY0" fmla="*/ 1440 h 14897"/>
                    <a:gd name="connsiteX1" fmla="*/ 697 w 52157"/>
                    <a:gd name="connsiteY1" fmla="*/ 6065 h 14897"/>
                    <a:gd name="connsiteX2" fmla="*/ 36612 w 52157"/>
                    <a:gd name="connsiteY2" fmla="*/ 14822 h 14897"/>
                    <a:gd name="connsiteX3" fmla="*/ 50978 w 52157"/>
                    <a:gd name="connsiteY3" fmla="*/ 4294 h 14897"/>
                    <a:gd name="connsiteX4" fmla="*/ 3452 w 52157"/>
                    <a:gd name="connsiteY4" fmla="*/ 1440 h 1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57" h="14897">
                      <a:moveTo>
                        <a:pt x="3354" y="1440"/>
                      </a:moveTo>
                      <a:cubicBezTo>
                        <a:pt x="303" y="1440"/>
                        <a:pt x="-877" y="3605"/>
                        <a:pt x="697" y="6065"/>
                      </a:cubicBezTo>
                      <a:cubicBezTo>
                        <a:pt x="4338" y="11870"/>
                        <a:pt x="9159" y="11280"/>
                        <a:pt x="36612" y="14822"/>
                      </a:cubicBezTo>
                      <a:cubicBezTo>
                        <a:pt x="44582" y="15806"/>
                        <a:pt x="48321" y="6852"/>
                        <a:pt x="50978" y="4294"/>
                      </a:cubicBezTo>
                      <a:cubicBezTo>
                        <a:pt x="57078" y="-3479"/>
                        <a:pt x="39268" y="1735"/>
                        <a:pt x="3452" y="1440"/>
                      </a:cubicBezTo>
                      <a:close/>
                    </a:path>
                  </a:pathLst>
                </a:custGeom>
                <a:grpFill/>
                <a:ln w="9835" cap="flat">
                  <a:noFill/>
                  <a:prstDash val="solid"/>
                  <a:miter/>
                </a:ln>
              </p:spPr>
              <p:txBody>
                <a:bodyPr rtlCol="0" anchor="ctr"/>
                <a:lstStyle/>
                <a:p>
                  <a:endParaRPr lang="en-IN"/>
                </a:p>
              </p:txBody>
            </p:sp>
            <p:sp>
              <p:nvSpPr>
                <p:cNvPr id="771" name="Freeform: Shape 770">
                  <a:extLst>
                    <a:ext uri="{FF2B5EF4-FFF2-40B4-BE49-F238E27FC236}">
                      <a16:creationId xmlns:a16="http://schemas.microsoft.com/office/drawing/2014/main" id="{63198D2D-6171-87C3-8897-C48DE9FAA6A6}"/>
                    </a:ext>
                  </a:extLst>
                </p:cNvPr>
                <p:cNvSpPr/>
                <p:nvPr/>
              </p:nvSpPr>
              <p:spPr>
                <a:xfrm>
                  <a:off x="13449110" y="426940"/>
                  <a:ext cx="48090" cy="52646"/>
                </a:xfrm>
                <a:custGeom>
                  <a:avLst/>
                  <a:gdLst>
                    <a:gd name="connsiteX0" fmla="*/ 5759 w 48090"/>
                    <a:gd name="connsiteY0" fmla="*/ 844 h 52646"/>
                    <a:gd name="connsiteX1" fmla="*/ 52 w 48090"/>
                    <a:gd name="connsiteY1" fmla="*/ 14127 h 52646"/>
                    <a:gd name="connsiteX2" fmla="*/ 40394 w 48090"/>
                    <a:gd name="connsiteY2" fmla="*/ 51518 h 52646"/>
                    <a:gd name="connsiteX3" fmla="*/ 47872 w 48090"/>
                    <a:gd name="connsiteY3" fmla="*/ 37447 h 52646"/>
                    <a:gd name="connsiteX4" fmla="*/ 5857 w 48090"/>
                    <a:gd name="connsiteY4" fmla="*/ 745 h 52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90" h="52646">
                      <a:moveTo>
                        <a:pt x="5759" y="844"/>
                      </a:moveTo>
                      <a:cubicBezTo>
                        <a:pt x="-932" y="-4076"/>
                        <a:pt x="52" y="14127"/>
                        <a:pt x="52" y="14127"/>
                      </a:cubicBezTo>
                      <a:cubicBezTo>
                        <a:pt x="-539" y="21704"/>
                        <a:pt x="3397" y="22589"/>
                        <a:pt x="40394" y="51518"/>
                      </a:cubicBezTo>
                      <a:cubicBezTo>
                        <a:pt x="47085" y="56733"/>
                        <a:pt x="46298" y="42465"/>
                        <a:pt x="47872" y="37447"/>
                      </a:cubicBezTo>
                      <a:cubicBezTo>
                        <a:pt x="49250" y="29969"/>
                        <a:pt x="45117" y="29379"/>
                        <a:pt x="5857" y="745"/>
                      </a:cubicBezTo>
                      <a:close/>
                    </a:path>
                  </a:pathLst>
                </a:custGeom>
                <a:grpFill/>
                <a:ln w="9835" cap="flat">
                  <a:noFill/>
                  <a:prstDash val="solid"/>
                  <a:miter/>
                </a:ln>
              </p:spPr>
              <p:txBody>
                <a:bodyPr rtlCol="0" anchor="ctr"/>
                <a:lstStyle/>
                <a:p>
                  <a:endParaRPr lang="en-IN"/>
                </a:p>
              </p:txBody>
            </p:sp>
            <p:sp>
              <p:nvSpPr>
                <p:cNvPr id="772" name="Freeform: Shape 771">
                  <a:extLst>
                    <a:ext uri="{FF2B5EF4-FFF2-40B4-BE49-F238E27FC236}">
                      <a16:creationId xmlns:a16="http://schemas.microsoft.com/office/drawing/2014/main" id="{54A1D6C9-B289-E30B-2379-6A6BF800AAD2}"/>
                    </a:ext>
                  </a:extLst>
                </p:cNvPr>
                <p:cNvSpPr/>
                <p:nvPr/>
              </p:nvSpPr>
              <p:spPr>
                <a:xfrm>
                  <a:off x="13453545" y="241149"/>
                  <a:ext cx="41549" cy="51071"/>
                </a:xfrm>
                <a:custGeom>
                  <a:avLst/>
                  <a:gdLst>
                    <a:gd name="connsiteX0" fmla="*/ 16673 w 41549"/>
                    <a:gd name="connsiteY0" fmla="*/ 50160 h 51071"/>
                    <a:gd name="connsiteX1" fmla="*/ 39894 w 41549"/>
                    <a:gd name="connsiteY1" fmla="*/ 29398 h 51071"/>
                    <a:gd name="connsiteX2" fmla="*/ 22675 w 41549"/>
                    <a:gd name="connsiteY2" fmla="*/ 1454 h 51071"/>
                    <a:gd name="connsiteX3" fmla="*/ 16969 w 41549"/>
                    <a:gd name="connsiteY3" fmla="*/ 2536 h 51071"/>
                    <a:gd name="connsiteX4" fmla="*/ 438 w 41549"/>
                    <a:gd name="connsiteY4" fmla="*/ 46224 h 51071"/>
                    <a:gd name="connsiteX5" fmla="*/ 16673 w 41549"/>
                    <a:gd name="connsiteY5" fmla="*/ 5016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49" h="51071">
                      <a:moveTo>
                        <a:pt x="16673" y="50160"/>
                      </a:moveTo>
                      <a:cubicBezTo>
                        <a:pt x="24151" y="49668"/>
                        <a:pt x="27890" y="43272"/>
                        <a:pt x="39894" y="29398"/>
                      </a:cubicBezTo>
                      <a:cubicBezTo>
                        <a:pt x="44716" y="23789"/>
                        <a:pt x="39009" y="20050"/>
                        <a:pt x="22675" y="1454"/>
                      </a:cubicBezTo>
                      <a:cubicBezTo>
                        <a:pt x="20609" y="-810"/>
                        <a:pt x="18051" y="-416"/>
                        <a:pt x="16969" y="2536"/>
                      </a:cubicBezTo>
                      <a:lnTo>
                        <a:pt x="438" y="46224"/>
                      </a:lnTo>
                      <a:cubicBezTo>
                        <a:pt x="-2612" y="54194"/>
                        <a:pt x="11065" y="49864"/>
                        <a:pt x="16673" y="50160"/>
                      </a:cubicBezTo>
                      <a:close/>
                    </a:path>
                  </a:pathLst>
                </a:custGeom>
                <a:grpFill/>
                <a:ln w="9835" cap="flat">
                  <a:noFill/>
                  <a:prstDash val="solid"/>
                  <a:miter/>
                </a:ln>
              </p:spPr>
              <p:txBody>
                <a:bodyPr rtlCol="0" anchor="ctr"/>
                <a:lstStyle/>
                <a:p>
                  <a:endParaRPr lang="en-IN"/>
                </a:p>
              </p:txBody>
            </p:sp>
            <p:sp>
              <p:nvSpPr>
                <p:cNvPr id="773" name="Freeform: Shape 772">
                  <a:extLst>
                    <a:ext uri="{FF2B5EF4-FFF2-40B4-BE49-F238E27FC236}">
                      <a16:creationId xmlns:a16="http://schemas.microsoft.com/office/drawing/2014/main" id="{4CCEAD8E-172D-12A6-020B-A74A020A2DF4}"/>
                    </a:ext>
                  </a:extLst>
                </p:cNvPr>
                <p:cNvSpPr/>
                <p:nvPr/>
              </p:nvSpPr>
              <p:spPr>
                <a:xfrm>
                  <a:off x="14258190" y="123421"/>
                  <a:ext cx="54418" cy="18220"/>
                </a:xfrm>
                <a:custGeom>
                  <a:avLst/>
                  <a:gdLst>
                    <a:gd name="connsiteX0" fmla="*/ 37767 w 54418"/>
                    <a:gd name="connsiteY0" fmla="*/ 17539 h 18220"/>
                    <a:gd name="connsiteX1" fmla="*/ 53806 w 54418"/>
                    <a:gd name="connsiteY1" fmla="*/ 4551 h 18220"/>
                    <a:gd name="connsiteX2" fmla="*/ 21040 w 54418"/>
                    <a:gd name="connsiteY2" fmla="*/ 910 h 18220"/>
                    <a:gd name="connsiteX3" fmla="*/ 1460 w 54418"/>
                    <a:gd name="connsiteY3" fmla="*/ 14390 h 18220"/>
                    <a:gd name="connsiteX4" fmla="*/ 37767 w 54418"/>
                    <a:gd name="connsiteY4" fmla="*/ 17539 h 1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18" h="18220">
                      <a:moveTo>
                        <a:pt x="37767" y="17539"/>
                      </a:moveTo>
                      <a:cubicBezTo>
                        <a:pt x="46033" y="17342"/>
                        <a:pt x="49870" y="8487"/>
                        <a:pt x="53806" y="4551"/>
                      </a:cubicBezTo>
                      <a:cubicBezTo>
                        <a:pt x="59710" y="-2730"/>
                        <a:pt x="21040" y="910"/>
                        <a:pt x="21040" y="910"/>
                      </a:cubicBezTo>
                      <a:cubicBezTo>
                        <a:pt x="13661" y="1107"/>
                        <a:pt x="8937" y="7207"/>
                        <a:pt x="1460" y="14390"/>
                      </a:cubicBezTo>
                      <a:cubicBezTo>
                        <a:pt x="-4149" y="19704"/>
                        <a:pt x="6084" y="18129"/>
                        <a:pt x="37767" y="17539"/>
                      </a:cubicBezTo>
                      <a:close/>
                    </a:path>
                  </a:pathLst>
                </a:custGeom>
                <a:grpFill/>
                <a:ln w="9835" cap="flat">
                  <a:noFill/>
                  <a:prstDash val="solid"/>
                  <a:miter/>
                </a:ln>
              </p:spPr>
              <p:txBody>
                <a:bodyPr rtlCol="0" anchor="ctr"/>
                <a:lstStyle/>
                <a:p>
                  <a:endParaRPr lang="en-IN"/>
                </a:p>
              </p:txBody>
            </p:sp>
            <p:sp>
              <p:nvSpPr>
                <p:cNvPr id="774" name="Freeform: Shape 773">
                  <a:extLst>
                    <a:ext uri="{FF2B5EF4-FFF2-40B4-BE49-F238E27FC236}">
                      <a16:creationId xmlns:a16="http://schemas.microsoft.com/office/drawing/2014/main" id="{9ED557A9-2FC7-3024-6A10-3583C732331B}"/>
                    </a:ext>
                  </a:extLst>
                </p:cNvPr>
                <p:cNvSpPr/>
                <p:nvPr/>
              </p:nvSpPr>
              <p:spPr>
                <a:xfrm>
                  <a:off x="14501794" y="188328"/>
                  <a:ext cx="29660" cy="23750"/>
                </a:xfrm>
                <a:custGeom>
                  <a:avLst/>
                  <a:gdLst>
                    <a:gd name="connsiteX0" fmla="*/ 23229 w 29660"/>
                    <a:gd name="connsiteY0" fmla="*/ 354 h 23750"/>
                    <a:gd name="connsiteX1" fmla="*/ 2566 w 29660"/>
                    <a:gd name="connsiteY1" fmla="*/ 7930 h 23750"/>
                    <a:gd name="connsiteX2" fmla="*/ 1386 w 29660"/>
                    <a:gd name="connsiteY2" fmla="*/ 13735 h 23750"/>
                    <a:gd name="connsiteX3" fmla="*/ 18605 w 29660"/>
                    <a:gd name="connsiteY3" fmla="*/ 22788 h 23750"/>
                    <a:gd name="connsiteX4" fmla="*/ 29625 w 29660"/>
                    <a:gd name="connsiteY4" fmla="*/ 10882 h 23750"/>
                    <a:gd name="connsiteX5" fmla="*/ 23229 w 29660"/>
                    <a:gd name="connsiteY5" fmla="*/ 354 h 2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60" h="23750">
                      <a:moveTo>
                        <a:pt x="23229" y="354"/>
                      </a:moveTo>
                      <a:lnTo>
                        <a:pt x="2566" y="7930"/>
                      </a:lnTo>
                      <a:cubicBezTo>
                        <a:pt x="-287" y="9012"/>
                        <a:pt x="-878" y="11571"/>
                        <a:pt x="1386" y="13735"/>
                      </a:cubicBezTo>
                      <a:cubicBezTo>
                        <a:pt x="6010" y="17081"/>
                        <a:pt x="11323" y="26822"/>
                        <a:pt x="18605" y="22788"/>
                      </a:cubicBezTo>
                      <a:cubicBezTo>
                        <a:pt x="20769" y="21115"/>
                        <a:pt x="30314" y="18754"/>
                        <a:pt x="29625" y="10882"/>
                      </a:cubicBezTo>
                      <a:cubicBezTo>
                        <a:pt x="29625" y="10882"/>
                        <a:pt x="30511" y="-2303"/>
                        <a:pt x="23229" y="354"/>
                      </a:cubicBezTo>
                      <a:close/>
                    </a:path>
                  </a:pathLst>
                </a:custGeom>
                <a:grpFill/>
                <a:ln w="9835" cap="flat">
                  <a:noFill/>
                  <a:prstDash val="solid"/>
                  <a:miter/>
                </a:ln>
              </p:spPr>
              <p:txBody>
                <a:bodyPr rtlCol="0" anchor="ctr"/>
                <a:lstStyle/>
                <a:p>
                  <a:endParaRPr lang="en-IN"/>
                </a:p>
              </p:txBody>
            </p:sp>
            <p:sp>
              <p:nvSpPr>
                <p:cNvPr id="775" name="Freeform: Shape 774">
                  <a:extLst>
                    <a:ext uri="{FF2B5EF4-FFF2-40B4-BE49-F238E27FC236}">
                      <a16:creationId xmlns:a16="http://schemas.microsoft.com/office/drawing/2014/main" id="{D53B0836-B01E-ED7E-AA14-9D0BCD70DDFA}"/>
                    </a:ext>
                  </a:extLst>
                </p:cNvPr>
                <p:cNvSpPr/>
                <p:nvPr/>
              </p:nvSpPr>
              <p:spPr>
                <a:xfrm>
                  <a:off x="13741711" y="426284"/>
                  <a:ext cx="52154" cy="45710"/>
                </a:xfrm>
                <a:custGeom>
                  <a:avLst/>
                  <a:gdLst>
                    <a:gd name="connsiteX0" fmla="*/ 15332 w 52154"/>
                    <a:gd name="connsiteY0" fmla="*/ 43613 h 45710"/>
                    <a:gd name="connsiteX1" fmla="*/ 45540 w 52154"/>
                    <a:gd name="connsiteY1" fmla="*/ 33872 h 45710"/>
                    <a:gd name="connsiteX2" fmla="*/ 52132 w 52154"/>
                    <a:gd name="connsiteY2" fmla="*/ 14291 h 45710"/>
                    <a:gd name="connsiteX3" fmla="*/ 32158 w 52154"/>
                    <a:gd name="connsiteY3" fmla="*/ 1008 h 45710"/>
                    <a:gd name="connsiteX4" fmla="*/ 5493 w 52154"/>
                    <a:gd name="connsiteY4" fmla="*/ 5042 h 45710"/>
                    <a:gd name="connsiteX5" fmla="*/ 81 w 52154"/>
                    <a:gd name="connsiteY5" fmla="*/ 23540 h 45710"/>
                    <a:gd name="connsiteX6" fmla="*/ 15332 w 52154"/>
                    <a:gd name="connsiteY6" fmla="*/ 43515 h 45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54" h="45710">
                      <a:moveTo>
                        <a:pt x="15332" y="43613"/>
                      </a:moveTo>
                      <a:cubicBezTo>
                        <a:pt x="20744" y="48730"/>
                        <a:pt x="25664" y="44105"/>
                        <a:pt x="45540" y="33872"/>
                      </a:cubicBezTo>
                      <a:cubicBezTo>
                        <a:pt x="52920" y="30035"/>
                        <a:pt x="50853" y="20293"/>
                        <a:pt x="52132" y="14291"/>
                      </a:cubicBezTo>
                      <a:cubicBezTo>
                        <a:pt x="52920" y="5534"/>
                        <a:pt x="32158" y="1008"/>
                        <a:pt x="32158" y="1008"/>
                      </a:cubicBezTo>
                      <a:cubicBezTo>
                        <a:pt x="25762" y="-1354"/>
                        <a:pt x="21531" y="614"/>
                        <a:pt x="5493" y="5042"/>
                      </a:cubicBezTo>
                      <a:cubicBezTo>
                        <a:pt x="-2576" y="7305"/>
                        <a:pt x="868" y="17833"/>
                        <a:pt x="81" y="23540"/>
                      </a:cubicBezTo>
                      <a:cubicBezTo>
                        <a:pt x="81" y="30428"/>
                        <a:pt x="4411" y="33183"/>
                        <a:pt x="15332" y="43515"/>
                      </a:cubicBezTo>
                      <a:close/>
                    </a:path>
                  </a:pathLst>
                </a:custGeom>
                <a:grpFill/>
                <a:ln w="9835" cap="flat">
                  <a:noFill/>
                  <a:prstDash val="solid"/>
                  <a:miter/>
                </a:ln>
              </p:spPr>
              <p:txBody>
                <a:bodyPr rtlCol="0" anchor="ctr"/>
                <a:lstStyle/>
                <a:p>
                  <a:endParaRPr lang="en-IN"/>
                </a:p>
              </p:txBody>
            </p:sp>
            <p:sp>
              <p:nvSpPr>
                <p:cNvPr id="776" name="Freeform: Shape 775">
                  <a:extLst>
                    <a:ext uri="{FF2B5EF4-FFF2-40B4-BE49-F238E27FC236}">
                      <a16:creationId xmlns:a16="http://schemas.microsoft.com/office/drawing/2014/main" id="{06B232E9-1C2C-4C97-8A2E-EF63105F4FEB}"/>
                    </a:ext>
                  </a:extLst>
                </p:cNvPr>
                <p:cNvSpPr/>
                <p:nvPr/>
              </p:nvSpPr>
              <p:spPr>
                <a:xfrm>
                  <a:off x="14110114" y="268269"/>
                  <a:ext cx="292479" cy="98878"/>
                </a:xfrm>
                <a:custGeom>
                  <a:avLst/>
                  <a:gdLst>
                    <a:gd name="connsiteX0" fmla="*/ 289159 w 292479"/>
                    <a:gd name="connsiteY0" fmla="*/ 52361 h 98878"/>
                    <a:gd name="connsiteX1" fmla="*/ 165377 w 292479"/>
                    <a:gd name="connsiteY1" fmla="*/ 43604 h 98878"/>
                    <a:gd name="connsiteX2" fmla="*/ 136645 w 292479"/>
                    <a:gd name="connsiteY2" fmla="*/ 18907 h 98878"/>
                    <a:gd name="connsiteX3" fmla="*/ 74164 w 292479"/>
                    <a:gd name="connsiteY3" fmla="*/ 18218 h 98878"/>
                    <a:gd name="connsiteX4" fmla="*/ 58125 w 292479"/>
                    <a:gd name="connsiteY4" fmla="*/ 26779 h 98878"/>
                    <a:gd name="connsiteX5" fmla="*/ 36183 w 292479"/>
                    <a:gd name="connsiteY5" fmla="*/ 16250 h 98878"/>
                    <a:gd name="connsiteX6" fmla="*/ 29689 w 292479"/>
                    <a:gd name="connsiteY6" fmla="*/ 15 h 98878"/>
                    <a:gd name="connsiteX7" fmla="*/ 12273 w 292479"/>
                    <a:gd name="connsiteY7" fmla="*/ 6115 h 98878"/>
                    <a:gd name="connsiteX8" fmla="*/ 367 w 292479"/>
                    <a:gd name="connsiteY8" fmla="*/ 36323 h 98878"/>
                    <a:gd name="connsiteX9" fmla="*/ 3614 w 292479"/>
                    <a:gd name="connsiteY9" fmla="*/ 43407 h 98878"/>
                    <a:gd name="connsiteX10" fmla="*/ 95319 w 292479"/>
                    <a:gd name="connsiteY10" fmla="*/ 77649 h 98878"/>
                    <a:gd name="connsiteX11" fmla="*/ 135465 w 292479"/>
                    <a:gd name="connsiteY11" fmla="*/ 98804 h 98878"/>
                    <a:gd name="connsiteX12" fmla="*/ 275581 w 292479"/>
                    <a:gd name="connsiteY12" fmla="*/ 82274 h 98878"/>
                    <a:gd name="connsiteX13" fmla="*/ 291717 w 292479"/>
                    <a:gd name="connsiteY13" fmla="*/ 57183 h 98878"/>
                    <a:gd name="connsiteX14" fmla="*/ 289159 w 292479"/>
                    <a:gd name="connsiteY14" fmla="*/ 52263 h 98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479" h="98878">
                      <a:moveTo>
                        <a:pt x="289159" y="52361"/>
                      </a:moveTo>
                      <a:cubicBezTo>
                        <a:pt x="170002" y="47540"/>
                        <a:pt x="171084" y="49508"/>
                        <a:pt x="165377" y="43604"/>
                      </a:cubicBezTo>
                      <a:cubicBezTo>
                        <a:pt x="146485" y="23827"/>
                        <a:pt x="143927" y="19497"/>
                        <a:pt x="136645" y="18907"/>
                      </a:cubicBezTo>
                      <a:cubicBezTo>
                        <a:pt x="81347" y="14676"/>
                        <a:pt x="79576" y="13200"/>
                        <a:pt x="74164" y="18218"/>
                      </a:cubicBezTo>
                      <a:cubicBezTo>
                        <a:pt x="70917" y="20481"/>
                        <a:pt x="65899" y="28550"/>
                        <a:pt x="58125" y="26779"/>
                      </a:cubicBezTo>
                      <a:cubicBezTo>
                        <a:pt x="48975" y="23630"/>
                        <a:pt x="36675" y="25106"/>
                        <a:pt x="36183" y="16250"/>
                      </a:cubicBezTo>
                      <a:cubicBezTo>
                        <a:pt x="35199" y="11429"/>
                        <a:pt x="37954" y="-477"/>
                        <a:pt x="29689" y="15"/>
                      </a:cubicBezTo>
                      <a:cubicBezTo>
                        <a:pt x="25359" y="900"/>
                        <a:pt x="15323" y="-1560"/>
                        <a:pt x="12273" y="6115"/>
                      </a:cubicBezTo>
                      <a:lnTo>
                        <a:pt x="367" y="36323"/>
                      </a:lnTo>
                      <a:cubicBezTo>
                        <a:pt x="-715" y="39176"/>
                        <a:pt x="663" y="42325"/>
                        <a:pt x="3614" y="43407"/>
                      </a:cubicBezTo>
                      <a:cubicBezTo>
                        <a:pt x="86955" y="73418"/>
                        <a:pt x="88629" y="73517"/>
                        <a:pt x="95319" y="77649"/>
                      </a:cubicBezTo>
                      <a:cubicBezTo>
                        <a:pt x="125920" y="96836"/>
                        <a:pt x="128380" y="99395"/>
                        <a:pt x="135465" y="98804"/>
                      </a:cubicBezTo>
                      <a:cubicBezTo>
                        <a:pt x="274203" y="86800"/>
                        <a:pt x="271251" y="88965"/>
                        <a:pt x="275581" y="82274"/>
                      </a:cubicBezTo>
                      <a:lnTo>
                        <a:pt x="291717" y="57183"/>
                      </a:lnTo>
                      <a:cubicBezTo>
                        <a:pt x="293391" y="54625"/>
                        <a:pt x="292210" y="52361"/>
                        <a:pt x="289159" y="52263"/>
                      </a:cubicBezTo>
                      <a:close/>
                    </a:path>
                  </a:pathLst>
                </a:custGeom>
                <a:grpFill/>
                <a:ln w="9835" cap="flat">
                  <a:noFill/>
                  <a:prstDash val="solid"/>
                  <a:miter/>
                </a:ln>
              </p:spPr>
              <p:txBody>
                <a:bodyPr rtlCol="0" anchor="ctr"/>
                <a:lstStyle/>
                <a:p>
                  <a:endParaRPr lang="en-IN"/>
                </a:p>
              </p:txBody>
            </p:sp>
            <p:sp>
              <p:nvSpPr>
                <p:cNvPr id="777" name="Freeform: Shape 776">
                  <a:extLst>
                    <a:ext uri="{FF2B5EF4-FFF2-40B4-BE49-F238E27FC236}">
                      <a16:creationId xmlns:a16="http://schemas.microsoft.com/office/drawing/2014/main" id="{669DA180-73A1-EA4D-3684-4D401C4EC805}"/>
                    </a:ext>
                  </a:extLst>
                </p:cNvPr>
                <p:cNvSpPr/>
                <p:nvPr/>
              </p:nvSpPr>
              <p:spPr>
                <a:xfrm>
                  <a:off x="13541340" y="191687"/>
                  <a:ext cx="518680" cy="189422"/>
                </a:xfrm>
                <a:custGeom>
                  <a:avLst/>
                  <a:gdLst>
                    <a:gd name="connsiteX0" fmla="*/ 423417 w 518680"/>
                    <a:gd name="connsiteY0" fmla="*/ 41470 h 189422"/>
                    <a:gd name="connsiteX1" fmla="*/ 353752 w 518680"/>
                    <a:gd name="connsiteY1" fmla="*/ 41666 h 189422"/>
                    <a:gd name="connsiteX2" fmla="*/ 285269 w 518680"/>
                    <a:gd name="connsiteY2" fmla="*/ 2997 h 189422"/>
                    <a:gd name="connsiteX3" fmla="*/ 280546 w 518680"/>
                    <a:gd name="connsiteY3" fmla="*/ 14116 h 189422"/>
                    <a:gd name="connsiteX4" fmla="*/ 254077 w 518680"/>
                    <a:gd name="connsiteY4" fmla="*/ 22774 h 189422"/>
                    <a:gd name="connsiteX5" fmla="*/ 246304 w 518680"/>
                    <a:gd name="connsiteY5" fmla="*/ 70693 h 189422"/>
                    <a:gd name="connsiteX6" fmla="*/ 241286 w 518680"/>
                    <a:gd name="connsiteY6" fmla="*/ 73448 h 189422"/>
                    <a:gd name="connsiteX7" fmla="*/ 120456 w 518680"/>
                    <a:gd name="connsiteY7" fmla="*/ 1619 h 189422"/>
                    <a:gd name="connsiteX8" fmla="*/ 36032 w 518680"/>
                    <a:gd name="connsiteY8" fmla="*/ 29957 h 189422"/>
                    <a:gd name="connsiteX9" fmla="*/ 39476 w 518680"/>
                    <a:gd name="connsiteY9" fmla="*/ 50325 h 189422"/>
                    <a:gd name="connsiteX10" fmla="*/ 15467 w 518680"/>
                    <a:gd name="connsiteY10" fmla="*/ 57410 h 189422"/>
                    <a:gd name="connsiteX11" fmla="*/ 5923 w 518680"/>
                    <a:gd name="connsiteY11" fmla="*/ 67446 h 189422"/>
                    <a:gd name="connsiteX12" fmla="*/ 8973 w 518680"/>
                    <a:gd name="connsiteY12" fmla="*/ 74531 h 189422"/>
                    <a:gd name="connsiteX13" fmla="*/ 34163 w 518680"/>
                    <a:gd name="connsiteY13" fmla="*/ 84075 h 189422"/>
                    <a:gd name="connsiteX14" fmla="*/ 32195 w 518680"/>
                    <a:gd name="connsiteY14" fmla="*/ 99622 h 189422"/>
                    <a:gd name="connsiteX15" fmla="*/ 5431 w 518680"/>
                    <a:gd name="connsiteY15" fmla="*/ 97457 h 189422"/>
                    <a:gd name="connsiteX16" fmla="*/ 117 w 518680"/>
                    <a:gd name="connsiteY16" fmla="*/ 108772 h 189422"/>
                    <a:gd name="connsiteX17" fmla="*/ 59844 w 518680"/>
                    <a:gd name="connsiteY17" fmla="*/ 166039 h 189422"/>
                    <a:gd name="connsiteX18" fmla="*/ 133739 w 518680"/>
                    <a:gd name="connsiteY18" fmla="*/ 189064 h 189422"/>
                    <a:gd name="connsiteX19" fmla="*/ 155878 w 518680"/>
                    <a:gd name="connsiteY19" fmla="*/ 175780 h 189422"/>
                    <a:gd name="connsiteX20" fmla="*/ 153418 w 518680"/>
                    <a:gd name="connsiteY20" fmla="*/ 153936 h 189422"/>
                    <a:gd name="connsiteX21" fmla="*/ 177919 w 518680"/>
                    <a:gd name="connsiteY21" fmla="*/ 144589 h 189422"/>
                    <a:gd name="connsiteX22" fmla="*/ 190907 w 518680"/>
                    <a:gd name="connsiteY22" fmla="*/ 159643 h 189422"/>
                    <a:gd name="connsiteX23" fmla="*/ 298454 w 518680"/>
                    <a:gd name="connsiteY23" fmla="*/ 148328 h 189422"/>
                    <a:gd name="connsiteX24" fmla="*/ 333877 w 518680"/>
                    <a:gd name="connsiteY24" fmla="*/ 168794 h 189422"/>
                    <a:gd name="connsiteX25" fmla="*/ 410330 w 518680"/>
                    <a:gd name="connsiteY25" fmla="*/ 161710 h 189422"/>
                    <a:gd name="connsiteX26" fmla="*/ 411511 w 518680"/>
                    <a:gd name="connsiteY26" fmla="*/ 146557 h 189422"/>
                    <a:gd name="connsiteX27" fmla="*/ 353654 w 518680"/>
                    <a:gd name="connsiteY27" fmla="*/ 138291 h 189422"/>
                    <a:gd name="connsiteX28" fmla="*/ 312230 w 518680"/>
                    <a:gd name="connsiteY28" fmla="*/ 91455 h 189422"/>
                    <a:gd name="connsiteX29" fmla="*/ 313312 w 518680"/>
                    <a:gd name="connsiteY29" fmla="*/ 83780 h 189422"/>
                    <a:gd name="connsiteX30" fmla="*/ 341257 w 518680"/>
                    <a:gd name="connsiteY30" fmla="*/ 63314 h 189422"/>
                    <a:gd name="connsiteX31" fmla="*/ 377072 w 518680"/>
                    <a:gd name="connsiteY31" fmla="*/ 64199 h 189422"/>
                    <a:gd name="connsiteX32" fmla="*/ 357000 w 518680"/>
                    <a:gd name="connsiteY32" fmla="*/ 91652 h 189422"/>
                    <a:gd name="connsiteX33" fmla="*/ 356606 w 518680"/>
                    <a:gd name="connsiteY33" fmla="*/ 100015 h 189422"/>
                    <a:gd name="connsiteX34" fmla="*/ 374219 w 518680"/>
                    <a:gd name="connsiteY34" fmla="*/ 122056 h 189422"/>
                    <a:gd name="connsiteX35" fmla="*/ 460709 w 518680"/>
                    <a:gd name="connsiteY35" fmla="*/ 137898 h 189422"/>
                    <a:gd name="connsiteX36" fmla="*/ 481372 w 518680"/>
                    <a:gd name="connsiteY36" fmla="*/ 100802 h 189422"/>
                    <a:gd name="connsiteX37" fmla="*/ 516401 w 518680"/>
                    <a:gd name="connsiteY37" fmla="*/ 82894 h 189422"/>
                    <a:gd name="connsiteX38" fmla="*/ 423417 w 518680"/>
                    <a:gd name="connsiteY38" fmla="*/ 41174 h 18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8680" h="189422">
                      <a:moveTo>
                        <a:pt x="423417" y="41470"/>
                      </a:moveTo>
                      <a:cubicBezTo>
                        <a:pt x="416529" y="38715"/>
                        <a:pt x="415545" y="39403"/>
                        <a:pt x="353752" y="41666"/>
                      </a:cubicBezTo>
                      <a:cubicBezTo>
                        <a:pt x="346176" y="41962"/>
                        <a:pt x="347062" y="41076"/>
                        <a:pt x="285269" y="2997"/>
                      </a:cubicBezTo>
                      <a:cubicBezTo>
                        <a:pt x="278480" y="-1234"/>
                        <a:pt x="280940" y="11459"/>
                        <a:pt x="280546" y="14116"/>
                      </a:cubicBezTo>
                      <a:cubicBezTo>
                        <a:pt x="280546" y="23266"/>
                        <a:pt x="267066" y="20019"/>
                        <a:pt x="254077" y="22774"/>
                      </a:cubicBezTo>
                      <a:cubicBezTo>
                        <a:pt x="246698" y="23660"/>
                        <a:pt x="248371" y="28285"/>
                        <a:pt x="246304" y="70693"/>
                      </a:cubicBezTo>
                      <a:cubicBezTo>
                        <a:pt x="246206" y="73743"/>
                        <a:pt x="243844" y="75023"/>
                        <a:pt x="241286" y="73448"/>
                      </a:cubicBezTo>
                      <a:lnTo>
                        <a:pt x="120456" y="1619"/>
                      </a:lnTo>
                      <a:cubicBezTo>
                        <a:pt x="113962" y="-2218"/>
                        <a:pt x="116520" y="-1529"/>
                        <a:pt x="36032" y="29957"/>
                      </a:cubicBezTo>
                      <a:cubicBezTo>
                        <a:pt x="27964" y="33106"/>
                        <a:pt x="37114" y="43044"/>
                        <a:pt x="39476" y="50325"/>
                      </a:cubicBezTo>
                      <a:cubicBezTo>
                        <a:pt x="43412" y="58591"/>
                        <a:pt x="27275" y="55343"/>
                        <a:pt x="15467" y="57410"/>
                      </a:cubicBezTo>
                      <a:cubicBezTo>
                        <a:pt x="8087" y="58000"/>
                        <a:pt x="6710" y="66265"/>
                        <a:pt x="5923" y="67446"/>
                      </a:cubicBezTo>
                      <a:cubicBezTo>
                        <a:pt x="4742" y="70300"/>
                        <a:pt x="6120" y="73448"/>
                        <a:pt x="8973" y="74531"/>
                      </a:cubicBezTo>
                      <a:lnTo>
                        <a:pt x="34163" y="84075"/>
                      </a:lnTo>
                      <a:cubicBezTo>
                        <a:pt x="41641" y="86929"/>
                        <a:pt x="33375" y="96079"/>
                        <a:pt x="32195" y="99622"/>
                      </a:cubicBezTo>
                      <a:cubicBezTo>
                        <a:pt x="27964" y="107493"/>
                        <a:pt x="17239" y="99720"/>
                        <a:pt x="5431" y="97457"/>
                      </a:cubicBezTo>
                      <a:cubicBezTo>
                        <a:pt x="-2047" y="95292"/>
                        <a:pt x="511" y="106411"/>
                        <a:pt x="117" y="108772"/>
                      </a:cubicBezTo>
                      <a:cubicBezTo>
                        <a:pt x="117" y="116447"/>
                        <a:pt x="806" y="114775"/>
                        <a:pt x="59844" y="166039"/>
                      </a:cubicBezTo>
                      <a:cubicBezTo>
                        <a:pt x="65748" y="171156"/>
                        <a:pt x="67715" y="170663"/>
                        <a:pt x="133739" y="189064"/>
                      </a:cubicBezTo>
                      <a:cubicBezTo>
                        <a:pt x="142201" y="191425"/>
                        <a:pt x="148007" y="181585"/>
                        <a:pt x="155878" y="175780"/>
                      </a:cubicBezTo>
                      <a:cubicBezTo>
                        <a:pt x="162373" y="170073"/>
                        <a:pt x="155091" y="161021"/>
                        <a:pt x="153418" y="153936"/>
                      </a:cubicBezTo>
                      <a:cubicBezTo>
                        <a:pt x="150171" y="145277"/>
                        <a:pt x="166111" y="147639"/>
                        <a:pt x="177919" y="144589"/>
                      </a:cubicBezTo>
                      <a:cubicBezTo>
                        <a:pt x="186184" y="143309"/>
                        <a:pt x="187660" y="154527"/>
                        <a:pt x="190907" y="159643"/>
                      </a:cubicBezTo>
                      <a:cubicBezTo>
                        <a:pt x="194351" y="166826"/>
                        <a:pt x="195138" y="164366"/>
                        <a:pt x="298454" y="148328"/>
                      </a:cubicBezTo>
                      <a:cubicBezTo>
                        <a:pt x="305440" y="147245"/>
                        <a:pt x="307014" y="149607"/>
                        <a:pt x="333877" y="168794"/>
                      </a:cubicBezTo>
                      <a:cubicBezTo>
                        <a:pt x="340076" y="173222"/>
                        <a:pt x="340469" y="171746"/>
                        <a:pt x="410330" y="161710"/>
                      </a:cubicBezTo>
                      <a:cubicBezTo>
                        <a:pt x="417710" y="160627"/>
                        <a:pt x="419088" y="147639"/>
                        <a:pt x="411511" y="146557"/>
                      </a:cubicBezTo>
                      <a:lnTo>
                        <a:pt x="353654" y="138291"/>
                      </a:lnTo>
                      <a:cubicBezTo>
                        <a:pt x="346274" y="137209"/>
                        <a:pt x="346078" y="134946"/>
                        <a:pt x="312230" y="91455"/>
                      </a:cubicBezTo>
                      <a:cubicBezTo>
                        <a:pt x="310360" y="88995"/>
                        <a:pt x="310852" y="85551"/>
                        <a:pt x="313312" y="83780"/>
                      </a:cubicBezTo>
                      <a:lnTo>
                        <a:pt x="341257" y="63314"/>
                      </a:lnTo>
                      <a:cubicBezTo>
                        <a:pt x="346963" y="59083"/>
                        <a:pt x="351391" y="60755"/>
                        <a:pt x="377072" y="64199"/>
                      </a:cubicBezTo>
                      <a:cubicBezTo>
                        <a:pt x="384550" y="65183"/>
                        <a:pt x="377565" y="70103"/>
                        <a:pt x="357000" y="91652"/>
                      </a:cubicBezTo>
                      <a:cubicBezTo>
                        <a:pt x="354835" y="93915"/>
                        <a:pt x="354737" y="97654"/>
                        <a:pt x="356606" y="100015"/>
                      </a:cubicBezTo>
                      <a:lnTo>
                        <a:pt x="374219" y="122056"/>
                      </a:lnTo>
                      <a:cubicBezTo>
                        <a:pt x="378942" y="127960"/>
                        <a:pt x="377761" y="126385"/>
                        <a:pt x="460709" y="137898"/>
                      </a:cubicBezTo>
                      <a:cubicBezTo>
                        <a:pt x="468089" y="138882"/>
                        <a:pt x="468384" y="133076"/>
                        <a:pt x="481372" y="100802"/>
                      </a:cubicBezTo>
                      <a:cubicBezTo>
                        <a:pt x="484127" y="94013"/>
                        <a:pt x="488752" y="93521"/>
                        <a:pt x="516401" y="82894"/>
                      </a:cubicBezTo>
                      <a:cubicBezTo>
                        <a:pt x="523978" y="79942"/>
                        <a:pt x="517287" y="79155"/>
                        <a:pt x="423417" y="41174"/>
                      </a:cubicBezTo>
                      <a:close/>
                    </a:path>
                  </a:pathLst>
                </a:custGeom>
                <a:grpFill/>
                <a:ln w="9835" cap="flat">
                  <a:noFill/>
                  <a:prstDash val="solid"/>
                  <a:miter/>
                </a:ln>
              </p:spPr>
              <p:txBody>
                <a:bodyPr rtlCol="0" anchor="ctr"/>
                <a:lstStyle/>
                <a:p>
                  <a:endParaRPr lang="en-IN"/>
                </a:p>
              </p:txBody>
            </p:sp>
            <p:sp>
              <p:nvSpPr>
                <p:cNvPr id="778" name="Freeform: Shape 777">
                  <a:extLst>
                    <a:ext uri="{FF2B5EF4-FFF2-40B4-BE49-F238E27FC236}">
                      <a16:creationId xmlns:a16="http://schemas.microsoft.com/office/drawing/2014/main" id="{328177FD-0BB6-D7FD-F258-F938356C9953}"/>
                    </a:ext>
                  </a:extLst>
                </p:cNvPr>
                <p:cNvSpPr/>
                <p:nvPr/>
              </p:nvSpPr>
              <p:spPr>
                <a:xfrm>
                  <a:off x="13720153" y="470288"/>
                  <a:ext cx="222381" cy="91783"/>
                </a:xfrm>
                <a:custGeom>
                  <a:avLst/>
                  <a:gdLst>
                    <a:gd name="connsiteX0" fmla="*/ 218824 w 222381"/>
                    <a:gd name="connsiteY0" fmla="*/ 53924 h 91783"/>
                    <a:gd name="connsiteX1" fmla="*/ 135482 w 222381"/>
                    <a:gd name="connsiteY1" fmla="*/ 396 h 91783"/>
                    <a:gd name="connsiteX2" fmla="*/ 59816 w 222381"/>
                    <a:gd name="connsiteY2" fmla="*/ 20272 h 91783"/>
                    <a:gd name="connsiteX3" fmla="*/ 43285 w 222381"/>
                    <a:gd name="connsiteY3" fmla="*/ 44871 h 91783"/>
                    <a:gd name="connsiteX4" fmla="*/ 286 w 222381"/>
                    <a:gd name="connsiteY4" fmla="*/ 61304 h 91783"/>
                    <a:gd name="connsiteX5" fmla="*/ 5108 w 222381"/>
                    <a:gd name="connsiteY5" fmla="*/ 70258 h 91783"/>
                    <a:gd name="connsiteX6" fmla="*/ 76347 w 222381"/>
                    <a:gd name="connsiteY6" fmla="*/ 67798 h 91783"/>
                    <a:gd name="connsiteX7" fmla="*/ 211739 w 222381"/>
                    <a:gd name="connsiteY7" fmla="*/ 91708 h 91783"/>
                    <a:gd name="connsiteX8" fmla="*/ 218234 w 222381"/>
                    <a:gd name="connsiteY8" fmla="*/ 87182 h 91783"/>
                    <a:gd name="connsiteX9" fmla="*/ 218824 w 222381"/>
                    <a:gd name="connsiteY9" fmla="*/ 53825 h 9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81" h="91783">
                      <a:moveTo>
                        <a:pt x="218824" y="53924"/>
                      </a:moveTo>
                      <a:cubicBezTo>
                        <a:pt x="140206" y="-1276"/>
                        <a:pt x="142961" y="-1079"/>
                        <a:pt x="135482" y="396"/>
                      </a:cubicBezTo>
                      <a:cubicBezTo>
                        <a:pt x="135482" y="396"/>
                        <a:pt x="63063" y="13581"/>
                        <a:pt x="59816" y="20272"/>
                      </a:cubicBezTo>
                      <a:cubicBezTo>
                        <a:pt x="51255" y="38180"/>
                        <a:pt x="49977" y="43199"/>
                        <a:pt x="43285" y="44871"/>
                      </a:cubicBezTo>
                      <a:cubicBezTo>
                        <a:pt x="5994" y="54416"/>
                        <a:pt x="877" y="53924"/>
                        <a:pt x="286" y="61304"/>
                      </a:cubicBezTo>
                      <a:cubicBezTo>
                        <a:pt x="483" y="62288"/>
                        <a:pt x="-2075" y="70553"/>
                        <a:pt x="5108" y="70258"/>
                      </a:cubicBezTo>
                      <a:cubicBezTo>
                        <a:pt x="67393" y="67010"/>
                        <a:pt x="68869" y="66519"/>
                        <a:pt x="76347" y="67798"/>
                      </a:cubicBezTo>
                      <a:lnTo>
                        <a:pt x="211739" y="91708"/>
                      </a:lnTo>
                      <a:cubicBezTo>
                        <a:pt x="214790" y="92200"/>
                        <a:pt x="217643" y="90232"/>
                        <a:pt x="218234" y="87182"/>
                      </a:cubicBezTo>
                      <a:cubicBezTo>
                        <a:pt x="222268" y="64059"/>
                        <a:pt x="224826" y="58056"/>
                        <a:pt x="218824" y="53825"/>
                      </a:cubicBezTo>
                      <a:close/>
                    </a:path>
                  </a:pathLst>
                </a:custGeom>
                <a:grpFill/>
                <a:ln w="9835" cap="flat">
                  <a:noFill/>
                  <a:prstDash val="solid"/>
                  <a:miter/>
                </a:ln>
              </p:spPr>
              <p:txBody>
                <a:bodyPr rtlCol="0" anchor="ctr"/>
                <a:lstStyle/>
                <a:p>
                  <a:endParaRPr lang="en-IN"/>
                </a:p>
              </p:txBody>
            </p:sp>
            <p:sp>
              <p:nvSpPr>
                <p:cNvPr id="779" name="Freeform: Shape 778">
                  <a:extLst>
                    <a:ext uri="{FF2B5EF4-FFF2-40B4-BE49-F238E27FC236}">
                      <a16:creationId xmlns:a16="http://schemas.microsoft.com/office/drawing/2014/main" id="{90E6750D-12EF-68AD-0815-1F53F2958AE9}"/>
                    </a:ext>
                  </a:extLst>
                </p:cNvPr>
                <p:cNvSpPr/>
                <p:nvPr/>
              </p:nvSpPr>
              <p:spPr>
                <a:xfrm>
                  <a:off x="15452937" y="923748"/>
                  <a:ext cx="104731" cy="51416"/>
                </a:xfrm>
                <a:custGeom>
                  <a:avLst/>
                  <a:gdLst>
                    <a:gd name="connsiteX0" fmla="*/ 101505 w 104731"/>
                    <a:gd name="connsiteY0" fmla="*/ 20221 h 51416"/>
                    <a:gd name="connsiteX1" fmla="*/ 26232 w 104731"/>
                    <a:gd name="connsiteY1" fmla="*/ 247 h 51416"/>
                    <a:gd name="connsiteX2" fmla="*/ 2027 w 104731"/>
                    <a:gd name="connsiteY2" fmla="*/ 15105 h 51416"/>
                    <a:gd name="connsiteX3" fmla="*/ 39319 w 104731"/>
                    <a:gd name="connsiteY3" fmla="*/ 38228 h 51416"/>
                    <a:gd name="connsiteX4" fmla="*/ 78677 w 104731"/>
                    <a:gd name="connsiteY4" fmla="*/ 50134 h 51416"/>
                    <a:gd name="connsiteX5" fmla="*/ 96782 w 104731"/>
                    <a:gd name="connsiteY5" fmla="*/ 37736 h 51416"/>
                    <a:gd name="connsiteX6" fmla="*/ 101604 w 104731"/>
                    <a:gd name="connsiteY6" fmla="*/ 20221 h 5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31" h="51416">
                      <a:moveTo>
                        <a:pt x="101505" y="20221"/>
                      </a:moveTo>
                      <a:cubicBezTo>
                        <a:pt x="101505" y="20221"/>
                        <a:pt x="33317" y="-2607"/>
                        <a:pt x="26232" y="247"/>
                      </a:cubicBezTo>
                      <a:cubicBezTo>
                        <a:pt x="4191" y="9299"/>
                        <a:pt x="-4271" y="10972"/>
                        <a:pt x="2027" y="15105"/>
                      </a:cubicBezTo>
                      <a:cubicBezTo>
                        <a:pt x="25150" y="30258"/>
                        <a:pt x="31939" y="35177"/>
                        <a:pt x="39319" y="38228"/>
                      </a:cubicBezTo>
                      <a:cubicBezTo>
                        <a:pt x="69920" y="51118"/>
                        <a:pt x="72380" y="53282"/>
                        <a:pt x="78677" y="50134"/>
                      </a:cubicBezTo>
                      <a:cubicBezTo>
                        <a:pt x="86155" y="46296"/>
                        <a:pt x="92945" y="43836"/>
                        <a:pt x="96782" y="37736"/>
                      </a:cubicBezTo>
                      <a:cubicBezTo>
                        <a:pt x="99438" y="31930"/>
                        <a:pt x="109868" y="22779"/>
                        <a:pt x="101604" y="20221"/>
                      </a:cubicBezTo>
                      <a:close/>
                    </a:path>
                  </a:pathLst>
                </a:custGeom>
                <a:grpFill/>
                <a:ln w="9835" cap="flat">
                  <a:noFill/>
                  <a:prstDash val="solid"/>
                  <a:miter/>
                </a:ln>
              </p:spPr>
              <p:txBody>
                <a:bodyPr rtlCol="0" anchor="ctr"/>
                <a:lstStyle/>
                <a:p>
                  <a:endParaRPr lang="en-IN"/>
                </a:p>
              </p:txBody>
            </p:sp>
            <p:sp>
              <p:nvSpPr>
                <p:cNvPr id="780" name="Freeform: Shape 779">
                  <a:extLst>
                    <a:ext uri="{FF2B5EF4-FFF2-40B4-BE49-F238E27FC236}">
                      <a16:creationId xmlns:a16="http://schemas.microsoft.com/office/drawing/2014/main" id="{EEDE4E71-31AF-18A1-63A1-5B5DEFD9D2D9}"/>
                    </a:ext>
                  </a:extLst>
                </p:cNvPr>
                <p:cNvSpPr/>
                <p:nvPr/>
              </p:nvSpPr>
              <p:spPr>
                <a:xfrm>
                  <a:off x="16128166" y="757411"/>
                  <a:ext cx="239143" cy="86873"/>
                </a:xfrm>
                <a:custGeom>
                  <a:avLst/>
                  <a:gdLst>
                    <a:gd name="connsiteX0" fmla="*/ 236469 w 239143"/>
                    <a:gd name="connsiteY0" fmla="*/ 32471 h 86873"/>
                    <a:gd name="connsiteX1" fmla="*/ 174184 w 239143"/>
                    <a:gd name="connsiteY1" fmla="*/ 0 h 86873"/>
                    <a:gd name="connsiteX2" fmla="*/ 82282 w 239143"/>
                    <a:gd name="connsiteY2" fmla="*/ 3641 h 86873"/>
                    <a:gd name="connsiteX3" fmla="*/ 3368 w 239143"/>
                    <a:gd name="connsiteY3" fmla="*/ 50477 h 86873"/>
                    <a:gd name="connsiteX4" fmla="*/ 318 w 239143"/>
                    <a:gd name="connsiteY4" fmla="*/ 58644 h 86873"/>
                    <a:gd name="connsiteX5" fmla="*/ 15471 w 239143"/>
                    <a:gd name="connsiteY5" fmla="*/ 86687 h 86873"/>
                    <a:gd name="connsiteX6" fmla="*/ 61816 w 239143"/>
                    <a:gd name="connsiteY6" fmla="*/ 73600 h 86873"/>
                    <a:gd name="connsiteX7" fmla="*/ 78740 w 239143"/>
                    <a:gd name="connsiteY7" fmla="*/ 59333 h 86873"/>
                    <a:gd name="connsiteX8" fmla="*/ 105405 w 239143"/>
                    <a:gd name="connsiteY8" fmla="*/ 62088 h 86873"/>
                    <a:gd name="connsiteX9" fmla="*/ 140138 w 239143"/>
                    <a:gd name="connsiteY9" fmla="*/ 72911 h 86873"/>
                    <a:gd name="connsiteX10" fmla="*/ 231155 w 239143"/>
                    <a:gd name="connsiteY10" fmla="*/ 51264 h 86873"/>
                    <a:gd name="connsiteX11" fmla="*/ 236469 w 239143"/>
                    <a:gd name="connsiteY11" fmla="*/ 32667 h 8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9143" h="86873">
                      <a:moveTo>
                        <a:pt x="236469" y="32471"/>
                      </a:moveTo>
                      <a:cubicBezTo>
                        <a:pt x="182843" y="1771"/>
                        <a:pt x="182055" y="0"/>
                        <a:pt x="174184" y="0"/>
                      </a:cubicBezTo>
                      <a:cubicBezTo>
                        <a:pt x="87300" y="689"/>
                        <a:pt x="88776" y="-197"/>
                        <a:pt x="82282" y="3641"/>
                      </a:cubicBezTo>
                      <a:lnTo>
                        <a:pt x="3368" y="50477"/>
                      </a:lnTo>
                      <a:cubicBezTo>
                        <a:pt x="712" y="52051"/>
                        <a:pt x="-666" y="55692"/>
                        <a:pt x="318" y="58644"/>
                      </a:cubicBezTo>
                      <a:cubicBezTo>
                        <a:pt x="7796" y="81078"/>
                        <a:pt x="8288" y="88163"/>
                        <a:pt x="15471" y="86687"/>
                      </a:cubicBezTo>
                      <a:cubicBezTo>
                        <a:pt x="53846" y="78914"/>
                        <a:pt x="57289" y="79307"/>
                        <a:pt x="61816" y="73600"/>
                      </a:cubicBezTo>
                      <a:cubicBezTo>
                        <a:pt x="66637" y="68582"/>
                        <a:pt x="70081" y="59038"/>
                        <a:pt x="78740" y="59333"/>
                      </a:cubicBezTo>
                      <a:cubicBezTo>
                        <a:pt x="89858" y="59628"/>
                        <a:pt x="98419" y="59333"/>
                        <a:pt x="105405" y="62088"/>
                      </a:cubicBezTo>
                      <a:cubicBezTo>
                        <a:pt x="128134" y="71337"/>
                        <a:pt x="132956" y="74289"/>
                        <a:pt x="140138" y="72911"/>
                      </a:cubicBezTo>
                      <a:cubicBezTo>
                        <a:pt x="224464" y="56578"/>
                        <a:pt x="226825" y="57955"/>
                        <a:pt x="231155" y="51264"/>
                      </a:cubicBezTo>
                      <a:cubicBezTo>
                        <a:pt x="233910" y="45360"/>
                        <a:pt x="243848" y="36898"/>
                        <a:pt x="236469" y="32667"/>
                      </a:cubicBezTo>
                      <a:close/>
                    </a:path>
                  </a:pathLst>
                </a:custGeom>
                <a:grpFill/>
                <a:ln w="9835" cap="flat">
                  <a:noFill/>
                  <a:prstDash val="solid"/>
                  <a:miter/>
                </a:ln>
              </p:spPr>
              <p:txBody>
                <a:bodyPr rtlCol="0" anchor="ctr"/>
                <a:lstStyle/>
                <a:p>
                  <a:endParaRPr lang="en-IN"/>
                </a:p>
              </p:txBody>
            </p:sp>
            <p:sp>
              <p:nvSpPr>
                <p:cNvPr id="781" name="Freeform: Shape 780">
                  <a:extLst>
                    <a:ext uri="{FF2B5EF4-FFF2-40B4-BE49-F238E27FC236}">
                      <a16:creationId xmlns:a16="http://schemas.microsoft.com/office/drawing/2014/main" id="{0DCBAEC5-51B3-8FA5-4367-4959884A9716}"/>
                    </a:ext>
                  </a:extLst>
                </p:cNvPr>
                <p:cNvSpPr/>
                <p:nvPr/>
              </p:nvSpPr>
              <p:spPr>
                <a:xfrm>
                  <a:off x="16675470" y="1466202"/>
                  <a:ext cx="30694" cy="22199"/>
                </a:xfrm>
                <a:custGeom>
                  <a:avLst/>
                  <a:gdLst>
                    <a:gd name="connsiteX0" fmla="*/ 15642 w 30694"/>
                    <a:gd name="connsiteY0" fmla="*/ 643 h 22199"/>
                    <a:gd name="connsiteX1" fmla="*/ 1669 w 30694"/>
                    <a:gd name="connsiteY1" fmla="*/ 11959 h 22199"/>
                    <a:gd name="connsiteX2" fmla="*/ 19972 w 30694"/>
                    <a:gd name="connsiteY2" fmla="*/ 20519 h 22199"/>
                    <a:gd name="connsiteX3" fmla="*/ 28728 w 30694"/>
                    <a:gd name="connsiteY3" fmla="*/ 4874 h 22199"/>
                    <a:gd name="connsiteX4" fmla="*/ 15642 w 30694"/>
                    <a:gd name="connsiteY4" fmla="*/ 643 h 22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94" h="22199">
                      <a:moveTo>
                        <a:pt x="15642" y="643"/>
                      </a:moveTo>
                      <a:cubicBezTo>
                        <a:pt x="9738" y="3989"/>
                        <a:pt x="-4923" y="6252"/>
                        <a:pt x="1669" y="11959"/>
                      </a:cubicBezTo>
                      <a:cubicBezTo>
                        <a:pt x="7082" y="15501"/>
                        <a:pt x="13674" y="26325"/>
                        <a:pt x="19972" y="20519"/>
                      </a:cubicBezTo>
                      <a:cubicBezTo>
                        <a:pt x="23514" y="16190"/>
                        <a:pt x="35321" y="10089"/>
                        <a:pt x="28728" y="4874"/>
                      </a:cubicBezTo>
                      <a:cubicBezTo>
                        <a:pt x="28728" y="4874"/>
                        <a:pt x="22333" y="-2112"/>
                        <a:pt x="15642" y="643"/>
                      </a:cubicBezTo>
                      <a:close/>
                    </a:path>
                  </a:pathLst>
                </a:custGeom>
                <a:grpFill/>
                <a:ln w="9835" cap="flat">
                  <a:noFill/>
                  <a:prstDash val="solid"/>
                  <a:miter/>
                </a:ln>
              </p:spPr>
              <p:txBody>
                <a:bodyPr rtlCol="0" anchor="ctr"/>
                <a:lstStyle/>
                <a:p>
                  <a:endParaRPr lang="en-IN"/>
                </a:p>
              </p:txBody>
            </p:sp>
            <p:sp>
              <p:nvSpPr>
                <p:cNvPr id="782" name="Freeform: Shape 781">
                  <a:extLst>
                    <a:ext uri="{FF2B5EF4-FFF2-40B4-BE49-F238E27FC236}">
                      <a16:creationId xmlns:a16="http://schemas.microsoft.com/office/drawing/2014/main" id="{6345906A-BD84-8C1B-130F-3F59D24B86CC}"/>
                    </a:ext>
                  </a:extLst>
                </p:cNvPr>
                <p:cNvSpPr/>
                <p:nvPr/>
              </p:nvSpPr>
              <p:spPr>
                <a:xfrm>
                  <a:off x="16884432" y="1375650"/>
                  <a:ext cx="19045" cy="17945"/>
                </a:xfrm>
                <a:custGeom>
                  <a:avLst/>
                  <a:gdLst>
                    <a:gd name="connsiteX0" fmla="*/ 6423 w 19045"/>
                    <a:gd name="connsiteY0" fmla="*/ 1163 h 17945"/>
                    <a:gd name="connsiteX1" fmla="*/ 1700 w 19045"/>
                    <a:gd name="connsiteY1" fmla="*/ 10510 h 17945"/>
                    <a:gd name="connsiteX2" fmla="*/ 15771 w 19045"/>
                    <a:gd name="connsiteY2" fmla="*/ 15824 h 17945"/>
                    <a:gd name="connsiteX3" fmla="*/ 17247 w 19045"/>
                    <a:gd name="connsiteY3" fmla="*/ 5000 h 17945"/>
                    <a:gd name="connsiteX4" fmla="*/ 6423 w 19045"/>
                    <a:gd name="connsiteY4" fmla="*/ 1064 h 17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5" h="17945">
                      <a:moveTo>
                        <a:pt x="6423" y="1163"/>
                      </a:moveTo>
                      <a:cubicBezTo>
                        <a:pt x="5439" y="2147"/>
                        <a:pt x="-3711" y="5591"/>
                        <a:pt x="1700" y="10510"/>
                      </a:cubicBezTo>
                      <a:cubicBezTo>
                        <a:pt x="4554" y="12281"/>
                        <a:pt x="10851" y="22220"/>
                        <a:pt x="15771" y="15824"/>
                      </a:cubicBezTo>
                      <a:cubicBezTo>
                        <a:pt x="16165" y="14840"/>
                        <a:pt x="21872" y="10215"/>
                        <a:pt x="17247" y="5000"/>
                      </a:cubicBezTo>
                      <a:cubicBezTo>
                        <a:pt x="17247" y="5000"/>
                        <a:pt x="12426" y="-2773"/>
                        <a:pt x="6423" y="1064"/>
                      </a:cubicBezTo>
                      <a:close/>
                    </a:path>
                  </a:pathLst>
                </a:custGeom>
                <a:grpFill/>
                <a:ln w="9835" cap="flat">
                  <a:noFill/>
                  <a:prstDash val="solid"/>
                  <a:miter/>
                </a:ln>
              </p:spPr>
              <p:txBody>
                <a:bodyPr rtlCol="0" anchor="ctr"/>
                <a:lstStyle/>
                <a:p>
                  <a:endParaRPr lang="en-IN"/>
                </a:p>
              </p:txBody>
            </p:sp>
            <p:sp>
              <p:nvSpPr>
                <p:cNvPr id="783" name="Freeform: Shape 782">
                  <a:extLst>
                    <a:ext uri="{FF2B5EF4-FFF2-40B4-BE49-F238E27FC236}">
                      <a16:creationId xmlns:a16="http://schemas.microsoft.com/office/drawing/2014/main" id="{BFB00272-F314-3D61-EDF9-BA9D43745DFB}"/>
                    </a:ext>
                  </a:extLst>
                </p:cNvPr>
                <p:cNvSpPr/>
                <p:nvPr/>
              </p:nvSpPr>
              <p:spPr>
                <a:xfrm>
                  <a:off x="15184246" y="2011405"/>
                  <a:ext cx="76445" cy="65292"/>
                </a:xfrm>
                <a:custGeom>
                  <a:avLst/>
                  <a:gdLst>
                    <a:gd name="connsiteX0" fmla="*/ 69695 w 76445"/>
                    <a:gd name="connsiteY0" fmla="*/ 3408 h 65292"/>
                    <a:gd name="connsiteX1" fmla="*/ 63004 w 76445"/>
                    <a:gd name="connsiteY1" fmla="*/ 554 h 65292"/>
                    <a:gd name="connsiteX2" fmla="*/ 18726 w 76445"/>
                    <a:gd name="connsiteY2" fmla="*/ 26433 h 65292"/>
                    <a:gd name="connsiteX3" fmla="*/ 2982 w 76445"/>
                    <a:gd name="connsiteY3" fmla="*/ 64610 h 65292"/>
                    <a:gd name="connsiteX4" fmla="*/ 72844 w 76445"/>
                    <a:gd name="connsiteY4" fmla="*/ 31254 h 65292"/>
                    <a:gd name="connsiteX5" fmla="*/ 76189 w 76445"/>
                    <a:gd name="connsiteY5" fmla="*/ 23579 h 65292"/>
                    <a:gd name="connsiteX6" fmla="*/ 69793 w 76445"/>
                    <a:gd name="connsiteY6" fmla="*/ 3408 h 6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445" h="65292">
                      <a:moveTo>
                        <a:pt x="69695" y="3408"/>
                      </a:moveTo>
                      <a:cubicBezTo>
                        <a:pt x="68809" y="456"/>
                        <a:pt x="65759" y="-823"/>
                        <a:pt x="63004" y="554"/>
                      </a:cubicBezTo>
                      <a:cubicBezTo>
                        <a:pt x="25121" y="19446"/>
                        <a:pt x="22071" y="19840"/>
                        <a:pt x="18726" y="26433"/>
                      </a:cubicBezTo>
                      <a:cubicBezTo>
                        <a:pt x="1801" y="59592"/>
                        <a:pt x="-4201" y="67956"/>
                        <a:pt x="2982" y="64610"/>
                      </a:cubicBezTo>
                      <a:lnTo>
                        <a:pt x="72844" y="31254"/>
                      </a:lnTo>
                      <a:cubicBezTo>
                        <a:pt x="75598" y="29975"/>
                        <a:pt x="77075" y="26433"/>
                        <a:pt x="76189" y="23579"/>
                      </a:cubicBezTo>
                      <a:lnTo>
                        <a:pt x="69793" y="3408"/>
                      </a:lnTo>
                      <a:close/>
                    </a:path>
                  </a:pathLst>
                </a:custGeom>
                <a:grpFill/>
                <a:ln w="9835" cap="flat">
                  <a:noFill/>
                  <a:prstDash val="solid"/>
                  <a:miter/>
                </a:ln>
              </p:spPr>
              <p:txBody>
                <a:bodyPr rtlCol="0" anchor="ctr"/>
                <a:lstStyle/>
                <a:p>
                  <a:endParaRPr lang="en-IN"/>
                </a:p>
              </p:txBody>
            </p:sp>
            <p:sp>
              <p:nvSpPr>
                <p:cNvPr id="784" name="Freeform: Shape 783">
                  <a:extLst>
                    <a:ext uri="{FF2B5EF4-FFF2-40B4-BE49-F238E27FC236}">
                      <a16:creationId xmlns:a16="http://schemas.microsoft.com/office/drawing/2014/main" id="{4131B06F-60DC-5213-D780-7C36AAAA974C}"/>
                    </a:ext>
                  </a:extLst>
                </p:cNvPr>
                <p:cNvSpPr/>
                <p:nvPr/>
              </p:nvSpPr>
              <p:spPr>
                <a:xfrm>
                  <a:off x="15332890" y="2360136"/>
                  <a:ext cx="51133" cy="61730"/>
                </a:xfrm>
                <a:custGeom>
                  <a:avLst/>
                  <a:gdLst>
                    <a:gd name="connsiteX0" fmla="*/ 50933 w 51133"/>
                    <a:gd name="connsiteY0" fmla="*/ 47375 h 61730"/>
                    <a:gd name="connsiteX1" fmla="*/ 38437 w 51133"/>
                    <a:gd name="connsiteY1" fmla="*/ 33698 h 61730"/>
                    <a:gd name="connsiteX2" fmla="*/ 19151 w 51133"/>
                    <a:gd name="connsiteY2" fmla="*/ 3589 h 61730"/>
                    <a:gd name="connsiteX3" fmla="*/ 3408 w 51133"/>
                    <a:gd name="connsiteY3" fmla="*/ 2211 h 61730"/>
                    <a:gd name="connsiteX4" fmla="*/ 554 w 51133"/>
                    <a:gd name="connsiteY4" fmla="*/ 8607 h 61730"/>
                    <a:gd name="connsiteX5" fmla="*/ 14035 w 51133"/>
                    <a:gd name="connsiteY5" fmla="*/ 35568 h 61730"/>
                    <a:gd name="connsiteX6" fmla="*/ 46407 w 51133"/>
                    <a:gd name="connsiteY6" fmla="*/ 60757 h 61730"/>
                    <a:gd name="connsiteX7" fmla="*/ 51031 w 51133"/>
                    <a:gd name="connsiteY7" fmla="*/ 47375 h 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133" h="61730">
                      <a:moveTo>
                        <a:pt x="50933" y="47375"/>
                      </a:moveTo>
                      <a:cubicBezTo>
                        <a:pt x="50933" y="39307"/>
                        <a:pt x="41487" y="36355"/>
                        <a:pt x="38437" y="33698"/>
                      </a:cubicBezTo>
                      <a:cubicBezTo>
                        <a:pt x="31746" y="29369"/>
                        <a:pt x="28203" y="20513"/>
                        <a:pt x="19151" y="3589"/>
                      </a:cubicBezTo>
                      <a:cubicBezTo>
                        <a:pt x="15412" y="-3397"/>
                        <a:pt x="6360" y="1916"/>
                        <a:pt x="3408" y="2211"/>
                      </a:cubicBezTo>
                      <a:cubicBezTo>
                        <a:pt x="456" y="2999"/>
                        <a:pt x="-823" y="5852"/>
                        <a:pt x="554" y="8607"/>
                      </a:cubicBezTo>
                      <a:lnTo>
                        <a:pt x="14035" y="35568"/>
                      </a:lnTo>
                      <a:cubicBezTo>
                        <a:pt x="17577" y="42750"/>
                        <a:pt x="25448" y="46588"/>
                        <a:pt x="46407" y="60757"/>
                      </a:cubicBezTo>
                      <a:cubicBezTo>
                        <a:pt x="53295" y="65480"/>
                        <a:pt x="50441" y="51704"/>
                        <a:pt x="51031" y="47375"/>
                      </a:cubicBezTo>
                      <a:close/>
                    </a:path>
                  </a:pathLst>
                </a:custGeom>
                <a:grpFill/>
                <a:ln w="9835" cap="flat">
                  <a:noFill/>
                  <a:prstDash val="solid"/>
                  <a:miter/>
                </a:ln>
              </p:spPr>
              <p:txBody>
                <a:bodyPr rtlCol="0" anchor="ctr"/>
                <a:lstStyle/>
                <a:p>
                  <a:endParaRPr lang="en-IN"/>
                </a:p>
              </p:txBody>
            </p:sp>
            <p:sp>
              <p:nvSpPr>
                <p:cNvPr id="785" name="Freeform: Shape 784">
                  <a:extLst>
                    <a:ext uri="{FF2B5EF4-FFF2-40B4-BE49-F238E27FC236}">
                      <a16:creationId xmlns:a16="http://schemas.microsoft.com/office/drawing/2014/main" id="{6A920800-381E-FAEB-BD0F-9002C756E3CC}"/>
                    </a:ext>
                  </a:extLst>
                </p:cNvPr>
                <p:cNvSpPr/>
                <p:nvPr/>
              </p:nvSpPr>
              <p:spPr>
                <a:xfrm>
                  <a:off x="14673002" y="2747457"/>
                  <a:ext cx="52619" cy="55061"/>
                </a:xfrm>
                <a:custGeom>
                  <a:avLst/>
                  <a:gdLst>
                    <a:gd name="connsiteX0" fmla="*/ 45862 w 52619"/>
                    <a:gd name="connsiteY0" fmla="*/ 1389 h 55061"/>
                    <a:gd name="connsiteX1" fmla="*/ 29823 w 52619"/>
                    <a:gd name="connsiteY1" fmla="*/ 20281 h 55061"/>
                    <a:gd name="connsiteX2" fmla="*/ 4142 w 52619"/>
                    <a:gd name="connsiteY2" fmla="*/ 31892 h 55061"/>
                    <a:gd name="connsiteX3" fmla="*/ 2765 w 52619"/>
                    <a:gd name="connsiteY3" fmla="*/ 51472 h 55061"/>
                    <a:gd name="connsiteX4" fmla="*/ 29233 w 52619"/>
                    <a:gd name="connsiteY4" fmla="*/ 45962 h 55061"/>
                    <a:gd name="connsiteX5" fmla="*/ 50388 w 52619"/>
                    <a:gd name="connsiteY5" fmla="*/ 20970 h 55061"/>
                    <a:gd name="connsiteX6" fmla="*/ 50683 w 52619"/>
                    <a:gd name="connsiteY6" fmla="*/ 2668 h 55061"/>
                    <a:gd name="connsiteX7" fmla="*/ 45961 w 52619"/>
                    <a:gd name="connsiteY7" fmla="*/ 1487 h 5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9" h="55061">
                      <a:moveTo>
                        <a:pt x="45862" y="1389"/>
                      </a:moveTo>
                      <a:lnTo>
                        <a:pt x="29823" y="20281"/>
                      </a:lnTo>
                      <a:cubicBezTo>
                        <a:pt x="25002" y="25988"/>
                        <a:pt x="16737" y="27661"/>
                        <a:pt x="4142" y="31892"/>
                      </a:cubicBezTo>
                      <a:cubicBezTo>
                        <a:pt x="-3926" y="34548"/>
                        <a:pt x="2174" y="45175"/>
                        <a:pt x="2765" y="51472"/>
                      </a:cubicBezTo>
                      <a:cubicBezTo>
                        <a:pt x="4733" y="60525"/>
                        <a:pt x="16737" y="50095"/>
                        <a:pt x="29233" y="45962"/>
                      </a:cubicBezTo>
                      <a:cubicBezTo>
                        <a:pt x="36514" y="42814"/>
                        <a:pt x="41139" y="34056"/>
                        <a:pt x="50388" y="20970"/>
                      </a:cubicBezTo>
                      <a:cubicBezTo>
                        <a:pt x="55013" y="14377"/>
                        <a:pt x="51077" y="6506"/>
                        <a:pt x="50683" y="2668"/>
                      </a:cubicBezTo>
                      <a:cubicBezTo>
                        <a:pt x="50093" y="-382"/>
                        <a:pt x="47928" y="-874"/>
                        <a:pt x="45961" y="1487"/>
                      </a:cubicBezTo>
                      <a:close/>
                    </a:path>
                  </a:pathLst>
                </a:custGeom>
                <a:grpFill/>
                <a:ln w="9835" cap="flat">
                  <a:noFill/>
                  <a:prstDash val="solid"/>
                  <a:miter/>
                </a:ln>
              </p:spPr>
              <p:txBody>
                <a:bodyPr rtlCol="0" anchor="ctr"/>
                <a:lstStyle/>
                <a:p>
                  <a:endParaRPr lang="en-IN"/>
                </a:p>
              </p:txBody>
            </p:sp>
            <p:sp>
              <p:nvSpPr>
                <p:cNvPr id="786" name="Freeform: Shape 785">
                  <a:extLst>
                    <a:ext uri="{FF2B5EF4-FFF2-40B4-BE49-F238E27FC236}">
                      <a16:creationId xmlns:a16="http://schemas.microsoft.com/office/drawing/2014/main" id="{8EFC0E79-BF54-B0BB-1954-BC1B68C9FEA5}"/>
                    </a:ext>
                  </a:extLst>
                </p:cNvPr>
                <p:cNvSpPr/>
                <p:nvPr/>
              </p:nvSpPr>
              <p:spPr>
                <a:xfrm>
                  <a:off x="14735301" y="2733456"/>
                  <a:ext cx="20134" cy="23172"/>
                </a:xfrm>
                <a:custGeom>
                  <a:avLst/>
                  <a:gdLst>
                    <a:gd name="connsiteX0" fmla="*/ 3438 w 20134"/>
                    <a:gd name="connsiteY0" fmla="*/ 3878 h 23172"/>
                    <a:gd name="connsiteX1" fmla="*/ 3438 w 20134"/>
                    <a:gd name="connsiteY1" fmla="*/ 20114 h 23172"/>
                    <a:gd name="connsiteX2" fmla="*/ 16821 w 20134"/>
                    <a:gd name="connsiteY2" fmla="*/ 18146 h 23172"/>
                    <a:gd name="connsiteX3" fmla="*/ 18100 w 20134"/>
                    <a:gd name="connsiteY3" fmla="*/ 3288 h 23172"/>
                    <a:gd name="connsiteX4" fmla="*/ 3438 w 20134"/>
                    <a:gd name="connsiteY4" fmla="*/ 3780 h 23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34" h="23172">
                      <a:moveTo>
                        <a:pt x="3438" y="3878"/>
                      </a:moveTo>
                      <a:cubicBezTo>
                        <a:pt x="-3941" y="7125"/>
                        <a:pt x="2750" y="16375"/>
                        <a:pt x="3438" y="20114"/>
                      </a:cubicBezTo>
                      <a:cubicBezTo>
                        <a:pt x="6194" y="27592"/>
                        <a:pt x="14361" y="19130"/>
                        <a:pt x="16821" y="18146"/>
                      </a:cubicBezTo>
                      <a:cubicBezTo>
                        <a:pt x="23314" y="14111"/>
                        <a:pt x="18296" y="5551"/>
                        <a:pt x="18100" y="3288"/>
                      </a:cubicBezTo>
                      <a:cubicBezTo>
                        <a:pt x="15836" y="-4387"/>
                        <a:pt x="3438" y="3780"/>
                        <a:pt x="3438" y="3780"/>
                      </a:cubicBezTo>
                      <a:close/>
                    </a:path>
                  </a:pathLst>
                </a:custGeom>
                <a:grpFill/>
                <a:ln w="9835" cap="flat">
                  <a:noFill/>
                  <a:prstDash val="solid"/>
                  <a:miter/>
                </a:ln>
              </p:spPr>
              <p:txBody>
                <a:bodyPr rtlCol="0" anchor="ctr"/>
                <a:lstStyle/>
                <a:p>
                  <a:endParaRPr lang="en-IN"/>
                </a:p>
              </p:txBody>
            </p:sp>
            <p:sp>
              <p:nvSpPr>
                <p:cNvPr id="787" name="Freeform: Shape 786">
                  <a:extLst>
                    <a:ext uri="{FF2B5EF4-FFF2-40B4-BE49-F238E27FC236}">
                      <a16:creationId xmlns:a16="http://schemas.microsoft.com/office/drawing/2014/main" id="{876DABC2-5D1F-BD1B-22BA-355F00392619}"/>
                    </a:ext>
                  </a:extLst>
                </p:cNvPr>
                <p:cNvSpPr/>
                <p:nvPr/>
              </p:nvSpPr>
              <p:spPr>
                <a:xfrm>
                  <a:off x="14630325" y="2833210"/>
                  <a:ext cx="24703" cy="34730"/>
                </a:xfrm>
                <a:custGeom>
                  <a:avLst/>
                  <a:gdLst>
                    <a:gd name="connsiteX0" fmla="*/ 21236 w 24703"/>
                    <a:gd name="connsiteY0" fmla="*/ 1437 h 34730"/>
                    <a:gd name="connsiteX1" fmla="*/ 14348 w 24703"/>
                    <a:gd name="connsiteY1" fmla="*/ 2225 h 34730"/>
                    <a:gd name="connsiteX2" fmla="*/ 1065 w 24703"/>
                    <a:gd name="connsiteY2" fmla="*/ 23183 h 34730"/>
                    <a:gd name="connsiteX3" fmla="*/ 6673 w 24703"/>
                    <a:gd name="connsiteY3" fmla="*/ 33810 h 34730"/>
                    <a:gd name="connsiteX4" fmla="*/ 13758 w 24703"/>
                    <a:gd name="connsiteY4" fmla="*/ 32039 h 34730"/>
                    <a:gd name="connsiteX5" fmla="*/ 23991 w 24703"/>
                    <a:gd name="connsiteY5" fmla="*/ 11670 h 34730"/>
                    <a:gd name="connsiteX6" fmla="*/ 22515 w 24703"/>
                    <a:gd name="connsiteY6" fmla="*/ 2716 h 34730"/>
                    <a:gd name="connsiteX7" fmla="*/ 21334 w 24703"/>
                    <a:gd name="connsiteY7" fmla="*/ 1536 h 34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03" h="34730">
                      <a:moveTo>
                        <a:pt x="21236" y="1437"/>
                      </a:moveTo>
                      <a:cubicBezTo>
                        <a:pt x="19071" y="-728"/>
                        <a:pt x="15923" y="-432"/>
                        <a:pt x="14348" y="2225"/>
                      </a:cubicBezTo>
                      <a:lnTo>
                        <a:pt x="1065" y="23183"/>
                      </a:lnTo>
                      <a:cubicBezTo>
                        <a:pt x="-2969" y="29579"/>
                        <a:pt x="5690" y="32727"/>
                        <a:pt x="6673" y="33810"/>
                      </a:cubicBezTo>
                      <a:cubicBezTo>
                        <a:pt x="9232" y="35581"/>
                        <a:pt x="12380" y="34695"/>
                        <a:pt x="13758" y="32039"/>
                      </a:cubicBezTo>
                      <a:lnTo>
                        <a:pt x="23991" y="11670"/>
                      </a:lnTo>
                      <a:cubicBezTo>
                        <a:pt x="25369" y="8915"/>
                        <a:pt x="24680" y="4881"/>
                        <a:pt x="22515" y="2716"/>
                      </a:cubicBezTo>
                      <a:lnTo>
                        <a:pt x="21334" y="1536"/>
                      </a:lnTo>
                      <a:close/>
                    </a:path>
                  </a:pathLst>
                </a:custGeom>
                <a:grpFill/>
                <a:ln w="9835" cap="flat">
                  <a:noFill/>
                  <a:prstDash val="solid"/>
                  <a:miter/>
                </a:ln>
              </p:spPr>
              <p:txBody>
                <a:bodyPr rtlCol="0" anchor="ctr"/>
                <a:lstStyle/>
                <a:p>
                  <a:endParaRPr lang="en-IN"/>
                </a:p>
              </p:txBody>
            </p:sp>
            <p:sp>
              <p:nvSpPr>
                <p:cNvPr id="788" name="Freeform: Shape 787">
                  <a:extLst>
                    <a:ext uri="{FF2B5EF4-FFF2-40B4-BE49-F238E27FC236}">
                      <a16:creationId xmlns:a16="http://schemas.microsoft.com/office/drawing/2014/main" id="{1B57C4F7-07A2-6F8B-BF29-5A959D3C588E}"/>
                    </a:ext>
                  </a:extLst>
                </p:cNvPr>
                <p:cNvSpPr/>
                <p:nvPr/>
              </p:nvSpPr>
              <p:spPr>
                <a:xfrm>
                  <a:off x="14594067" y="2889334"/>
                  <a:ext cx="16993" cy="19122"/>
                </a:xfrm>
                <a:custGeom>
                  <a:avLst/>
                  <a:gdLst>
                    <a:gd name="connsiteX0" fmla="*/ 14593 w 16993"/>
                    <a:gd name="connsiteY0" fmla="*/ 1694 h 19122"/>
                    <a:gd name="connsiteX1" fmla="*/ 1211 w 16993"/>
                    <a:gd name="connsiteY1" fmla="*/ 9566 h 19122"/>
                    <a:gd name="connsiteX2" fmla="*/ 2096 w 16993"/>
                    <a:gd name="connsiteY2" fmla="*/ 17438 h 19122"/>
                    <a:gd name="connsiteX3" fmla="*/ 2490 w 16993"/>
                    <a:gd name="connsiteY3" fmla="*/ 17733 h 19122"/>
                    <a:gd name="connsiteX4" fmla="*/ 15577 w 16993"/>
                    <a:gd name="connsiteY4" fmla="*/ 10747 h 19122"/>
                    <a:gd name="connsiteX5" fmla="*/ 15380 w 16993"/>
                    <a:gd name="connsiteY5" fmla="*/ 2383 h 19122"/>
                    <a:gd name="connsiteX6" fmla="*/ 14691 w 16993"/>
                    <a:gd name="connsiteY6" fmla="*/ 1596 h 19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93" h="19122">
                      <a:moveTo>
                        <a:pt x="14593" y="1694"/>
                      </a:moveTo>
                      <a:cubicBezTo>
                        <a:pt x="9181" y="-4209"/>
                        <a:pt x="4064" y="7008"/>
                        <a:pt x="1211" y="9566"/>
                      </a:cubicBezTo>
                      <a:cubicBezTo>
                        <a:pt x="-658" y="11928"/>
                        <a:pt x="-364" y="15470"/>
                        <a:pt x="2096" y="17438"/>
                      </a:cubicBezTo>
                      <a:lnTo>
                        <a:pt x="2490" y="17733"/>
                      </a:lnTo>
                      <a:cubicBezTo>
                        <a:pt x="8591" y="22751"/>
                        <a:pt x="13314" y="12715"/>
                        <a:pt x="15577" y="10747"/>
                      </a:cubicBezTo>
                      <a:cubicBezTo>
                        <a:pt x="17545" y="8385"/>
                        <a:pt x="17446" y="4646"/>
                        <a:pt x="15380" y="2383"/>
                      </a:cubicBezTo>
                      <a:lnTo>
                        <a:pt x="14691" y="1596"/>
                      </a:lnTo>
                      <a:close/>
                    </a:path>
                  </a:pathLst>
                </a:custGeom>
                <a:grpFill/>
                <a:ln w="9835" cap="flat">
                  <a:noFill/>
                  <a:prstDash val="solid"/>
                  <a:miter/>
                </a:ln>
              </p:spPr>
              <p:txBody>
                <a:bodyPr rtlCol="0" anchor="ctr"/>
                <a:lstStyle/>
                <a:p>
                  <a:endParaRPr lang="en-IN"/>
                </a:p>
              </p:txBody>
            </p:sp>
            <p:sp>
              <p:nvSpPr>
                <p:cNvPr id="789" name="Freeform: Shape 788">
                  <a:extLst>
                    <a:ext uri="{FF2B5EF4-FFF2-40B4-BE49-F238E27FC236}">
                      <a16:creationId xmlns:a16="http://schemas.microsoft.com/office/drawing/2014/main" id="{1BDC7C42-685B-4B7E-B60E-891DA2EA5C5F}"/>
                    </a:ext>
                  </a:extLst>
                </p:cNvPr>
                <p:cNvSpPr/>
                <p:nvPr/>
              </p:nvSpPr>
              <p:spPr>
                <a:xfrm>
                  <a:off x="14686377" y="2724359"/>
                  <a:ext cx="17805" cy="16661"/>
                </a:xfrm>
                <a:custGeom>
                  <a:avLst/>
                  <a:gdLst>
                    <a:gd name="connsiteX0" fmla="*/ 6018 w 17805"/>
                    <a:gd name="connsiteY0" fmla="*/ 16615 h 16661"/>
                    <a:gd name="connsiteX1" fmla="*/ 17727 w 17805"/>
                    <a:gd name="connsiteY1" fmla="*/ 9432 h 16661"/>
                    <a:gd name="connsiteX2" fmla="*/ 10839 w 17805"/>
                    <a:gd name="connsiteY2" fmla="*/ 380 h 16661"/>
                    <a:gd name="connsiteX3" fmla="*/ 16 w 17805"/>
                    <a:gd name="connsiteY3" fmla="*/ 9826 h 16661"/>
                    <a:gd name="connsiteX4" fmla="*/ 16 w 17805"/>
                    <a:gd name="connsiteY4" fmla="*/ 11794 h 16661"/>
                    <a:gd name="connsiteX5" fmla="*/ 6018 w 17805"/>
                    <a:gd name="connsiteY5" fmla="*/ 16615 h 1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05" h="16661">
                      <a:moveTo>
                        <a:pt x="6018" y="16615"/>
                      </a:moveTo>
                      <a:cubicBezTo>
                        <a:pt x="8379" y="15828"/>
                        <a:pt x="18809" y="17009"/>
                        <a:pt x="17727" y="9432"/>
                      </a:cubicBezTo>
                      <a:cubicBezTo>
                        <a:pt x="17235" y="8153"/>
                        <a:pt x="17825" y="-2080"/>
                        <a:pt x="10839" y="380"/>
                      </a:cubicBezTo>
                      <a:cubicBezTo>
                        <a:pt x="10839" y="380"/>
                        <a:pt x="-477" y="2250"/>
                        <a:pt x="16" y="9826"/>
                      </a:cubicBezTo>
                      <a:lnTo>
                        <a:pt x="16" y="11794"/>
                      </a:lnTo>
                      <a:cubicBezTo>
                        <a:pt x="310" y="14844"/>
                        <a:pt x="2967" y="17009"/>
                        <a:pt x="6018" y="16615"/>
                      </a:cubicBezTo>
                      <a:close/>
                    </a:path>
                  </a:pathLst>
                </a:custGeom>
                <a:grpFill/>
                <a:ln w="9835" cap="flat">
                  <a:noFill/>
                  <a:prstDash val="solid"/>
                  <a:miter/>
                </a:ln>
              </p:spPr>
              <p:txBody>
                <a:bodyPr rtlCol="0" anchor="ctr"/>
                <a:lstStyle/>
                <a:p>
                  <a:endParaRPr lang="en-IN"/>
                </a:p>
              </p:txBody>
            </p:sp>
            <p:sp>
              <p:nvSpPr>
                <p:cNvPr id="790" name="Freeform: Shape 789">
                  <a:extLst>
                    <a:ext uri="{FF2B5EF4-FFF2-40B4-BE49-F238E27FC236}">
                      <a16:creationId xmlns:a16="http://schemas.microsoft.com/office/drawing/2014/main" id="{60352327-6CC1-50D8-85C7-AEEF5B57B367}"/>
                    </a:ext>
                  </a:extLst>
                </p:cNvPr>
                <p:cNvSpPr/>
                <p:nvPr/>
              </p:nvSpPr>
              <p:spPr>
                <a:xfrm>
                  <a:off x="13546336" y="2452131"/>
                  <a:ext cx="36685" cy="22199"/>
                </a:xfrm>
                <a:custGeom>
                  <a:avLst/>
                  <a:gdLst>
                    <a:gd name="connsiteX0" fmla="*/ 34382 w 36685"/>
                    <a:gd name="connsiteY0" fmla="*/ 4282 h 22199"/>
                    <a:gd name="connsiteX1" fmla="*/ 17949 w 36685"/>
                    <a:gd name="connsiteY1" fmla="*/ 937 h 22199"/>
                    <a:gd name="connsiteX2" fmla="*/ 534 w 36685"/>
                    <a:gd name="connsiteY2" fmla="*/ 15204 h 22199"/>
                    <a:gd name="connsiteX3" fmla="*/ 9192 w 36685"/>
                    <a:gd name="connsiteY3" fmla="*/ 21501 h 22199"/>
                    <a:gd name="connsiteX4" fmla="*/ 34480 w 36685"/>
                    <a:gd name="connsiteY4" fmla="*/ 4282 h 22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85" h="22199">
                      <a:moveTo>
                        <a:pt x="34382" y="4282"/>
                      </a:moveTo>
                      <a:cubicBezTo>
                        <a:pt x="34382" y="4282"/>
                        <a:pt x="25034" y="-2409"/>
                        <a:pt x="17949" y="937"/>
                      </a:cubicBezTo>
                      <a:cubicBezTo>
                        <a:pt x="10373" y="5561"/>
                        <a:pt x="-2812" y="7037"/>
                        <a:pt x="534" y="15204"/>
                      </a:cubicBezTo>
                      <a:cubicBezTo>
                        <a:pt x="1320" y="16188"/>
                        <a:pt x="2698" y="24650"/>
                        <a:pt x="9192" y="21501"/>
                      </a:cubicBezTo>
                      <a:cubicBezTo>
                        <a:pt x="32610" y="9989"/>
                        <a:pt x="41170" y="7628"/>
                        <a:pt x="34480" y="4282"/>
                      </a:cubicBezTo>
                      <a:close/>
                    </a:path>
                  </a:pathLst>
                </a:custGeom>
                <a:grpFill/>
                <a:ln w="9835" cap="flat">
                  <a:noFill/>
                  <a:prstDash val="solid"/>
                  <a:miter/>
                </a:ln>
              </p:spPr>
              <p:txBody>
                <a:bodyPr rtlCol="0" anchor="ctr"/>
                <a:lstStyle/>
                <a:p>
                  <a:endParaRPr lang="en-IN"/>
                </a:p>
              </p:txBody>
            </p:sp>
            <p:sp>
              <p:nvSpPr>
                <p:cNvPr id="791" name="Freeform: Shape 790">
                  <a:extLst>
                    <a:ext uri="{FF2B5EF4-FFF2-40B4-BE49-F238E27FC236}">
                      <a16:creationId xmlns:a16="http://schemas.microsoft.com/office/drawing/2014/main" id="{07464FCE-AA4B-9AAB-09C6-E8A0DABB1D2D}"/>
                    </a:ext>
                  </a:extLst>
                </p:cNvPr>
                <p:cNvSpPr/>
                <p:nvPr/>
              </p:nvSpPr>
              <p:spPr>
                <a:xfrm>
                  <a:off x="13557596" y="2380945"/>
                  <a:ext cx="56854" cy="42701"/>
                </a:xfrm>
                <a:custGeom>
                  <a:avLst/>
                  <a:gdLst>
                    <a:gd name="connsiteX0" fmla="*/ 54411 w 56854"/>
                    <a:gd name="connsiteY0" fmla="*/ 7870 h 42701"/>
                    <a:gd name="connsiteX1" fmla="*/ 37192 w 56854"/>
                    <a:gd name="connsiteY1" fmla="*/ 687 h 42701"/>
                    <a:gd name="connsiteX2" fmla="*/ 15053 w 56854"/>
                    <a:gd name="connsiteY2" fmla="*/ 4721 h 42701"/>
                    <a:gd name="connsiteX3" fmla="*/ 785 w 56854"/>
                    <a:gd name="connsiteY3" fmla="*/ 25778 h 42701"/>
                    <a:gd name="connsiteX4" fmla="*/ 3245 w 56854"/>
                    <a:gd name="connsiteY4" fmla="*/ 29911 h 42701"/>
                    <a:gd name="connsiteX5" fmla="*/ 20267 w 56854"/>
                    <a:gd name="connsiteY5" fmla="*/ 32863 h 42701"/>
                    <a:gd name="connsiteX6" fmla="*/ 34830 w 56854"/>
                    <a:gd name="connsiteY6" fmla="*/ 40734 h 42701"/>
                    <a:gd name="connsiteX7" fmla="*/ 55690 w 56854"/>
                    <a:gd name="connsiteY7" fmla="*/ 14955 h 42701"/>
                    <a:gd name="connsiteX8" fmla="*/ 54411 w 56854"/>
                    <a:gd name="connsiteY8" fmla="*/ 7772 h 42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54" h="42701">
                      <a:moveTo>
                        <a:pt x="54411" y="7870"/>
                      </a:moveTo>
                      <a:cubicBezTo>
                        <a:pt x="48999" y="4623"/>
                        <a:pt x="43981" y="983"/>
                        <a:pt x="37192" y="687"/>
                      </a:cubicBezTo>
                      <a:cubicBezTo>
                        <a:pt x="37192" y="687"/>
                        <a:pt x="19874" y="-2461"/>
                        <a:pt x="15053" y="4721"/>
                      </a:cubicBezTo>
                      <a:lnTo>
                        <a:pt x="785" y="25778"/>
                      </a:lnTo>
                      <a:cubicBezTo>
                        <a:pt x="-887" y="28337"/>
                        <a:pt x="195" y="30206"/>
                        <a:pt x="3245" y="29911"/>
                      </a:cubicBezTo>
                      <a:cubicBezTo>
                        <a:pt x="6197" y="30009"/>
                        <a:pt x="15053" y="27057"/>
                        <a:pt x="20267" y="32863"/>
                      </a:cubicBezTo>
                      <a:cubicBezTo>
                        <a:pt x="23810" y="35814"/>
                        <a:pt x="29615" y="47228"/>
                        <a:pt x="34830" y="40734"/>
                      </a:cubicBezTo>
                      <a:lnTo>
                        <a:pt x="55690" y="14955"/>
                      </a:lnTo>
                      <a:cubicBezTo>
                        <a:pt x="57658" y="12593"/>
                        <a:pt x="57067" y="9346"/>
                        <a:pt x="54411" y="7772"/>
                      </a:cubicBezTo>
                      <a:close/>
                    </a:path>
                  </a:pathLst>
                </a:custGeom>
                <a:grpFill/>
                <a:ln w="9835" cap="flat">
                  <a:noFill/>
                  <a:prstDash val="solid"/>
                  <a:miter/>
                </a:ln>
              </p:spPr>
              <p:txBody>
                <a:bodyPr rtlCol="0" anchor="ctr"/>
                <a:lstStyle/>
                <a:p>
                  <a:endParaRPr lang="en-IN"/>
                </a:p>
              </p:txBody>
            </p:sp>
            <p:sp>
              <p:nvSpPr>
                <p:cNvPr id="792" name="Freeform: Shape 791">
                  <a:extLst>
                    <a:ext uri="{FF2B5EF4-FFF2-40B4-BE49-F238E27FC236}">
                      <a16:creationId xmlns:a16="http://schemas.microsoft.com/office/drawing/2014/main" id="{5288D07F-E160-1E97-3D34-E2D92E67A2CF}"/>
                    </a:ext>
                  </a:extLst>
                </p:cNvPr>
                <p:cNvSpPr/>
                <p:nvPr/>
              </p:nvSpPr>
              <p:spPr>
                <a:xfrm>
                  <a:off x="13516711" y="2382714"/>
                  <a:ext cx="34950" cy="20720"/>
                </a:xfrm>
                <a:custGeom>
                  <a:avLst/>
                  <a:gdLst>
                    <a:gd name="connsiteX0" fmla="*/ 13627 w 34950"/>
                    <a:gd name="connsiteY0" fmla="*/ 4133 h 20720"/>
                    <a:gd name="connsiteX1" fmla="*/ 1230 w 34950"/>
                    <a:gd name="connsiteY1" fmla="*/ 13776 h 20720"/>
                    <a:gd name="connsiteX2" fmla="*/ 20712 w 34950"/>
                    <a:gd name="connsiteY2" fmla="*/ 20664 h 20720"/>
                    <a:gd name="connsiteX3" fmla="*/ 34684 w 34950"/>
                    <a:gd name="connsiteY3" fmla="*/ 2657 h 20720"/>
                    <a:gd name="connsiteX4" fmla="*/ 13627 w 34950"/>
                    <a:gd name="connsiteY4" fmla="*/ 4232 h 2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0" h="20720">
                      <a:moveTo>
                        <a:pt x="13627" y="4133"/>
                      </a:moveTo>
                      <a:cubicBezTo>
                        <a:pt x="6543" y="6200"/>
                        <a:pt x="2213" y="12792"/>
                        <a:pt x="1230" y="13776"/>
                      </a:cubicBezTo>
                      <a:cubicBezTo>
                        <a:pt x="-4576" y="20467"/>
                        <a:pt x="11561" y="18696"/>
                        <a:pt x="20712" y="20664"/>
                      </a:cubicBezTo>
                      <a:cubicBezTo>
                        <a:pt x="29371" y="21648"/>
                        <a:pt x="30552" y="9545"/>
                        <a:pt x="34684" y="2657"/>
                      </a:cubicBezTo>
                      <a:cubicBezTo>
                        <a:pt x="37734" y="-4132"/>
                        <a:pt x="13627" y="4232"/>
                        <a:pt x="13627" y="4232"/>
                      </a:cubicBezTo>
                      <a:close/>
                    </a:path>
                  </a:pathLst>
                </a:custGeom>
                <a:grpFill/>
                <a:ln w="9835" cap="flat">
                  <a:noFill/>
                  <a:prstDash val="solid"/>
                  <a:miter/>
                </a:ln>
              </p:spPr>
              <p:txBody>
                <a:bodyPr rtlCol="0" anchor="ctr"/>
                <a:lstStyle/>
                <a:p>
                  <a:endParaRPr lang="en-IN"/>
                </a:p>
              </p:txBody>
            </p:sp>
            <p:sp>
              <p:nvSpPr>
                <p:cNvPr id="793" name="Freeform: Shape 792">
                  <a:extLst>
                    <a:ext uri="{FF2B5EF4-FFF2-40B4-BE49-F238E27FC236}">
                      <a16:creationId xmlns:a16="http://schemas.microsoft.com/office/drawing/2014/main" id="{43BDF99A-34AB-2507-B25E-D2BC448B7635}"/>
                    </a:ext>
                  </a:extLst>
                </p:cNvPr>
                <p:cNvSpPr/>
                <p:nvPr/>
              </p:nvSpPr>
              <p:spPr>
                <a:xfrm>
                  <a:off x="13831971" y="2448483"/>
                  <a:ext cx="179855" cy="674304"/>
                </a:xfrm>
                <a:custGeom>
                  <a:avLst/>
                  <a:gdLst>
                    <a:gd name="connsiteX0" fmla="*/ 170274 w 179855"/>
                    <a:gd name="connsiteY0" fmla="*/ 431426 h 674304"/>
                    <a:gd name="connsiteX1" fmla="*/ 106219 w 179855"/>
                    <a:gd name="connsiteY1" fmla="*/ 232175 h 674304"/>
                    <a:gd name="connsiteX2" fmla="*/ 94509 w 179855"/>
                    <a:gd name="connsiteY2" fmla="*/ 227944 h 674304"/>
                    <a:gd name="connsiteX3" fmla="*/ 90869 w 179855"/>
                    <a:gd name="connsiteY3" fmla="*/ 223319 h 674304"/>
                    <a:gd name="connsiteX4" fmla="*/ 94411 w 179855"/>
                    <a:gd name="connsiteY4" fmla="*/ 205017 h 674304"/>
                    <a:gd name="connsiteX5" fmla="*/ 89295 w 179855"/>
                    <a:gd name="connsiteY5" fmla="*/ 180713 h 674304"/>
                    <a:gd name="connsiteX6" fmla="*/ 98740 w 179855"/>
                    <a:gd name="connsiteY6" fmla="*/ 154836 h 674304"/>
                    <a:gd name="connsiteX7" fmla="*/ 99921 w 179855"/>
                    <a:gd name="connsiteY7" fmla="*/ 113608 h 674304"/>
                    <a:gd name="connsiteX8" fmla="*/ 95789 w 179855"/>
                    <a:gd name="connsiteY8" fmla="*/ 111935 h 674304"/>
                    <a:gd name="connsiteX9" fmla="*/ 94706 w 179855"/>
                    <a:gd name="connsiteY9" fmla="*/ 113017 h 674304"/>
                    <a:gd name="connsiteX10" fmla="*/ 86343 w 179855"/>
                    <a:gd name="connsiteY10" fmla="*/ 98651 h 674304"/>
                    <a:gd name="connsiteX11" fmla="*/ 90377 w 179855"/>
                    <a:gd name="connsiteY11" fmla="*/ 93240 h 674304"/>
                    <a:gd name="connsiteX12" fmla="*/ 93624 w 179855"/>
                    <a:gd name="connsiteY12" fmla="*/ 88025 h 674304"/>
                    <a:gd name="connsiteX13" fmla="*/ 75618 w 179855"/>
                    <a:gd name="connsiteY13" fmla="*/ 42664 h 674304"/>
                    <a:gd name="connsiteX14" fmla="*/ 78176 w 179855"/>
                    <a:gd name="connsiteY14" fmla="*/ 29184 h 674304"/>
                    <a:gd name="connsiteX15" fmla="*/ 66074 w 179855"/>
                    <a:gd name="connsiteY15" fmla="*/ 2715 h 674304"/>
                    <a:gd name="connsiteX16" fmla="*/ 44131 w 179855"/>
                    <a:gd name="connsiteY16" fmla="*/ 7143 h 674304"/>
                    <a:gd name="connsiteX17" fmla="*/ 41769 w 179855"/>
                    <a:gd name="connsiteY17" fmla="*/ 14424 h 674304"/>
                    <a:gd name="connsiteX18" fmla="*/ 60957 w 179855"/>
                    <a:gd name="connsiteY18" fmla="*/ 48961 h 674304"/>
                    <a:gd name="connsiteX19" fmla="*/ 58792 w 179855"/>
                    <a:gd name="connsiteY19" fmla="*/ 56636 h 674304"/>
                    <a:gd name="connsiteX20" fmla="*/ 57021 w 179855"/>
                    <a:gd name="connsiteY20" fmla="*/ 57620 h 674304"/>
                    <a:gd name="connsiteX21" fmla="*/ 57415 w 179855"/>
                    <a:gd name="connsiteY21" fmla="*/ 68739 h 674304"/>
                    <a:gd name="connsiteX22" fmla="*/ 44623 w 179855"/>
                    <a:gd name="connsiteY22" fmla="*/ 82908 h 674304"/>
                    <a:gd name="connsiteX23" fmla="*/ 30651 w 179855"/>
                    <a:gd name="connsiteY23" fmla="*/ 76611 h 674304"/>
                    <a:gd name="connsiteX24" fmla="*/ 10184 w 179855"/>
                    <a:gd name="connsiteY24" fmla="*/ 82219 h 674304"/>
                    <a:gd name="connsiteX25" fmla="*/ 13234 w 179855"/>
                    <a:gd name="connsiteY25" fmla="*/ 106031 h 674304"/>
                    <a:gd name="connsiteX26" fmla="*/ 1033 w 179855"/>
                    <a:gd name="connsiteY26" fmla="*/ 164084 h 674304"/>
                    <a:gd name="connsiteX27" fmla="*/ 1624 w 179855"/>
                    <a:gd name="connsiteY27" fmla="*/ 199212 h 674304"/>
                    <a:gd name="connsiteX28" fmla="*/ 35373 w 179855"/>
                    <a:gd name="connsiteY28" fmla="*/ 263858 h 674304"/>
                    <a:gd name="connsiteX29" fmla="*/ 27305 w 179855"/>
                    <a:gd name="connsiteY29" fmla="*/ 284620 h 674304"/>
                    <a:gd name="connsiteX30" fmla="*/ 22878 w 179855"/>
                    <a:gd name="connsiteY30" fmla="*/ 309120 h 674304"/>
                    <a:gd name="connsiteX31" fmla="*/ 31536 w 179855"/>
                    <a:gd name="connsiteY31" fmla="*/ 344641 h 674304"/>
                    <a:gd name="connsiteX32" fmla="*/ 21697 w 179855"/>
                    <a:gd name="connsiteY32" fmla="*/ 428081 h 674304"/>
                    <a:gd name="connsiteX33" fmla="*/ 11660 w 179855"/>
                    <a:gd name="connsiteY33" fmla="*/ 454746 h 674304"/>
                    <a:gd name="connsiteX34" fmla="*/ 29568 w 179855"/>
                    <a:gd name="connsiteY34" fmla="*/ 512898 h 674304"/>
                    <a:gd name="connsiteX35" fmla="*/ 18647 w 179855"/>
                    <a:gd name="connsiteY35" fmla="*/ 541138 h 674304"/>
                    <a:gd name="connsiteX36" fmla="*/ 21598 w 179855"/>
                    <a:gd name="connsiteY36" fmla="*/ 583153 h 674304"/>
                    <a:gd name="connsiteX37" fmla="*/ 8118 w 179855"/>
                    <a:gd name="connsiteY37" fmla="*/ 623692 h 674304"/>
                    <a:gd name="connsiteX38" fmla="*/ 22878 w 179855"/>
                    <a:gd name="connsiteY38" fmla="*/ 672005 h 674304"/>
                    <a:gd name="connsiteX39" fmla="*/ 46689 w 179855"/>
                    <a:gd name="connsiteY39" fmla="*/ 621724 h 674304"/>
                    <a:gd name="connsiteX40" fmla="*/ 65778 w 179855"/>
                    <a:gd name="connsiteY40" fmla="*/ 618280 h 674304"/>
                    <a:gd name="connsiteX41" fmla="*/ 73748 w 179855"/>
                    <a:gd name="connsiteY41" fmla="*/ 625267 h 674304"/>
                    <a:gd name="connsiteX42" fmla="*/ 94903 w 179855"/>
                    <a:gd name="connsiteY42" fmla="*/ 630678 h 674304"/>
                    <a:gd name="connsiteX43" fmla="*/ 105235 w 179855"/>
                    <a:gd name="connsiteY43" fmla="*/ 663444 h 674304"/>
                    <a:gd name="connsiteX44" fmla="*/ 115862 w 179855"/>
                    <a:gd name="connsiteY44" fmla="*/ 649373 h 674304"/>
                    <a:gd name="connsiteX45" fmla="*/ 111434 w 179855"/>
                    <a:gd name="connsiteY45" fmla="*/ 614541 h 674304"/>
                    <a:gd name="connsiteX46" fmla="*/ 90672 w 179855"/>
                    <a:gd name="connsiteY46" fmla="*/ 608638 h 674304"/>
                    <a:gd name="connsiteX47" fmla="*/ 82014 w 179855"/>
                    <a:gd name="connsiteY47" fmla="*/ 575970 h 674304"/>
                    <a:gd name="connsiteX48" fmla="*/ 54069 w 179855"/>
                    <a:gd name="connsiteY48" fmla="*/ 541827 h 674304"/>
                    <a:gd name="connsiteX49" fmla="*/ 75815 w 179855"/>
                    <a:gd name="connsiteY49" fmla="*/ 450417 h 674304"/>
                    <a:gd name="connsiteX50" fmla="*/ 77389 w 179855"/>
                    <a:gd name="connsiteY50" fmla="*/ 430147 h 674304"/>
                    <a:gd name="connsiteX51" fmla="*/ 108482 w 179855"/>
                    <a:gd name="connsiteY51" fmla="*/ 409779 h 674304"/>
                    <a:gd name="connsiteX52" fmla="*/ 133573 w 179855"/>
                    <a:gd name="connsiteY52" fmla="*/ 412534 h 674304"/>
                    <a:gd name="connsiteX53" fmla="*/ 174505 w 179855"/>
                    <a:gd name="connsiteY53" fmla="*/ 451696 h 674304"/>
                    <a:gd name="connsiteX54" fmla="*/ 176572 w 179855"/>
                    <a:gd name="connsiteY54" fmla="*/ 437330 h 674304"/>
                    <a:gd name="connsiteX55" fmla="*/ 170176 w 179855"/>
                    <a:gd name="connsiteY55" fmla="*/ 431623 h 67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9855" h="674304">
                      <a:moveTo>
                        <a:pt x="170274" y="431426"/>
                      </a:moveTo>
                      <a:cubicBezTo>
                        <a:pt x="163879" y="425720"/>
                        <a:pt x="168897" y="435362"/>
                        <a:pt x="106219" y="232175"/>
                      </a:cubicBezTo>
                      <a:cubicBezTo>
                        <a:pt x="104054" y="225287"/>
                        <a:pt x="95494" y="228042"/>
                        <a:pt x="94509" y="227944"/>
                      </a:cubicBezTo>
                      <a:cubicBezTo>
                        <a:pt x="91459" y="228239"/>
                        <a:pt x="89787" y="226173"/>
                        <a:pt x="90869" y="223319"/>
                      </a:cubicBezTo>
                      <a:cubicBezTo>
                        <a:pt x="90476" y="224303"/>
                        <a:pt x="95986" y="212791"/>
                        <a:pt x="94411" y="205017"/>
                      </a:cubicBezTo>
                      <a:lnTo>
                        <a:pt x="89295" y="180713"/>
                      </a:lnTo>
                      <a:cubicBezTo>
                        <a:pt x="87819" y="173629"/>
                        <a:pt x="91656" y="168512"/>
                        <a:pt x="98740" y="154836"/>
                      </a:cubicBezTo>
                      <a:cubicBezTo>
                        <a:pt x="102086" y="148341"/>
                        <a:pt x="101102" y="143618"/>
                        <a:pt x="99921" y="113608"/>
                      </a:cubicBezTo>
                      <a:cubicBezTo>
                        <a:pt x="99823" y="110557"/>
                        <a:pt x="97954" y="109770"/>
                        <a:pt x="95789" y="111935"/>
                      </a:cubicBezTo>
                      <a:lnTo>
                        <a:pt x="94706" y="113017"/>
                      </a:lnTo>
                      <a:cubicBezTo>
                        <a:pt x="88606" y="119118"/>
                        <a:pt x="88409" y="104063"/>
                        <a:pt x="86343" y="98651"/>
                      </a:cubicBezTo>
                      <a:cubicBezTo>
                        <a:pt x="85654" y="95699"/>
                        <a:pt x="87425" y="93240"/>
                        <a:pt x="90377" y="93240"/>
                      </a:cubicBezTo>
                      <a:cubicBezTo>
                        <a:pt x="93329" y="93240"/>
                        <a:pt x="94805" y="90878"/>
                        <a:pt x="93624" y="88025"/>
                      </a:cubicBezTo>
                      <a:lnTo>
                        <a:pt x="75618" y="42664"/>
                      </a:lnTo>
                      <a:cubicBezTo>
                        <a:pt x="72961" y="36072"/>
                        <a:pt x="77881" y="30168"/>
                        <a:pt x="78176" y="29184"/>
                      </a:cubicBezTo>
                      <a:cubicBezTo>
                        <a:pt x="81620" y="23083"/>
                        <a:pt x="77290" y="19049"/>
                        <a:pt x="66074" y="2715"/>
                      </a:cubicBezTo>
                      <a:cubicBezTo>
                        <a:pt x="61154" y="-4468"/>
                        <a:pt x="51707" y="4585"/>
                        <a:pt x="44131" y="7143"/>
                      </a:cubicBezTo>
                      <a:cubicBezTo>
                        <a:pt x="41376" y="8521"/>
                        <a:pt x="40293" y="11768"/>
                        <a:pt x="41769" y="14424"/>
                      </a:cubicBezTo>
                      <a:lnTo>
                        <a:pt x="60957" y="48961"/>
                      </a:lnTo>
                      <a:cubicBezTo>
                        <a:pt x="62432" y="51618"/>
                        <a:pt x="61449" y="55062"/>
                        <a:pt x="58792" y="56636"/>
                      </a:cubicBezTo>
                      <a:lnTo>
                        <a:pt x="57021" y="57620"/>
                      </a:lnTo>
                      <a:cubicBezTo>
                        <a:pt x="50723" y="61162"/>
                        <a:pt x="57021" y="67755"/>
                        <a:pt x="57415" y="68739"/>
                      </a:cubicBezTo>
                      <a:cubicBezTo>
                        <a:pt x="61940" y="75922"/>
                        <a:pt x="49542" y="78972"/>
                        <a:pt x="44623" y="82908"/>
                      </a:cubicBezTo>
                      <a:cubicBezTo>
                        <a:pt x="37833" y="86942"/>
                        <a:pt x="32717" y="78087"/>
                        <a:pt x="30651" y="76611"/>
                      </a:cubicBezTo>
                      <a:cubicBezTo>
                        <a:pt x="24550" y="70510"/>
                        <a:pt x="16482" y="79464"/>
                        <a:pt x="10184" y="82219"/>
                      </a:cubicBezTo>
                      <a:cubicBezTo>
                        <a:pt x="2608" y="86647"/>
                        <a:pt x="10774" y="96585"/>
                        <a:pt x="13234" y="106031"/>
                      </a:cubicBezTo>
                      <a:cubicBezTo>
                        <a:pt x="15793" y="112919"/>
                        <a:pt x="14416" y="114690"/>
                        <a:pt x="1033" y="164084"/>
                      </a:cubicBezTo>
                      <a:cubicBezTo>
                        <a:pt x="-1033" y="171759"/>
                        <a:pt x="443" y="181304"/>
                        <a:pt x="1624" y="199212"/>
                      </a:cubicBezTo>
                      <a:cubicBezTo>
                        <a:pt x="2116" y="206690"/>
                        <a:pt x="3100" y="206789"/>
                        <a:pt x="35373" y="263858"/>
                      </a:cubicBezTo>
                      <a:cubicBezTo>
                        <a:pt x="39605" y="271336"/>
                        <a:pt x="30749" y="278126"/>
                        <a:pt x="27305" y="284620"/>
                      </a:cubicBezTo>
                      <a:cubicBezTo>
                        <a:pt x="23074" y="290819"/>
                        <a:pt x="23566" y="298395"/>
                        <a:pt x="22878" y="309120"/>
                      </a:cubicBezTo>
                      <a:cubicBezTo>
                        <a:pt x="22386" y="317090"/>
                        <a:pt x="25829" y="325651"/>
                        <a:pt x="31536" y="344641"/>
                      </a:cubicBezTo>
                      <a:cubicBezTo>
                        <a:pt x="33701" y="351824"/>
                        <a:pt x="32816" y="353300"/>
                        <a:pt x="21697" y="428081"/>
                      </a:cubicBezTo>
                      <a:cubicBezTo>
                        <a:pt x="20614" y="435461"/>
                        <a:pt x="16876" y="442840"/>
                        <a:pt x="11660" y="454746"/>
                      </a:cubicBezTo>
                      <a:cubicBezTo>
                        <a:pt x="8610" y="461634"/>
                        <a:pt x="10677" y="462815"/>
                        <a:pt x="29568" y="512898"/>
                      </a:cubicBezTo>
                      <a:cubicBezTo>
                        <a:pt x="32028" y="519392"/>
                        <a:pt x="28584" y="523427"/>
                        <a:pt x="18647" y="541138"/>
                      </a:cubicBezTo>
                      <a:cubicBezTo>
                        <a:pt x="15104" y="547534"/>
                        <a:pt x="16777" y="551076"/>
                        <a:pt x="21598" y="583153"/>
                      </a:cubicBezTo>
                      <a:cubicBezTo>
                        <a:pt x="22779" y="591123"/>
                        <a:pt x="18843" y="597224"/>
                        <a:pt x="8118" y="623692"/>
                      </a:cubicBezTo>
                      <a:cubicBezTo>
                        <a:pt x="5363" y="630383"/>
                        <a:pt x="7429" y="632548"/>
                        <a:pt x="22878" y="672005"/>
                      </a:cubicBezTo>
                      <a:cubicBezTo>
                        <a:pt x="25829" y="679483"/>
                        <a:pt x="27600" y="670233"/>
                        <a:pt x="46689" y="621724"/>
                      </a:cubicBezTo>
                      <a:cubicBezTo>
                        <a:pt x="49445" y="614738"/>
                        <a:pt x="62531" y="611196"/>
                        <a:pt x="65778" y="618280"/>
                      </a:cubicBezTo>
                      <a:cubicBezTo>
                        <a:pt x="64991" y="617297"/>
                        <a:pt x="68238" y="623889"/>
                        <a:pt x="73748" y="625267"/>
                      </a:cubicBezTo>
                      <a:lnTo>
                        <a:pt x="94903" y="630678"/>
                      </a:lnTo>
                      <a:cubicBezTo>
                        <a:pt x="101889" y="632449"/>
                        <a:pt x="101299" y="638452"/>
                        <a:pt x="105235" y="663444"/>
                      </a:cubicBezTo>
                      <a:cubicBezTo>
                        <a:pt x="106416" y="671021"/>
                        <a:pt x="110745" y="659607"/>
                        <a:pt x="115862" y="649373"/>
                      </a:cubicBezTo>
                      <a:cubicBezTo>
                        <a:pt x="119207" y="642683"/>
                        <a:pt x="116550" y="636680"/>
                        <a:pt x="111434" y="614541"/>
                      </a:cubicBezTo>
                      <a:cubicBezTo>
                        <a:pt x="108876" y="603619"/>
                        <a:pt x="93624" y="619560"/>
                        <a:pt x="90672" y="608638"/>
                      </a:cubicBezTo>
                      <a:lnTo>
                        <a:pt x="82014" y="575970"/>
                      </a:lnTo>
                      <a:cubicBezTo>
                        <a:pt x="80144" y="568886"/>
                        <a:pt x="76700" y="566327"/>
                        <a:pt x="54069" y="541827"/>
                      </a:cubicBezTo>
                      <a:cubicBezTo>
                        <a:pt x="48952" y="536317"/>
                        <a:pt x="50035" y="538088"/>
                        <a:pt x="75815" y="450417"/>
                      </a:cubicBezTo>
                      <a:cubicBezTo>
                        <a:pt x="77782" y="443726"/>
                        <a:pt x="77389" y="437035"/>
                        <a:pt x="77389" y="430147"/>
                      </a:cubicBezTo>
                      <a:cubicBezTo>
                        <a:pt x="77389" y="422866"/>
                        <a:pt x="82800" y="421981"/>
                        <a:pt x="108482" y="409779"/>
                      </a:cubicBezTo>
                      <a:cubicBezTo>
                        <a:pt x="115173" y="406631"/>
                        <a:pt x="133573" y="412534"/>
                        <a:pt x="133573" y="412534"/>
                      </a:cubicBezTo>
                      <a:cubicBezTo>
                        <a:pt x="140854" y="414404"/>
                        <a:pt x="142330" y="417454"/>
                        <a:pt x="174505" y="451696"/>
                      </a:cubicBezTo>
                      <a:cubicBezTo>
                        <a:pt x="180016" y="457501"/>
                        <a:pt x="182181" y="442250"/>
                        <a:pt x="176572" y="437330"/>
                      </a:cubicBezTo>
                      <a:lnTo>
                        <a:pt x="170176" y="431623"/>
                      </a:lnTo>
                      <a:close/>
                    </a:path>
                  </a:pathLst>
                </a:custGeom>
                <a:grpFill/>
                <a:ln w="9835" cap="flat">
                  <a:noFill/>
                  <a:prstDash val="solid"/>
                  <a:miter/>
                </a:ln>
              </p:spPr>
              <p:txBody>
                <a:bodyPr rtlCol="0" anchor="ctr"/>
                <a:lstStyle/>
                <a:p>
                  <a:endParaRPr lang="en-IN"/>
                </a:p>
              </p:txBody>
            </p:sp>
            <p:sp>
              <p:nvSpPr>
                <p:cNvPr id="794" name="Freeform: Shape 793">
                  <a:extLst>
                    <a:ext uri="{FF2B5EF4-FFF2-40B4-BE49-F238E27FC236}">
                      <a16:creationId xmlns:a16="http://schemas.microsoft.com/office/drawing/2014/main" id="{E4F8C581-FD2A-7E72-71F8-43B2AE50A5B3}"/>
                    </a:ext>
                  </a:extLst>
                </p:cNvPr>
                <p:cNvSpPr/>
                <p:nvPr/>
              </p:nvSpPr>
              <p:spPr>
                <a:xfrm>
                  <a:off x="13213802" y="3349097"/>
                  <a:ext cx="11768" cy="11768"/>
                </a:xfrm>
                <a:custGeom>
                  <a:avLst/>
                  <a:gdLst>
                    <a:gd name="connsiteX0" fmla="*/ 9049 w 11768"/>
                    <a:gd name="connsiteY0" fmla="*/ 851 h 11768"/>
                    <a:gd name="connsiteX1" fmla="*/ 8951 w 11768"/>
                    <a:gd name="connsiteY1" fmla="*/ 851 h 11768"/>
                    <a:gd name="connsiteX2" fmla="*/ 2456 w 11768"/>
                    <a:gd name="connsiteY2" fmla="*/ 10592 h 11768"/>
                    <a:gd name="connsiteX3" fmla="*/ 10230 w 11768"/>
                    <a:gd name="connsiteY3" fmla="*/ 9411 h 11768"/>
                    <a:gd name="connsiteX4" fmla="*/ 10918 w 11768"/>
                    <a:gd name="connsiteY4" fmla="*/ 8329 h 11768"/>
                    <a:gd name="connsiteX5" fmla="*/ 9049 w 11768"/>
                    <a:gd name="connsiteY5" fmla="*/ 949 h 1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8" h="11768">
                      <a:moveTo>
                        <a:pt x="9049" y="851"/>
                      </a:moveTo>
                      <a:lnTo>
                        <a:pt x="8951" y="851"/>
                      </a:lnTo>
                      <a:cubicBezTo>
                        <a:pt x="2555" y="-2790"/>
                        <a:pt x="-3546" y="6164"/>
                        <a:pt x="2456" y="10592"/>
                      </a:cubicBezTo>
                      <a:cubicBezTo>
                        <a:pt x="1473" y="10395"/>
                        <a:pt x="7179" y="14036"/>
                        <a:pt x="10230" y="9411"/>
                      </a:cubicBezTo>
                      <a:lnTo>
                        <a:pt x="10918" y="8329"/>
                      </a:lnTo>
                      <a:cubicBezTo>
                        <a:pt x="12591" y="5770"/>
                        <a:pt x="11706" y="2425"/>
                        <a:pt x="9049" y="949"/>
                      </a:cubicBezTo>
                      <a:close/>
                    </a:path>
                  </a:pathLst>
                </a:custGeom>
                <a:grpFill/>
                <a:ln w="9835" cap="flat">
                  <a:noFill/>
                  <a:prstDash val="solid"/>
                  <a:miter/>
                </a:ln>
              </p:spPr>
              <p:txBody>
                <a:bodyPr rtlCol="0" anchor="ctr"/>
                <a:lstStyle/>
                <a:p>
                  <a:endParaRPr lang="en-IN"/>
                </a:p>
              </p:txBody>
            </p:sp>
            <p:sp>
              <p:nvSpPr>
                <p:cNvPr id="795" name="Freeform: Shape 794">
                  <a:extLst>
                    <a:ext uri="{FF2B5EF4-FFF2-40B4-BE49-F238E27FC236}">
                      <a16:creationId xmlns:a16="http://schemas.microsoft.com/office/drawing/2014/main" id="{53EF221A-EFE6-EF0F-F3E0-F8E9657CD22D}"/>
                    </a:ext>
                  </a:extLst>
                </p:cNvPr>
                <p:cNvSpPr/>
                <p:nvPr/>
              </p:nvSpPr>
              <p:spPr>
                <a:xfrm>
                  <a:off x="14997704" y="824167"/>
                  <a:ext cx="21772" cy="16096"/>
                </a:xfrm>
                <a:custGeom>
                  <a:avLst/>
                  <a:gdLst>
                    <a:gd name="connsiteX0" fmla="*/ 6212 w 21772"/>
                    <a:gd name="connsiteY0" fmla="*/ 55 h 16096"/>
                    <a:gd name="connsiteX1" fmla="*/ 4343 w 21772"/>
                    <a:gd name="connsiteY1" fmla="*/ 252 h 16096"/>
                    <a:gd name="connsiteX2" fmla="*/ 899 w 21772"/>
                    <a:gd name="connsiteY2" fmla="*/ 10288 h 16096"/>
                    <a:gd name="connsiteX3" fmla="*/ 18610 w 21772"/>
                    <a:gd name="connsiteY3" fmla="*/ 16093 h 16096"/>
                    <a:gd name="connsiteX4" fmla="*/ 15068 w 21772"/>
                    <a:gd name="connsiteY4" fmla="*/ 3892 h 16096"/>
                    <a:gd name="connsiteX5" fmla="*/ 6212 w 21772"/>
                    <a:gd name="connsiteY5" fmla="*/ 55 h 1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72" h="16096">
                      <a:moveTo>
                        <a:pt x="6212" y="55"/>
                      </a:moveTo>
                      <a:lnTo>
                        <a:pt x="4343" y="252"/>
                      </a:lnTo>
                      <a:cubicBezTo>
                        <a:pt x="-2742" y="1039"/>
                        <a:pt x="997" y="9304"/>
                        <a:pt x="899" y="10288"/>
                      </a:cubicBezTo>
                      <a:cubicBezTo>
                        <a:pt x="2670" y="18357"/>
                        <a:pt x="13395" y="15208"/>
                        <a:pt x="18610" y="16093"/>
                      </a:cubicBezTo>
                      <a:cubicBezTo>
                        <a:pt x="26777" y="16290"/>
                        <a:pt x="16741" y="7041"/>
                        <a:pt x="15068" y="3892"/>
                      </a:cubicBezTo>
                      <a:cubicBezTo>
                        <a:pt x="13198" y="1432"/>
                        <a:pt x="9262" y="-339"/>
                        <a:pt x="6212" y="55"/>
                      </a:cubicBezTo>
                      <a:close/>
                    </a:path>
                  </a:pathLst>
                </a:custGeom>
                <a:grpFill/>
                <a:ln w="9835" cap="flat">
                  <a:noFill/>
                  <a:prstDash val="solid"/>
                  <a:miter/>
                </a:ln>
              </p:spPr>
              <p:txBody>
                <a:bodyPr rtlCol="0" anchor="ctr"/>
                <a:lstStyle/>
                <a:p>
                  <a:endParaRPr lang="en-IN"/>
                </a:p>
              </p:txBody>
            </p:sp>
            <p:sp>
              <p:nvSpPr>
                <p:cNvPr id="796" name="Freeform: Shape 795">
                  <a:extLst>
                    <a:ext uri="{FF2B5EF4-FFF2-40B4-BE49-F238E27FC236}">
                      <a16:creationId xmlns:a16="http://schemas.microsoft.com/office/drawing/2014/main" id="{ECC2F49A-64C6-3F1C-B730-0009D5A6E13C}"/>
                    </a:ext>
                  </a:extLst>
                </p:cNvPr>
                <p:cNvSpPr/>
                <p:nvPr/>
              </p:nvSpPr>
              <p:spPr>
                <a:xfrm>
                  <a:off x="15059962" y="835216"/>
                  <a:ext cx="20021" cy="16269"/>
                </a:xfrm>
                <a:custGeom>
                  <a:avLst/>
                  <a:gdLst>
                    <a:gd name="connsiteX0" fmla="*/ 16669 w 20021"/>
                    <a:gd name="connsiteY0" fmla="*/ 3174 h 16269"/>
                    <a:gd name="connsiteX1" fmla="*/ 7715 w 20021"/>
                    <a:gd name="connsiteY1" fmla="*/ 222 h 16269"/>
                    <a:gd name="connsiteX2" fmla="*/ 1615 w 20021"/>
                    <a:gd name="connsiteY2" fmla="*/ 6323 h 16269"/>
                    <a:gd name="connsiteX3" fmla="*/ 19129 w 20021"/>
                    <a:gd name="connsiteY3" fmla="*/ 13998 h 16269"/>
                    <a:gd name="connsiteX4" fmla="*/ 18243 w 20021"/>
                    <a:gd name="connsiteY4" fmla="*/ 5142 h 16269"/>
                    <a:gd name="connsiteX5" fmla="*/ 16669 w 20021"/>
                    <a:gd name="connsiteY5" fmla="*/ 3273 h 1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1" h="16269">
                      <a:moveTo>
                        <a:pt x="16669" y="3174"/>
                      </a:moveTo>
                      <a:cubicBezTo>
                        <a:pt x="14701" y="813"/>
                        <a:pt x="10667" y="-565"/>
                        <a:pt x="7715" y="222"/>
                      </a:cubicBezTo>
                      <a:cubicBezTo>
                        <a:pt x="6731" y="714"/>
                        <a:pt x="-3994" y="1600"/>
                        <a:pt x="1615" y="6323"/>
                      </a:cubicBezTo>
                      <a:cubicBezTo>
                        <a:pt x="7321" y="9964"/>
                        <a:pt x="14996" y="20984"/>
                        <a:pt x="19129" y="13998"/>
                      </a:cubicBezTo>
                      <a:cubicBezTo>
                        <a:pt x="20605" y="11538"/>
                        <a:pt x="20211" y="7504"/>
                        <a:pt x="18243" y="5142"/>
                      </a:cubicBezTo>
                      <a:lnTo>
                        <a:pt x="16669" y="3273"/>
                      </a:lnTo>
                      <a:close/>
                    </a:path>
                  </a:pathLst>
                </a:custGeom>
                <a:grpFill/>
                <a:ln w="9835" cap="flat">
                  <a:noFill/>
                  <a:prstDash val="solid"/>
                  <a:miter/>
                </a:ln>
              </p:spPr>
              <p:txBody>
                <a:bodyPr rtlCol="0" anchor="ctr"/>
                <a:lstStyle/>
                <a:p>
                  <a:endParaRPr lang="en-IN"/>
                </a:p>
              </p:txBody>
            </p:sp>
            <p:sp>
              <p:nvSpPr>
                <p:cNvPr id="797" name="Freeform: Shape 796">
                  <a:extLst>
                    <a:ext uri="{FF2B5EF4-FFF2-40B4-BE49-F238E27FC236}">
                      <a16:creationId xmlns:a16="http://schemas.microsoft.com/office/drawing/2014/main" id="{B0D72E4E-DCBC-9740-7944-3450C898D216}"/>
                    </a:ext>
                  </a:extLst>
                </p:cNvPr>
                <p:cNvSpPr/>
                <p:nvPr/>
              </p:nvSpPr>
              <p:spPr>
                <a:xfrm>
                  <a:off x="15420179" y="2399303"/>
                  <a:ext cx="56390" cy="37087"/>
                </a:xfrm>
                <a:custGeom>
                  <a:avLst/>
                  <a:gdLst>
                    <a:gd name="connsiteX0" fmla="*/ 54562 w 56390"/>
                    <a:gd name="connsiteY0" fmla="*/ 34283 h 37087"/>
                    <a:gd name="connsiteX1" fmla="*/ 1133 w 56390"/>
                    <a:gd name="connsiteY1" fmla="*/ 2304 h 37087"/>
                    <a:gd name="connsiteX2" fmla="*/ 31340 w 56390"/>
                    <a:gd name="connsiteY2" fmla="*/ 36054 h 37087"/>
                    <a:gd name="connsiteX3" fmla="*/ 54562 w 56390"/>
                    <a:gd name="connsiteY3" fmla="*/ 34283 h 37087"/>
                  </a:gdLst>
                  <a:ahLst/>
                  <a:cxnLst>
                    <a:cxn ang="0">
                      <a:pos x="connsiteX0" y="connsiteY0"/>
                    </a:cxn>
                    <a:cxn ang="0">
                      <a:pos x="connsiteX1" y="connsiteY1"/>
                    </a:cxn>
                    <a:cxn ang="0">
                      <a:pos x="connsiteX2" y="connsiteY2"/>
                    </a:cxn>
                    <a:cxn ang="0">
                      <a:pos x="connsiteX3" y="connsiteY3"/>
                    </a:cxn>
                  </a:cxnLst>
                  <a:rect l="l" t="t" r="r" b="b"/>
                  <a:pathLst>
                    <a:path w="56390" h="37087">
                      <a:moveTo>
                        <a:pt x="54562" y="34283"/>
                      </a:moveTo>
                      <a:cubicBezTo>
                        <a:pt x="10973" y="6338"/>
                        <a:pt x="-4574" y="-5371"/>
                        <a:pt x="1133" y="2304"/>
                      </a:cubicBezTo>
                      <a:cubicBezTo>
                        <a:pt x="22288" y="30937"/>
                        <a:pt x="23764" y="35660"/>
                        <a:pt x="31340" y="36054"/>
                      </a:cubicBezTo>
                      <a:cubicBezTo>
                        <a:pt x="43050" y="36054"/>
                        <a:pt x="62434" y="39301"/>
                        <a:pt x="54562" y="34283"/>
                      </a:cubicBezTo>
                      <a:close/>
                    </a:path>
                  </a:pathLst>
                </a:custGeom>
                <a:grpFill/>
                <a:ln w="9835" cap="flat">
                  <a:noFill/>
                  <a:prstDash val="solid"/>
                  <a:miter/>
                </a:ln>
              </p:spPr>
              <p:txBody>
                <a:bodyPr rtlCol="0" anchor="ctr"/>
                <a:lstStyle/>
                <a:p>
                  <a:endParaRPr lang="en-IN"/>
                </a:p>
              </p:txBody>
            </p:sp>
            <p:sp>
              <p:nvSpPr>
                <p:cNvPr id="798" name="Freeform: Shape 797">
                  <a:extLst>
                    <a:ext uri="{FF2B5EF4-FFF2-40B4-BE49-F238E27FC236}">
                      <a16:creationId xmlns:a16="http://schemas.microsoft.com/office/drawing/2014/main" id="{9018E412-1BB3-7784-1BA4-6B250ADFB4C3}"/>
                    </a:ext>
                  </a:extLst>
                </p:cNvPr>
                <p:cNvSpPr/>
                <p:nvPr/>
              </p:nvSpPr>
              <p:spPr>
                <a:xfrm>
                  <a:off x="10738364" y="-495883"/>
                  <a:ext cx="358603" cy="167483"/>
                </a:xfrm>
                <a:custGeom>
                  <a:avLst/>
                  <a:gdLst>
                    <a:gd name="connsiteX0" fmla="*/ 113932 w 358603"/>
                    <a:gd name="connsiteY0" fmla="*/ 166806 h 167483"/>
                    <a:gd name="connsiteX1" fmla="*/ 153487 w 358603"/>
                    <a:gd name="connsiteY1" fmla="*/ 153523 h 167483"/>
                    <a:gd name="connsiteX2" fmla="*/ 315348 w 358603"/>
                    <a:gd name="connsiteY2" fmla="*/ 135811 h 167483"/>
                    <a:gd name="connsiteX3" fmla="*/ 318300 w 358603"/>
                    <a:gd name="connsiteY3" fmla="*/ 130301 h 167483"/>
                    <a:gd name="connsiteX4" fmla="*/ 302655 w 358603"/>
                    <a:gd name="connsiteY4" fmla="*/ 100782 h 167483"/>
                    <a:gd name="connsiteX5" fmla="*/ 305509 w 358603"/>
                    <a:gd name="connsiteY5" fmla="*/ 94584 h 167483"/>
                    <a:gd name="connsiteX6" fmla="*/ 348705 w 358603"/>
                    <a:gd name="connsiteY6" fmla="*/ 84744 h 167483"/>
                    <a:gd name="connsiteX7" fmla="*/ 358249 w 358603"/>
                    <a:gd name="connsiteY7" fmla="*/ 72740 h 167483"/>
                    <a:gd name="connsiteX8" fmla="*/ 354904 w 358603"/>
                    <a:gd name="connsiteY8" fmla="*/ 66049 h 167483"/>
                    <a:gd name="connsiteX9" fmla="*/ 294292 w 358603"/>
                    <a:gd name="connsiteY9" fmla="*/ 49321 h 167483"/>
                    <a:gd name="connsiteX10" fmla="*/ 223348 w 358603"/>
                    <a:gd name="connsiteY10" fmla="*/ 1796 h 167483"/>
                    <a:gd name="connsiteX11" fmla="*/ 62963 w 358603"/>
                    <a:gd name="connsiteY11" fmla="*/ 47353 h 167483"/>
                    <a:gd name="connsiteX12" fmla="*/ 53910 w 358603"/>
                    <a:gd name="connsiteY12" fmla="*/ 66934 h 167483"/>
                    <a:gd name="connsiteX13" fmla="*/ 58141 w 358603"/>
                    <a:gd name="connsiteY13" fmla="*/ 71067 h 167483"/>
                    <a:gd name="connsiteX14" fmla="*/ 92777 w 358603"/>
                    <a:gd name="connsiteY14" fmla="*/ 62605 h 167483"/>
                    <a:gd name="connsiteX15" fmla="*/ 97303 w 358603"/>
                    <a:gd name="connsiteY15" fmla="*/ 77856 h 167483"/>
                    <a:gd name="connsiteX16" fmla="*/ 34526 w 358603"/>
                    <a:gd name="connsiteY16" fmla="*/ 109540 h 167483"/>
                    <a:gd name="connsiteX17" fmla="*/ 2253 w 358603"/>
                    <a:gd name="connsiteY17" fmla="*/ 127349 h 167483"/>
                    <a:gd name="connsiteX18" fmla="*/ 113834 w 358603"/>
                    <a:gd name="connsiteY18" fmla="*/ 166609 h 16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603" h="167483">
                      <a:moveTo>
                        <a:pt x="113932" y="166806"/>
                      </a:moveTo>
                      <a:cubicBezTo>
                        <a:pt x="120918" y="168971"/>
                        <a:pt x="124165" y="166314"/>
                        <a:pt x="153487" y="153523"/>
                      </a:cubicBezTo>
                      <a:cubicBezTo>
                        <a:pt x="161064" y="150177"/>
                        <a:pt x="155258" y="151752"/>
                        <a:pt x="315348" y="135811"/>
                      </a:cubicBezTo>
                      <a:cubicBezTo>
                        <a:pt x="318399" y="135516"/>
                        <a:pt x="319678" y="133056"/>
                        <a:pt x="318300" y="130301"/>
                      </a:cubicBezTo>
                      <a:lnTo>
                        <a:pt x="302655" y="100782"/>
                      </a:lnTo>
                      <a:cubicBezTo>
                        <a:pt x="301179" y="98027"/>
                        <a:pt x="302458" y="95272"/>
                        <a:pt x="305509" y="94584"/>
                      </a:cubicBezTo>
                      <a:lnTo>
                        <a:pt x="348705" y="84744"/>
                      </a:lnTo>
                      <a:cubicBezTo>
                        <a:pt x="356084" y="83071"/>
                        <a:pt x="357364" y="74314"/>
                        <a:pt x="358249" y="72740"/>
                      </a:cubicBezTo>
                      <a:cubicBezTo>
                        <a:pt x="359331" y="69886"/>
                        <a:pt x="357855" y="66836"/>
                        <a:pt x="354904" y="66049"/>
                      </a:cubicBezTo>
                      <a:lnTo>
                        <a:pt x="294292" y="49321"/>
                      </a:lnTo>
                      <a:cubicBezTo>
                        <a:pt x="287109" y="47353"/>
                        <a:pt x="286814" y="46468"/>
                        <a:pt x="223348" y="1796"/>
                      </a:cubicBezTo>
                      <a:cubicBezTo>
                        <a:pt x="216756" y="-2828"/>
                        <a:pt x="220593" y="-1943"/>
                        <a:pt x="62963" y="47353"/>
                      </a:cubicBezTo>
                      <a:cubicBezTo>
                        <a:pt x="54796" y="49912"/>
                        <a:pt x="55780" y="61129"/>
                        <a:pt x="53910" y="66934"/>
                      </a:cubicBezTo>
                      <a:cubicBezTo>
                        <a:pt x="53320" y="69985"/>
                        <a:pt x="55189" y="71756"/>
                        <a:pt x="58141" y="71067"/>
                      </a:cubicBezTo>
                      <a:lnTo>
                        <a:pt x="92777" y="62605"/>
                      </a:lnTo>
                      <a:cubicBezTo>
                        <a:pt x="100845" y="60637"/>
                        <a:pt x="96811" y="73133"/>
                        <a:pt x="97303" y="77856"/>
                      </a:cubicBezTo>
                      <a:cubicBezTo>
                        <a:pt x="96909" y="85236"/>
                        <a:pt x="95532" y="84154"/>
                        <a:pt x="34526" y="109540"/>
                      </a:cubicBezTo>
                      <a:cubicBezTo>
                        <a:pt x="27540" y="112492"/>
                        <a:pt x="22719" y="115542"/>
                        <a:pt x="2253" y="127349"/>
                      </a:cubicBezTo>
                      <a:cubicBezTo>
                        <a:pt x="-4635" y="131285"/>
                        <a:pt x="-2766" y="130104"/>
                        <a:pt x="113834" y="166609"/>
                      </a:cubicBezTo>
                      <a:close/>
                    </a:path>
                  </a:pathLst>
                </a:custGeom>
                <a:grpFill/>
                <a:ln w="9835" cap="flat">
                  <a:noFill/>
                  <a:prstDash val="solid"/>
                  <a:miter/>
                </a:ln>
              </p:spPr>
              <p:txBody>
                <a:bodyPr rtlCol="0" anchor="ctr"/>
                <a:lstStyle/>
                <a:p>
                  <a:endParaRPr lang="en-IN"/>
                </a:p>
              </p:txBody>
            </p:sp>
            <p:sp>
              <p:nvSpPr>
                <p:cNvPr id="799" name="Freeform: Shape 798">
                  <a:extLst>
                    <a:ext uri="{FF2B5EF4-FFF2-40B4-BE49-F238E27FC236}">
                      <a16:creationId xmlns:a16="http://schemas.microsoft.com/office/drawing/2014/main" id="{7A6615DC-9A89-A8E6-32F8-98B1A8E32796}"/>
                    </a:ext>
                  </a:extLst>
                </p:cNvPr>
                <p:cNvSpPr/>
                <p:nvPr/>
              </p:nvSpPr>
              <p:spPr>
                <a:xfrm>
                  <a:off x="9943873" y="-459550"/>
                  <a:ext cx="57282" cy="20584"/>
                </a:xfrm>
                <a:custGeom>
                  <a:avLst/>
                  <a:gdLst>
                    <a:gd name="connsiteX0" fmla="*/ 53756 w 57282"/>
                    <a:gd name="connsiteY0" fmla="*/ 197 h 20584"/>
                    <a:gd name="connsiteX1" fmla="*/ 425 w 57282"/>
                    <a:gd name="connsiteY1" fmla="*/ 5510 h 20584"/>
                    <a:gd name="connsiteX2" fmla="*/ 228 w 57282"/>
                    <a:gd name="connsiteY2" fmla="*/ 6297 h 20584"/>
                    <a:gd name="connsiteX3" fmla="*/ 4164 w 57282"/>
                    <a:gd name="connsiteY3" fmla="*/ 12791 h 20584"/>
                    <a:gd name="connsiteX4" fmla="*/ 42440 w 57282"/>
                    <a:gd name="connsiteY4" fmla="*/ 20466 h 20584"/>
                    <a:gd name="connsiteX5" fmla="*/ 50508 w 57282"/>
                    <a:gd name="connsiteY5" fmla="*/ 16629 h 20584"/>
                    <a:gd name="connsiteX6" fmla="*/ 53756 w 57282"/>
                    <a:gd name="connsiteY6" fmla="*/ 197 h 2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82" h="20584">
                      <a:moveTo>
                        <a:pt x="53756" y="197"/>
                      </a:moveTo>
                      <a:cubicBezTo>
                        <a:pt x="53756" y="197"/>
                        <a:pt x="2491" y="-1574"/>
                        <a:pt x="425" y="5510"/>
                      </a:cubicBezTo>
                      <a:lnTo>
                        <a:pt x="228" y="6297"/>
                      </a:lnTo>
                      <a:cubicBezTo>
                        <a:pt x="-657" y="9249"/>
                        <a:pt x="1114" y="12103"/>
                        <a:pt x="4164" y="12791"/>
                      </a:cubicBezTo>
                      <a:lnTo>
                        <a:pt x="42440" y="20466"/>
                      </a:lnTo>
                      <a:cubicBezTo>
                        <a:pt x="45490" y="21057"/>
                        <a:pt x="49131" y="19384"/>
                        <a:pt x="50508" y="16629"/>
                      </a:cubicBezTo>
                      <a:cubicBezTo>
                        <a:pt x="52673" y="11020"/>
                        <a:pt x="62415" y="197"/>
                        <a:pt x="53756" y="197"/>
                      </a:cubicBezTo>
                      <a:close/>
                    </a:path>
                  </a:pathLst>
                </a:custGeom>
                <a:grpFill/>
                <a:ln w="9835" cap="flat">
                  <a:noFill/>
                  <a:prstDash val="solid"/>
                  <a:miter/>
                </a:ln>
              </p:spPr>
              <p:txBody>
                <a:bodyPr rtlCol="0" anchor="ctr"/>
                <a:lstStyle/>
                <a:p>
                  <a:endParaRPr lang="en-IN"/>
                </a:p>
              </p:txBody>
            </p:sp>
            <p:sp>
              <p:nvSpPr>
                <p:cNvPr id="800" name="Freeform: Shape 799">
                  <a:extLst>
                    <a:ext uri="{FF2B5EF4-FFF2-40B4-BE49-F238E27FC236}">
                      <a16:creationId xmlns:a16="http://schemas.microsoft.com/office/drawing/2014/main" id="{5E54F5EE-3F04-8AF1-FE53-8BE2A07CF59E}"/>
                    </a:ext>
                  </a:extLst>
                </p:cNvPr>
                <p:cNvSpPr/>
                <p:nvPr/>
              </p:nvSpPr>
              <p:spPr>
                <a:xfrm>
                  <a:off x="9765220" y="-267905"/>
                  <a:ext cx="78354" cy="25928"/>
                </a:xfrm>
                <a:custGeom>
                  <a:avLst/>
                  <a:gdLst>
                    <a:gd name="connsiteX0" fmla="*/ 73598 w 78354"/>
                    <a:gd name="connsiteY0" fmla="*/ 21874 h 25928"/>
                    <a:gd name="connsiteX1" fmla="*/ 75074 w 78354"/>
                    <a:gd name="connsiteY1" fmla="*/ 9378 h 25928"/>
                    <a:gd name="connsiteX2" fmla="*/ 194 w 78354"/>
                    <a:gd name="connsiteY2" fmla="*/ 1703 h 25928"/>
                    <a:gd name="connsiteX3" fmla="*/ 18889 w 78354"/>
                    <a:gd name="connsiteY3" fmla="*/ 20792 h 25928"/>
                    <a:gd name="connsiteX4" fmla="*/ 73598 w 78354"/>
                    <a:gd name="connsiteY4" fmla="*/ 21973 h 25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54" h="25928">
                      <a:moveTo>
                        <a:pt x="73598" y="21874"/>
                      </a:moveTo>
                      <a:cubicBezTo>
                        <a:pt x="74483" y="19415"/>
                        <a:pt x="82847" y="10657"/>
                        <a:pt x="75074" y="9378"/>
                      </a:cubicBezTo>
                      <a:cubicBezTo>
                        <a:pt x="75074" y="9378"/>
                        <a:pt x="-4430" y="-4791"/>
                        <a:pt x="194" y="1703"/>
                      </a:cubicBezTo>
                      <a:cubicBezTo>
                        <a:pt x="9739" y="15085"/>
                        <a:pt x="12002" y="20005"/>
                        <a:pt x="18889" y="20792"/>
                      </a:cubicBezTo>
                      <a:cubicBezTo>
                        <a:pt x="66415" y="26302"/>
                        <a:pt x="69760" y="28369"/>
                        <a:pt x="73598" y="21973"/>
                      </a:cubicBezTo>
                      <a:close/>
                    </a:path>
                  </a:pathLst>
                </a:custGeom>
                <a:grpFill/>
                <a:ln w="9835" cap="flat">
                  <a:noFill/>
                  <a:prstDash val="solid"/>
                  <a:miter/>
                </a:ln>
              </p:spPr>
              <p:txBody>
                <a:bodyPr rtlCol="0" anchor="ctr"/>
                <a:lstStyle/>
                <a:p>
                  <a:endParaRPr lang="en-IN"/>
                </a:p>
              </p:txBody>
            </p:sp>
            <p:sp>
              <p:nvSpPr>
                <p:cNvPr id="801" name="Freeform: Shape 800">
                  <a:extLst>
                    <a:ext uri="{FF2B5EF4-FFF2-40B4-BE49-F238E27FC236}">
                      <a16:creationId xmlns:a16="http://schemas.microsoft.com/office/drawing/2014/main" id="{DCFC8E5B-02FF-6E34-A368-64A2A2F1DF9C}"/>
                    </a:ext>
                  </a:extLst>
                </p:cNvPr>
                <p:cNvSpPr/>
                <p:nvPr/>
              </p:nvSpPr>
              <p:spPr>
                <a:xfrm>
                  <a:off x="11621119" y="-80741"/>
                  <a:ext cx="50901" cy="21171"/>
                </a:xfrm>
                <a:custGeom>
                  <a:avLst/>
                  <a:gdLst>
                    <a:gd name="connsiteX0" fmla="*/ 35071 w 50901"/>
                    <a:gd name="connsiteY0" fmla="*/ 114 h 21171"/>
                    <a:gd name="connsiteX1" fmla="*/ 2207 w 50901"/>
                    <a:gd name="connsiteY1" fmla="*/ 12020 h 21171"/>
                    <a:gd name="connsiteX2" fmla="*/ 7619 w 50901"/>
                    <a:gd name="connsiteY2" fmla="*/ 19891 h 21171"/>
                    <a:gd name="connsiteX3" fmla="*/ 48847 w 50901"/>
                    <a:gd name="connsiteY3" fmla="*/ 6116 h 21171"/>
                    <a:gd name="connsiteX4" fmla="*/ 35071 w 50901"/>
                    <a:gd name="connsiteY4" fmla="*/ 15 h 21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01" h="21171">
                      <a:moveTo>
                        <a:pt x="35071" y="114"/>
                      </a:moveTo>
                      <a:cubicBezTo>
                        <a:pt x="27790" y="-1362"/>
                        <a:pt x="2207" y="12020"/>
                        <a:pt x="2207" y="12020"/>
                      </a:cubicBezTo>
                      <a:cubicBezTo>
                        <a:pt x="-4582" y="15267"/>
                        <a:pt x="6340" y="18907"/>
                        <a:pt x="7619" y="19891"/>
                      </a:cubicBezTo>
                      <a:cubicBezTo>
                        <a:pt x="14212" y="23335"/>
                        <a:pt x="17655" y="20186"/>
                        <a:pt x="48847" y="6116"/>
                      </a:cubicBezTo>
                      <a:cubicBezTo>
                        <a:pt x="55833" y="2967"/>
                        <a:pt x="43435" y="1786"/>
                        <a:pt x="35071" y="15"/>
                      </a:cubicBezTo>
                      <a:close/>
                    </a:path>
                  </a:pathLst>
                </a:custGeom>
                <a:grpFill/>
                <a:ln w="9835" cap="flat">
                  <a:noFill/>
                  <a:prstDash val="solid"/>
                  <a:miter/>
                </a:ln>
              </p:spPr>
              <p:txBody>
                <a:bodyPr rtlCol="0" anchor="ctr"/>
                <a:lstStyle/>
                <a:p>
                  <a:endParaRPr lang="en-IN"/>
                </a:p>
              </p:txBody>
            </p:sp>
            <p:sp>
              <p:nvSpPr>
                <p:cNvPr id="802" name="Freeform: Shape 801">
                  <a:extLst>
                    <a:ext uri="{FF2B5EF4-FFF2-40B4-BE49-F238E27FC236}">
                      <a16:creationId xmlns:a16="http://schemas.microsoft.com/office/drawing/2014/main" id="{EDB8B5CE-0682-1BA1-32D3-271885A49199}"/>
                    </a:ext>
                  </a:extLst>
                </p:cNvPr>
                <p:cNvSpPr/>
                <p:nvPr/>
              </p:nvSpPr>
              <p:spPr>
                <a:xfrm>
                  <a:off x="11698277" y="49041"/>
                  <a:ext cx="29753" cy="18831"/>
                </a:xfrm>
                <a:custGeom>
                  <a:avLst/>
                  <a:gdLst>
                    <a:gd name="connsiteX0" fmla="*/ 24824 w 29753"/>
                    <a:gd name="connsiteY0" fmla="*/ 2084 h 18831"/>
                    <a:gd name="connsiteX1" fmla="*/ 4947 w 29753"/>
                    <a:gd name="connsiteY1" fmla="*/ 3855 h 18831"/>
                    <a:gd name="connsiteX2" fmla="*/ 3472 w 29753"/>
                    <a:gd name="connsiteY2" fmla="*/ 17237 h 18831"/>
                    <a:gd name="connsiteX3" fmla="*/ 29251 w 29753"/>
                    <a:gd name="connsiteY3" fmla="*/ 13694 h 18831"/>
                    <a:gd name="connsiteX4" fmla="*/ 24824 w 29753"/>
                    <a:gd name="connsiteY4" fmla="*/ 2084 h 18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3" h="18831">
                      <a:moveTo>
                        <a:pt x="24824" y="2084"/>
                      </a:moveTo>
                      <a:cubicBezTo>
                        <a:pt x="18822" y="1788"/>
                        <a:pt x="8982" y="-3427"/>
                        <a:pt x="4947" y="3855"/>
                      </a:cubicBezTo>
                      <a:cubicBezTo>
                        <a:pt x="3767" y="7102"/>
                        <a:pt x="-4597" y="16646"/>
                        <a:pt x="3472" y="17237"/>
                      </a:cubicBezTo>
                      <a:cubicBezTo>
                        <a:pt x="15082" y="17040"/>
                        <a:pt x="28366" y="22747"/>
                        <a:pt x="29251" y="13694"/>
                      </a:cubicBezTo>
                      <a:cubicBezTo>
                        <a:pt x="29054" y="12120"/>
                        <a:pt x="32203" y="3363"/>
                        <a:pt x="24824" y="2084"/>
                      </a:cubicBezTo>
                      <a:close/>
                    </a:path>
                  </a:pathLst>
                </a:custGeom>
                <a:grpFill/>
                <a:ln w="9835" cap="flat">
                  <a:noFill/>
                  <a:prstDash val="solid"/>
                  <a:miter/>
                </a:ln>
              </p:spPr>
              <p:txBody>
                <a:bodyPr rtlCol="0" anchor="ctr"/>
                <a:lstStyle/>
                <a:p>
                  <a:endParaRPr lang="en-IN"/>
                </a:p>
              </p:txBody>
            </p:sp>
            <p:sp>
              <p:nvSpPr>
                <p:cNvPr id="803" name="Freeform: Shape 802">
                  <a:extLst>
                    <a:ext uri="{FF2B5EF4-FFF2-40B4-BE49-F238E27FC236}">
                      <a16:creationId xmlns:a16="http://schemas.microsoft.com/office/drawing/2014/main" id="{6039C3E7-601A-ABA1-D3C9-E67296FDD3B8}"/>
                    </a:ext>
                  </a:extLst>
                </p:cNvPr>
                <p:cNvSpPr/>
                <p:nvPr/>
              </p:nvSpPr>
              <p:spPr>
                <a:xfrm>
                  <a:off x="11654552" y="31793"/>
                  <a:ext cx="19096" cy="17445"/>
                </a:xfrm>
                <a:custGeom>
                  <a:avLst/>
                  <a:gdLst>
                    <a:gd name="connsiteX0" fmla="*/ 12856 w 19096"/>
                    <a:gd name="connsiteY0" fmla="*/ 440 h 17445"/>
                    <a:gd name="connsiteX1" fmla="*/ 65 w 19096"/>
                    <a:gd name="connsiteY1" fmla="*/ 11263 h 17445"/>
                    <a:gd name="connsiteX2" fmla="*/ 261 w 19096"/>
                    <a:gd name="connsiteY2" fmla="*/ 13133 h 17445"/>
                    <a:gd name="connsiteX3" fmla="*/ 6362 w 19096"/>
                    <a:gd name="connsiteY3" fmla="*/ 17266 h 17445"/>
                    <a:gd name="connsiteX4" fmla="*/ 19055 w 19096"/>
                    <a:gd name="connsiteY4" fmla="*/ 8213 h 17445"/>
                    <a:gd name="connsiteX5" fmla="*/ 18563 w 19096"/>
                    <a:gd name="connsiteY5" fmla="*/ 3884 h 17445"/>
                    <a:gd name="connsiteX6" fmla="*/ 12758 w 19096"/>
                    <a:gd name="connsiteY6" fmla="*/ 341 h 17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96" h="17445">
                      <a:moveTo>
                        <a:pt x="12856" y="440"/>
                      </a:moveTo>
                      <a:cubicBezTo>
                        <a:pt x="9609" y="2408"/>
                        <a:pt x="-919" y="3293"/>
                        <a:pt x="65" y="11263"/>
                      </a:cubicBezTo>
                      <a:lnTo>
                        <a:pt x="261" y="13133"/>
                      </a:lnTo>
                      <a:cubicBezTo>
                        <a:pt x="655" y="16183"/>
                        <a:pt x="3410" y="18053"/>
                        <a:pt x="6362" y="17266"/>
                      </a:cubicBezTo>
                      <a:cubicBezTo>
                        <a:pt x="9117" y="15986"/>
                        <a:pt x="19842" y="16183"/>
                        <a:pt x="19055" y="8213"/>
                      </a:cubicBezTo>
                      <a:lnTo>
                        <a:pt x="18563" y="3884"/>
                      </a:lnTo>
                      <a:cubicBezTo>
                        <a:pt x="18268" y="833"/>
                        <a:pt x="15611" y="-741"/>
                        <a:pt x="12758" y="341"/>
                      </a:cubicBezTo>
                      <a:close/>
                    </a:path>
                  </a:pathLst>
                </a:custGeom>
                <a:grpFill/>
                <a:ln w="9835" cap="flat">
                  <a:noFill/>
                  <a:prstDash val="solid"/>
                  <a:miter/>
                </a:ln>
              </p:spPr>
              <p:txBody>
                <a:bodyPr rtlCol="0" anchor="ctr"/>
                <a:lstStyle/>
                <a:p>
                  <a:endParaRPr lang="en-IN"/>
                </a:p>
              </p:txBody>
            </p:sp>
            <p:sp>
              <p:nvSpPr>
                <p:cNvPr id="804" name="Freeform: Shape 803">
                  <a:extLst>
                    <a:ext uri="{FF2B5EF4-FFF2-40B4-BE49-F238E27FC236}">
                      <a16:creationId xmlns:a16="http://schemas.microsoft.com/office/drawing/2014/main" id="{C01D83F6-3FE1-F026-A535-16C465CDCCB2}"/>
                    </a:ext>
                  </a:extLst>
                </p:cNvPr>
                <p:cNvSpPr/>
                <p:nvPr/>
              </p:nvSpPr>
              <p:spPr>
                <a:xfrm>
                  <a:off x="12061951" y="157215"/>
                  <a:ext cx="16834" cy="13240"/>
                </a:xfrm>
                <a:custGeom>
                  <a:avLst/>
                  <a:gdLst>
                    <a:gd name="connsiteX0" fmla="*/ 2878 w 16834"/>
                    <a:gd name="connsiteY0" fmla="*/ 1948 h 13240"/>
                    <a:gd name="connsiteX1" fmla="*/ 3469 w 16834"/>
                    <a:gd name="connsiteY1" fmla="*/ 12082 h 13240"/>
                    <a:gd name="connsiteX2" fmla="*/ 15670 w 16834"/>
                    <a:gd name="connsiteY2" fmla="*/ 9623 h 13240"/>
                    <a:gd name="connsiteX3" fmla="*/ 2878 w 16834"/>
                    <a:gd name="connsiteY3" fmla="*/ 2046 h 13240"/>
                  </a:gdLst>
                  <a:ahLst/>
                  <a:cxnLst>
                    <a:cxn ang="0">
                      <a:pos x="connsiteX0" y="connsiteY0"/>
                    </a:cxn>
                    <a:cxn ang="0">
                      <a:pos x="connsiteX1" y="connsiteY1"/>
                    </a:cxn>
                    <a:cxn ang="0">
                      <a:pos x="connsiteX2" y="connsiteY2"/>
                    </a:cxn>
                    <a:cxn ang="0">
                      <a:pos x="connsiteX3" y="connsiteY3"/>
                    </a:cxn>
                  </a:cxnLst>
                  <a:rect l="l" t="t" r="r" b="b"/>
                  <a:pathLst>
                    <a:path w="16834" h="13240">
                      <a:moveTo>
                        <a:pt x="2878" y="1948"/>
                      </a:moveTo>
                      <a:cubicBezTo>
                        <a:pt x="2583" y="2932"/>
                        <a:pt x="-3813" y="11197"/>
                        <a:pt x="3469" y="12082"/>
                      </a:cubicBezTo>
                      <a:cubicBezTo>
                        <a:pt x="7110" y="12082"/>
                        <a:pt x="20885" y="15920"/>
                        <a:pt x="15670" y="9623"/>
                      </a:cubicBezTo>
                      <a:cubicBezTo>
                        <a:pt x="15670" y="9623"/>
                        <a:pt x="6716" y="-5334"/>
                        <a:pt x="2878" y="2046"/>
                      </a:cubicBezTo>
                      <a:close/>
                    </a:path>
                  </a:pathLst>
                </a:custGeom>
                <a:grpFill/>
                <a:ln w="9835" cap="flat">
                  <a:noFill/>
                  <a:prstDash val="solid"/>
                  <a:miter/>
                </a:ln>
              </p:spPr>
              <p:txBody>
                <a:bodyPr rtlCol="0" anchor="ctr"/>
                <a:lstStyle/>
                <a:p>
                  <a:endParaRPr lang="en-IN"/>
                </a:p>
              </p:txBody>
            </p:sp>
            <p:sp>
              <p:nvSpPr>
                <p:cNvPr id="805" name="Freeform: Shape 804">
                  <a:extLst>
                    <a:ext uri="{FF2B5EF4-FFF2-40B4-BE49-F238E27FC236}">
                      <a16:creationId xmlns:a16="http://schemas.microsoft.com/office/drawing/2014/main" id="{998DDF58-90AE-AC32-2C0E-1323DFBAD673}"/>
                    </a:ext>
                  </a:extLst>
                </p:cNvPr>
                <p:cNvSpPr/>
                <p:nvPr/>
              </p:nvSpPr>
              <p:spPr>
                <a:xfrm>
                  <a:off x="12753577" y="468399"/>
                  <a:ext cx="25980" cy="13351"/>
                </a:xfrm>
                <a:custGeom>
                  <a:avLst/>
                  <a:gdLst>
                    <a:gd name="connsiteX0" fmla="*/ 23245 w 25980"/>
                    <a:gd name="connsiteY0" fmla="*/ 1203 h 13351"/>
                    <a:gd name="connsiteX1" fmla="*/ 7698 w 25980"/>
                    <a:gd name="connsiteY1" fmla="*/ 1203 h 13351"/>
                    <a:gd name="connsiteX2" fmla="*/ 1893 w 25980"/>
                    <a:gd name="connsiteY2" fmla="*/ 8189 h 13351"/>
                    <a:gd name="connsiteX3" fmla="*/ 17636 w 25980"/>
                    <a:gd name="connsiteY3" fmla="*/ 11534 h 13351"/>
                    <a:gd name="connsiteX4" fmla="*/ 23245 w 25980"/>
                    <a:gd name="connsiteY4" fmla="*/ 1203 h 13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80" h="13351">
                      <a:moveTo>
                        <a:pt x="23245" y="1203"/>
                      </a:moveTo>
                      <a:cubicBezTo>
                        <a:pt x="21670" y="1105"/>
                        <a:pt x="14586" y="-1454"/>
                        <a:pt x="7698" y="1203"/>
                      </a:cubicBezTo>
                      <a:cubicBezTo>
                        <a:pt x="7698" y="1203"/>
                        <a:pt x="-4601" y="4352"/>
                        <a:pt x="1893" y="8189"/>
                      </a:cubicBezTo>
                      <a:cubicBezTo>
                        <a:pt x="5239" y="9468"/>
                        <a:pt x="11437" y="16651"/>
                        <a:pt x="17636" y="11534"/>
                      </a:cubicBezTo>
                      <a:cubicBezTo>
                        <a:pt x="19702" y="9271"/>
                        <a:pt x="31117" y="2679"/>
                        <a:pt x="23245" y="1203"/>
                      </a:cubicBezTo>
                      <a:close/>
                    </a:path>
                  </a:pathLst>
                </a:custGeom>
                <a:grpFill/>
                <a:ln w="9835" cap="flat">
                  <a:noFill/>
                  <a:prstDash val="solid"/>
                  <a:miter/>
                </a:ln>
              </p:spPr>
              <p:txBody>
                <a:bodyPr rtlCol="0" anchor="ctr"/>
                <a:lstStyle/>
                <a:p>
                  <a:endParaRPr lang="en-IN"/>
                </a:p>
              </p:txBody>
            </p:sp>
            <p:sp>
              <p:nvSpPr>
                <p:cNvPr id="806" name="Freeform: Shape 805">
                  <a:extLst>
                    <a:ext uri="{FF2B5EF4-FFF2-40B4-BE49-F238E27FC236}">
                      <a16:creationId xmlns:a16="http://schemas.microsoft.com/office/drawing/2014/main" id="{F3F1848F-B8A0-D2D9-89F5-E7BD99F75933}"/>
                    </a:ext>
                  </a:extLst>
                </p:cNvPr>
                <p:cNvSpPr/>
                <p:nvPr/>
              </p:nvSpPr>
              <p:spPr>
                <a:xfrm>
                  <a:off x="10983590" y="129555"/>
                  <a:ext cx="33696" cy="19173"/>
                </a:xfrm>
                <a:custGeom>
                  <a:avLst/>
                  <a:gdLst>
                    <a:gd name="connsiteX0" fmla="*/ 30174 w 33696"/>
                    <a:gd name="connsiteY0" fmla="*/ 581 h 19173"/>
                    <a:gd name="connsiteX1" fmla="*/ 3509 w 33696"/>
                    <a:gd name="connsiteY1" fmla="*/ 5796 h 19173"/>
                    <a:gd name="connsiteX2" fmla="*/ 3804 w 33696"/>
                    <a:gd name="connsiteY2" fmla="*/ 19079 h 19173"/>
                    <a:gd name="connsiteX3" fmla="*/ 28993 w 33696"/>
                    <a:gd name="connsiteY3" fmla="*/ 14061 h 19173"/>
                    <a:gd name="connsiteX4" fmla="*/ 30174 w 33696"/>
                    <a:gd name="connsiteY4" fmla="*/ 581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6" h="19173">
                      <a:moveTo>
                        <a:pt x="30174" y="581"/>
                      </a:moveTo>
                      <a:cubicBezTo>
                        <a:pt x="30174" y="581"/>
                        <a:pt x="6854" y="-2568"/>
                        <a:pt x="3509" y="5796"/>
                      </a:cubicBezTo>
                      <a:cubicBezTo>
                        <a:pt x="2919" y="8649"/>
                        <a:pt x="-4264" y="19079"/>
                        <a:pt x="3804" y="19079"/>
                      </a:cubicBezTo>
                      <a:cubicBezTo>
                        <a:pt x="14136" y="18095"/>
                        <a:pt x="25058" y="21933"/>
                        <a:pt x="28993" y="14061"/>
                      </a:cubicBezTo>
                      <a:cubicBezTo>
                        <a:pt x="30076" y="10617"/>
                        <a:pt x="38243" y="581"/>
                        <a:pt x="30174" y="581"/>
                      </a:cubicBezTo>
                      <a:close/>
                    </a:path>
                  </a:pathLst>
                </a:custGeom>
                <a:grpFill/>
                <a:ln w="9835" cap="flat">
                  <a:noFill/>
                  <a:prstDash val="solid"/>
                  <a:miter/>
                </a:ln>
              </p:spPr>
              <p:txBody>
                <a:bodyPr rtlCol="0" anchor="ctr"/>
                <a:lstStyle/>
                <a:p>
                  <a:endParaRPr lang="en-IN"/>
                </a:p>
              </p:txBody>
            </p:sp>
            <p:sp>
              <p:nvSpPr>
                <p:cNvPr id="807" name="Freeform: Shape 806">
                  <a:extLst>
                    <a:ext uri="{FF2B5EF4-FFF2-40B4-BE49-F238E27FC236}">
                      <a16:creationId xmlns:a16="http://schemas.microsoft.com/office/drawing/2014/main" id="{F6CEFD81-EB28-C577-7093-A7166DB47EA1}"/>
                    </a:ext>
                  </a:extLst>
                </p:cNvPr>
                <p:cNvSpPr/>
                <p:nvPr/>
              </p:nvSpPr>
              <p:spPr>
                <a:xfrm>
                  <a:off x="10913370" y="131421"/>
                  <a:ext cx="50890" cy="19265"/>
                </a:xfrm>
                <a:custGeom>
                  <a:avLst/>
                  <a:gdLst>
                    <a:gd name="connsiteX0" fmla="*/ 3277 w 50890"/>
                    <a:gd name="connsiteY0" fmla="*/ 6883 h 19265"/>
                    <a:gd name="connsiteX1" fmla="*/ 719 w 50890"/>
                    <a:gd name="connsiteY1" fmla="*/ 12786 h 19265"/>
                    <a:gd name="connsiteX2" fmla="*/ 2392 w 50890"/>
                    <a:gd name="connsiteY2" fmla="*/ 15541 h 19265"/>
                    <a:gd name="connsiteX3" fmla="*/ 47752 w 50890"/>
                    <a:gd name="connsiteY3" fmla="*/ 13278 h 19265"/>
                    <a:gd name="connsiteX4" fmla="*/ 46670 w 50890"/>
                    <a:gd name="connsiteY4" fmla="*/ 3340 h 19265"/>
                    <a:gd name="connsiteX5" fmla="*/ 3376 w 50890"/>
                    <a:gd name="connsiteY5" fmla="*/ 6981 h 19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90" h="19265">
                      <a:moveTo>
                        <a:pt x="3277" y="6883"/>
                      </a:moveTo>
                      <a:cubicBezTo>
                        <a:pt x="227" y="7473"/>
                        <a:pt x="-856" y="10130"/>
                        <a:pt x="719" y="12786"/>
                      </a:cubicBezTo>
                      <a:lnTo>
                        <a:pt x="2392" y="15541"/>
                      </a:lnTo>
                      <a:cubicBezTo>
                        <a:pt x="6229" y="21937"/>
                        <a:pt x="10952" y="19379"/>
                        <a:pt x="47752" y="13278"/>
                      </a:cubicBezTo>
                      <a:cubicBezTo>
                        <a:pt x="55132" y="12098"/>
                        <a:pt x="47260" y="4619"/>
                        <a:pt x="46670" y="3340"/>
                      </a:cubicBezTo>
                      <a:cubicBezTo>
                        <a:pt x="42340" y="-2563"/>
                        <a:pt x="38700" y="-202"/>
                        <a:pt x="3376" y="6981"/>
                      </a:cubicBezTo>
                      <a:close/>
                    </a:path>
                  </a:pathLst>
                </a:custGeom>
                <a:grpFill/>
                <a:ln w="9835" cap="flat">
                  <a:noFill/>
                  <a:prstDash val="solid"/>
                  <a:miter/>
                </a:ln>
              </p:spPr>
              <p:txBody>
                <a:bodyPr rtlCol="0" anchor="ctr"/>
                <a:lstStyle/>
                <a:p>
                  <a:endParaRPr lang="en-IN"/>
                </a:p>
              </p:txBody>
            </p:sp>
            <p:sp>
              <p:nvSpPr>
                <p:cNvPr id="808" name="Freeform: Shape 807">
                  <a:extLst>
                    <a:ext uri="{FF2B5EF4-FFF2-40B4-BE49-F238E27FC236}">
                      <a16:creationId xmlns:a16="http://schemas.microsoft.com/office/drawing/2014/main" id="{344E45D6-3F23-3A8F-76B7-96D8688D9455}"/>
                    </a:ext>
                  </a:extLst>
                </p:cNvPr>
                <p:cNvSpPr/>
                <p:nvPr/>
              </p:nvSpPr>
              <p:spPr>
                <a:xfrm>
                  <a:off x="10955962" y="70674"/>
                  <a:ext cx="77892" cy="35084"/>
                </a:xfrm>
                <a:custGeom>
                  <a:avLst/>
                  <a:gdLst>
                    <a:gd name="connsiteX0" fmla="*/ 75710 w 77892"/>
                    <a:gd name="connsiteY0" fmla="*/ 1212 h 35084"/>
                    <a:gd name="connsiteX1" fmla="*/ 74529 w 77892"/>
                    <a:gd name="connsiteY1" fmla="*/ 622 h 35084"/>
                    <a:gd name="connsiteX2" fmla="*/ 49635 w 77892"/>
                    <a:gd name="connsiteY2" fmla="*/ 7903 h 35084"/>
                    <a:gd name="connsiteX3" fmla="*/ 2307 w 77892"/>
                    <a:gd name="connsiteY3" fmla="*/ 22367 h 35084"/>
                    <a:gd name="connsiteX4" fmla="*/ 36450 w 77892"/>
                    <a:gd name="connsiteY4" fmla="*/ 34667 h 35084"/>
                    <a:gd name="connsiteX5" fmla="*/ 76301 w 77892"/>
                    <a:gd name="connsiteY5" fmla="*/ 7313 h 35084"/>
                    <a:gd name="connsiteX6" fmla="*/ 75612 w 77892"/>
                    <a:gd name="connsiteY6" fmla="*/ 1212 h 3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892" h="35084">
                      <a:moveTo>
                        <a:pt x="75710" y="1212"/>
                      </a:moveTo>
                      <a:lnTo>
                        <a:pt x="74529" y="622"/>
                      </a:lnTo>
                      <a:cubicBezTo>
                        <a:pt x="68330" y="-2625"/>
                        <a:pt x="49635" y="7903"/>
                        <a:pt x="49635" y="7903"/>
                      </a:cubicBezTo>
                      <a:cubicBezTo>
                        <a:pt x="43043" y="11150"/>
                        <a:pt x="39697" y="11740"/>
                        <a:pt x="2307" y="22367"/>
                      </a:cubicBezTo>
                      <a:cubicBezTo>
                        <a:pt x="-5171" y="24532"/>
                        <a:pt x="5357" y="26205"/>
                        <a:pt x="36450" y="34667"/>
                      </a:cubicBezTo>
                      <a:cubicBezTo>
                        <a:pt x="43535" y="36635"/>
                        <a:pt x="46388" y="32305"/>
                        <a:pt x="76301" y="7313"/>
                      </a:cubicBezTo>
                      <a:cubicBezTo>
                        <a:pt x="78662" y="5345"/>
                        <a:pt x="78367" y="2590"/>
                        <a:pt x="75612" y="1212"/>
                      </a:cubicBezTo>
                      <a:close/>
                    </a:path>
                  </a:pathLst>
                </a:custGeom>
                <a:grpFill/>
                <a:ln w="9835" cap="flat">
                  <a:noFill/>
                  <a:prstDash val="solid"/>
                  <a:miter/>
                </a:ln>
              </p:spPr>
              <p:txBody>
                <a:bodyPr rtlCol="0" anchor="ctr"/>
                <a:lstStyle/>
                <a:p>
                  <a:endParaRPr lang="en-IN"/>
                </a:p>
              </p:txBody>
            </p:sp>
            <p:sp>
              <p:nvSpPr>
                <p:cNvPr id="809" name="Freeform: Shape 808">
                  <a:extLst>
                    <a:ext uri="{FF2B5EF4-FFF2-40B4-BE49-F238E27FC236}">
                      <a16:creationId xmlns:a16="http://schemas.microsoft.com/office/drawing/2014/main" id="{B98F5856-D449-39C7-5D9D-EBF321AD7A83}"/>
                    </a:ext>
                  </a:extLst>
                </p:cNvPr>
                <p:cNvSpPr/>
                <p:nvPr/>
              </p:nvSpPr>
              <p:spPr>
                <a:xfrm>
                  <a:off x="10157341" y="212760"/>
                  <a:ext cx="45404" cy="20323"/>
                </a:xfrm>
                <a:custGeom>
                  <a:avLst/>
                  <a:gdLst>
                    <a:gd name="connsiteX0" fmla="*/ 39638 w 45404"/>
                    <a:gd name="connsiteY0" fmla="*/ 3768 h 20323"/>
                    <a:gd name="connsiteX1" fmla="*/ 3625 w 45404"/>
                    <a:gd name="connsiteY1" fmla="*/ 29 h 20323"/>
                    <a:gd name="connsiteX2" fmla="*/ 477 w 45404"/>
                    <a:gd name="connsiteY2" fmla="*/ 4457 h 20323"/>
                    <a:gd name="connsiteX3" fmla="*/ 12284 w 45404"/>
                    <a:gd name="connsiteY3" fmla="*/ 17937 h 20323"/>
                    <a:gd name="connsiteX4" fmla="*/ 39737 w 45404"/>
                    <a:gd name="connsiteY4" fmla="*/ 20299 h 20323"/>
                    <a:gd name="connsiteX5" fmla="*/ 45345 w 45404"/>
                    <a:gd name="connsiteY5" fmla="*/ 15182 h 20323"/>
                    <a:gd name="connsiteX6" fmla="*/ 39835 w 45404"/>
                    <a:gd name="connsiteY6" fmla="*/ 3768 h 20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04" h="20323">
                      <a:moveTo>
                        <a:pt x="39638" y="3768"/>
                      </a:moveTo>
                      <a:lnTo>
                        <a:pt x="3625" y="29"/>
                      </a:lnTo>
                      <a:cubicBezTo>
                        <a:pt x="575" y="-266"/>
                        <a:pt x="-803" y="1702"/>
                        <a:pt x="477" y="4457"/>
                      </a:cubicBezTo>
                      <a:cubicBezTo>
                        <a:pt x="2543" y="7606"/>
                        <a:pt x="4216" y="17249"/>
                        <a:pt x="12284" y="17937"/>
                      </a:cubicBezTo>
                      <a:lnTo>
                        <a:pt x="39737" y="20299"/>
                      </a:lnTo>
                      <a:cubicBezTo>
                        <a:pt x="42787" y="20594"/>
                        <a:pt x="45345" y="18233"/>
                        <a:pt x="45345" y="15182"/>
                      </a:cubicBezTo>
                      <a:cubicBezTo>
                        <a:pt x="44952" y="13608"/>
                        <a:pt x="47313" y="4556"/>
                        <a:pt x="39835" y="3768"/>
                      </a:cubicBezTo>
                      <a:close/>
                    </a:path>
                  </a:pathLst>
                </a:custGeom>
                <a:grpFill/>
                <a:ln w="9835" cap="flat">
                  <a:noFill/>
                  <a:prstDash val="solid"/>
                  <a:miter/>
                </a:ln>
              </p:spPr>
              <p:txBody>
                <a:bodyPr rtlCol="0" anchor="ctr"/>
                <a:lstStyle/>
                <a:p>
                  <a:endParaRPr lang="en-IN"/>
                </a:p>
              </p:txBody>
            </p:sp>
            <p:sp>
              <p:nvSpPr>
                <p:cNvPr id="810" name="Freeform: Shape 809">
                  <a:extLst>
                    <a:ext uri="{FF2B5EF4-FFF2-40B4-BE49-F238E27FC236}">
                      <a16:creationId xmlns:a16="http://schemas.microsoft.com/office/drawing/2014/main" id="{02B37DDD-3C09-AEBA-7F15-EC27C62438A1}"/>
                    </a:ext>
                  </a:extLst>
                </p:cNvPr>
                <p:cNvSpPr/>
                <p:nvPr/>
              </p:nvSpPr>
              <p:spPr>
                <a:xfrm>
                  <a:off x="10110037" y="214382"/>
                  <a:ext cx="30750" cy="23682"/>
                </a:xfrm>
                <a:custGeom>
                  <a:avLst/>
                  <a:gdLst>
                    <a:gd name="connsiteX0" fmla="*/ 28003 w 30750"/>
                    <a:gd name="connsiteY0" fmla="*/ 20250 h 23682"/>
                    <a:gd name="connsiteX1" fmla="*/ 11571 w 30750"/>
                    <a:gd name="connsiteY1" fmla="*/ 1260 h 23682"/>
                    <a:gd name="connsiteX2" fmla="*/ 3601 w 30750"/>
                    <a:gd name="connsiteY2" fmla="*/ 2047 h 23682"/>
                    <a:gd name="connsiteX3" fmla="*/ 1830 w 30750"/>
                    <a:gd name="connsiteY3" fmla="*/ 4212 h 23682"/>
                    <a:gd name="connsiteX4" fmla="*/ 4585 w 30750"/>
                    <a:gd name="connsiteY4" fmla="*/ 19955 h 23682"/>
                    <a:gd name="connsiteX5" fmla="*/ 28101 w 30750"/>
                    <a:gd name="connsiteY5" fmla="*/ 20250 h 23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50" h="23682">
                      <a:moveTo>
                        <a:pt x="28003" y="20250"/>
                      </a:moveTo>
                      <a:cubicBezTo>
                        <a:pt x="35284" y="18676"/>
                        <a:pt x="27511" y="14248"/>
                        <a:pt x="11571" y="1260"/>
                      </a:cubicBezTo>
                      <a:cubicBezTo>
                        <a:pt x="9209" y="-708"/>
                        <a:pt x="5569" y="-314"/>
                        <a:pt x="3601" y="2047"/>
                      </a:cubicBezTo>
                      <a:lnTo>
                        <a:pt x="1830" y="4212"/>
                      </a:lnTo>
                      <a:cubicBezTo>
                        <a:pt x="-3188" y="10116"/>
                        <a:pt x="3601" y="17299"/>
                        <a:pt x="4585" y="19955"/>
                      </a:cubicBezTo>
                      <a:cubicBezTo>
                        <a:pt x="8816" y="27630"/>
                        <a:pt x="19443" y="21234"/>
                        <a:pt x="28101" y="20250"/>
                      </a:cubicBezTo>
                      <a:close/>
                    </a:path>
                  </a:pathLst>
                </a:custGeom>
                <a:grpFill/>
                <a:ln w="9835" cap="flat">
                  <a:noFill/>
                  <a:prstDash val="solid"/>
                  <a:miter/>
                </a:ln>
              </p:spPr>
              <p:txBody>
                <a:bodyPr rtlCol="0" anchor="ctr"/>
                <a:lstStyle/>
                <a:p>
                  <a:endParaRPr lang="en-IN"/>
                </a:p>
              </p:txBody>
            </p:sp>
            <p:sp>
              <p:nvSpPr>
                <p:cNvPr id="811" name="Freeform: Shape 810">
                  <a:extLst>
                    <a:ext uri="{FF2B5EF4-FFF2-40B4-BE49-F238E27FC236}">
                      <a16:creationId xmlns:a16="http://schemas.microsoft.com/office/drawing/2014/main" id="{C7FDEB55-5138-FE8B-915A-37C1F8858DB2}"/>
                    </a:ext>
                  </a:extLst>
                </p:cNvPr>
                <p:cNvSpPr/>
                <p:nvPr/>
              </p:nvSpPr>
              <p:spPr>
                <a:xfrm>
                  <a:off x="10532817" y="70358"/>
                  <a:ext cx="26129" cy="34561"/>
                </a:xfrm>
                <a:custGeom>
                  <a:avLst/>
                  <a:gdLst>
                    <a:gd name="connsiteX0" fmla="*/ 20847 w 26129"/>
                    <a:gd name="connsiteY0" fmla="*/ 544 h 34561"/>
                    <a:gd name="connsiteX1" fmla="*/ 184 w 26129"/>
                    <a:gd name="connsiteY1" fmla="*/ 15008 h 34561"/>
                    <a:gd name="connsiteX2" fmla="*/ 5104 w 26129"/>
                    <a:gd name="connsiteY2" fmla="*/ 33900 h 34561"/>
                    <a:gd name="connsiteX3" fmla="*/ 25963 w 26129"/>
                    <a:gd name="connsiteY3" fmla="*/ 17370 h 34561"/>
                    <a:gd name="connsiteX4" fmla="*/ 20847 w 26129"/>
                    <a:gd name="connsiteY4" fmla="*/ 544 h 34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29" h="34561">
                      <a:moveTo>
                        <a:pt x="20847" y="544"/>
                      </a:moveTo>
                      <a:cubicBezTo>
                        <a:pt x="11893" y="5464"/>
                        <a:pt x="184" y="6153"/>
                        <a:pt x="184" y="15008"/>
                      </a:cubicBezTo>
                      <a:cubicBezTo>
                        <a:pt x="971" y="22486"/>
                        <a:pt x="-2670" y="37935"/>
                        <a:pt x="5104" y="33900"/>
                      </a:cubicBezTo>
                      <a:cubicBezTo>
                        <a:pt x="14353" y="27997"/>
                        <a:pt x="25963" y="26226"/>
                        <a:pt x="25963" y="17370"/>
                      </a:cubicBezTo>
                      <a:cubicBezTo>
                        <a:pt x="25176" y="10876"/>
                        <a:pt x="28817" y="-2900"/>
                        <a:pt x="20847" y="544"/>
                      </a:cubicBezTo>
                      <a:close/>
                    </a:path>
                  </a:pathLst>
                </a:custGeom>
                <a:grpFill/>
                <a:ln w="9835" cap="flat">
                  <a:noFill/>
                  <a:prstDash val="solid"/>
                  <a:miter/>
                </a:ln>
              </p:spPr>
              <p:txBody>
                <a:bodyPr rtlCol="0" anchor="ctr"/>
                <a:lstStyle/>
                <a:p>
                  <a:endParaRPr lang="en-IN"/>
                </a:p>
              </p:txBody>
            </p:sp>
            <p:sp>
              <p:nvSpPr>
                <p:cNvPr id="812" name="Freeform: Shape 811">
                  <a:extLst>
                    <a:ext uri="{FF2B5EF4-FFF2-40B4-BE49-F238E27FC236}">
                      <a16:creationId xmlns:a16="http://schemas.microsoft.com/office/drawing/2014/main" id="{4E6825EE-97DD-20A5-86D2-A9538617FDE1}"/>
                    </a:ext>
                  </a:extLst>
                </p:cNvPr>
                <p:cNvSpPr/>
                <p:nvPr/>
              </p:nvSpPr>
              <p:spPr>
                <a:xfrm>
                  <a:off x="14376496" y="2016552"/>
                  <a:ext cx="19521" cy="20947"/>
                </a:xfrm>
                <a:custGeom>
                  <a:avLst/>
                  <a:gdLst>
                    <a:gd name="connsiteX0" fmla="*/ 16873 w 19521"/>
                    <a:gd name="connsiteY0" fmla="*/ 2197 h 20947"/>
                    <a:gd name="connsiteX1" fmla="*/ 13823 w 19521"/>
                    <a:gd name="connsiteY1" fmla="*/ 721 h 20947"/>
                    <a:gd name="connsiteX2" fmla="*/ 638 w 19521"/>
                    <a:gd name="connsiteY2" fmla="*/ 13217 h 20947"/>
                    <a:gd name="connsiteX3" fmla="*/ 3196 w 19521"/>
                    <a:gd name="connsiteY3" fmla="*/ 20203 h 20947"/>
                    <a:gd name="connsiteX4" fmla="*/ 3689 w 19521"/>
                    <a:gd name="connsiteY4" fmla="*/ 20400 h 20947"/>
                    <a:gd name="connsiteX5" fmla="*/ 18546 w 19521"/>
                    <a:gd name="connsiteY5" fmla="*/ 9183 h 20947"/>
                    <a:gd name="connsiteX6" fmla="*/ 16873 w 19521"/>
                    <a:gd name="connsiteY6" fmla="*/ 2197 h 2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21" h="20947">
                      <a:moveTo>
                        <a:pt x="16873" y="2197"/>
                      </a:moveTo>
                      <a:lnTo>
                        <a:pt x="13823" y="721"/>
                      </a:lnTo>
                      <a:cubicBezTo>
                        <a:pt x="6246" y="-3018"/>
                        <a:pt x="3983" y="8789"/>
                        <a:pt x="638" y="13217"/>
                      </a:cubicBezTo>
                      <a:cubicBezTo>
                        <a:pt x="-838" y="15874"/>
                        <a:pt x="343" y="19022"/>
                        <a:pt x="3196" y="20203"/>
                      </a:cubicBezTo>
                      <a:lnTo>
                        <a:pt x="3689" y="20400"/>
                      </a:lnTo>
                      <a:cubicBezTo>
                        <a:pt x="11363" y="23450"/>
                        <a:pt x="14905" y="12922"/>
                        <a:pt x="18546" y="9183"/>
                      </a:cubicBezTo>
                      <a:cubicBezTo>
                        <a:pt x="20317" y="6723"/>
                        <a:pt x="19629" y="3574"/>
                        <a:pt x="16873" y="2197"/>
                      </a:cubicBezTo>
                      <a:close/>
                    </a:path>
                  </a:pathLst>
                </a:custGeom>
                <a:grpFill/>
                <a:ln w="9835" cap="flat">
                  <a:noFill/>
                  <a:prstDash val="solid"/>
                  <a:miter/>
                </a:ln>
              </p:spPr>
              <p:txBody>
                <a:bodyPr rtlCol="0" anchor="ctr"/>
                <a:lstStyle/>
                <a:p>
                  <a:endParaRPr lang="en-IN"/>
                </a:p>
              </p:txBody>
            </p:sp>
            <p:sp>
              <p:nvSpPr>
                <p:cNvPr id="813" name="Freeform: Shape 812">
                  <a:extLst>
                    <a:ext uri="{FF2B5EF4-FFF2-40B4-BE49-F238E27FC236}">
                      <a16:creationId xmlns:a16="http://schemas.microsoft.com/office/drawing/2014/main" id="{3668F0E4-EBD3-85DB-4B99-AA9FF1FFE78D}"/>
                    </a:ext>
                  </a:extLst>
                </p:cNvPr>
                <p:cNvSpPr/>
                <p:nvPr/>
              </p:nvSpPr>
              <p:spPr>
                <a:xfrm>
                  <a:off x="9584267" y="1162900"/>
                  <a:ext cx="393" cy="623"/>
                </a:xfrm>
                <a:custGeom>
                  <a:avLst/>
                  <a:gdLst>
                    <a:gd name="connsiteX0" fmla="*/ 394 w 393"/>
                    <a:gd name="connsiteY0" fmla="*/ 394 h 623"/>
                    <a:gd name="connsiteX1" fmla="*/ 0 w 393"/>
                    <a:gd name="connsiteY1" fmla="*/ 0 h 623"/>
                    <a:gd name="connsiteX2" fmla="*/ 394 w 393"/>
                    <a:gd name="connsiteY2" fmla="*/ 394 h 623"/>
                  </a:gdLst>
                  <a:ahLst/>
                  <a:cxnLst>
                    <a:cxn ang="0">
                      <a:pos x="connsiteX0" y="connsiteY0"/>
                    </a:cxn>
                    <a:cxn ang="0">
                      <a:pos x="connsiteX1" y="connsiteY1"/>
                    </a:cxn>
                    <a:cxn ang="0">
                      <a:pos x="connsiteX2" y="connsiteY2"/>
                    </a:cxn>
                  </a:cxnLst>
                  <a:rect l="l" t="t" r="r" b="b"/>
                  <a:pathLst>
                    <a:path w="393" h="623">
                      <a:moveTo>
                        <a:pt x="394" y="394"/>
                      </a:moveTo>
                      <a:cubicBezTo>
                        <a:pt x="394" y="394"/>
                        <a:pt x="197" y="98"/>
                        <a:pt x="0" y="0"/>
                      </a:cubicBezTo>
                      <a:cubicBezTo>
                        <a:pt x="295" y="689"/>
                        <a:pt x="394" y="787"/>
                        <a:pt x="394" y="394"/>
                      </a:cubicBezTo>
                      <a:close/>
                    </a:path>
                  </a:pathLst>
                </a:custGeom>
                <a:grpFill/>
                <a:ln w="9835" cap="flat">
                  <a:noFill/>
                  <a:prstDash val="solid"/>
                  <a:miter/>
                </a:ln>
              </p:spPr>
              <p:txBody>
                <a:bodyPr rtlCol="0" anchor="ctr"/>
                <a:lstStyle/>
                <a:p>
                  <a:endParaRPr lang="en-IN"/>
                </a:p>
              </p:txBody>
            </p:sp>
            <p:sp>
              <p:nvSpPr>
                <p:cNvPr id="814" name="Freeform: Shape 813">
                  <a:extLst>
                    <a:ext uri="{FF2B5EF4-FFF2-40B4-BE49-F238E27FC236}">
                      <a16:creationId xmlns:a16="http://schemas.microsoft.com/office/drawing/2014/main" id="{5E7698A0-A635-C9D2-9A19-84A9D6E9B081}"/>
                    </a:ext>
                  </a:extLst>
                </p:cNvPr>
                <p:cNvSpPr/>
                <p:nvPr/>
              </p:nvSpPr>
              <p:spPr>
                <a:xfrm>
                  <a:off x="9389066" y="519074"/>
                  <a:ext cx="104174" cy="55603"/>
                </a:xfrm>
                <a:custGeom>
                  <a:avLst/>
                  <a:gdLst>
                    <a:gd name="connsiteX0" fmla="*/ 95132 w 104174"/>
                    <a:gd name="connsiteY0" fmla="*/ 20882 h 55603"/>
                    <a:gd name="connsiteX1" fmla="*/ 56659 w 104174"/>
                    <a:gd name="connsiteY1" fmla="*/ 219 h 55603"/>
                    <a:gd name="connsiteX2" fmla="*/ 869 w 104174"/>
                    <a:gd name="connsiteY2" fmla="*/ 14781 h 55603"/>
                    <a:gd name="connsiteX3" fmla="*/ 4116 w 104174"/>
                    <a:gd name="connsiteY3" fmla="*/ 25113 h 55603"/>
                    <a:gd name="connsiteX4" fmla="*/ 4116 w 104174"/>
                    <a:gd name="connsiteY4" fmla="*/ 54533 h 55603"/>
                    <a:gd name="connsiteX5" fmla="*/ 37571 w 104174"/>
                    <a:gd name="connsiteY5" fmla="*/ 52270 h 55603"/>
                    <a:gd name="connsiteX6" fmla="*/ 50264 w 104174"/>
                    <a:gd name="connsiteY6" fmla="*/ 45186 h 55603"/>
                    <a:gd name="connsiteX7" fmla="*/ 78405 w 104174"/>
                    <a:gd name="connsiteY7" fmla="*/ 38888 h 55603"/>
                    <a:gd name="connsiteX8" fmla="*/ 103791 w 104174"/>
                    <a:gd name="connsiteY8" fmla="*/ 36724 h 55603"/>
                    <a:gd name="connsiteX9" fmla="*/ 95034 w 104174"/>
                    <a:gd name="connsiteY9" fmla="*/ 20882 h 5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174" h="55603">
                      <a:moveTo>
                        <a:pt x="95132" y="20882"/>
                      </a:moveTo>
                      <a:cubicBezTo>
                        <a:pt x="66499" y="2187"/>
                        <a:pt x="64039" y="-962"/>
                        <a:pt x="56659" y="219"/>
                      </a:cubicBezTo>
                      <a:cubicBezTo>
                        <a:pt x="3624" y="8681"/>
                        <a:pt x="-1394" y="7500"/>
                        <a:pt x="869" y="14781"/>
                      </a:cubicBezTo>
                      <a:lnTo>
                        <a:pt x="4116" y="25113"/>
                      </a:lnTo>
                      <a:cubicBezTo>
                        <a:pt x="8150" y="38101"/>
                        <a:pt x="-6905" y="54041"/>
                        <a:pt x="4116" y="54533"/>
                      </a:cubicBezTo>
                      <a:cubicBezTo>
                        <a:pt x="4116" y="54533"/>
                        <a:pt x="30486" y="58076"/>
                        <a:pt x="37571" y="52270"/>
                      </a:cubicBezTo>
                      <a:cubicBezTo>
                        <a:pt x="39046" y="51286"/>
                        <a:pt x="43277" y="46760"/>
                        <a:pt x="50264" y="45186"/>
                      </a:cubicBezTo>
                      <a:lnTo>
                        <a:pt x="78405" y="38888"/>
                      </a:lnTo>
                      <a:cubicBezTo>
                        <a:pt x="91098" y="36035"/>
                        <a:pt x="106841" y="46071"/>
                        <a:pt x="103791" y="36724"/>
                      </a:cubicBezTo>
                      <a:cubicBezTo>
                        <a:pt x="102512" y="33772"/>
                        <a:pt x="101626" y="25211"/>
                        <a:pt x="95034" y="20882"/>
                      </a:cubicBezTo>
                      <a:close/>
                    </a:path>
                  </a:pathLst>
                </a:custGeom>
                <a:grpFill/>
                <a:ln w="9835" cap="flat">
                  <a:noFill/>
                  <a:prstDash val="solid"/>
                  <a:miter/>
                </a:ln>
              </p:spPr>
              <p:txBody>
                <a:bodyPr rtlCol="0" anchor="ctr"/>
                <a:lstStyle/>
                <a:p>
                  <a:endParaRPr lang="en-IN"/>
                </a:p>
              </p:txBody>
            </p:sp>
            <p:sp>
              <p:nvSpPr>
                <p:cNvPr id="815" name="Freeform: Shape 814">
                  <a:extLst>
                    <a:ext uri="{FF2B5EF4-FFF2-40B4-BE49-F238E27FC236}">
                      <a16:creationId xmlns:a16="http://schemas.microsoft.com/office/drawing/2014/main" id="{5A556958-9DF6-6374-8544-5B73D9DB33A0}"/>
                    </a:ext>
                  </a:extLst>
                </p:cNvPr>
                <p:cNvSpPr/>
                <p:nvPr/>
              </p:nvSpPr>
              <p:spPr>
                <a:xfrm>
                  <a:off x="8586237" y="3689"/>
                  <a:ext cx="8264972" cy="3395062"/>
                </a:xfrm>
                <a:custGeom>
                  <a:avLst/>
                  <a:gdLst>
                    <a:gd name="connsiteX0" fmla="*/ 4568524 w 8264972"/>
                    <a:gd name="connsiteY0" fmla="*/ 3380894 h 3395062"/>
                    <a:gd name="connsiteX1" fmla="*/ 4562424 w 8264972"/>
                    <a:gd name="connsiteY1" fmla="*/ 3370857 h 3395062"/>
                    <a:gd name="connsiteX2" fmla="*/ 4588204 w 8264972"/>
                    <a:gd name="connsiteY2" fmla="*/ 3374006 h 3395062"/>
                    <a:gd name="connsiteX3" fmla="*/ 4623331 w 8264972"/>
                    <a:gd name="connsiteY3" fmla="*/ 3326087 h 3395062"/>
                    <a:gd name="connsiteX4" fmla="*/ 4640353 w 8264972"/>
                    <a:gd name="connsiteY4" fmla="*/ 3322152 h 3395062"/>
                    <a:gd name="connsiteX5" fmla="*/ 4639567 w 8264972"/>
                    <a:gd name="connsiteY5" fmla="*/ 3333073 h 3395062"/>
                    <a:gd name="connsiteX6" fmla="*/ 4649111 w 8264972"/>
                    <a:gd name="connsiteY6" fmla="*/ 3338092 h 3395062"/>
                    <a:gd name="connsiteX7" fmla="*/ 4666822 w 8264972"/>
                    <a:gd name="connsiteY7" fmla="*/ 3327071 h 3395062"/>
                    <a:gd name="connsiteX8" fmla="*/ 4666035 w 8264972"/>
                    <a:gd name="connsiteY8" fmla="*/ 3355114 h 3395062"/>
                    <a:gd name="connsiteX9" fmla="*/ 4681877 w 8264972"/>
                    <a:gd name="connsiteY9" fmla="*/ 3355016 h 3395062"/>
                    <a:gd name="connsiteX10" fmla="*/ 4689551 w 8264972"/>
                    <a:gd name="connsiteY10" fmla="*/ 3358263 h 3395062"/>
                    <a:gd name="connsiteX11" fmla="*/ 4690929 w 8264972"/>
                    <a:gd name="connsiteY11" fmla="*/ 3361116 h 3395062"/>
                    <a:gd name="connsiteX12" fmla="*/ 4697620 w 8264972"/>
                    <a:gd name="connsiteY12" fmla="*/ 3362592 h 3395062"/>
                    <a:gd name="connsiteX13" fmla="*/ 4700769 w 8264972"/>
                    <a:gd name="connsiteY13" fmla="*/ 3359936 h 3395062"/>
                    <a:gd name="connsiteX14" fmla="*/ 4707263 w 8264972"/>
                    <a:gd name="connsiteY14" fmla="*/ 3361510 h 3395062"/>
                    <a:gd name="connsiteX15" fmla="*/ 4708444 w 8264972"/>
                    <a:gd name="connsiteY15" fmla="*/ 3364167 h 3395062"/>
                    <a:gd name="connsiteX16" fmla="*/ 4716020 w 8264972"/>
                    <a:gd name="connsiteY16" fmla="*/ 3367611 h 3395062"/>
                    <a:gd name="connsiteX17" fmla="*/ 4838818 w 8264972"/>
                    <a:gd name="connsiteY17" fmla="*/ 3305228 h 3395062"/>
                    <a:gd name="connsiteX18" fmla="*/ 4879849 w 8264972"/>
                    <a:gd name="connsiteY18" fmla="*/ 3245403 h 3395062"/>
                    <a:gd name="connsiteX19" fmla="*/ 4900020 w 8264972"/>
                    <a:gd name="connsiteY19" fmla="*/ 3232119 h 3395062"/>
                    <a:gd name="connsiteX20" fmla="*/ 4934852 w 8264972"/>
                    <a:gd name="connsiteY20" fmla="*/ 3186365 h 3395062"/>
                    <a:gd name="connsiteX21" fmla="*/ 5020654 w 8264972"/>
                    <a:gd name="connsiteY21" fmla="*/ 3099186 h 3395062"/>
                    <a:gd name="connsiteX22" fmla="*/ 5062767 w 8264972"/>
                    <a:gd name="connsiteY22" fmla="*/ 3020961 h 3395062"/>
                    <a:gd name="connsiteX23" fmla="*/ 5081856 w 8264972"/>
                    <a:gd name="connsiteY23" fmla="*/ 3009252 h 3395062"/>
                    <a:gd name="connsiteX24" fmla="*/ 5102519 w 8264972"/>
                    <a:gd name="connsiteY24" fmla="*/ 2966549 h 3395062"/>
                    <a:gd name="connsiteX25" fmla="*/ 5153488 w 8264972"/>
                    <a:gd name="connsiteY25" fmla="*/ 2920303 h 3395062"/>
                    <a:gd name="connsiteX26" fmla="*/ 5169724 w 8264972"/>
                    <a:gd name="connsiteY26" fmla="*/ 2815412 h 3395062"/>
                    <a:gd name="connsiteX27" fmla="*/ 5168543 w 8264972"/>
                    <a:gd name="connsiteY27" fmla="*/ 2814724 h 3395062"/>
                    <a:gd name="connsiteX28" fmla="*/ 5168543 w 8264972"/>
                    <a:gd name="connsiteY28" fmla="*/ 2799177 h 3395062"/>
                    <a:gd name="connsiteX29" fmla="*/ 5168740 w 8264972"/>
                    <a:gd name="connsiteY29" fmla="*/ 2799177 h 3395062"/>
                    <a:gd name="connsiteX30" fmla="*/ 5166280 w 8264972"/>
                    <a:gd name="connsiteY30" fmla="*/ 2750963 h 3395062"/>
                    <a:gd name="connsiteX31" fmla="*/ 5177989 w 8264972"/>
                    <a:gd name="connsiteY31" fmla="*/ 2725577 h 3395062"/>
                    <a:gd name="connsiteX32" fmla="*/ 5185762 w 8264972"/>
                    <a:gd name="connsiteY32" fmla="*/ 2692713 h 3395062"/>
                    <a:gd name="connsiteX33" fmla="*/ 5219118 w 8264972"/>
                    <a:gd name="connsiteY33" fmla="*/ 2650402 h 3395062"/>
                    <a:gd name="connsiteX34" fmla="*/ 5228368 w 8264972"/>
                    <a:gd name="connsiteY34" fmla="*/ 2630133 h 3395062"/>
                    <a:gd name="connsiteX35" fmla="*/ 5213215 w 8264972"/>
                    <a:gd name="connsiteY35" fmla="*/ 2611142 h 3395062"/>
                    <a:gd name="connsiteX36" fmla="*/ 5216167 w 8264972"/>
                    <a:gd name="connsiteY36" fmla="*/ 2585067 h 3395062"/>
                    <a:gd name="connsiteX37" fmla="*/ 5201112 w 8264972"/>
                    <a:gd name="connsiteY37" fmla="*/ 2567455 h 3395062"/>
                    <a:gd name="connsiteX38" fmla="*/ 5195700 w 8264972"/>
                    <a:gd name="connsiteY38" fmla="*/ 2556533 h 3395062"/>
                    <a:gd name="connsiteX39" fmla="*/ 5211050 w 8264972"/>
                    <a:gd name="connsiteY39" fmla="*/ 2556533 h 3395062"/>
                    <a:gd name="connsiteX40" fmla="*/ 5223842 w 8264972"/>
                    <a:gd name="connsiteY40" fmla="*/ 2542068 h 3395062"/>
                    <a:gd name="connsiteX41" fmla="*/ 5221382 w 8264972"/>
                    <a:gd name="connsiteY41" fmla="*/ 2534098 h 3395062"/>
                    <a:gd name="connsiteX42" fmla="*/ 5164509 w 8264972"/>
                    <a:gd name="connsiteY42" fmla="*/ 2499660 h 3395062"/>
                    <a:gd name="connsiteX43" fmla="*/ 5158605 w 8264972"/>
                    <a:gd name="connsiteY43" fmla="*/ 2483424 h 3395062"/>
                    <a:gd name="connsiteX44" fmla="*/ 5130464 w 8264972"/>
                    <a:gd name="connsiteY44" fmla="*/ 2455874 h 3395062"/>
                    <a:gd name="connsiteX45" fmla="*/ 5092877 w 8264972"/>
                    <a:gd name="connsiteY45" fmla="*/ 2462269 h 3395062"/>
                    <a:gd name="connsiteX46" fmla="*/ 5060307 w 8264972"/>
                    <a:gd name="connsiteY46" fmla="*/ 2460203 h 3395062"/>
                    <a:gd name="connsiteX47" fmla="*/ 5066408 w 8264972"/>
                    <a:gd name="connsiteY47" fmla="*/ 2482244 h 3395062"/>
                    <a:gd name="connsiteX48" fmla="*/ 5056273 w 8264972"/>
                    <a:gd name="connsiteY48" fmla="*/ 2512943 h 3395062"/>
                    <a:gd name="connsiteX49" fmla="*/ 5036594 w 8264972"/>
                    <a:gd name="connsiteY49" fmla="*/ 2519241 h 3395062"/>
                    <a:gd name="connsiteX50" fmla="*/ 5050173 w 8264972"/>
                    <a:gd name="connsiteY50" fmla="*/ 2489131 h 3395062"/>
                    <a:gd name="connsiteX51" fmla="*/ 5039447 w 8264972"/>
                    <a:gd name="connsiteY51" fmla="*/ 2485983 h 3395062"/>
                    <a:gd name="connsiteX52" fmla="*/ 5016816 w 8264972"/>
                    <a:gd name="connsiteY52" fmla="*/ 2509893 h 3395062"/>
                    <a:gd name="connsiteX53" fmla="*/ 4975097 w 8264972"/>
                    <a:gd name="connsiteY53" fmla="*/ 2514616 h 3395062"/>
                    <a:gd name="connsiteX54" fmla="*/ 4975785 w 8264972"/>
                    <a:gd name="connsiteY54" fmla="*/ 2503497 h 3395062"/>
                    <a:gd name="connsiteX55" fmla="*/ 4990151 w 8264972"/>
                    <a:gd name="connsiteY55" fmla="*/ 2496314 h 3395062"/>
                    <a:gd name="connsiteX56" fmla="*/ 4999007 w 8264972"/>
                    <a:gd name="connsiteY56" fmla="*/ 2484703 h 3395062"/>
                    <a:gd name="connsiteX57" fmla="*/ 4996842 w 8264972"/>
                    <a:gd name="connsiteY57" fmla="*/ 2479587 h 3395062"/>
                    <a:gd name="connsiteX58" fmla="*/ 4971063 w 8264972"/>
                    <a:gd name="connsiteY58" fmla="*/ 2481850 h 3395062"/>
                    <a:gd name="connsiteX59" fmla="*/ 4958271 w 8264972"/>
                    <a:gd name="connsiteY59" fmla="*/ 2495429 h 3395062"/>
                    <a:gd name="connsiteX60" fmla="*/ 4935148 w 8264972"/>
                    <a:gd name="connsiteY60" fmla="*/ 2488541 h 3395062"/>
                    <a:gd name="connsiteX61" fmla="*/ 4939674 w 8264972"/>
                    <a:gd name="connsiteY61" fmla="*/ 2423501 h 3395062"/>
                    <a:gd name="connsiteX62" fmla="*/ 4891952 w 8264972"/>
                    <a:gd name="connsiteY62" fmla="*/ 2426551 h 3395062"/>
                    <a:gd name="connsiteX63" fmla="*/ 4850528 w 8264972"/>
                    <a:gd name="connsiteY63" fmla="*/ 2414449 h 3395062"/>
                    <a:gd name="connsiteX64" fmla="*/ 4846198 w 8264972"/>
                    <a:gd name="connsiteY64" fmla="*/ 2394966 h 3395062"/>
                    <a:gd name="connsiteX65" fmla="*/ 4911139 w 8264972"/>
                    <a:gd name="connsiteY65" fmla="*/ 2355903 h 3395062"/>
                    <a:gd name="connsiteX66" fmla="*/ 4927768 w 8264972"/>
                    <a:gd name="connsiteY66" fmla="*/ 2332485 h 3395062"/>
                    <a:gd name="connsiteX67" fmla="*/ 5004517 w 8264972"/>
                    <a:gd name="connsiteY67" fmla="*/ 2280040 h 3395062"/>
                    <a:gd name="connsiteX68" fmla="*/ 5056076 w 8264972"/>
                    <a:gd name="connsiteY68" fmla="*/ 2212245 h 3395062"/>
                    <a:gd name="connsiteX69" fmla="*/ 5145518 w 8264972"/>
                    <a:gd name="connsiteY69" fmla="*/ 2145041 h 3395062"/>
                    <a:gd name="connsiteX70" fmla="*/ 5172085 w 8264972"/>
                    <a:gd name="connsiteY70" fmla="*/ 2131856 h 3395062"/>
                    <a:gd name="connsiteX71" fmla="*/ 5199341 w 8264972"/>
                    <a:gd name="connsiteY71" fmla="*/ 2081477 h 3395062"/>
                    <a:gd name="connsiteX72" fmla="*/ 5246177 w 8264972"/>
                    <a:gd name="connsiteY72" fmla="*/ 2055402 h 3395062"/>
                    <a:gd name="connsiteX73" fmla="*/ 5304428 w 8264972"/>
                    <a:gd name="connsiteY73" fmla="*/ 2000005 h 3395062"/>
                    <a:gd name="connsiteX74" fmla="*/ 5505943 w 8264972"/>
                    <a:gd name="connsiteY74" fmla="*/ 1992330 h 3395062"/>
                    <a:gd name="connsiteX75" fmla="*/ 5503876 w 8264972"/>
                    <a:gd name="connsiteY75" fmla="*/ 2007089 h 3395062"/>
                    <a:gd name="connsiteX76" fmla="*/ 5508600 w 8264972"/>
                    <a:gd name="connsiteY76" fmla="*/ 2012009 h 3395062"/>
                    <a:gd name="connsiteX77" fmla="*/ 5534773 w 8264972"/>
                    <a:gd name="connsiteY77" fmla="*/ 2003350 h 3395062"/>
                    <a:gd name="connsiteX78" fmla="*/ 5539299 w 8264972"/>
                    <a:gd name="connsiteY78" fmla="*/ 1987804 h 3395062"/>
                    <a:gd name="connsiteX79" fmla="*/ 5614375 w 8264972"/>
                    <a:gd name="connsiteY79" fmla="*/ 2001776 h 3395062"/>
                    <a:gd name="connsiteX80" fmla="*/ 5631595 w 8264972"/>
                    <a:gd name="connsiteY80" fmla="*/ 1988493 h 3395062"/>
                    <a:gd name="connsiteX81" fmla="*/ 5661310 w 8264972"/>
                    <a:gd name="connsiteY81" fmla="*/ 1995676 h 3395062"/>
                    <a:gd name="connsiteX82" fmla="*/ 5662097 w 8264972"/>
                    <a:gd name="connsiteY82" fmla="*/ 1997644 h 3395062"/>
                    <a:gd name="connsiteX83" fmla="*/ 5697913 w 8264972"/>
                    <a:gd name="connsiteY83" fmla="*/ 2002859 h 3395062"/>
                    <a:gd name="connsiteX84" fmla="*/ 5695257 w 8264972"/>
                    <a:gd name="connsiteY84" fmla="*/ 1989182 h 3395062"/>
                    <a:gd name="connsiteX85" fmla="*/ 5720151 w 8264972"/>
                    <a:gd name="connsiteY85" fmla="*/ 1959761 h 3395062"/>
                    <a:gd name="connsiteX86" fmla="*/ 5729794 w 8264972"/>
                    <a:gd name="connsiteY86" fmla="*/ 1957301 h 3395062"/>
                    <a:gd name="connsiteX87" fmla="*/ 5814709 w 8264972"/>
                    <a:gd name="connsiteY87" fmla="*/ 1975012 h 3395062"/>
                    <a:gd name="connsiteX88" fmla="*/ 5852592 w 8264972"/>
                    <a:gd name="connsiteY88" fmla="*/ 1974619 h 3395062"/>
                    <a:gd name="connsiteX89" fmla="*/ 5877486 w 8264972"/>
                    <a:gd name="connsiteY89" fmla="*/ 1993216 h 3395062"/>
                    <a:gd name="connsiteX90" fmla="*/ 5899822 w 8264972"/>
                    <a:gd name="connsiteY90" fmla="*/ 1998627 h 3395062"/>
                    <a:gd name="connsiteX91" fmla="*/ 5901987 w 8264972"/>
                    <a:gd name="connsiteY91" fmla="*/ 2009549 h 3395062"/>
                    <a:gd name="connsiteX92" fmla="*/ 5842949 w 8264972"/>
                    <a:gd name="connsiteY92" fmla="*/ 2015748 h 3395062"/>
                    <a:gd name="connsiteX93" fmla="*/ 5839899 w 8264972"/>
                    <a:gd name="connsiteY93" fmla="*/ 2021357 h 3395062"/>
                    <a:gd name="connsiteX94" fmla="*/ 5856331 w 8264972"/>
                    <a:gd name="connsiteY94" fmla="*/ 2041922 h 3395062"/>
                    <a:gd name="connsiteX95" fmla="*/ 5913892 w 8264972"/>
                    <a:gd name="connsiteY95" fmla="*/ 2029524 h 3395062"/>
                    <a:gd name="connsiteX96" fmla="*/ 5942723 w 8264972"/>
                    <a:gd name="connsiteY96" fmla="*/ 2036313 h 3395062"/>
                    <a:gd name="connsiteX97" fmla="*/ 5983951 w 8264972"/>
                    <a:gd name="connsiteY97" fmla="*/ 2011124 h 3395062"/>
                    <a:gd name="connsiteX98" fmla="*/ 6021144 w 8264972"/>
                    <a:gd name="connsiteY98" fmla="*/ 2023522 h 3395062"/>
                    <a:gd name="connsiteX99" fmla="*/ 6075459 w 8264972"/>
                    <a:gd name="connsiteY99" fmla="*/ 2010238 h 3395062"/>
                    <a:gd name="connsiteX100" fmla="*/ 6080870 w 8264972"/>
                    <a:gd name="connsiteY100" fmla="*/ 2003350 h 3395062"/>
                    <a:gd name="connsiteX101" fmla="*/ 6075262 w 8264972"/>
                    <a:gd name="connsiteY101" fmla="*/ 1986426 h 3395062"/>
                    <a:gd name="connsiteX102" fmla="*/ 6024883 w 8264972"/>
                    <a:gd name="connsiteY102" fmla="*/ 1983376 h 3395062"/>
                    <a:gd name="connsiteX103" fmla="*/ 6020062 w 8264972"/>
                    <a:gd name="connsiteY103" fmla="*/ 1977472 h 3395062"/>
                    <a:gd name="connsiteX104" fmla="*/ 6029803 w 8264972"/>
                    <a:gd name="connsiteY104" fmla="*/ 1944116 h 3395062"/>
                    <a:gd name="connsiteX105" fmla="*/ 6037773 w 8264972"/>
                    <a:gd name="connsiteY105" fmla="*/ 1938015 h 3395062"/>
                    <a:gd name="connsiteX106" fmla="*/ 6036199 w 8264972"/>
                    <a:gd name="connsiteY106" fmla="*/ 1935949 h 3395062"/>
                    <a:gd name="connsiteX107" fmla="*/ 6037379 w 8264972"/>
                    <a:gd name="connsiteY107" fmla="*/ 1928274 h 3395062"/>
                    <a:gd name="connsiteX108" fmla="*/ 6127903 w 8264972"/>
                    <a:gd name="connsiteY108" fmla="*/ 1859791 h 3395062"/>
                    <a:gd name="connsiteX109" fmla="*/ 6139612 w 8264972"/>
                    <a:gd name="connsiteY109" fmla="*/ 1833913 h 3395062"/>
                    <a:gd name="connsiteX110" fmla="*/ 6175724 w 8264972"/>
                    <a:gd name="connsiteY110" fmla="*/ 1806854 h 3395062"/>
                    <a:gd name="connsiteX111" fmla="*/ 6189598 w 8264972"/>
                    <a:gd name="connsiteY111" fmla="*/ 1775564 h 3395062"/>
                    <a:gd name="connsiteX112" fmla="*/ 6342702 w 8264972"/>
                    <a:gd name="connsiteY112" fmla="*/ 1754507 h 3395062"/>
                    <a:gd name="connsiteX113" fmla="*/ 6356871 w 8264972"/>
                    <a:gd name="connsiteY113" fmla="*/ 1771726 h 3395062"/>
                    <a:gd name="connsiteX114" fmla="*/ 6378223 w 8264972"/>
                    <a:gd name="connsiteY114" fmla="*/ 1763559 h 3395062"/>
                    <a:gd name="connsiteX115" fmla="*/ 6398394 w 8264972"/>
                    <a:gd name="connsiteY115" fmla="*/ 1746537 h 3395062"/>
                    <a:gd name="connsiteX116" fmla="*/ 6410005 w 8264972"/>
                    <a:gd name="connsiteY116" fmla="*/ 1756770 h 3395062"/>
                    <a:gd name="connsiteX117" fmla="*/ 6376747 w 8264972"/>
                    <a:gd name="connsiteY117" fmla="*/ 1817776 h 3395062"/>
                    <a:gd name="connsiteX118" fmla="*/ 6379502 w 8264972"/>
                    <a:gd name="connsiteY118" fmla="*/ 1837553 h 3395062"/>
                    <a:gd name="connsiteX119" fmla="*/ 6401248 w 8264972"/>
                    <a:gd name="connsiteY119" fmla="*/ 1830469 h 3395062"/>
                    <a:gd name="connsiteX120" fmla="*/ 6406266 w 8264972"/>
                    <a:gd name="connsiteY120" fmla="*/ 1841686 h 3395062"/>
                    <a:gd name="connsiteX121" fmla="*/ 6393572 w 8264972"/>
                    <a:gd name="connsiteY121" fmla="*/ 1858413 h 3395062"/>
                    <a:gd name="connsiteX122" fmla="*/ 6398985 w 8264972"/>
                    <a:gd name="connsiteY122" fmla="*/ 1874157 h 3395062"/>
                    <a:gd name="connsiteX123" fmla="*/ 6537723 w 8264972"/>
                    <a:gd name="connsiteY123" fmla="*/ 1776745 h 3395062"/>
                    <a:gd name="connsiteX124" fmla="*/ 6576786 w 8264972"/>
                    <a:gd name="connsiteY124" fmla="*/ 1781369 h 3395062"/>
                    <a:gd name="connsiteX125" fmla="*/ 6582198 w 8264972"/>
                    <a:gd name="connsiteY125" fmla="*/ 1769070 h 3395062"/>
                    <a:gd name="connsiteX126" fmla="*/ 6570292 w 8264972"/>
                    <a:gd name="connsiteY126" fmla="*/ 1760116 h 3395062"/>
                    <a:gd name="connsiteX127" fmla="*/ 6589282 w 8264972"/>
                    <a:gd name="connsiteY127" fmla="*/ 1696552 h 3395062"/>
                    <a:gd name="connsiteX128" fmla="*/ 6670065 w 8264972"/>
                    <a:gd name="connsiteY128" fmla="*/ 1679529 h 3395062"/>
                    <a:gd name="connsiteX129" fmla="*/ 6701355 w 8264972"/>
                    <a:gd name="connsiteY129" fmla="*/ 1700980 h 3395062"/>
                    <a:gd name="connsiteX130" fmla="*/ 6673017 w 8264972"/>
                    <a:gd name="connsiteY130" fmla="*/ 1701275 h 3395062"/>
                    <a:gd name="connsiteX131" fmla="*/ 6645171 w 8264972"/>
                    <a:gd name="connsiteY131" fmla="*/ 1714657 h 3395062"/>
                    <a:gd name="connsiteX132" fmla="*/ 6636020 w 8264972"/>
                    <a:gd name="connsiteY132" fmla="*/ 1768676 h 3395062"/>
                    <a:gd name="connsiteX133" fmla="*/ 6615160 w 8264972"/>
                    <a:gd name="connsiteY133" fmla="*/ 1780976 h 3395062"/>
                    <a:gd name="connsiteX134" fmla="*/ 6618604 w 8264972"/>
                    <a:gd name="connsiteY134" fmla="*/ 1795932 h 3395062"/>
                    <a:gd name="connsiteX135" fmla="*/ 6628050 w 8264972"/>
                    <a:gd name="connsiteY135" fmla="*/ 1805378 h 3395062"/>
                    <a:gd name="connsiteX136" fmla="*/ 6606108 w 8264972"/>
                    <a:gd name="connsiteY136" fmla="*/ 1829190 h 3395062"/>
                    <a:gd name="connsiteX137" fmla="*/ 6610732 w 8264972"/>
                    <a:gd name="connsiteY137" fmla="*/ 1848967 h 3395062"/>
                    <a:gd name="connsiteX138" fmla="*/ 6503284 w 8264972"/>
                    <a:gd name="connsiteY138" fmla="*/ 1900231 h 3395062"/>
                    <a:gd name="connsiteX139" fmla="*/ 6497085 w 8264972"/>
                    <a:gd name="connsiteY139" fmla="*/ 1919123 h 3395062"/>
                    <a:gd name="connsiteX140" fmla="*/ 6369564 w 8264972"/>
                    <a:gd name="connsiteY140" fmla="*/ 2025588 h 3395062"/>
                    <a:gd name="connsiteX141" fmla="*/ 6366416 w 8264972"/>
                    <a:gd name="connsiteY141" fmla="*/ 2037002 h 3395062"/>
                    <a:gd name="connsiteX142" fmla="*/ 6274415 w 8264972"/>
                    <a:gd name="connsiteY142" fmla="*/ 2119950 h 3395062"/>
                    <a:gd name="connsiteX143" fmla="*/ 6246274 w 8264972"/>
                    <a:gd name="connsiteY143" fmla="*/ 2123590 h 3395062"/>
                    <a:gd name="connsiteX144" fmla="*/ 6223741 w 8264972"/>
                    <a:gd name="connsiteY144" fmla="*/ 2140515 h 3395062"/>
                    <a:gd name="connsiteX145" fmla="*/ 6200520 w 8264972"/>
                    <a:gd name="connsiteY145" fmla="*/ 2138645 h 3395062"/>
                    <a:gd name="connsiteX146" fmla="*/ 6186843 w 8264972"/>
                    <a:gd name="connsiteY146" fmla="*/ 2145434 h 3395062"/>
                    <a:gd name="connsiteX147" fmla="*/ 6193435 w 8264972"/>
                    <a:gd name="connsiteY147" fmla="*/ 2165605 h 3395062"/>
                    <a:gd name="connsiteX148" fmla="*/ 6170116 w 8264972"/>
                    <a:gd name="connsiteY148" fmla="*/ 2208703 h 3395062"/>
                    <a:gd name="connsiteX149" fmla="*/ 6141974 w 8264972"/>
                    <a:gd name="connsiteY149" fmla="*/ 2231039 h 3395062"/>
                    <a:gd name="connsiteX150" fmla="*/ 6108126 w 8264972"/>
                    <a:gd name="connsiteY150" fmla="*/ 2345670 h 3395062"/>
                    <a:gd name="connsiteX151" fmla="*/ 6142663 w 8264972"/>
                    <a:gd name="connsiteY151" fmla="*/ 2564503 h 3395062"/>
                    <a:gd name="connsiteX152" fmla="*/ 6163326 w 8264972"/>
                    <a:gd name="connsiteY152" fmla="*/ 2627279 h 3395062"/>
                    <a:gd name="connsiteX153" fmla="*/ 6166770 w 8264972"/>
                    <a:gd name="connsiteY153" fmla="*/ 2690745 h 3395062"/>
                    <a:gd name="connsiteX154" fmla="*/ 6180447 w 8264972"/>
                    <a:gd name="connsiteY154" fmla="*/ 2719968 h 3395062"/>
                    <a:gd name="connsiteX155" fmla="*/ 6186744 w 8264972"/>
                    <a:gd name="connsiteY155" fmla="*/ 2721051 h 3395062"/>
                    <a:gd name="connsiteX156" fmla="*/ 6286124 w 8264972"/>
                    <a:gd name="connsiteY156" fmla="*/ 2616062 h 3395062"/>
                    <a:gd name="connsiteX157" fmla="*/ 6286124 w 8264972"/>
                    <a:gd name="connsiteY157" fmla="*/ 2563224 h 3395062"/>
                    <a:gd name="connsiteX158" fmla="*/ 6296554 w 8264972"/>
                    <a:gd name="connsiteY158" fmla="*/ 2548956 h 3395062"/>
                    <a:gd name="connsiteX159" fmla="*/ 6301769 w 8264972"/>
                    <a:gd name="connsiteY159" fmla="*/ 2550924 h 3395062"/>
                    <a:gd name="connsiteX160" fmla="*/ 6308460 w 8264972"/>
                    <a:gd name="connsiteY160" fmla="*/ 2558009 h 3395062"/>
                    <a:gd name="connsiteX161" fmla="*/ 6348606 w 8264972"/>
                    <a:gd name="connsiteY161" fmla="*/ 2541380 h 3395062"/>
                    <a:gd name="connsiteX162" fmla="*/ 6384127 w 8264972"/>
                    <a:gd name="connsiteY162" fmla="*/ 2548464 h 3395062"/>
                    <a:gd name="connsiteX163" fmla="*/ 6381371 w 8264972"/>
                    <a:gd name="connsiteY163" fmla="*/ 2531540 h 3395062"/>
                    <a:gd name="connsiteX164" fmla="*/ 6373598 w 8264972"/>
                    <a:gd name="connsiteY164" fmla="*/ 2500644 h 3395062"/>
                    <a:gd name="connsiteX165" fmla="*/ 6387570 w 8264972"/>
                    <a:gd name="connsiteY165" fmla="*/ 2460695 h 3395062"/>
                    <a:gd name="connsiteX166" fmla="*/ 6426929 w 8264972"/>
                    <a:gd name="connsiteY166" fmla="*/ 2428421 h 3395062"/>
                    <a:gd name="connsiteX167" fmla="*/ 6483506 w 8264972"/>
                    <a:gd name="connsiteY167" fmla="*/ 2432652 h 3395062"/>
                    <a:gd name="connsiteX168" fmla="*/ 6509876 w 8264972"/>
                    <a:gd name="connsiteY168" fmla="*/ 2410513 h 3395062"/>
                    <a:gd name="connsiteX169" fmla="*/ 6490394 w 8264972"/>
                    <a:gd name="connsiteY169" fmla="*/ 2363283 h 3395062"/>
                    <a:gd name="connsiteX170" fmla="*/ 6489607 w 8264972"/>
                    <a:gd name="connsiteY170" fmla="*/ 2353148 h 3395062"/>
                    <a:gd name="connsiteX171" fmla="*/ 6517847 w 8264972"/>
                    <a:gd name="connsiteY171" fmla="*/ 2283582 h 3395062"/>
                    <a:gd name="connsiteX172" fmla="*/ 6555729 w 8264972"/>
                    <a:gd name="connsiteY172" fmla="*/ 2259278 h 3395062"/>
                    <a:gd name="connsiteX173" fmla="*/ 6561436 w 8264972"/>
                    <a:gd name="connsiteY173" fmla="*/ 2266560 h 3395062"/>
                    <a:gd name="connsiteX174" fmla="*/ 6552384 w 8264972"/>
                    <a:gd name="connsiteY174" fmla="*/ 2284369 h 3395062"/>
                    <a:gd name="connsiteX175" fmla="*/ 6574228 w 8264972"/>
                    <a:gd name="connsiteY175" fmla="*/ 2294406 h 3395062"/>
                    <a:gd name="connsiteX176" fmla="*/ 6587708 w 8264972"/>
                    <a:gd name="connsiteY176" fmla="*/ 2275514 h 3395062"/>
                    <a:gd name="connsiteX177" fmla="*/ 6582198 w 8264972"/>
                    <a:gd name="connsiteY177" fmla="*/ 2242256 h 3395062"/>
                    <a:gd name="connsiteX178" fmla="*/ 6555335 w 8264972"/>
                    <a:gd name="connsiteY178" fmla="*/ 2233597 h 3395062"/>
                    <a:gd name="connsiteX179" fmla="*/ 6557697 w 8264972"/>
                    <a:gd name="connsiteY179" fmla="*/ 2178200 h 3395062"/>
                    <a:gd name="connsiteX180" fmla="*/ 6580230 w 8264972"/>
                    <a:gd name="connsiteY180" fmla="*/ 2150059 h 3395062"/>
                    <a:gd name="connsiteX181" fmla="*/ 6578557 w 8264972"/>
                    <a:gd name="connsiteY181" fmla="*/ 2143663 h 3395062"/>
                    <a:gd name="connsiteX182" fmla="*/ 6547169 w 8264972"/>
                    <a:gd name="connsiteY182" fmla="*/ 2131659 h 3395062"/>
                    <a:gd name="connsiteX183" fmla="*/ 6536149 w 8264972"/>
                    <a:gd name="connsiteY183" fmla="*/ 2148878 h 3395062"/>
                    <a:gd name="connsiteX184" fmla="*/ 6507220 w 8264972"/>
                    <a:gd name="connsiteY184" fmla="*/ 2136382 h 3395062"/>
                    <a:gd name="connsiteX185" fmla="*/ 6510172 w 8264972"/>
                    <a:gd name="connsiteY185" fmla="*/ 2092104 h 3395062"/>
                    <a:gd name="connsiteX186" fmla="*/ 6515190 w 8264972"/>
                    <a:gd name="connsiteY186" fmla="*/ 2082756 h 3395062"/>
                    <a:gd name="connsiteX187" fmla="*/ 6568029 w 8264972"/>
                    <a:gd name="connsiteY187" fmla="*/ 2025785 h 3395062"/>
                    <a:gd name="connsiteX188" fmla="*/ 6573932 w 8264972"/>
                    <a:gd name="connsiteY188" fmla="*/ 2000399 h 3395062"/>
                    <a:gd name="connsiteX189" fmla="*/ 6584461 w 8264972"/>
                    <a:gd name="connsiteY189" fmla="*/ 1990461 h 3395062"/>
                    <a:gd name="connsiteX190" fmla="*/ 6611421 w 8264972"/>
                    <a:gd name="connsiteY190" fmla="*/ 1931817 h 3395062"/>
                    <a:gd name="connsiteX191" fmla="*/ 6662686 w 8264972"/>
                    <a:gd name="connsiteY191" fmla="*/ 1925027 h 3395062"/>
                    <a:gd name="connsiteX192" fmla="*/ 6678724 w 8264972"/>
                    <a:gd name="connsiteY192" fmla="*/ 1955432 h 3395062"/>
                    <a:gd name="connsiteX193" fmla="*/ 6690532 w 8264972"/>
                    <a:gd name="connsiteY193" fmla="*/ 1955432 h 3395062"/>
                    <a:gd name="connsiteX194" fmla="*/ 6714147 w 8264972"/>
                    <a:gd name="connsiteY194" fmla="*/ 1923256 h 3395062"/>
                    <a:gd name="connsiteX195" fmla="*/ 6772988 w 8264972"/>
                    <a:gd name="connsiteY195" fmla="*/ 1896394 h 3395062"/>
                    <a:gd name="connsiteX196" fmla="*/ 6759802 w 8264972"/>
                    <a:gd name="connsiteY196" fmla="*/ 1947068 h 3395062"/>
                    <a:gd name="connsiteX197" fmla="*/ 6763935 w 8264972"/>
                    <a:gd name="connsiteY197" fmla="*/ 1952086 h 3395062"/>
                    <a:gd name="connsiteX198" fmla="*/ 6779285 w 8264972"/>
                    <a:gd name="connsiteY198" fmla="*/ 1947068 h 3395062"/>
                    <a:gd name="connsiteX199" fmla="*/ 6822678 w 8264972"/>
                    <a:gd name="connsiteY199" fmla="*/ 1901412 h 3395062"/>
                    <a:gd name="connsiteX200" fmla="*/ 6899229 w 8264972"/>
                    <a:gd name="connsiteY200" fmla="*/ 1876518 h 3395062"/>
                    <a:gd name="connsiteX201" fmla="*/ 6975191 w 8264972"/>
                    <a:gd name="connsiteY201" fmla="*/ 1885964 h 3395062"/>
                    <a:gd name="connsiteX202" fmla="*/ 7004612 w 8264972"/>
                    <a:gd name="connsiteY202" fmla="*/ 1930144 h 3395062"/>
                    <a:gd name="connsiteX203" fmla="*/ 7029899 w 8264972"/>
                    <a:gd name="connsiteY203" fmla="*/ 1935064 h 3395062"/>
                    <a:gd name="connsiteX204" fmla="*/ 7052235 w 8264972"/>
                    <a:gd name="connsiteY204" fmla="*/ 1889310 h 3395062"/>
                    <a:gd name="connsiteX205" fmla="*/ 7174443 w 8264972"/>
                    <a:gd name="connsiteY205" fmla="*/ 1808035 h 3395062"/>
                    <a:gd name="connsiteX206" fmla="*/ 7177002 w 8264972"/>
                    <a:gd name="connsiteY206" fmla="*/ 1794554 h 3395062"/>
                    <a:gd name="connsiteX207" fmla="*/ 7199927 w 8264972"/>
                    <a:gd name="connsiteY207" fmla="*/ 1798293 h 3395062"/>
                    <a:gd name="connsiteX208" fmla="*/ 7218229 w 8264972"/>
                    <a:gd name="connsiteY208" fmla="*/ 1782156 h 3395062"/>
                    <a:gd name="connsiteX209" fmla="*/ 7226494 w 8264972"/>
                    <a:gd name="connsiteY209" fmla="*/ 1766315 h 3395062"/>
                    <a:gd name="connsiteX210" fmla="*/ 7260540 w 8264972"/>
                    <a:gd name="connsiteY210" fmla="*/ 1768184 h 3395062"/>
                    <a:gd name="connsiteX211" fmla="*/ 7440801 w 8264972"/>
                    <a:gd name="connsiteY211" fmla="*/ 1681300 h 3395062"/>
                    <a:gd name="connsiteX212" fmla="*/ 7440309 w 8264972"/>
                    <a:gd name="connsiteY212" fmla="*/ 1672740 h 3395062"/>
                    <a:gd name="connsiteX213" fmla="*/ 7465105 w 8264972"/>
                    <a:gd name="connsiteY213" fmla="*/ 1668214 h 3395062"/>
                    <a:gd name="connsiteX214" fmla="*/ 7466285 w 8264972"/>
                    <a:gd name="connsiteY214" fmla="*/ 1689369 h 3395062"/>
                    <a:gd name="connsiteX215" fmla="*/ 7569798 w 8264972"/>
                    <a:gd name="connsiteY215" fmla="*/ 1707474 h 3395062"/>
                    <a:gd name="connsiteX216" fmla="*/ 7570979 w 8264972"/>
                    <a:gd name="connsiteY216" fmla="*/ 1694289 h 3395062"/>
                    <a:gd name="connsiteX217" fmla="*/ 7590461 w 8264972"/>
                    <a:gd name="connsiteY217" fmla="*/ 1689566 h 3395062"/>
                    <a:gd name="connsiteX218" fmla="*/ 7596267 w 8264972"/>
                    <a:gd name="connsiteY218" fmla="*/ 1669395 h 3395062"/>
                    <a:gd name="connsiteX219" fmla="*/ 7573930 w 8264972"/>
                    <a:gd name="connsiteY219" fmla="*/ 1656505 h 3395062"/>
                    <a:gd name="connsiteX220" fmla="*/ 7585246 w 8264972"/>
                    <a:gd name="connsiteY220" fmla="*/ 1636038 h 3395062"/>
                    <a:gd name="connsiteX221" fmla="*/ 7523552 w 8264972"/>
                    <a:gd name="connsiteY221" fmla="*/ 1599632 h 3395062"/>
                    <a:gd name="connsiteX222" fmla="*/ 7518927 w 8264972"/>
                    <a:gd name="connsiteY222" fmla="*/ 1596385 h 3395062"/>
                    <a:gd name="connsiteX223" fmla="*/ 7546773 w 8264972"/>
                    <a:gd name="connsiteY223" fmla="*/ 1579461 h 3395062"/>
                    <a:gd name="connsiteX224" fmla="*/ 7536540 w 8264972"/>
                    <a:gd name="connsiteY224" fmla="*/ 1558896 h 3395062"/>
                    <a:gd name="connsiteX225" fmla="*/ 7521485 w 8264972"/>
                    <a:gd name="connsiteY225" fmla="*/ 1550335 h 3395062"/>
                    <a:gd name="connsiteX226" fmla="*/ 7530440 w 8264972"/>
                    <a:gd name="connsiteY226" fmla="*/ 1534592 h 3395062"/>
                    <a:gd name="connsiteX227" fmla="*/ 7516468 w 8264972"/>
                    <a:gd name="connsiteY227" fmla="*/ 1522785 h 3395062"/>
                    <a:gd name="connsiteX228" fmla="*/ 7497083 w 8264972"/>
                    <a:gd name="connsiteY228" fmla="*/ 1529574 h 3395062"/>
                    <a:gd name="connsiteX229" fmla="*/ 7465105 w 8264972"/>
                    <a:gd name="connsiteY229" fmla="*/ 1503401 h 3395062"/>
                    <a:gd name="connsiteX230" fmla="*/ 7463628 w 8264972"/>
                    <a:gd name="connsiteY230" fmla="*/ 1495037 h 3395062"/>
                    <a:gd name="connsiteX231" fmla="*/ 7481045 w 8264972"/>
                    <a:gd name="connsiteY231" fmla="*/ 1475653 h 3395062"/>
                    <a:gd name="connsiteX232" fmla="*/ 7566354 w 8264972"/>
                    <a:gd name="connsiteY232" fmla="*/ 1479589 h 3395062"/>
                    <a:gd name="connsiteX233" fmla="*/ 7653041 w 8264972"/>
                    <a:gd name="connsiteY233" fmla="*/ 1421830 h 3395062"/>
                    <a:gd name="connsiteX234" fmla="*/ 7662093 w 8264972"/>
                    <a:gd name="connsiteY234" fmla="*/ 1391918 h 3395062"/>
                    <a:gd name="connsiteX235" fmla="*/ 7642316 w 8264972"/>
                    <a:gd name="connsiteY235" fmla="*/ 1370271 h 3395062"/>
                    <a:gd name="connsiteX236" fmla="*/ 7640840 w 8264972"/>
                    <a:gd name="connsiteY236" fmla="*/ 1342917 h 3395062"/>
                    <a:gd name="connsiteX237" fmla="*/ 7647039 w 8264972"/>
                    <a:gd name="connsiteY237" fmla="*/ 1336718 h 3395062"/>
                    <a:gd name="connsiteX238" fmla="*/ 7697417 w 8264972"/>
                    <a:gd name="connsiteY238" fmla="*/ 1327665 h 3395062"/>
                    <a:gd name="connsiteX239" fmla="*/ 7716802 w 8264972"/>
                    <a:gd name="connsiteY239" fmla="*/ 1317137 h 3395062"/>
                    <a:gd name="connsiteX240" fmla="*/ 7713850 w 8264972"/>
                    <a:gd name="connsiteY240" fmla="*/ 1340063 h 3395062"/>
                    <a:gd name="connsiteX241" fmla="*/ 7701550 w 8264972"/>
                    <a:gd name="connsiteY241" fmla="*/ 1360136 h 3395062"/>
                    <a:gd name="connsiteX242" fmla="*/ 7717096 w 8264972"/>
                    <a:gd name="connsiteY242" fmla="*/ 1385916 h 3395062"/>
                    <a:gd name="connsiteX243" fmla="*/ 7720836 w 8264972"/>
                    <a:gd name="connsiteY243" fmla="*/ 1402840 h 3395062"/>
                    <a:gd name="connsiteX244" fmla="*/ 7786368 w 8264972"/>
                    <a:gd name="connsiteY244" fmla="*/ 1403234 h 3395062"/>
                    <a:gd name="connsiteX245" fmla="*/ 7816477 w 8264972"/>
                    <a:gd name="connsiteY245" fmla="*/ 1389458 h 3395062"/>
                    <a:gd name="connsiteX246" fmla="*/ 7869807 w 8264972"/>
                    <a:gd name="connsiteY246" fmla="*/ 1406874 h 3395062"/>
                    <a:gd name="connsiteX247" fmla="*/ 7884764 w 8264972"/>
                    <a:gd name="connsiteY247" fmla="*/ 1445052 h 3395062"/>
                    <a:gd name="connsiteX248" fmla="*/ 7919497 w 8264972"/>
                    <a:gd name="connsiteY248" fmla="*/ 1469749 h 3395062"/>
                    <a:gd name="connsiteX249" fmla="*/ 7953444 w 8264972"/>
                    <a:gd name="connsiteY249" fmla="*/ 1463157 h 3395062"/>
                    <a:gd name="connsiteX250" fmla="*/ 7960626 w 8264972"/>
                    <a:gd name="connsiteY250" fmla="*/ 1478014 h 3395062"/>
                    <a:gd name="connsiteX251" fmla="*/ 8066698 w 8264972"/>
                    <a:gd name="connsiteY251" fmla="*/ 1524556 h 3395062"/>
                    <a:gd name="connsiteX252" fmla="*/ 8093855 w 8264972"/>
                    <a:gd name="connsiteY252" fmla="*/ 1503597 h 3395062"/>
                    <a:gd name="connsiteX253" fmla="*/ 8092871 w 8264972"/>
                    <a:gd name="connsiteY253" fmla="*/ 1496710 h 3395062"/>
                    <a:gd name="connsiteX254" fmla="*/ 8063057 w 8264972"/>
                    <a:gd name="connsiteY254" fmla="*/ 1478998 h 3395062"/>
                    <a:gd name="connsiteX255" fmla="*/ 8062663 w 8264972"/>
                    <a:gd name="connsiteY255" fmla="*/ 1472701 h 3395062"/>
                    <a:gd name="connsiteX256" fmla="*/ 8109205 w 8264972"/>
                    <a:gd name="connsiteY256" fmla="*/ 1436491 h 3395062"/>
                    <a:gd name="connsiteX257" fmla="*/ 8110484 w 8264972"/>
                    <a:gd name="connsiteY257" fmla="*/ 1428423 h 3395062"/>
                    <a:gd name="connsiteX258" fmla="*/ 8089722 w 8264972"/>
                    <a:gd name="connsiteY258" fmla="*/ 1398215 h 3395062"/>
                    <a:gd name="connsiteX259" fmla="*/ 8059515 w 8264972"/>
                    <a:gd name="connsiteY259" fmla="*/ 1383161 h 3395062"/>
                    <a:gd name="connsiteX260" fmla="*/ 8059515 w 8264972"/>
                    <a:gd name="connsiteY260" fmla="*/ 1380799 h 3395062"/>
                    <a:gd name="connsiteX261" fmla="*/ 8065123 w 8264972"/>
                    <a:gd name="connsiteY261" fmla="*/ 1375191 h 3395062"/>
                    <a:gd name="connsiteX262" fmla="*/ 8096708 w 8264972"/>
                    <a:gd name="connsiteY262" fmla="*/ 1379127 h 3395062"/>
                    <a:gd name="connsiteX263" fmla="*/ 8106056 w 8264972"/>
                    <a:gd name="connsiteY263" fmla="*/ 1388474 h 3395062"/>
                    <a:gd name="connsiteX264" fmla="*/ 8172079 w 8264972"/>
                    <a:gd name="connsiteY264" fmla="*/ 1401462 h 3395062"/>
                    <a:gd name="connsiteX265" fmla="*/ 8176704 w 8264972"/>
                    <a:gd name="connsiteY265" fmla="*/ 1388179 h 3395062"/>
                    <a:gd name="connsiteX266" fmla="*/ 8202779 w 8264972"/>
                    <a:gd name="connsiteY266" fmla="*/ 1385621 h 3395062"/>
                    <a:gd name="connsiteX267" fmla="*/ 8210158 w 8264972"/>
                    <a:gd name="connsiteY267" fmla="*/ 1369680 h 3395062"/>
                    <a:gd name="connsiteX268" fmla="*/ 8229543 w 8264972"/>
                    <a:gd name="connsiteY268" fmla="*/ 1351280 h 3395062"/>
                    <a:gd name="connsiteX269" fmla="*/ 8256897 w 8264972"/>
                    <a:gd name="connsiteY269" fmla="*/ 1351084 h 3395062"/>
                    <a:gd name="connsiteX270" fmla="*/ 8264769 w 8264972"/>
                    <a:gd name="connsiteY270" fmla="*/ 1342425 h 3395062"/>
                    <a:gd name="connsiteX271" fmla="*/ 8261424 w 8264972"/>
                    <a:gd name="connsiteY271" fmla="*/ 1334061 h 3395062"/>
                    <a:gd name="connsiteX272" fmla="*/ 8127703 w 8264972"/>
                    <a:gd name="connsiteY272" fmla="*/ 1251507 h 3395062"/>
                    <a:gd name="connsiteX273" fmla="*/ 8065713 w 8264972"/>
                    <a:gd name="connsiteY273" fmla="*/ 1247670 h 3395062"/>
                    <a:gd name="connsiteX274" fmla="*/ 8073585 w 8264972"/>
                    <a:gd name="connsiteY274" fmla="*/ 1261740 h 3395062"/>
                    <a:gd name="connsiteX275" fmla="*/ 8040426 w 8264972"/>
                    <a:gd name="connsiteY275" fmla="*/ 1259871 h 3395062"/>
                    <a:gd name="connsiteX276" fmla="*/ 8036687 w 8264972"/>
                    <a:gd name="connsiteY276" fmla="*/ 1235567 h 3395062"/>
                    <a:gd name="connsiteX277" fmla="*/ 7969384 w 8264972"/>
                    <a:gd name="connsiteY277" fmla="*/ 1232713 h 3395062"/>
                    <a:gd name="connsiteX278" fmla="*/ 7966235 w 8264972"/>
                    <a:gd name="connsiteY278" fmla="*/ 1235862 h 3395062"/>
                    <a:gd name="connsiteX279" fmla="*/ 7993688 w 8264972"/>
                    <a:gd name="connsiteY279" fmla="*/ 1258887 h 3395062"/>
                    <a:gd name="connsiteX280" fmla="*/ 7991228 w 8264972"/>
                    <a:gd name="connsiteY280" fmla="*/ 1277779 h 3395062"/>
                    <a:gd name="connsiteX281" fmla="*/ 7985324 w 8264972"/>
                    <a:gd name="connsiteY281" fmla="*/ 1289685 h 3395062"/>
                    <a:gd name="connsiteX282" fmla="*/ 8000772 w 8264972"/>
                    <a:gd name="connsiteY282" fmla="*/ 1300508 h 3395062"/>
                    <a:gd name="connsiteX283" fmla="*/ 7997033 w 8264972"/>
                    <a:gd name="connsiteY283" fmla="*/ 1318515 h 3395062"/>
                    <a:gd name="connsiteX284" fmla="*/ 7989653 w 8264972"/>
                    <a:gd name="connsiteY284" fmla="*/ 1320384 h 3395062"/>
                    <a:gd name="connsiteX285" fmla="*/ 7943703 w 8264972"/>
                    <a:gd name="connsiteY285" fmla="*/ 1290767 h 3395062"/>
                    <a:gd name="connsiteX286" fmla="*/ 7945769 w 8264972"/>
                    <a:gd name="connsiteY286" fmla="*/ 1262527 h 3395062"/>
                    <a:gd name="connsiteX287" fmla="*/ 7940849 w 8264972"/>
                    <a:gd name="connsiteY287" fmla="*/ 1215789 h 3395062"/>
                    <a:gd name="connsiteX288" fmla="*/ 7917037 w 8264972"/>
                    <a:gd name="connsiteY288" fmla="*/ 1206048 h 3395062"/>
                    <a:gd name="connsiteX289" fmla="*/ 7917529 w 8264972"/>
                    <a:gd name="connsiteY289" fmla="*/ 1183319 h 3395062"/>
                    <a:gd name="connsiteX290" fmla="*/ 7892930 w 8264972"/>
                    <a:gd name="connsiteY290" fmla="*/ 1163344 h 3395062"/>
                    <a:gd name="connsiteX291" fmla="*/ 7884665 w 8264972"/>
                    <a:gd name="connsiteY291" fmla="*/ 1163738 h 3395062"/>
                    <a:gd name="connsiteX292" fmla="*/ 7883976 w 8264972"/>
                    <a:gd name="connsiteY292" fmla="*/ 1164427 h 3395062"/>
                    <a:gd name="connsiteX293" fmla="*/ 7894308 w 8264972"/>
                    <a:gd name="connsiteY293" fmla="*/ 1186270 h 3395062"/>
                    <a:gd name="connsiteX294" fmla="*/ 7894111 w 8264972"/>
                    <a:gd name="connsiteY294" fmla="*/ 1188730 h 3395062"/>
                    <a:gd name="connsiteX295" fmla="*/ 7888109 w 8264972"/>
                    <a:gd name="connsiteY295" fmla="*/ 1193158 h 3395062"/>
                    <a:gd name="connsiteX296" fmla="*/ 7838124 w 8264972"/>
                    <a:gd name="connsiteY296" fmla="*/ 1177808 h 3395062"/>
                    <a:gd name="connsiteX297" fmla="*/ 7841272 w 8264972"/>
                    <a:gd name="connsiteY297" fmla="*/ 1167182 h 3395062"/>
                    <a:gd name="connsiteX298" fmla="*/ 7863215 w 8264972"/>
                    <a:gd name="connsiteY298" fmla="*/ 1156653 h 3395062"/>
                    <a:gd name="connsiteX299" fmla="*/ 7858688 w 8264972"/>
                    <a:gd name="connsiteY299" fmla="*/ 1142583 h 3395062"/>
                    <a:gd name="connsiteX300" fmla="*/ 7827202 w 8264972"/>
                    <a:gd name="connsiteY300" fmla="*/ 1146223 h 3395062"/>
                    <a:gd name="connsiteX301" fmla="*/ 7701452 w 8264972"/>
                    <a:gd name="connsiteY301" fmla="*/ 1077937 h 3395062"/>
                    <a:gd name="connsiteX302" fmla="*/ 7695942 w 8264972"/>
                    <a:gd name="connsiteY302" fmla="*/ 1060619 h 3395062"/>
                    <a:gd name="connsiteX303" fmla="*/ 7658846 w 8264972"/>
                    <a:gd name="connsiteY303" fmla="*/ 1038972 h 3395062"/>
                    <a:gd name="connsiteX304" fmla="*/ 7635231 w 8264972"/>
                    <a:gd name="connsiteY304" fmla="*/ 1036512 h 3395062"/>
                    <a:gd name="connsiteX305" fmla="*/ 7587903 w 8264972"/>
                    <a:gd name="connsiteY305" fmla="*/ 1004238 h 3395062"/>
                    <a:gd name="connsiteX306" fmla="*/ 7546183 w 8264972"/>
                    <a:gd name="connsiteY306" fmla="*/ 998925 h 3395062"/>
                    <a:gd name="connsiteX307" fmla="*/ 7560549 w 8264972"/>
                    <a:gd name="connsiteY307" fmla="*/ 985543 h 3395062"/>
                    <a:gd name="connsiteX308" fmla="*/ 7487834 w 8264972"/>
                    <a:gd name="connsiteY308" fmla="*/ 974522 h 3395062"/>
                    <a:gd name="connsiteX309" fmla="*/ 7384814 w 8264972"/>
                    <a:gd name="connsiteY309" fmla="*/ 942445 h 3395062"/>
                    <a:gd name="connsiteX310" fmla="*/ 7373498 w 8264972"/>
                    <a:gd name="connsiteY310" fmla="*/ 947070 h 3395062"/>
                    <a:gd name="connsiteX311" fmla="*/ 7360116 w 8264972"/>
                    <a:gd name="connsiteY311" fmla="*/ 940674 h 3395062"/>
                    <a:gd name="connsiteX312" fmla="*/ 7361198 w 8264972"/>
                    <a:gd name="connsiteY312" fmla="*/ 931917 h 3395062"/>
                    <a:gd name="connsiteX313" fmla="*/ 7279333 w 8264972"/>
                    <a:gd name="connsiteY313" fmla="*/ 937230 h 3395062"/>
                    <a:gd name="connsiteX314" fmla="*/ 7260343 w 8264972"/>
                    <a:gd name="connsiteY314" fmla="*/ 928178 h 3395062"/>
                    <a:gd name="connsiteX315" fmla="*/ 7216556 w 8264972"/>
                    <a:gd name="connsiteY315" fmla="*/ 928867 h 3395062"/>
                    <a:gd name="connsiteX316" fmla="*/ 7219312 w 8264972"/>
                    <a:gd name="connsiteY316" fmla="*/ 941560 h 3395062"/>
                    <a:gd name="connsiteX317" fmla="*/ 7209865 w 8264972"/>
                    <a:gd name="connsiteY317" fmla="*/ 948447 h 3395062"/>
                    <a:gd name="connsiteX318" fmla="*/ 7168441 w 8264972"/>
                    <a:gd name="connsiteY318" fmla="*/ 924931 h 3395062"/>
                    <a:gd name="connsiteX319" fmla="*/ 7038853 w 8264972"/>
                    <a:gd name="connsiteY319" fmla="*/ 917551 h 3395062"/>
                    <a:gd name="connsiteX320" fmla="*/ 7033933 w 8264972"/>
                    <a:gd name="connsiteY320" fmla="*/ 946283 h 3395062"/>
                    <a:gd name="connsiteX321" fmla="*/ 7014156 w 8264972"/>
                    <a:gd name="connsiteY321" fmla="*/ 955335 h 3395062"/>
                    <a:gd name="connsiteX322" fmla="*/ 7016025 w 8264972"/>
                    <a:gd name="connsiteY322" fmla="*/ 966552 h 3395062"/>
                    <a:gd name="connsiteX323" fmla="*/ 7050464 w 8264972"/>
                    <a:gd name="connsiteY323" fmla="*/ 974916 h 3395062"/>
                    <a:gd name="connsiteX324" fmla="*/ 7066994 w 8264972"/>
                    <a:gd name="connsiteY324" fmla="*/ 1020375 h 3395062"/>
                    <a:gd name="connsiteX325" fmla="*/ 7063944 w 8264972"/>
                    <a:gd name="connsiteY325" fmla="*/ 1028148 h 3395062"/>
                    <a:gd name="connsiteX326" fmla="*/ 7012385 w 8264972"/>
                    <a:gd name="connsiteY326" fmla="*/ 1052157 h 3395062"/>
                    <a:gd name="connsiteX327" fmla="*/ 6973715 w 8264972"/>
                    <a:gd name="connsiteY327" fmla="*/ 1053338 h 3395062"/>
                    <a:gd name="connsiteX328" fmla="*/ 6964958 w 8264972"/>
                    <a:gd name="connsiteY328" fmla="*/ 1040251 h 3395062"/>
                    <a:gd name="connsiteX329" fmla="*/ 6963285 w 8264972"/>
                    <a:gd name="connsiteY329" fmla="*/ 1021555 h 3395062"/>
                    <a:gd name="connsiteX330" fmla="*/ 6897950 w 8264972"/>
                    <a:gd name="connsiteY330" fmla="*/ 1006796 h 3395062"/>
                    <a:gd name="connsiteX331" fmla="*/ 6891850 w 8264972"/>
                    <a:gd name="connsiteY331" fmla="*/ 969110 h 3395062"/>
                    <a:gd name="connsiteX332" fmla="*/ 6855148 w 8264972"/>
                    <a:gd name="connsiteY332" fmla="*/ 952974 h 3395062"/>
                    <a:gd name="connsiteX333" fmla="*/ 6813231 w 8264972"/>
                    <a:gd name="connsiteY333" fmla="*/ 977474 h 3395062"/>
                    <a:gd name="connsiteX334" fmla="*/ 6655798 w 8264972"/>
                    <a:gd name="connsiteY334" fmla="*/ 966847 h 3395062"/>
                    <a:gd name="connsiteX335" fmla="*/ 6628739 w 8264972"/>
                    <a:gd name="connsiteY335" fmla="*/ 950022 h 3395062"/>
                    <a:gd name="connsiteX336" fmla="*/ 6522766 w 8264972"/>
                    <a:gd name="connsiteY336" fmla="*/ 964978 h 3395062"/>
                    <a:gd name="connsiteX337" fmla="*/ 6485376 w 8264972"/>
                    <a:gd name="connsiteY337" fmla="*/ 1010732 h 3395062"/>
                    <a:gd name="connsiteX338" fmla="*/ 6470715 w 8264972"/>
                    <a:gd name="connsiteY338" fmla="*/ 1013290 h 3395062"/>
                    <a:gd name="connsiteX339" fmla="*/ 6489902 w 8264972"/>
                    <a:gd name="connsiteY339" fmla="*/ 962715 h 3395062"/>
                    <a:gd name="connsiteX340" fmla="*/ 6470420 w 8264972"/>
                    <a:gd name="connsiteY340" fmla="*/ 969307 h 3395062"/>
                    <a:gd name="connsiteX341" fmla="*/ 6443656 w 8264972"/>
                    <a:gd name="connsiteY341" fmla="*/ 989380 h 3395062"/>
                    <a:gd name="connsiteX342" fmla="*/ 6438442 w 8264972"/>
                    <a:gd name="connsiteY342" fmla="*/ 965962 h 3395062"/>
                    <a:gd name="connsiteX343" fmla="*/ 6367793 w 8264972"/>
                    <a:gd name="connsiteY343" fmla="*/ 940280 h 3395062"/>
                    <a:gd name="connsiteX344" fmla="*/ 6364841 w 8264972"/>
                    <a:gd name="connsiteY344" fmla="*/ 933294 h 3395062"/>
                    <a:gd name="connsiteX345" fmla="*/ 6383635 w 8264972"/>
                    <a:gd name="connsiteY345" fmla="*/ 891771 h 3395062"/>
                    <a:gd name="connsiteX346" fmla="*/ 6365431 w 8264972"/>
                    <a:gd name="connsiteY346" fmla="*/ 853298 h 3395062"/>
                    <a:gd name="connsiteX347" fmla="*/ 6357363 w 8264972"/>
                    <a:gd name="connsiteY347" fmla="*/ 846411 h 3395062"/>
                    <a:gd name="connsiteX348" fmla="*/ 6131938 w 8264972"/>
                    <a:gd name="connsiteY348" fmla="*/ 802133 h 3395062"/>
                    <a:gd name="connsiteX349" fmla="*/ 6120918 w 8264972"/>
                    <a:gd name="connsiteY349" fmla="*/ 802723 h 3395062"/>
                    <a:gd name="connsiteX350" fmla="*/ 5935244 w 8264972"/>
                    <a:gd name="connsiteY350" fmla="*/ 834997 h 3395062"/>
                    <a:gd name="connsiteX351" fmla="*/ 5896279 w 8264972"/>
                    <a:gd name="connsiteY351" fmla="*/ 823485 h 3395062"/>
                    <a:gd name="connsiteX352" fmla="*/ 5841768 w 8264972"/>
                    <a:gd name="connsiteY352" fmla="*/ 769563 h 3395062"/>
                    <a:gd name="connsiteX353" fmla="*/ 5705195 w 8264972"/>
                    <a:gd name="connsiteY353" fmla="*/ 729418 h 3395062"/>
                    <a:gd name="connsiteX354" fmla="*/ 5733041 w 8264972"/>
                    <a:gd name="connsiteY354" fmla="*/ 714068 h 3395062"/>
                    <a:gd name="connsiteX355" fmla="*/ 5758624 w 8264972"/>
                    <a:gd name="connsiteY355" fmla="*/ 718791 h 3395062"/>
                    <a:gd name="connsiteX356" fmla="*/ 5766102 w 8264972"/>
                    <a:gd name="connsiteY356" fmla="*/ 701769 h 3395062"/>
                    <a:gd name="connsiteX357" fmla="*/ 5696536 w 8264972"/>
                    <a:gd name="connsiteY357" fmla="*/ 664870 h 3395062"/>
                    <a:gd name="connsiteX358" fmla="*/ 5589874 w 8264972"/>
                    <a:gd name="connsiteY358" fmla="*/ 662902 h 3395062"/>
                    <a:gd name="connsiteX359" fmla="*/ 5512142 w 8264972"/>
                    <a:gd name="connsiteY359" fmla="*/ 732271 h 3395062"/>
                    <a:gd name="connsiteX360" fmla="*/ 5451038 w 8264972"/>
                    <a:gd name="connsiteY360" fmla="*/ 735814 h 3395062"/>
                    <a:gd name="connsiteX361" fmla="*/ 5489609 w 8264972"/>
                    <a:gd name="connsiteY361" fmla="*/ 686812 h 3395062"/>
                    <a:gd name="connsiteX362" fmla="*/ 5515585 w 8264972"/>
                    <a:gd name="connsiteY362" fmla="*/ 703146 h 3395062"/>
                    <a:gd name="connsiteX363" fmla="*/ 5560258 w 8264972"/>
                    <a:gd name="connsiteY363" fmla="*/ 654047 h 3395062"/>
                    <a:gd name="connsiteX364" fmla="*/ 5450546 w 8264972"/>
                    <a:gd name="connsiteY364" fmla="*/ 628267 h 3395062"/>
                    <a:gd name="connsiteX365" fmla="*/ 5253065 w 8264972"/>
                    <a:gd name="connsiteY365" fmla="*/ 609178 h 3395062"/>
                    <a:gd name="connsiteX366" fmla="*/ 5215675 w 8264972"/>
                    <a:gd name="connsiteY366" fmla="*/ 594911 h 3395062"/>
                    <a:gd name="connsiteX367" fmla="*/ 5197275 w 8264972"/>
                    <a:gd name="connsiteY367" fmla="*/ 594419 h 3395062"/>
                    <a:gd name="connsiteX368" fmla="*/ 5214396 w 8264972"/>
                    <a:gd name="connsiteY368" fmla="*/ 621970 h 3395062"/>
                    <a:gd name="connsiteX369" fmla="*/ 5200227 w 8264972"/>
                    <a:gd name="connsiteY369" fmla="*/ 640074 h 3395062"/>
                    <a:gd name="connsiteX370" fmla="*/ 5121903 w 8264972"/>
                    <a:gd name="connsiteY370" fmla="*/ 644305 h 3395062"/>
                    <a:gd name="connsiteX371" fmla="*/ 5090515 w 8264972"/>
                    <a:gd name="connsiteY371" fmla="*/ 673037 h 3395062"/>
                    <a:gd name="connsiteX372" fmla="*/ 5096222 w 8264972"/>
                    <a:gd name="connsiteY372" fmla="*/ 680318 h 3395062"/>
                    <a:gd name="connsiteX373" fmla="*/ 5105963 w 8264972"/>
                    <a:gd name="connsiteY373" fmla="*/ 678646 h 3395062"/>
                    <a:gd name="connsiteX374" fmla="*/ 5107833 w 8264972"/>
                    <a:gd name="connsiteY374" fmla="*/ 677268 h 3395062"/>
                    <a:gd name="connsiteX375" fmla="*/ 5154276 w 8264972"/>
                    <a:gd name="connsiteY375" fmla="*/ 668117 h 3395062"/>
                    <a:gd name="connsiteX376" fmla="*/ 5162049 w 8264972"/>
                    <a:gd name="connsiteY376" fmla="*/ 679925 h 3395062"/>
                    <a:gd name="connsiteX377" fmla="*/ 5139122 w 8264972"/>
                    <a:gd name="connsiteY377" fmla="*/ 685435 h 3395062"/>
                    <a:gd name="connsiteX378" fmla="*/ 5124462 w 8264972"/>
                    <a:gd name="connsiteY378" fmla="*/ 705016 h 3395062"/>
                    <a:gd name="connsiteX379" fmla="*/ 5129480 w 8264972"/>
                    <a:gd name="connsiteY379" fmla="*/ 716922 h 3395062"/>
                    <a:gd name="connsiteX380" fmla="*/ 5126134 w 8264972"/>
                    <a:gd name="connsiteY380" fmla="*/ 736207 h 3395062"/>
                    <a:gd name="connsiteX381" fmla="*/ 5144141 w 8264972"/>
                    <a:gd name="connsiteY381" fmla="*/ 758937 h 3395062"/>
                    <a:gd name="connsiteX382" fmla="*/ 5088350 w 8264972"/>
                    <a:gd name="connsiteY382" fmla="*/ 767891 h 3395062"/>
                    <a:gd name="connsiteX383" fmla="*/ 5070738 w 8264972"/>
                    <a:gd name="connsiteY383" fmla="*/ 745358 h 3395062"/>
                    <a:gd name="connsiteX384" fmla="*/ 5028624 w 8264972"/>
                    <a:gd name="connsiteY384" fmla="*/ 756083 h 3395062"/>
                    <a:gd name="connsiteX385" fmla="*/ 5022032 w 8264972"/>
                    <a:gd name="connsiteY385" fmla="*/ 779502 h 3395062"/>
                    <a:gd name="connsiteX386" fmla="*/ 5024000 w 8264972"/>
                    <a:gd name="connsiteY386" fmla="*/ 789735 h 3395062"/>
                    <a:gd name="connsiteX387" fmla="*/ 4988577 w 8264972"/>
                    <a:gd name="connsiteY387" fmla="*/ 782847 h 3395062"/>
                    <a:gd name="connsiteX388" fmla="*/ 4936328 w 8264972"/>
                    <a:gd name="connsiteY388" fmla="*/ 755591 h 3395062"/>
                    <a:gd name="connsiteX389" fmla="*/ 4872863 w 8264972"/>
                    <a:gd name="connsiteY389" fmla="*/ 743882 h 3395062"/>
                    <a:gd name="connsiteX390" fmla="*/ 4813039 w 8264972"/>
                    <a:gd name="connsiteY390" fmla="*/ 769563 h 3395062"/>
                    <a:gd name="connsiteX391" fmla="*/ 4759314 w 8264972"/>
                    <a:gd name="connsiteY391" fmla="*/ 768875 h 3395062"/>
                    <a:gd name="connsiteX392" fmla="*/ 4702146 w 8264972"/>
                    <a:gd name="connsiteY392" fmla="*/ 734731 h 3395062"/>
                    <a:gd name="connsiteX393" fmla="*/ 4701753 w 8264972"/>
                    <a:gd name="connsiteY393" fmla="*/ 728434 h 3395062"/>
                    <a:gd name="connsiteX394" fmla="*/ 4725073 w 8264972"/>
                    <a:gd name="connsiteY394" fmla="*/ 705311 h 3395062"/>
                    <a:gd name="connsiteX395" fmla="*/ 4697817 w 8264972"/>
                    <a:gd name="connsiteY395" fmla="*/ 705606 h 3395062"/>
                    <a:gd name="connsiteX396" fmla="*/ 4667708 w 8264972"/>
                    <a:gd name="connsiteY396" fmla="*/ 730599 h 3395062"/>
                    <a:gd name="connsiteX397" fmla="*/ 4601192 w 8264972"/>
                    <a:gd name="connsiteY397" fmla="*/ 844049 h 3395062"/>
                    <a:gd name="connsiteX398" fmla="*/ 4521491 w 8264972"/>
                    <a:gd name="connsiteY398" fmla="*/ 808823 h 3395062"/>
                    <a:gd name="connsiteX399" fmla="*/ 4469834 w 8264972"/>
                    <a:gd name="connsiteY399" fmla="*/ 750770 h 3395062"/>
                    <a:gd name="connsiteX400" fmla="*/ 4486757 w 8264972"/>
                    <a:gd name="connsiteY400" fmla="*/ 725777 h 3395062"/>
                    <a:gd name="connsiteX401" fmla="*/ 4486069 w 8264972"/>
                    <a:gd name="connsiteY401" fmla="*/ 724498 h 3395062"/>
                    <a:gd name="connsiteX402" fmla="*/ 4435198 w 8264972"/>
                    <a:gd name="connsiteY402" fmla="*/ 713183 h 3395062"/>
                    <a:gd name="connsiteX403" fmla="*/ 4401153 w 8264972"/>
                    <a:gd name="connsiteY403" fmla="*/ 678154 h 3395062"/>
                    <a:gd name="connsiteX404" fmla="*/ 4413649 w 8264972"/>
                    <a:gd name="connsiteY404" fmla="*/ 668412 h 3395062"/>
                    <a:gd name="connsiteX405" fmla="*/ 4479279 w 8264972"/>
                    <a:gd name="connsiteY405" fmla="*/ 688485 h 3395062"/>
                    <a:gd name="connsiteX406" fmla="*/ 4485183 w 8264972"/>
                    <a:gd name="connsiteY406" fmla="*/ 684549 h 3395062"/>
                    <a:gd name="connsiteX407" fmla="*/ 4482822 w 8264972"/>
                    <a:gd name="connsiteY407" fmla="*/ 653653 h 3395062"/>
                    <a:gd name="connsiteX408" fmla="*/ 4441594 w 8264972"/>
                    <a:gd name="connsiteY408" fmla="*/ 648340 h 3395062"/>
                    <a:gd name="connsiteX409" fmla="*/ 4417487 w 8264972"/>
                    <a:gd name="connsiteY409" fmla="*/ 631120 h 3395062"/>
                    <a:gd name="connsiteX410" fmla="*/ 4481543 w 8264972"/>
                    <a:gd name="connsiteY410" fmla="*/ 625118 h 3395062"/>
                    <a:gd name="connsiteX411" fmla="*/ 4488135 w 8264972"/>
                    <a:gd name="connsiteY411" fmla="*/ 596091 h 3395062"/>
                    <a:gd name="connsiteX412" fmla="*/ 4483904 w 8264972"/>
                    <a:gd name="connsiteY412" fmla="*/ 587236 h 3395062"/>
                    <a:gd name="connsiteX413" fmla="*/ 4430770 w 8264972"/>
                    <a:gd name="connsiteY413" fmla="*/ 554175 h 3395062"/>
                    <a:gd name="connsiteX414" fmla="*/ 4404597 w 8264972"/>
                    <a:gd name="connsiteY414" fmla="*/ 570410 h 3395062"/>
                    <a:gd name="connsiteX415" fmla="*/ 4396528 w 8264972"/>
                    <a:gd name="connsiteY415" fmla="*/ 568934 h 3395062"/>
                    <a:gd name="connsiteX416" fmla="*/ 4392691 w 8264972"/>
                    <a:gd name="connsiteY416" fmla="*/ 554568 h 3395062"/>
                    <a:gd name="connsiteX417" fmla="*/ 4407942 w 8264972"/>
                    <a:gd name="connsiteY417" fmla="*/ 532036 h 3395062"/>
                    <a:gd name="connsiteX418" fmla="*/ 4323026 w 8264972"/>
                    <a:gd name="connsiteY418" fmla="*/ 525246 h 3395062"/>
                    <a:gd name="connsiteX419" fmla="*/ 4281897 w 8264972"/>
                    <a:gd name="connsiteY419" fmla="*/ 563227 h 3395062"/>
                    <a:gd name="connsiteX420" fmla="*/ 4281307 w 8264972"/>
                    <a:gd name="connsiteY420" fmla="*/ 563227 h 3395062"/>
                    <a:gd name="connsiteX421" fmla="*/ 4277469 w 8264972"/>
                    <a:gd name="connsiteY421" fmla="*/ 558209 h 3395062"/>
                    <a:gd name="connsiteX422" fmla="*/ 4292032 w 8264972"/>
                    <a:gd name="connsiteY422" fmla="*/ 527116 h 3395062"/>
                    <a:gd name="connsiteX423" fmla="*/ 4292327 w 8264972"/>
                    <a:gd name="connsiteY423" fmla="*/ 527116 h 3395062"/>
                    <a:gd name="connsiteX424" fmla="*/ 4295870 w 8264972"/>
                    <a:gd name="connsiteY424" fmla="*/ 519736 h 3395062"/>
                    <a:gd name="connsiteX425" fmla="*/ 4288096 w 8264972"/>
                    <a:gd name="connsiteY425" fmla="*/ 513340 h 3395062"/>
                    <a:gd name="connsiteX426" fmla="*/ 4265760 w 8264972"/>
                    <a:gd name="connsiteY426" fmla="*/ 520917 h 3395062"/>
                    <a:gd name="connsiteX427" fmla="*/ 4171005 w 8264972"/>
                    <a:gd name="connsiteY427" fmla="*/ 488348 h 3395062"/>
                    <a:gd name="connsiteX428" fmla="*/ 4149358 w 8264972"/>
                    <a:gd name="connsiteY428" fmla="*/ 492382 h 3395062"/>
                    <a:gd name="connsiteX429" fmla="*/ 4137452 w 8264972"/>
                    <a:gd name="connsiteY429" fmla="*/ 486577 h 3395062"/>
                    <a:gd name="connsiteX430" fmla="*/ 4105571 w 8264972"/>
                    <a:gd name="connsiteY430" fmla="*/ 524459 h 3395062"/>
                    <a:gd name="connsiteX431" fmla="*/ 4118757 w 8264972"/>
                    <a:gd name="connsiteY431" fmla="*/ 570312 h 3395062"/>
                    <a:gd name="connsiteX432" fmla="*/ 4102029 w 8264972"/>
                    <a:gd name="connsiteY432" fmla="*/ 588318 h 3395062"/>
                    <a:gd name="connsiteX433" fmla="*/ 4062867 w 8264972"/>
                    <a:gd name="connsiteY433" fmla="*/ 569623 h 3395062"/>
                    <a:gd name="connsiteX434" fmla="*/ 4020459 w 8264972"/>
                    <a:gd name="connsiteY434" fmla="*/ 587531 h 3395062"/>
                    <a:gd name="connsiteX435" fmla="*/ 3924523 w 8264972"/>
                    <a:gd name="connsiteY435" fmla="*/ 578675 h 3395062"/>
                    <a:gd name="connsiteX436" fmla="*/ 3920783 w 8264972"/>
                    <a:gd name="connsiteY436" fmla="*/ 560275 h 3395062"/>
                    <a:gd name="connsiteX437" fmla="*/ 3881327 w 8264972"/>
                    <a:gd name="connsiteY437" fmla="*/ 560571 h 3395062"/>
                    <a:gd name="connsiteX438" fmla="*/ 3870405 w 8264972"/>
                    <a:gd name="connsiteY438" fmla="*/ 567360 h 3395062"/>
                    <a:gd name="connsiteX439" fmla="*/ 3805168 w 8264972"/>
                    <a:gd name="connsiteY439" fmla="*/ 555749 h 3395062"/>
                    <a:gd name="connsiteX440" fmla="*/ 3801134 w 8264972"/>
                    <a:gd name="connsiteY440" fmla="*/ 549353 h 3395062"/>
                    <a:gd name="connsiteX441" fmla="*/ 3811269 w 8264972"/>
                    <a:gd name="connsiteY441" fmla="*/ 530166 h 3395062"/>
                    <a:gd name="connsiteX442" fmla="*/ 3838525 w 8264972"/>
                    <a:gd name="connsiteY442" fmla="*/ 524066 h 3395062"/>
                    <a:gd name="connsiteX443" fmla="*/ 3841476 w 8264972"/>
                    <a:gd name="connsiteY443" fmla="*/ 517867 h 3395062"/>
                    <a:gd name="connsiteX444" fmla="*/ 3840296 w 8264972"/>
                    <a:gd name="connsiteY444" fmla="*/ 515505 h 3395062"/>
                    <a:gd name="connsiteX445" fmla="*/ 3744852 w 8264972"/>
                    <a:gd name="connsiteY445" fmla="*/ 509601 h 3395062"/>
                    <a:gd name="connsiteX446" fmla="*/ 3609361 w 8264972"/>
                    <a:gd name="connsiteY446" fmla="*/ 494547 h 3395062"/>
                    <a:gd name="connsiteX447" fmla="*/ 3568723 w 8264972"/>
                    <a:gd name="connsiteY447" fmla="*/ 512160 h 3395062"/>
                    <a:gd name="connsiteX448" fmla="*/ 3536646 w 8264972"/>
                    <a:gd name="connsiteY448" fmla="*/ 512553 h 3395062"/>
                    <a:gd name="connsiteX449" fmla="*/ 3511358 w 8264972"/>
                    <a:gd name="connsiteY449" fmla="*/ 524853 h 3395062"/>
                    <a:gd name="connsiteX450" fmla="*/ 3522870 w 8264972"/>
                    <a:gd name="connsiteY450" fmla="*/ 533512 h 3395062"/>
                    <a:gd name="connsiteX451" fmla="*/ 3522772 w 8264972"/>
                    <a:gd name="connsiteY451" fmla="*/ 540104 h 3395062"/>
                    <a:gd name="connsiteX452" fmla="*/ 3506340 w 8264972"/>
                    <a:gd name="connsiteY452" fmla="*/ 545418 h 3395062"/>
                    <a:gd name="connsiteX453" fmla="*/ 3480954 w 8264972"/>
                    <a:gd name="connsiteY453" fmla="*/ 531248 h 3395062"/>
                    <a:gd name="connsiteX454" fmla="*/ 3489809 w 8264972"/>
                    <a:gd name="connsiteY454" fmla="*/ 494940 h 3395062"/>
                    <a:gd name="connsiteX455" fmla="*/ 3457437 w 8264972"/>
                    <a:gd name="connsiteY455" fmla="*/ 464536 h 3395062"/>
                    <a:gd name="connsiteX456" fmla="*/ 3456453 w 8264972"/>
                    <a:gd name="connsiteY456" fmla="*/ 489529 h 3395062"/>
                    <a:gd name="connsiteX457" fmla="*/ 3398695 w 8264972"/>
                    <a:gd name="connsiteY457" fmla="*/ 489725 h 3395062"/>
                    <a:gd name="connsiteX458" fmla="*/ 3365240 w 8264972"/>
                    <a:gd name="connsiteY458" fmla="*/ 474080 h 3395062"/>
                    <a:gd name="connsiteX459" fmla="*/ 3372522 w 8264972"/>
                    <a:gd name="connsiteY459" fmla="*/ 453220 h 3395062"/>
                    <a:gd name="connsiteX460" fmla="*/ 3344971 w 8264972"/>
                    <a:gd name="connsiteY460" fmla="*/ 460600 h 3395062"/>
                    <a:gd name="connsiteX461" fmla="*/ 3287803 w 8264972"/>
                    <a:gd name="connsiteY461" fmla="*/ 456959 h 3395062"/>
                    <a:gd name="connsiteX462" fmla="*/ 3259661 w 8264972"/>
                    <a:gd name="connsiteY462" fmla="*/ 477131 h 3395062"/>
                    <a:gd name="connsiteX463" fmla="*/ 3257398 w 8264972"/>
                    <a:gd name="connsiteY463" fmla="*/ 491595 h 3395062"/>
                    <a:gd name="connsiteX464" fmla="*/ 3263794 w 8264972"/>
                    <a:gd name="connsiteY464" fmla="*/ 495826 h 3395062"/>
                    <a:gd name="connsiteX465" fmla="*/ 3325980 w 8264972"/>
                    <a:gd name="connsiteY465" fmla="*/ 480870 h 3395062"/>
                    <a:gd name="connsiteX466" fmla="*/ 3336509 w 8264972"/>
                    <a:gd name="connsiteY466" fmla="*/ 493268 h 3395062"/>
                    <a:gd name="connsiteX467" fmla="*/ 3166185 w 8264972"/>
                    <a:gd name="connsiteY467" fmla="*/ 552994 h 3395062"/>
                    <a:gd name="connsiteX468" fmla="*/ 3061787 w 8264972"/>
                    <a:gd name="connsiteY468" fmla="*/ 561948 h 3395062"/>
                    <a:gd name="connsiteX469" fmla="*/ 3033351 w 8264972"/>
                    <a:gd name="connsiteY469" fmla="*/ 589597 h 3395062"/>
                    <a:gd name="connsiteX470" fmla="*/ 3020953 w 8264972"/>
                    <a:gd name="connsiteY470" fmla="*/ 580250 h 3395062"/>
                    <a:gd name="connsiteX471" fmla="*/ 3039254 w 8264972"/>
                    <a:gd name="connsiteY471" fmla="*/ 544729 h 3395062"/>
                    <a:gd name="connsiteX472" fmla="*/ 3082647 w 8264972"/>
                    <a:gd name="connsiteY472" fmla="*/ 535283 h 3395062"/>
                    <a:gd name="connsiteX473" fmla="*/ 3107738 w 8264972"/>
                    <a:gd name="connsiteY473" fmla="*/ 510192 h 3395062"/>
                    <a:gd name="connsiteX474" fmla="*/ 3167268 w 8264972"/>
                    <a:gd name="connsiteY474" fmla="*/ 498581 h 3395062"/>
                    <a:gd name="connsiteX475" fmla="*/ 3199443 w 8264972"/>
                    <a:gd name="connsiteY475" fmla="*/ 465618 h 3395062"/>
                    <a:gd name="connsiteX476" fmla="*/ 3267336 w 8264972"/>
                    <a:gd name="connsiteY476" fmla="*/ 435312 h 3395062"/>
                    <a:gd name="connsiteX477" fmla="*/ 3274519 w 8264972"/>
                    <a:gd name="connsiteY477" fmla="*/ 419077 h 3395062"/>
                    <a:gd name="connsiteX478" fmla="*/ 3361501 w 8264972"/>
                    <a:gd name="connsiteY478" fmla="*/ 374405 h 3395062"/>
                    <a:gd name="connsiteX479" fmla="*/ 3399875 w 8264972"/>
                    <a:gd name="connsiteY479" fmla="*/ 367321 h 3395062"/>
                    <a:gd name="connsiteX480" fmla="*/ 3423982 w 8264972"/>
                    <a:gd name="connsiteY480" fmla="*/ 346559 h 3395062"/>
                    <a:gd name="connsiteX481" fmla="*/ 3454780 w 8264972"/>
                    <a:gd name="connsiteY481" fmla="*/ 338688 h 3395062"/>
                    <a:gd name="connsiteX482" fmla="*/ 3508898 w 8264972"/>
                    <a:gd name="connsiteY482" fmla="*/ 293819 h 3395062"/>
                    <a:gd name="connsiteX483" fmla="*/ 3510276 w 8264972"/>
                    <a:gd name="connsiteY483" fmla="*/ 274829 h 3395062"/>
                    <a:gd name="connsiteX484" fmla="*/ 3455568 w 8264972"/>
                    <a:gd name="connsiteY484" fmla="*/ 249246 h 3395062"/>
                    <a:gd name="connsiteX485" fmla="*/ 3477805 w 8264972"/>
                    <a:gd name="connsiteY485" fmla="*/ 245015 h 3395062"/>
                    <a:gd name="connsiteX486" fmla="*/ 3517262 w 8264972"/>
                    <a:gd name="connsiteY486" fmla="*/ 249934 h 3395062"/>
                    <a:gd name="connsiteX487" fmla="*/ 3522772 w 8264972"/>
                    <a:gd name="connsiteY487" fmla="*/ 232420 h 3395062"/>
                    <a:gd name="connsiteX488" fmla="*/ 3490498 w 8264972"/>
                    <a:gd name="connsiteY488" fmla="*/ 179188 h 3395062"/>
                    <a:gd name="connsiteX489" fmla="*/ 3474951 w 8264972"/>
                    <a:gd name="connsiteY489" fmla="*/ 180172 h 3395062"/>
                    <a:gd name="connsiteX490" fmla="*/ 3469343 w 8264972"/>
                    <a:gd name="connsiteY490" fmla="*/ 197686 h 3395062"/>
                    <a:gd name="connsiteX491" fmla="*/ 3454682 w 8264972"/>
                    <a:gd name="connsiteY491" fmla="*/ 196997 h 3395062"/>
                    <a:gd name="connsiteX492" fmla="*/ 3429985 w 8264972"/>
                    <a:gd name="connsiteY492" fmla="*/ 140518 h 3395062"/>
                    <a:gd name="connsiteX493" fmla="*/ 3394365 w 8264972"/>
                    <a:gd name="connsiteY493" fmla="*/ 138452 h 3395062"/>
                    <a:gd name="connsiteX494" fmla="*/ 3329129 w 8264972"/>
                    <a:gd name="connsiteY494" fmla="*/ 118773 h 3395062"/>
                    <a:gd name="connsiteX495" fmla="*/ 3160675 w 8264972"/>
                    <a:gd name="connsiteY495" fmla="*/ 123692 h 3395062"/>
                    <a:gd name="connsiteX496" fmla="*/ 3148277 w 8264972"/>
                    <a:gd name="connsiteY496" fmla="*/ 147504 h 3395062"/>
                    <a:gd name="connsiteX497" fmla="*/ 3065821 w 8264972"/>
                    <a:gd name="connsiteY497" fmla="*/ 142683 h 3395062"/>
                    <a:gd name="connsiteX498" fmla="*/ 3116987 w 8264972"/>
                    <a:gd name="connsiteY498" fmla="*/ 91910 h 3395062"/>
                    <a:gd name="connsiteX499" fmla="*/ 3043289 w 8264972"/>
                    <a:gd name="connsiteY499" fmla="*/ 81284 h 3395062"/>
                    <a:gd name="connsiteX500" fmla="*/ 3014262 w 8264972"/>
                    <a:gd name="connsiteY500" fmla="*/ 84531 h 3395062"/>
                    <a:gd name="connsiteX501" fmla="*/ 3014852 w 8264972"/>
                    <a:gd name="connsiteY501" fmla="*/ 75282 h 3395062"/>
                    <a:gd name="connsiteX502" fmla="*/ 2946270 w 8264972"/>
                    <a:gd name="connsiteY502" fmla="*/ 74199 h 3395062"/>
                    <a:gd name="connsiteX503" fmla="*/ 2948829 w 8264972"/>
                    <a:gd name="connsiteY503" fmla="*/ 70854 h 3395062"/>
                    <a:gd name="connsiteX504" fmla="*/ 2979233 w 8264972"/>
                    <a:gd name="connsiteY504" fmla="*/ 65344 h 3395062"/>
                    <a:gd name="connsiteX505" fmla="*/ 3015639 w 8264972"/>
                    <a:gd name="connsiteY505" fmla="*/ 47042 h 3395062"/>
                    <a:gd name="connsiteX506" fmla="*/ 3045060 w 8264972"/>
                    <a:gd name="connsiteY506" fmla="*/ 43696 h 3395062"/>
                    <a:gd name="connsiteX507" fmla="*/ 3031186 w 8264972"/>
                    <a:gd name="connsiteY507" fmla="*/ 24116 h 3395062"/>
                    <a:gd name="connsiteX508" fmla="*/ 2968213 w 8264972"/>
                    <a:gd name="connsiteY508" fmla="*/ 13981 h 3395062"/>
                    <a:gd name="connsiteX509" fmla="*/ 2957783 w 8264972"/>
                    <a:gd name="connsiteY509" fmla="*/ 5224 h 3395062"/>
                    <a:gd name="connsiteX510" fmla="*/ 2911733 w 8264972"/>
                    <a:gd name="connsiteY510" fmla="*/ 1977 h 3395062"/>
                    <a:gd name="connsiteX511" fmla="*/ 2889496 w 8264972"/>
                    <a:gd name="connsiteY511" fmla="*/ 11127 h 3395062"/>
                    <a:gd name="connsiteX512" fmla="*/ 2864109 w 8264972"/>
                    <a:gd name="connsiteY512" fmla="*/ 11816 h 3395062"/>
                    <a:gd name="connsiteX513" fmla="*/ 2826030 w 8264972"/>
                    <a:gd name="connsiteY513" fmla="*/ 30315 h 3395062"/>
                    <a:gd name="connsiteX514" fmla="*/ 2801235 w 8264972"/>
                    <a:gd name="connsiteY514" fmla="*/ 52847 h 3395062"/>
                    <a:gd name="connsiteX515" fmla="*/ 2746723 w 8264972"/>
                    <a:gd name="connsiteY515" fmla="*/ 78332 h 3395062"/>
                    <a:gd name="connsiteX516" fmla="*/ 2739343 w 8264972"/>
                    <a:gd name="connsiteY516" fmla="*/ 91910 h 3395062"/>
                    <a:gd name="connsiteX517" fmla="*/ 2725667 w 8264972"/>
                    <a:gd name="connsiteY517" fmla="*/ 99881 h 3395062"/>
                    <a:gd name="connsiteX518" fmla="*/ 2723600 w 8264972"/>
                    <a:gd name="connsiteY518" fmla="*/ 115230 h 3395062"/>
                    <a:gd name="connsiteX519" fmla="*/ 2734817 w 8264972"/>
                    <a:gd name="connsiteY519" fmla="*/ 126054 h 3395062"/>
                    <a:gd name="connsiteX520" fmla="*/ 2714646 w 8264972"/>
                    <a:gd name="connsiteY520" fmla="*/ 146520 h 3395062"/>
                    <a:gd name="connsiteX521" fmla="*/ 2653444 w 8264972"/>
                    <a:gd name="connsiteY521" fmla="*/ 157836 h 3395062"/>
                    <a:gd name="connsiteX522" fmla="*/ 2590963 w 8264972"/>
                    <a:gd name="connsiteY522" fmla="*/ 149079 h 3395062"/>
                    <a:gd name="connsiteX523" fmla="*/ 2599228 w 8264972"/>
                    <a:gd name="connsiteY523" fmla="*/ 162264 h 3395062"/>
                    <a:gd name="connsiteX524" fmla="*/ 2641243 w 8264972"/>
                    <a:gd name="connsiteY524" fmla="*/ 194931 h 3395062"/>
                    <a:gd name="connsiteX525" fmla="*/ 2627861 w 8264972"/>
                    <a:gd name="connsiteY525" fmla="*/ 199359 h 3395062"/>
                    <a:gd name="connsiteX526" fmla="*/ 2606115 w 8264972"/>
                    <a:gd name="connsiteY526" fmla="*/ 185879 h 3395062"/>
                    <a:gd name="connsiteX527" fmla="*/ 2575416 w 8264972"/>
                    <a:gd name="connsiteY527" fmla="*/ 182041 h 3395062"/>
                    <a:gd name="connsiteX528" fmla="*/ 2519232 w 8264972"/>
                    <a:gd name="connsiteY528" fmla="*/ 200933 h 3395062"/>
                    <a:gd name="connsiteX529" fmla="*/ 2518740 w 8264972"/>
                    <a:gd name="connsiteY529" fmla="*/ 215299 h 3395062"/>
                    <a:gd name="connsiteX530" fmla="*/ 2487548 w 8264972"/>
                    <a:gd name="connsiteY530" fmla="*/ 216578 h 3395062"/>
                    <a:gd name="connsiteX531" fmla="*/ 2489123 w 8264972"/>
                    <a:gd name="connsiteY531" fmla="*/ 200343 h 3395062"/>
                    <a:gd name="connsiteX532" fmla="*/ 2470427 w 8264972"/>
                    <a:gd name="connsiteY532" fmla="*/ 208805 h 3395062"/>
                    <a:gd name="connsiteX533" fmla="*/ 2471510 w 8264972"/>
                    <a:gd name="connsiteY533" fmla="*/ 209395 h 3395062"/>
                    <a:gd name="connsiteX534" fmla="*/ 2463441 w 8264972"/>
                    <a:gd name="connsiteY534" fmla="*/ 222482 h 3395062"/>
                    <a:gd name="connsiteX535" fmla="*/ 2437170 w 8264972"/>
                    <a:gd name="connsiteY535" fmla="*/ 224942 h 3395062"/>
                    <a:gd name="connsiteX536" fmla="*/ 2445140 w 8264972"/>
                    <a:gd name="connsiteY536" fmla="*/ 213331 h 3395062"/>
                    <a:gd name="connsiteX537" fmla="*/ 2400960 w 8264972"/>
                    <a:gd name="connsiteY537" fmla="*/ 228287 h 3395062"/>
                    <a:gd name="connsiteX538" fmla="*/ 2385413 w 8264972"/>
                    <a:gd name="connsiteY538" fmla="*/ 228681 h 3395062"/>
                    <a:gd name="connsiteX539" fmla="*/ 2458029 w 8264972"/>
                    <a:gd name="connsiteY539" fmla="*/ 183911 h 3395062"/>
                    <a:gd name="connsiteX540" fmla="*/ 2461178 w 8264972"/>
                    <a:gd name="connsiteY540" fmla="*/ 175842 h 3395062"/>
                    <a:gd name="connsiteX541" fmla="*/ 2460293 w 8264972"/>
                    <a:gd name="connsiteY541" fmla="*/ 172989 h 3395062"/>
                    <a:gd name="connsiteX542" fmla="*/ 2453110 w 8264972"/>
                    <a:gd name="connsiteY542" fmla="*/ 168167 h 3395062"/>
                    <a:gd name="connsiteX543" fmla="*/ 2379411 w 8264972"/>
                    <a:gd name="connsiteY543" fmla="*/ 175350 h 3395062"/>
                    <a:gd name="connsiteX544" fmla="*/ 2378722 w 8264972"/>
                    <a:gd name="connsiteY544" fmla="*/ 193750 h 3395062"/>
                    <a:gd name="connsiteX545" fmla="*/ 2225618 w 8264972"/>
                    <a:gd name="connsiteY545" fmla="*/ 204967 h 3395062"/>
                    <a:gd name="connsiteX546" fmla="*/ 2250119 w 8264972"/>
                    <a:gd name="connsiteY546" fmla="*/ 228484 h 3395062"/>
                    <a:gd name="connsiteX547" fmla="*/ 1979431 w 8264972"/>
                    <a:gd name="connsiteY547" fmla="*/ 279355 h 3395062"/>
                    <a:gd name="connsiteX548" fmla="*/ 1925609 w 8264972"/>
                    <a:gd name="connsiteY548" fmla="*/ 315269 h 3395062"/>
                    <a:gd name="connsiteX549" fmla="*/ 1876116 w 8264972"/>
                    <a:gd name="connsiteY549" fmla="*/ 308677 h 3395062"/>
                    <a:gd name="connsiteX550" fmla="*/ 1858306 w 8264972"/>
                    <a:gd name="connsiteY550" fmla="*/ 314581 h 3395062"/>
                    <a:gd name="connsiteX551" fmla="*/ 1858306 w 8264972"/>
                    <a:gd name="connsiteY551" fmla="*/ 320189 h 3395062"/>
                    <a:gd name="connsiteX552" fmla="*/ 1886743 w 8264972"/>
                    <a:gd name="connsiteY552" fmla="*/ 336720 h 3395062"/>
                    <a:gd name="connsiteX553" fmla="*/ 1887431 w 8264972"/>
                    <a:gd name="connsiteY553" fmla="*/ 343214 h 3395062"/>
                    <a:gd name="connsiteX554" fmla="*/ 1843940 w 8264972"/>
                    <a:gd name="connsiteY554" fmla="*/ 374504 h 3395062"/>
                    <a:gd name="connsiteX555" fmla="*/ 1807238 w 8264972"/>
                    <a:gd name="connsiteY555" fmla="*/ 356300 h 3395062"/>
                    <a:gd name="connsiteX556" fmla="*/ 1786674 w 8264972"/>
                    <a:gd name="connsiteY556" fmla="*/ 371749 h 3395062"/>
                    <a:gd name="connsiteX557" fmla="*/ 1827311 w 8264972"/>
                    <a:gd name="connsiteY557" fmla="*/ 389362 h 3395062"/>
                    <a:gd name="connsiteX558" fmla="*/ 1795234 w 8264972"/>
                    <a:gd name="connsiteY558" fmla="*/ 419667 h 3395062"/>
                    <a:gd name="connsiteX559" fmla="*/ 1828394 w 8264972"/>
                    <a:gd name="connsiteY559" fmla="*/ 431672 h 3395062"/>
                    <a:gd name="connsiteX560" fmla="*/ 1858896 w 8264972"/>
                    <a:gd name="connsiteY560" fmla="*/ 467783 h 3395062"/>
                    <a:gd name="connsiteX561" fmla="*/ 1806255 w 8264972"/>
                    <a:gd name="connsiteY561" fmla="*/ 472309 h 3395062"/>
                    <a:gd name="connsiteX562" fmla="*/ 1745938 w 8264972"/>
                    <a:gd name="connsiteY562" fmla="*/ 493563 h 3395062"/>
                    <a:gd name="connsiteX563" fmla="*/ 1703627 w 8264972"/>
                    <a:gd name="connsiteY563" fmla="*/ 488348 h 3395062"/>
                    <a:gd name="connsiteX564" fmla="*/ 1455473 w 8264972"/>
                    <a:gd name="connsiteY564" fmla="*/ 514620 h 3395062"/>
                    <a:gd name="connsiteX565" fmla="*/ 1450258 w 8264972"/>
                    <a:gd name="connsiteY565" fmla="*/ 561161 h 3395062"/>
                    <a:gd name="connsiteX566" fmla="*/ 1476333 w 8264972"/>
                    <a:gd name="connsiteY566" fmla="*/ 589302 h 3395062"/>
                    <a:gd name="connsiteX567" fmla="*/ 1475644 w 8264972"/>
                    <a:gd name="connsiteY567" fmla="*/ 638008 h 3395062"/>
                    <a:gd name="connsiteX568" fmla="*/ 1480958 w 8264972"/>
                    <a:gd name="connsiteY568" fmla="*/ 644896 h 3395062"/>
                    <a:gd name="connsiteX569" fmla="*/ 1548851 w 8264972"/>
                    <a:gd name="connsiteY569" fmla="*/ 661131 h 3395062"/>
                    <a:gd name="connsiteX570" fmla="*/ 1586045 w 8264972"/>
                    <a:gd name="connsiteY570" fmla="*/ 708263 h 3395062"/>
                    <a:gd name="connsiteX571" fmla="*/ 1634849 w 8264972"/>
                    <a:gd name="connsiteY571" fmla="*/ 718988 h 3395062"/>
                    <a:gd name="connsiteX572" fmla="*/ 1645279 w 8264972"/>
                    <a:gd name="connsiteY572" fmla="*/ 748212 h 3395062"/>
                    <a:gd name="connsiteX573" fmla="*/ 1620975 w 8264972"/>
                    <a:gd name="connsiteY573" fmla="*/ 790719 h 3395062"/>
                    <a:gd name="connsiteX574" fmla="*/ 1638096 w 8264972"/>
                    <a:gd name="connsiteY574" fmla="*/ 842081 h 3395062"/>
                    <a:gd name="connsiteX575" fmla="*/ 1608479 w 8264972"/>
                    <a:gd name="connsiteY575" fmla="*/ 816400 h 3395062"/>
                    <a:gd name="connsiteX576" fmla="*/ 1564692 w 8264972"/>
                    <a:gd name="connsiteY576" fmla="*/ 815121 h 3395062"/>
                    <a:gd name="connsiteX577" fmla="*/ 1554361 w 8264972"/>
                    <a:gd name="connsiteY577" fmla="*/ 788456 h 3395062"/>
                    <a:gd name="connsiteX578" fmla="*/ 1601296 w 8264972"/>
                    <a:gd name="connsiteY578" fmla="*/ 757264 h 3395062"/>
                    <a:gd name="connsiteX579" fmla="*/ 1606019 w 8264972"/>
                    <a:gd name="connsiteY579" fmla="*/ 731779 h 3395062"/>
                    <a:gd name="connsiteX580" fmla="*/ 1512346 w 8264972"/>
                    <a:gd name="connsiteY580" fmla="*/ 735715 h 3395062"/>
                    <a:gd name="connsiteX581" fmla="*/ 1458917 w 8264972"/>
                    <a:gd name="connsiteY581" fmla="*/ 689568 h 3395062"/>
                    <a:gd name="connsiteX582" fmla="*/ 1385415 w 8264972"/>
                    <a:gd name="connsiteY582" fmla="*/ 657589 h 3395062"/>
                    <a:gd name="connsiteX583" fmla="*/ 1295776 w 8264972"/>
                    <a:gd name="connsiteY583" fmla="*/ 660836 h 3395062"/>
                    <a:gd name="connsiteX584" fmla="*/ 1258386 w 8264972"/>
                    <a:gd name="connsiteY584" fmla="*/ 685140 h 3395062"/>
                    <a:gd name="connsiteX585" fmla="*/ 1258681 w 8264972"/>
                    <a:gd name="connsiteY585" fmla="*/ 686517 h 3395062"/>
                    <a:gd name="connsiteX586" fmla="*/ 1299220 w 8264972"/>
                    <a:gd name="connsiteY586" fmla="*/ 688288 h 3395062"/>
                    <a:gd name="connsiteX587" fmla="*/ 1308076 w 8264972"/>
                    <a:gd name="connsiteY587" fmla="*/ 709148 h 3395062"/>
                    <a:gd name="connsiteX588" fmla="*/ 1265765 w 8264972"/>
                    <a:gd name="connsiteY588" fmla="*/ 723613 h 3395062"/>
                    <a:gd name="connsiteX589" fmla="*/ 1216076 w 8264972"/>
                    <a:gd name="connsiteY589" fmla="*/ 698817 h 3395062"/>
                    <a:gd name="connsiteX590" fmla="*/ 1183998 w 8264972"/>
                    <a:gd name="connsiteY590" fmla="*/ 709936 h 3395062"/>
                    <a:gd name="connsiteX591" fmla="*/ 1180063 w 8264972"/>
                    <a:gd name="connsiteY591" fmla="*/ 717217 h 3395062"/>
                    <a:gd name="connsiteX592" fmla="*/ 1193150 w 8264972"/>
                    <a:gd name="connsiteY592" fmla="*/ 750967 h 3395062"/>
                    <a:gd name="connsiteX593" fmla="*/ 1299319 w 8264972"/>
                    <a:gd name="connsiteY593" fmla="*/ 782749 h 3395062"/>
                    <a:gd name="connsiteX594" fmla="*/ 1321655 w 8264972"/>
                    <a:gd name="connsiteY594" fmla="*/ 820434 h 3395062"/>
                    <a:gd name="connsiteX595" fmla="*/ 1287019 w 8264972"/>
                    <a:gd name="connsiteY595" fmla="*/ 812267 h 3395062"/>
                    <a:gd name="connsiteX596" fmla="*/ 1277475 w 8264972"/>
                    <a:gd name="connsiteY596" fmla="*/ 798984 h 3395062"/>
                    <a:gd name="connsiteX597" fmla="*/ 1152413 w 8264972"/>
                    <a:gd name="connsiteY597" fmla="*/ 785405 h 3395062"/>
                    <a:gd name="connsiteX598" fmla="*/ 1125453 w 8264972"/>
                    <a:gd name="connsiteY598" fmla="*/ 772122 h 3395062"/>
                    <a:gd name="connsiteX599" fmla="*/ 1131160 w 8264972"/>
                    <a:gd name="connsiteY599" fmla="*/ 764250 h 3395062"/>
                    <a:gd name="connsiteX600" fmla="*/ 1132242 w 8264972"/>
                    <a:gd name="connsiteY600" fmla="*/ 740733 h 3395062"/>
                    <a:gd name="connsiteX601" fmla="*/ 1121714 w 8264972"/>
                    <a:gd name="connsiteY601" fmla="*/ 723022 h 3395062"/>
                    <a:gd name="connsiteX602" fmla="*/ 1144345 w 8264972"/>
                    <a:gd name="connsiteY602" fmla="*/ 672151 h 3395062"/>
                    <a:gd name="connsiteX603" fmla="*/ 1146116 w 8264972"/>
                    <a:gd name="connsiteY603" fmla="*/ 671168 h 3395062"/>
                    <a:gd name="connsiteX604" fmla="*/ 1149855 w 8264972"/>
                    <a:gd name="connsiteY604" fmla="*/ 662902 h 3395062"/>
                    <a:gd name="connsiteX605" fmla="*/ 1134604 w 8264972"/>
                    <a:gd name="connsiteY605" fmla="*/ 608293 h 3395062"/>
                    <a:gd name="connsiteX606" fmla="*/ 1061594 w 8264972"/>
                    <a:gd name="connsiteY606" fmla="*/ 568541 h 3395062"/>
                    <a:gd name="connsiteX607" fmla="*/ 1055002 w 8264972"/>
                    <a:gd name="connsiteY607" fmla="*/ 571197 h 3395062"/>
                    <a:gd name="connsiteX608" fmla="*/ 1056281 w 8264972"/>
                    <a:gd name="connsiteY608" fmla="*/ 584677 h 3395062"/>
                    <a:gd name="connsiteX609" fmla="*/ 1099673 w 8264972"/>
                    <a:gd name="connsiteY609" fmla="*/ 615869 h 3395062"/>
                    <a:gd name="connsiteX610" fmla="*/ 1110595 w 8264972"/>
                    <a:gd name="connsiteY610" fmla="*/ 653850 h 3395062"/>
                    <a:gd name="connsiteX611" fmla="*/ 1102330 w 8264972"/>
                    <a:gd name="connsiteY611" fmla="*/ 680417 h 3395062"/>
                    <a:gd name="connsiteX612" fmla="*/ 1095147 w 8264972"/>
                    <a:gd name="connsiteY612" fmla="*/ 688092 h 3395062"/>
                    <a:gd name="connsiteX613" fmla="*/ 1017020 w 8264972"/>
                    <a:gd name="connsiteY613" fmla="*/ 730107 h 3395062"/>
                    <a:gd name="connsiteX614" fmla="*/ 987207 w 8264972"/>
                    <a:gd name="connsiteY614" fmla="*/ 766612 h 3395062"/>
                    <a:gd name="connsiteX615" fmla="*/ 1016332 w 8264972"/>
                    <a:gd name="connsiteY615" fmla="*/ 787767 h 3395062"/>
                    <a:gd name="connsiteX616" fmla="*/ 1064349 w 8264972"/>
                    <a:gd name="connsiteY616" fmla="*/ 866090 h 3395062"/>
                    <a:gd name="connsiteX617" fmla="*/ 1028533 w 8264972"/>
                    <a:gd name="connsiteY617" fmla="*/ 910860 h 3395062"/>
                    <a:gd name="connsiteX618" fmla="*/ 1023515 w 8264972"/>
                    <a:gd name="connsiteY618" fmla="*/ 959271 h 3395062"/>
                    <a:gd name="connsiteX619" fmla="*/ 1037290 w 8264972"/>
                    <a:gd name="connsiteY619" fmla="*/ 990266 h 3395062"/>
                    <a:gd name="connsiteX620" fmla="*/ 1031190 w 8264972"/>
                    <a:gd name="connsiteY620" fmla="*/ 1013684 h 3395062"/>
                    <a:gd name="connsiteX621" fmla="*/ 1045260 w 8264972"/>
                    <a:gd name="connsiteY621" fmla="*/ 1021555 h 3395062"/>
                    <a:gd name="connsiteX622" fmla="*/ 1073795 w 8264972"/>
                    <a:gd name="connsiteY622" fmla="*/ 1012700 h 3395062"/>
                    <a:gd name="connsiteX623" fmla="*/ 1102330 w 8264972"/>
                    <a:gd name="connsiteY623" fmla="*/ 1017521 h 3395062"/>
                    <a:gd name="connsiteX624" fmla="*/ 1151233 w 8264972"/>
                    <a:gd name="connsiteY624" fmla="*/ 1000597 h 3395062"/>
                    <a:gd name="connsiteX625" fmla="*/ 1277179 w 8264972"/>
                    <a:gd name="connsiteY625" fmla="*/ 1048221 h 3395062"/>
                    <a:gd name="connsiteX626" fmla="*/ 1301287 w 8264972"/>
                    <a:gd name="connsiteY626" fmla="*/ 1107160 h 3395062"/>
                    <a:gd name="connsiteX627" fmla="*/ 1275212 w 8264972"/>
                    <a:gd name="connsiteY627" fmla="*/ 1119164 h 3395062"/>
                    <a:gd name="connsiteX628" fmla="*/ 1264388 w 8264972"/>
                    <a:gd name="connsiteY628" fmla="*/ 1160097 h 3395062"/>
                    <a:gd name="connsiteX629" fmla="*/ 1268914 w 8264972"/>
                    <a:gd name="connsiteY629" fmla="*/ 1167575 h 3395062"/>
                    <a:gd name="connsiteX630" fmla="*/ 1331789 w 8264972"/>
                    <a:gd name="connsiteY630" fmla="*/ 1190797 h 3395062"/>
                    <a:gd name="connsiteX631" fmla="*/ 1296859 w 8264972"/>
                    <a:gd name="connsiteY631" fmla="*/ 1190305 h 3395062"/>
                    <a:gd name="connsiteX632" fmla="*/ 1243725 w 8264972"/>
                    <a:gd name="connsiteY632" fmla="*/ 1169641 h 3395062"/>
                    <a:gd name="connsiteX633" fmla="*/ 1239297 w 8264972"/>
                    <a:gd name="connsiteY633" fmla="*/ 1161770 h 3395062"/>
                    <a:gd name="connsiteX634" fmla="*/ 1243528 w 8264972"/>
                    <a:gd name="connsiteY634" fmla="*/ 1080888 h 3395062"/>
                    <a:gd name="connsiteX635" fmla="*/ 1211648 w 8264972"/>
                    <a:gd name="connsiteY635" fmla="*/ 1058257 h 3395062"/>
                    <a:gd name="connsiteX636" fmla="*/ 1193346 w 8264972"/>
                    <a:gd name="connsiteY636" fmla="*/ 1034052 h 3395062"/>
                    <a:gd name="connsiteX637" fmla="*/ 1123879 w 8264972"/>
                    <a:gd name="connsiteY637" fmla="*/ 1043891 h 3395062"/>
                    <a:gd name="connsiteX638" fmla="*/ 1123879 w 8264972"/>
                    <a:gd name="connsiteY638" fmla="*/ 1043596 h 3395062"/>
                    <a:gd name="connsiteX639" fmla="*/ 1083635 w 8264972"/>
                    <a:gd name="connsiteY639" fmla="*/ 1061996 h 3395062"/>
                    <a:gd name="connsiteX640" fmla="*/ 1079404 w 8264972"/>
                    <a:gd name="connsiteY640" fmla="*/ 1098108 h 3395062"/>
                    <a:gd name="connsiteX641" fmla="*/ 1103806 w 8264972"/>
                    <a:gd name="connsiteY641" fmla="*/ 1141992 h 3395062"/>
                    <a:gd name="connsiteX642" fmla="*/ 1095049 w 8264972"/>
                    <a:gd name="connsiteY642" fmla="*/ 1172790 h 3395062"/>
                    <a:gd name="connsiteX643" fmla="*/ 1056379 w 8264972"/>
                    <a:gd name="connsiteY643" fmla="*/ 1203293 h 3395062"/>
                    <a:gd name="connsiteX644" fmla="*/ 1038766 w 8264972"/>
                    <a:gd name="connsiteY644" fmla="*/ 1249244 h 3395062"/>
                    <a:gd name="connsiteX645" fmla="*/ 1016824 w 8264972"/>
                    <a:gd name="connsiteY645" fmla="*/ 1255836 h 3395062"/>
                    <a:gd name="connsiteX646" fmla="*/ 982189 w 8264972"/>
                    <a:gd name="connsiteY646" fmla="*/ 1283682 h 3395062"/>
                    <a:gd name="connsiteX647" fmla="*/ 955523 w 8264972"/>
                    <a:gd name="connsiteY647" fmla="*/ 1292636 h 3395062"/>
                    <a:gd name="connsiteX648" fmla="*/ 930924 w 8264972"/>
                    <a:gd name="connsiteY648" fmla="*/ 1327272 h 3395062"/>
                    <a:gd name="connsiteX649" fmla="*/ 888614 w 8264972"/>
                    <a:gd name="connsiteY649" fmla="*/ 1310840 h 3395062"/>
                    <a:gd name="connsiteX650" fmla="*/ 800353 w 8264972"/>
                    <a:gd name="connsiteY650" fmla="*/ 1301787 h 3395062"/>
                    <a:gd name="connsiteX651" fmla="*/ 817178 w 8264972"/>
                    <a:gd name="connsiteY651" fmla="*/ 1287815 h 3395062"/>
                    <a:gd name="connsiteX652" fmla="*/ 850240 w 8264972"/>
                    <a:gd name="connsiteY652" fmla="*/ 1292341 h 3395062"/>
                    <a:gd name="connsiteX653" fmla="*/ 898650 w 8264972"/>
                    <a:gd name="connsiteY653" fmla="*/ 1271481 h 3395062"/>
                    <a:gd name="connsiteX654" fmla="*/ 899634 w 8264972"/>
                    <a:gd name="connsiteY654" fmla="*/ 1255836 h 3395062"/>
                    <a:gd name="connsiteX655" fmla="*/ 918625 w 8264972"/>
                    <a:gd name="connsiteY655" fmla="*/ 1247866 h 3395062"/>
                    <a:gd name="connsiteX656" fmla="*/ 946077 w 8264972"/>
                    <a:gd name="connsiteY656" fmla="*/ 1213526 h 3395062"/>
                    <a:gd name="connsiteX657" fmla="*/ 964182 w 8264972"/>
                    <a:gd name="connsiteY657" fmla="*/ 1175545 h 3395062"/>
                    <a:gd name="connsiteX658" fmla="*/ 996751 w 8264972"/>
                    <a:gd name="connsiteY658" fmla="*/ 1153013 h 3395062"/>
                    <a:gd name="connsiteX659" fmla="*/ 992618 w 8264972"/>
                    <a:gd name="connsiteY659" fmla="*/ 1121428 h 3395062"/>
                    <a:gd name="connsiteX660" fmla="*/ 1013380 w 8264972"/>
                    <a:gd name="connsiteY660" fmla="*/ 1098895 h 3395062"/>
                    <a:gd name="connsiteX661" fmla="*/ 1015938 w 8264972"/>
                    <a:gd name="connsiteY661" fmla="*/ 1073607 h 3395062"/>
                    <a:gd name="connsiteX662" fmla="*/ 965264 w 8264972"/>
                    <a:gd name="connsiteY662" fmla="*/ 1041924 h 3395062"/>
                    <a:gd name="connsiteX663" fmla="*/ 957097 w 8264972"/>
                    <a:gd name="connsiteY663" fmla="*/ 1027066 h 3395062"/>
                    <a:gd name="connsiteX664" fmla="*/ 965264 w 8264972"/>
                    <a:gd name="connsiteY664" fmla="*/ 974227 h 3395062"/>
                    <a:gd name="connsiteX665" fmla="*/ 961427 w 8264972"/>
                    <a:gd name="connsiteY665" fmla="*/ 956319 h 3395062"/>
                    <a:gd name="connsiteX666" fmla="*/ 967134 w 8264972"/>
                    <a:gd name="connsiteY666" fmla="*/ 940182 h 3395062"/>
                    <a:gd name="connsiteX667" fmla="*/ 957491 w 8264972"/>
                    <a:gd name="connsiteY667" fmla="*/ 916862 h 3395062"/>
                    <a:gd name="connsiteX668" fmla="*/ 961624 w 8264972"/>
                    <a:gd name="connsiteY668" fmla="*/ 901316 h 3395062"/>
                    <a:gd name="connsiteX669" fmla="*/ 954736 w 8264972"/>
                    <a:gd name="connsiteY669" fmla="*/ 885572 h 3395062"/>
                    <a:gd name="connsiteX670" fmla="*/ 973923 w 8264972"/>
                    <a:gd name="connsiteY670" fmla="*/ 861662 h 3395062"/>
                    <a:gd name="connsiteX671" fmla="*/ 967921 w 8264972"/>
                    <a:gd name="connsiteY671" fmla="*/ 801837 h 3395062"/>
                    <a:gd name="connsiteX672" fmla="*/ 938107 w 8264972"/>
                    <a:gd name="connsiteY672" fmla="*/ 782749 h 3395062"/>
                    <a:gd name="connsiteX673" fmla="*/ 919707 w 8264972"/>
                    <a:gd name="connsiteY673" fmla="*/ 748704 h 3395062"/>
                    <a:gd name="connsiteX674" fmla="*/ 948340 w 8264972"/>
                    <a:gd name="connsiteY674" fmla="*/ 730008 h 3395062"/>
                    <a:gd name="connsiteX675" fmla="*/ 978252 w 8264972"/>
                    <a:gd name="connsiteY675" fmla="*/ 658770 h 3395062"/>
                    <a:gd name="connsiteX676" fmla="*/ 970873 w 8264972"/>
                    <a:gd name="connsiteY676" fmla="*/ 609375 h 3395062"/>
                    <a:gd name="connsiteX677" fmla="*/ 895305 w 8264972"/>
                    <a:gd name="connsiteY677" fmla="*/ 588121 h 3395062"/>
                    <a:gd name="connsiteX678" fmla="*/ 784117 w 8264972"/>
                    <a:gd name="connsiteY678" fmla="*/ 589794 h 3395062"/>
                    <a:gd name="connsiteX679" fmla="*/ 784117 w 8264972"/>
                    <a:gd name="connsiteY679" fmla="*/ 580643 h 3395062"/>
                    <a:gd name="connsiteX680" fmla="*/ 760896 w 8264972"/>
                    <a:gd name="connsiteY680" fmla="*/ 588810 h 3395062"/>
                    <a:gd name="connsiteX681" fmla="*/ 738068 w 8264972"/>
                    <a:gd name="connsiteY681" fmla="*/ 624331 h 3395062"/>
                    <a:gd name="connsiteX682" fmla="*/ 702252 w 8264972"/>
                    <a:gd name="connsiteY682" fmla="*/ 727253 h 3395062"/>
                    <a:gd name="connsiteX683" fmla="*/ 674504 w 8264972"/>
                    <a:gd name="connsiteY683" fmla="*/ 752344 h 3395062"/>
                    <a:gd name="connsiteX684" fmla="*/ 607005 w 8264972"/>
                    <a:gd name="connsiteY684" fmla="*/ 788062 h 3395062"/>
                    <a:gd name="connsiteX685" fmla="*/ 579060 w 8264972"/>
                    <a:gd name="connsiteY685" fmla="*/ 836866 h 3395062"/>
                    <a:gd name="connsiteX686" fmla="*/ 588408 w 8264972"/>
                    <a:gd name="connsiteY686" fmla="*/ 862351 h 3395062"/>
                    <a:gd name="connsiteX687" fmla="*/ 599428 w 8264972"/>
                    <a:gd name="connsiteY687" fmla="*/ 860678 h 3395062"/>
                    <a:gd name="connsiteX688" fmla="*/ 595886 w 8264972"/>
                    <a:gd name="connsiteY688" fmla="*/ 836768 h 3395062"/>
                    <a:gd name="connsiteX689" fmla="*/ 620091 w 8264972"/>
                    <a:gd name="connsiteY689" fmla="*/ 829880 h 3395062"/>
                    <a:gd name="connsiteX690" fmla="*/ 630128 w 8264972"/>
                    <a:gd name="connsiteY690" fmla="*/ 827715 h 3395062"/>
                    <a:gd name="connsiteX691" fmla="*/ 639475 w 8264972"/>
                    <a:gd name="connsiteY691" fmla="*/ 842869 h 3395062"/>
                    <a:gd name="connsiteX692" fmla="*/ 630325 w 8264972"/>
                    <a:gd name="connsiteY692" fmla="*/ 901316 h 3395062"/>
                    <a:gd name="connsiteX693" fmla="*/ 636228 w 8264972"/>
                    <a:gd name="connsiteY693" fmla="*/ 913320 h 3395062"/>
                    <a:gd name="connsiteX694" fmla="*/ 614483 w 8264972"/>
                    <a:gd name="connsiteY694" fmla="*/ 922274 h 3395062"/>
                    <a:gd name="connsiteX695" fmla="*/ 606217 w 8264972"/>
                    <a:gd name="connsiteY695" fmla="*/ 920503 h 3395062"/>
                    <a:gd name="connsiteX696" fmla="*/ 625208 w 8264972"/>
                    <a:gd name="connsiteY696" fmla="*/ 952285 h 3395062"/>
                    <a:gd name="connsiteX697" fmla="*/ 682179 w 8264972"/>
                    <a:gd name="connsiteY697" fmla="*/ 969898 h 3395062"/>
                    <a:gd name="connsiteX698" fmla="*/ 682868 w 8264972"/>
                    <a:gd name="connsiteY698" fmla="*/ 1000007 h 3395062"/>
                    <a:gd name="connsiteX699" fmla="*/ 726162 w 8264972"/>
                    <a:gd name="connsiteY699" fmla="*/ 1035921 h 3395062"/>
                    <a:gd name="connsiteX700" fmla="*/ 753319 w 8264972"/>
                    <a:gd name="connsiteY700" fmla="*/ 1036512 h 3395062"/>
                    <a:gd name="connsiteX701" fmla="*/ 695955 w 8264972"/>
                    <a:gd name="connsiteY701" fmla="*/ 1116803 h 3395062"/>
                    <a:gd name="connsiteX702" fmla="*/ 685524 w 8264972"/>
                    <a:gd name="connsiteY702" fmla="*/ 1105881 h 3395062"/>
                    <a:gd name="connsiteX703" fmla="*/ 686312 w 8264972"/>
                    <a:gd name="connsiteY703" fmla="*/ 1094172 h 3395062"/>
                    <a:gd name="connsiteX704" fmla="*/ 628553 w 8264972"/>
                    <a:gd name="connsiteY704" fmla="*/ 1054321 h 3395062"/>
                    <a:gd name="connsiteX705" fmla="*/ 632686 w 8264972"/>
                    <a:gd name="connsiteY705" fmla="*/ 1049008 h 3395062"/>
                    <a:gd name="connsiteX706" fmla="*/ 601691 w 8264972"/>
                    <a:gd name="connsiteY706" fmla="*/ 1041727 h 3395062"/>
                    <a:gd name="connsiteX707" fmla="*/ 571287 w 8264972"/>
                    <a:gd name="connsiteY707" fmla="*/ 1021654 h 3395062"/>
                    <a:gd name="connsiteX708" fmla="*/ 496801 w 8264972"/>
                    <a:gd name="connsiteY708" fmla="*/ 1004927 h 3395062"/>
                    <a:gd name="connsiteX709" fmla="*/ 487355 w 8264972"/>
                    <a:gd name="connsiteY709" fmla="*/ 1013389 h 3395062"/>
                    <a:gd name="connsiteX710" fmla="*/ 474564 w 8264972"/>
                    <a:gd name="connsiteY710" fmla="*/ 1011027 h 3395062"/>
                    <a:gd name="connsiteX711" fmla="*/ 474367 w 8264972"/>
                    <a:gd name="connsiteY711" fmla="*/ 1011322 h 3395062"/>
                    <a:gd name="connsiteX712" fmla="*/ 460985 w 8264972"/>
                    <a:gd name="connsiteY712" fmla="*/ 1053633 h 3395062"/>
                    <a:gd name="connsiteX713" fmla="*/ 508510 w 8264972"/>
                    <a:gd name="connsiteY713" fmla="*/ 1060225 h 3395062"/>
                    <a:gd name="connsiteX714" fmla="*/ 526517 w 8264972"/>
                    <a:gd name="connsiteY714" fmla="*/ 1085611 h 3395062"/>
                    <a:gd name="connsiteX715" fmla="*/ 503590 w 8264972"/>
                    <a:gd name="connsiteY715" fmla="*/ 1119263 h 3395062"/>
                    <a:gd name="connsiteX716" fmla="*/ 512643 w 8264972"/>
                    <a:gd name="connsiteY716" fmla="*/ 1152029 h 3395062"/>
                    <a:gd name="connsiteX717" fmla="*/ 547869 w 8264972"/>
                    <a:gd name="connsiteY717" fmla="*/ 1152029 h 3395062"/>
                    <a:gd name="connsiteX718" fmla="*/ 564301 w 8264972"/>
                    <a:gd name="connsiteY718" fmla="*/ 1175840 h 3395062"/>
                    <a:gd name="connsiteX719" fmla="*/ 541375 w 8264972"/>
                    <a:gd name="connsiteY719" fmla="*/ 1186467 h 3395062"/>
                    <a:gd name="connsiteX720" fmla="*/ 552887 w 8264972"/>
                    <a:gd name="connsiteY720" fmla="*/ 1198767 h 3395062"/>
                    <a:gd name="connsiteX721" fmla="*/ 499163 w 8264972"/>
                    <a:gd name="connsiteY721" fmla="*/ 1233599 h 3395062"/>
                    <a:gd name="connsiteX722" fmla="*/ 490504 w 8264972"/>
                    <a:gd name="connsiteY722" fmla="*/ 1264298 h 3395062"/>
                    <a:gd name="connsiteX723" fmla="*/ 379808 w 8264972"/>
                    <a:gd name="connsiteY723" fmla="*/ 1313496 h 3395062"/>
                    <a:gd name="connsiteX724" fmla="*/ 351470 w 8264972"/>
                    <a:gd name="connsiteY724" fmla="*/ 1365154 h 3395062"/>
                    <a:gd name="connsiteX725" fmla="*/ 288300 w 8264972"/>
                    <a:gd name="connsiteY725" fmla="*/ 1388966 h 3395062"/>
                    <a:gd name="connsiteX726" fmla="*/ 221489 w 8264972"/>
                    <a:gd name="connsiteY726" fmla="*/ 1457646 h 3395062"/>
                    <a:gd name="connsiteX727" fmla="*/ 189904 w 8264972"/>
                    <a:gd name="connsiteY727" fmla="*/ 1436295 h 3395062"/>
                    <a:gd name="connsiteX728" fmla="*/ 144445 w 8264972"/>
                    <a:gd name="connsiteY728" fmla="*/ 1491987 h 3395062"/>
                    <a:gd name="connsiteX729" fmla="*/ 167667 w 8264972"/>
                    <a:gd name="connsiteY729" fmla="*/ 1541185 h 3395062"/>
                    <a:gd name="connsiteX730" fmla="*/ 126439 w 8264972"/>
                    <a:gd name="connsiteY730" fmla="*/ 1638301 h 3395062"/>
                    <a:gd name="connsiteX731" fmla="*/ 152219 w 8264972"/>
                    <a:gd name="connsiteY731" fmla="*/ 1697339 h 3395062"/>
                    <a:gd name="connsiteX732" fmla="*/ 128800 w 8264972"/>
                    <a:gd name="connsiteY732" fmla="*/ 1788355 h 3395062"/>
                    <a:gd name="connsiteX733" fmla="*/ 143560 w 8264972"/>
                    <a:gd name="connsiteY733" fmla="*/ 1863333 h 3395062"/>
                    <a:gd name="connsiteX734" fmla="*/ 77142 w 8264972"/>
                    <a:gd name="connsiteY734" fmla="*/ 1967829 h 3395062"/>
                    <a:gd name="connsiteX735" fmla="*/ 123880 w 8264972"/>
                    <a:gd name="connsiteY735" fmla="*/ 2005122 h 3395062"/>
                    <a:gd name="connsiteX736" fmla="*/ 122700 w 8264972"/>
                    <a:gd name="connsiteY736" fmla="*/ 2037002 h 3395062"/>
                    <a:gd name="connsiteX737" fmla="*/ 145528 w 8264972"/>
                    <a:gd name="connsiteY737" fmla="*/ 2054123 h 3395062"/>
                    <a:gd name="connsiteX738" fmla="*/ 131851 w 8264972"/>
                    <a:gd name="connsiteY738" fmla="*/ 2090529 h 3395062"/>
                    <a:gd name="connsiteX739" fmla="*/ 106760 w 8264972"/>
                    <a:gd name="connsiteY739" fmla="*/ 2090529 h 3395062"/>
                    <a:gd name="connsiteX740" fmla="*/ 93082 w 8264972"/>
                    <a:gd name="connsiteY740" fmla="*/ 2108733 h 3395062"/>
                    <a:gd name="connsiteX741" fmla="*/ 107842 w 8264972"/>
                    <a:gd name="connsiteY741" fmla="*/ 2134906 h 3395062"/>
                    <a:gd name="connsiteX742" fmla="*/ 90721 w 8264972"/>
                    <a:gd name="connsiteY742" fmla="*/ 2156553 h 3395062"/>
                    <a:gd name="connsiteX743" fmla="*/ 54315 w 8264972"/>
                    <a:gd name="connsiteY743" fmla="*/ 2147402 h 3395062"/>
                    <a:gd name="connsiteX744" fmla="*/ 62285 w 8264972"/>
                    <a:gd name="connsiteY744" fmla="*/ 2204373 h 3395062"/>
                    <a:gd name="connsiteX745" fmla="*/ 4231 w 8264972"/>
                    <a:gd name="connsiteY745" fmla="*/ 2223758 h 3395062"/>
                    <a:gd name="connsiteX746" fmla="*/ 24697 w 8264972"/>
                    <a:gd name="connsiteY746" fmla="*/ 2277285 h 3395062"/>
                    <a:gd name="connsiteX747" fmla="*/ 131752 w 8264972"/>
                    <a:gd name="connsiteY747" fmla="*/ 2280729 h 3395062"/>
                    <a:gd name="connsiteX748" fmla="*/ 154186 w 8264972"/>
                    <a:gd name="connsiteY748" fmla="*/ 2328648 h 3395062"/>
                    <a:gd name="connsiteX749" fmla="*/ 68877 w 8264972"/>
                    <a:gd name="connsiteY749" fmla="*/ 2386012 h 3395062"/>
                    <a:gd name="connsiteX750" fmla="*/ 52445 w 8264972"/>
                    <a:gd name="connsiteY750" fmla="*/ 2344981 h 3395062"/>
                    <a:gd name="connsiteX751" fmla="*/ 0 w 8264972"/>
                    <a:gd name="connsiteY751" fmla="*/ 2377747 h 3395062"/>
                    <a:gd name="connsiteX752" fmla="*/ 50871 w 8264972"/>
                    <a:gd name="connsiteY752" fmla="*/ 2436785 h 3395062"/>
                    <a:gd name="connsiteX753" fmla="*/ 170619 w 8264972"/>
                    <a:gd name="connsiteY753" fmla="*/ 2390834 h 3395062"/>
                    <a:gd name="connsiteX754" fmla="*/ 160779 w 8264972"/>
                    <a:gd name="connsiteY754" fmla="*/ 2459711 h 3395062"/>
                    <a:gd name="connsiteX755" fmla="*/ 109908 w 8264972"/>
                    <a:gd name="connsiteY755" fmla="*/ 2482637 h 3395062"/>
                    <a:gd name="connsiteX756" fmla="*/ 96822 w 8264972"/>
                    <a:gd name="connsiteY756" fmla="*/ 2594120 h 3395062"/>
                    <a:gd name="connsiteX757" fmla="*/ 124668 w 8264972"/>
                    <a:gd name="connsiteY757" fmla="*/ 2617046 h 3395062"/>
                    <a:gd name="connsiteX758" fmla="*/ 146020 w 8264972"/>
                    <a:gd name="connsiteY758" fmla="*/ 2587527 h 3395062"/>
                    <a:gd name="connsiteX759" fmla="*/ 196890 w 8264972"/>
                    <a:gd name="connsiteY759" fmla="*/ 2600614 h 3395062"/>
                    <a:gd name="connsiteX760" fmla="*/ 177211 w 8264972"/>
                    <a:gd name="connsiteY760" fmla="*/ 2639972 h 3395062"/>
                    <a:gd name="connsiteX761" fmla="*/ 202007 w 8264972"/>
                    <a:gd name="connsiteY761" fmla="*/ 2653157 h 3395062"/>
                    <a:gd name="connsiteX762" fmla="*/ 243235 w 8264972"/>
                    <a:gd name="connsiteY762" fmla="*/ 2618227 h 3395062"/>
                    <a:gd name="connsiteX763" fmla="*/ 230935 w 8264972"/>
                    <a:gd name="connsiteY763" fmla="*/ 2580049 h 3395062"/>
                    <a:gd name="connsiteX764" fmla="*/ 259273 w 8264972"/>
                    <a:gd name="connsiteY764" fmla="*/ 2555450 h 3395062"/>
                    <a:gd name="connsiteX765" fmla="*/ 312210 w 8264972"/>
                    <a:gd name="connsiteY765" fmla="*/ 2569029 h 3395062"/>
                    <a:gd name="connsiteX766" fmla="*/ 312210 w 8264972"/>
                    <a:gd name="connsiteY766" fmla="*/ 2535771 h 3395062"/>
                    <a:gd name="connsiteX767" fmla="*/ 255633 w 8264972"/>
                    <a:gd name="connsiteY767" fmla="*/ 2518552 h 3395062"/>
                    <a:gd name="connsiteX768" fmla="*/ 256322 w 8264972"/>
                    <a:gd name="connsiteY768" fmla="*/ 2465615 h 3395062"/>
                    <a:gd name="connsiteX769" fmla="*/ 357669 w 8264972"/>
                    <a:gd name="connsiteY769" fmla="*/ 2465615 h 3395062"/>
                    <a:gd name="connsiteX770" fmla="*/ 687296 w 8264972"/>
                    <a:gd name="connsiteY770" fmla="*/ 2389358 h 3395062"/>
                    <a:gd name="connsiteX771" fmla="*/ 727835 w 8264972"/>
                    <a:gd name="connsiteY771" fmla="*/ 2347933 h 3395062"/>
                    <a:gd name="connsiteX772" fmla="*/ 853290 w 8264972"/>
                    <a:gd name="connsiteY772" fmla="*/ 2361118 h 3395062"/>
                    <a:gd name="connsiteX773" fmla="*/ 871788 w 8264972"/>
                    <a:gd name="connsiteY773" fmla="*/ 2457054 h 3395062"/>
                    <a:gd name="connsiteX774" fmla="*/ 1031091 w 8264972"/>
                    <a:gd name="connsiteY774" fmla="*/ 2458235 h 3395062"/>
                    <a:gd name="connsiteX775" fmla="*/ 988584 w 8264972"/>
                    <a:gd name="connsiteY775" fmla="*/ 2509893 h 3395062"/>
                    <a:gd name="connsiteX776" fmla="*/ 1024204 w 8264972"/>
                    <a:gd name="connsiteY776" fmla="*/ 2518552 h 3395062"/>
                    <a:gd name="connsiteX777" fmla="*/ 1225325 w 8264972"/>
                    <a:gd name="connsiteY777" fmla="*/ 2426256 h 3395062"/>
                    <a:gd name="connsiteX778" fmla="*/ 1225325 w 8264972"/>
                    <a:gd name="connsiteY778" fmla="*/ 2456365 h 3395062"/>
                    <a:gd name="connsiteX779" fmla="*/ 1201907 w 8264972"/>
                    <a:gd name="connsiteY779" fmla="*/ 2467386 h 3395062"/>
                    <a:gd name="connsiteX780" fmla="*/ 1290463 w 8264972"/>
                    <a:gd name="connsiteY780" fmla="*/ 2533803 h 3395062"/>
                    <a:gd name="connsiteX781" fmla="*/ 1348123 w 8264972"/>
                    <a:gd name="connsiteY781" fmla="*/ 2614685 h 3395062"/>
                    <a:gd name="connsiteX782" fmla="*/ 1420936 w 8264972"/>
                    <a:gd name="connsiteY782" fmla="*/ 2743387 h 3395062"/>
                    <a:gd name="connsiteX783" fmla="*/ 1449766 w 8264972"/>
                    <a:gd name="connsiteY783" fmla="*/ 2727643 h 3395062"/>
                    <a:gd name="connsiteX784" fmla="*/ 1449766 w 8264972"/>
                    <a:gd name="connsiteY784" fmla="*/ 2696255 h 3395062"/>
                    <a:gd name="connsiteX785" fmla="*/ 1492470 w 8264972"/>
                    <a:gd name="connsiteY785" fmla="*/ 2706291 h 3395062"/>
                    <a:gd name="connsiteX786" fmla="*/ 1489911 w 8264972"/>
                    <a:gd name="connsiteY786" fmla="*/ 2722625 h 3395062"/>
                    <a:gd name="connsiteX787" fmla="*/ 1513723 w 8264972"/>
                    <a:gd name="connsiteY787" fmla="*/ 2728233 h 3395062"/>
                    <a:gd name="connsiteX788" fmla="*/ 1513723 w 8264972"/>
                    <a:gd name="connsiteY788" fmla="*/ 2747716 h 3395062"/>
                    <a:gd name="connsiteX789" fmla="*/ 1585257 w 8264972"/>
                    <a:gd name="connsiteY789" fmla="*/ 2743977 h 3395062"/>
                    <a:gd name="connsiteX790" fmla="*/ 1618515 w 8264972"/>
                    <a:gd name="connsiteY790" fmla="*/ 2719476 h 3395062"/>
                    <a:gd name="connsiteX791" fmla="*/ 1676864 w 8264972"/>
                    <a:gd name="connsiteY791" fmla="*/ 2747716 h 3395062"/>
                    <a:gd name="connsiteX792" fmla="*/ 1684440 w 8264972"/>
                    <a:gd name="connsiteY792" fmla="*/ 2784123 h 3395062"/>
                    <a:gd name="connsiteX793" fmla="*/ 1728423 w 8264972"/>
                    <a:gd name="connsiteY793" fmla="*/ 2795438 h 3395062"/>
                    <a:gd name="connsiteX794" fmla="*/ 1744757 w 8264972"/>
                    <a:gd name="connsiteY794" fmla="*/ 2836863 h 3395062"/>
                    <a:gd name="connsiteX795" fmla="*/ 1801827 w 8264972"/>
                    <a:gd name="connsiteY795" fmla="*/ 2841783 h 3395062"/>
                    <a:gd name="connsiteX796" fmla="*/ 1830165 w 8264972"/>
                    <a:gd name="connsiteY796" fmla="*/ 2815609 h 3395062"/>
                    <a:gd name="connsiteX797" fmla="*/ 1849254 w 8264972"/>
                    <a:gd name="connsiteY797" fmla="*/ 2824071 h 3395062"/>
                    <a:gd name="connsiteX798" fmla="*/ 1835773 w 8264972"/>
                    <a:gd name="connsiteY798" fmla="*/ 2841783 h 3395062"/>
                    <a:gd name="connsiteX799" fmla="*/ 1877592 w 8264972"/>
                    <a:gd name="connsiteY799" fmla="*/ 2876516 h 3395062"/>
                    <a:gd name="connsiteX800" fmla="*/ 1930726 w 8264972"/>
                    <a:gd name="connsiteY800" fmla="*/ 2866578 h 3395062"/>
                    <a:gd name="connsiteX801" fmla="*/ 1926495 w 8264972"/>
                    <a:gd name="connsiteY801" fmla="*/ 2846013 h 3395062"/>
                    <a:gd name="connsiteX802" fmla="*/ 1981793 w 8264972"/>
                    <a:gd name="connsiteY802" fmla="*/ 2846702 h 3395062"/>
                    <a:gd name="connsiteX803" fmla="*/ 2017904 w 8264972"/>
                    <a:gd name="connsiteY803" fmla="*/ 2826138 h 3395062"/>
                    <a:gd name="connsiteX804" fmla="*/ 2014362 w 8264972"/>
                    <a:gd name="connsiteY804" fmla="*/ 2807738 h 3395062"/>
                    <a:gd name="connsiteX805" fmla="*/ 2183702 w 8264972"/>
                    <a:gd name="connsiteY805" fmla="*/ 2732661 h 3395062"/>
                    <a:gd name="connsiteX806" fmla="*/ 2201905 w 8264972"/>
                    <a:gd name="connsiteY806" fmla="*/ 2742206 h 3395062"/>
                    <a:gd name="connsiteX807" fmla="*/ 2219911 w 8264972"/>
                    <a:gd name="connsiteY807" fmla="*/ 2734039 h 3395062"/>
                    <a:gd name="connsiteX808" fmla="*/ 2234277 w 8264972"/>
                    <a:gd name="connsiteY808" fmla="*/ 2753029 h 3395062"/>
                    <a:gd name="connsiteX809" fmla="*/ 2306008 w 8264972"/>
                    <a:gd name="connsiteY809" fmla="*/ 2757359 h 3395062"/>
                    <a:gd name="connsiteX810" fmla="*/ 2310140 w 8264972"/>
                    <a:gd name="connsiteY810" fmla="*/ 2785697 h 3395062"/>
                    <a:gd name="connsiteX811" fmla="*/ 2328147 w 8264972"/>
                    <a:gd name="connsiteY811" fmla="*/ 2801637 h 3395062"/>
                    <a:gd name="connsiteX812" fmla="*/ 2466688 w 8264972"/>
                    <a:gd name="connsiteY812" fmla="*/ 2812264 h 3395062"/>
                    <a:gd name="connsiteX813" fmla="*/ 2497388 w 8264972"/>
                    <a:gd name="connsiteY813" fmla="*/ 2828204 h 3395062"/>
                    <a:gd name="connsiteX814" fmla="*/ 2517067 w 8264972"/>
                    <a:gd name="connsiteY814" fmla="*/ 2803900 h 3395062"/>
                    <a:gd name="connsiteX815" fmla="*/ 2545995 w 8264972"/>
                    <a:gd name="connsiteY815" fmla="*/ 2803900 h 3395062"/>
                    <a:gd name="connsiteX816" fmla="*/ 2555835 w 8264972"/>
                    <a:gd name="connsiteY816" fmla="*/ 2763066 h 3395062"/>
                    <a:gd name="connsiteX817" fmla="*/ 2538616 w 8264972"/>
                    <a:gd name="connsiteY817" fmla="*/ 2752931 h 3395062"/>
                    <a:gd name="connsiteX818" fmla="*/ 2526316 w 8264972"/>
                    <a:gd name="connsiteY818" fmla="*/ 2716918 h 3395062"/>
                    <a:gd name="connsiteX819" fmla="*/ 2550325 w 8264972"/>
                    <a:gd name="connsiteY819" fmla="*/ 2666539 h 3395062"/>
                    <a:gd name="connsiteX820" fmla="*/ 2579844 w 8264972"/>
                    <a:gd name="connsiteY820" fmla="*/ 2656700 h 3395062"/>
                    <a:gd name="connsiteX821" fmla="*/ 2589683 w 8264972"/>
                    <a:gd name="connsiteY821" fmla="*/ 2628362 h 3395062"/>
                    <a:gd name="connsiteX822" fmla="*/ 2792084 w 8264972"/>
                    <a:gd name="connsiteY822" fmla="*/ 2689170 h 3395062"/>
                    <a:gd name="connsiteX823" fmla="*/ 2810976 w 8264972"/>
                    <a:gd name="connsiteY823" fmla="*/ 2767100 h 3395062"/>
                    <a:gd name="connsiteX824" fmla="*/ 2916653 w 8264972"/>
                    <a:gd name="connsiteY824" fmla="*/ 2791896 h 3395062"/>
                    <a:gd name="connsiteX825" fmla="*/ 2985826 w 8264972"/>
                    <a:gd name="connsiteY825" fmla="*/ 2766411 h 3395062"/>
                    <a:gd name="connsiteX826" fmla="*/ 3079794 w 8264972"/>
                    <a:gd name="connsiteY826" fmla="*/ 2774381 h 3395062"/>
                    <a:gd name="connsiteX827" fmla="*/ 3103113 w 8264972"/>
                    <a:gd name="connsiteY827" fmla="*/ 2799177 h 3395062"/>
                    <a:gd name="connsiteX828" fmla="*/ 3154082 w 8264972"/>
                    <a:gd name="connsiteY828" fmla="*/ 2807147 h 3395062"/>
                    <a:gd name="connsiteX829" fmla="*/ 3178681 w 8264972"/>
                    <a:gd name="connsiteY829" fmla="*/ 2848769 h 3395062"/>
                    <a:gd name="connsiteX830" fmla="*/ 3259071 w 8264972"/>
                    <a:gd name="connsiteY830" fmla="*/ 2853196 h 3395062"/>
                    <a:gd name="connsiteX831" fmla="*/ 3328735 w 8264972"/>
                    <a:gd name="connsiteY831" fmla="*/ 2876418 h 3395062"/>
                    <a:gd name="connsiteX832" fmla="*/ 3424671 w 8264972"/>
                    <a:gd name="connsiteY832" fmla="*/ 2839716 h 3395062"/>
                    <a:gd name="connsiteX833" fmla="*/ 3468162 w 8264972"/>
                    <a:gd name="connsiteY833" fmla="*/ 2842176 h 3395062"/>
                    <a:gd name="connsiteX834" fmla="*/ 3487055 w 8264972"/>
                    <a:gd name="connsiteY834" fmla="*/ 2809410 h 3395062"/>
                    <a:gd name="connsiteX835" fmla="*/ 3562524 w 8264972"/>
                    <a:gd name="connsiteY835" fmla="*/ 2779104 h 3395062"/>
                    <a:gd name="connsiteX836" fmla="*/ 3628941 w 8264972"/>
                    <a:gd name="connsiteY836" fmla="*/ 2812756 h 3395062"/>
                    <a:gd name="connsiteX837" fmla="*/ 3658460 w 8264972"/>
                    <a:gd name="connsiteY837" fmla="*/ 2797209 h 3395062"/>
                    <a:gd name="connsiteX838" fmla="*/ 3768368 w 8264972"/>
                    <a:gd name="connsiteY838" fmla="*/ 2843947 h 3395062"/>
                    <a:gd name="connsiteX839" fmla="*/ 3814320 w 8264972"/>
                    <a:gd name="connsiteY839" fmla="*/ 2805376 h 3395062"/>
                    <a:gd name="connsiteX840" fmla="*/ 3864304 w 8264972"/>
                    <a:gd name="connsiteY840" fmla="*/ 2794749 h 3395062"/>
                    <a:gd name="connsiteX841" fmla="*/ 3870011 w 8264972"/>
                    <a:gd name="connsiteY841" fmla="*/ 2775857 h 3395062"/>
                    <a:gd name="connsiteX842" fmla="*/ 3847872 w 8264972"/>
                    <a:gd name="connsiteY842" fmla="*/ 2768477 h 3395062"/>
                    <a:gd name="connsiteX843" fmla="*/ 3910157 w 8264972"/>
                    <a:gd name="connsiteY843" fmla="*/ 2661029 h 3395062"/>
                    <a:gd name="connsiteX844" fmla="*/ 3947842 w 8264972"/>
                    <a:gd name="connsiteY844" fmla="*/ 2641350 h 3395062"/>
                    <a:gd name="connsiteX845" fmla="*/ 3944596 w 8264972"/>
                    <a:gd name="connsiteY845" fmla="*/ 2592152 h 3395062"/>
                    <a:gd name="connsiteX846" fmla="*/ 3929049 w 8264972"/>
                    <a:gd name="connsiteY846" fmla="*/ 2587232 h 3395062"/>
                    <a:gd name="connsiteX847" fmla="*/ 3900318 w 8264972"/>
                    <a:gd name="connsiteY847" fmla="*/ 2597859 h 3395062"/>
                    <a:gd name="connsiteX848" fmla="*/ 3899530 w 8264972"/>
                    <a:gd name="connsiteY848" fmla="*/ 2573260 h 3395062"/>
                    <a:gd name="connsiteX849" fmla="*/ 3947941 w 8264972"/>
                    <a:gd name="connsiteY849" fmla="*/ 2529769 h 3395062"/>
                    <a:gd name="connsiteX850" fmla="*/ 4132138 w 8264972"/>
                    <a:gd name="connsiteY850" fmla="*/ 2509696 h 3395062"/>
                    <a:gd name="connsiteX851" fmla="*/ 4189798 w 8264972"/>
                    <a:gd name="connsiteY851" fmla="*/ 2543741 h 3395062"/>
                    <a:gd name="connsiteX852" fmla="*/ 4220105 w 8264972"/>
                    <a:gd name="connsiteY852" fmla="*/ 2538821 h 3395062"/>
                    <a:gd name="connsiteX853" fmla="*/ 4276682 w 8264972"/>
                    <a:gd name="connsiteY853" fmla="*/ 2576507 h 3395062"/>
                    <a:gd name="connsiteX854" fmla="*/ 4366616 w 8264972"/>
                    <a:gd name="connsiteY854" fmla="*/ 2779006 h 3395062"/>
                    <a:gd name="connsiteX855" fmla="*/ 4361991 w 8264972"/>
                    <a:gd name="connsiteY855" fmla="*/ 2820824 h 3395062"/>
                    <a:gd name="connsiteX856" fmla="*/ 4398890 w 8264972"/>
                    <a:gd name="connsiteY856" fmla="*/ 2842176 h 3395062"/>
                    <a:gd name="connsiteX857" fmla="*/ 4440118 w 8264972"/>
                    <a:gd name="connsiteY857" fmla="*/ 2834993 h 3395062"/>
                    <a:gd name="connsiteX858" fmla="*/ 4466586 w 8264972"/>
                    <a:gd name="connsiteY858" fmla="*/ 2857132 h 3395062"/>
                    <a:gd name="connsiteX859" fmla="*/ 4496695 w 8264972"/>
                    <a:gd name="connsiteY859" fmla="*/ 2857723 h 3395062"/>
                    <a:gd name="connsiteX860" fmla="*/ 4531724 w 8264972"/>
                    <a:gd name="connsiteY860" fmla="*/ 2891571 h 3395062"/>
                    <a:gd name="connsiteX861" fmla="*/ 4562424 w 8264972"/>
                    <a:gd name="connsiteY861" fmla="*/ 2893440 h 3395062"/>
                    <a:gd name="connsiteX862" fmla="*/ 4554454 w 8264972"/>
                    <a:gd name="connsiteY862" fmla="*/ 2918039 h 3395062"/>
                    <a:gd name="connsiteX863" fmla="*/ 4571673 w 8264972"/>
                    <a:gd name="connsiteY863" fmla="*/ 2938309 h 3395062"/>
                    <a:gd name="connsiteX864" fmla="*/ 4561834 w 8264972"/>
                    <a:gd name="connsiteY864" fmla="*/ 2960448 h 3395062"/>
                    <a:gd name="connsiteX865" fmla="*/ 4582693 w 8264972"/>
                    <a:gd name="connsiteY865" fmla="*/ 2989967 h 3395062"/>
                    <a:gd name="connsiteX866" fmla="*/ 4678039 w 8264972"/>
                    <a:gd name="connsiteY866" fmla="*/ 2986917 h 3395062"/>
                    <a:gd name="connsiteX867" fmla="*/ 4687879 w 8264972"/>
                    <a:gd name="connsiteY867" fmla="*/ 2966647 h 3395062"/>
                    <a:gd name="connsiteX868" fmla="*/ 4738946 w 8264972"/>
                    <a:gd name="connsiteY868" fmla="*/ 2956807 h 3395062"/>
                    <a:gd name="connsiteX869" fmla="*/ 4767875 w 8264972"/>
                    <a:gd name="connsiteY869" fmla="*/ 2936538 h 3395062"/>
                    <a:gd name="connsiteX870" fmla="*/ 4813334 w 8264972"/>
                    <a:gd name="connsiteY870" fmla="*/ 2937128 h 3395062"/>
                    <a:gd name="connsiteX871" fmla="*/ 4802904 w 8264972"/>
                    <a:gd name="connsiteY871" fmla="*/ 2964777 h 3395062"/>
                    <a:gd name="connsiteX872" fmla="*/ 4816777 w 8264972"/>
                    <a:gd name="connsiteY872" fmla="*/ 2987507 h 3395062"/>
                    <a:gd name="connsiteX873" fmla="*/ 4803592 w 8264972"/>
                    <a:gd name="connsiteY873" fmla="*/ 3009056 h 3395062"/>
                    <a:gd name="connsiteX874" fmla="*/ 4778993 w 8264972"/>
                    <a:gd name="connsiteY874" fmla="*/ 3015845 h 3395062"/>
                    <a:gd name="connsiteX875" fmla="*/ 4735896 w 8264972"/>
                    <a:gd name="connsiteY875" fmla="*/ 3151139 h 3395062"/>
                    <a:gd name="connsiteX876" fmla="*/ 4718677 w 8264972"/>
                    <a:gd name="connsiteY876" fmla="*/ 3157929 h 3395062"/>
                    <a:gd name="connsiteX877" fmla="*/ 4713757 w 8264972"/>
                    <a:gd name="connsiteY877" fmla="*/ 3194237 h 3395062"/>
                    <a:gd name="connsiteX878" fmla="*/ 4694471 w 8264972"/>
                    <a:gd name="connsiteY878" fmla="*/ 3194237 h 3395062"/>
                    <a:gd name="connsiteX879" fmla="*/ 4674989 w 8264972"/>
                    <a:gd name="connsiteY879" fmla="*/ 3227495 h 3395062"/>
                    <a:gd name="connsiteX880" fmla="*/ 4667314 w 8264972"/>
                    <a:gd name="connsiteY880" fmla="*/ 3229463 h 3395062"/>
                    <a:gd name="connsiteX881" fmla="*/ 4652062 w 8264972"/>
                    <a:gd name="connsiteY881" fmla="*/ 3220508 h 3395062"/>
                    <a:gd name="connsiteX882" fmla="*/ 4648914 w 8264972"/>
                    <a:gd name="connsiteY882" fmla="*/ 3212342 h 3395062"/>
                    <a:gd name="connsiteX883" fmla="*/ 4651768 w 8264972"/>
                    <a:gd name="connsiteY883" fmla="*/ 3203289 h 3395062"/>
                    <a:gd name="connsiteX884" fmla="*/ 4651768 w 8264972"/>
                    <a:gd name="connsiteY884" fmla="*/ 3192663 h 3395062"/>
                    <a:gd name="connsiteX885" fmla="*/ 4647143 w 8264972"/>
                    <a:gd name="connsiteY885" fmla="*/ 3178395 h 3395062"/>
                    <a:gd name="connsiteX886" fmla="*/ 4647143 w 8264972"/>
                    <a:gd name="connsiteY886" fmla="*/ 3178395 h 3395062"/>
                    <a:gd name="connsiteX887" fmla="*/ 4625201 w 8264972"/>
                    <a:gd name="connsiteY887" fmla="*/ 3180953 h 3395062"/>
                    <a:gd name="connsiteX888" fmla="*/ 4621560 w 8264972"/>
                    <a:gd name="connsiteY888" fmla="*/ 3194237 h 3395062"/>
                    <a:gd name="connsiteX889" fmla="*/ 4582595 w 8264972"/>
                    <a:gd name="connsiteY889" fmla="*/ 3208209 h 3395062"/>
                    <a:gd name="connsiteX890" fmla="*/ 4599814 w 8264972"/>
                    <a:gd name="connsiteY890" fmla="*/ 3266164 h 3395062"/>
                    <a:gd name="connsiteX891" fmla="*/ 4587023 w 8264972"/>
                    <a:gd name="connsiteY891" fmla="*/ 3339863 h 3395062"/>
                    <a:gd name="connsiteX892" fmla="*/ 4531724 w 8264972"/>
                    <a:gd name="connsiteY892" fmla="*/ 3366036 h 3395062"/>
                    <a:gd name="connsiteX893" fmla="*/ 4564490 w 8264972"/>
                    <a:gd name="connsiteY893" fmla="*/ 3395063 h 3395062"/>
                    <a:gd name="connsiteX894" fmla="*/ 4568229 w 8264972"/>
                    <a:gd name="connsiteY894" fmla="*/ 3379221 h 3395062"/>
                    <a:gd name="connsiteX895" fmla="*/ 3263007 w 8264972"/>
                    <a:gd name="connsiteY895" fmla="*/ 2392703 h 3395062"/>
                    <a:gd name="connsiteX896" fmla="*/ 3259465 w 8264972"/>
                    <a:gd name="connsiteY896" fmla="*/ 2403133 h 3395062"/>
                    <a:gd name="connsiteX897" fmla="*/ 3249428 w 8264972"/>
                    <a:gd name="connsiteY897" fmla="*/ 2421041 h 3395062"/>
                    <a:gd name="connsiteX898" fmla="*/ 3247460 w 8264972"/>
                    <a:gd name="connsiteY898" fmla="*/ 2431471 h 3395062"/>
                    <a:gd name="connsiteX899" fmla="*/ 3251298 w 8264972"/>
                    <a:gd name="connsiteY899" fmla="*/ 2460400 h 3395062"/>
                    <a:gd name="connsiteX900" fmla="*/ 3249231 w 8264972"/>
                    <a:gd name="connsiteY900" fmla="*/ 2470731 h 3395062"/>
                    <a:gd name="connsiteX901" fmla="*/ 3232701 w 8264972"/>
                    <a:gd name="connsiteY901" fmla="*/ 2498873 h 3395062"/>
                    <a:gd name="connsiteX902" fmla="*/ 3224829 w 8264972"/>
                    <a:gd name="connsiteY902" fmla="*/ 2501332 h 3395062"/>
                    <a:gd name="connsiteX903" fmla="*/ 3213612 w 8264972"/>
                    <a:gd name="connsiteY903" fmla="*/ 2496216 h 3395062"/>
                    <a:gd name="connsiteX904" fmla="*/ 3205150 w 8264972"/>
                    <a:gd name="connsiteY904" fmla="*/ 2498282 h 3395062"/>
                    <a:gd name="connsiteX905" fmla="*/ 3194818 w 8264972"/>
                    <a:gd name="connsiteY905" fmla="*/ 2511566 h 3395062"/>
                    <a:gd name="connsiteX906" fmla="*/ 3196885 w 8264972"/>
                    <a:gd name="connsiteY906" fmla="*/ 2516977 h 3395062"/>
                    <a:gd name="connsiteX907" fmla="*/ 3212136 w 8264972"/>
                    <a:gd name="connsiteY907" fmla="*/ 2519831 h 3395062"/>
                    <a:gd name="connsiteX908" fmla="*/ 3213317 w 8264972"/>
                    <a:gd name="connsiteY908" fmla="*/ 2524357 h 3395062"/>
                    <a:gd name="connsiteX909" fmla="*/ 3143259 w 8264972"/>
                    <a:gd name="connsiteY909" fmla="*/ 2580541 h 3395062"/>
                    <a:gd name="connsiteX910" fmla="*/ 3133616 w 8264972"/>
                    <a:gd name="connsiteY910" fmla="*/ 2585953 h 3395062"/>
                    <a:gd name="connsiteX911" fmla="*/ 3060508 w 8264972"/>
                    <a:gd name="connsiteY911" fmla="*/ 2612520 h 3395062"/>
                    <a:gd name="connsiteX912" fmla="*/ 3052833 w 8264972"/>
                    <a:gd name="connsiteY912" fmla="*/ 2619506 h 3395062"/>
                    <a:gd name="connsiteX913" fmla="*/ 3033055 w 8264972"/>
                    <a:gd name="connsiteY913" fmla="*/ 2661128 h 3395062"/>
                    <a:gd name="connsiteX914" fmla="*/ 3025282 w 8264972"/>
                    <a:gd name="connsiteY914" fmla="*/ 2667622 h 3395062"/>
                    <a:gd name="connsiteX915" fmla="*/ 2961423 w 8264972"/>
                    <a:gd name="connsiteY915" fmla="*/ 2685136 h 3395062"/>
                    <a:gd name="connsiteX916" fmla="*/ 2950796 w 8264972"/>
                    <a:gd name="connsiteY916" fmla="*/ 2684546 h 3395062"/>
                    <a:gd name="connsiteX917" fmla="*/ 2900516 w 8264972"/>
                    <a:gd name="connsiteY917" fmla="*/ 2664866 h 3395062"/>
                    <a:gd name="connsiteX918" fmla="*/ 2900713 w 8264972"/>
                    <a:gd name="connsiteY918" fmla="*/ 2661324 h 3395062"/>
                    <a:gd name="connsiteX919" fmla="*/ 2986711 w 8264972"/>
                    <a:gd name="connsiteY919" fmla="*/ 2637316 h 3395062"/>
                    <a:gd name="connsiteX920" fmla="*/ 2995763 w 8264972"/>
                    <a:gd name="connsiteY920" fmla="*/ 2631609 h 3395062"/>
                    <a:gd name="connsiteX921" fmla="*/ 3021937 w 8264972"/>
                    <a:gd name="connsiteY921" fmla="*/ 2602188 h 3395062"/>
                    <a:gd name="connsiteX922" fmla="*/ 3030596 w 8264972"/>
                    <a:gd name="connsiteY922" fmla="*/ 2595497 h 3395062"/>
                    <a:gd name="connsiteX923" fmla="*/ 3114921 w 8264972"/>
                    <a:gd name="connsiteY923" fmla="*/ 2553679 h 3395062"/>
                    <a:gd name="connsiteX924" fmla="*/ 3114527 w 8264972"/>
                    <a:gd name="connsiteY924" fmla="*/ 2549940 h 3395062"/>
                    <a:gd name="connsiteX925" fmla="*/ 3096718 w 8264972"/>
                    <a:gd name="connsiteY925" fmla="*/ 2545906 h 3395062"/>
                    <a:gd name="connsiteX926" fmla="*/ 3095635 w 8264972"/>
                    <a:gd name="connsiteY926" fmla="*/ 2541183 h 3395062"/>
                    <a:gd name="connsiteX927" fmla="*/ 3159986 w 8264972"/>
                    <a:gd name="connsiteY927" fmla="*/ 2489131 h 3395062"/>
                    <a:gd name="connsiteX928" fmla="*/ 3167071 w 8264972"/>
                    <a:gd name="connsiteY928" fmla="*/ 2480768 h 3395062"/>
                    <a:gd name="connsiteX929" fmla="*/ 3223058 w 8264972"/>
                    <a:gd name="connsiteY929" fmla="*/ 2382273 h 3395062"/>
                    <a:gd name="connsiteX930" fmla="*/ 3226404 w 8264972"/>
                    <a:gd name="connsiteY930" fmla="*/ 2371843 h 3395062"/>
                    <a:gd name="connsiteX931" fmla="*/ 3229356 w 8264972"/>
                    <a:gd name="connsiteY931" fmla="*/ 2344391 h 3395062"/>
                    <a:gd name="connsiteX932" fmla="*/ 3234964 w 8264972"/>
                    <a:gd name="connsiteY932" fmla="*/ 2336421 h 3395062"/>
                    <a:gd name="connsiteX933" fmla="*/ 3269206 w 8264972"/>
                    <a:gd name="connsiteY933" fmla="*/ 2319989 h 3395062"/>
                    <a:gd name="connsiteX934" fmla="*/ 3273437 w 8264972"/>
                    <a:gd name="connsiteY934" fmla="*/ 2323039 h 3395062"/>
                    <a:gd name="connsiteX935" fmla="*/ 3263007 w 8264972"/>
                    <a:gd name="connsiteY935" fmla="*/ 2392802 h 339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Lst>
                  <a:rect l="l" t="t" r="r" b="b"/>
                  <a:pathLst>
                    <a:path w="8264972" h="3395062">
                      <a:moveTo>
                        <a:pt x="4568524" y="3380894"/>
                      </a:moveTo>
                      <a:cubicBezTo>
                        <a:pt x="4567639" y="3379910"/>
                        <a:pt x="4559865" y="3375089"/>
                        <a:pt x="4562424" y="3370857"/>
                      </a:cubicBezTo>
                      <a:cubicBezTo>
                        <a:pt x="4565573" y="3365643"/>
                        <a:pt x="4576790" y="3371743"/>
                        <a:pt x="4588204" y="3374006"/>
                      </a:cubicBezTo>
                      <a:cubicBezTo>
                        <a:pt x="4597748" y="3376565"/>
                        <a:pt x="4598732" y="3363380"/>
                        <a:pt x="4623331" y="3326087"/>
                      </a:cubicBezTo>
                      <a:cubicBezTo>
                        <a:pt x="4627463" y="3319200"/>
                        <a:pt x="4636713" y="3322447"/>
                        <a:pt x="4640353" y="3322152"/>
                      </a:cubicBezTo>
                      <a:cubicBezTo>
                        <a:pt x="4648028" y="3322644"/>
                        <a:pt x="4640157" y="3331401"/>
                        <a:pt x="4639567" y="3333073"/>
                      </a:cubicBezTo>
                      <a:cubicBezTo>
                        <a:pt x="4635729" y="3339371"/>
                        <a:pt x="4644092" y="3343405"/>
                        <a:pt x="4649111" y="3338092"/>
                      </a:cubicBezTo>
                      <a:cubicBezTo>
                        <a:pt x="4655015" y="3333172"/>
                        <a:pt x="4661017" y="3320872"/>
                        <a:pt x="4666822" y="3327071"/>
                      </a:cubicBezTo>
                      <a:cubicBezTo>
                        <a:pt x="4672726" y="3333467"/>
                        <a:pt x="4667314" y="3343307"/>
                        <a:pt x="4666035" y="3355114"/>
                      </a:cubicBezTo>
                      <a:cubicBezTo>
                        <a:pt x="4664460" y="3363281"/>
                        <a:pt x="4676760" y="3356000"/>
                        <a:pt x="4681877" y="3355016"/>
                      </a:cubicBezTo>
                      <a:cubicBezTo>
                        <a:pt x="4684828" y="3354032"/>
                        <a:pt x="4688272" y="3355508"/>
                        <a:pt x="4689551" y="3358263"/>
                      </a:cubicBezTo>
                      <a:lnTo>
                        <a:pt x="4690929" y="3361116"/>
                      </a:lnTo>
                      <a:cubicBezTo>
                        <a:pt x="4692208" y="3363871"/>
                        <a:pt x="4695258" y="3364560"/>
                        <a:pt x="4697620" y="3362592"/>
                      </a:cubicBezTo>
                      <a:lnTo>
                        <a:pt x="4700769" y="3359936"/>
                      </a:lnTo>
                      <a:cubicBezTo>
                        <a:pt x="4703130" y="3357968"/>
                        <a:pt x="4705984" y="3358656"/>
                        <a:pt x="4707263" y="3361510"/>
                      </a:cubicBezTo>
                      <a:lnTo>
                        <a:pt x="4708444" y="3364167"/>
                      </a:lnTo>
                      <a:cubicBezTo>
                        <a:pt x="4709624" y="3367020"/>
                        <a:pt x="4713068" y="3368595"/>
                        <a:pt x="4716020" y="3367611"/>
                      </a:cubicBezTo>
                      <a:cubicBezTo>
                        <a:pt x="4795229" y="3338387"/>
                        <a:pt x="4722022" y="3378828"/>
                        <a:pt x="4838818" y="3305228"/>
                      </a:cubicBezTo>
                      <a:cubicBezTo>
                        <a:pt x="4847280" y="3299816"/>
                        <a:pt x="4849051" y="3292043"/>
                        <a:pt x="4879849" y="3245403"/>
                      </a:cubicBezTo>
                      <a:cubicBezTo>
                        <a:pt x="4884474" y="3238220"/>
                        <a:pt x="4893428" y="3235957"/>
                        <a:pt x="4900020" y="3232119"/>
                      </a:cubicBezTo>
                      <a:cubicBezTo>
                        <a:pt x="4910352" y="3226904"/>
                        <a:pt x="4923340" y="3197681"/>
                        <a:pt x="4934852" y="3186365"/>
                      </a:cubicBezTo>
                      <a:cubicBezTo>
                        <a:pt x="5009831" y="3111387"/>
                        <a:pt x="5016127" y="3108534"/>
                        <a:pt x="5020654" y="3099186"/>
                      </a:cubicBezTo>
                      <a:cubicBezTo>
                        <a:pt x="5054010" y="3033655"/>
                        <a:pt x="5053223" y="3024701"/>
                        <a:pt x="5062767" y="3020961"/>
                      </a:cubicBezTo>
                      <a:cubicBezTo>
                        <a:pt x="5068770" y="3018010"/>
                        <a:pt x="5078609" y="3017026"/>
                        <a:pt x="5081856" y="3009252"/>
                      </a:cubicBezTo>
                      <a:cubicBezTo>
                        <a:pt x="5094155" y="2981702"/>
                        <a:pt x="5095041" y="2972649"/>
                        <a:pt x="5102519" y="2966549"/>
                      </a:cubicBezTo>
                      <a:cubicBezTo>
                        <a:pt x="5142468" y="2932307"/>
                        <a:pt x="5151422" y="2930142"/>
                        <a:pt x="5153488" y="2920303"/>
                      </a:cubicBezTo>
                      <a:cubicBezTo>
                        <a:pt x="5170117" y="2829188"/>
                        <a:pt x="5178678" y="2820923"/>
                        <a:pt x="5169724" y="2815412"/>
                      </a:cubicBezTo>
                      <a:lnTo>
                        <a:pt x="5168543" y="2814724"/>
                      </a:lnTo>
                      <a:cubicBezTo>
                        <a:pt x="5162344" y="2810886"/>
                        <a:pt x="5162344" y="2802818"/>
                        <a:pt x="5168543" y="2799177"/>
                      </a:cubicBezTo>
                      <a:lnTo>
                        <a:pt x="5168740" y="2799177"/>
                      </a:lnTo>
                      <a:cubicBezTo>
                        <a:pt x="5177202" y="2794159"/>
                        <a:pt x="5169822" y="2783335"/>
                        <a:pt x="5166280" y="2750963"/>
                      </a:cubicBezTo>
                      <a:cubicBezTo>
                        <a:pt x="5164902" y="2742206"/>
                        <a:pt x="5172577" y="2735416"/>
                        <a:pt x="5177989" y="2725577"/>
                      </a:cubicBezTo>
                      <a:cubicBezTo>
                        <a:pt x="5182909" y="2717804"/>
                        <a:pt x="5182515" y="2708653"/>
                        <a:pt x="5185762" y="2692713"/>
                      </a:cubicBezTo>
                      <a:cubicBezTo>
                        <a:pt x="5187435" y="2683070"/>
                        <a:pt x="5195602" y="2678544"/>
                        <a:pt x="5219118" y="2650402"/>
                      </a:cubicBezTo>
                      <a:cubicBezTo>
                        <a:pt x="5224629" y="2644105"/>
                        <a:pt x="5226105" y="2635840"/>
                        <a:pt x="5228368" y="2630133"/>
                      </a:cubicBezTo>
                      <a:cubicBezTo>
                        <a:pt x="5231221" y="2621867"/>
                        <a:pt x="5219906" y="2617833"/>
                        <a:pt x="5213215" y="2611142"/>
                      </a:cubicBezTo>
                      <a:cubicBezTo>
                        <a:pt x="5206327" y="2605534"/>
                        <a:pt x="5213805" y="2595793"/>
                        <a:pt x="5216167" y="2585067"/>
                      </a:cubicBezTo>
                      <a:cubicBezTo>
                        <a:pt x="5218824" y="2576802"/>
                        <a:pt x="5207114" y="2572965"/>
                        <a:pt x="5201112" y="2567455"/>
                      </a:cubicBezTo>
                      <a:cubicBezTo>
                        <a:pt x="5195700" y="2563519"/>
                        <a:pt x="5195996" y="2557516"/>
                        <a:pt x="5195700" y="2556533"/>
                      </a:cubicBezTo>
                      <a:cubicBezTo>
                        <a:pt x="5194618" y="2548267"/>
                        <a:pt x="5206327" y="2555647"/>
                        <a:pt x="5211050" y="2556533"/>
                      </a:cubicBezTo>
                      <a:cubicBezTo>
                        <a:pt x="5219118" y="2559288"/>
                        <a:pt x="5220792" y="2546890"/>
                        <a:pt x="5223842" y="2542068"/>
                      </a:cubicBezTo>
                      <a:cubicBezTo>
                        <a:pt x="5225120" y="2539313"/>
                        <a:pt x="5224038" y="2535673"/>
                        <a:pt x="5221382" y="2534098"/>
                      </a:cubicBezTo>
                      <a:lnTo>
                        <a:pt x="5164509" y="2499660"/>
                      </a:lnTo>
                      <a:cubicBezTo>
                        <a:pt x="5157719" y="2495527"/>
                        <a:pt x="5159294" y="2486475"/>
                        <a:pt x="5158605" y="2483424"/>
                      </a:cubicBezTo>
                      <a:cubicBezTo>
                        <a:pt x="5157818" y="2474077"/>
                        <a:pt x="5147585" y="2470830"/>
                        <a:pt x="5130464" y="2455874"/>
                      </a:cubicBezTo>
                      <a:cubicBezTo>
                        <a:pt x="5122986" y="2449970"/>
                        <a:pt x="5113540" y="2457349"/>
                        <a:pt x="5092877" y="2462269"/>
                      </a:cubicBezTo>
                      <a:cubicBezTo>
                        <a:pt x="5080282" y="2466008"/>
                        <a:pt x="5057257" y="2449084"/>
                        <a:pt x="5060307" y="2460203"/>
                      </a:cubicBezTo>
                      <a:lnTo>
                        <a:pt x="5066408" y="2482244"/>
                      </a:lnTo>
                      <a:cubicBezTo>
                        <a:pt x="5068868" y="2491099"/>
                        <a:pt x="5061783" y="2498971"/>
                        <a:pt x="5056273" y="2512943"/>
                      </a:cubicBezTo>
                      <a:cubicBezTo>
                        <a:pt x="5052830" y="2520520"/>
                        <a:pt x="5042596" y="2518060"/>
                        <a:pt x="5036594" y="2519241"/>
                      </a:cubicBezTo>
                      <a:cubicBezTo>
                        <a:pt x="5027050" y="2519929"/>
                        <a:pt x="5040235" y="2507138"/>
                        <a:pt x="5050173" y="2489131"/>
                      </a:cubicBezTo>
                      <a:cubicBezTo>
                        <a:pt x="5054109" y="2482932"/>
                        <a:pt x="5044564" y="2480669"/>
                        <a:pt x="5039447" y="2485983"/>
                      </a:cubicBezTo>
                      <a:lnTo>
                        <a:pt x="5016816" y="2509893"/>
                      </a:lnTo>
                      <a:cubicBezTo>
                        <a:pt x="5010224" y="2516879"/>
                        <a:pt x="4999696" y="2513042"/>
                        <a:pt x="4975097" y="2514616"/>
                      </a:cubicBezTo>
                      <a:cubicBezTo>
                        <a:pt x="4967717" y="2514714"/>
                        <a:pt x="4968603" y="2505268"/>
                        <a:pt x="4975785" y="2503497"/>
                      </a:cubicBezTo>
                      <a:cubicBezTo>
                        <a:pt x="4977556" y="2502808"/>
                        <a:pt x="4985625" y="2502316"/>
                        <a:pt x="4990151" y="2496314"/>
                      </a:cubicBezTo>
                      <a:lnTo>
                        <a:pt x="4999007" y="2484703"/>
                      </a:lnTo>
                      <a:cubicBezTo>
                        <a:pt x="5000876" y="2482244"/>
                        <a:pt x="4999893" y="2479981"/>
                        <a:pt x="4996842" y="2479587"/>
                      </a:cubicBezTo>
                      <a:cubicBezTo>
                        <a:pt x="4986314" y="2479390"/>
                        <a:pt x="4975195" y="2474077"/>
                        <a:pt x="4971063" y="2481850"/>
                      </a:cubicBezTo>
                      <a:cubicBezTo>
                        <a:pt x="4968307" y="2485786"/>
                        <a:pt x="4966438" y="2495921"/>
                        <a:pt x="4958271" y="2495429"/>
                      </a:cubicBezTo>
                      <a:cubicBezTo>
                        <a:pt x="4947743" y="2493756"/>
                        <a:pt x="4933869" y="2497397"/>
                        <a:pt x="4935148" y="2488541"/>
                      </a:cubicBezTo>
                      <a:cubicBezTo>
                        <a:pt x="4940658" y="2438458"/>
                        <a:pt x="4947743" y="2427929"/>
                        <a:pt x="4939674" y="2423501"/>
                      </a:cubicBezTo>
                      <a:cubicBezTo>
                        <a:pt x="4929736" y="2418090"/>
                        <a:pt x="4906908" y="2429405"/>
                        <a:pt x="4891952" y="2426551"/>
                      </a:cubicBezTo>
                      <a:cubicBezTo>
                        <a:pt x="4865779" y="2420451"/>
                        <a:pt x="4855053" y="2422911"/>
                        <a:pt x="4850528" y="2414449"/>
                      </a:cubicBezTo>
                      <a:cubicBezTo>
                        <a:pt x="4848068" y="2408151"/>
                        <a:pt x="4838621" y="2399099"/>
                        <a:pt x="4846198" y="2394966"/>
                      </a:cubicBezTo>
                      <a:cubicBezTo>
                        <a:pt x="4897266" y="2365743"/>
                        <a:pt x="4906022" y="2364661"/>
                        <a:pt x="4911139" y="2355903"/>
                      </a:cubicBezTo>
                      <a:cubicBezTo>
                        <a:pt x="4917338" y="2346261"/>
                        <a:pt x="4920388" y="2337307"/>
                        <a:pt x="4927768" y="2332485"/>
                      </a:cubicBezTo>
                      <a:cubicBezTo>
                        <a:pt x="4991824" y="2289683"/>
                        <a:pt x="4998416" y="2288305"/>
                        <a:pt x="5004517" y="2280040"/>
                      </a:cubicBezTo>
                      <a:cubicBezTo>
                        <a:pt x="5045548" y="2225037"/>
                        <a:pt x="5048008" y="2218444"/>
                        <a:pt x="5056076" y="2212245"/>
                      </a:cubicBezTo>
                      <a:cubicBezTo>
                        <a:pt x="5133022" y="2153306"/>
                        <a:pt x="5135679" y="2148288"/>
                        <a:pt x="5145518" y="2145041"/>
                      </a:cubicBezTo>
                      <a:cubicBezTo>
                        <a:pt x="5157621" y="2140121"/>
                        <a:pt x="5168346" y="2140022"/>
                        <a:pt x="5172085" y="2131856"/>
                      </a:cubicBezTo>
                      <a:cubicBezTo>
                        <a:pt x="5190190" y="2095548"/>
                        <a:pt x="5190584" y="2085905"/>
                        <a:pt x="5199341" y="2081477"/>
                      </a:cubicBezTo>
                      <a:cubicBezTo>
                        <a:pt x="5230926" y="2064651"/>
                        <a:pt x="5239486" y="2062388"/>
                        <a:pt x="5246177" y="2055402"/>
                      </a:cubicBezTo>
                      <a:cubicBezTo>
                        <a:pt x="5291833" y="2009746"/>
                        <a:pt x="5294293" y="2000694"/>
                        <a:pt x="5304428" y="2000005"/>
                      </a:cubicBezTo>
                      <a:cubicBezTo>
                        <a:pt x="5498268" y="1989772"/>
                        <a:pt x="5507418" y="1981703"/>
                        <a:pt x="5505943" y="1992330"/>
                      </a:cubicBezTo>
                      <a:lnTo>
                        <a:pt x="5503876" y="2007089"/>
                      </a:lnTo>
                      <a:cubicBezTo>
                        <a:pt x="5503483" y="2010140"/>
                        <a:pt x="5505549" y="2012304"/>
                        <a:pt x="5508600" y="2012009"/>
                      </a:cubicBezTo>
                      <a:cubicBezTo>
                        <a:pt x="5522178" y="2009156"/>
                        <a:pt x="5535265" y="2012403"/>
                        <a:pt x="5534773" y="2003350"/>
                      </a:cubicBezTo>
                      <a:cubicBezTo>
                        <a:pt x="5535166" y="1998824"/>
                        <a:pt x="5531329" y="1986328"/>
                        <a:pt x="5539299" y="1987804"/>
                      </a:cubicBezTo>
                      <a:lnTo>
                        <a:pt x="5614375" y="2001776"/>
                      </a:lnTo>
                      <a:cubicBezTo>
                        <a:pt x="5624903" y="2003744"/>
                        <a:pt x="5620869" y="1987607"/>
                        <a:pt x="5631595" y="1988493"/>
                      </a:cubicBezTo>
                      <a:cubicBezTo>
                        <a:pt x="5645862" y="1990657"/>
                        <a:pt x="5657866" y="1987213"/>
                        <a:pt x="5661310" y="1995676"/>
                      </a:cubicBezTo>
                      <a:lnTo>
                        <a:pt x="5662097" y="1997644"/>
                      </a:lnTo>
                      <a:cubicBezTo>
                        <a:pt x="5665639" y="2006401"/>
                        <a:pt x="5677447" y="2001481"/>
                        <a:pt x="5697913" y="2002859"/>
                      </a:cubicBezTo>
                      <a:cubicBezTo>
                        <a:pt x="5706178" y="2002859"/>
                        <a:pt x="5696831" y="1992920"/>
                        <a:pt x="5695257" y="1989182"/>
                      </a:cubicBezTo>
                      <a:cubicBezTo>
                        <a:pt x="5690337" y="1981015"/>
                        <a:pt x="5704014" y="1976095"/>
                        <a:pt x="5720151" y="1959761"/>
                      </a:cubicBezTo>
                      <a:cubicBezTo>
                        <a:pt x="5722414" y="1957695"/>
                        <a:pt x="5726743" y="1956612"/>
                        <a:pt x="5729794" y="1957301"/>
                      </a:cubicBezTo>
                      <a:cubicBezTo>
                        <a:pt x="5798769" y="1972553"/>
                        <a:pt x="5804574" y="1976292"/>
                        <a:pt x="5814709" y="1975012"/>
                      </a:cubicBezTo>
                      <a:cubicBezTo>
                        <a:pt x="5835175" y="1973536"/>
                        <a:pt x="5845704" y="1968026"/>
                        <a:pt x="5852592" y="1974619"/>
                      </a:cubicBezTo>
                      <a:cubicBezTo>
                        <a:pt x="5863612" y="1983967"/>
                        <a:pt x="5868433" y="1992724"/>
                        <a:pt x="5877486" y="1993216"/>
                      </a:cubicBezTo>
                      <a:cubicBezTo>
                        <a:pt x="5884669" y="1994298"/>
                        <a:pt x="5894705" y="1991641"/>
                        <a:pt x="5899822" y="1998627"/>
                      </a:cubicBezTo>
                      <a:cubicBezTo>
                        <a:pt x="5900707" y="2000399"/>
                        <a:pt x="5909760" y="2008664"/>
                        <a:pt x="5901987" y="2009549"/>
                      </a:cubicBezTo>
                      <a:lnTo>
                        <a:pt x="5842949" y="2015748"/>
                      </a:lnTo>
                      <a:cubicBezTo>
                        <a:pt x="5839899" y="2016044"/>
                        <a:pt x="5838521" y="2018602"/>
                        <a:pt x="5839899" y="2021357"/>
                      </a:cubicBezTo>
                      <a:cubicBezTo>
                        <a:pt x="5845999" y="2031098"/>
                        <a:pt x="5847672" y="2044382"/>
                        <a:pt x="5856331" y="2041922"/>
                      </a:cubicBezTo>
                      <a:cubicBezTo>
                        <a:pt x="5897362" y="2031787"/>
                        <a:pt x="5904840" y="2025785"/>
                        <a:pt x="5913892" y="2029524"/>
                      </a:cubicBezTo>
                      <a:cubicBezTo>
                        <a:pt x="5926586" y="2033656"/>
                        <a:pt x="5935441" y="2041823"/>
                        <a:pt x="5942723" y="2036313"/>
                      </a:cubicBezTo>
                      <a:cubicBezTo>
                        <a:pt x="5969289" y="2018110"/>
                        <a:pt x="5975095" y="2007286"/>
                        <a:pt x="5983951" y="2011124"/>
                      </a:cubicBezTo>
                      <a:cubicBezTo>
                        <a:pt x="6003826" y="2018798"/>
                        <a:pt x="6011895" y="2025883"/>
                        <a:pt x="6021144" y="2023522"/>
                      </a:cubicBezTo>
                      <a:lnTo>
                        <a:pt x="6075459" y="2010238"/>
                      </a:lnTo>
                      <a:cubicBezTo>
                        <a:pt x="6078410" y="2009549"/>
                        <a:pt x="6080870" y="2006401"/>
                        <a:pt x="6080870" y="2003350"/>
                      </a:cubicBezTo>
                      <a:cubicBezTo>
                        <a:pt x="6080181" y="1998431"/>
                        <a:pt x="6083724" y="1987017"/>
                        <a:pt x="6075262" y="1986426"/>
                      </a:cubicBezTo>
                      <a:lnTo>
                        <a:pt x="6024883" y="1983376"/>
                      </a:lnTo>
                      <a:cubicBezTo>
                        <a:pt x="6021833" y="1983179"/>
                        <a:pt x="6019668" y="1980523"/>
                        <a:pt x="6020062" y="1977472"/>
                      </a:cubicBezTo>
                      <a:cubicBezTo>
                        <a:pt x="6023801" y="1958974"/>
                        <a:pt x="6020455" y="1945395"/>
                        <a:pt x="6029803" y="1944116"/>
                      </a:cubicBezTo>
                      <a:cubicBezTo>
                        <a:pt x="6031082" y="1943624"/>
                        <a:pt x="6042201" y="1944018"/>
                        <a:pt x="6037773" y="1938015"/>
                      </a:cubicBezTo>
                      <a:lnTo>
                        <a:pt x="6036199" y="1935949"/>
                      </a:lnTo>
                      <a:cubicBezTo>
                        <a:pt x="6034329" y="1933489"/>
                        <a:pt x="6034920" y="1930045"/>
                        <a:pt x="6037379" y="1928274"/>
                      </a:cubicBezTo>
                      <a:cubicBezTo>
                        <a:pt x="6117375" y="1869729"/>
                        <a:pt x="6124853" y="1869729"/>
                        <a:pt x="6127903" y="1859791"/>
                      </a:cubicBezTo>
                      <a:cubicBezTo>
                        <a:pt x="6131839" y="1849361"/>
                        <a:pt x="6132036" y="1838636"/>
                        <a:pt x="6139612" y="1833913"/>
                      </a:cubicBezTo>
                      <a:cubicBezTo>
                        <a:pt x="6163031" y="1817972"/>
                        <a:pt x="6173166" y="1816103"/>
                        <a:pt x="6175724" y="1806854"/>
                      </a:cubicBezTo>
                      <a:cubicBezTo>
                        <a:pt x="6181923" y="1789241"/>
                        <a:pt x="6180545" y="1777138"/>
                        <a:pt x="6189598" y="1775564"/>
                      </a:cubicBezTo>
                      <a:cubicBezTo>
                        <a:pt x="6331682" y="1753228"/>
                        <a:pt x="6338078" y="1744864"/>
                        <a:pt x="6342702" y="1754507"/>
                      </a:cubicBezTo>
                      <a:cubicBezTo>
                        <a:pt x="6346834" y="1761198"/>
                        <a:pt x="6348310" y="1773497"/>
                        <a:pt x="6356871" y="1771726"/>
                      </a:cubicBezTo>
                      <a:cubicBezTo>
                        <a:pt x="6363562" y="1769758"/>
                        <a:pt x="6373008" y="1770251"/>
                        <a:pt x="6378223" y="1763559"/>
                      </a:cubicBezTo>
                      <a:cubicBezTo>
                        <a:pt x="6385799" y="1755688"/>
                        <a:pt x="6390030" y="1743388"/>
                        <a:pt x="6398394" y="1746537"/>
                      </a:cubicBezTo>
                      <a:cubicBezTo>
                        <a:pt x="6401543" y="1748308"/>
                        <a:pt x="6414137" y="1749882"/>
                        <a:pt x="6410005" y="1756770"/>
                      </a:cubicBezTo>
                      <a:cubicBezTo>
                        <a:pt x="6383733" y="1802820"/>
                        <a:pt x="6377534" y="1807838"/>
                        <a:pt x="6376747" y="1817776"/>
                      </a:cubicBezTo>
                      <a:cubicBezTo>
                        <a:pt x="6376747" y="1826533"/>
                        <a:pt x="6371926" y="1842276"/>
                        <a:pt x="6379502" y="1837553"/>
                      </a:cubicBezTo>
                      <a:cubicBezTo>
                        <a:pt x="6386784" y="1834109"/>
                        <a:pt x="6394458" y="1824959"/>
                        <a:pt x="6401248" y="1830469"/>
                      </a:cubicBezTo>
                      <a:cubicBezTo>
                        <a:pt x="6402428" y="1831846"/>
                        <a:pt x="6412071" y="1836668"/>
                        <a:pt x="6406266" y="1841686"/>
                      </a:cubicBezTo>
                      <a:cubicBezTo>
                        <a:pt x="6402133" y="1846114"/>
                        <a:pt x="6393179" y="1849951"/>
                        <a:pt x="6393572" y="1858413"/>
                      </a:cubicBezTo>
                      <a:cubicBezTo>
                        <a:pt x="6394557" y="1864219"/>
                        <a:pt x="6392097" y="1879273"/>
                        <a:pt x="6398985" y="1874157"/>
                      </a:cubicBezTo>
                      <a:cubicBezTo>
                        <a:pt x="6528179" y="1780680"/>
                        <a:pt x="6527293" y="1774186"/>
                        <a:pt x="6537723" y="1776745"/>
                      </a:cubicBezTo>
                      <a:cubicBezTo>
                        <a:pt x="6560551" y="1780877"/>
                        <a:pt x="6570193" y="1788060"/>
                        <a:pt x="6576786" y="1781369"/>
                      </a:cubicBezTo>
                      <a:cubicBezTo>
                        <a:pt x="6578951" y="1778417"/>
                        <a:pt x="6590168" y="1771234"/>
                        <a:pt x="6582198" y="1769070"/>
                      </a:cubicBezTo>
                      <a:cubicBezTo>
                        <a:pt x="6579639" y="1767889"/>
                        <a:pt x="6568619" y="1767889"/>
                        <a:pt x="6570292" y="1760116"/>
                      </a:cubicBezTo>
                      <a:cubicBezTo>
                        <a:pt x="6582985" y="1710426"/>
                        <a:pt x="6579541" y="1699012"/>
                        <a:pt x="6589282" y="1696552"/>
                      </a:cubicBezTo>
                      <a:cubicBezTo>
                        <a:pt x="6654322" y="1681202"/>
                        <a:pt x="6660915" y="1675003"/>
                        <a:pt x="6670065" y="1679529"/>
                      </a:cubicBezTo>
                      <a:cubicBezTo>
                        <a:pt x="6690925" y="1691632"/>
                        <a:pt x="6706668" y="1693600"/>
                        <a:pt x="6701355" y="1700980"/>
                      </a:cubicBezTo>
                      <a:cubicBezTo>
                        <a:pt x="6696435" y="1707867"/>
                        <a:pt x="6685710" y="1702259"/>
                        <a:pt x="6673017" y="1701275"/>
                      </a:cubicBezTo>
                      <a:cubicBezTo>
                        <a:pt x="6664161" y="1699897"/>
                        <a:pt x="6657470" y="1707769"/>
                        <a:pt x="6645171" y="1714657"/>
                      </a:cubicBezTo>
                      <a:cubicBezTo>
                        <a:pt x="6636807" y="1719970"/>
                        <a:pt x="6640744" y="1730794"/>
                        <a:pt x="6636020" y="1768676"/>
                      </a:cubicBezTo>
                      <a:cubicBezTo>
                        <a:pt x="6635036" y="1780287"/>
                        <a:pt x="6616735" y="1769463"/>
                        <a:pt x="6615160" y="1780976"/>
                      </a:cubicBezTo>
                      <a:cubicBezTo>
                        <a:pt x="6615259" y="1783632"/>
                        <a:pt x="6611421" y="1793078"/>
                        <a:pt x="6618604" y="1795932"/>
                      </a:cubicBezTo>
                      <a:cubicBezTo>
                        <a:pt x="6621261" y="1797605"/>
                        <a:pt x="6633560" y="1799474"/>
                        <a:pt x="6628050" y="1805378"/>
                      </a:cubicBezTo>
                      <a:lnTo>
                        <a:pt x="6606108" y="1829190"/>
                      </a:lnTo>
                      <a:cubicBezTo>
                        <a:pt x="6598433" y="1837553"/>
                        <a:pt x="6621162" y="1844539"/>
                        <a:pt x="6610732" y="1848967"/>
                      </a:cubicBezTo>
                      <a:cubicBezTo>
                        <a:pt x="6514010" y="1892557"/>
                        <a:pt x="6504563" y="1889900"/>
                        <a:pt x="6503284" y="1900231"/>
                      </a:cubicBezTo>
                      <a:cubicBezTo>
                        <a:pt x="6502300" y="1904856"/>
                        <a:pt x="6503481" y="1914007"/>
                        <a:pt x="6497085" y="1919123"/>
                      </a:cubicBezTo>
                      <a:cubicBezTo>
                        <a:pt x="6376944" y="2017224"/>
                        <a:pt x="6372418" y="2015256"/>
                        <a:pt x="6369564" y="2025588"/>
                      </a:cubicBezTo>
                      <a:lnTo>
                        <a:pt x="6366416" y="2037002"/>
                      </a:lnTo>
                      <a:cubicBezTo>
                        <a:pt x="6363562" y="2047137"/>
                        <a:pt x="6357166" y="2047334"/>
                        <a:pt x="6274415" y="2119950"/>
                      </a:cubicBezTo>
                      <a:cubicBezTo>
                        <a:pt x="6267626" y="2125755"/>
                        <a:pt x="6257885" y="2122803"/>
                        <a:pt x="6246274" y="2123590"/>
                      </a:cubicBezTo>
                      <a:cubicBezTo>
                        <a:pt x="6237418" y="2123590"/>
                        <a:pt x="6232498" y="2132938"/>
                        <a:pt x="6223741" y="2140515"/>
                      </a:cubicBezTo>
                      <a:cubicBezTo>
                        <a:pt x="6217641" y="2146615"/>
                        <a:pt x="6208392" y="2140219"/>
                        <a:pt x="6200520" y="2138645"/>
                      </a:cubicBezTo>
                      <a:cubicBezTo>
                        <a:pt x="6193238" y="2136480"/>
                        <a:pt x="6188516" y="2144253"/>
                        <a:pt x="6186843" y="2145434"/>
                      </a:cubicBezTo>
                      <a:cubicBezTo>
                        <a:pt x="6180840" y="2151535"/>
                        <a:pt x="6190287" y="2159111"/>
                        <a:pt x="6193435" y="2165605"/>
                      </a:cubicBezTo>
                      <a:cubicBezTo>
                        <a:pt x="6198748" y="2173772"/>
                        <a:pt x="6187532" y="2180463"/>
                        <a:pt x="6170116" y="2208703"/>
                      </a:cubicBezTo>
                      <a:cubicBezTo>
                        <a:pt x="6164900" y="2216279"/>
                        <a:pt x="6156537" y="2220117"/>
                        <a:pt x="6141974" y="2231039"/>
                      </a:cubicBezTo>
                      <a:cubicBezTo>
                        <a:pt x="6133414" y="2237041"/>
                        <a:pt x="6136169" y="2244814"/>
                        <a:pt x="6108126" y="2345670"/>
                      </a:cubicBezTo>
                      <a:cubicBezTo>
                        <a:pt x="6105371" y="2356100"/>
                        <a:pt x="6108126" y="2353443"/>
                        <a:pt x="6142663" y="2564503"/>
                      </a:cubicBezTo>
                      <a:cubicBezTo>
                        <a:pt x="6145221" y="2579853"/>
                        <a:pt x="6163129" y="2614094"/>
                        <a:pt x="6163326" y="2627279"/>
                      </a:cubicBezTo>
                      <a:cubicBezTo>
                        <a:pt x="6164999" y="2674018"/>
                        <a:pt x="6162637" y="2681692"/>
                        <a:pt x="6166770" y="2690745"/>
                      </a:cubicBezTo>
                      <a:lnTo>
                        <a:pt x="6180447" y="2719968"/>
                      </a:lnTo>
                      <a:cubicBezTo>
                        <a:pt x="6181726" y="2722723"/>
                        <a:pt x="6184579" y="2723215"/>
                        <a:pt x="6186744" y="2721051"/>
                      </a:cubicBezTo>
                      <a:cubicBezTo>
                        <a:pt x="6280122" y="2625311"/>
                        <a:pt x="6286124" y="2626591"/>
                        <a:pt x="6286124" y="2616062"/>
                      </a:cubicBezTo>
                      <a:lnTo>
                        <a:pt x="6286124" y="2563224"/>
                      </a:lnTo>
                      <a:cubicBezTo>
                        <a:pt x="6286124" y="2555254"/>
                        <a:pt x="6294390" y="2551318"/>
                        <a:pt x="6296554" y="2548956"/>
                      </a:cubicBezTo>
                      <a:cubicBezTo>
                        <a:pt x="6298916" y="2546988"/>
                        <a:pt x="6301278" y="2547874"/>
                        <a:pt x="6301769" y="2550924"/>
                      </a:cubicBezTo>
                      <a:cubicBezTo>
                        <a:pt x="6302261" y="2551908"/>
                        <a:pt x="6301769" y="2560764"/>
                        <a:pt x="6308460" y="2558009"/>
                      </a:cubicBezTo>
                      <a:lnTo>
                        <a:pt x="6348606" y="2541380"/>
                      </a:lnTo>
                      <a:cubicBezTo>
                        <a:pt x="6360511" y="2536460"/>
                        <a:pt x="6385012" y="2560862"/>
                        <a:pt x="6384127" y="2548464"/>
                      </a:cubicBezTo>
                      <a:cubicBezTo>
                        <a:pt x="6383930" y="2546595"/>
                        <a:pt x="6383831" y="2538231"/>
                        <a:pt x="6381371" y="2531540"/>
                      </a:cubicBezTo>
                      <a:cubicBezTo>
                        <a:pt x="6377042" y="2517470"/>
                        <a:pt x="6371335" y="2509401"/>
                        <a:pt x="6373598" y="2500644"/>
                      </a:cubicBezTo>
                      <a:cubicBezTo>
                        <a:pt x="6380880" y="2476832"/>
                        <a:pt x="6380191" y="2466697"/>
                        <a:pt x="6387570" y="2460695"/>
                      </a:cubicBezTo>
                      <a:lnTo>
                        <a:pt x="6426929" y="2428421"/>
                      </a:lnTo>
                      <a:cubicBezTo>
                        <a:pt x="6434505" y="2422222"/>
                        <a:pt x="6443164" y="2428028"/>
                        <a:pt x="6483506" y="2432652"/>
                      </a:cubicBezTo>
                      <a:cubicBezTo>
                        <a:pt x="6492756" y="2434030"/>
                        <a:pt x="6497282" y="2422714"/>
                        <a:pt x="6509876" y="2410513"/>
                      </a:cubicBezTo>
                      <a:cubicBezTo>
                        <a:pt x="6516469" y="2403330"/>
                        <a:pt x="6505842" y="2395557"/>
                        <a:pt x="6490394" y="2363283"/>
                      </a:cubicBezTo>
                      <a:cubicBezTo>
                        <a:pt x="6488918" y="2360626"/>
                        <a:pt x="6488623" y="2356002"/>
                        <a:pt x="6489607" y="2353148"/>
                      </a:cubicBezTo>
                      <a:cubicBezTo>
                        <a:pt x="6510369" y="2298932"/>
                        <a:pt x="6509975" y="2289880"/>
                        <a:pt x="6517847" y="2283582"/>
                      </a:cubicBezTo>
                      <a:cubicBezTo>
                        <a:pt x="6541068" y="2266756"/>
                        <a:pt x="6546480" y="2256228"/>
                        <a:pt x="6555729" y="2259278"/>
                      </a:cubicBezTo>
                      <a:cubicBezTo>
                        <a:pt x="6556713" y="2259869"/>
                        <a:pt x="6566356" y="2261246"/>
                        <a:pt x="6561436" y="2266560"/>
                      </a:cubicBezTo>
                      <a:cubicBezTo>
                        <a:pt x="6557402" y="2272168"/>
                        <a:pt x="6545594" y="2279056"/>
                        <a:pt x="6552384" y="2284369"/>
                      </a:cubicBezTo>
                      <a:cubicBezTo>
                        <a:pt x="6560748" y="2289584"/>
                        <a:pt x="6567733" y="2300408"/>
                        <a:pt x="6574228" y="2294406"/>
                      </a:cubicBezTo>
                      <a:cubicBezTo>
                        <a:pt x="6579246" y="2288699"/>
                        <a:pt x="6589086" y="2283976"/>
                        <a:pt x="6587708" y="2275514"/>
                      </a:cubicBezTo>
                      <a:lnTo>
                        <a:pt x="6582198" y="2242256"/>
                      </a:lnTo>
                      <a:cubicBezTo>
                        <a:pt x="6580131" y="2229957"/>
                        <a:pt x="6555532" y="2245995"/>
                        <a:pt x="6555335" y="2233597"/>
                      </a:cubicBezTo>
                      <a:cubicBezTo>
                        <a:pt x="6555631" y="2194829"/>
                        <a:pt x="6551597" y="2185875"/>
                        <a:pt x="6557697" y="2178200"/>
                      </a:cubicBezTo>
                      <a:lnTo>
                        <a:pt x="6580230" y="2150059"/>
                      </a:lnTo>
                      <a:cubicBezTo>
                        <a:pt x="6582198" y="2147697"/>
                        <a:pt x="6581411" y="2144844"/>
                        <a:pt x="6578557" y="2143663"/>
                      </a:cubicBezTo>
                      <a:lnTo>
                        <a:pt x="6547169" y="2131659"/>
                      </a:lnTo>
                      <a:cubicBezTo>
                        <a:pt x="6539100" y="2128608"/>
                        <a:pt x="6539199" y="2142089"/>
                        <a:pt x="6536149" y="2148878"/>
                      </a:cubicBezTo>
                      <a:cubicBezTo>
                        <a:pt x="6533393" y="2157931"/>
                        <a:pt x="6522766" y="2144942"/>
                        <a:pt x="6507220" y="2136382"/>
                      </a:cubicBezTo>
                      <a:cubicBezTo>
                        <a:pt x="6499152" y="2131068"/>
                        <a:pt x="6506531" y="2120147"/>
                        <a:pt x="6510172" y="2092104"/>
                      </a:cubicBezTo>
                      <a:cubicBezTo>
                        <a:pt x="6510762" y="2089053"/>
                        <a:pt x="6513025" y="2084822"/>
                        <a:pt x="6515190" y="2082756"/>
                      </a:cubicBezTo>
                      <a:cubicBezTo>
                        <a:pt x="6558386" y="2038576"/>
                        <a:pt x="6567635" y="2035821"/>
                        <a:pt x="6568029" y="2025785"/>
                      </a:cubicBezTo>
                      <a:cubicBezTo>
                        <a:pt x="6569406" y="2015650"/>
                        <a:pt x="6566159" y="2004630"/>
                        <a:pt x="6573932" y="2000399"/>
                      </a:cubicBezTo>
                      <a:cubicBezTo>
                        <a:pt x="6575015" y="1999611"/>
                        <a:pt x="6582099" y="1996856"/>
                        <a:pt x="6584461" y="1990461"/>
                      </a:cubicBezTo>
                      <a:cubicBezTo>
                        <a:pt x="6603255" y="1944608"/>
                        <a:pt x="6601582" y="1933096"/>
                        <a:pt x="6611421" y="1931817"/>
                      </a:cubicBezTo>
                      <a:lnTo>
                        <a:pt x="6662686" y="1925027"/>
                      </a:lnTo>
                      <a:cubicBezTo>
                        <a:pt x="6675576" y="1923355"/>
                        <a:pt x="6665736" y="1955432"/>
                        <a:pt x="6678724" y="1955432"/>
                      </a:cubicBezTo>
                      <a:lnTo>
                        <a:pt x="6690532" y="1955432"/>
                      </a:lnTo>
                      <a:cubicBezTo>
                        <a:pt x="6702634" y="1955432"/>
                        <a:pt x="6701651" y="1930045"/>
                        <a:pt x="6714147" y="1923256"/>
                      </a:cubicBezTo>
                      <a:cubicBezTo>
                        <a:pt x="6758720" y="1901019"/>
                        <a:pt x="6775644" y="1886358"/>
                        <a:pt x="6772988" y="1896394"/>
                      </a:cubicBezTo>
                      <a:lnTo>
                        <a:pt x="6759802" y="1947068"/>
                      </a:lnTo>
                      <a:cubicBezTo>
                        <a:pt x="6759015" y="1950020"/>
                        <a:pt x="6760885" y="1952283"/>
                        <a:pt x="6763935" y="1952086"/>
                      </a:cubicBezTo>
                      <a:cubicBezTo>
                        <a:pt x="6765903" y="1951693"/>
                        <a:pt x="6774266" y="1952775"/>
                        <a:pt x="6779285" y="1947068"/>
                      </a:cubicBezTo>
                      <a:cubicBezTo>
                        <a:pt x="6810378" y="1912925"/>
                        <a:pt x="6813330" y="1904758"/>
                        <a:pt x="6822678" y="1901412"/>
                      </a:cubicBezTo>
                      <a:cubicBezTo>
                        <a:pt x="6883486" y="1880749"/>
                        <a:pt x="6889095" y="1875928"/>
                        <a:pt x="6899229" y="1876518"/>
                      </a:cubicBezTo>
                      <a:cubicBezTo>
                        <a:pt x="6960235" y="1882028"/>
                        <a:pt x="6970075" y="1877207"/>
                        <a:pt x="6975191" y="1885964"/>
                      </a:cubicBezTo>
                      <a:cubicBezTo>
                        <a:pt x="6993886" y="1916172"/>
                        <a:pt x="6995657" y="1926208"/>
                        <a:pt x="7004612" y="1930144"/>
                      </a:cubicBezTo>
                      <a:cubicBezTo>
                        <a:pt x="7015533" y="1933686"/>
                        <a:pt x="7026455" y="1943427"/>
                        <a:pt x="7029899" y="1935064"/>
                      </a:cubicBezTo>
                      <a:cubicBezTo>
                        <a:pt x="7043380" y="1904954"/>
                        <a:pt x="7043872" y="1894524"/>
                        <a:pt x="7052235" y="1889310"/>
                      </a:cubicBezTo>
                      <a:cubicBezTo>
                        <a:pt x="7166669" y="1816300"/>
                        <a:pt x="7176313" y="1818563"/>
                        <a:pt x="7174443" y="1808035"/>
                      </a:cubicBezTo>
                      <a:cubicBezTo>
                        <a:pt x="7174443" y="1804099"/>
                        <a:pt x="7169326" y="1791701"/>
                        <a:pt x="7177002" y="1794554"/>
                      </a:cubicBezTo>
                      <a:cubicBezTo>
                        <a:pt x="7183987" y="1796424"/>
                        <a:pt x="7192548" y="1802820"/>
                        <a:pt x="7199927" y="1798293"/>
                      </a:cubicBezTo>
                      <a:cubicBezTo>
                        <a:pt x="7206618" y="1793373"/>
                        <a:pt x="7216753" y="1790815"/>
                        <a:pt x="7218229" y="1782156"/>
                      </a:cubicBezTo>
                      <a:cubicBezTo>
                        <a:pt x="7219705" y="1777433"/>
                        <a:pt x="7218229" y="1765134"/>
                        <a:pt x="7226494" y="1766315"/>
                      </a:cubicBezTo>
                      <a:cubicBezTo>
                        <a:pt x="7243419" y="1767987"/>
                        <a:pt x="7252176" y="1771923"/>
                        <a:pt x="7260540" y="1768184"/>
                      </a:cubicBezTo>
                      <a:cubicBezTo>
                        <a:pt x="7435389" y="1686909"/>
                        <a:pt x="7441489" y="1692026"/>
                        <a:pt x="7440801" y="1681300"/>
                      </a:cubicBezTo>
                      <a:lnTo>
                        <a:pt x="7440309" y="1672740"/>
                      </a:lnTo>
                      <a:cubicBezTo>
                        <a:pt x="7439718" y="1663786"/>
                        <a:pt x="7453494" y="1668903"/>
                        <a:pt x="7465105" y="1668214"/>
                      </a:cubicBezTo>
                      <a:cubicBezTo>
                        <a:pt x="7477011" y="1668706"/>
                        <a:pt x="7454773" y="1686811"/>
                        <a:pt x="7466285" y="1689369"/>
                      </a:cubicBezTo>
                      <a:cubicBezTo>
                        <a:pt x="7555924" y="1707375"/>
                        <a:pt x="7573143" y="1717609"/>
                        <a:pt x="7569798" y="1707474"/>
                      </a:cubicBezTo>
                      <a:cubicBezTo>
                        <a:pt x="7569404" y="1704719"/>
                        <a:pt x="7563009" y="1694289"/>
                        <a:pt x="7570979" y="1694289"/>
                      </a:cubicBezTo>
                      <a:cubicBezTo>
                        <a:pt x="7576095" y="1693698"/>
                        <a:pt x="7586033" y="1696650"/>
                        <a:pt x="7590461" y="1689566"/>
                      </a:cubicBezTo>
                      <a:cubicBezTo>
                        <a:pt x="7593708" y="1682383"/>
                        <a:pt x="7603745" y="1673724"/>
                        <a:pt x="7596267" y="1669395"/>
                      </a:cubicBezTo>
                      <a:lnTo>
                        <a:pt x="7573930" y="1656505"/>
                      </a:lnTo>
                      <a:cubicBezTo>
                        <a:pt x="7563206" y="1650306"/>
                        <a:pt x="7595775" y="1642532"/>
                        <a:pt x="7585246" y="1636038"/>
                      </a:cubicBezTo>
                      <a:cubicBezTo>
                        <a:pt x="7585246" y="1636038"/>
                        <a:pt x="7527291" y="1599632"/>
                        <a:pt x="7523552" y="1599632"/>
                      </a:cubicBezTo>
                      <a:cubicBezTo>
                        <a:pt x="7519813" y="1599632"/>
                        <a:pt x="7518927" y="1596385"/>
                        <a:pt x="7518927" y="1596385"/>
                      </a:cubicBezTo>
                      <a:cubicBezTo>
                        <a:pt x="7515286" y="1583692"/>
                        <a:pt x="7550020" y="1592154"/>
                        <a:pt x="7546773" y="1579461"/>
                      </a:cubicBezTo>
                      <a:cubicBezTo>
                        <a:pt x="7544215" y="1572376"/>
                        <a:pt x="7545002" y="1561061"/>
                        <a:pt x="7536540" y="1558896"/>
                      </a:cubicBezTo>
                      <a:cubicBezTo>
                        <a:pt x="7530538" y="1556633"/>
                        <a:pt x="7515090" y="1556239"/>
                        <a:pt x="7521485" y="1550335"/>
                      </a:cubicBezTo>
                      <a:cubicBezTo>
                        <a:pt x="7524536" y="1546596"/>
                        <a:pt x="7534769" y="1541677"/>
                        <a:pt x="7530440" y="1534592"/>
                      </a:cubicBezTo>
                      <a:cubicBezTo>
                        <a:pt x="7526799" y="1530263"/>
                        <a:pt x="7523453" y="1518062"/>
                        <a:pt x="7516468" y="1522785"/>
                      </a:cubicBezTo>
                      <a:cubicBezTo>
                        <a:pt x="7510662" y="1525736"/>
                        <a:pt x="7503578" y="1534986"/>
                        <a:pt x="7497083" y="1529574"/>
                      </a:cubicBezTo>
                      <a:lnTo>
                        <a:pt x="7465105" y="1503401"/>
                      </a:lnTo>
                      <a:cubicBezTo>
                        <a:pt x="7462743" y="1501433"/>
                        <a:pt x="7462054" y="1497694"/>
                        <a:pt x="7463628" y="1495037"/>
                      </a:cubicBezTo>
                      <a:cubicBezTo>
                        <a:pt x="7469827" y="1486575"/>
                        <a:pt x="7472287" y="1474964"/>
                        <a:pt x="7481045" y="1475653"/>
                      </a:cubicBezTo>
                      <a:cubicBezTo>
                        <a:pt x="7550316" y="1480376"/>
                        <a:pt x="7557597" y="1485001"/>
                        <a:pt x="7566354" y="1479589"/>
                      </a:cubicBezTo>
                      <a:cubicBezTo>
                        <a:pt x="7640938" y="1431965"/>
                        <a:pt x="7649990" y="1431768"/>
                        <a:pt x="7653041" y="1421830"/>
                      </a:cubicBezTo>
                      <a:lnTo>
                        <a:pt x="7662093" y="1391918"/>
                      </a:lnTo>
                      <a:cubicBezTo>
                        <a:pt x="7664750" y="1383161"/>
                        <a:pt x="7652549" y="1379520"/>
                        <a:pt x="7642316" y="1370271"/>
                      </a:cubicBezTo>
                      <a:cubicBezTo>
                        <a:pt x="7635231" y="1364859"/>
                        <a:pt x="7640446" y="1354429"/>
                        <a:pt x="7640840" y="1342917"/>
                      </a:cubicBezTo>
                      <a:cubicBezTo>
                        <a:pt x="7641234" y="1339867"/>
                        <a:pt x="7643988" y="1337111"/>
                        <a:pt x="7647039" y="1336718"/>
                      </a:cubicBezTo>
                      <a:cubicBezTo>
                        <a:pt x="7679805" y="1331896"/>
                        <a:pt x="7689841" y="1333963"/>
                        <a:pt x="7697417" y="1327665"/>
                      </a:cubicBezTo>
                      <a:cubicBezTo>
                        <a:pt x="7706568" y="1321171"/>
                        <a:pt x="7716310" y="1308281"/>
                        <a:pt x="7716802" y="1317137"/>
                      </a:cubicBezTo>
                      <a:cubicBezTo>
                        <a:pt x="7716506" y="1324418"/>
                        <a:pt x="7719950" y="1333963"/>
                        <a:pt x="7713850" y="1340063"/>
                      </a:cubicBezTo>
                      <a:cubicBezTo>
                        <a:pt x="7708044" y="1347246"/>
                        <a:pt x="7696138" y="1353347"/>
                        <a:pt x="7701550" y="1360136"/>
                      </a:cubicBezTo>
                      <a:cubicBezTo>
                        <a:pt x="7709422" y="1371353"/>
                        <a:pt x="7718081" y="1376962"/>
                        <a:pt x="7717096" y="1385916"/>
                      </a:cubicBezTo>
                      <a:cubicBezTo>
                        <a:pt x="7717293" y="1390934"/>
                        <a:pt x="7712571" y="1402348"/>
                        <a:pt x="7720836" y="1402840"/>
                      </a:cubicBezTo>
                      <a:cubicBezTo>
                        <a:pt x="7769148" y="1404414"/>
                        <a:pt x="7778004" y="1408547"/>
                        <a:pt x="7786368" y="1403234"/>
                      </a:cubicBezTo>
                      <a:cubicBezTo>
                        <a:pt x="7800930" y="1395362"/>
                        <a:pt x="7807719" y="1386605"/>
                        <a:pt x="7816477" y="1389458"/>
                      </a:cubicBezTo>
                      <a:lnTo>
                        <a:pt x="7869807" y="1406874"/>
                      </a:lnTo>
                      <a:cubicBezTo>
                        <a:pt x="7878958" y="1409826"/>
                        <a:pt x="7877285" y="1421830"/>
                        <a:pt x="7884764" y="1445052"/>
                      </a:cubicBezTo>
                      <a:cubicBezTo>
                        <a:pt x="7887223" y="1454301"/>
                        <a:pt x="7898244" y="1456170"/>
                        <a:pt x="7919497" y="1469749"/>
                      </a:cubicBezTo>
                      <a:cubicBezTo>
                        <a:pt x="7927369" y="1474374"/>
                        <a:pt x="7935733" y="1467781"/>
                        <a:pt x="7953444" y="1463157"/>
                      </a:cubicBezTo>
                      <a:cubicBezTo>
                        <a:pt x="7961315" y="1460598"/>
                        <a:pt x="7959347" y="1473291"/>
                        <a:pt x="7960626" y="1478014"/>
                      </a:cubicBezTo>
                      <a:cubicBezTo>
                        <a:pt x="7961807" y="1488346"/>
                        <a:pt x="7973024" y="1485985"/>
                        <a:pt x="8066698" y="1524556"/>
                      </a:cubicBezTo>
                      <a:cubicBezTo>
                        <a:pt x="8075356" y="1527901"/>
                        <a:pt x="8080079" y="1516094"/>
                        <a:pt x="8093855" y="1503597"/>
                      </a:cubicBezTo>
                      <a:cubicBezTo>
                        <a:pt x="8096019" y="1501334"/>
                        <a:pt x="8095528" y="1498284"/>
                        <a:pt x="8092871" y="1496710"/>
                      </a:cubicBezTo>
                      <a:lnTo>
                        <a:pt x="8063057" y="1478998"/>
                      </a:lnTo>
                      <a:cubicBezTo>
                        <a:pt x="8060400" y="1477424"/>
                        <a:pt x="8060203" y="1474571"/>
                        <a:pt x="8062663" y="1472701"/>
                      </a:cubicBezTo>
                      <a:lnTo>
                        <a:pt x="8109205" y="1436491"/>
                      </a:lnTo>
                      <a:cubicBezTo>
                        <a:pt x="8111665" y="1434622"/>
                        <a:pt x="8112156" y="1430981"/>
                        <a:pt x="8110484" y="1428423"/>
                      </a:cubicBezTo>
                      <a:lnTo>
                        <a:pt x="8089722" y="1398215"/>
                      </a:lnTo>
                      <a:cubicBezTo>
                        <a:pt x="8082047" y="1387097"/>
                        <a:pt x="8059515" y="1394968"/>
                        <a:pt x="8059515" y="1383161"/>
                      </a:cubicBezTo>
                      <a:lnTo>
                        <a:pt x="8059515" y="1380799"/>
                      </a:lnTo>
                      <a:cubicBezTo>
                        <a:pt x="8059515" y="1377749"/>
                        <a:pt x="8061975" y="1375191"/>
                        <a:pt x="8065123" y="1375191"/>
                      </a:cubicBezTo>
                      <a:cubicBezTo>
                        <a:pt x="8079489" y="1376076"/>
                        <a:pt x="8090214" y="1372632"/>
                        <a:pt x="8096708" y="1379127"/>
                      </a:cubicBezTo>
                      <a:lnTo>
                        <a:pt x="8106056" y="1388474"/>
                      </a:lnTo>
                      <a:cubicBezTo>
                        <a:pt x="8113042" y="1395559"/>
                        <a:pt x="8121898" y="1393000"/>
                        <a:pt x="8172079" y="1401462"/>
                      </a:cubicBezTo>
                      <a:cubicBezTo>
                        <a:pt x="8179951" y="1402643"/>
                        <a:pt x="8176311" y="1391229"/>
                        <a:pt x="8176704" y="1388179"/>
                      </a:cubicBezTo>
                      <a:cubicBezTo>
                        <a:pt x="8176114" y="1379127"/>
                        <a:pt x="8190087" y="1385424"/>
                        <a:pt x="8202779" y="1385621"/>
                      </a:cubicBezTo>
                      <a:cubicBezTo>
                        <a:pt x="8211045" y="1386605"/>
                        <a:pt x="8208781" y="1374699"/>
                        <a:pt x="8210158" y="1369680"/>
                      </a:cubicBezTo>
                      <a:cubicBezTo>
                        <a:pt x="8211142" y="1361022"/>
                        <a:pt x="8221474" y="1357775"/>
                        <a:pt x="8229543" y="1351280"/>
                      </a:cubicBezTo>
                      <a:cubicBezTo>
                        <a:pt x="8236825" y="1346262"/>
                        <a:pt x="8246172" y="1350395"/>
                        <a:pt x="8256897" y="1351084"/>
                      </a:cubicBezTo>
                      <a:cubicBezTo>
                        <a:pt x="8264079" y="1351969"/>
                        <a:pt x="8264276" y="1343409"/>
                        <a:pt x="8264769" y="1342425"/>
                      </a:cubicBezTo>
                      <a:cubicBezTo>
                        <a:pt x="8265555" y="1339473"/>
                        <a:pt x="8263982" y="1335635"/>
                        <a:pt x="8261424" y="1334061"/>
                      </a:cubicBezTo>
                      <a:cubicBezTo>
                        <a:pt x="8138920" y="1257017"/>
                        <a:pt x="8138232" y="1252786"/>
                        <a:pt x="8127703" y="1251507"/>
                      </a:cubicBezTo>
                      <a:cubicBezTo>
                        <a:pt x="8080670" y="1247079"/>
                        <a:pt x="8058629" y="1239995"/>
                        <a:pt x="8065713" y="1247670"/>
                      </a:cubicBezTo>
                      <a:cubicBezTo>
                        <a:pt x="8069452" y="1252491"/>
                        <a:pt x="8082146" y="1262232"/>
                        <a:pt x="8073585" y="1261740"/>
                      </a:cubicBezTo>
                      <a:lnTo>
                        <a:pt x="8040426" y="1259871"/>
                      </a:lnTo>
                      <a:cubicBezTo>
                        <a:pt x="8028028" y="1259182"/>
                        <a:pt x="8048986" y="1236944"/>
                        <a:pt x="8036687" y="1235567"/>
                      </a:cubicBezTo>
                      <a:cubicBezTo>
                        <a:pt x="7985324" y="1231631"/>
                        <a:pt x="7976469" y="1225629"/>
                        <a:pt x="7969384" y="1232713"/>
                      </a:cubicBezTo>
                      <a:lnTo>
                        <a:pt x="7966235" y="1235862"/>
                      </a:lnTo>
                      <a:cubicBezTo>
                        <a:pt x="7957281" y="1244914"/>
                        <a:pt x="7992113" y="1245898"/>
                        <a:pt x="7993688" y="1258887"/>
                      </a:cubicBezTo>
                      <a:cubicBezTo>
                        <a:pt x="7993688" y="1263708"/>
                        <a:pt x="7997525" y="1272564"/>
                        <a:pt x="7991228" y="1277779"/>
                      </a:cubicBezTo>
                      <a:cubicBezTo>
                        <a:pt x="7989555" y="1279845"/>
                        <a:pt x="7978830" y="1285158"/>
                        <a:pt x="7985324" y="1289685"/>
                      </a:cubicBezTo>
                      <a:lnTo>
                        <a:pt x="8000772" y="1300508"/>
                      </a:lnTo>
                      <a:cubicBezTo>
                        <a:pt x="8007660" y="1305330"/>
                        <a:pt x="7998804" y="1313792"/>
                        <a:pt x="7997033" y="1318515"/>
                      </a:cubicBezTo>
                      <a:cubicBezTo>
                        <a:pt x="7995558" y="1321171"/>
                        <a:pt x="7992212" y="1322057"/>
                        <a:pt x="7989653" y="1320384"/>
                      </a:cubicBezTo>
                      <a:lnTo>
                        <a:pt x="7943703" y="1290767"/>
                      </a:lnTo>
                      <a:cubicBezTo>
                        <a:pt x="7935142" y="1285257"/>
                        <a:pt x="7947245" y="1275909"/>
                        <a:pt x="7945769" y="1262527"/>
                      </a:cubicBezTo>
                      <a:lnTo>
                        <a:pt x="7940849" y="1215789"/>
                      </a:lnTo>
                      <a:cubicBezTo>
                        <a:pt x="7939570" y="1203588"/>
                        <a:pt x="7913987" y="1218052"/>
                        <a:pt x="7917037" y="1206048"/>
                      </a:cubicBezTo>
                      <a:cubicBezTo>
                        <a:pt x="7918021" y="1198570"/>
                        <a:pt x="7924220" y="1188829"/>
                        <a:pt x="7917529" y="1183319"/>
                      </a:cubicBezTo>
                      <a:lnTo>
                        <a:pt x="7892930" y="1163344"/>
                      </a:lnTo>
                      <a:cubicBezTo>
                        <a:pt x="7890569" y="1161376"/>
                        <a:pt x="7886829" y="1161573"/>
                        <a:pt x="7884665" y="1163738"/>
                      </a:cubicBezTo>
                      <a:lnTo>
                        <a:pt x="7883976" y="1164427"/>
                      </a:lnTo>
                      <a:cubicBezTo>
                        <a:pt x="7876203" y="1172200"/>
                        <a:pt x="7895292" y="1174364"/>
                        <a:pt x="7894308" y="1186270"/>
                      </a:cubicBezTo>
                      <a:lnTo>
                        <a:pt x="7894111" y="1188730"/>
                      </a:lnTo>
                      <a:cubicBezTo>
                        <a:pt x="7893816" y="1191781"/>
                        <a:pt x="7891159" y="1193748"/>
                        <a:pt x="7888109" y="1193158"/>
                      </a:cubicBezTo>
                      <a:cubicBezTo>
                        <a:pt x="7853178" y="1184401"/>
                        <a:pt x="7840485" y="1187353"/>
                        <a:pt x="7838124" y="1177808"/>
                      </a:cubicBezTo>
                      <a:cubicBezTo>
                        <a:pt x="7838124" y="1176824"/>
                        <a:pt x="7834286" y="1168756"/>
                        <a:pt x="7841272" y="1167182"/>
                      </a:cubicBezTo>
                      <a:cubicBezTo>
                        <a:pt x="7850423" y="1164033"/>
                        <a:pt x="7862723" y="1165509"/>
                        <a:pt x="7863215" y="1156653"/>
                      </a:cubicBezTo>
                      <a:cubicBezTo>
                        <a:pt x="7862821" y="1152816"/>
                        <a:pt x="7866658" y="1140713"/>
                        <a:pt x="7858688" y="1142583"/>
                      </a:cubicBezTo>
                      <a:cubicBezTo>
                        <a:pt x="7843929" y="1145141"/>
                        <a:pt x="7835270" y="1150257"/>
                        <a:pt x="7827202" y="1146223"/>
                      </a:cubicBezTo>
                      <a:cubicBezTo>
                        <a:pt x="7710800" y="1085808"/>
                        <a:pt x="7702141" y="1088563"/>
                        <a:pt x="7701452" y="1077937"/>
                      </a:cubicBezTo>
                      <a:cubicBezTo>
                        <a:pt x="7700763" y="1074296"/>
                        <a:pt x="7702534" y="1065145"/>
                        <a:pt x="7695942" y="1060619"/>
                      </a:cubicBezTo>
                      <a:cubicBezTo>
                        <a:pt x="7674393" y="1046843"/>
                        <a:pt x="7668391" y="1038676"/>
                        <a:pt x="7658846" y="1038972"/>
                      </a:cubicBezTo>
                      <a:cubicBezTo>
                        <a:pt x="7651368" y="1038676"/>
                        <a:pt x="7642316" y="1041235"/>
                        <a:pt x="7635231" y="1036512"/>
                      </a:cubicBezTo>
                      <a:lnTo>
                        <a:pt x="7587903" y="1004238"/>
                      </a:lnTo>
                      <a:cubicBezTo>
                        <a:pt x="7579932" y="998826"/>
                        <a:pt x="7569995" y="1001089"/>
                        <a:pt x="7546183" y="998925"/>
                      </a:cubicBezTo>
                      <a:cubicBezTo>
                        <a:pt x="7533490" y="998137"/>
                        <a:pt x="7572848" y="987215"/>
                        <a:pt x="7560549" y="985543"/>
                      </a:cubicBezTo>
                      <a:cubicBezTo>
                        <a:pt x="7504364" y="977572"/>
                        <a:pt x="7497280" y="977966"/>
                        <a:pt x="7487834" y="974522"/>
                      </a:cubicBezTo>
                      <a:cubicBezTo>
                        <a:pt x="7398589" y="944315"/>
                        <a:pt x="7392488" y="935459"/>
                        <a:pt x="7384814" y="942445"/>
                      </a:cubicBezTo>
                      <a:cubicBezTo>
                        <a:pt x="7383829" y="943036"/>
                        <a:pt x="7380189" y="947857"/>
                        <a:pt x="7373498" y="947070"/>
                      </a:cubicBezTo>
                      <a:cubicBezTo>
                        <a:pt x="7369070" y="945889"/>
                        <a:pt x="7355295" y="947463"/>
                        <a:pt x="7360116" y="940674"/>
                      </a:cubicBezTo>
                      <a:cubicBezTo>
                        <a:pt x="7360608" y="939690"/>
                        <a:pt x="7368677" y="931031"/>
                        <a:pt x="7361198" y="931917"/>
                      </a:cubicBezTo>
                      <a:cubicBezTo>
                        <a:pt x="7295175" y="937722"/>
                        <a:pt x="7287697" y="942937"/>
                        <a:pt x="7279333" y="937230"/>
                      </a:cubicBezTo>
                      <a:cubicBezTo>
                        <a:pt x="7274512" y="934475"/>
                        <a:pt x="7268608" y="928079"/>
                        <a:pt x="7260343" y="928178"/>
                      </a:cubicBezTo>
                      <a:lnTo>
                        <a:pt x="7216556" y="928867"/>
                      </a:lnTo>
                      <a:cubicBezTo>
                        <a:pt x="7208488" y="928965"/>
                        <a:pt x="7217835" y="938313"/>
                        <a:pt x="7219312" y="941560"/>
                      </a:cubicBezTo>
                      <a:cubicBezTo>
                        <a:pt x="7223641" y="948054"/>
                        <a:pt x="7211833" y="947660"/>
                        <a:pt x="7209865" y="948447"/>
                      </a:cubicBezTo>
                      <a:cubicBezTo>
                        <a:pt x="7197566" y="950710"/>
                        <a:pt x="7182315" y="926308"/>
                        <a:pt x="7168441" y="924931"/>
                      </a:cubicBezTo>
                      <a:cubicBezTo>
                        <a:pt x="7049382" y="915288"/>
                        <a:pt x="7038558" y="906924"/>
                        <a:pt x="7038853" y="917551"/>
                      </a:cubicBezTo>
                      <a:cubicBezTo>
                        <a:pt x="7037869" y="931523"/>
                        <a:pt x="7042888" y="944413"/>
                        <a:pt x="7033933" y="946283"/>
                      </a:cubicBezTo>
                      <a:cubicBezTo>
                        <a:pt x="7027734" y="948349"/>
                        <a:pt x="7017010" y="947267"/>
                        <a:pt x="7014156" y="955335"/>
                      </a:cubicBezTo>
                      <a:cubicBezTo>
                        <a:pt x="7014058" y="956713"/>
                        <a:pt x="7008449" y="965863"/>
                        <a:pt x="7016025" y="966552"/>
                      </a:cubicBezTo>
                      <a:cubicBezTo>
                        <a:pt x="7035901" y="969799"/>
                        <a:pt x="7047315" y="966257"/>
                        <a:pt x="7050464" y="974916"/>
                      </a:cubicBezTo>
                      <a:lnTo>
                        <a:pt x="7066994" y="1020375"/>
                      </a:lnTo>
                      <a:cubicBezTo>
                        <a:pt x="7068077" y="1023228"/>
                        <a:pt x="7066699" y="1026770"/>
                        <a:pt x="7063944" y="1028148"/>
                      </a:cubicBezTo>
                      <a:cubicBezTo>
                        <a:pt x="7028226" y="1045564"/>
                        <a:pt x="7022028" y="1050878"/>
                        <a:pt x="7012385" y="1052157"/>
                      </a:cubicBezTo>
                      <a:cubicBezTo>
                        <a:pt x="6991426" y="1053928"/>
                        <a:pt x="6981292" y="1059143"/>
                        <a:pt x="6973715" y="1053338"/>
                      </a:cubicBezTo>
                      <a:cubicBezTo>
                        <a:pt x="6972043" y="1051566"/>
                        <a:pt x="6963285" y="1047926"/>
                        <a:pt x="6964958" y="1040251"/>
                      </a:cubicBezTo>
                      <a:cubicBezTo>
                        <a:pt x="6965352" y="1034544"/>
                        <a:pt x="6971551" y="1023425"/>
                        <a:pt x="6963285" y="1021555"/>
                      </a:cubicBezTo>
                      <a:lnTo>
                        <a:pt x="6897950" y="1006796"/>
                      </a:lnTo>
                      <a:cubicBezTo>
                        <a:pt x="6885159" y="1003943"/>
                        <a:pt x="6903264" y="975900"/>
                        <a:pt x="6891850" y="969110"/>
                      </a:cubicBezTo>
                      <a:cubicBezTo>
                        <a:pt x="6870891" y="958189"/>
                        <a:pt x="6863118" y="947562"/>
                        <a:pt x="6855148" y="952974"/>
                      </a:cubicBezTo>
                      <a:cubicBezTo>
                        <a:pt x="6828581" y="969799"/>
                        <a:pt x="6822874" y="977868"/>
                        <a:pt x="6813231" y="977474"/>
                      </a:cubicBezTo>
                      <a:cubicBezTo>
                        <a:pt x="6667310" y="969307"/>
                        <a:pt x="6664063" y="973538"/>
                        <a:pt x="6655798" y="966847"/>
                      </a:cubicBezTo>
                      <a:cubicBezTo>
                        <a:pt x="6643794" y="958287"/>
                        <a:pt x="6637890" y="949038"/>
                        <a:pt x="6628739" y="950022"/>
                      </a:cubicBezTo>
                      <a:cubicBezTo>
                        <a:pt x="6536837" y="961042"/>
                        <a:pt x="6528867" y="956713"/>
                        <a:pt x="6522766" y="964978"/>
                      </a:cubicBezTo>
                      <a:cubicBezTo>
                        <a:pt x="6496790" y="998433"/>
                        <a:pt x="6494330" y="1006698"/>
                        <a:pt x="6485376" y="1010732"/>
                      </a:cubicBezTo>
                      <a:cubicBezTo>
                        <a:pt x="6480260" y="1012405"/>
                        <a:pt x="6467074" y="1020965"/>
                        <a:pt x="6470715" y="1013290"/>
                      </a:cubicBezTo>
                      <a:cubicBezTo>
                        <a:pt x="6487541" y="974522"/>
                        <a:pt x="6499643" y="961042"/>
                        <a:pt x="6489902" y="962715"/>
                      </a:cubicBezTo>
                      <a:cubicBezTo>
                        <a:pt x="6485180" y="963994"/>
                        <a:pt x="6476422" y="963600"/>
                        <a:pt x="6470420" y="969307"/>
                      </a:cubicBezTo>
                      <a:cubicBezTo>
                        <a:pt x="6453693" y="983771"/>
                        <a:pt x="6443656" y="998826"/>
                        <a:pt x="6443656" y="989380"/>
                      </a:cubicBezTo>
                      <a:cubicBezTo>
                        <a:pt x="6442672" y="980524"/>
                        <a:pt x="6446608" y="968914"/>
                        <a:pt x="6438442" y="965962"/>
                      </a:cubicBezTo>
                      <a:lnTo>
                        <a:pt x="6367793" y="940280"/>
                      </a:lnTo>
                      <a:cubicBezTo>
                        <a:pt x="6364939" y="939198"/>
                        <a:pt x="6363562" y="936050"/>
                        <a:pt x="6364841" y="933294"/>
                      </a:cubicBezTo>
                      <a:lnTo>
                        <a:pt x="6383635" y="891771"/>
                      </a:lnTo>
                      <a:cubicBezTo>
                        <a:pt x="6387570" y="883014"/>
                        <a:pt x="6377829" y="876028"/>
                        <a:pt x="6365431" y="853298"/>
                      </a:cubicBezTo>
                      <a:cubicBezTo>
                        <a:pt x="6363857" y="850642"/>
                        <a:pt x="6360217" y="847592"/>
                        <a:pt x="6357363" y="846411"/>
                      </a:cubicBezTo>
                      <a:cubicBezTo>
                        <a:pt x="6223446" y="793375"/>
                        <a:pt x="6317808" y="819647"/>
                        <a:pt x="6131938" y="802133"/>
                      </a:cubicBezTo>
                      <a:cubicBezTo>
                        <a:pt x="6128888" y="801936"/>
                        <a:pt x="6123869" y="802133"/>
                        <a:pt x="6120918" y="802723"/>
                      </a:cubicBezTo>
                      <a:cubicBezTo>
                        <a:pt x="5944986" y="834406"/>
                        <a:pt x="5945674" y="837260"/>
                        <a:pt x="5935244" y="834997"/>
                      </a:cubicBezTo>
                      <a:cubicBezTo>
                        <a:pt x="5913204" y="829388"/>
                        <a:pt x="5902872" y="830471"/>
                        <a:pt x="5896279" y="823485"/>
                      </a:cubicBezTo>
                      <a:cubicBezTo>
                        <a:pt x="5854264" y="780190"/>
                        <a:pt x="5851608" y="772122"/>
                        <a:pt x="5841768" y="769563"/>
                      </a:cubicBezTo>
                      <a:cubicBezTo>
                        <a:pt x="5714739" y="734633"/>
                        <a:pt x="5696733" y="736010"/>
                        <a:pt x="5705195" y="729418"/>
                      </a:cubicBezTo>
                      <a:cubicBezTo>
                        <a:pt x="5717789" y="721054"/>
                        <a:pt x="5724480" y="710526"/>
                        <a:pt x="5733041" y="714068"/>
                      </a:cubicBezTo>
                      <a:cubicBezTo>
                        <a:pt x="5743471" y="717217"/>
                        <a:pt x="5752818" y="725482"/>
                        <a:pt x="5758624" y="718791"/>
                      </a:cubicBezTo>
                      <a:cubicBezTo>
                        <a:pt x="5761969" y="713773"/>
                        <a:pt x="5773580" y="706098"/>
                        <a:pt x="5766102" y="701769"/>
                      </a:cubicBezTo>
                      <a:cubicBezTo>
                        <a:pt x="5712180" y="671955"/>
                        <a:pt x="5706572" y="665461"/>
                        <a:pt x="5696536" y="664870"/>
                      </a:cubicBezTo>
                      <a:cubicBezTo>
                        <a:pt x="5605913" y="661328"/>
                        <a:pt x="5597352" y="655719"/>
                        <a:pt x="5589874" y="662902"/>
                      </a:cubicBezTo>
                      <a:cubicBezTo>
                        <a:pt x="5524146" y="723613"/>
                        <a:pt x="5522375" y="731091"/>
                        <a:pt x="5512142" y="732271"/>
                      </a:cubicBezTo>
                      <a:cubicBezTo>
                        <a:pt x="5465010" y="736699"/>
                        <a:pt x="5444740" y="743784"/>
                        <a:pt x="5451038" y="735814"/>
                      </a:cubicBezTo>
                      <a:lnTo>
                        <a:pt x="5489609" y="686812"/>
                      </a:lnTo>
                      <a:cubicBezTo>
                        <a:pt x="5497677" y="676481"/>
                        <a:pt x="5506238" y="712100"/>
                        <a:pt x="5515585" y="703146"/>
                      </a:cubicBezTo>
                      <a:cubicBezTo>
                        <a:pt x="5552385" y="665756"/>
                        <a:pt x="5570097" y="656408"/>
                        <a:pt x="5560258" y="654047"/>
                      </a:cubicBezTo>
                      <a:lnTo>
                        <a:pt x="5450546" y="628267"/>
                      </a:lnTo>
                      <a:cubicBezTo>
                        <a:pt x="5433917" y="624331"/>
                        <a:pt x="5263594" y="613803"/>
                        <a:pt x="5253065" y="609178"/>
                      </a:cubicBezTo>
                      <a:cubicBezTo>
                        <a:pt x="5232993" y="600913"/>
                        <a:pt x="5225219" y="595206"/>
                        <a:pt x="5215675" y="594911"/>
                      </a:cubicBezTo>
                      <a:lnTo>
                        <a:pt x="5197275" y="594419"/>
                      </a:lnTo>
                      <a:cubicBezTo>
                        <a:pt x="5187730" y="594123"/>
                        <a:pt x="5202489" y="605636"/>
                        <a:pt x="5214396" y="621970"/>
                      </a:cubicBezTo>
                      <a:cubicBezTo>
                        <a:pt x="5219906" y="628759"/>
                        <a:pt x="5207016" y="633383"/>
                        <a:pt x="5200227" y="640074"/>
                      </a:cubicBezTo>
                      <a:cubicBezTo>
                        <a:pt x="5192158" y="646273"/>
                        <a:pt x="5183991" y="642338"/>
                        <a:pt x="5121903" y="644305"/>
                      </a:cubicBezTo>
                      <a:cubicBezTo>
                        <a:pt x="5112359" y="644404"/>
                        <a:pt x="5108915" y="654440"/>
                        <a:pt x="5090515" y="673037"/>
                      </a:cubicBezTo>
                      <a:cubicBezTo>
                        <a:pt x="5085693" y="678350"/>
                        <a:pt x="5095238" y="679728"/>
                        <a:pt x="5096222" y="680318"/>
                      </a:cubicBezTo>
                      <a:cubicBezTo>
                        <a:pt x="5099174" y="681302"/>
                        <a:pt x="5103503" y="680515"/>
                        <a:pt x="5105963" y="678646"/>
                      </a:cubicBezTo>
                      <a:lnTo>
                        <a:pt x="5107833" y="677268"/>
                      </a:lnTo>
                      <a:cubicBezTo>
                        <a:pt x="5115508" y="671364"/>
                        <a:pt x="5124560" y="673037"/>
                        <a:pt x="5154276" y="668117"/>
                      </a:cubicBezTo>
                      <a:cubicBezTo>
                        <a:pt x="5161754" y="667035"/>
                        <a:pt x="5161262" y="677858"/>
                        <a:pt x="5162049" y="679925"/>
                      </a:cubicBezTo>
                      <a:cubicBezTo>
                        <a:pt x="5163623" y="688780"/>
                        <a:pt x="5149257" y="684353"/>
                        <a:pt x="5139122" y="685435"/>
                      </a:cubicBezTo>
                      <a:cubicBezTo>
                        <a:pt x="5130366" y="685435"/>
                        <a:pt x="5128988" y="697242"/>
                        <a:pt x="5124462" y="705016"/>
                      </a:cubicBezTo>
                      <a:cubicBezTo>
                        <a:pt x="5121313" y="711707"/>
                        <a:pt x="5128692" y="715741"/>
                        <a:pt x="5129480" y="716922"/>
                      </a:cubicBezTo>
                      <a:cubicBezTo>
                        <a:pt x="5135580" y="722629"/>
                        <a:pt x="5127807" y="731091"/>
                        <a:pt x="5126134" y="736207"/>
                      </a:cubicBezTo>
                      <a:cubicBezTo>
                        <a:pt x="5122199" y="744473"/>
                        <a:pt x="5134498" y="748999"/>
                        <a:pt x="5144141" y="758937"/>
                      </a:cubicBezTo>
                      <a:cubicBezTo>
                        <a:pt x="5151717" y="765529"/>
                        <a:pt x="5132235" y="762676"/>
                        <a:pt x="5088350" y="767891"/>
                      </a:cubicBezTo>
                      <a:cubicBezTo>
                        <a:pt x="5076248" y="768973"/>
                        <a:pt x="5082742" y="743685"/>
                        <a:pt x="5070738" y="745358"/>
                      </a:cubicBezTo>
                      <a:cubicBezTo>
                        <a:pt x="5044564" y="750475"/>
                        <a:pt x="5033052" y="747523"/>
                        <a:pt x="5028624" y="756083"/>
                      </a:cubicBezTo>
                      <a:cubicBezTo>
                        <a:pt x="5025278" y="764348"/>
                        <a:pt x="5017112" y="772319"/>
                        <a:pt x="5022032" y="779502"/>
                      </a:cubicBezTo>
                      <a:cubicBezTo>
                        <a:pt x="5023015" y="781469"/>
                        <a:pt x="5031773" y="790817"/>
                        <a:pt x="5024000" y="789735"/>
                      </a:cubicBezTo>
                      <a:cubicBezTo>
                        <a:pt x="5005206" y="786684"/>
                        <a:pt x="4996547" y="787275"/>
                        <a:pt x="4988577" y="782847"/>
                      </a:cubicBezTo>
                      <a:cubicBezTo>
                        <a:pt x="4951777" y="762971"/>
                        <a:pt x="4945873" y="757854"/>
                        <a:pt x="4936328" y="755591"/>
                      </a:cubicBezTo>
                      <a:cubicBezTo>
                        <a:pt x="4889984" y="745653"/>
                        <a:pt x="4881817" y="739651"/>
                        <a:pt x="4872863" y="743882"/>
                      </a:cubicBezTo>
                      <a:cubicBezTo>
                        <a:pt x="4828880" y="763660"/>
                        <a:pt x="4822976" y="769170"/>
                        <a:pt x="4813039" y="769563"/>
                      </a:cubicBezTo>
                      <a:cubicBezTo>
                        <a:pt x="4776828" y="770154"/>
                        <a:pt x="4767678" y="773893"/>
                        <a:pt x="4759314" y="768875"/>
                      </a:cubicBezTo>
                      <a:lnTo>
                        <a:pt x="4702146" y="734731"/>
                      </a:lnTo>
                      <a:cubicBezTo>
                        <a:pt x="4699489" y="733157"/>
                        <a:pt x="4699293" y="730304"/>
                        <a:pt x="4701753" y="728434"/>
                      </a:cubicBezTo>
                      <a:cubicBezTo>
                        <a:pt x="4718185" y="714265"/>
                        <a:pt x="4734420" y="706492"/>
                        <a:pt x="4725073" y="705311"/>
                      </a:cubicBezTo>
                      <a:cubicBezTo>
                        <a:pt x="4714544" y="704721"/>
                        <a:pt x="4705000" y="700391"/>
                        <a:pt x="4697817" y="705606"/>
                      </a:cubicBezTo>
                      <a:cubicBezTo>
                        <a:pt x="4681385" y="718398"/>
                        <a:pt x="4672234" y="722137"/>
                        <a:pt x="4667708" y="730599"/>
                      </a:cubicBezTo>
                      <a:cubicBezTo>
                        <a:pt x="4609457" y="835489"/>
                        <a:pt x="4611031" y="848084"/>
                        <a:pt x="4601192" y="844049"/>
                      </a:cubicBezTo>
                      <a:cubicBezTo>
                        <a:pt x="4535660" y="816302"/>
                        <a:pt x="4528281" y="816400"/>
                        <a:pt x="4521491" y="808823"/>
                      </a:cubicBezTo>
                      <a:lnTo>
                        <a:pt x="4469834" y="750770"/>
                      </a:lnTo>
                      <a:cubicBezTo>
                        <a:pt x="4461371" y="741225"/>
                        <a:pt x="4492956" y="736798"/>
                        <a:pt x="4486757" y="725777"/>
                      </a:cubicBezTo>
                      <a:lnTo>
                        <a:pt x="4486069" y="724498"/>
                      </a:lnTo>
                      <a:cubicBezTo>
                        <a:pt x="4479378" y="712395"/>
                        <a:pt x="4445431" y="723711"/>
                        <a:pt x="4435198" y="713183"/>
                      </a:cubicBezTo>
                      <a:lnTo>
                        <a:pt x="4401153" y="678154"/>
                      </a:lnTo>
                      <a:cubicBezTo>
                        <a:pt x="4395840" y="672742"/>
                        <a:pt x="4406467" y="666248"/>
                        <a:pt x="4413649" y="668412"/>
                      </a:cubicBezTo>
                      <a:lnTo>
                        <a:pt x="4479279" y="688485"/>
                      </a:lnTo>
                      <a:cubicBezTo>
                        <a:pt x="4482231" y="689371"/>
                        <a:pt x="4484888" y="687600"/>
                        <a:pt x="4485183" y="684549"/>
                      </a:cubicBezTo>
                      <a:cubicBezTo>
                        <a:pt x="4485478" y="668708"/>
                        <a:pt x="4492071" y="655031"/>
                        <a:pt x="4482822" y="653653"/>
                      </a:cubicBezTo>
                      <a:cubicBezTo>
                        <a:pt x="4482822" y="653653"/>
                        <a:pt x="4446514" y="648340"/>
                        <a:pt x="4441594" y="648340"/>
                      </a:cubicBezTo>
                      <a:cubicBezTo>
                        <a:pt x="4436674" y="648340"/>
                        <a:pt x="4417487" y="631120"/>
                        <a:pt x="4417487" y="631120"/>
                      </a:cubicBezTo>
                      <a:cubicBezTo>
                        <a:pt x="4409812" y="624331"/>
                        <a:pt x="4429589" y="628267"/>
                        <a:pt x="4481543" y="625118"/>
                      </a:cubicBezTo>
                      <a:cubicBezTo>
                        <a:pt x="4490693" y="624823"/>
                        <a:pt x="4486265" y="611244"/>
                        <a:pt x="4488135" y="596091"/>
                      </a:cubicBezTo>
                      <a:cubicBezTo>
                        <a:pt x="4488234" y="593041"/>
                        <a:pt x="4486364" y="589007"/>
                        <a:pt x="4483904" y="587236"/>
                      </a:cubicBezTo>
                      <a:cubicBezTo>
                        <a:pt x="4444447" y="560079"/>
                        <a:pt x="4439232" y="548861"/>
                        <a:pt x="4430770" y="554175"/>
                      </a:cubicBezTo>
                      <a:lnTo>
                        <a:pt x="4404597" y="570410"/>
                      </a:lnTo>
                      <a:cubicBezTo>
                        <a:pt x="4402039" y="571984"/>
                        <a:pt x="4398398" y="571296"/>
                        <a:pt x="4396528" y="568934"/>
                      </a:cubicBezTo>
                      <a:cubicBezTo>
                        <a:pt x="4395446" y="566769"/>
                        <a:pt x="4387279" y="560275"/>
                        <a:pt x="4392691" y="554568"/>
                      </a:cubicBezTo>
                      <a:cubicBezTo>
                        <a:pt x="4402236" y="542958"/>
                        <a:pt x="4417191" y="533315"/>
                        <a:pt x="4407942" y="532036"/>
                      </a:cubicBezTo>
                      <a:cubicBezTo>
                        <a:pt x="4338180" y="524459"/>
                        <a:pt x="4330013" y="517768"/>
                        <a:pt x="4323026" y="525246"/>
                      </a:cubicBezTo>
                      <a:cubicBezTo>
                        <a:pt x="4295082" y="553092"/>
                        <a:pt x="4291736" y="562834"/>
                        <a:pt x="4281897" y="563227"/>
                      </a:cubicBezTo>
                      <a:lnTo>
                        <a:pt x="4281307" y="563227"/>
                      </a:lnTo>
                      <a:cubicBezTo>
                        <a:pt x="4278256" y="563424"/>
                        <a:pt x="4276485" y="561161"/>
                        <a:pt x="4277469" y="558209"/>
                      </a:cubicBezTo>
                      <a:cubicBezTo>
                        <a:pt x="4284062" y="541186"/>
                        <a:pt x="4283472" y="530363"/>
                        <a:pt x="4292032" y="527116"/>
                      </a:cubicBezTo>
                      <a:lnTo>
                        <a:pt x="4292327" y="527116"/>
                      </a:lnTo>
                      <a:cubicBezTo>
                        <a:pt x="4295181" y="525935"/>
                        <a:pt x="4296755" y="522688"/>
                        <a:pt x="4295870" y="519736"/>
                      </a:cubicBezTo>
                      <a:cubicBezTo>
                        <a:pt x="4295279" y="518752"/>
                        <a:pt x="4294393" y="509798"/>
                        <a:pt x="4288096" y="513340"/>
                      </a:cubicBezTo>
                      <a:cubicBezTo>
                        <a:pt x="4280618" y="516686"/>
                        <a:pt x="4273828" y="524066"/>
                        <a:pt x="4265760" y="520917"/>
                      </a:cubicBezTo>
                      <a:cubicBezTo>
                        <a:pt x="4185764" y="491496"/>
                        <a:pt x="4180451" y="484117"/>
                        <a:pt x="4171005" y="488348"/>
                      </a:cubicBezTo>
                      <a:cubicBezTo>
                        <a:pt x="4163723" y="490709"/>
                        <a:pt x="4154769" y="499073"/>
                        <a:pt x="4149358" y="492382"/>
                      </a:cubicBezTo>
                      <a:cubicBezTo>
                        <a:pt x="4147685" y="491004"/>
                        <a:pt x="4142962" y="481263"/>
                        <a:pt x="4137452" y="486577"/>
                      </a:cubicBezTo>
                      <a:cubicBezTo>
                        <a:pt x="4114329" y="511077"/>
                        <a:pt x="4102029" y="515407"/>
                        <a:pt x="4105571" y="524459"/>
                      </a:cubicBezTo>
                      <a:cubicBezTo>
                        <a:pt x="4115706" y="554076"/>
                        <a:pt x="4123578" y="561850"/>
                        <a:pt x="4118757" y="570312"/>
                      </a:cubicBezTo>
                      <a:cubicBezTo>
                        <a:pt x="4112361" y="579167"/>
                        <a:pt x="4109605" y="593041"/>
                        <a:pt x="4102029" y="588318"/>
                      </a:cubicBezTo>
                      <a:cubicBezTo>
                        <a:pt x="4078513" y="575428"/>
                        <a:pt x="4071428" y="565392"/>
                        <a:pt x="4062867" y="569623"/>
                      </a:cubicBezTo>
                      <a:cubicBezTo>
                        <a:pt x="4037088" y="581529"/>
                        <a:pt x="4030102" y="588417"/>
                        <a:pt x="4020459" y="587531"/>
                      </a:cubicBezTo>
                      <a:lnTo>
                        <a:pt x="3924523" y="578675"/>
                      </a:lnTo>
                      <a:cubicBezTo>
                        <a:pt x="3913306" y="577691"/>
                        <a:pt x="3931902" y="561653"/>
                        <a:pt x="3920783" y="560275"/>
                      </a:cubicBezTo>
                      <a:cubicBezTo>
                        <a:pt x="3897956" y="558898"/>
                        <a:pt x="3886739" y="552699"/>
                        <a:pt x="3881327" y="560571"/>
                      </a:cubicBezTo>
                      <a:cubicBezTo>
                        <a:pt x="3880343" y="561456"/>
                        <a:pt x="3877490" y="568541"/>
                        <a:pt x="3870405" y="567360"/>
                      </a:cubicBezTo>
                      <a:lnTo>
                        <a:pt x="3805168" y="555749"/>
                      </a:lnTo>
                      <a:cubicBezTo>
                        <a:pt x="3802118" y="555257"/>
                        <a:pt x="3800347" y="552305"/>
                        <a:pt x="3801134" y="549353"/>
                      </a:cubicBezTo>
                      <a:cubicBezTo>
                        <a:pt x="3803496" y="543253"/>
                        <a:pt x="3802905" y="532036"/>
                        <a:pt x="3811269" y="530166"/>
                      </a:cubicBezTo>
                      <a:lnTo>
                        <a:pt x="3838525" y="524066"/>
                      </a:lnTo>
                      <a:cubicBezTo>
                        <a:pt x="3841476" y="523377"/>
                        <a:pt x="3842854" y="520622"/>
                        <a:pt x="3841476" y="517867"/>
                      </a:cubicBezTo>
                      <a:lnTo>
                        <a:pt x="3840296" y="515505"/>
                      </a:lnTo>
                      <a:cubicBezTo>
                        <a:pt x="3835671" y="506354"/>
                        <a:pt x="3824553" y="512258"/>
                        <a:pt x="3744852" y="509601"/>
                      </a:cubicBezTo>
                      <a:cubicBezTo>
                        <a:pt x="3719859" y="509405"/>
                        <a:pt x="3619988" y="489135"/>
                        <a:pt x="3609361" y="494547"/>
                      </a:cubicBezTo>
                      <a:cubicBezTo>
                        <a:pt x="3584860" y="506157"/>
                        <a:pt x="3578267" y="512553"/>
                        <a:pt x="3568723" y="512160"/>
                      </a:cubicBezTo>
                      <a:cubicBezTo>
                        <a:pt x="3554456" y="511963"/>
                        <a:pt x="3545305" y="509995"/>
                        <a:pt x="3536646" y="512553"/>
                      </a:cubicBezTo>
                      <a:cubicBezTo>
                        <a:pt x="3521690" y="518162"/>
                        <a:pt x="3503880" y="519146"/>
                        <a:pt x="3511358" y="524853"/>
                      </a:cubicBezTo>
                      <a:lnTo>
                        <a:pt x="3522870" y="533512"/>
                      </a:lnTo>
                      <a:cubicBezTo>
                        <a:pt x="3525330" y="535381"/>
                        <a:pt x="3525232" y="538333"/>
                        <a:pt x="3522772" y="540104"/>
                      </a:cubicBezTo>
                      <a:cubicBezTo>
                        <a:pt x="3519624" y="541678"/>
                        <a:pt x="3513326" y="549353"/>
                        <a:pt x="3506340" y="545418"/>
                      </a:cubicBezTo>
                      <a:lnTo>
                        <a:pt x="3480954" y="531248"/>
                      </a:lnTo>
                      <a:cubicBezTo>
                        <a:pt x="3469441" y="524853"/>
                        <a:pt x="3498862" y="504682"/>
                        <a:pt x="3489809" y="494940"/>
                      </a:cubicBezTo>
                      <a:cubicBezTo>
                        <a:pt x="3467670" y="472408"/>
                        <a:pt x="3455666" y="454893"/>
                        <a:pt x="3457437" y="464536"/>
                      </a:cubicBezTo>
                      <a:cubicBezTo>
                        <a:pt x="3458421" y="476048"/>
                        <a:pt x="3465506" y="489037"/>
                        <a:pt x="3456453" y="489529"/>
                      </a:cubicBezTo>
                      <a:cubicBezTo>
                        <a:pt x="3415717" y="490611"/>
                        <a:pt x="3407550" y="493858"/>
                        <a:pt x="3398695" y="489725"/>
                      </a:cubicBezTo>
                      <a:lnTo>
                        <a:pt x="3365240" y="474080"/>
                      </a:lnTo>
                      <a:cubicBezTo>
                        <a:pt x="3357270" y="470341"/>
                        <a:pt x="3368389" y="461289"/>
                        <a:pt x="3372522" y="453220"/>
                      </a:cubicBezTo>
                      <a:cubicBezTo>
                        <a:pt x="3377638" y="445546"/>
                        <a:pt x="3362386" y="454696"/>
                        <a:pt x="3344971" y="460600"/>
                      </a:cubicBezTo>
                      <a:cubicBezTo>
                        <a:pt x="3335820" y="464142"/>
                        <a:pt x="3328145" y="460502"/>
                        <a:pt x="3287803" y="456959"/>
                      </a:cubicBezTo>
                      <a:cubicBezTo>
                        <a:pt x="3278652" y="455976"/>
                        <a:pt x="3273830" y="465520"/>
                        <a:pt x="3259661" y="477131"/>
                      </a:cubicBezTo>
                      <a:cubicBezTo>
                        <a:pt x="3254053" y="482247"/>
                        <a:pt x="3257398" y="489627"/>
                        <a:pt x="3257398" y="491595"/>
                      </a:cubicBezTo>
                      <a:cubicBezTo>
                        <a:pt x="3257890" y="494645"/>
                        <a:pt x="3260744" y="496515"/>
                        <a:pt x="3263794" y="495826"/>
                      </a:cubicBezTo>
                      <a:lnTo>
                        <a:pt x="3325980" y="480870"/>
                      </a:lnTo>
                      <a:cubicBezTo>
                        <a:pt x="3333852" y="479000"/>
                        <a:pt x="3334639" y="490021"/>
                        <a:pt x="3336509" y="493268"/>
                      </a:cubicBezTo>
                      <a:cubicBezTo>
                        <a:pt x="3340247" y="503304"/>
                        <a:pt x="3328637" y="499073"/>
                        <a:pt x="3166185" y="552994"/>
                      </a:cubicBezTo>
                      <a:cubicBezTo>
                        <a:pt x="3156247" y="556143"/>
                        <a:pt x="3151131" y="554864"/>
                        <a:pt x="3061787" y="561948"/>
                      </a:cubicBezTo>
                      <a:cubicBezTo>
                        <a:pt x="3048405" y="562932"/>
                        <a:pt x="3045552" y="593140"/>
                        <a:pt x="3033351" y="589597"/>
                      </a:cubicBezTo>
                      <a:cubicBezTo>
                        <a:pt x="3030005" y="588023"/>
                        <a:pt x="3018198" y="587826"/>
                        <a:pt x="3020953" y="580250"/>
                      </a:cubicBezTo>
                      <a:cubicBezTo>
                        <a:pt x="3030300" y="558898"/>
                        <a:pt x="3029808" y="546008"/>
                        <a:pt x="3039254" y="544729"/>
                      </a:cubicBezTo>
                      <a:cubicBezTo>
                        <a:pt x="3066116" y="539907"/>
                        <a:pt x="3075858" y="542072"/>
                        <a:pt x="3082647" y="535283"/>
                      </a:cubicBezTo>
                      <a:lnTo>
                        <a:pt x="3107738" y="510192"/>
                      </a:lnTo>
                      <a:cubicBezTo>
                        <a:pt x="3114626" y="503206"/>
                        <a:pt x="3123678" y="505764"/>
                        <a:pt x="3167268" y="498581"/>
                      </a:cubicBezTo>
                      <a:cubicBezTo>
                        <a:pt x="3176812" y="497203"/>
                        <a:pt x="3180059" y="487265"/>
                        <a:pt x="3199443" y="465618"/>
                      </a:cubicBezTo>
                      <a:cubicBezTo>
                        <a:pt x="3205839" y="457845"/>
                        <a:pt x="3214104" y="457845"/>
                        <a:pt x="3267336" y="435312"/>
                      </a:cubicBezTo>
                      <a:cubicBezTo>
                        <a:pt x="3274716" y="432360"/>
                        <a:pt x="3273535" y="422619"/>
                        <a:pt x="3274519" y="419077"/>
                      </a:cubicBezTo>
                      <a:cubicBezTo>
                        <a:pt x="3275995" y="408746"/>
                        <a:pt x="3286917" y="410320"/>
                        <a:pt x="3361501" y="374405"/>
                      </a:cubicBezTo>
                      <a:cubicBezTo>
                        <a:pt x="3374883" y="368305"/>
                        <a:pt x="3391905" y="375783"/>
                        <a:pt x="3399875" y="367321"/>
                      </a:cubicBezTo>
                      <a:cubicBezTo>
                        <a:pt x="3410404" y="357186"/>
                        <a:pt x="3415029" y="348134"/>
                        <a:pt x="3423982" y="346559"/>
                      </a:cubicBezTo>
                      <a:cubicBezTo>
                        <a:pt x="3437955" y="343607"/>
                        <a:pt x="3447598" y="344198"/>
                        <a:pt x="3454780" y="338688"/>
                      </a:cubicBezTo>
                      <a:cubicBezTo>
                        <a:pt x="3496402" y="305725"/>
                        <a:pt x="3505356" y="303068"/>
                        <a:pt x="3508898" y="293819"/>
                      </a:cubicBezTo>
                      <a:cubicBezTo>
                        <a:pt x="3510374" y="287817"/>
                        <a:pt x="3518147" y="277977"/>
                        <a:pt x="3510276" y="274829"/>
                      </a:cubicBezTo>
                      <a:cubicBezTo>
                        <a:pt x="3468458" y="257019"/>
                        <a:pt x="3445728" y="252591"/>
                        <a:pt x="3455568" y="249246"/>
                      </a:cubicBezTo>
                      <a:cubicBezTo>
                        <a:pt x="3462062" y="247573"/>
                        <a:pt x="3469540" y="242850"/>
                        <a:pt x="3477805" y="245015"/>
                      </a:cubicBezTo>
                      <a:cubicBezTo>
                        <a:pt x="3501027" y="249639"/>
                        <a:pt x="3512047" y="258003"/>
                        <a:pt x="3517262" y="249934"/>
                      </a:cubicBezTo>
                      <a:cubicBezTo>
                        <a:pt x="3519033" y="246195"/>
                        <a:pt x="3526511" y="239603"/>
                        <a:pt x="3522772" y="232420"/>
                      </a:cubicBezTo>
                      <a:cubicBezTo>
                        <a:pt x="3500338" y="192373"/>
                        <a:pt x="3499944" y="182041"/>
                        <a:pt x="3490498" y="179188"/>
                      </a:cubicBezTo>
                      <a:cubicBezTo>
                        <a:pt x="3486169" y="178597"/>
                        <a:pt x="3474951" y="172005"/>
                        <a:pt x="3474951" y="180172"/>
                      </a:cubicBezTo>
                      <a:cubicBezTo>
                        <a:pt x="3474165" y="185682"/>
                        <a:pt x="3477805" y="198080"/>
                        <a:pt x="3469343" y="197686"/>
                      </a:cubicBezTo>
                      <a:lnTo>
                        <a:pt x="3454682" y="196997"/>
                      </a:lnTo>
                      <a:cubicBezTo>
                        <a:pt x="3444744" y="196505"/>
                        <a:pt x="3446712" y="184009"/>
                        <a:pt x="3429985" y="140518"/>
                      </a:cubicBezTo>
                      <a:cubicBezTo>
                        <a:pt x="3426934" y="131564"/>
                        <a:pt x="3414635" y="137960"/>
                        <a:pt x="3394365" y="138452"/>
                      </a:cubicBezTo>
                      <a:cubicBezTo>
                        <a:pt x="3378819" y="139928"/>
                        <a:pt x="3343396" y="117001"/>
                        <a:pt x="3329129" y="118773"/>
                      </a:cubicBezTo>
                      <a:cubicBezTo>
                        <a:pt x="3232799" y="129793"/>
                        <a:pt x="3316337" y="123791"/>
                        <a:pt x="3160675" y="123692"/>
                      </a:cubicBezTo>
                      <a:cubicBezTo>
                        <a:pt x="3148375" y="123496"/>
                        <a:pt x="3160478" y="147701"/>
                        <a:pt x="3148277" y="147504"/>
                      </a:cubicBezTo>
                      <a:cubicBezTo>
                        <a:pt x="3079105" y="145241"/>
                        <a:pt x="3057851" y="149571"/>
                        <a:pt x="3065821" y="142683"/>
                      </a:cubicBezTo>
                      <a:cubicBezTo>
                        <a:pt x="3109017" y="102636"/>
                        <a:pt x="3127220" y="93682"/>
                        <a:pt x="3116987" y="91910"/>
                      </a:cubicBezTo>
                      <a:cubicBezTo>
                        <a:pt x="3059327" y="82661"/>
                        <a:pt x="3053128" y="78922"/>
                        <a:pt x="3043289" y="81284"/>
                      </a:cubicBezTo>
                      <a:cubicBezTo>
                        <a:pt x="3025577" y="84629"/>
                        <a:pt x="3009145" y="92402"/>
                        <a:pt x="3014262" y="84531"/>
                      </a:cubicBezTo>
                      <a:cubicBezTo>
                        <a:pt x="3014754" y="83252"/>
                        <a:pt x="3022330" y="74986"/>
                        <a:pt x="3014852" y="75282"/>
                      </a:cubicBezTo>
                      <a:cubicBezTo>
                        <a:pt x="2959259" y="76364"/>
                        <a:pt x="2940170" y="82464"/>
                        <a:pt x="2946270" y="74199"/>
                      </a:cubicBezTo>
                      <a:lnTo>
                        <a:pt x="2948829" y="70854"/>
                      </a:lnTo>
                      <a:cubicBezTo>
                        <a:pt x="2954240" y="63572"/>
                        <a:pt x="2965162" y="66820"/>
                        <a:pt x="2979233" y="65344"/>
                      </a:cubicBezTo>
                      <a:cubicBezTo>
                        <a:pt x="2988777" y="64950"/>
                        <a:pt x="2995960" y="57767"/>
                        <a:pt x="3015639" y="47042"/>
                      </a:cubicBezTo>
                      <a:cubicBezTo>
                        <a:pt x="3023314" y="42516"/>
                        <a:pt x="3032564" y="44582"/>
                        <a:pt x="3045060" y="43696"/>
                      </a:cubicBezTo>
                      <a:cubicBezTo>
                        <a:pt x="3054211" y="43500"/>
                        <a:pt x="3039451" y="33660"/>
                        <a:pt x="3031186" y="24116"/>
                      </a:cubicBezTo>
                      <a:cubicBezTo>
                        <a:pt x="3024200" y="17130"/>
                        <a:pt x="3015344" y="20180"/>
                        <a:pt x="2968213" y="13981"/>
                      </a:cubicBezTo>
                      <a:cubicBezTo>
                        <a:pt x="2959652" y="13095"/>
                        <a:pt x="2966343" y="6404"/>
                        <a:pt x="2957783" y="5224"/>
                      </a:cubicBezTo>
                      <a:cubicBezTo>
                        <a:pt x="2929248" y="2075"/>
                        <a:pt x="2920097" y="-2746"/>
                        <a:pt x="2911733" y="1977"/>
                      </a:cubicBezTo>
                      <a:cubicBezTo>
                        <a:pt x="2904846" y="5322"/>
                        <a:pt x="2898056" y="11718"/>
                        <a:pt x="2889496" y="11127"/>
                      </a:cubicBezTo>
                      <a:cubicBezTo>
                        <a:pt x="2880935" y="10931"/>
                        <a:pt x="2872080" y="8471"/>
                        <a:pt x="2864109" y="11816"/>
                      </a:cubicBezTo>
                      <a:cubicBezTo>
                        <a:pt x="2841675" y="21951"/>
                        <a:pt x="2832623" y="23427"/>
                        <a:pt x="2826030" y="30315"/>
                      </a:cubicBezTo>
                      <a:cubicBezTo>
                        <a:pt x="2814616" y="41532"/>
                        <a:pt x="2809894" y="49600"/>
                        <a:pt x="2801235" y="52847"/>
                      </a:cubicBezTo>
                      <a:cubicBezTo>
                        <a:pt x="2761483" y="69378"/>
                        <a:pt x="2748298" y="68591"/>
                        <a:pt x="2746723" y="78332"/>
                      </a:cubicBezTo>
                      <a:cubicBezTo>
                        <a:pt x="2745936" y="80693"/>
                        <a:pt x="2746723" y="89943"/>
                        <a:pt x="2739343" y="91910"/>
                      </a:cubicBezTo>
                      <a:cubicBezTo>
                        <a:pt x="2737769" y="92599"/>
                        <a:pt x="2729307" y="93190"/>
                        <a:pt x="2725667" y="99881"/>
                      </a:cubicBezTo>
                      <a:cubicBezTo>
                        <a:pt x="2724387" y="103521"/>
                        <a:pt x="2716220" y="111983"/>
                        <a:pt x="2723600" y="115230"/>
                      </a:cubicBezTo>
                      <a:cubicBezTo>
                        <a:pt x="2727241" y="117493"/>
                        <a:pt x="2739737" y="119461"/>
                        <a:pt x="2734817" y="126054"/>
                      </a:cubicBezTo>
                      <a:cubicBezTo>
                        <a:pt x="2727438" y="134614"/>
                        <a:pt x="2723403" y="144651"/>
                        <a:pt x="2714646" y="146520"/>
                      </a:cubicBezTo>
                      <a:cubicBezTo>
                        <a:pt x="2670466" y="155376"/>
                        <a:pt x="2663283" y="159017"/>
                        <a:pt x="2653444" y="157836"/>
                      </a:cubicBezTo>
                      <a:cubicBezTo>
                        <a:pt x="2653444" y="157836"/>
                        <a:pt x="2590963" y="150259"/>
                        <a:pt x="2590963" y="149079"/>
                      </a:cubicBezTo>
                      <a:cubicBezTo>
                        <a:pt x="2590963" y="147898"/>
                        <a:pt x="2599228" y="162264"/>
                        <a:pt x="2599228" y="162264"/>
                      </a:cubicBezTo>
                      <a:cubicBezTo>
                        <a:pt x="2607493" y="176629"/>
                        <a:pt x="2651377" y="186075"/>
                        <a:pt x="2641243" y="194931"/>
                      </a:cubicBezTo>
                      <a:cubicBezTo>
                        <a:pt x="2639570" y="195915"/>
                        <a:pt x="2633863" y="203885"/>
                        <a:pt x="2627861" y="199359"/>
                      </a:cubicBezTo>
                      <a:cubicBezTo>
                        <a:pt x="2620776" y="194439"/>
                        <a:pt x="2614676" y="187748"/>
                        <a:pt x="2606115" y="185879"/>
                      </a:cubicBezTo>
                      <a:cubicBezTo>
                        <a:pt x="2592832" y="183616"/>
                        <a:pt x="2583976" y="179089"/>
                        <a:pt x="2575416" y="182041"/>
                      </a:cubicBezTo>
                      <a:lnTo>
                        <a:pt x="2519232" y="200933"/>
                      </a:lnTo>
                      <a:cubicBezTo>
                        <a:pt x="2509491" y="204180"/>
                        <a:pt x="2528875" y="213331"/>
                        <a:pt x="2518740" y="215299"/>
                      </a:cubicBezTo>
                      <a:cubicBezTo>
                        <a:pt x="2499454" y="217759"/>
                        <a:pt x="2484104" y="225237"/>
                        <a:pt x="2487548" y="216578"/>
                      </a:cubicBezTo>
                      <a:cubicBezTo>
                        <a:pt x="2489024" y="211068"/>
                        <a:pt x="2497486" y="198276"/>
                        <a:pt x="2489123" y="200343"/>
                      </a:cubicBezTo>
                      <a:cubicBezTo>
                        <a:pt x="2479480" y="203492"/>
                        <a:pt x="2462654" y="204574"/>
                        <a:pt x="2470427" y="208805"/>
                      </a:cubicBezTo>
                      <a:lnTo>
                        <a:pt x="2471510" y="209395"/>
                      </a:lnTo>
                      <a:cubicBezTo>
                        <a:pt x="2478201" y="213036"/>
                        <a:pt x="2470230" y="221203"/>
                        <a:pt x="2463441" y="222482"/>
                      </a:cubicBezTo>
                      <a:cubicBezTo>
                        <a:pt x="2448091" y="224843"/>
                        <a:pt x="2429691" y="230649"/>
                        <a:pt x="2437170" y="224942"/>
                      </a:cubicBezTo>
                      <a:cubicBezTo>
                        <a:pt x="2440023" y="222187"/>
                        <a:pt x="2452519" y="216086"/>
                        <a:pt x="2445140" y="213331"/>
                      </a:cubicBezTo>
                      <a:cubicBezTo>
                        <a:pt x="2436382" y="210084"/>
                        <a:pt x="2428609" y="217661"/>
                        <a:pt x="2400960" y="228287"/>
                      </a:cubicBezTo>
                      <a:cubicBezTo>
                        <a:pt x="2394171" y="231239"/>
                        <a:pt x="2386988" y="228779"/>
                        <a:pt x="2385413" y="228681"/>
                      </a:cubicBezTo>
                      <a:cubicBezTo>
                        <a:pt x="2375082" y="226910"/>
                        <a:pt x="2395646" y="220416"/>
                        <a:pt x="2458029" y="183911"/>
                      </a:cubicBezTo>
                      <a:cubicBezTo>
                        <a:pt x="2460686" y="182435"/>
                        <a:pt x="2462162" y="178794"/>
                        <a:pt x="2461178" y="175842"/>
                      </a:cubicBezTo>
                      <a:lnTo>
                        <a:pt x="2460293" y="172989"/>
                      </a:lnTo>
                      <a:cubicBezTo>
                        <a:pt x="2459407" y="170037"/>
                        <a:pt x="2456160" y="167872"/>
                        <a:pt x="2453110" y="168167"/>
                      </a:cubicBezTo>
                      <a:lnTo>
                        <a:pt x="2379411" y="175350"/>
                      </a:lnTo>
                      <a:cubicBezTo>
                        <a:pt x="2367899" y="176433"/>
                        <a:pt x="2390432" y="193160"/>
                        <a:pt x="2378722" y="193750"/>
                      </a:cubicBezTo>
                      <a:cubicBezTo>
                        <a:pt x="2238114" y="202212"/>
                        <a:pt x="2216959" y="198473"/>
                        <a:pt x="2225618" y="204967"/>
                      </a:cubicBezTo>
                      <a:cubicBezTo>
                        <a:pt x="2242739" y="219235"/>
                        <a:pt x="2259565" y="226713"/>
                        <a:pt x="2250119" y="228484"/>
                      </a:cubicBezTo>
                      <a:lnTo>
                        <a:pt x="1979431" y="279355"/>
                      </a:lnTo>
                      <a:cubicBezTo>
                        <a:pt x="1969690" y="281224"/>
                        <a:pt x="1964869" y="287915"/>
                        <a:pt x="1925609" y="315269"/>
                      </a:cubicBezTo>
                      <a:cubicBezTo>
                        <a:pt x="1917737" y="320976"/>
                        <a:pt x="1908882" y="314482"/>
                        <a:pt x="1876116" y="308677"/>
                      </a:cubicBezTo>
                      <a:cubicBezTo>
                        <a:pt x="1868244" y="307004"/>
                        <a:pt x="1861848" y="313006"/>
                        <a:pt x="1858306" y="314581"/>
                      </a:cubicBezTo>
                      <a:cubicBezTo>
                        <a:pt x="1855649" y="316056"/>
                        <a:pt x="1855649" y="318615"/>
                        <a:pt x="1858306" y="320189"/>
                      </a:cubicBezTo>
                      <a:lnTo>
                        <a:pt x="1886743" y="336720"/>
                      </a:lnTo>
                      <a:cubicBezTo>
                        <a:pt x="1889399" y="338294"/>
                        <a:pt x="1889694" y="341147"/>
                        <a:pt x="1887431" y="343214"/>
                      </a:cubicBezTo>
                      <a:cubicBezTo>
                        <a:pt x="1857617" y="367321"/>
                        <a:pt x="1852107" y="380014"/>
                        <a:pt x="1843940" y="374504"/>
                      </a:cubicBezTo>
                      <a:cubicBezTo>
                        <a:pt x="1821998" y="361712"/>
                        <a:pt x="1814914" y="350593"/>
                        <a:pt x="1807238" y="356300"/>
                      </a:cubicBezTo>
                      <a:lnTo>
                        <a:pt x="1786674" y="371749"/>
                      </a:lnTo>
                      <a:cubicBezTo>
                        <a:pt x="1778901" y="377652"/>
                        <a:pt x="1797104" y="378341"/>
                        <a:pt x="1827311" y="389362"/>
                      </a:cubicBezTo>
                      <a:cubicBezTo>
                        <a:pt x="1836561" y="392313"/>
                        <a:pt x="1819833" y="399004"/>
                        <a:pt x="1795234" y="419667"/>
                      </a:cubicBezTo>
                      <a:cubicBezTo>
                        <a:pt x="1787461" y="425670"/>
                        <a:pt x="1807829" y="425768"/>
                        <a:pt x="1828394" y="431672"/>
                      </a:cubicBezTo>
                      <a:cubicBezTo>
                        <a:pt x="1837840" y="433836"/>
                        <a:pt x="1840300" y="443774"/>
                        <a:pt x="1858896" y="467783"/>
                      </a:cubicBezTo>
                      <a:cubicBezTo>
                        <a:pt x="1864702" y="475852"/>
                        <a:pt x="1847089" y="470833"/>
                        <a:pt x="1806255" y="472309"/>
                      </a:cubicBezTo>
                      <a:cubicBezTo>
                        <a:pt x="1790610" y="472309"/>
                        <a:pt x="1759123" y="495629"/>
                        <a:pt x="1745938" y="493563"/>
                      </a:cubicBezTo>
                      <a:cubicBezTo>
                        <a:pt x="1721634" y="490119"/>
                        <a:pt x="1713172" y="487561"/>
                        <a:pt x="1703627" y="488348"/>
                      </a:cubicBezTo>
                      <a:cubicBezTo>
                        <a:pt x="1460590" y="511176"/>
                        <a:pt x="1457736" y="504091"/>
                        <a:pt x="1455473" y="514620"/>
                      </a:cubicBezTo>
                      <a:cubicBezTo>
                        <a:pt x="1450258" y="545418"/>
                        <a:pt x="1442977" y="554864"/>
                        <a:pt x="1450258" y="561161"/>
                      </a:cubicBezTo>
                      <a:cubicBezTo>
                        <a:pt x="1465312" y="575625"/>
                        <a:pt x="1476431" y="579758"/>
                        <a:pt x="1476333" y="589302"/>
                      </a:cubicBezTo>
                      <a:lnTo>
                        <a:pt x="1475644" y="638008"/>
                      </a:lnTo>
                      <a:cubicBezTo>
                        <a:pt x="1475644" y="641058"/>
                        <a:pt x="1478006" y="644207"/>
                        <a:pt x="1480958" y="644896"/>
                      </a:cubicBezTo>
                      <a:lnTo>
                        <a:pt x="1548851" y="661131"/>
                      </a:lnTo>
                      <a:cubicBezTo>
                        <a:pt x="1563217" y="664575"/>
                        <a:pt x="1571384" y="706393"/>
                        <a:pt x="1586045" y="708263"/>
                      </a:cubicBezTo>
                      <a:cubicBezTo>
                        <a:pt x="1619204" y="713871"/>
                        <a:pt x="1630126" y="710526"/>
                        <a:pt x="1634849" y="718988"/>
                      </a:cubicBezTo>
                      <a:cubicBezTo>
                        <a:pt x="1640949" y="732370"/>
                        <a:pt x="1650592" y="740635"/>
                        <a:pt x="1645279" y="748212"/>
                      </a:cubicBezTo>
                      <a:cubicBezTo>
                        <a:pt x="1627666" y="775664"/>
                        <a:pt x="1617531" y="781568"/>
                        <a:pt x="1620975" y="790719"/>
                      </a:cubicBezTo>
                      <a:cubicBezTo>
                        <a:pt x="1634258" y="827814"/>
                        <a:pt x="1645279" y="849658"/>
                        <a:pt x="1638096" y="842081"/>
                      </a:cubicBezTo>
                      <a:cubicBezTo>
                        <a:pt x="1622549" y="827125"/>
                        <a:pt x="1618023" y="816695"/>
                        <a:pt x="1608479" y="816400"/>
                      </a:cubicBezTo>
                      <a:lnTo>
                        <a:pt x="1564692" y="815121"/>
                      </a:lnTo>
                      <a:cubicBezTo>
                        <a:pt x="1555542" y="814826"/>
                        <a:pt x="1557903" y="801542"/>
                        <a:pt x="1554361" y="788456"/>
                      </a:cubicBezTo>
                      <a:cubicBezTo>
                        <a:pt x="1552000" y="775467"/>
                        <a:pt x="1595589" y="771827"/>
                        <a:pt x="1601296" y="757264"/>
                      </a:cubicBezTo>
                      <a:cubicBezTo>
                        <a:pt x="1605035" y="744669"/>
                        <a:pt x="1615268" y="730992"/>
                        <a:pt x="1606019" y="731779"/>
                      </a:cubicBezTo>
                      <a:cubicBezTo>
                        <a:pt x="1526908" y="736994"/>
                        <a:pt x="1519922" y="742701"/>
                        <a:pt x="1512346" y="735715"/>
                      </a:cubicBezTo>
                      <a:cubicBezTo>
                        <a:pt x="1472102" y="699998"/>
                        <a:pt x="1467969" y="693799"/>
                        <a:pt x="1458917" y="689568"/>
                      </a:cubicBezTo>
                      <a:cubicBezTo>
                        <a:pt x="1401454" y="663394"/>
                        <a:pt x="1395550" y="657491"/>
                        <a:pt x="1385415" y="657589"/>
                      </a:cubicBezTo>
                      <a:cubicBezTo>
                        <a:pt x="1312012" y="659163"/>
                        <a:pt x="1304927" y="656310"/>
                        <a:pt x="1295776" y="660836"/>
                      </a:cubicBezTo>
                      <a:cubicBezTo>
                        <a:pt x="1270292" y="675103"/>
                        <a:pt x="1256517" y="675694"/>
                        <a:pt x="1258386" y="685140"/>
                      </a:cubicBezTo>
                      <a:lnTo>
                        <a:pt x="1258681" y="686517"/>
                      </a:lnTo>
                      <a:cubicBezTo>
                        <a:pt x="1261338" y="699506"/>
                        <a:pt x="1291152" y="677563"/>
                        <a:pt x="1299220" y="688288"/>
                      </a:cubicBezTo>
                      <a:cubicBezTo>
                        <a:pt x="1304337" y="696849"/>
                        <a:pt x="1316046" y="705409"/>
                        <a:pt x="1308076" y="709148"/>
                      </a:cubicBezTo>
                      <a:cubicBezTo>
                        <a:pt x="1281804" y="719775"/>
                        <a:pt x="1274031" y="728631"/>
                        <a:pt x="1265765" y="723613"/>
                      </a:cubicBezTo>
                      <a:cubicBezTo>
                        <a:pt x="1231327" y="704622"/>
                        <a:pt x="1225325" y="695570"/>
                        <a:pt x="1216076" y="698817"/>
                      </a:cubicBezTo>
                      <a:lnTo>
                        <a:pt x="1183998" y="709936"/>
                      </a:lnTo>
                      <a:cubicBezTo>
                        <a:pt x="1181145" y="710920"/>
                        <a:pt x="1179276" y="714167"/>
                        <a:pt x="1180063" y="717217"/>
                      </a:cubicBezTo>
                      <a:cubicBezTo>
                        <a:pt x="1186163" y="736994"/>
                        <a:pt x="1184195" y="748605"/>
                        <a:pt x="1193150" y="750967"/>
                      </a:cubicBezTo>
                      <a:cubicBezTo>
                        <a:pt x="1285445" y="776943"/>
                        <a:pt x="1293021" y="774188"/>
                        <a:pt x="1299319" y="782749"/>
                      </a:cubicBezTo>
                      <a:cubicBezTo>
                        <a:pt x="1317128" y="809315"/>
                        <a:pt x="1331297" y="821221"/>
                        <a:pt x="1321655" y="820434"/>
                      </a:cubicBezTo>
                      <a:cubicBezTo>
                        <a:pt x="1302074" y="817384"/>
                        <a:pt x="1289873" y="821221"/>
                        <a:pt x="1287019" y="812267"/>
                      </a:cubicBezTo>
                      <a:cubicBezTo>
                        <a:pt x="1285642" y="809611"/>
                        <a:pt x="1285248" y="799771"/>
                        <a:pt x="1277475" y="798984"/>
                      </a:cubicBezTo>
                      <a:lnTo>
                        <a:pt x="1152413" y="785405"/>
                      </a:lnTo>
                      <a:cubicBezTo>
                        <a:pt x="1143558" y="784421"/>
                        <a:pt x="1136670" y="778222"/>
                        <a:pt x="1125453" y="772122"/>
                      </a:cubicBezTo>
                      <a:cubicBezTo>
                        <a:pt x="1118959" y="768284"/>
                        <a:pt x="1129979" y="765136"/>
                        <a:pt x="1131160" y="764250"/>
                      </a:cubicBezTo>
                      <a:cubicBezTo>
                        <a:pt x="1138540" y="760806"/>
                        <a:pt x="1137556" y="746047"/>
                        <a:pt x="1132242" y="740733"/>
                      </a:cubicBezTo>
                      <a:cubicBezTo>
                        <a:pt x="1128700" y="736207"/>
                        <a:pt x="1118762" y="730992"/>
                        <a:pt x="1121714" y="723022"/>
                      </a:cubicBezTo>
                      <a:cubicBezTo>
                        <a:pt x="1136277" y="687009"/>
                        <a:pt x="1135785" y="677071"/>
                        <a:pt x="1144345" y="672151"/>
                      </a:cubicBezTo>
                      <a:lnTo>
                        <a:pt x="1146116" y="671168"/>
                      </a:lnTo>
                      <a:cubicBezTo>
                        <a:pt x="1148773" y="669692"/>
                        <a:pt x="1150445" y="665953"/>
                        <a:pt x="1149855" y="662902"/>
                      </a:cubicBezTo>
                      <a:cubicBezTo>
                        <a:pt x="1140606" y="624036"/>
                        <a:pt x="1143263" y="613016"/>
                        <a:pt x="1134604" y="608293"/>
                      </a:cubicBezTo>
                      <a:lnTo>
                        <a:pt x="1061594" y="568541"/>
                      </a:lnTo>
                      <a:cubicBezTo>
                        <a:pt x="1058937" y="567065"/>
                        <a:pt x="1055887" y="568245"/>
                        <a:pt x="1055002" y="571197"/>
                      </a:cubicBezTo>
                      <a:cubicBezTo>
                        <a:pt x="1054805" y="572772"/>
                        <a:pt x="1050278" y="580348"/>
                        <a:pt x="1056281" y="584677"/>
                      </a:cubicBezTo>
                      <a:lnTo>
                        <a:pt x="1099673" y="615869"/>
                      </a:lnTo>
                      <a:cubicBezTo>
                        <a:pt x="1107250" y="621379"/>
                        <a:pt x="1105380" y="631514"/>
                        <a:pt x="1110595" y="653850"/>
                      </a:cubicBezTo>
                      <a:cubicBezTo>
                        <a:pt x="1112170" y="662509"/>
                        <a:pt x="1106167" y="670184"/>
                        <a:pt x="1102330" y="680417"/>
                      </a:cubicBezTo>
                      <a:cubicBezTo>
                        <a:pt x="1101149" y="683270"/>
                        <a:pt x="1097902" y="686616"/>
                        <a:pt x="1095147" y="688092"/>
                      </a:cubicBezTo>
                      <a:cubicBezTo>
                        <a:pt x="1030698" y="721645"/>
                        <a:pt x="1023515" y="722137"/>
                        <a:pt x="1017020" y="730107"/>
                      </a:cubicBezTo>
                      <a:lnTo>
                        <a:pt x="987207" y="766612"/>
                      </a:lnTo>
                      <a:cubicBezTo>
                        <a:pt x="979827" y="775664"/>
                        <a:pt x="1008165" y="776058"/>
                        <a:pt x="1016332" y="787767"/>
                      </a:cubicBezTo>
                      <a:cubicBezTo>
                        <a:pt x="1059331" y="853102"/>
                        <a:pt x="1071237" y="858415"/>
                        <a:pt x="1064349" y="866090"/>
                      </a:cubicBezTo>
                      <a:cubicBezTo>
                        <a:pt x="1038176" y="896986"/>
                        <a:pt x="1030304" y="901217"/>
                        <a:pt x="1028533" y="910860"/>
                      </a:cubicBezTo>
                      <a:cubicBezTo>
                        <a:pt x="1024007" y="941855"/>
                        <a:pt x="1018300" y="951104"/>
                        <a:pt x="1023515" y="959271"/>
                      </a:cubicBezTo>
                      <a:cubicBezTo>
                        <a:pt x="1031878" y="974817"/>
                        <a:pt x="1041521" y="982000"/>
                        <a:pt x="1037290" y="990266"/>
                      </a:cubicBezTo>
                      <a:cubicBezTo>
                        <a:pt x="1034043" y="998728"/>
                        <a:pt x="1025384" y="1007091"/>
                        <a:pt x="1031190" y="1013684"/>
                      </a:cubicBezTo>
                      <a:cubicBezTo>
                        <a:pt x="1033846" y="1015849"/>
                        <a:pt x="1037979" y="1024901"/>
                        <a:pt x="1045260" y="1021555"/>
                      </a:cubicBezTo>
                      <a:cubicBezTo>
                        <a:pt x="1057363" y="1017029"/>
                        <a:pt x="1065235" y="1010142"/>
                        <a:pt x="1073795" y="1012700"/>
                      </a:cubicBezTo>
                      <a:cubicBezTo>
                        <a:pt x="1085012" y="1015357"/>
                        <a:pt x="1094065" y="1020965"/>
                        <a:pt x="1102330" y="1017521"/>
                      </a:cubicBezTo>
                      <a:cubicBezTo>
                        <a:pt x="1134702" y="1004927"/>
                        <a:pt x="1142082" y="997449"/>
                        <a:pt x="1151233" y="1000597"/>
                      </a:cubicBezTo>
                      <a:cubicBezTo>
                        <a:pt x="1266061" y="1041825"/>
                        <a:pt x="1273244" y="1038480"/>
                        <a:pt x="1277179" y="1048221"/>
                      </a:cubicBezTo>
                      <a:lnTo>
                        <a:pt x="1301287" y="1107160"/>
                      </a:lnTo>
                      <a:cubicBezTo>
                        <a:pt x="1304730" y="1115721"/>
                        <a:pt x="1289381" y="1114441"/>
                        <a:pt x="1275212" y="1119164"/>
                      </a:cubicBezTo>
                      <a:cubicBezTo>
                        <a:pt x="1265864" y="1121428"/>
                        <a:pt x="1269505" y="1133924"/>
                        <a:pt x="1264388" y="1160097"/>
                      </a:cubicBezTo>
                      <a:cubicBezTo>
                        <a:pt x="1263994" y="1163147"/>
                        <a:pt x="1265962" y="1166493"/>
                        <a:pt x="1268914" y="1167575"/>
                      </a:cubicBezTo>
                      <a:lnTo>
                        <a:pt x="1331789" y="1190797"/>
                      </a:lnTo>
                      <a:cubicBezTo>
                        <a:pt x="1342613" y="1194831"/>
                        <a:pt x="1308371" y="1188829"/>
                        <a:pt x="1296859" y="1190305"/>
                      </a:cubicBezTo>
                      <a:cubicBezTo>
                        <a:pt x="1290266" y="1191092"/>
                        <a:pt x="1243725" y="1169641"/>
                        <a:pt x="1243725" y="1169641"/>
                      </a:cubicBezTo>
                      <a:cubicBezTo>
                        <a:pt x="1240970" y="1168362"/>
                        <a:pt x="1238904" y="1164820"/>
                        <a:pt x="1239297" y="1161770"/>
                      </a:cubicBezTo>
                      <a:cubicBezTo>
                        <a:pt x="1244906" y="1095845"/>
                        <a:pt x="1251892" y="1086792"/>
                        <a:pt x="1243528" y="1080888"/>
                      </a:cubicBezTo>
                      <a:lnTo>
                        <a:pt x="1211648" y="1058257"/>
                      </a:lnTo>
                      <a:cubicBezTo>
                        <a:pt x="1200923" y="1050582"/>
                        <a:pt x="1204170" y="1032576"/>
                        <a:pt x="1193346" y="1034052"/>
                      </a:cubicBezTo>
                      <a:lnTo>
                        <a:pt x="1123879" y="1043891"/>
                      </a:lnTo>
                      <a:lnTo>
                        <a:pt x="1123879" y="1043596"/>
                      </a:lnTo>
                      <a:cubicBezTo>
                        <a:pt x="1088259" y="1055502"/>
                        <a:pt x="1085209" y="1055109"/>
                        <a:pt x="1083635" y="1061996"/>
                      </a:cubicBezTo>
                      <a:cubicBezTo>
                        <a:pt x="1077534" y="1088071"/>
                        <a:pt x="1075468" y="1092204"/>
                        <a:pt x="1079404" y="1098108"/>
                      </a:cubicBezTo>
                      <a:cubicBezTo>
                        <a:pt x="1101641" y="1131956"/>
                        <a:pt x="1104888" y="1134613"/>
                        <a:pt x="1103806" y="1141992"/>
                      </a:cubicBezTo>
                      <a:cubicBezTo>
                        <a:pt x="1100362" y="1165115"/>
                        <a:pt x="1100756" y="1168953"/>
                        <a:pt x="1095049" y="1172790"/>
                      </a:cubicBezTo>
                      <a:cubicBezTo>
                        <a:pt x="1062578" y="1194732"/>
                        <a:pt x="1058347" y="1196110"/>
                        <a:pt x="1056379" y="1203293"/>
                      </a:cubicBezTo>
                      <a:cubicBezTo>
                        <a:pt x="1045949" y="1242553"/>
                        <a:pt x="1046146" y="1248063"/>
                        <a:pt x="1038766" y="1249244"/>
                      </a:cubicBezTo>
                      <a:cubicBezTo>
                        <a:pt x="1030009" y="1250621"/>
                        <a:pt x="1022235" y="1250818"/>
                        <a:pt x="1016824" y="1255836"/>
                      </a:cubicBezTo>
                      <a:cubicBezTo>
                        <a:pt x="992028" y="1278763"/>
                        <a:pt x="989470" y="1282502"/>
                        <a:pt x="982189" y="1283682"/>
                      </a:cubicBezTo>
                      <a:cubicBezTo>
                        <a:pt x="963985" y="1286733"/>
                        <a:pt x="958869" y="1286437"/>
                        <a:pt x="955523" y="1292636"/>
                      </a:cubicBezTo>
                      <a:cubicBezTo>
                        <a:pt x="938697" y="1324320"/>
                        <a:pt x="937812" y="1330322"/>
                        <a:pt x="930924" y="1327272"/>
                      </a:cubicBezTo>
                      <a:cubicBezTo>
                        <a:pt x="903570" y="1315169"/>
                        <a:pt x="896584" y="1311233"/>
                        <a:pt x="888614" y="1310840"/>
                      </a:cubicBezTo>
                      <a:cubicBezTo>
                        <a:pt x="810389" y="1306805"/>
                        <a:pt x="794941" y="1308970"/>
                        <a:pt x="800353" y="1301787"/>
                      </a:cubicBezTo>
                      <a:cubicBezTo>
                        <a:pt x="805272" y="1296572"/>
                        <a:pt x="808815" y="1285946"/>
                        <a:pt x="817178" y="1287815"/>
                      </a:cubicBezTo>
                      <a:cubicBezTo>
                        <a:pt x="833414" y="1291456"/>
                        <a:pt x="842663" y="1294703"/>
                        <a:pt x="850240" y="1292341"/>
                      </a:cubicBezTo>
                      <a:cubicBezTo>
                        <a:pt x="892845" y="1279058"/>
                        <a:pt x="901012" y="1279058"/>
                        <a:pt x="898650" y="1271481"/>
                      </a:cubicBezTo>
                      <a:cubicBezTo>
                        <a:pt x="898158" y="1267644"/>
                        <a:pt x="891664" y="1257706"/>
                        <a:pt x="899634" y="1255836"/>
                      </a:cubicBezTo>
                      <a:cubicBezTo>
                        <a:pt x="908588" y="1253770"/>
                        <a:pt x="914394" y="1253081"/>
                        <a:pt x="918625" y="1247866"/>
                      </a:cubicBezTo>
                      <a:lnTo>
                        <a:pt x="946077" y="1213526"/>
                      </a:lnTo>
                      <a:cubicBezTo>
                        <a:pt x="954834" y="1202604"/>
                        <a:pt x="954244" y="1181547"/>
                        <a:pt x="964182" y="1175545"/>
                      </a:cubicBezTo>
                      <a:cubicBezTo>
                        <a:pt x="984648" y="1163344"/>
                        <a:pt x="999506" y="1162459"/>
                        <a:pt x="996751" y="1153013"/>
                      </a:cubicBezTo>
                      <a:cubicBezTo>
                        <a:pt x="990749" y="1132054"/>
                        <a:pt x="987600" y="1126839"/>
                        <a:pt x="992618" y="1121428"/>
                      </a:cubicBezTo>
                      <a:lnTo>
                        <a:pt x="1013380" y="1098895"/>
                      </a:lnTo>
                      <a:cubicBezTo>
                        <a:pt x="1017709" y="1094172"/>
                        <a:pt x="1023712" y="1077937"/>
                        <a:pt x="1015938" y="1073607"/>
                      </a:cubicBezTo>
                      <a:cubicBezTo>
                        <a:pt x="976777" y="1051763"/>
                        <a:pt x="969102" y="1048910"/>
                        <a:pt x="965264" y="1041924"/>
                      </a:cubicBezTo>
                      <a:lnTo>
                        <a:pt x="957097" y="1027066"/>
                      </a:lnTo>
                      <a:cubicBezTo>
                        <a:pt x="950111" y="1014373"/>
                        <a:pt x="972054" y="986920"/>
                        <a:pt x="965264" y="974227"/>
                      </a:cubicBezTo>
                      <a:cubicBezTo>
                        <a:pt x="963690" y="969996"/>
                        <a:pt x="956409" y="962715"/>
                        <a:pt x="961427" y="956319"/>
                      </a:cubicBezTo>
                      <a:cubicBezTo>
                        <a:pt x="963100" y="953170"/>
                        <a:pt x="971562" y="946578"/>
                        <a:pt x="967134" y="940182"/>
                      </a:cubicBezTo>
                      <a:cubicBezTo>
                        <a:pt x="962214" y="931228"/>
                        <a:pt x="952473" y="924045"/>
                        <a:pt x="957491" y="916862"/>
                      </a:cubicBezTo>
                      <a:cubicBezTo>
                        <a:pt x="958869" y="913910"/>
                        <a:pt x="966937" y="907121"/>
                        <a:pt x="961624" y="901316"/>
                      </a:cubicBezTo>
                      <a:cubicBezTo>
                        <a:pt x="958869" y="897183"/>
                        <a:pt x="948537" y="891378"/>
                        <a:pt x="954736" y="885572"/>
                      </a:cubicBezTo>
                      <a:cubicBezTo>
                        <a:pt x="969889" y="871206"/>
                        <a:pt x="974120" y="868648"/>
                        <a:pt x="973923" y="861662"/>
                      </a:cubicBezTo>
                      <a:cubicBezTo>
                        <a:pt x="972939" y="807938"/>
                        <a:pt x="974415" y="805380"/>
                        <a:pt x="967921" y="801837"/>
                      </a:cubicBezTo>
                      <a:cubicBezTo>
                        <a:pt x="951784" y="792982"/>
                        <a:pt x="942830" y="789144"/>
                        <a:pt x="938107" y="782749"/>
                      </a:cubicBezTo>
                      <a:cubicBezTo>
                        <a:pt x="918822" y="756772"/>
                        <a:pt x="913016" y="752246"/>
                        <a:pt x="919707" y="748704"/>
                      </a:cubicBezTo>
                      <a:cubicBezTo>
                        <a:pt x="939977" y="738175"/>
                        <a:pt x="945290" y="736601"/>
                        <a:pt x="948340" y="730008"/>
                      </a:cubicBezTo>
                      <a:cubicBezTo>
                        <a:pt x="976678" y="668216"/>
                        <a:pt x="978548" y="666543"/>
                        <a:pt x="978252" y="658770"/>
                      </a:cubicBezTo>
                      <a:cubicBezTo>
                        <a:pt x="976383" y="615869"/>
                        <a:pt x="977957" y="611540"/>
                        <a:pt x="970873" y="609375"/>
                      </a:cubicBezTo>
                      <a:cubicBezTo>
                        <a:pt x="902389" y="588417"/>
                        <a:pt x="902980" y="587728"/>
                        <a:pt x="895305" y="588121"/>
                      </a:cubicBezTo>
                      <a:cubicBezTo>
                        <a:pt x="782149" y="594812"/>
                        <a:pt x="780477" y="596682"/>
                        <a:pt x="784117" y="589794"/>
                      </a:cubicBezTo>
                      <a:cubicBezTo>
                        <a:pt x="784511" y="588613"/>
                        <a:pt x="791497" y="579266"/>
                        <a:pt x="784117" y="580643"/>
                      </a:cubicBezTo>
                      <a:cubicBezTo>
                        <a:pt x="770342" y="583103"/>
                        <a:pt x="764832" y="583202"/>
                        <a:pt x="760896" y="588810"/>
                      </a:cubicBezTo>
                      <a:cubicBezTo>
                        <a:pt x="745940" y="610260"/>
                        <a:pt x="740528" y="616755"/>
                        <a:pt x="738068" y="624331"/>
                      </a:cubicBezTo>
                      <a:cubicBezTo>
                        <a:pt x="706778" y="721448"/>
                        <a:pt x="707861" y="721645"/>
                        <a:pt x="702252" y="727253"/>
                      </a:cubicBezTo>
                      <a:cubicBezTo>
                        <a:pt x="684541" y="745063"/>
                        <a:pt x="681097" y="749294"/>
                        <a:pt x="674504" y="752344"/>
                      </a:cubicBezTo>
                      <a:cubicBezTo>
                        <a:pt x="612909" y="780879"/>
                        <a:pt x="610350" y="783142"/>
                        <a:pt x="607005" y="788062"/>
                      </a:cubicBezTo>
                      <a:cubicBezTo>
                        <a:pt x="580536" y="827814"/>
                        <a:pt x="577781" y="829487"/>
                        <a:pt x="579060" y="836866"/>
                      </a:cubicBezTo>
                      <a:cubicBezTo>
                        <a:pt x="581914" y="847985"/>
                        <a:pt x="579847" y="859989"/>
                        <a:pt x="588408" y="862351"/>
                      </a:cubicBezTo>
                      <a:cubicBezTo>
                        <a:pt x="590671" y="862548"/>
                        <a:pt x="602282" y="867861"/>
                        <a:pt x="599428" y="860678"/>
                      </a:cubicBezTo>
                      <a:cubicBezTo>
                        <a:pt x="596476" y="850051"/>
                        <a:pt x="587030" y="838047"/>
                        <a:pt x="595886" y="836768"/>
                      </a:cubicBezTo>
                      <a:cubicBezTo>
                        <a:pt x="610449" y="834702"/>
                        <a:pt x="615368" y="834702"/>
                        <a:pt x="620091" y="829880"/>
                      </a:cubicBezTo>
                      <a:cubicBezTo>
                        <a:pt x="621075" y="829388"/>
                        <a:pt x="625011" y="823091"/>
                        <a:pt x="630128" y="827715"/>
                      </a:cubicBezTo>
                      <a:cubicBezTo>
                        <a:pt x="632489" y="830569"/>
                        <a:pt x="641345" y="835095"/>
                        <a:pt x="639475" y="842869"/>
                      </a:cubicBezTo>
                      <a:cubicBezTo>
                        <a:pt x="626881" y="894428"/>
                        <a:pt x="624618" y="896494"/>
                        <a:pt x="630325" y="901316"/>
                      </a:cubicBezTo>
                      <a:cubicBezTo>
                        <a:pt x="631997" y="903382"/>
                        <a:pt x="642722" y="908695"/>
                        <a:pt x="636228" y="913320"/>
                      </a:cubicBezTo>
                      <a:cubicBezTo>
                        <a:pt x="628258" y="917846"/>
                        <a:pt x="620977" y="928178"/>
                        <a:pt x="614483" y="922274"/>
                      </a:cubicBezTo>
                      <a:cubicBezTo>
                        <a:pt x="613400" y="921585"/>
                        <a:pt x="606414" y="913123"/>
                        <a:pt x="606217" y="920503"/>
                      </a:cubicBezTo>
                      <a:cubicBezTo>
                        <a:pt x="604348" y="994792"/>
                        <a:pt x="607890" y="946873"/>
                        <a:pt x="625208" y="952285"/>
                      </a:cubicBezTo>
                      <a:lnTo>
                        <a:pt x="682179" y="969898"/>
                      </a:lnTo>
                      <a:cubicBezTo>
                        <a:pt x="693495" y="973440"/>
                        <a:pt x="674111" y="991446"/>
                        <a:pt x="682868" y="1000007"/>
                      </a:cubicBezTo>
                      <a:cubicBezTo>
                        <a:pt x="717995" y="1034150"/>
                        <a:pt x="718881" y="1037004"/>
                        <a:pt x="726162" y="1035921"/>
                      </a:cubicBezTo>
                      <a:cubicBezTo>
                        <a:pt x="747514" y="1032969"/>
                        <a:pt x="757354" y="1030116"/>
                        <a:pt x="753319" y="1036512"/>
                      </a:cubicBezTo>
                      <a:cubicBezTo>
                        <a:pt x="702449" y="1116803"/>
                        <a:pt x="703039" y="1120148"/>
                        <a:pt x="695955" y="1116803"/>
                      </a:cubicBezTo>
                      <a:cubicBezTo>
                        <a:pt x="693003" y="1114737"/>
                        <a:pt x="681195" y="1112572"/>
                        <a:pt x="685524" y="1105881"/>
                      </a:cubicBezTo>
                      <a:cubicBezTo>
                        <a:pt x="685820" y="1104897"/>
                        <a:pt x="692609" y="1097911"/>
                        <a:pt x="686312" y="1094172"/>
                      </a:cubicBezTo>
                      <a:cubicBezTo>
                        <a:pt x="627766" y="1059143"/>
                        <a:pt x="621469" y="1057273"/>
                        <a:pt x="628553" y="1054321"/>
                      </a:cubicBezTo>
                      <a:cubicBezTo>
                        <a:pt x="629537" y="1053731"/>
                        <a:pt x="639869" y="1050681"/>
                        <a:pt x="632686" y="1049008"/>
                      </a:cubicBezTo>
                      <a:lnTo>
                        <a:pt x="601691" y="1041727"/>
                      </a:lnTo>
                      <a:cubicBezTo>
                        <a:pt x="590179" y="1039070"/>
                        <a:pt x="582799" y="1025098"/>
                        <a:pt x="571287" y="1021654"/>
                      </a:cubicBezTo>
                      <a:cubicBezTo>
                        <a:pt x="501426" y="1000696"/>
                        <a:pt x="500048" y="997941"/>
                        <a:pt x="496801" y="1004927"/>
                      </a:cubicBezTo>
                      <a:cubicBezTo>
                        <a:pt x="496014" y="1005911"/>
                        <a:pt x="494538" y="1013389"/>
                        <a:pt x="487355" y="1013389"/>
                      </a:cubicBezTo>
                      <a:cubicBezTo>
                        <a:pt x="484797" y="1012897"/>
                        <a:pt x="476728" y="1014766"/>
                        <a:pt x="474564" y="1011027"/>
                      </a:cubicBezTo>
                      <a:lnTo>
                        <a:pt x="474367" y="1011322"/>
                      </a:lnTo>
                      <a:lnTo>
                        <a:pt x="460985" y="1053633"/>
                      </a:lnTo>
                      <a:lnTo>
                        <a:pt x="508510" y="1060225"/>
                      </a:lnTo>
                      <a:lnTo>
                        <a:pt x="526517" y="1085611"/>
                      </a:lnTo>
                      <a:lnTo>
                        <a:pt x="503590" y="1119263"/>
                      </a:lnTo>
                      <a:lnTo>
                        <a:pt x="512643" y="1152029"/>
                      </a:lnTo>
                      <a:lnTo>
                        <a:pt x="547869" y="1152029"/>
                      </a:lnTo>
                      <a:lnTo>
                        <a:pt x="564301" y="1175840"/>
                      </a:lnTo>
                      <a:lnTo>
                        <a:pt x="541375" y="1186467"/>
                      </a:lnTo>
                      <a:lnTo>
                        <a:pt x="552887" y="1198767"/>
                      </a:lnTo>
                      <a:lnTo>
                        <a:pt x="499163" y="1233599"/>
                      </a:lnTo>
                      <a:lnTo>
                        <a:pt x="490504" y="1264298"/>
                      </a:lnTo>
                      <a:lnTo>
                        <a:pt x="379808" y="1313496"/>
                      </a:lnTo>
                      <a:lnTo>
                        <a:pt x="351470" y="1365154"/>
                      </a:lnTo>
                      <a:lnTo>
                        <a:pt x="288300" y="1388966"/>
                      </a:lnTo>
                      <a:lnTo>
                        <a:pt x="221489" y="1457646"/>
                      </a:lnTo>
                      <a:lnTo>
                        <a:pt x="189904" y="1436295"/>
                      </a:lnTo>
                      <a:lnTo>
                        <a:pt x="144445" y="1491987"/>
                      </a:lnTo>
                      <a:lnTo>
                        <a:pt x="167667" y="1541185"/>
                      </a:lnTo>
                      <a:lnTo>
                        <a:pt x="126439" y="1638301"/>
                      </a:lnTo>
                      <a:lnTo>
                        <a:pt x="152219" y="1697339"/>
                      </a:lnTo>
                      <a:lnTo>
                        <a:pt x="128800" y="1788355"/>
                      </a:lnTo>
                      <a:lnTo>
                        <a:pt x="143560" y="1863333"/>
                      </a:lnTo>
                      <a:lnTo>
                        <a:pt x="77142" y="1967829"/>
                      </a:lnTo>
                      <a:lnTo>
                        <a:pt x="123880" y="2005122"/>
                      </a:lnTo>
                      <a:lnTo>
                        <a:pt x="122700" y="2037002"/>
                      </a:lnTo>
                      <a:lnTo>
                        <a:pt x="145528" y="2054123"/>
                      </a:lnTo>
                      <a:lnTo>
                        <a:pt x="131851" y="2090529"/>
                      </a:lnTo>
                      <a:lnTo>
                        <a:pt x="106760" y="2090529"/>
                      </a:lnTo>
                      <a:lnTo>
                        <a:pt x="93082" y="2108733"/>
                      </a:lnTo>
                      <a:lnTo>
                        <a:pt x="107842" y="2134906"/>
                      </a:lnTo>
                      <a:lnTo>
                        <a:pt x="90721" y="2156553"/>
                      </a:lnTo>
                      <a:lnTo>
                        <a:pt x="54315" y="2147402"/>
                      </a:lnTo>
                      <a:lnTo>
                        <a:pt x="62285" y="2204373"/>
                      </a:lnTo>
                      <a:lnTo>
                        <a:pt x="4231" y="2223758"/>
                      </a:lnTo>
                      <a:lnTo>
                        <a:pt x="24697" y="2277285"/>
                      </a:lnTo>
                      <a:lnTo>
                        <a:pt x="131752" y="2280729"/>
                      </a:lnTo>
                      <a:lnTo>
                        <a:pt x="154186" y="2328648"/>
                      </a:lnTo>
                      <a:lnTo>
                        <a:pt x="68877" y="2386012"/>
                      </a:lnTo>
                      <a:lnTo>
                        <a:pt x="52445" y="2344981"/>
                      </a:lnTo>
                      <a:lnTo>
                        <a:pt x="0" y="2377747"/>
                      </a:lnTo>
                      <a:lnTo>
                        <a:pt x="50871" y="2436785"/>
                      </a:lnTo>
                      <a:lnTo>
                        <a:pt x="170619" y="2390834"/>
                      </a:lnTo>
                      <a:lnTo>
                        <a:pt x="160779" y="2459711"/>
                      </a:lnTo>
                      <a:lnTo>
                        <a:pt x="109908" y="2482637"/>
                      </a:lnTo>
                      <a:lnTo>
                        <a:pt x="96822" y="2594120"/>
                      </a:lnTo>
                      <a:lnTo>
                        <a:pt x="124668" y="2617046"/>
                      </a:lnTo>
                      <a:lnTo>
                        <a:pt x="146020" y="2587527"/>
                      </a:lnTo>
                      <a:lnTo>
                        <a:pt x="196890" y="2600614"/>
                      </a:lnTo>
                      <a:lnTo>
                        <a:pt x="177211" y="2639972"/>
                      </a:lnTo>
                      <a:lnTo>
                        <a:pt x="202007" y="2653157"/>
                      </a:lnTo>
                      <a:lnTo>
                        <a:pt x="243235" y="2618227"/>
                      </a:lnTo>
                      <a:lnTo>
                        <a:pt x="230935" y="2580049"/>
                      </a:lnTo>
                      <a:lnTo>
                        <a:pt x="259273" y="2555450"/>
                      </a:lnTo>
                      <a:lnTo>
                        <a:pt x="312210" y="2569029"/>
                      </a:lnTo>
                      <a:lnTo>
                        <a:pt x="312210" y="2535771"/>
                      </a:lnTo>
                      <a:lnTo>
                        <a:pt x="255633" y="2518552"/>
                      </a:lnTo>
                      <a:lnTo>
                        <a:pt x="256322" y="2465615"/>
                      </a:lnTo>
                      <a:lnTo>
                        <a:pt x="357669" y="2465615"/>
                      </a:lnTo>
                      <a:lnTo>
                        <a:pt x="687296" y="2389358"/>
                      </a:lnTo>
                      <a:lnTo>
                        <a:pt x="727835" y="2347933"/>
                      </a:lnTo>
                      <a:lnTo>
                        <a:pt x="853290" y="2361118"/>
                      </a:lnTo>
                      <a:lnTo>
                        <a:pt x="871788" y="2457054"/>
                      </a:lnTo>
                      <a:lnTo>
                        <a:pt x="1031091" y="2458235"/>
                      </a:lnTo>
                      <a:lnTo>
                        <a:pt x="988584" y="2509893"/>
                      </a:lnTo>
                      <a:lnTo>
                        <a:pt x="1024204" y="2518552"/>
                      </a:lnTo>
                      <a:lnTo>
                        <a:pt x="1225325" y="2426256"/>
                      </a:lnTo>
                      <a:lnTo>
                        <a:pt x="1225325" y="2456365"/>
                      </a:lnTo>
                      <a:lnTo>
                        <a:pt x="1201907" y="2467386"/>
                      </a:lnTo>
                      <a:lnTo>
                        <a:pt x="1290463" y="2533803"/>
                      </a:lnTo>
                      <a:lnTo>
                        <a:pt x="1348123" y="2614685"/>
                      </a:lnTo>
                      <a:lnTo>
                        <a:pt x="1420936" y="2743387"/>
                      </a:lnTo>
                      <a:lnTo>
                        <a:pt x="1449766" y="2727643"/>
                      </a:lnTo>
                      <a:lnTo>
                        <a:pt x="1449766" y="2696255"/>
                      </a:lnTo>
                      <a:lnTo>
                        <a:pt x="1492470" y="2706291"/>
                      </a:lnTo>
                      <a:lnTo>
                        <a:pt x="1489911" y="2722625"/>
                      </a:lnTo>
                      <a:lnTo>
                        <a:pt x="1513723" y="2728233"/>
                      </a:lnTo>
                      <a:lnTo>
                        <a:pt x="1513723" y="2747716"/>
                      </a:lnTo>
                      <a:lnTo>
                        <a:pt x="1585257" y="2743977"/>
                      </a:lnTo>
                      <a:lnTo>
                        <a:pt x="1618515" y="2719476"/>
                      </a:lnTo>
                      <a:lnTo>
                        <a:pt x="1676864" y="2747716"/>
                      </a:lnTo>
                      <a:lnTo>
                        <a:pt x="1684440" y="2784123"/>
                      </a:lnTo>
                      <a:lnTo>
                        <a:pt x="1728423" y="2795438"/>
                      </a:lnTo>
                      <a:lnTo>
                        <a:pt x="1744757" y="2836863"/>
                      </a:lnTo>
                      <a:lnTo>
                        <a:pt x="1801827" y="2841783"/>
                      </a:lnTo>
                      <a:lnTo>
                        <a:pt x="1830165" y="2815609"/>
                      </a:lnTo>
                      <a:lnTo>
                        <a:pt x="1849254" y="2824071"/>
                      </a:lnTo>
                      <a:lnTo>
                        <a:pt x="1835773" y="2841783"/>
                      </a:lnTo>
                      <a:lnTo>
                        <a:pt x="1877592" y="2876516"/>
                      </a:lnTo>
                      <a:lnTo>
                        <a:pt x="1930726" y="2866578"/>
                      </a:lnTo>
                      <a:lnTo>
                        <a:pt x="1926495" y="2846013"/>
                      </a:lnTo>
                      <a:lnTo>
                        <a:pt x="1981793" y="2846702"/>
                      </a:lnTo>
                      <a:lnTo>
                        <a:pt x="2017904" y="2826138"/>
                      </a:lnTo>
                      <a:lnTo>
                        <a:pt x="2014362" y="2807738"/>
                      </a:lnTo>
                      <a:lnTo>
                        <a:pt x="2183702" y="2732661"/>
                      </a:lnTo>
                      <a:lnTo>
                        <a:pt x="2201905" y="2742206"/>
                      </a:lnTo>
                      <a:lnTo>
                        <a:pt x="2219911" y="2734039"/>
                      </a:lnTo>
                      <a:lnTo>
                        <a:pt x="2234277" y="2753029"/>
                      </a:lnTo>
                      <a:lnTo>
                        <a:pt x="2306008" y="2757359"/>
                      </a:lnTo>
                      <a:lnTo>
                        <a:pt x="2310140" y="2785697"/>
                      </a:lnTo>
                      <a:lnTo>
                        <a:pt x="2328147" y="2801637"/>
                      </a:lnTo>
                      <a:lnTo>
                        <a:pt x="2466688" y="2812264"/>
                      </a:lnTo>
                      <a:lnTo>
                        <a:pt x="2497388" y="2828204"/>
                      </a:lnTo>
                      <a:lnTo>
                        <a:pt x="2517067" y="2803900"/>
                      </a:lnTo>
                      <a:lnTo>
                        <a:pt x="2545995" y="2803900"/>
                      </a:lnTo>
                      <a:lnTo>
                        <a:pt x="2555835" y="2763066"/>
                      </a:lnTo>
                      <a:lnTo>
                        <a:pt x="2538616" y="2752931"/>
                      </a:lnTo>
                      <a:lnTo>
                        <a:pt x="2526316" y="2716918"/>
                      </a:lnTo>
                      <a:lnTo>
                        <a:pt x="2550325" y="2666539"/>
                      </a:lnTo>
                      <a:lnTo>
                        <a:pt x="2579844" y="2656700"/>
                      </a:lnTo>
                      <a:lnTo>
                        <a:pt x="2589683" y="2628362"/>
                      </a:lnTo>
                      <a:lnTo>
                        <a:pt x="2792084" y="2689170"/>
                      </a:lnTo>
                      <a:lnTo>
                        <a:pt x="2810976" y="2767100"/>
                      </a:lnTo>
                      <a:lnTo>
                        <a:pt x="2916653" y="2791896"/>
                      </a:lnTo>
                      <a:lnTo>
                        <a:pt x="2985826" y="2766411"/>
                      </a:lnTo>
                      <a:lnTo>
                        <a:pt x="3079794" y="2774381"/>
                      </a:lnTo>
                      <a:lnTo>
                        <a:pt x="3103113" y="2799177"/>
                      </a:lnTo>
                      <a:lnTo>
                        <a:pt x="3154082" y="2807147"/>
                      </a:lnTo>
                      <a:lnTo>
                        <a:pt x="3178681" y="2848769"/>
                      </a:lnTo>
                      <a:lnTo>
                        <a:pt x="3259071" y="2853196"/>
                      </a:lnTo>
                      <a:lnTo>
                        <a:pt x="3328735" y="2876418"/>
                      </a:lnTo>
                      <a:lnTo>
                        <a:pt x="3424671" y="2839716"/>
                      </a:lnTo>
                      <a:lnTo>
                        <a:pt x="3468162" y="2842176"/>
                      </a:lnTo>
                      <a:lnTo>
                        <a:pt x="3487055" y="2809410"/>
                      </a:lnTo>
                      <a:lnTo>
                        <a:pt x="3562524" y="2779104"/>
                      </a:lnTo>
                      <a:lnTo>
                        <a:pt x="3628941" y="2812756"/>
                      </a:lnTo>
                      <a:lnTo>
                        <a:pt x="3658460" y="2797209"/>
                      </a:lnTo>
                      <a:lnTo>
                        <a:pt x="3768368" y="2843947"/>
                      </a:lnTo>
                      <a:lnTo>
                        <a:pt x="3814320" y="2805376"/>
                      </a:lnTo>
                      <a:lnTo>
                        <a:pt x="3864304" y="2794749"/>
                      </a:lnTo>
                      <a:lnTo>
                        <a:pt x="3870011" y="2775857"/>
                      </a:lnTo>
                      <a:lnTo>
                        <a:pt x="3847872" y="2768477"/>
                      </a:lnTo>
                      <a:lnTo>
                        <a:pt x="3910157" y="2661029"/>
                      </a:lnTo>
                      <a:lnTo>
                        <a:pt x="3947842" y="2641350"/>
                      </a:lnTo>
                      <a:lnTo>
                        <a:pt x="3944596" y="2592152"/>
                      </a:lnTo>
                      <a:lnTo>
                        <a:pt x="3929049" y="2587232"/>
                      </a:lnTo>
                      <a:lnTo>
                        <a:pt x="3900318" y="2597859"/>
                      </a:lnTo>
                      <a:lnTo>
                        <a:pt x="3899530" y="2573260"/>
                      </a:lnTo>
                      <a:lnTo>
                        <a:pt x="3947941" y="2529769"/>
                      </a:lnTo>
                      <a:lnTo>
                        <a:pt x="4132138" y="2509696"/>
                      </a:lnTo>
                      <a:lnTo>
                        <a:pt x="4189798" y="2543741"/>
                      </a:lnTo>
                      <a:lnTo>
                        <a:pt x="4220105" y="2538821"/>
                      </a:lnTo>
                      <a:lnTo>
                        <a:pt x="4276682" y="2576507"/>
                      </a:lnTo>
                      <a:lnTo>
                        <a:pt x="4366616" y="2779006"/>
                      </a:lnTo>
                      <a:lnTo>
                        <a:pt x="4361991" y="2820824"/>
                      </a:lnTo>
                      <a:lnTo>
                        <a:pt x="4398890" y="2842176"/>
                      </a:lnTo>
                      <a:lnTo>
                        <a:pt x="4440118" y="2834993"/>
                      </a:lnTo>
                      <a:lnTo>
                        <a:pt x="4466586" y="2857132"/>
                      </a:lnTo>
                      <a:lnTo>
                        <a:pt x="4496695" y="2857723"/>
                      </a:lnTo>
                      <a:lnTo>
                        <a:pt x="4531724" y="2891571"/>
                      </a:lnTo>
                      <a:lnTo>
                        <a:pt x="4562424" y="2893440"/>
                      </a:lnTo>
                      <a:lnTo>
                        <a:pt x="4554454" y="2918039"/>
                      </a:lnTo>
                      <a:lnTo>
                        <a:pt x="4571673" y="2938309"/>
                      </a:lnTo>
                      <a:lnTo>
                        <a:pt x="4561834" y="2960448"/>
                      </a:lnTo>
                      <a:lnTo>
                        <a:pt x="4582693" y="2989967"/>
                      </a:lnTo>
                      <a:lnTo>
                        <a:pt x="4678039" y="2986917"/>
                      </a:lnTo>
                      <a:lnTo>
                        <a:pt x="4687879" y="2966647"/>
                      </a:lnTo>
                      <a:lnTo>
                        <a:pt x="4738946" y="2956807"/>
                      </a:lnTo>
                      <a:lnTo>
                        <a:pt x="4767875" y="2936538"/>
                      </a:lnTo>
                      <a:lnTo>
                        <a:pt x="4813334" y="2937128"/>
                      </a:lnTo>
                      <a:lnTo>
                        <a:pt x="4802904" y="2964777"/>
                      </a:lnTo>
                      <a:lnTo>
                        <a:pt x="4816777" y="2987507"/>
                      </a:lnTo>
                      <a:lnTo>
                        <a:pt x="4803592" y="3009056"/>
                      </a:lnTo>
                      <a:lnTo>
                        <a:pt x="4778993" y="3015845"/>
                      </a:lnTo>
                      <a:lnTo>
                        <a:pt x="4735896" y="3151139"/>
                      </a:lnTo>
                      <a:lnTo>
                        <a:pt x="4718677" y="3157929"/>
                      </a:lnTo>
                      <a:lnTo>
                        <a:pt x="4713757" y="3194237"/>
                      </a:lnTo>
                      <a:lnTo>
                        <a:pt x="4694471" y="3194237"/>
                      </a:lnTo>
                      <a:lnTo>
                        <a:pt x="4674989" y="3227495"/>
                      </a:lnTo>
                      <a:cubicBezTo>
                        <a:pt x="4673415" y="3230151"/>
                        <a:pt x="4669971" y="3231037"/>
                        <a:pt x="4667314" y="3229463"/>
                      </a:cubicBezTo>
                      <a:lnTo>
                        <a:pt x="4652062" y="3220508"/>
                      </a:lnTo>
                      <a:cubicBezTo>
                        <a:pt x="4649406" y="3218934"/>
                        <a:pt x="4648028" y="3215293"/>
                        <a:pt x="4648914" y="3212342"/>
                      </a:cubicBezTo>
                      <a:lnTo>
                        <a:pt x="4651768" y="3203289"/>
                      </a:lnTo>
                      <a:cubicBezTo>
                        <a:pt x="4652653" y="3200337"/>
                        <a:pt x="4652653" y="3195614"/>
                        <a:pt x="4651768" y="3192663"/>
                      </a:cubicBezTo>
                      <a:lnTo>
                        <a:pt x="4647143" y="3178395"/>
                      </a:lnTo>
                      <a:lnTo>
                        <a:pt x="4647143" y="3178395"/>
                      </a:lnTo>
                      <a:lnTo>
                        <a:pt x="4625201" y="3180953"/>
                      </a:lnTo>
                      <a:lnTo>
                        <a:pt x="4621560" y="3194237"/>
                      </a:lnTo>
                      <a:lnTo>
                        <a:pt x="4582595" y="3208209"/>
                      </a:lnTo>
                      <a:lnTo>
                        <a:pt x="4599814" y="3266164"/>
                      </a:lnTo>
                      <a:lnTo>
                        <a:pt x="4587023" y="3339863"/>
                      </a:lnTo>
                      <a:lnTo>
                        <a:pt x="4531724" y="3366036"/>
                      </a:lnTo>
                      <a:lnTo>
                        <a:pt x="4564490" y="3395063"/>
                      </a:lnTo>
                      <a:cubicBezTo>
                        <a:pt x="4565966" y="3391619"/>
                        <a:pt x="4574330" y="3384436"/>
                        <a:pt x="4568229" y="3379221"/>
                      </a:cubicBezTo>
                      <a:close/>
                      <a:moveTo>
                        <a:pt x="3263007" y="2392703"/>
                      </a:moveTo>
                      <a:cubicBezTo>
                        <a:pt x="3262515" y="2395754"/>
                        <a:pt x="3260940" y="2400378"/>
                        <a:pt x="3259465" y="2403133"/>
                      </a:cubicBezTo>
                      <a:lnTo>
                        <a:pt x="3249428" y="2421041"/>
                      </a:lnTo>
                      <a:cubicBezTo>
                        <a:pt x="3247953" y="2423698"/>
                        <a:pt x="3247067" y="2428421"/>
                        <a:pt x="3247460" y="2431471"/>
                      </a:cubicBezTo>
                      <a:lnTo>
                        <a:pt x="3251298" y="2460400"/>
                      </a:lnTo>
                      <a:cubicBezTo>
                        <a:pt x="3251691" y="2463450"/>
                        <a:pt x="3250806" y="2468075"/>
                        <a:pt x="3249231" y="2470731"/>
                      </a:cubicBezTo>
                      <a:lnTo>
                        <a:pt x="3232701" y="2498873"/>
                      </a:lnTo>
                      <a:cubicBezTo>
                        <a:pt x="3231127" y="2501529"/>
                        <a:pt x="3227584" y="2502612"/>
                        <a:pt x="3224829" y="2501332"/>
                      </a:cubicBezTo>
                      <a:lnTo>
                        <a:pt x="3213612" y="2496216"/>
                      </a:lnTo>
                      <a:cubicBezTo>
                        <a:pt x="3210857" y="2494937"/>
                        <a:pt x="3207019" y="2495822"/>
                        <a:pt x="3205150" y="2498282"/>
                      </a:cubicBezTo>
                      <a:lnTo>
                        <a:pt x="3194818" y="2511566"/>
                      </a:lnTo>
                      <a:cubicBezTo>
                        <a:pt x="3192949" y="2514026"/>
                        <a:pt x="3193835" y="2516387"/>
                        <a:pt x="3196885" y="2516977"/>
                      </a:cubicBezTo>
                      <a:lnTo>
                        <a:pt x="3212136" y="2519831"/>
                      </a:lnTo>
                      <a:cubicBezTo>
                        <a:pt x="3215186" y="2520421"/>
                        <a:pt x="3215678" y="2522389"/>
                        <a:pt x="3213317" y="2524357"/>
                      </a:cubicBezTo>
                      <a:lnTo>
                        <a:pt x="3143259" y="2580541"/>
                      </a:lnTo>
                      <a:cubicBezTo>
                        <a:pt x="3140898" y="2582411"/>
                        <a:pt x="3136568" y="2584871"/>
                        <a:pt x="3133616" y="2585953"/>
                      </a:cubicBezTo>
                      <a:lnTo>
                        <a:pt x="3060508" y="2612520"/>
                      </a:lnTo>
                      <a:cubicBezTo>
                        <a:pt x="3057654" y="2613602"/>
                        <a:pt x="3054211" y="2616653"/>
                        <a:pt x="3052833" y="2619506"/>
                      </a:cubicBezTo>
                      <a:lnTo>
                        <a:pt x="3033055" y="2661128"/>
                      </a:lnTo>
                      <a:cubicBezTo>
                        <a:pt x="3031776" y="2663883"/>
                        <a:pt x="3028234" y="2666835"/>
                        <a:pt x="3025282" y="2667622"/>
                      </a:cubicBezTo>
                      <a:lnTo>
                        <a:pt x="2961423" y="2685136"/>
                      </a:lnTo>
                      <a:cubicBezTo>
                        <a:pt x="2958471" y="2685923"/>
                        <a:pt x="2953748" y="2685727"/>
                        <a:pt x="2950796" y="2684546"/>
                      </a:cubicBezTo>
                      <a:lnTo>
                        <a:pt x="2900516" y="2664866"/>
                      </a:lnTo>
                      <a:cubicBezTo>
                        <a:pt x="2897663" y="2663784"/>
                        <a:pt x="2897761" y="2662111"/>
                        <a:pt x="2900713" y="2661324"/>
                      </a:cubicBezTo>
                      <a:lnTo>
                        <a:pt x="2986711" y="2637316"/>
                      </a:lnTo>
                      <a:cubicBezTo>
                        <a:pt x="2989663" y="2636529"/>
                        <a:pt x="2993796" y="2633970"/>
                        <a:pt x="2995763" y="2631609"/>
                      </a:cubicBezTo>
                      <a:lnTo>
                        <a:pt x="3021937" y="2602188"/>
                      </a:lnTo>
                      <a:cubicBezTo>
                        <a:pt x="3024003" y="2599925"/>
                        <a:pt x="3027939" y="2596875"/>
                        <a:pt x="3030596" y="2595497"/>
                      </a:cubicBezTo>
                      <a:lnTo>
                        <a:pt x="3114921" y="2553679"/>
                      </a:lnTo>
                      <a:cubicBezTo>
                        <a:pt x="3117676" y="2552301"/>
                        <a:pt x="3117479" y="2550629"/>
                        <a:pt x="3114527" y="2549940"/>
                      </a:cubicBezTo>
                      <a:lnTo>
                        <a:pt x="3096718" y="2545906"/>
                      </a:lnTo>
                      <a:cubicBezTo>
                        <a:pt x="3093766" y="2545217"/>
                        <a:pt x="3093274" y="2543053"/>
                        <a:pt x="3095635" y="2541183"/>
                      </a:cubicBezTo>
                      <a:lnTo>
                        <a:pt x="3159986" y="2489131"/>
                      </a:lnTo>
                      <a:cubicBezTo>
                        <a:pt x="3162348" y="2487163"/>
                        <a:pt x="3165595" y="2483424"/>
                        <a:pt x="3167071" y="2480768"/>
                      </a:cubicBezTo>
                      <a:lnTo>
                        <a:pt x="3223058" y="2382273"/>
                      </a:lnTo>
                      <a:cubicBezTo>
                        <a:pt x="3224534" y="2379617"/>
                        <a:pt x="3226108" y="2374894"/>
                        <a:pt x="3226404" y="2371843"/>
                      </a:cubicBezTo>
                      <a:lnTo>
                        <a:pt x="3229356" y="2344391"/>
                      </a:lnTo>
                      <a:cubicBezTo>
                        <a:pt x="3229650" y="2341341"/>
                        <a:pt x="3232209" y="2337798"/>
                        <a:pt x="3234964" y="2336421"/>
                      </a:cubicBezTo>
                      <a:lnTo>
                        <a:pt x="3269206" y="2319989"/>
                      </a:lnTo>
                      <a:cubicBezTo>
                        <a:pt x="3271961" y="2318611"/>
                        <a:pt x="3273830" y="2319989"/>
                        <a:pt x="3273437" y="2323039"/>
                      </a:cubicBezTo>
                      <a:lnTo>
                        <a:pt x="3263007" y="2392802"/>
                      </a:lnTo>
                      <a:close/>
                    </a:path>
                  </a:pathLst>
                </a:custGeom>
                <a:grpFill/>
                <a:ln w="9835" cap="flat">
                  <a:noFill/>
                  <a:prstDash val="solid"/>
                  <a:miter/>
                </a:ln>
              </p:spPr>
              <p:txBody>
                <a:bodyPr rtlCol="0" anchor="ctr"/>
                <a:lstStyle/>
                <a:p>
                  <a:endParaRPr lang="en-IN"/>
                </a:p>
              </p:txBody>
            </p:sp>
          </p:grpSp>
        </p:grpSp>
        <p:sp>
          <p:nvSpPr>
            <p:cNvPr id="479" name="Freeform: Shape 478">
              <a:extLst>
                <a:ext uri="{FF2B5EF4-FFF2-40B4-BE49-F238E27FC236}">
                  <a16:creationId xmlns:a16="http://schemas.microsoft.com/office/drawing/2014/main" id="{5B03D829-F448-69A4-BDC3-30B08FF4D847}"/>
                </a:ext>
              </a:extLst>
            </p:cNvPr>
            <p:cNvSpPr/>
            <p:nvPr/>
          </p:nvSpPr>
          <p:spPr>
            <a:xfrm>
              <a:off x="8193002" y="4528528"/>
              <a:ext cx="54234" cy="109126"/>
            </a:xfrm>
            <a:custGeom>
              <a:avLst/>
              <a:gdLst>
                <a:gd name="connsiteX0" fmla="*/ 12442 w 54234"/>
                <a:gd name="connsiteY0" fmla="*/ 109127 h 109126"/>
                <a:gd name="connsiteX1" fmla="*/ 36648 w 54234"/>
                <a:gd name="connsiteY1" fmla="*/ 109127 h 109126"/>
                <a:gd name="connsiteX2" fmla="*/ 50325 w 54234"/>
                <a:gd name="connsiteY2" fmla="*/ 81773 h 109126"/>
                <a:gd name="connsiteX3" fmla="*/ 47176 w 54234"/>
                <a:gd name="connsiteY3" fmla="*/ 35822 h 109126"/>
                <a:gd name="connsiteX4" fmla="*/ 53572 w 54234"/>
                <a:gd name="connsiteY4" fmla="*/ 16340 h 109126"/>
                <a:gd name="connsiteX5" fmla="*/ 47373 w 54234"/>
                <a:gd name="connsiteY5" fmla="*/ 10337 h 109126"/>
                <a:gd name="connsiteX6" fmla="*/ 39108 w 54234"/>
                <a:gd name="connsiteY6" fmla="*/ 3253 h 109126"/>
                <a:gd name="connsiteX7" fmla="*/ 16378 w 54234"/>
                <a:gd name="connsiteY7" fmla="*/ 9747 h 109126"/>
                <a:gd name="connsiteX8" fmla="*/ 10179 w 54234"/>
                <a:gd name="connsiteY8" fmla="*/ 20865 h 109126"/>
                <a:gd name="connsiteX9" fmla="*/ 8900 w 54234"/>
                <a:gd name="connsiteY9" fmla="*/ 33165 h 109126"/>
                <a:gd name="connsiteX10" fmla="*/ 4276 w 54234"/>
                <a:gd name="connsiteY10" fmla="*/ 40250 h 109126"/>
                <a:gd name="connsiteX11" fmla="*/ 143 w 54234"/>
                <a:gd name="connsiteY11" fmla="*/ 47138 h 109126"/>
                <a:gd name="connsiteX12" fmla="*/ 8703 w 54234"/>
                <a:gd name="connsiteY12" fmla="*/ 83642 h 109126"/>
                <a:gd name="connsiteX13" fmla="*/ 3882 w 54234"/>
                <a:gd name="connsiteY13" fmla="*/ 93482 h 109126"/>
                <a:gd name="connsiteX14" fmla="*/ 3882 w 54234"/>
                <a:gd name="connsiteY14" fmla="*/ 93482 h 109126"/>
                <a:gd name="connsiteX15" fmla="*/ 12639 w 54234"/>
                <a:gd name="connsiteY15" fmla="*/ 109127 h 10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234" h="109126">
                  <a:moveTo>
                    <a:pt x="12442" y="109127"/>
                  </a:moveTo>
                  <a:lnTo>
                    <a:pt x="36648" y="109127"/>
                  </a:lnTo>
                  <a:lnTo>
                    <a:pt x="50325" y="81773"/>
                  </a:lnTo>
                  <a:cubicBezTo>
                    <a:pt x="62034" y="58453"/>
                    <a:pt x="43339" y="47728"/>
                    <a:pt x="47176" y="35822"/>
                  </a:cubicBezTo>
                  <a:lnTo>
                    <a:pt x="53572" y="16340"/>
                  </a:lnTo>
                  <a:cubicBezTo>
                    <a:pt x="55638" y="10140"/>
                    <a:pt x="46291" y="9845"/>
                    <a:pt x="47373" y="10337"/>
                  </a:cubicBezTo>
                  <a:cubicBezTo>
                    <a:pt x="41272" y="9747"/>
                    <a:pt x="38320" y="2269"/>
                    <a:pt x="39108" y="3253"/>
                  </a:cubicBezTo>
                  <a:cubicBezTo>
                    <a:pt x="35861" y="-4521"/>
                    <a:pt x="20019" y="3253"/>
                    <a:pt x="16378" y="9747"/>
                  </a:cubicBezTo>
                  <a:lnTo>
                    <a:pt x="10179" y="20865"/>
                  </a:lnTo>
                  <a:cubicBezTo>
                    <a:pt x="7129" y="26376"/>
                    <a:pt x="8900" y="34149"/>
                    <a:pt x="8900" y="33165"/>
                  </a:cubicBezTo>
                  <a:cubicBezTo>
                    <a:pt x="9983" y="38774"/>
                    <a:pt x="3292" y="41037"/>
                    <a:pt x="4276" y="40250"/>
                  </a:cubicBezTo>
                  <a:cubicBezTo>
                    <a:pt x="1324" y="41037"/>
                    <a:pt x="-546" y="44185"/>
                    <a:pt x="143" y="47138"/>
                  </a:cubicBezTo>
                  <a:lnTo>
                    <a:pt x="8703" y="83642"/>
                  </a:lnTo>
                  <a:cubicBezTo>
                    <a:pt x="9884" y="88562"/>
                    <a:pt x="6932" y="93088"/>
                    <a:pt x="3882" y="93482"/>
                  </a:cubicBezTo>
                  <a:lnTo>
                    <a:pt x="3882" y="93482"/>
                  </a:lnTo>
                  <a:cubicBezTo>
                    <a:pt x="3882" y="93482"/>
                    <a:pt x="12639" y="109127"/>
                    <a:pt x="12639" y="109127"/>
                  </a:cubicBezTo>
                  <a:close/>
                </a:path>
              </a:pathLst>
            </a:custGeom>
            <a:grpFill/>
            <a:ln w="9835" cap="flat">
              <a:noFill/>
              <a:prstDash val="solid"/>
              <a:miter/>
            </a:ln>
          </p:spPr>
          <p:txBody>
            <a:bodyPr rtlCol="0" anchor="ctr"/>
            <a:lstStyle/>
            <a:p>
              <a:endParaRPr lang="en-IN"/>
            </a:p>
          </p:txBody>
        </p:sp>
        <p:grpSp>
          <p:nvGrpSpPr>
            <p:cNvPr id="480" name="Graphic 470">
              <a:extLst>
                <a:ext uri="{FF2B5EF4-FFF2-40B4-BE49-F238E27FC236}">
                  <a16:creationId xmlns:a16="http://schemas.microsoft.com/office/drawing/2014/main" id="{A4F04F7B-7630-1954-8C0C-C6510BFDB934}"/>
                </a:ext>
              </a:extLst>
            </p:cNvPr>
            <p:cNvGrpSpPr/>
            <p:nvPr/>
          </p:nvGrpSpPr>
          <p:grpSpPr>
            <a:xfrm>
              <a:off x="12294722" y="4900354"/>
              <a:ext cx="600487" cy="983190"/>
              <a:chOff x="12294722" y="4900354"/>
              <a:chExt cx="600487" cy="983190"/>
            </a:xfrm>
            <a:grpFill/>
          </p:grpSpPr>
          <p:sp>
            <p:nvSpPr>
              <p:cNvPr id="707" name="Freeform: Shape 706">
                <a:extLst>
                  <a:ext uri="{FF2B5EF4-FFF2-40B4-BE49-F238E27FC236}">
                    <a16:creationId xmlns:a16="http://schemas.microsoft.com/office/drawing/2014/main" id="{C6404A45-DE06-37D6-4542-DC46E4F3D70F}"/>
                  </a:ext>
                </a:extLst>
              </p:cNvPr>
              <p:cNvSpPr/>
              <p:nvPr/>
            </p:nvSpPr>
            <p:spPr>
              <a:xfrm>
                <a:off x="12603144" y="5590426"/>
                <a:ext cx="292065" cy="260690"/>
              </a:xfrm>
              <a:custGeom>
                <a:avLst/>
                <a:gdLst>
                  <a:gd name="connsiteX0" fmla="*/ 284374 w 292065"/>
                  <a:gd name="connsiteY0" fmla="*/ 167369 h 260690"/>
                  <a:gd name="connsiteX1" fmla="*/ 291556 w 292065"/>
                  <a:gd name="connsiteY1" fmla="*/ 141294 h 260690"/>
                  <a:gd name="connsiteX2" fmla="*/ 284669 w 292065"/>
                  <a:gd name="connsiteY2" fmla="*/ 124567 h 260690"/>
                  <a:gd name="connsiteX3" fmla="*/ 278765 w 292065"/>
                  <a:gd name="connsiteY3" fmla="*/ 110988 h 260690"/>
                  <a:gd name="connsiteX4" fmla="*/ 281422 w 292065"/>
                  <a:gd name="connsiteY4" fmla="*/ 90128 h 260690"/>
                  <a:gd name="connsiteX5" fmla="*/ 272468 w 292065"/>
                  <a:gd name="connsiteY5" fmla="*/ 78714 h 260690"/>
                  <a:gd name="connsiteX6" fmla="*/ 259578 w 292065"/>
                  <a:gd name="connsiteY6" fmla="*/ 73991 h 260690"/>
                  <a:gd name="connsiteX7" fmla="*/ 272468 w 292065"/>
                  <a:gd name="connsiteY7" fmla="*/ 49687 h 260690"/>
                  <a:gd name="connsiteX8" fmla="*/ 268532 w 292065"/>
                  <a:gd name="connsiteY8" fmla="*/ 38863 h 260690"/>
                  <a:gd name="connsiteX9" fmla="*/ 254068 w 292065"/>
                  <a:gd name="connsiteY9" fmla="*/ 30795 h 260690"/>
                  <a:gd name="connsiteX10" fmla="*/ 240489 w 292065"/>
                  <a:gd name="connsiteY10" fmla="*/ 14166 h 260690"/>
                  <a:gd name="connsiteX11" fmla="*/ 231437 w 292065"/>
                  <a:gd name="connsiteY11" fmla="*/ 6294 h 260690"/>
                  <a:gd name="connsiteX12" fmla="*/ 225926 w 292065"/>
                  <a:gd name="connsiteY12" fmla="*/ 588 h 260690"/>
                  <a:gd name="connsiteX13" fmla="*/ 222975 w 292065"/>
                  <a:gd name="connsiteY13" fmla="*/ 95 h 260690"/>
                  <a:gd name="connsiteX14" fmla="*/ 218940 w 292065"/>
                  <a:gd name="connsiteY14" fmla="*/ 19086 h 260690"/>
                  <a:gd name="connsiteX15" fmla="*/ 227009 w 292065"/>
                  <a:gd name="connsiteY15" fmla="*/ 41422 h 260690"/>
                  <a:gd name="connsiteX16" fmla="*/ 205460 w 292065"/>
                  <a:gd name="connsiteY16" fmla="*/ 51753 h 260690"/>
                  <a:gd name="connsiteX17" fmla="*/ 205165 w 292065"/>
                  <a:gd name="connsiteY17" fmla="*/ 53820 h 260690"/>
                  <a:gd name="connsiteX18" fmla="*/ 182731 w 292065"/>
                  <a:gd name="connsiteY18" fmla="*/ 52049 h 260690"/>
                  <a:gd name="connsiteX19" fmla="*/ 178697 w 292065"/>
                  <a:gd name="connsiteY19" fmla="*/ 73106 h 260690"/>
                  <a:gd name="connsiteX20" fmla="*/ 172498 w 292065"/>
                  <a:gd name="connsiteY20" fmla="*/ 76549 h 260690"/>
                  <a:gd name="connsiteX21" fmla="*/ 165216 w 292065"/>
                  <a:gd name="connsiteY21" fmla="*/ 73696 h 260690"/>
                  <a:gd name="connsiteX22" fmla="*/ 153704 w 292065"/>
                  <a:gd name="connsiteY22" fmla="*/ 75369 h 260690"/>
                  <a:gd name="connsiteX23" fmla="*/ 140125 w 292065"/>
                  <a:gd name="connsiteY23" fmla="*/ 98098 h 260690"/>
                  <a:gd name="connsiteX24" fmla="*/ 121823 w 292065"/>
                  <a:gd name="connsiteY24" fmla="*/ 94654 h 260690"/>
                  <a:gd name="connsiteX25" fmla="*/ 108934 w 292065"/>
                  <a:gd name="connsiteY25" fmla="*/ 70252 h 260690"/>
                  <a:gd name="connsiteX26" fmla="*/ 92698 w 292065"/>
                  <a:gd name="connsiteY26" fmla="*/ 72417 h 260690"/>
                  <a:gd name="connsiteX27" fmla="*/ 82268 w 292065"/>
                  <a:gd name="connsiteY27" fmla="*/ 79305 h 260690"/>
                  <a:gd name="connsiteX28" fmla="*/ 69674 w 292065"/>
                  <a:gd name="connsiteY28" fmla="*/ 85307 h 260690"/>
                  <a:gd name="connsiteX29" fmla="*/ 61900 w 292065"/>
                  <a:gd name="connsiteY29" fmla="*/ 99672 h 260690"/>
                  <a:gd name="connsiteX30" fmla="*/ 25494 w 292065"/>
                  <a:gd name="connsiteY30" fmla="*/ 108921 h 260690"/>
                  <a:gd name="connsiteX31" fmla="*/ 15162 w 292065"/>
                  <a:gd name="connsiteY31" fmla="*/ 121615 h 260690"/>
                  <a:gd name="connsiteX32" fmla="*/ 305 w 292065"/>
                  <a:gd name="connsiteY32" fmla="*/ 165598 h 260690"/>
                  <a:gd name="connsiteX33" fmla="*/ 3650 w 292065"/>
                  <a:gd name="connsiteY33" fmla="*/ 173174 h 260690"/>
                  <a:gd name="connsiteX34" fmla="*/ 19000 w 292065"/>
                  <a:gd name="connsiteY34" fmla="*/ 173962 h 260690"/>
                  <a:gd name="connsiteX35" fmla="*/ 36416 w 292065"/>
                  <a:gd name="connsiteY35" fmla="*/ 129585 h 260690"/>
                  <a:gd name="connsiteX36" fmla="*/ 43992 w 292065"/>
                  <a:gd name="connsiteY36" fmla="*/ 124567 h 260690"/>
                  <a:gd name="connsiteX37" fmla="*/ 56882 w 292065"/>
                  <a:gd name="connsiteY37" fmla="*/ 130569 h 260690"/>
                  <a:gd name="connsiteX38" fmla="*/ 60621 w 292065"/>
                  <a:gd name="connsiteY38" fmla="*/ 150543 h 260690"/>
                  <a:gd name="connsiteX39" fmla="*/ 80595 w 292065"/>
                  <a:gd name="connsiteY39" fmla="*/ 136768 h 260690"/>
                  <a:gd name="connsiteX40" fmla="*/ 94371 w 292065"/>
                  <a:gd name="connsiteY40" fmla="*/ 149067 h 260690"/>
                  <a:gd name="connsiteX41" fmla="*/ 99783 w 292065"/>
                  <a:gd name="connsiteY41" fmla="*/ 121811 h 260690"/>
                  <a:gd name="connsiteX42" fmla="*/ 132942 w 292065"/>
                  <a:gd name="connsiteY42" fmla="*/ 132930 h 260690"/>
                  <a:gd name="connsiteX43" fmla="*/ 144061 w 292065"/>
                  <a:gd name="connsiteY43" fmla="*/ 155266 h 260690"/>
                  <a:gd name="connsiteX44" fmla="*/ 130974 w 292065"/>
                  <a:gd name="connsiteY44" fmla="*/ 180258 h 260690"/>
                  <a:gd name="connsiteX45" fmla="*/ 140420 w 292065"/>
                  <a:gd name="connsiteY45" fmla="*/ 213910 h 260690"/>
                  <a:gd name="connsiteX46" fmla="*/ 186863 w 292065"/>
                  <a:gd name="connsiteY46" fmla="*/ 241953 h 260690"/>
                  <a:gd name="connsiteX47" fmla="*/ 193456 w 292065"/>
                  <a:gd name="connsiteY47" fmla="*/ 239591 h 260690"/>
                  <a:gd name="connsiteX48" fmla="*/ 196703 w 292065"/>
                  <a:gd name="connsiteY48" fmla="*/ 229850 h 260690"/>
                  <a:gd name="connsiteX49" fmla="*/ 203787 w 292065"/>
                  <a:gd name="connsiteY49" fmla="*/ 226308 h 260690"/>
                  <a:gd name="connsiteX50" fmla="*/ 212840 w 292065"/>
                  <a:gd name="connsiteY50" fmla="*/ 235164 h 260690"/>
                  <a:gd name="connsiteX51" fmla="*/ 209494 w 292065"/>
                  <a:gd name="connsiteY51" fmla="*/ 254449 h 260690"/>
                  <a:gd name="connsiteX52" fmla="*/ 218153 w 292065"/>
                  <a:gd name="connsiteY52" fmla="*/ 258582 h 260690"/>
                  <a:gd name="connsiteX53" fmla="*/ 234684 w 292065"/>
                  <a:gd name="connsiteY53" fmla="*/ 223946 h 260690"/>
                  <a:gd name="connsiteX54" fmla="*/ 219039 w 292065"/>
                  <a:gd name="connsiteY54" fmla="*/ 194723 h 260690"/>
                  <a:gd name="connsiteX55" fmla="*/ 219039 w 292065"/>
                  <a:gd name="connsiteY55" fmla="*/ 184883 h 260690"/>
                  <a:gd name="connsiteX56" fmla="*/ 232519 w 292065"/>
                  <a:gd name="connsiteY56" fmla="*/ 170911 h 260690"/>
                  <a:gd name="connsiteX57" fmla="*/ 233798 w 292065"/>
                  <a:gd name="connsiteY57" fmla="*/ 171108 h 260690"/>
                  <a:gd name="connsiteX58" fmla="*/ 238029 w 292065"/>
                  <a:gd name="connsiteY58" fmla="*/ 166582 h 260690"/>
                  <a:gd name="connsiteX59" fmla="*/ 240292 w 292065"/>
                  <a:gd name="connsiteY59" fmla="*/ 152117 h 260690"/>
                  <a:gd name="connsiteX60" fmla="*/ 250034 w 292065"/>
                  <a:gd name="connsiteY60" fmla="*/ 153888 h 260690"/>
                  <a:gd name="connsiteX61" fmla="*/ 258004 w 292065"/>
                  <a:gd name="connsiteY61" fmla="*/ 177701 h 260690"/>
                  <a:gd name="connsiteX62" fmla="*/ 260070 w 292065"/>
                  <a:gd name="connsiteY62" fmla="*/ 205251 h 260690"/>
                  <a:gd name="connsiteX63" fmla="*/ 268827 w 292065"/>
                  <a:gd name="connsiteY63" fmla="*/ 211155 h 260690"/>
                  <a:gd name="connsiteX64" fmla="*/ 271976 w 292065"/>
                  <a:gd name="connsiteY64" fmla="*/ 191869 h 260690"/>
                  <a:gd name="connsiteX65" fmla="*/ 270500 w 292065"/>
                  <a:gd name="connsiteY65" fmla="*/ 179373 h 260690"/>
                  <a:gd name="connsiteX66" fmla="*/ 274239 w 292065"/>
                  <a:gd name="connsiteY66" fmla="*/ 173371 h 260690"/>
                  <a:gd name="connsiteX67" fmla="*/ 284374 w 292065"/>
                  <a:gd name="connsiteY67" fmla="*/ 167270 h 2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92065" h="260690">
                    <a:moveTo>
                      <a:pt x="284374" y="167369"/>
                    </a:moveTo>
                    <a:cubicBezTo>
                      <a:pt x="290769" y="151822"/>
                      <a:pt x="293229" y="147886"/>
                      <a:pt x="291556" y="141294"/>
                    </a:cubicBezTo>
                    <a:cubicBezTo>
                      <a:pt x="290179" y="135587"/>
                      <a:pt x="289195" y="129585"/>
                      <a:pt x="284669" y="124567"/>
                    </a:cubicBezTo>
                    <a:cubicBezTo>
                      <a:pt x="283882" y="123287"/>
                      <a:pt x="276797" y="118171"/>
                      <a:pt x="278765" y="110988"/>
                    </a:cubicBezTo>
                    <a:cubicBezTo>
                      <a:pt x="280831" y="103608"/>
                      <a:pt x="283488" y="96819"/>
                      <a:pt x="281422" y="90128"/>
                    </a:cubicBezTo>
                    <a:cubicBezTo>
                      <a:pt x="280438" y="88258"/>
                      <a:pt x="280044" y="78714"/>
                      <a:pt x="272468" y="78714"/>
                    </a:cubicBezTo>
                    <a:cubicBezTo>
                      <a:pt x="270991" y="78419"/>
                      <a:pt x="261250" y="80387"/>
                      <a:pt x="259578" y="73991"/>
                    </a:cubicBezTo>
                    <a:cubicBezTo>
                      <a:pt x="256823" y="63561"/>
                      <a:pt x="276404" y="60708"/>
                      <a:pt x="272468" y="49687"/>
                    </a:cubicBezTo>
                    <a:lnTo>
                      <a:pt x="268532" y="38863"/>
                    </a:lnTo>
                    <a:cubicBezTo>
                      <a:pt x="265678" y="30992"/>
                      <a:pt x="258200" y="38175"/>
                      <a:pt x="254068" y="30795"/>
                    </a:cubicBezTo>
                    <a:cubicBezTo>
                      <a:pt x="250820" y="24990"/>
                      <a:pt x="247574" y="16626"/>
                      <a:pt x="240489" y="14166"/>
                    </a:cubicBezTo>
                    <a:cubicBezTo>
                      <a:pt x="239505" y="13576"/>
                      <a:pt x="231437" y="12395"/>
                      <a:pt x="231437" y="6294"/>
                    </a:cubicBezTo>
                    <a:cubicBezTo>
                      <a:pt x="231437" y="3736"/>
                      <a:pt x="228977" y="1178"/>
                      <a:pt x="225926" y="588"/>
                    </a:cubicBezTo>
                    <a:lnTo>
                      <a:pt x="222975" y="95"/>
                    </a:lnTo>
                    <a:cubicBezTo>
                      <a:pt x="215103" y="-1282"/>
                      <a:pt x="216579" y="12592"/>
                      <a:pt x="218940" y="19086"/>
                    </a:cubicBezTo>
                    <a:lnTo>
                      <a:pt x="227009" y="41422"/>
                    </a:lnTo>
                    <a:cubicBezTo>
                      <a:pt x="231141" y="52836"/>
                      <a:pt x="207330" y="39946"/>
                      <a:pt x="205460" y="51753"/>
                    </a:cubicBezTo>
                    <a:lnTo>
                      <a:pt x="205165" y="53820"/>
                    </a:lnTo>
                    <a:cubicBezTo>
                      <a:pt x="203296" y="66021"/>
                      <a:pt x="185092" y="40044"/>
                      <a:pt x="182731" y="52049"/>
                    </a:cubicBezTo>
                    <a:lnTo>
                      <a:pt x="178697" y="73106"/>
                    </a:lnTo>
                    <a:cubicBezTo>
                      <a:pt x="178106" y="76156"/>
                      <a:pt x="175351" y="77632"/>
                      <a:pt x="172498" y="76549"/>
                    </a:cubicBezTo>
                    <a:lnTo>
                      <a:pt x="165216" y="73696"/>
                    </a:lnTo>
                    <a:cubicBezTo>
                      <a:pt x="159509" y="71433"/>
                      <a:pt x="152818" y="75663"/>
                      <a:pt x="153704" y="75369"/>
                    </a:cubicBezTo>
                    <a:cubicBezTo>
                      <a:pt x="143372" y="81469"/>
                      <a:pt x="150949" y="96917"/>
                      <a:pt x="140125" y="98098"/>
                    </a:cubicBezTo>
                    <a:cubicBezTo>
                      <a:pt x="134615" y="97901"/>
                      <a:pt x="124382" y="102526"/>
                      <a:pt x="121823" y="94654"/>
                    </a:cubicBezTo>
                    <a:cubicBezTo>
                      <a:pt x="116510" y="77730"/>
                      <a:pt x="115920" y="71531"/>
                      <a:pt x="108934" y="70252"/>
                    </a:cubicBezTo>
                    <a:cubicBezTo>
                      <a:pt x="106178" y="70252"/>
                      <a:pt x="97323" y="66119"/>
                      <a:pt x="92698" y="72417"/>
                    </a:cubicBezTo>
                    <a:cubicBezTo>
                      <a:pt x="91714" y="73302"/>
                      <a:pt x="89156" y="78911"/>
                      <a:pt x="82268" y="79305"/>
                    </a:cubicBezTo>
                    <a:cubicBezTo>
                      <a:pt x="80202" y="79797"/>
                      <a:pt x="70953" y="77927"/>
                      <a:pt x="69674" y="85307"/>
                    </a:cubicBezTo>
                    <a:cubicBezTo>
                      <a:pt x="68689" y="88061"/>
                      <a:pt x="69674" y="98295"/>
                      <a:pt x="61900" y="99672"/>
                    </a:cubicBezTo>
                    <a:cubicBezTo>
                      <a:pt x="40548" y="103411"/>
                      <a:pt x="31496" y="103707"/>
                      <a:pt x="25494" y="108921"/>
                    </a:cubicBezTo>
                    <a:cubicBezTo>
                      <a:pt x="25494" y="108921"/>
                      <a:pt x="17622" y="114530"/>
                      <a:pt x="15162" y="121615"/>
                    </a:cubicBezTo>
                    <a:lnTo>
                      <a:pt x="305" y="165598"/>
                    </a:lnTo>
                    <a:cubicBezTo>
                      <a:pt x="-680" y="168549"/>
                      <a:pt x="796" y="171895"/>
                      <a:pt x="3650" y="173174"/>
                    </a:cubicBezTo>
                    <a:cubicBezTo>
                      <a:pt x="7094" y="174059"/>
                      <a:pt x="16048" y="181636"/>
                      <a:pt x="19000" y="173962"/>
                    </a:cubicBezTo>
                    <a:lnTo>
                      <a:pt x="36416" y="129585"/>
                    </a:lnTo>
                    <a:cubicBezTo>
                      <a:pt x="37498" y="126731"/>
                      <a:pt x="40942" y="124468"/>
                      <a:pt x="43992" y="124567"/>
                    </a:cubicBezTo>
                    <a:cubicBezTo>
                      <a:pt x="46255" y="125058"/>
                      <a:pt x="56882" y="122796"/>
                      <a:pt x="56882" y="130569"/>
                    </a:cubicBezTo>
                    <a:cubicBezTo>
                      <a:pt x="56882" y="144836"/>
                      <a:pt x="55603" y="156152"/>
                      <a:pt x="60621" y="150543"/>
                    </a:cubicBezTo>
                    <a:cubicBezTo>
                      <a:pt x="68493" y="143458"/>
                      <a:pt x="75085" y="129585"/>
                      <a:pt x="80595" y="136768"/>
                    </a:cubicBezTo>
                    <a:cubicBezTo>
                      <a:pt x="88172" y="146607"/>
                      <a:pt x="94371" y="156742"/>
                      <a:pt x="94371" y="149067"/>
                    </a:cubicBezTo>
                    <a:cubicBezTo>
                      <a:pt x="95552" y="135390"/>
                      <a:pt x="90731" y="119745"/>
                      <a:pt x="99783" y="121811"/>
                    </a:cubicBezTo>
                    <a:cubicBezTo>
                      <a:pt x="121233" y="126731"/>
                      <a:pt x="128219" y="127125"/>
                      <a:pt x="132942" y="132930"/>
                    </a:cubicBezTo>
                    <a:cubicBezTo>
                      <a:pt x="138452" y="141393"/>
                      <a:pt x="149178" y="148083"/>
                      <a:pt x="144061" y="155266"/>
                    </a:cubicBezTo>
                    <a:cubicBezTo>
                      <a:pt x="134024" y="169238"/>
                      <a:pt x="129892" y="173371"/>
                      <a:pt x="130974" y="180258"/>
                    </a:cubicBezTo>
                    <a:cubicBezTo>
                      <a:pt x="134910" y="205743"/>
                      <a:pt x="134221" y="210171"/>
                      <a:pt x="140420" y="213910"/>
                    </a:cubicBezTo>
                    <a:lnTo>
                      <a:pt x="186863" y="241953"/>
                    </a:lnTo>
                    <a:cubicBezTo>
                      <a:pt x="189520" y="243527"/>
                      <a:pt x="192472" y="242445"/>
                      <a:pt x="193456" y="239591"/>
                    </a:cubicBezTo>
                    <a:lnTo>
                      <a:pt x="196703" y="229850"/>
                    </a:lnTo>
                    <a:cubicBezTo>
                      <a:pt x="197687" y="226899"/>
                      <a:pt x="200836" y="225324"/>
                      <a:pt x="203787" y="226308"/>
                    </a:cubicBezTo>
                    <a:cubicBezTo>
                      <a:pt x="205460" y="227292"/>
                      <a:pt x="215988" y="228177"/>
                      <a:pt x="212840" y="235164"/>
                    </a:cubicBezTo>
                    <a:cubicBezTo>
                      <a:pt x="211363" y="240083"/>
                      <a:pt x="205067" y="247562"/>
                      <a:pt x="209494" y="254449"/>
                    </a:cubicBezTo>
                    <a:cubicBezTo>
                      <a:pt x="210478" y="255433"/>
                      <a:pt x="214119" y="264781"/>
                      <a:pt x="218153" y="258582"/>
                    </a:cubicBezTo>
                    <a:cubicBezTo>
                      <a:pt x="233798" y="234278"/>
                      <a:pt x="238127" y="230441"/>
                      <a:pt x="234684" y="223946"/>
                    </a:cubicBezTo>
                    <a:lnTo>
                      <a:pt x="219039" y="194723"/>
                    </a:lnTo>
                    <a:cubicBezTo>
                      <a:pt x="217562" y="192066"/>
                      <a:pt x="217562" y="187638"/>
                      <a:pt x="219039" y="184883"/>
                    </a:cubicBezTo>
                    <a:cubicBezTo>
                      <a:pt x="222384" y="180258"/>
                      <a:pt x="224352" y="169534"/>
                      <a:pt x="232519" y="170911"/>
                    </a:cubicBezTo>
                    <a:lnTo>
                      <a:pt x="233798" y="171108"/>
                    </a:lnTo>
                    <a:cubicBezTo>
                      <a:pt x="236848" y="171600"/>
                      <a:pt x="238718" y="169534"/>
                      <a:pt x="238029" y="166582"/>
                    </a:cubicBezTo>
                    <a:cubicBezTo>
                      <a:pt x="238029" y="164318"/>
                      <a:pt x="233208" y="155266"/>
                      <a:pt x="240292" y="152117"/>
                    </a:cubicBezTo>
                    <a:cubicBezTo>
                      <a:pt x="241276" y="152019"/>
                      <a:pt x="247869" y="147198"/>
                      <a:pt x="250034" y="153888"/>
                    </a:cubicBezTo>
                    <a:lnTo>
                      <a:pt x="258004" y="177701"/>
                    </a:lnTo>
                    <a:cubicBezTo>
                      <a:pt x="261546" y="188524"/>
                      <a:pt x="254363" y="196986"/>
                      <a:pt x="260070" y="205251"/>
                    </a:cubicBezTo>
                    <a:cubicBezTo>
                      <a:pt x="261644" y="206924"/>
                      <a:pt x="267548" y="218928"/>
                      <a:pt x="268827" y="211155"/>
                    </a:cubicBezTo>
                    <a:lnTo>
                      <a:pt x="271976" y="191869"/>
                    </a:lnTo>
                    <a:cubicBezTo>
                      <a:pt x="272959" y="185769"/>
                      <a:pt x="270303" y="178389"/>
                      <a:pt x="270500" y="179373"/>
                    </a:cubicBezTo>
                    <a:cubicBezTo>
                      <a:pt x="269516" y="176421"/>
                      <a:pt x="271188" y="173765"/>
                      <a:pt x="274239" y="173371"/>
                    </a:cubicBezTo>
                    <a:cubicBezTo>
                      <a:pt x="275223" y="172977"/>
                      <a:pt x="281717" y="173568"/>
                      <a:pt x="284374" y="167270"/>
                    </a:cubicBezTo>
                    <a:close/>
                  </a:path>
                </a:pathLst>
              </a:custGeom>
              <a:grpFill/>
              <a:ln w="9835" cap="flat">
                <a:noFill/>
                <a:prstDash val="solid"/>
                <a:miter/>
              </a:ln>
            </p:spPr>
            <p:txBody>
              <a:bodyPr rtlCol="0" anchor="ctr"/>
              <a:lstStyle/>
              <a:p>
                <a:endParaRPr lang="en-IN"/>
              </a:p>
            </p:txBody>
          </p:sp>
          <p:sp>
            <p:nvSpPr>
              <p:cNvPr id="708" name="Freeform: Shape 707">
                <a:extLst>
                  <a:ext uri="{FF2B5EF4-FFF2-40B4-BE49-F238E27FC236}">
                    <a16:creationId xmlns:a16="http://schemas.microsoft.com/office/drawing/2014/main" id="{E62D5CB8-FCE4-A236-7BF0-13761507F6FB}"/>
                  </a:ext>
                </a:extLst>
              </p:cNvPr>
              <p:cNvSpPr/>
              <p:nvPr/>
            </p:nvSpPr>
            <p:spPr>
              <a:xfrm>
                <a:off x="12601234" y="5778397"/>
                <a:ext cx="26807" cy="20625"/>
              </a:xfrm>
              <a:custGeom>
                <a:avLst/>
                <a:gdLst>
                  <a:gd name="connsiteX0" fmla="*/ 11759 w 26807"/>
                  <a:gd name="connsiteY0" fmla="*/ 20626 h 20625"/>
                  <a:gd name="connsiteX1" fmla="*/ 12940 w 26807"/>
                  <a:gd name="connsiteY1" fmla="*/ 20626 h 20625"/>
                  <a:gd name="connsiteX2" fmla="*/ 24846 w 26807"/>
                  <a:gd name="connsiteY2" fmla="*/ 10196 h 20625"/>
                  <a:gd name="connsiteX3" fmla="*/ 13727 w 26807"/>
                  <a:gd name="connsiteY3" fmla="*/ 848 h 20625"/>
                  <a:gd name="connsiteX4" fmla="*/ 3887 w 26807"/>
                  <a:gd name="connsiteY4" fmla="*/ 1242 h 20625"/>
                  <a:gd name="connsiteX5" fmla="*/ 2904 w 26807"/>
                  <a:gd name="connsiteY5" fmla="*/ 1832 h 20625"/>
                  <a:gd name="connsiteX6" fmla="*/ 3690 w 26807"/>
                  <a:gd name="connsiteY6" fmla="*/ 15607 h 20625"/>
                  <a:gd name="connsiteX7" fmla="*/ 11857 w 26807"/>
                  <a:gd name="connsiteY7" fmla="*/ 20527 h 2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07" h="20625">
                    <a:moveTo>
                      <a:pt x="11759" y="20626"/>
                    </a:moveTo>
                    <a:lnTo>
                      <a:pt x="12940" y="20626"/>
                    </a:lnTo>
                    <a:cubicBezTo>
                      <a:pt x="21107" y="20626"/>
                      <a:pt x="17663" y="13049"/>
                      <a:pt x="24846" y="10196"/>
                    </a:cubicBezTo>
                    <a:cubicBezTo>
                      <a:pt x="31930" y="7441"/>
                      <a:pt x="17859" y="3406"/>
                      <a:pt x="13727" y="848"/>
                    </a:cubicBezTo>
                    <a:cubicBezTo>
                      <a:pt x="10972" y="-431"/>
                      <a:pt x="6544" y="-234"/>
                      <a:pt x="3887" y="1242"/>
                    </a:cubicBezTo>
                    <a:lnTo>
                      <a:pt x="2904" y="1832"/>
                    </a:lnTo>
                    <a:cubicBezTo>
                      <a:pt x="-3788" y="5670"/>
                      <a:pt x="3100" y="13443"/>
                      <a:pt x="3690" y="15607"/>
                    </a:cubicBezTo>
                    <a:cubicBezTo>
                      <a:pt x="5068" y="18363"/>
                      <a:pt x="8709" y="20527"/>
                      <a:pt x="11857" y="20527"/>
                    </a:cubicBezTo>
                    <a:close/>
                  </a:path>
                </a:pathLst>
              </a:custGeom>
              <a:grpFill/>
              <a:ln w="9835" cap="flat">
                <a:noFill/>
                <a:prstDash val="solid"/>
                <a:miter/>
              </a:ln>
            </p:spPr>
            <p:txBody>
              <a:bodyPr rtlCol="0" anchor="ctr"/>
              <a:lstStyle/>
              <a:p>
                <a:endParaRPr lang="en-IN"/>
              </a:p>
            </p:txBody>
          </p:sp>
          <p:sp>
            <p:nvSpPr>
              <p:cNvPr id="709" name="Freeform: Shape 708">
                <a:extLst>
                  <a:ext uri="{FF2B5EF4-FFF2-40B4-BE49-F238E27FC236}">
                    <a16:creationId xmlns:a16="http://schemas.microsoft.com/office/drawing/2014/main" id="{1985944D-5BDE-1AA8-7369-8C9BE112797E}"/>
                  </a:ext>
                </a:extLst>
              </p:cNvPr>
              <p:cNvSpPr/>
              <p:nvPr/>
            </p:nvSpPr>
            <p:spPr>
              <a:xfrm>
                <a:off x="12772252" y="5620631"/>
                <a:ext cx="12981" cy="11404"/>
              </a:xfrm>
              <a:custGeom>
                <a:avLst/>
                <a:gdLst>
                  <a:gd name="connsiteX0" fmla="*/ 6342 w 12981"/>
                  <a:gd name="connsiteY0" fmla="*/ 0 h 11404"/>
                  <a:gd name="connsiteX1" fmla="*/ 4374 w 12981"/>
                  <a:gd name="connsiteY1" fmla="*/ 0 h 11404"/>
                  <a:gd name="connsiteX2" fmla="*/ 143 w 12981"/>
                  <a:gd name="connsiteY2" fmla="*/ 5412 h 11404"/>
                  <a:gd name="connsiteX3" fmla="*/ 635 w 12981"/>
                  <a:gd name="connsiteY3" fmla="*/ 7282 h 11404"/>
                  <a:gd name="connsiteX4" fmla="*/ 7424 w 12981"/>
                  <a:gd name="connsiteY4" fmla="*/ 11217 h 11404"/>
                  <a:gd name="connsiteX5" fmla="*/ 8605 w 12981"/>
                  <a:gd name="connsiteY5" fmla="*/ 10922 h 11404"/>
                  <a:gd name="connsiteX6" fmla="*/ 6342 w 12981"/>
                  <a:gd name="connsiteY6" fmla="*/ 0 h 1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81" h="11404">
                    <a:moveTo>
                      <a:pt x="6342" y="0"/>
                    </a:moveTo>
                    <a:lnTo>
                      <a:pt x="4374" y="0"/>
                    </a:lnTo>
                    <a:cubicBezTo>
                      <a:pt x="1323" y="0"/>
                      <a:pt x="-546" y="2460"/>
                      <a:pt x="143" y="5412"/>
                    </a:cubicBezTo>
                    <a:lnTo>
                      <a:pt x="635" y="7282"/>
                    </a:lnTo>
                    <a:cubicBezTo>
                      <a:pt x="1422" y="10234"/>
                      <a:pt x="4472" y="12005"/>
                      <a:pt x="7424" y="11217"/>
                    </a:cubicBezTo>
                    <a:lnTo>
                      <a:pt x="8605" y="10922"/>
                    </a:lnTo>
                    <a:cubicBezTo>
                      <a:pt x="15689" y="8954"/>
                      <a:pt x="13623" y="0"/>
                      <a:pt x="6342" y="0"/>
                    </a:cubicBezTo>
                    <a:close/>
                  </a:path>
                </a:pathLst>
              </a:custGeom>
              <a:grpFill/>
              <a:ln w="9835" cap="flat">
                <a:noFill/>
                <a:prstDash val="solid"/>
                <a:miter/>
              </a:ln>
            </p:spPr>
            <p:txBody>
              <a:bodyPr rtlCol="0" anchor="ctr"/>
              <a:lstStyle/>
              <a:p>
                <a:endParaRPr lang="en-IN"/>
              </a:p>
            </p:txBody>
          </p:sp>
          <p:sp>
            <p:nvSpPr>
              <p:cNvPr id="710" name="Freeform: Shape 709">
                <a:extLst>
                  <a:ext uri="{FF2B5EF4-FFF2-40B4-BE49-F238E27FC236}">
                    <a16:creationId xmlns:a16="http://schemas.microsoft.com/office/drawing/2014/main" id="{1A4A9E26-6A35-2C01-979B-B93EE8C12488}"/>
                  </a:ext>
                </a:extLst>
              </p:cNvPr>
              <p:cNvSpPr/>
              <p:nvPr/>
            </p:nvSpPr>
            <p:spPr>
              <a:xfrm>
                <a:off x="12752139" y="5415380"/>
                <a:ext cx="91802" cy="165834"/>
              </a:xfrm>
              <a:custGeom>
                <a:avLst/>
                <a:gdLst>
                  <a:gd name="connsiteX0" fmla="*/ 71323 w 91802"/>
                  <a:gd name="connsiteY0" fmla="*/ 20365 h 165834"/>
                  <a:gd name="connsiteX1" fmla="*/ 60992 w 91802"/>
                  <a:gd name="connsiteY1" fmla="*/ 12099 h 165834"/>
                  <a:gd name="connsiteX2" fmla="*/ 46823 w 91802"/>
                  <a:gd name="connsiteY2" fmla="*/ 390 h 165834"/>
                  <a:gd name="connsiteX3" fmla="*/ 21043 w 91802"/>
                  <a:gd name="connsiteY3" fmla="*/ 5605 h 165834"/>
                  <a:gd name="connsiteX4" fmla="*/ 2938 w 91802"/>
                  <a:gd name="connsiteY4" fmla="*/ 6589 h 165834"/>
                  <a:gd name="connsiteX5" fmla="*/ 11892 w 91802"/>
                  <a:gd name="connsiteY5" fmla="*/ 28630 h 165834"/>
                  <a:gd name="connsiteX6" fmla="*/ 43084 w 91802"/>
                  <a:gd name="connsiteY6" fmla="*/ 50769 h 165834"/>
                  <a:gd name="connsiteX7" fmla="*/ 37672 w 91802"/>
                  <a:gd name="connsiteY7" fmla="*/ 61396 h 165834"/>
                  <a:gd name="connsiteX8" fmla="*/ 32948 w 91802"/>
                  <a:gd name="connsiteY8" fmla="*/ 66021 h 165834"/>
                  <a:gd name="connsiteX9" fmla="*/ 28914 w 91802"/>
                  <a:gd name="connsiteY9" fmla="*/ 77238 h 165834"/>
                  <a:gd name="connsiteX10" fmla="*/ 15631 w 91802"/>
                  <a:gd name="connsiteY10" fmla="*/ 76352 h 165834"/>
                  <a:gd name="connsiteX11" fmla="*/ 15434 w 91802"/>
                  <a:gd name="connsiteY11" fmla="*/ 75663 h 165834"/>
                  <a:gd name="connsiteX12" fmla="*/ 16910 w 91802"/>
                  <a:gd name="connsiteY12" fmla="*/ 61593 h 165834"/>
                  <a:gd name="connsiteX13" fmla="*/ 6677 w 91802"/>
                  <a:gd name="connsiteY13" fmla="*/ 57460 h 165834"/>
                  <a:gd name="connsiteX14" fmla="*/ 576 w 91802"/>
                  <a:gd name="connsiteY14" fmla="*/ 69071 h 165834"/>
                  <a:gd name="connsiteX15" fmla="*/ 6480 w 91802"/>
                  <a:gd name="connsiteY15" fmla="*/ 89635 h 165834"/>
                  <a:gd name="connsiteX16" fmla="*/ 9924 w 91802"/>
                  <a:gd name="connsiteY16" fmla="*/ 106264 h 165834"/>
                  <a:gd name="connsiteX17" fmla="*/ 16025 w 91802"/>
                  <a:gd name="connsiteY17" fmla="*/ 103509 h 165834"/>
                  <a:gd name="connsiteX18" fmla="*/ 16812 w 91802"/>
                  <a:gd name="connsiteY18" fmla="*/ 101738 h 165834"/>
                  <a:gd name="connsiteX19" fmla="*/ 22224 w 91802"/>
                  <a:gd name="connsiteY19" fmla="*/ 101148 h 165834"/>
                  <a:gd name="connsiteX20" fmla="*/ 29800 w 91802"/>
                  <a:gd name="connsiteY20" fmla="*/ 111676 h 165834"/>
                  <a:gd name="connsiteX21" fmla="*/ 30194 w 91802"/>
                  <a:gd name="connsiteY21" fmla="*/ 124960 h 165834"/>
                  <a:gd name="connsiteX22" fmla="*/ 29111 w 91802"/>
                  <a:gd name="connsiteY22" fmla="*/ 144836 h 165834"/>
                  <a:gd name="connsiteX23" fmla="*/ 34129 w 91802"/>
                  <a:gd name="connsiteY23" fmla="*/ 153298 h 165834"/>
                  <a:gd name="connsiteX24" fmla="*/ 41706 w 91802"/>
                  <a:gd name="connsiteY24" fmla="*/ 157037 h 165834"/>
                  <a:gd name="connsiteX25" fmla="*/ 43378 w 91802"/>
                  <a:gd name="connsiteY25" fmla="*/ 146607 h 165834"/>
                  <a:gd name="connsiteX26" fmla="*/ 59811 w 91802"/>
                  <a:gd name="connsiteY26" fmla="*/ 165302 h 165834"/>
                  <a:gd name="connsiteX27" fmla="*/ 60795 w 91802"/>
                  <a:gd name="connsiteY27" fmla="*/ 157726 h 165834"/>
                  <a:gd name="connsiteX28" fmla="*/ 58532 w 91802"/>
                  <a:gd name="connsiteY28" fmla="*/ 151035 h 165834"/>
                  <a:gd name="connsiteX29" fmla="*/ 59811 w 91802"/>
                  <a:gd name="connsiteY29" fmla="*/ 138833 h 165834"/>
                  <a:gd name="connsiteX30" fmla="*/ 51348 w 91802"/>
                  <a:gd name="connsiteY30" fmla="*/ 119744 h 165834"/>
                  <a:gd name="connsiteX31" fmla="*/ 44756 w 91802"/>
                  <a:gd name="connsiteY31" fmla="*/ 108035 h 165834"/>
                  <a:gd name="connsiteX32" fmla="*/ 47905 w 91802"/>
                  <a:gd name="connsiteY32" fmla="*/ 80879 h 165834"/>
                  <a:gd name="connsiteX33" fmla="*/ 48692 w 91802"/>
                  <a:gd name="connsiteY33" fmla="*/ 80879 h 165834"/>
                  <a:gd name="connsiteX34" fmla="*/ 56564 w 91802"/>
                  <a:gd name="connsiteY34" fmla="*/ 85503 h 165834"/>
                  <a:gd name="connsiteX35" fmla="*/ 79392 w 91802"/>
                  <a:gd name="connsiteY35" fmla="*/ 94063 h 165834"/>
                  <a:gd name="connsiteX36" fmla="*/ 90510 w 91802"/>
                  <a:gd name="connsiteY36" fmla="*/ 97409 h 165834"/>
                  <a:gd name="connsiteX37" fmla="*/ 70634 w 91802"/>
                  <a:gd name="connsiteY37" fmla="*/ 48703 h 165834"/>
                  <a:gd name="connsiteX38" fmla="*/ 71422 w 91802"/>
                  <a:gd name="connsiteY38" fmla="*/ 20463 h 16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1802" h="165834">
                    <a:moveTo>
                      <a:pt x="71323" y="20365"/>
                    </a:moveTo>
                    <a:cubicBezTo>
                      <a:pt x="70339" y="19676"/>
                      <a:pt x="64731" y="17806"/>
                      <a:pt x="60992" y="12099"/>
                    </a:cubicBezTo>
                    <a:cubicBezTo>
                      <a:pt x="57843" y="8557"/>
                      <a:pt x="54891" y="-2168"/>
                      <a:pt x="46823" y="390"/>
                    </a:cubicBezTo>
                    <a:cubicBezTo>
                      <a:pt x="37573" y="3342"/>
                      <a:pt x="28619" y="7376"/>
                      <a:pt x="21043" y="5605"/>
                    </a:cubicBezTo>
                    <a:cubicBezTo>
                      <a:pt x="14254" y="4917"/>
                      <a:pt x="970" y="-1873"/>
                      <a:pt x="2938" y="6589"/>
                    </a:cubicBezTo>
                    <a:cubicBezTo>
                      <a:pt x="5299" y="16823"/>
                      <a:pt x="5791" y="24399"/>
                      <a:pt x="11892" y="28630"/>
                    </a:cubicBezTo>
                    <a:lnTo>
                      <a:pt x="43084" y="50769"/>
                    </a:lnTo>
                    <a:cubicBezTo>
                      <a:pt x="48987" y="55000"/>
                      <a:pt x="44855" y="62576"/>
                      <a:pt x="37672" y="61396"/>
                    </a:cubicBezTo>
                    <a:cubicBezTo>
                      <a:pt x="34720" y="60904"/>
                      <a:pt x="32555" y="62970"/>
                      <a:pt x="32948" y="66021"/>
                    </a:cubicBezTo>
                    <a:cubicBezTo>
                      <a:pt x="32850" y="67004"/>
                      <a:pt x="35507" y="74680"/>
                      <a:pt x="28914" y="77238"/>
                    </a:cubicBezTo>
                    <a:cubicBezTo>
                      <a:pt x="26553" y="77631"/>
                      <a:pt x="17894" y="83929"/>
                      <a:pt x="15631" y="76352"/>
                    </a:cubicBezTo>
                    <a:lnTo>
                      <a:pt x="15434" y="75663"/>
                    </a:lnTo>
                    <a:cubicBezTo>
                      <a:pt x="13073" y="67595"/>
                      <a:pt x="21928" y="68185"/>
                      <a:pt x="16910" y="61593"/>
                    </a:cubicBezTo>
                    <a:cubicBezTo>
                      <a:pt x="15926" y="60805"/>
                      <a:pt x="12384" y="53032"/>
                      <a:pt x="6677" y="57460"/>
                    </a:cubicBezTo>
                    <a:cubicBezTo>
                      <a:pt x="5791" y="58542"/>
                      <a:pt x="-2179" y="62183"/>
                      <a:pt x="576" y="69071"/>
                    </a:cubicBezTo>
                    <a:cubicBezTo>
                      <a:pt x="576" y="69071"/>
                      <a:pt x="6677" y="82551"/>
                      <a:pt x="6480" y="89635"/>
                    </a:cubicBezTo>
                    <a:cubicBezTo>
                      <a:pt x="6775" y="92883"/>
                      <a:pt x="4414" y="102919"/>
                      <a:pt x="9924" y="106264"/>
                    </a:cubicBezTo>
                    <a:cubicBezTo>
                      <a:pt x="12089" y="107642"/>
                      <a:pt x="14844" y="106363"/>
                      <a:pt x="16025" y="103509"/>
                    </a:cubicBezTo>
                    <a:lnTo>
                      <a:pt x="16812" y="101738"/>
                    </a:lnTo>
                    <a:cubicBezTo>
                      <a:pt x="17993" y="98885"/>
                      <a:pt x="20453" y="98590"/>
                      <a:pt x="22224" y="101148"/>
                    </a:cubicBezTo>
                    <a:lnTo>
                      <a:pt x="29800" y="111676"/>
                    </a:lnTo>
                    <a:cubicBezTo>
                      <a:pt x="33834" y="117285"/>
                      <a:pt x="29997" y="125943"/>
                      <a:pt x="30194" y="124960"/>
                    </a:cubicBezTo>
                    <a:cubicBezTo>
                      <a:pt x="27635" y="132733"/>
                      <a:pt x="29209" y="145820"/>
                      <a:pt x="29111" y="144836"/>
                    </a:cubicBezTo>
                    <a:cubicBezTo>
                      <a:pt x="29308" y="147886"/>
                      <a:pt x="31571" y="151723"/>
                      <a:pt x="34129" y="153298"/>
                    </a:cubicBezTo>
                    <a:cubicBezTo>
                      <a:pt x="34129" y="153298"/>
                      <a:pt x="41706" y="157824"/>
                      <a:pt x="41706" y="157037"/>
                    </a:cubicBezTo>
                    <a:cubicBezTo>
                      <a:pt x="41706" y="156250"/>
                      <a:pt x="43378" y="146607"/>
                      <a:pt x="43378" y="146607"/>
                    </a:cubicBezTo>
                    <a:cubicBezTo>
                      <a:pt x="45445" y="134110"/>
                      <a:pt x="53513" y="170616"/>
                      <a:pt x="59811" y="165302"/>
                    </a:cubicBezTo>
                    <a:cubicBezTo>
                      <a:pt x="61385" y="164023"/>
                      <a:pt x="61778" y="160579"/>
                      <a:pt x="60795" y="157726"/>
                    </a:cubicBezTo>
                    <a:lnTo>
                      <a:pt x="58532" y="151035"/>
                    </a:lnTo>
                    <a:cubicBezTo>
                      <a:pt x="55678" y="142966"/>
                      <a:pt x="62271" y="147099"/>
                      <a:pt x="59811" y="138833"/>
                    </a:cubicBezTo>
                    <a:cubicBezTo>
                      <a:pt x="57646" y="131749"/>
                      <a:pt x="56268" y="124763"/>
                      <a:pt x="51348" y="119744"/>
                    </a:cubicBezTo>
                    <a:cubicBezTo>
                      <a:pt x="50660" y="118761"/>
                      <a:pt x="45346" y="115120"/>
                      <a:pt x="44756" y="108035"/>
                    </a:cubicBezTo>
                    <a:cubicBezTo>
                      <a:pt x="44756" y="94260"/>
                      <a:pt x="38951" y="82059"/>
                      <a:pt x="47905" y="80879"/>
                    </a:cubicBezTo>
                    <a:lnTo>
                      <a:pt x="48692" y="80879"/>
                    </a:lnTo>
                    <a:cubicBezTo>
                      <a:pt x="54399" y="79993"/>
                      <a:pt x="57449" y="86487"/>
                      <a:pt x="56564" y="85503"/>
                    </a:cubicBezTo>
                    <a:cubicBezTo>
                      <a:pt x="60303" y="94359"/>
                      <a:pt x="69748" y="87864"/>
                      <a:pt x="79392" y="94063"/>
                    </a:cubicBezTo>
                    <a:cubicBezTo>
                      <a:pt x="80375" y="94555"/>
                      <a:pt x="86574" y="99770"/>
                      <a:pt x="90510" y="97409"/>
                    </a:cubicBezTo>
                    <a:cubicBezTo>
                      <a:pt x="98382" y="92686"/>
                      <a:pt x="67584" y="62282"/>
                      <a:pt x="70634" y="48703"/>
                    </a:cubicBezTo>
                    <a:cubicBezTo>
                      <a:pt x="72405" y="35321"/>
                      <a:pt x="79392" y="24497"/>
                      <a:pt x="71422" y="20463"/>
                    </a:cubicBezTo>
                    <a:close/>
                  </a:path>
                </a:pathLst>
              </a:custGeom>
              <a:grpFill/>
              <a:ln w="9835" cap="flat">
                <a:noFill/>
                <a:prstDash val="solid"/>
                <a:miter/>
              </a:ln>
            </p:spPr>
            <p:txBody>
              <a:bodyPr rtlCol="0" anchor="ctr"/>
              <a:lstStyle/>
              <a:p>
                <a:endParaRPr lang="en-IN"/>
              </a:p>
            </p:txBody>
          </p:sp>
          <p:sp>
            <p:nvSpPr>
              <p:cNvPr id="711" name="Freeform: Shape 710">
                <a:extLst>
                  <a:ext uri="{FF2B5EF4-FFF2-40B4-BE49-F238E27FC236}">
                    <a16:creationId xmlns:a16="http://schemas.microsoft.com/office/drawing/2014/main" id="{A3CA0FC3-0DC0-1401-9299-27C81359D7B1}"/>
                  </a:ext>
                </a:extLst>
              </p:cNvPr>
              <p:cNvSpPr/>
              <p:nvPr/>
            </p:nvSpPr>
            <p:spPr>
              <a:xfrm>
                <a:off x="12828138" y="5546199"/>
                <a:ext cx="12740" cy="36599"/>
              </a:xfrm>
              <a:custGeom>
                <a:avLst/>
                <a:gdLst>
                  <a:gd name="connsiteX0" fmla="*/ 637 w 12740"/>
                  <a:gd name="connsiteY0" fmla="*/ 15000 h 36599"/>
                  <a:gd name="connsiteX1" fmla="*/ 3786 w 12740"/>
                  <a:gd name="connsiteY1" fmla="*/ 31531 h 36599"/>
                  <a:gd name="connsiteX2" fmla="*/ 12740 w 12740"/>
                  <a:gd name="connsiteY2" fmla="*/ 31039 h 36599"/>
                  <a:gd name="connsiteX3" fmla="*/ 12740 w 12740"/>
                  <a:gd name="connsiteY3" fmla="*/ 8309 h 36599"/>
                  <a:gd name="connsiteX4" fmla="*/ 9394 w 12740"/>
                  <a:gd name="connsiteY4" fmla="*/ 438 h 36599"/>
                  <a:gd name="connsiteX5" fmla="*/ 637 w 12740"/>
                  <a:gd name="connsiteY5" fmla="*/ 15000 h 3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40" h="36599">
                    <a:moveTo>
                      <a:pt x="637" y="15000"/>
                    </a:moveTo>
                    <a:cubicBezTo>
                      <a:pt x="-1724" y="22281"/>
                      <a:pt x="3196" y="29464"/>
                      <a:pt x="3786" y="31531"/>
                    </a:cubicBezTo>
                    <a:cubicBezTo>
                      <a:pt x="6738" y="38320"/>
                      <a:pt x="12740" y="38419"/>
                      <a:pt x="12740" y="31039"/>
                    </a:cubicBezTo>
                    <a:lnTo>
                      <a:pt x="12740" y="8309"/>
                    </a:lnTo>
                    <a:cubicBezTo>
                      <a:pt x="12740" y="5259"/>
                      <a:pt x="11264" y="1717"/>
                      <a:pt x="9394" y="438"/>
                    </a:cubicBezTo>
                    <a:cubicBezTo>
                      <a:pt x="4278" y="-3006"/>
                      <a:pt x="637" y="15000"/>
                      <a:pt x="637" y="15000"/>
                    </a:cubicBezTo>
                    <a:close/>
                  </a:path>
                </a:pathLst>
              </a:custGeom>
              <a:grpFill/>
              <a:ln w="9835" cap="flat">
                <a:noFill/>
                <a:prstDash val="solid"/>
                <a:miter/>
              </a:ln>
            </p:spPr>
            <p:txBody>
              <a:bodyPr rtlCol="0" anchor="ctr"/>
              <a:lstStyle/>
              <a:p>
                <a:endParaRPr lang="en-IN"/>
              </a:p>
            </p:txBody>
          </p:sp>
          <p:sp>
            <p:nvSpPr>
              <p:cNvPr id="712" name="Freeform: Shape 711">
                <a:extLst>
                  <a:ext uri="{FF2B5EF4-FFF2-40B4-BE49-F238E27FC236}">
                    <a16:creationId xmlns:a16="http://schemas.microsoft.com/office/drawing/2014/main" id="{380ABF6C-3919-268C-C3AB-E1084362986E}"/>
                  </a:ext>
                </a:extLst>
              </p:cNvPr>
              <p:cNvSpPr/>
              <p:nvPr/>
            </p:nvSpPr>
            <p:spPr>
              <a:xfrm>
                <a:off x="12853734" y="5576726"/>
                <a:ext cx="13877" cy="22354"/>
              </a:xfrm>
              <a:custGeom>
                <a:avLst/>
                <a:gdLst>
                  <a:gd name="connsiteX0" fmla="*/ 5347 w 13877"/>
                  <a:gd name="connsiteY0" fmla="*/ 20979 h 22354"/>
                  <a:gd name="connsiteX1" fmla="*/ 13219 w 13877"/>
                  <a:gd name="connsiteY1" fmla="*/ 6121 h 22354"/>
                  <a:gd name="connsiteX2" fmla="*/ 11645 w 13877"/>
                  <a:gd name="connsiteY2" fmla="*/ 2579 h 22354"/>
                  <a:gd name="connsiteX3" fmla="*/ 5150 w 13877"/>
                  <a:gd name="connsiteY3" fmla="*/ 1202 h 22354"/>
                  <a:gd name="connsiteX4" fmla="*/ 3674 w 13877"/>
                  <a:gd name="connsiteY4" fmla="*/ 2481 h 22354"/>
                  <a:gd name="connsiteX5" fmla="*/ 34 w 13877"/>
                  <a:gd name="connsiteY5" fmla="*/ 11730 h 22354"/>
                  <a:gd name="connsiteX6" fmla="*/ 5347 w 13877"/>
                  <a:gd name="connsiteY6" fmla="*/ 20979 h 22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7" h="22354">
                    <a:moveTo>
                      <a:pt x="5347" y="20979"/>
                    </a:moveTo>
                    <a:cubicBezTo>
                      <a:pt x="7315" y="18322"/>
                      <a:pt x="16367" y="13206"/>
                      <a:pt x="13219" y="6121"/>
                    </a:cubicBezTo>
                    <a:lnTo>
                      <a:pt x="11645" y="2579"/>
                    </a:lnTo>
                    <a:cubicBezTo>
                      <a:pt x="10365" y="-176"/>
                      <a:pt x="7511" y="-865"/>
                      <a:pt x="5150" y="1202"/>
                    </a:cubicBezTo>
                    <a:lnTo>
                      <a:pt x="3674" y="2481"/>
                    </a:lnTo>
                    <a:cubicBezTo>
                      <a:pt x="1411" y="4547"/>
                      <a:pt x="-262" y="8680"/>
                      <a:pt x="34" y="11730"/>
                    </a:cubicBezTo>
                    <a:cubicBezTo>
                      <a:pt x="624" y="13796"/>
                      <a:pt x="-360" y="26489"/>
                      <a:pt x="5347" y="20979"/>
                    </a:cubicBezTo>
                    <a:close/>
                  </a:path>
                </a:pathLst>
              </a:custGeom>
              <a:grpFill/>
              <a:ln w="9835" cap="flat">
                <a:noFill/>
                <a:prstDash val="solid"/>
                <a:miter/>
              </a:ln>
            </p:spPr>
            <p:txBody>
              <a:bodyPr rtlCol="0" anchor="ctr"/>
              <a:lstStyle/>
              <a:p>
                <a:endParaRPr lang="en-IN"/>
              </a:p>
            </p:txBody>
          </p:sp>
          <p:sp>
            <p:nvSpPr>
              <p:cNvPr id="713" name="Freeform: Shape 712">
                <a:extLst>
                  <a:ext uri="{FF2B5EF4-FFF2-40B4-BE49-F238E27FC236}">
                    <a16:creationId xmlns:a16="http://schemas.microsoft.com/office/drawing/2014/main" id="{15BC05F8-105F-C450-477F-25FDA3F90952}"/>
                  </a:ext>
                </a:extLst>
              </p:cNvPr>
              <p:cNvSpPr/>
              <p:nvPr/>
            </p:nvSpPr>
            <p:spPr>
              <a:xfrm>
                <a:off x="12737437" y="5326181"/>
                <a:ext cx="22775" cy="31370"/>
              </a:xfrm>
              <a:custGeom>
                <a:avLst/>
                <a:gdLst>
                  <a:gd name="connsiteX0" fmla="*/ 2094 w 22775"/>
                  <a:gd name="connsiteY0" fmla="*/ 27305 h 31370"/>
                  <a:gd name="connsiteX1" fmla="*/ 10162 w 22775"/>
                  <a:gd name="connsiteY1" fmla="*/ 31241 h 31370"/>
                  <a:gd name="connsiteX2" fmla="*/ 20789 w 22775"/>
                  <a:gd name="connsiteY2" fmla="*/ 10381 h 31370"/>
                  <a:gd name="connsiteX3" fmla="*/ 6030 w 22775"/>
                  <a:gd name="connsiteY3" fmla="*/ 2509 h 31370"/>
                  <a:gd name="connsiteX4" fmla="*/ 1700 w 22775"/>
                  <a:gd name="connsiteY4" fmla="*/ 20909 h 31370"/>
                  <a:gd name="connsiteX5" fmla="*/ 1996 w 22775"/>
                  <a:gd name="connsiteY5" fmla="*/ 27305 h 3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75" h="31370">
                    <a:moveTo>
                      <a:pt x="2094" y="27305"/>
                    </a:moveTo>
                    <a:cubicBezTo>
                      <a:pt x="2094" y="27305"/>
                      <a:pt x="9473" y="32225"/>
                      <a:pt x="10162" y="31241"/>
                    </a:cubicBezTo>
                    <a:cubicBezTo>
                      <a:pt x="17345" y="21697"/>
                      <a:pt x="26988" y="15891"/>
                      <a:pt x="20789" y="10381"/>
                    </a:cubicBezTo>
                    <a:cubicBezTo>
                      <a:pt x="20789" y="10381"/>
                      <a:pt x="6030" y="-6150"/>
                      <a:pt x="6030" y="2509"/>
                    </a:cubicBezTo>
                    <a:cubicBezTo>
                      <a:pt x="5538" y="6740"/>
                      <a:pt x="7998" y="16088"/>
                      <a:pt x="1700" y="20909"/>
                    </a:cubicBezTo>
                    <a:cubicBezTo>
                      <a:pt x="-661" y="22680"/>
                      <a:pt x="-563" y="25632"/>
                      <a:pt x="1996" y="27305"/>
                    </a:cubicBezTo>
                    <a:close/>
                  </a:path>
                </a:pathLst>
              </a:custGeom>
              <a:grpFill/>
              <a:ln w="9835" cap="flat">
                <a:noFill/>
                <a:prstDash val="solid"/>
                <a:miter/>
              </a:ln>
            </p:spPr>
            <p:txBody>
              <a:bodyPr rtlCol="0" anchor="ctr"/>
              <a:lstStyle/>
              <a:p>
                <a:endParaRPr lang="en-IN"/>
              </a:p>
            </p:txBody>
          </p:sp>
          <p:sp>
            <p:nvSpPr>
              <p:cNvPr id="714" name="Freeform: Shape 713">
                <a:extLst>
                  <a:ext uri="{FF2B5EF4-FFF2-40B4-BE49-F238E27FC236}">
                    <a16:creationId xmlns:a16="http://schemas.microsoft.com/office/drawing/2014/main" id="{2738B350-4E32-7372-D312-9C669F27F2C9}"/>
                  </a:ext>
                </a:extLst>
              </p:cNvPr>
              <p:cNvSpPr/>
              <p:nvPr/>
            </p:nvSpPr>
            <p:spPr>
              <a:xfrm>
                <a:off x="12600662" y="5259772"/>
                <a:ext cx="13187" cy="26312"/>
              </a:xfrm>
              <a:custGeom>
                <a:avLst/>
                <a:gdLst>
                  <a:gd name="connsiteX0" fmla="*/ 6919 w 13187"/>
                  <a:gd name="connsiteY0" fmla="*/ 26312 h 26312"/>
                  <a:gd name="connsiteX1" fmla="*/ 12921 w 13187"/>
                  <a:gd name="connsiteY1" fmla="*/ 5453 h 26312"/>
                  <a:gd name="connsiteX2" fmla="*/ 4164 w 13187"/>
                  <a:gd name="connsiteY2" fmla="*/ 41 h 26312"/>
                  <a:gd name="connsiteX3" fmla="*/ 228 w 13187"/>
                  <a:gd name="connsiteY3" fmla="*/ 5354 h 26312"/>
                  <a:gd name="connsiteX4" fmla="*/ 1508 w 13187"/>
                  <a:gd name="connsiteY4" fmla="*/ 9586 h 26312"/>
                  <a:gd name="connsiteX5" fmla="*/ 2885 w 13187"/>
                  <a:gd name="connsiteY5" fmla="*/ 21393 h 26312"/>
                  <a:gd name="connsiteX6" fmla="*/ 6919 w 13187"/>
                  <a:gd name="connsiteY6" fmla="*/ 26215 h 2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87" h="26312">
                    <a:moveTo>
                      <a:pt x="6919" y="26312"/>
                    </a:moveTo>
                    <a:cubicBezTo>
                      <a:pt x="13610" y="25230"/>
                      <a:pt x="9379" y="18048"/>
                      <a:pt x="12921" y="5453"/>
                    </a:cubicBezTo>
                    <a:cubicBezTo>
                      <a:pt x="14889" y="-1632"/>
                      <a:pt x="5345" y="336"/>
                      <a:pt x="4164" y="41"/>
                    </a:cubicBezTo>
                    <a:cubicBezTo>
                      <a:pt x="1114" y="41"/>
                      <a:pt x="-657" y="2402"/>
                      <a:pt x="228" y="5354"/>
                    </a:cubicBezTo>
                    <a:lnTo>
                      <a:pt x="1508" y="9586"/>
                    </a:lnTo>
                    <a:cubicBezTo>
                      <a:pt x="3279" y="15292"/>
                      <a:pt x="2787" y="20409"/>
                      <a:pt x="2885" y="21393"/>
                    </a:cubicBezTo>
                    <a:cubicBezTo>
                      <a:pt x="2688" y="24443"/>
                      <a:pt x="4558" y="26608"/>
                      <a:pt x="6919" y="26215"/>
                    </a:cubicBezTo>
                    <a:close/>
                  </a:path>
                </a:pathLst>
              </a:custGeom>
              <a:grpFill/>
              <a:ln w="9835" cap="flat">
                <a:noFill/>
                <a:prstDash val="solid"/>
                <a:miter/>
              </a:ln>
            </p:spPr>
            <p:txBody>
              <a:bodyPr rtlCol="0" anchor="ctr"/>
              <a:lstStyle/>
              <a:p>
                <a:endParaRPr lang="en-IN"/>
              </a:p>
            </p:txBody>
          </p:sp>
          <p:sp>
            <p:nvSpPr>
              <p:cNvPr id="715" name="Freeform: Shape 714">
                <a:extLst>
                  <a:ext uri="{FF2B5EF4-FFF2-40B4-BE49-F238E27FC236}">
                    <a16:creationId xmlns:a16="http://schemas.microsoft.com/office/drawing/2014/main" id="{EDAC6B6C-9FC9-C217-1A15-9FDE30E20C68}"/>
                  </a:ext>
                </a:extLst>
              </p:cNvPr>
              <p:cNvSpPr/>
              <p:nvPr/>
            </p:nvSpPr>
            <p:spPr>
              <a:xfrm>
                <a:off x="12597668" y="4997442"/>
                <a:ext cx="12583" cy="13289"/>
              </a:xfrm>
              <a:custGeom>
                <a:avLst/>
                <a:gdLst>
                  <a:gd name="connsiteX0" fmla="*/ 7650 w 12583"/>
                  <a:gd name="connsiteY0" fmla="*/ 342 h 13289"/>
                  <a:gd name="connsiteX1" fmla="*/ 959 w 12583"/>
                  <a:gd name="connsiteY1" fmla="*/ 3787 h 13289"/>
                  <a:gd name="connsiteX2" fmla="*/ 3419 w 12583"/>
                  <a:gd name="connsiteY2" fmla="*/ 13134 h 13289"/>
                  <a:gd name="connsiteX3" fmla="*/ 10897 w 12583"/>
                  <a:gd name="connsiteY3" fmla="*/ 9493 h 13289"/>
                  <a:gd name="connsiteX4" fmla="*/ 11881 w 12583"/>
                  <a:gd name="connsiteY4" fmla="*/ 7722 h 13289"/>
                  <a:gd name="connsiteX5" fmla="*/ 9421 w 12583"/>
                  <a:gd name="connsiteY5" fmla="*/ 933 h 13289"/>
                  <a:gd name="connsiteX6" fmla="*/ 7552 w 12583"/>
                  <a:gd name="connsiteY6" fmla="*/ 244 h 1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3" h="13289">
                    <a:moveTo>
                      <a:pt x="7650" y="342"/>
                    </a:moveTo>
                    <a:cubicBezTo>
                      <a:pt x="4797" y="-740"/>
                      <a:pt x="1746" y="834"/>
                      <a:pt x="959" y="3787"/>
                    </a:cubicBezTo>
                    <a:cubicBezTo>
                      <a:pt x="959" y="4770"/>
                      <a:pt x="-2386" y="11658"/>
                      <a:pt x="3419" y="13134"/>
                    </a:cubicBezTo>
                    <a:cubicBezTo>
                      <a:pt x="5977" y="13823"/>
                      <a:pt x="9421" y="12150"/>
                      <a:pt x="10897" y="9493"/>
                    </a:cubicBezTo>
                    <a:lnTo>
                      <a:pt x="11881" y="7722"/>
                    </a:lnTo>
                    <a:cubicBezTo>
                      <a:pt x="13455" y="5065"/>
                      <a:pt x="12275" y="2015"/>
                      <a:pt x="9421" y="933"/>
                    </a:cubicBezTo>
                    <a:lnTo>
                      <a:pt x="7552" y="244"/>
                    </a:lnTo>
                    <a:close/>
                  </a:path>
                </a:pathLst>
              </a:custGeom>
              <a:grpFill/>
              <a:ln w="9835" cap="flat">
                <a:noFill/>
                <a:prstDash val="solid"/>
                <a:miter/>
              </a:ln>
            </p:spPr>
            <p:txBody>
              <a:bodyPr rtlCol="0" anchor="ctr"/>
              <a:lstStyle/>
              <a:p>
                <a:endParaRPr lang="en-IN"/>
              </a:p>
            </p:txBody>
          </p:sp>
          <p:sp>
            <p:nvSpPr>
              <p:cNvPr id="716" name="Freeform: Shape 715">
                <a:extLst>
                  <a:ext uri="{FF2B5EF4-FFF2-40B4-BE49-F238E27FC236}">
                    <a16:creationId xmlns:a16="http://schemas.microsoft.com/office/drawing/2014/main" id="{4AA58217-D9D8-9C7B-C7F1-D38882F02876}"/>
                  </a:ext>
                </a:extLst>
              </p:cNvPr>
              <p:cNvSpPr/>
              <p:nvPr/>
            </p:nvSpPr>
            <p:spPr>
              <a:xfrm>
                <a:off x="12568912" y="4970922"/>
                <a:ext cx="11940" cy="13127"/>
              </a:xfrm>
              <a:custGeom>
                <a:avLst/>
                <a:gdLst>
                  <a:gd name="connsiteX0" fmla="*/ 6297 w 11940"/>
                  <a:gd name="connsiteY0" fmla="*/ 0 h 13127"/>
                  <a:gd name="connsiteX1" fmla="*/ 5609 w 11940"/>
                  <a:gd name="connsiteY1" fmla="*/ 0 h 13127"/>
                  <a:gd name="connsiteX2" fmla="*/ 0 w 11940"/>
                  <a:gd name="connsiteY2" fmla="*/ 4624 h 13127"/>
                  <a:gd name="connsiteX3" fmla="*/ 6888 w 11940"/>
                  <a:gd name="connsiteY3" fmla="*/ 12594 h 13127"/>
                  <a:gd name="connsiteX4" fmla="*/ 11906 w 11940"/>
                  <a:gd name="connsiteY4" fmla="*/ 9446 h 13127"/>
                  <a:gd name="connsiteX5" fmla="*/ 6297 w 11940"/>
                  <a:gd name="connsiteY5" fmla="*/ 0 h 13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40" h="13127">
                    <a:moveTo>
                      <a:pt x="6297" y="0"/>
                    </a:moveTo>
                    <a:lnTo>
                      <a:pt x="5609" y="0"/>
                    </a:lnTo>
                    <a:cubicBezTo>
                      <a:pt x="2558" y="0"/>
                      <a:pt x="0" y="2066"/>
                      <a:pt x="0" y="4624"/>
                    </a:cubicBezTo>
                    <a:cubicBezTo>
                      <a:pt x="0" y="9938"/>
                      <a:pt x="7872" y="13382"/>
                      <a:pt x="6888" y="12594"/>
                    </a:cubicBezTo>
                    <a:cubicBezTo>
                      <a:pt x="9643" y="13972"/>
                      <a:pt x="11906" y="12594"/>
                      <a:pt x="11906" y="9446"/>
                    </a:cubicBezTo>
                    <a:cubicBezTo>
                      <a:pt x="11611" y="8462"/>
                      <a:pt x="13579" y="0"/>
                      <a:pt x="6297" y="0"/>
                    </a:cubicBezTo>
                    <a:close/>
                  </a:path>
                </a:pathLst>
              </a:custGeom>
              <a:grpFill/>
              <a:ln w="9835" cap="flat">
                <a:noFill/>
                <a:prstDash val="solid"/>
                <a:miter/>
              </a:ln>
            </p:spPr>
            <p:txBody>
              <a:bodyPr rtlCol="0" anchor="ctr"/>
              <a:lstStyle/>
              <a:p>
                <a:endParaRPr lang="en-IN"/>
              </a:p>
            </p:txBody>
          </p:sp>
          <p:sp>
            <p:nvSpPr>
              <p:cNvPr id="717" name="Freeform: Shape 716">
                <a:extLst>
                  <a:ext uri="{FF2B5EF4-FFF2-40B4-BE49-F238E27FC236}">
                    <a16:creationId xmlns:a16="http://schemas.microsoft.com/office/drawing/2014/main" id="{DC146B8D-0F1F-A1A6-001A-ACF63143EE05}"/>
                  </a:ext>
                </a:extLst>
              </p:cNvPr>
              <p:cNvSpPr/>
              <p:nvPr/>
            </p:nvSpPr>
            <p:spPr>
              <a:xfrm>
                <a:off x="12601265" y="4957116"/>
                <a:ext cx="11138" cy="12153"/>
              </a:xfrm>
              <a:custGeom>
                <a:avLst/>
                <a:gdLst>
                  <a:gd name="connsiteX0" fmla="*/ 11138 w 11138"/>
                  <a:gd name="connsiteY0" fmla="*/ 6721 h 12153"/>
                  <a:gd name="connsiteX1" fmla="*/ 9564 w 11138"/>
                  <a:gd name="connsiteY1" fmla="*/ 2884 h 12153"/>
                  <a:gd name="connsiteX2" fmla="*/ 2578 w 11138"/>
                  <a:gd name="connsiteY2" fmla="*/ 621 h 12153"/>
                  <a:gd name="connsiteX3" fmla="*/ 2578 w 11138"/>
                  <a:gd name="connsiteY3" fmla="*/ 12133 h 12153"/>
                  <a:gd name="connsiteX4" fmla="*/ 11138 w 11138"/>
                  <a:gd name="connsiteY4" fmla="*/ 6820 h 12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38" h="12153">
                    <a:moveTo>
                      <a:pt x="11138" y="6721"/>
                    </a:moveTo>
                    <a:cubicBezTo>
                      <a:pt x="11138" y="5541"/>
                      <a:pt x="9564" y="2884"/>
                      <a:pt x="9564" y="2884"/>
                    </a:cubicBezTo>
                    <a:cubicBezTo>
                      <a:pt x="7989" y="227"/>
                      <a:pt x="4841" y="-756"/>
                      <a:pt x="2578" y="621"/>
                    </a:cubicBezTo>
                    <a:cubicBezTo>
                      <a:pt x="-2638" y="3769"/>
                      <a:pt x="1495" y="12625"/>
                      <a:pt x="2578" y="12133"/>
                    </a:cubicBezTo>
                    <a:cubicBezTo>
                      <a:pt x="3365" y="11739"/>
                      <a:pt x="11138" y="8000"/>
                      <a:pt x="11138" y="6820"/>
                    </a:cubicBezTo>
                    <a:close/>
                  </a:path>
                </a:pathLst>
              </a:custGeom>
              <a:grpFill/>
              <a:ln w="9835" cap="flat">
                <a:noFill/>
                <a:prstDash val="solid"/>
                <a:miter/>
              </a:ln>
            </p:spPr>
            <p:txBody>
              <a:bodyPr rtlCol="0" anchor="ctr"/>
              <a:lstStyle/>
              <a:p>
                <a:endParaRPr lang="en-IN"/>
              </a:p>
            </p:txBody>
          </p:sp>
          <p:sp>
            <p:nvSpPr>
              <p:cNvPr id="718" name="Freeform: Shape 717">
                <a:extLst>
                  <a:ext uri="{FF2B5EF4-FFF2-40B4-BE49-F238E27FC236}">
                    <a16:creationId xmlns:a16="http://schemas.microsoft.com/office/drawing/2014/main" id="{30C546C1-D1D4-E137-56ED-0C21647F9FE0}"/>
                  </a:ext>
                </a:extLst>
              </p:cNvPr>
              <p:cNvSpPr/>
              <p:nvPr/>
            </p:nvSpPr>
            <p:spPr>
              <a:xfrm>
                <a:off x="12598475" y="4900354"/>
                <a:ext cx="14472" cy="13964"/>
              </a:xfrm>
              <a:custGeom>
                <a:avLst/>
                <a:gdLst>
                  <a:gd name="connsiteX0" fmla="*/ 4187 w 14472"/>
                  <a:gd name="connsiteY0" fmla="*/ 2970 h 13964"/>
                  <a:gd name="connsiteX1" fmla="*/ 1924 w 14472"/>
                  <a:gd name="connsiteY1" fmla="*/ 13400 h 13964"/>
                  <a:gd name="connsiteX2" fmla="*/ 9401 w 14472"/>
                  <a:gd name="connsiteY2" fmla="*/ 11333 h 13964"/>
                  <a:gd name="connsiteX3" fmla="*/ 13239 w 14472"/>
                  <a:gd name="connsiteY3" fmla="*/ 6414 h 13964"/>
                  <a:gd name="connsiteX4" fmla="*/ 4187 w 14472"/>
                  <a:gd name="connsiteY4" fmla="*/ 3069 h 1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72" h="13964">
                    <a:moveTo>
                      <a:pt x="4187" y="2970"/>
                    </a:moveTo>
                    <a:cubicBezTo>
                      <a:pt x="3695" y="3954"/>
                      <a:pt x="-3291" y="10448"/>
                      <a:pt x="1924" y="13400"/>
                    </a:cubicBezTo>
                    <a:cubicBezTo>
                      <a:pt x="4088" y="14679"/>
                      <a:pt x="7434" y="13695"/>
                      <a:pt x="9401" y="11333"/>
                    </a:cubicBezTo>
                    <a:lnTo>
                      <a:pt x="13239" y="6414"/>
                    </a:lnTo>
                    <a:cubicBezTo>
                      <a:pt x="17765" y="609"/>
                      <a:pt x="8713" y="-2836"/>
                      <a:pt x="4187" y="3069"/>
                    </a:cubicBezTo>
                    <a:close/>
                  </a:path>
                </a:pathLst>
              </a:custGeom>
              <a:grpFill/>
              <a:ln w="9835" cap="flat">
                <a:noFill/>
                <a:prstDash val="solid"/>
                <a:miter/>
              </a:ln>
            </p:spPr>
            <p:txBody>
              <a:bodyPr rtlCol="0" anchor="ctr"/>
              <a:lstStyle/>
              <a:p>
                <a:endParaRPr lang="en-IN"/>
              </a:p>
            </p:txBody>
          </p:sp>
          <p:sp>
            <p:nvSpPr>
              <p:cNvPr id="719" name="Freeform: Shape 718">
                <a:extLst>
                  <a:ext uri="{FF2B5EF4-FFF2-40B4-BE49-F238E27FC236}">
                    <a16:creationId xmlns:a16="http://schemas.microsoft.com/office/drawing/2014/main" id="{9FA32C63-E83E-D35D-BD78-B884A12E7492}"/>
                  </a:ext>
                </a:extLst>
              </p:cNvPr>
              <p:cNvSpPr/>
              <p:nvPr/>
            </p:nvSpPr>
            <p:spPr>
              <a:xfrm>
                <a:off x="12471702" y="5024175"/>
                <a:ext cx="272866" cy="393974"/>
              </a:xfrm>
              <a:custGeom>
                <a:avLst/>
                <a:gdLst>
                  <a:gd name="connsiteX0" fmla="*/ 6390 w 272866"/>
                  <a:gd name="connsiteY0" fmla="*/ 146491 h 393974"/>
                  <a:gd name="connsiteX1" fmla="*/ 5209 w 272866"/>
                  <a:gd name="connsiteY1" fmla="*/ 146983 h 393974"/>
                  <a:gd name="connsiteX2" fmla="*/ 93 w 272866"/>
                  <a:gd name="connsiteY2" fmla="*/ 154757 h 393974"/>
                  <a:gd name="connsiteX3" fmla="*/ 3537 w 272866"/>
                  <a:gd name="connsiteY3" fmla="*/ 176502 h 393974"/>
                  <a:gd name="connsiteX4" fmla="*/ 9834 w 272866"/>
                  <a:gd name="connsiteY4" fmla="*/ 189097 h 393974"/>
                  <a:gd name="connsiteX5" fmla="*/ 17313 w 272866"/>
                  <a:gd name="connsiteY5" fmla="*/ 243510 h 393974"/>
                  <a:gd name="connsiteX6" fmla="*/ 30989 w 272866"/>
                  <a:gd name="connsiteY6" fmla="*/ 254333 h 393974"/>
                  <a:gd name="connsiteX7" fmla="*/ 42502 w 272866"/>
                  <a:gd name="connsiteY7" fmla="*/ 271553 h 393974"/>
                  <a:gd name="connsiteX8" fmla="*/ 49685 w 272866"/>
                  <a:gd name="connsiteY8" fmla="*/ 271356 h 393974"/>
                  <a:gd name="connsiteX9" fmla="*/ 49390 w 272866"/>
                  <a:gd name="connsiteY9" fmla="*/ 254628 h 393974"/>
                  <a:gd name="connsiteX10" fmla="*/ 54211 w 272866"/>
                  <a:gd name="connsiteY10" fmla="*/ 251578 h 393974"/>
                  <a:gd name="connsiteX11" fmla="*/ 75464 w 272866"/>
                  <a:gd name="connsiteY11" fmla="*/ 268109 h 393974"/>
                  <a:gd name="connsiteX12" fmla="*/ 70840 w 272866"/>
                  <a:gd name="connsiteY12" fmla="*/ 276964 h 393974"/>
                  <a:gd name="connsiteX13" fmla="*/ 53030 w 272866"/>
                  <a:gd name="connsiteY13" fmla="*/ 294971 h 393974"/>
                  <a:gd name="connsiteX14" fmla="*/ 58934 w 272866"/>
                  <a:gd name="connsiteY14" fmla="*/ 312485 h 393974"/>
                  <a:gd name="connsiteX15" fmla="*/ 71627 w 272866"/>
                  <a:gd name="connsiteY15" fmla="*/ 299497 h 393974"/>
                  <a:gd name="connsiteX16" fmla="*/ 79400 w 272866"/>
                  <a:gd name="connsiteY16" fmla="*/ 305303 h 393974"/>
                  <a:gd name="connsiteX17" fmla="*/ 76055 w 272866"/>
                  <a:gd name="connsiteY17" fmla="*/ 322915 h 393974"/>
                  <a:gd name="connsiteX18" fmla="*/ 82844 w 272866"/>
                  <a:gd name="connsiteY18" fmla="*/ 326261 h 393974"/>
                  <a:gd name="connsiteX19" fmla="*/ 97603 w 272866"/>
                  <a:gd name="connsiteY19" fmla="*/ 326556 h 393974"/>
                  <a:gd name="connsiteX20" fmla="*/ 112166 w 272866"/>
                  <a:gd name="connsiteY20" fmla="*/ 308156 h 393974"/>
                  <a:gd name="connsiteX21" fmla="*/ 127122 w 272866"/>
                  <a:gd name="connsiteY21" fmla="*/ 309140 h 393974"/>
                  <a:gd name="connsiteX22" fmla="*/ 168547 w 272866"/>
                  <a:gd name="connsiteY22" fmla="*/ 346924 h 393974"/>
                  <a:gd name="connsiteX23" fmla="*/ 168547 w 272866"/>
                  <a:gd name="connsiteY23" fmla="*/ 349285 h 393974"/>
                  <a:gd name="connsiteX24" fmla="*/ 174648 w 272866"/>
                  <a:gd name="connsiteY24" fmla="*/ 354894 h 393974"/>
                  <a:gd name="connsiteX25" fmla="*/ 176222 w 272866"/>
                  <a:gd name="connsiteY25" fmla="*/ 354894 h 393974"/>
                  <a:gd name="connsiteX26" fmla="*/ 181634 w 272866"/>
                  <a:gd name="connsiteY26" fmla="*/ 349285 h 393974"/>
                  <a:gd name="connsiteX27" fmla="*/ 178288 w 272866"/>
                  <a:gd name="connsiteY27" fmla="*/ 332558 h 393974"/>
                  <a:gd name="connsiteX28" fmla="*/ 170810 w 272866"/>
                  <a:gd name="connsiteY28" fmla="*/ 321046 h 393974"/>
                  <a:gd name="connsiteX29" fmla="*/ 175336 w 272866"/>
                  <a:gd name="connsiteY29" fmla="*/ 310517 h 393974"/>
                  <a:gd name="connsiteX30" fmla="*/ 219615 w 272866"/>
                  <a:gd name="connsiteY30" fmla="*/ 354599 h 393974"/>
                  <a:gd name="connsiteX31" fmla="*/ 219418 w 272866"/>
                  <a:gd name="connsiteY31" fmla="*/ 355878 h 393974"/>
                  <a:gd name="connsiteX32" fmla="*/ 223550 w 272866"/>
                  <a:gd name="connsiteY32" fmla="*/ 364143 h 393974"/>
                  <a:gd name="connsiteX33" fmla="*/ 249232 w 272866"/>
                  <a:gd name="connsiteY33" fmla="*/ 373294 h 393974"/>
                  <a:gd name="connsiteX34" fmla="*/ 258186 w 272866"/>
                  <a:gd name="connsiteY34" fmla="*/ 378509 h 393974"/>
                  <a:gd name="connsiteX35" fmla="*/ 256709 w 272866"/>
                  <a:gd name="connsiteY35" fmla="*/ 381068 h 393974"/>
                  <a:gd name="connsiteX36" fmla="*/ 258776 w 272866"/>
                  <a:gd name="connsiteY36" fmla="*/ 388841 h 393974"/>
                  <a:gd name="connsiteX37" fmla="*/ 271174 w 272866"/>
                  <a:gd name="connsiteY37" fmla="*/ 390612 h 393974"/>
                  <a:gd name="connsiteX38" fmla="*/ 272847 w 272866"/>
                  <a:gd name="connsiteY38" fmla="*/ 365225 h 393974"/>
                  <a:gd name="connsiteX39" fmla="*/ 249428 w 272866"/>
                  <a:gd name="connsiteY39" fmla="*/ 357452 h 393974"/>
                  <a:gd name="connsiteX40" fmla="*/ 254152 w 272866"/>
                  <a:gd name="connsiteY40" fmla="*/ 351942 h 393974"/>
                  <a:gd name="connsiteX41" fmla="*/ 265270 w 272866"/>
                  <a:gd name="connsiteY41" fmla="*/ 347219 h 393974"/>
                  <a:gd name="connsiteX42" fmla="*/ 240179 w 272866"/>
                  <a:gd name="connsiteY42" fmla="*/ 335805 h 393974"/>
                  <a:gd name="connsiteX43" fmla="*/ 242443 w 272866"/>
                  <a:gd name="connsiteY43" fmla="*/ 322423 h 393974"/>
                  <a:gd name="connsiteX44" fmla="*/ 255135 w 272866"/>
                  <a:gd name="connsiteY44" fmla="*/ 314552 h 393974"/>
                  <a:gd name="connsiteX45" fmla="*/ 217941 w 272866"/>
                  <a:gd name="connsiteY45" fmla="*/ 305007 h 393974"/>
                  <a:gd name="connsiteX46" fmla="*/ 214793 w 272866"/>
                  <a:gd name="connsiteY46" fmla="*/ 319275 h 393974"/>
                  <a:gd name="connsiteX47" fmla="*/ 203969 w 272866"/>
                  <a:gd name="connsiteY47" fmla="*/ 312288 h 393974"/>
                  <a:gd name="connsiteX48" fmla="*/ 199837 w 272866"/>
                  <a:gd name="connsiteY48" fmla="*/ 296938 h 393974"/>
                  <a:gd name="connsiteX49" fmla="*/ 175927 w 272866"/>
                  <a:gd name="connsiteY49" fmla="*/ 282376 h 393974"/>
                  <a:gd name="connsiteX50" fmla="*/ 153788 w 272866"/>
                  <a:gd name="connsiteY50" fmla="*/ 297627 h 393974"/>
                  <a:gd name="connsiteX51" fmla="*/ 148671 w 272866"/>
                  <a:gd name="connsiteY51" fmla="*/ 305794 h 393974"/>
                  <a:gd name="connsiteX52" fmla="*/ 122596 w 272866"/>
                  <a:gd name="connsiteY52" fmla="*/ 287197 h 393974"/>
                  <a:gd name="connsiteX53" fmla="*/ 115610 w 272866"/>
                  <a:gd name="connsiteY53" fmla="*/ 267420 h 393974"/>
                  <a:gd name="connsiteX54" fmla="*/ 117086 w 272866"/>
                  <a:gd name="connsiteY54" fmla="*/ 250397 h 393974"/>
                  <a:gd name="connsiteX55" fmla="*/ 100949 w 272866"/>
                  <a:gd name="connsiteY55" fmla="*/ 213302 h 393974"/>
                  <a:gd name="connsiteX56" fmla="*/ 112363 w 272866"/>
                  <a:gd name="connsiteY56" fmla="*/ 184177 h 393974"/>
                  <a:gd name="connsiteX57" fmla="*/ 113150 w 272866"/>
                  <a:gd name="connsiteY57" fmla="*/ 173058 h 393974"/>
                  <a:gd name="connsiteX58" fmla="*/ 149261 w 272866"/>
                  <a:gd name="connsiteY58" fmla="*/ 154461 h 393974"/>
                  <a:gd name="connsiteX59" fmla="*/ 166776 w 272866"/>
                  <a:gd name="connsiteY59" fmla="*/ 91882 h 393974"/>
                  <a:gd name="connsiteX60" fmla="*/ 153788 w 272866"/>
                  <a:gd name="connsiteY60" fmla="*/ 77910 h 393974"/>
                  <a:gd name="connsiteX61" fmla="*/ 150147 w 272866"/>
                  <a:gd name="connsiteY61" fmla="*/ 36091 h 393974"/>
                  <a:gd name="connsiteX62" fmla="*/ 156739 w 272866"/>
                  <a:gd name="connsiteY62" fmla="*/ 13952 h 393974"/>
                  <a:gd name="connsiteX63" fmla="*/ 144735 w 272866"/>
                  <a:gd name="connsiteY63" fmla="*/ 7950 h 393974"/>
                  <a:gd name="connsiteX64" fmla="*/ 127122 w 272866"/>
                  <a:gd name="connsiteY64" fmla="*/ 22414 h 393974"/>
                  <a:gd name="connsiteX65" fmla="*/ 52735 w 272866"/>
                  <a:gd name="connsiteY65" fmla="*/ 5982 h 393974"/>
                  <a:gd name="connsiteX66" fmla="*/ 52735 w 272866"/>
                  <a:gd name="connsiteY66" fmla="*/ 7655 h 393974"/>
                  <a:gd name="connsiteX67" fmla="*/ 38763 w 272866"/>
                  <a:gd name="connsiteY67" fmla="*/ 73383 h 393974"/>
                  <a:gd name="connsiteX68" fmla="*/ 43977 w 272866"/>
                  <a:gd name="connsiteY68" fmla="*/ 84994 h 393974"/>
                  <a:gd name="connsiteX69" fmla="*/ 40829 w 272866"/>
                  <a:gd name="connsiteY69" fmla="*/ 111561 h 393974"/>
                  <a:gd name="connsiteX70" fmla="*/ 35811 w 272866"/>
                  <a:gd name="connsiteY70" fmla="*/ 125631 h 393974"/>
                  <a:gd name="connsiteX71" fmla="*/ 35713 w 272866"/>
                  <a:gd name="connsiteY71" fmla="*/ 166072 h 393974"/>
                  <a:gd name="connsiteX72" fmla="*/ 23216 w 272866"/>
                  <a:gd name="connsiteY72" fmla="*/ 167154 h 393974"/>
                  <a:gd name="connsiteX73" fmla="*/ 6686 w 272866"/>
                  <a:gd name="connsiteY73" fmla="*/ 146491 h 393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2866" h="393974">
                    <a:moveTo>
                      <a:pt x="6390" y="146491"/>
                    </a:moveTo>
                    <a:lnTo>
                      <a:pt x="5209" y="146983"/>
                    </a:lnTo>
                    <a:cubicBezTo>
                      <a:pt x="2356" y="148164"/>
                      <a:pt x="93" y="151707"/>
                      <a:pt x="93" y="154757"/>
                    </a:cubicBezTo>
                    <a:cubicBezTo>
                      <a:pt x="93" y="163809"/>
                      <a:pt x="-891" y="170893"/>
                      <a:pt x="3537" y="176502"/>
                    </a:cubicBezTo>
                    <a:cubicBezTo>
                      <a:pt x="4324" y="177781"/>
                      <a:pt x="8850" y="181914"/>
                      <a:pt x="9834" y="189097"/>
                    </a:cubicBezTo>
                    <a:lnTo>
                      <a:pt x="17313" y="243510"/>
                    </a:lnTo>
                    <a:cubicBezTo>
                      <a:pt x="18493" y="251775"/>
                      <a:pt x="28234" y="246265"/>
                      <a:pt x="30989" y="254333"/>
                    </a:cubicBezTo>
                    <a:cubicBezTo>
                      <a:pt x="33744" y="259942"/>
                      <a:pt x="34040" y="271257"/>
                      <a:pt x="42502" y="271553"/>
                    </a:cubicBezTo>
                    <a:cubicBezTo>
                      <a:pt x="42502" y="271553"/>
                      <a:pt x="49685" y="271749"/>
                      <a:pt x="49685" y="271356"/>
                    </a:cubicBezTo>
                    <a:cubicBezTo>
                      <a:pt x="49685" y="270962"/>
                      <a:pt x="49390" y="254628"/>
                      <a:pt x="49390" y="254628"/>
                    </a:cubicBezTo>
                    <a:cubicBezTo>
                      <a:pt x="49390" y="251578"/>
                      <a:pt x="51554" y="250200"/>
                      <a:pt x="54211" y="251578"/>
                    </a:cubicBezTo>
                    <a:cubicBezTo>
                      <a:pt x="63755" y="257580"/>
                      <a:pt x="75464" y="259155"/>
                      <a:pt x="75464" y="268109"/>
                    </a:cubicBezTo>
                    <a:cubicBezTo>
                      <a:pt x="75169" y="269093"/>
                      <a:pt x="75267" y="273914"/>
                      <a:pt x="70840" y="276964"/>
                    </a:cubicBezTo>
                    <a:cubicBezTo>
                      <a:pt x="63362" y="283163"/>
                      <a:pt x="52243" y="286214"/>
                      <a:pt x="53030" y="294971"/>
                    </a:cubicBezTo>
                    <a:cubicBezTo>
                      <a:pt x="54407" y="302055"/>
                      <a:pt x="52636" y="318881"/>
                      <a:pt x="58934" y="312485"/>
                    </a:cubicBezTo>
                    <a:lnTo>
                      <a:pt x="71627" y="299497"/>
                    </a:lnTo>
                    <a:cubicBezTo>
                      <a:pt x="76743" y="294282"/>
                      <a:pt x="82942" y="298907"/>
                      <a:pt x="79400" y="305303"/>
                    </a:cubicBezTo>
                    <a:cubicBezTo>
                      <a:pt x="77531" y="310222"/>
                      <a:pt x="68479" y="319275"/>
                      <a:pt x="76055" y="322915"/>
                    </a:cubicBezTo>
                    <a:lnTo>
                      <a:pt x="82844" y="326261"/>
                    </a:lnTo>
                    <a:cubicBezTo>
                      <a:pt x="89240" y="329410"/>
                      <a:pt x="98588" y="326556"/>
                      <a:pt x="97603" y="326556"/>
                    </a:cubicBezTo>
                    <a:cubicBezTo>
                      <a:pt x="108230" y="324293"/>
                      <a:pt x="101638" y="310616"/>
                      <a:pt x="112166" y="308156"/>
                    </a:cubicBezTo>
                    <a:cubicBezTo>
                      <a:pt x="113543" y="308156"/>
                      <a:pt x="121317" y="304614"/>
                      <a:pt x="127122" y="309140"/>
                    </a:cubicBezTo>
                    <a:cubicBezTo>
                      <a:pt x="164906" y="338855"/>
                      <a:pt x="168153" y="339446"/>
                      <a:pt x="168547" y="346924"/>
                    </a:cubicBezTo>
                    <a:lnTo>
                      <a:pt x="168547" y="349285"/>
                    </a:lnTo>
                    <a:cubicBezTo>
                      <a:pt x="168842" y="352335"/>
                      <a:pt x="171499" y="354894"/>
                      <a:pt x="174648" y="354894"/>
                    </a:cubicBezTo>
                    <a:lnTo>
                      <a:pt x="176222" y="354894"/>
                    </a:lnTo>
                    <a:cubicBezTo>
                      <a:pt x="179272" y="354894"/>
                      <a:pt x="181732" y="352434"/>
                      <a:pt x="181634" y="349285"/>
                    </a:cubicBezTo>
                    <a:cubicBezTo>
                      <a:pt x="181338" y="347022"/>
                      <a:pt x="182519" y="338954"/>
                      <a:pt x="178288" y="332558"/>
                    </a:cubicBezTo>
                    <a:lnTo>
                      <a:pt x="170810" y="321046"/>
                    </a:lnTo>
                    <a:cubicBezTo>
                      <a:pt x="166776" y="314847"/>
                      <a:pt x="169728" y="305794"/>
                      <a:pt x="175336" y="310517"/>
                    </a:cubicBezTo>
                    <a:cubicBezTo>
                      <a:pt x="217745" y="347022"/>
                      <a:pt x="220598" y="347121"/>
                      <a:pt x="219615" y="354599"/>
                    </a:cubicBezTo>
                    <a:lnTo>
                      <a:pt x="219418" y="355878"/>
                    </a:lnTo>
                    <a:cubicBezTo>
                      <a:pt x="219024" y="358928"/>
                      <a:pt x="220894" y="362668"/>
                      <a:pt x="223550" y="364143"/>
                    </a:cubicBezTo>
                    <a:cubicBezTo>
                      <a:pt x="238802" y="372605"/>
                      <a:pt x="243328" y="376443"/>
                      <a:pt x="249232" y="373294"/>
                    </a:cubicBezTo>
                    <a:cubicBezTo>
                      <a:pt x="255332" y="370145"/>
                      <a:pt x="261826" y="372113"/>
                      <a:pt x="258186" y="378509"/>
                    </a:cubicBezTo>
                    <a:lnTo>
                      <a:pt x="256709" y="381068"/>
                    </a:lnTo>
                    <a:cubicBezTo>
                      <a:pt x="255234" y="383724"/>
                      <a:pt x="256119" y="387267"/>
                      <a:pt x="258776" y="388841"/>
                    </a:cubicBezTo>
                    <a:cubicBezTo>
                      <a:pt x="261334" y="389824"/>
                      <a:pt x="270682" y="398680"/>
                      <a:pt x="271174" y="390612"/>
                    </a:cubicBezTo>
                    <a:lnTo>
                      <a:pt x="272847" y="365225"/>
                    </a:lnTo>
                    <a:cubicBezTo>
                      <a:pt x="273634" y="353320"/>
                      <a:pt x="251298" y="367981"/>
                      <a:pt x="249428" y="357452"/>
                    </a:cubicBezTo>
                    <a:cubicBezTo>
                      <a:pt x="248936" y="354894"/>
                      <a:pt x="251101" y="352335"/>
                      <a:pt x="254152" y="351942"/>
                    </a:cubicBezTo>
                    <a:cubicBezTo>
                      <a:pt x="257497" y="351056"/>
                      <a:pt x="272847" y="350564"/>
                      <a:pt x="265270" y="347219"/>
                    </a:cubicBezTo>
                    <a:lnTo>
                      <a:pt x="240179" y="335805"/>
                    </a:lnTo>
                    <a:cubicBezTo>
                      <a:pt x="233488" y="332755"/>
                      <a:pt x="235555" y="324588"/>
                      <a:pt x="242443" y="322423"/>
                    </a:cubicBezTo>
                    <a:cubicBezTo>
                      <a:pt x="247460" y="320258"/>
                      <a:pt x="262614" y="318389"/>
                      <a:pt x="255135" y="314552"/>
                    </a:cubicBezTo>
                    <a:cubicBezTo>
                      <a:pt x="239490" y="306483"/>
                      <a:pt x="215679" y="290936"/>
                      <a:pt x="217941" y="305007"/>
                    </a:cubicBezTo>
                    <a:cubicBezTo>
                      <a:pt x="217941" y="308845"/>
                      <a:pt x="222861" y="320357"/>
                      <a:pt x="214793" y="319275"/>
                    </a:cubicBezTo>
                    <a:cubicBezTo>
                      <a:pt x="213317" y="318783"/>
                      <a:pt x="203969" y="319865"/>
                      <a:pt x="203969" y="312288"/>
                    </a:cubicBezTo>
                    <a:cubicBezTo>
                      <a:pt x="203576" y="309730"/>
                      <a:pt x="205544" y="302055"/>
                      <a:pt x="199837" y="296938"/>
                    </a:cubicBezTo>
                    <a:cubicBezTo>
                      <a:pt x="185471" y="284049"/>
                      <a:pt x="182421" y="279523"/>
                      <a:pt x="175927" y="282376"/>
                    </a:cubicBezTo>
                    <a:cubicBezTo>
                      <a:pt x="166186" y="287788"/>
                      <a:pt x="154083" y="288772"/>
                      <a:pt x="153788" y="297627"/>
                    </a:cubicBezTo>
                    <a:cubicBezTo>
                      <a:pt x="153492" y="298907"/>
                      <a:pt x="155165" y="309336"/>
                      <a:pt x="148671" y="305794"/>
                    </a:cubicBezTo>
                    <a:cubicBezTo>
                      <a:pt x="131058" y="296152"/>
                      <a:pt x="125056" y="294085"/>
                      <a:pt x="122596" y="287197"/>
                    </a:cubicBezTo>
                    <a:lnTo>
                      <a:pt x="115610" y="267420"/>
                    </a:lnTo>
                    <a:cubicBezTo>
                      <a:pt x="112855" y="259450"/>
                      <a:pt x="121317" y="257580"/>
                      <a:pt x="117086" y="250397"/>
                    </a:cubicBezTo>
                    <a:cubicBezTo>
                      <a:pt x="100457" y="221862"/>
                      <a:pt x="97406" y="219402"/>
                      <a:pt x="100949" y="213302"/>
                    </a:cubicBezTo>
                    <a:cubicBezTo>
                      <a:pt x="111478" y="194902"/>
                      <a:pt x="115413" y="190671"/>
                      <a:pt x="112363" y="184177"/>
                    </a:cubicBezTo>
                    <a:cubicBezTo>
                      <a:pt x="112166" y="183193"/>
                      <a:pt x="106361" y="175715"/>
                      <a:pt x="113150" y="173058"/>
                    </a:cubicBezTo>
                    <a:cubicBezTo>
                      <a:pt x="141488" y="162038"/>
                      <a:pt x="146703" y="161349"/>
                      <a:pt x="149261" y="154461"/>
                    </a:cubicBezTo>
                    <a:cubicBezTo>
                      <a:pt x="170220" y="98081"/>
                      <a:pt x="172975" y="96310"/>
                      <a:pt x="166776" y="91882"/>
                    </a:cubicBezTo>
                    <a:cubicBezTo>
                      <a:pt x="163529" y="89028"/>
                      <a:pt x="155165" y="85880"/>
                      <a:pt x="153788" y="77910"/>
                    </a:cubicBezTo>
                    <a:cubicBezTo>
                      <a:pt x="148081" y="45045"/>
                      <a:pt x="146703" y="42192"/>
                      <a:pt x="150147" y="36091"/>
                    </a:cubicBezTo>
                    <a:cubicBezTo>
                      <a:pt x="153394" y="28613"/>
                      <a:pt x="162348" y="20643"/>
                      <a:pt x="156739" y="13952"/>
                    </a:cubicBezTo>
                    <a:cubicBezTo>
                      <a:pt x="154673" y="12279"/>
                      <a:pt x="149458" y="1554"/>
                      <a:pt x="144735" y="7950"/>
                    </a:cubicBezTo>
                    <a:cubicBezTo>
                      <a:pt x="138831" y="14247"/>
                      <a:pt x="134896" y="26448"/>
                      <a:pt x="127122" y="22414"/>
                    </a:cubicBezTo>
                    <a:cubicBezTo>
                      <a:pt x="65920" y="-9663"/>
                      <a:pt x="92881" y="471"/>
                      <a:pt x="52735" y="5982"/>
                    </a:cubicBezTo>
                    <a:lnTo>
                      <a:pt x="52735" y="7655"/>
                    </a:lnTo>
                    <a:cubicBezTo>
                      <a:pt x="40140" y="57738"/>
                      <a:pt x="32268" y="65806"/>
                      <a:pt x="38763" y="73383"/>
                    </a:cubicBezTo>
                    <a:cubicBezTo>
                      <a:pt x="39353" y="74367"/>
                      <a:pt x="43977" y="78204"/>
                      <a:pt x="43977" y="84994"/>
                    </a:cubicBezTo>
                    <a:cubicBezTo>
                      <a:pt x="43977" y="96703"/>
                      <a:pt x="45060" y="105263"/>
                      <a:pt x="40829" y="111561"/>
                    </a:cubicBezTo>
                    <a:cubicBezTo>
                      <a:pt x="40238" y="112742"/>
                      <a:pt x="34925" y="118252"/>
                      <a:pt x="35811" y="125631"/>
                    </a:cubicBezTo>
                    <a:cubicBezTo>
                      <a:pt x="39746" y="157413"/>
                      <a:pt x="42010" y="162234"/>
                      <a:pt x="35713" y="166072"/>
                    </a:cubicBezTo>
                    <a:cubicBezTo>
                      <a:pt x="33941" y="166662"/>
                      <a:pt x="26660" y="174042"/>
                      <a:pt x="23216" y="167154"/>
                    </a:cubicBezTo>
                    <a:cubicBezTo>
                      <a:pt x="16722" y="156823"/>
                      <a:pt x="14951" y="142851"/>
                      <a:pt x="6686" y="146491"/>
                    </a:cubicBezTo>
                    <a:close/>
                  </a:path>
                </a:pathLst>
              </a:custGeom>
              <a:grpFill/>
              <a:ln w="9835" cap="flat">
                <a:noFill/>
                <a:prstDash val="solid"/>
                <a:miter/>
              </a:ln>
            </p:spPr>
            <p:txBody>
              <a:bodyPr rtlCol="0" anchor="ctr"/>
              <a:lstStyle/>
              <a:p>
                <a:endParaRPr lang="en-IN"/>
              </a:p>
            </p:txBody>
          </p:sp>
          <p:sp>
            <p:nvSpPr>
              <p:cNvPr id="720" name="Freeform: Shape 719">
                <a:extLst>
                  <a:ext uri="{FF2B5EF4-FFF2-40B4-BE49-F238E27FC236}">
                    <a16:creationId xmlns:a16="http://schemas.microsoft.com/office/drawing/2014/main" id="{6B142B6E-C698-AD1C-0FED-0A76B48CBCDD}"/>
                  </a:ext>
                </a:extLst>
              </p:cNvPr>
              <p:cNvSpPr/>
              <p:nvPr/>
            </p:nvSpPr>
            <p:spPr>
              <a:xfrm>
                <a:off x="12490355" y="5334620"/>
                <a:ext cx="14446" cy="12322"/>
              </a:xfrm>
              <a:custGeom>
                <a:avLst/>
                <a:gdLst>
                  <a:gd name="connsiteX0" fmla="*/ 8696 w 14446"/>
                  <a:gd name="connsiteY0" fmla="*/ 11781 h 12322"/>
                  <a:gd name="connsiteX1" fmla="*/ 14403 w 14446"/>
                  <a:gd name="connsiteY1" fmla="*/ 9518 h 12322"/>
                  <a:gd name="connsiteX2" fmla="*/ 5055 w 14446"/>
                  <a:gd name="connsiteY2" fmla="*/ 564 h 12322"/>
                  <a:gd name="connsiteX3" fmla="*/ 5055 w 14446"/>
                  <a:gd name="connsiteY3" fmla="*/ 10108 h 12322"/>
                  <a:gd name="connsiteX4" fmla="*/ 8696 w 14446"/>
                  <a:gd name="connsiteY4" fmla="*/ 11781 h 12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 h="12322">
                    <a:moveTo>
                      <a:pt x="8696" y="11781"/>
                    </a:moveTo>
                    <a:cubicBezTo>
                      <a:pt x="11451" y="13060"/>
                      <a:pt x="14010" y="11978"/>
                      <a:pt x="14403" y="9518"/>
                    </a:cubicBezTo>
                    <a:cubicBezTo>
                      <a:pt x="15190" y="3418"/>
                      <a:pt x="5055" y="564"/>
                      <a:pt x="5055" y="564"/>
                    </a:cubicBezTo>
                    <a:cubicBezTo>
                      <a:pt x="-1636" y="-2388"/>
                      <a:pt x="-1734" y="7058"/>
                      <a:pt x="5055" y="10108"/>
                    </a:cubicBezTo>
                    <a:lnTo>
                      <a:pt x="8696" y="11781"/>
                    </a:lnTo>
                    <a:close/>
                  </a:path>
                </a:pathLst>
              </a:custGeom>
              <a:grpFill/>
              <a:ln w="9835" cap="flat">
                <a:noFill/>
                <a:prstDash val="solid"/>
                <a:miter/>
              </a:ln>
            </p:spPr>
            <p:txBody>
              <a:bodyPr rtlCol="0" anchor="ctr"/>
              <a:lstStyle/>
              <a:p>
                <a:endParaRPr lang="en-IN"/>
              </a:p>
            </p:txBody>
          </p:sp>
          <p:sp>
            <p:nvSpPr>
              <p:cNvPr id="721" name="Freeform: Shape 720">
                <a:extLst>
                  <a:ext uri="{FF2B5EF4-FFF2-40B4-BE49-F238E27FC236}">
                    <a16:creationId xmlns:a16="http://schemas.microsoft.com/office/drawing/2014/main" id="{C1CE4FED-F381-BB6C-B05C-F1E3D2673E38}"/>
                  </a:ext>
                </a:extLst>
              </p:cNvPr>
              <p:cNvSpPr/>
              <p:nvPr/>
            </p:nvSpPr>
            <p:spPr>
              <a:xfrm>
                <a:off x="12600411" y="5359701"/>
                <a:ext cx="15796" cy="16645"/>
              </a:xfrm>
              <a:custGeom>
                <a:avLst/>
                <a:gdLst>
                  <a:gd name="connsiteX0" fmla="*/ 12976 w 15796"/>
                  <a:gd name="connsiteY0" fmla="*/ 4018 h 16645"/>
                  <a:gd name="connsiteX1" fmla="*/ 283 w 15796"/>
                  <a:gd name="connsiteY1" fmla="*/ 3230 h 16645"/>
                  <a:gd name="connsiteX2" fmla="*/ 2940 w 15796"/>
                  <a:gd name="connsiteY2" fmla="*/ 12185 h 16645"/>
                  <a:gd name="connsiteX3" fmla="*/ 13566 w 15796"/>
                  <a:gd name="connsiteY3" fmla="*/ 14153 h 16645"/>
                  <a:gd name="connsiteX4" fmla="*/ 15042 w 15796"/>
                  <a:gd name="connsiteY4" fmla="*/ 11496 h 16645"/>
                  <a:gd name="connsiteX5" fmla="*/ 12976 w 15796"/>
                  <a:gd name="connsiteY5" fmla="*/ 4018 h 1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96" h="16645">
                    <a:moveTo>
                      <a:pt x="12976" y="4018"/>
                    </a:moveTo>
                    <a:cubicBezTo>
                      <a:pt x="10811" y="3329"/>
                      <a:pt x="2448" y="-4149"/>
                      <a:pt x="283" y="3230"/>
                    </a:cubicBezTo>
                    <a:cubicBezTo>
                      <a:pt x="-603" y="6183"/>
                      <a:pt x="676" y="10217"/>
                      <a:pt x="2940" y="12185"/>
                    </a:cubicBezTo>
                    <a:cubicBezTo>
                      <a:pt x="3923" y="12676"/>
                      <a:pt x="9827" y="20548"/>
                      <a:pt x="13566" y="14153"/>
                    </a:cubicBezTo>
                    <a:lnTo>
                      <a:pt x="15042" y="11496"/>
                    </a:lnTo>
                    <a:cubicBezTo>
                      <a:pt x="16617" y="8839"/>
                      <a:pt x="15632" y="5494"/>
                      <a:pt x="12976" y="4018"/>
                    </a:cubicBezTo>
                    <a:close/>
                  </a:path>
                </a:pathLst>
              </a:custGeom>
              <a:grpFill/>
              <a:ln w="9835" cap="flat">
                <a:noFill/>
                <a:prstDash val="solid"/>
                <a:miter/>
              </a:ln>
            </p:spPr>
            <p:txBody>
              <a:bodyPr rtlCol="0" anchor="ctr"/>
              <a:lstStyle/>
              <a:p>
                <a:endParaRPr lang="en-IN"/>
              </a:p>
            </p:txBody>
          </p:sp>
          <p:sp>
            <p:nvSpPr>
              <p:cNvPr id="722" name="Freeform: Shape 721">
                <a:extLst>
                  <a:ext uri="{FF2B5EF4-FFF2-40B4-BE49-F238E27FC236}">
                    <a16:creationId xmlns:a16="http://schemas.microsoft.com/office/drawing/2014/main" id="{12B27140-AFDC-386F-2991-3D7DEC0503B4}"/>
                  </a:ext>
                </a:extLst>
              </p:cNvPr>
              <p:cNvSpPr/>
              <p:nvPr/>
            </p:nvSpPr>
            <p:spPr>
              <a:xfrm>
                <a:off x="12506888" y="5359553"/>
                <a:ext cx="74122" cy="81096"/>
              </a:xfrm>
              <a:custGeom>
                <a:avLst/>
                <a:gdLst>
                  <a:gd name="connsiteX0" fmla="*/ 71175 w 74122"/>
                  <a:gd name="connsiteY0" fmla="*/ 20401 h 81096"/>
                  <a:gd name="connsiteX1" fmla="*/ 47461 w 74122"/>
                  <a:gd name="connsiteY1" fmla="*/ 5642 h 81096"/>
                  <a:gd name="connsiteX2" fmla="*/ 36146 w 74122"/>
                  <a:gd name="connsiteY2" fmla="*/ 3280 h 81096"/>
                  <a:gd name="connsiteX3" fmla="*/ 25322 w 74122"/>
                  <a:gd name="connsiteY3" fmla="*/ 33 h 81096"/>
                  <a:gd name="connsiteX4" fmla="*/ 133 w 74122"/>
                  <a:gd name="connsiteY4" fmla="*/ 5051 h 81096"/>
                  <a:gd name="connsiteX5" fmla="*/ 13219 w 74122"/>
                  <a:gd name="connsiteY5" fmla="*/ 13710 h 81096"/>
                  <a:gd name="connsiteX6" fmla="*/ 20009 w 74122"/>
                  <a:gd name="connsiteY6" fmla="*/ 21286 h 81096"/>
                  <a:gd name="connsiteX7" fmla="*/ 25420 w 74122"/>
                  <a:gd name="connsiteY7" fmla="*/ 37719 h 81096"/>
                  <a:gd name="connsiteX8" fmla="*/ 33390 w 74122"/>
                  <a:gd name="connsiteY8" fmla="*/ 49231 h 81096"/>
                  <a:gd name="connsiteX9" fmla="*/ 38212 w 74122"/>
                  <a:gd name="connsiteY9" fmla="*/ 58775 h 81096"/>
                  <a:gd name="connsiteX10" fmla="*/ 44706 w 74122"/>
                  <a:gd name="connsiteY10" fmla="*/ 75503 h 81096"/>
                  <a:gd name="connsiteX11" fmla="*/ 54546 w 74122"/>
                  <a:gd name="connsiteY11" fmla="*/ 77864 h 81096"/>
                  <a:gd name="connsiteX12" fmla="*/ 73241 w 74122"/>
                  <a:gd name="connsiteY12" fmla="*/ 52084 h 81096"/>
                  <a:gd name="connsiteX13" fmla="*/ 71372 w 74122"/>
                  <a:gd name="connsiteY13" fmla="*/ 38900 h 81096"/>
                  <a:gd name="connsiteX14" fmla="*/ 71175 w 74122"/>
                  <a:gd name="connsiteY14" fmla="*/ 20401 h 8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122" h="81096">
                    <a:moveTo>
                      <a:pt x="71175" y="20401"/>
                    </a:moveTo>
                    <a:cubicBezTo>
                      <a:pt x="61335" y="12037"/>
                      <a:pt x="55038" y="4657"/>
                      <a:pt x="47461" y="5642"/>
                    </a:cubicBezTo>
                    <a:cubicBezTo>
                      <a:pt x="46477" y="5642"/>
                      <a:pt x="41263" y="6822"/>
                      <a:pt x="36146" y="3280"/>
                    </a:cubicBezTo>
                    <a:cubicBezTo>
                      <a:pt x="35162" y="2886"/>
                      <a:pt x="31128" y="-361"/>
                      <a:pt x="25322" y="33"/>
                    </a:cubicBezTo>
                    <a:cubicBezTo>
                      <a:pt x="25322" y="33"/>
                      <a:pt x="-2130" y="33"/>
                      <a:pt x="133" y="5051"/>
                    </a:cubicBezTo>
                    <a:cubicBezTo>
                      <a:pt x="2396" y="9971"/>
                      <a:pt x="14204" y="14202"/>
                      <a:pt x="13219" y="13710"/>
                    </a:cubicBezTo>
                    <a:cubicBezTo>
                      <a:pt x="15975" y="14989"/>
                      <a:pt x="19124" y="18433"/>
                      <a:pt x="20009" y="21286"/>
                    </a:cubicBezTo>
                    <a:lnTo>
                      <a:pt x="25420" y="37719"/>
                    </a:lnTo>
                    <a:cubicBezTo>
                      <a:pt x="27487" y="44114"/>
                      <a:pt x="34178" y="50215"/>
                      <a:pt x="33390" y="49231"/>
                    </a:cubicBezTo>
                    <a:cubicBezTo>
                      <a:pt x="37228" y="53069"/>
                      <a:pt x="38606" y="59760"/>
                      <a:pt x="38212" y="58775"/>
                    </a:cubicBezTo>
                    <a:cubicBezTo>
                      <a:pt x="39589" y="67041"/>
                      <a:pt x="47756" y="68713"/>
                      <a:pt x="44706" y="75503"/>
                    </a:cubicBezTo>
                    <a:cubicBezTo>
                      <a:pt x="41853" y="81899"/>
                      <a:pt x="49429" y="82981"/>
                      <a:pt x="54546" y="77864"/>
                    </a:cubicBezTo>
                    <a:cubicBezTo>
                      <a:pt x="70879" y="61728"/>
                      <a:pt x="76095" y="58677"/>
                      <a:pt x="73241" y="52084"/>
                    </a:cubicBezTo>
                    <a:cubicBezTo>
                      <a:pt x="72946" y="51101"/>
                      <a:pt x="69502" y="45689"/>
                      <a:pt x="71372" y="38900"/>
                    </a:cubicBezTo>
                    <a:cubicBezTo>
                      <a:pt x="71962" y="34373"/>
                      <a:pt x="77374" y="25616"/>
                      <a:pt x="71175" y="20401"/>
                    </a:cubicBezTo>
                    <a:close/>
                  </a:path>
                </a:pathLst>
              </a:custGeom>
              <a:grpFill/>
              <a:ln w="9835" cap="flat">
                <a:noFill/>
                <a:prstDash val="solid"/>
                <a:miter/>
              </a:ln>
            </p:spPr>
            <p:txBody>
              <a:bodyPr rtlCol="0" anchor="ctr"/>
              <a:lstStyle/>
              <a:p>
                <a:endParaRPr lang="en-IN"/>
              </a:p>
            </p:txBody>
          </p:sp>
          <p:sp>
            <p:nvSpPr>
              <p:cNvPr id="723" name="Freeform: Shape 722">
                <a:extLst>
                  <a:ext uri="{FF2B5EF4-FFF2-40B4-BE49-F238E27FC236}">
                    <a16:creationId xmlns:a16="http://schemas.microsoft.com/office/drawing/2014/main" id="{236CB19F-C039-8FA0-C983-3C75083D6186}"/>
                  </a:ext>
                </a:extLst>
              </p:cNvPr>
              <p:cNvSpPr/>
              <p:nvPr/>
            </p:nvSpPr>
            <p:spPr>
              <a:xfrm>
                <a:off x="12667800" y="5383849"/>
                <a:ext cx="19383" cy="18088"/>
              </a:xfrm>
              <a:custGeom>
                <a:avLst/>
                <a:gdLst>
                  <a:gd name="connsiteX0" fmla="*/ 14956 w 19383"/>
                  <a:gd name="connsiteY0" fmla="*/ 9192 h 18088"/>
                  <a:gd name="connsiteX1" fmla="*/ 0 w 19383"/>
                  <a:gd name="connsiteY1" fmla="*/ 3091 h 18088"/>
                  <a:gd name="connsiteX2" fmla="*/ 0 w 19383"/>
                  <a:gd name="connsiteY2" fmla="*/ 3288 h 18088"/>
                  <a:gd name="connsiteX3" fmla="*/ 4821 w 19383"/>
                  <a:gd name="connsiteY3" fmla="*/ 11652 h 18088"/>
                  <a:gd name="connsiteX4" fmla="*/ 19384 w 19383"/>
                  <a:gd name="connsiteY4" fmla="*/ 16277 h 18088"/>
                  <a:gd name="connsiteX5" fmla="*/ 14956 w 19383"/>
                  <a:gd name="connsiteY5" fmla="*/ 9192 h 18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83" h="18088">
                    <a:moveTo>
                      <a:pt x="14956" y="9192"/>
                    </a:moveTo>
                    <a:cubicBezTo>
                      <a:pt x="9938" y="6142"/>
                      <a:pt x="0" y="-5469"/>
                      <a:pt x="0" y="3091"/>
                    </a:cubicBezTo>
                    <a:lnTo>
                      <a:pt x="0" y="3288"/>
                    </a:lnTo>
                    <a:cubicBezTo>
                      <a:pt x="0" y="6339"/>
                      <a:pt x="2164" y="10078"/>
                      <a:pt x="4821" y="11652"/>
                    </a:cubicBezTo>
                    <a:cubicBezTo>
                      <a:pt x="8757" y="13423"/>
                      <a:pt x="19384" y="21688"/>
                      <a:pt x="19384" y="16277"/>
                    </a:cubicBezTo>
                    <a:cubicBezTo>
                      <a:pt x="19384" y="14210"/>
                      <a:pt x="17416" y="11061"/>
                      <a:pt x="14956" y="9192"/>
                    </a:cubicBezTo>
                    <a:close/>
                  </a:path>
                </a:pathLst>
              </a:custGeom>
              <a:grpFill/>
              <a:ln w="9835" cap="flat">
                <a:noFill/>
                <a:prstDash val="solid"/>
                <a:miter/>
              </a:ln>
            </p:spPr>
            <p:txBody>
              <a:bodyPr rtlCol="0" anchor="ctr"/>
              <a:lstStyle/>
              <a:p>
                <a:endParaRPr lang="en-IN"/>
              </a:p>
            </p:txBody>
          </p:sp>
          <p:sp>
            <p:nvSpPr>
              <p:cNvPr id="724" name="Freeform: Shape 723">
                <a:extLst>
                  <a:ext uri="{FF2B5EF4-FFF2-40B4-BE49-F238E27FC236}">
                    <a16:creationId xmlns:a16="http://schemas.microsoft.com/office/drawing/2014/main" id="{76F4E19A-EDDF-5EC0-65C0-DE34470A0EA5}"/>
                  </a:ext>
                </a:extLst>
              </p:cNvPr>
              <p:cNvSpPr/>
              <p:nvPr/>
            </p:nvSpPr>
            <p:spPr>
              <a:xfrm>
                <a:off x="12708649" y="5408131"/>
                <a:ext cx="12960" cy="19279"/>
              </a:xfrm>
              <a:custGeom>
                <a:avLst/>
                <a:gdLst>
                  <a:gd name="connsiteX0" fmla="*/ 12678 w 12960"/>
                  <a:gd name="connsiteY0" fmla="*/ 15905 h 19279"/>
                  <a:gd name="connsiteX1" fmla="*/ 10218 w 12960"/>
                  <a:gd name="connsiteY1" fmla="*/ 7246 h 19279"/>
                  <a:gd name="connsiteX2" fmla="*/ 3429 w 12960"/>
                  <a:gd name="connsiteY2" fmla="*/ 259 h 19279"/>
                  <a:gd name="connsiteX3" fmla="*/ 3035 w 12960"/>
                  <a:gd name="connsiteY3" fmla="*/ 11280 h 19279"/>
                  <a:gd name="connsiteX4" fmla="*/ 12678 w 12960"/>
                  <a:gd name="connsiteY4" fmla="*/ 15806 h 19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0" h="19279">
                    <a:moveTo>
                      <a:pt x="12678" y="15905"/>
                    </a:moveTo>
                    <a:lnTo>
                      <a:pt x="10218" y="7246"/>
                    </a:lnTo>
                    <a:cubicBezTo>
                      <a:pt x="9332" y="4294"/>
                      <a:pt x="6282" y="1145"/>
                      <a:pt x="3429" y="259"/>
                    </a:cubicBezTo>
                    <a:cubicBezTo>
                      <a:pt x="-4049" y="-2003"/>
                      <a:pt x="3035" y="11280"/>
                      <a:pt x="3035" y="11280"/>
                    </a:cubicBezTo>
                    <a:cubicBezTo>
                      <a:pt x="5790" y="18365"/>
                      <a:pt x="14646" y="22694"/>
                      <a:pt x="12678" y="15806"/>
                    </a:cubicBezTo>
                    <a:close/>
                  </a:path>
                </a:pathLst>
              </a:custGeom>
              <a:grpFill/>
              <a:ln w="9835" cap="flat">
                <a:noFill/>
                <a:prstDash val="solid"/>
                <a:miter/>
              </a:ln>
            </p:spPr>
            <p:txBody>
              <a:bodyPr rtlCol="0" anchor="ctr"/>
              <a:lstStyle/>
              <a:p>
                <a:endParaRPr lang="en-IN"/>
              </a:p>
            </p:txBody>
          </p:sp>
          <p:sp>
            <p:nvSpPr>
              <p:cNvPr id="725" name="Freeform: Shape 724">
                <a:extLst>
                  <a:ext uri="{FF2B5EF4-FFF2-40B4-BE49-F238E27FC236}">
                    <a16:creationId xmlns:a16="http://schemas.microsoft.com/office/drawing/2014/main" id="{8498E463-E6CA-0F84-05E9-075935E988F3}"/>
                  </a:ext>
                </a:extLst>
              </p:cNvPr>
              <p:cNvSpPr/>
              <p:nvPr/>
            </p:nvSpPr>
            <p:spPr>
              <a:xfrm>
                <a:off x="12679589" y="5423838"/>
                <a:ext cx="56950" cy="45058"/>
              </a:xfrm>
              <a:custGeom>
                <a:avLst/>
                <a:gdLst>
                  <a:gd name="connsiteX0" fmla="*/ 7594 w 56950"/>
                  <a:gd name="connsiteY0" fmla="*/ 12006 h 45058"/>
                  <a:gd name="connsiteX1" fmla="*/ 1002 w 56950"/>
                  <a:gd name="connsiteY1" fmla="*/ 27355 h 45058"/>
                  <a:gd name="connsiteX2" fmla="*/ 10448 w 56950"/>
                  <a:gd name="connsiteY2" fmla="*/ 30898 h 45058"/>
                  <a:gd name="connsiteX3" fmla="*/ 15761 w 56950"/>
                  <a:gd name="connsiteY3" fmla="*/ 22239 h 45058"/>
                  <a:gd name="connsiteX4" fmla="*/ 36818 w 56950"/>
                  <a:gd name="connsiteY4" fmla="*/ 32078 h 45058"/>
                  <a:gd name="connsiteX5" fmla="*/ 53742 w 56950"/>
                  <a:gd name="connsiteY5" fmla="*/ 44279 h 45058"/>
                  <a:gd name="connsiteX6" fmla="*/ 50495 w 56950"/>
                  <a:gd name="connsiteY6" fmla="*/ 22829 h 45058"/>
                  <a:gd name="connsiteX7" fmla="*/ 12613 w 56950"/>
                  <a:gd name="connsiteY7" fmla="*/ 494 h 45058"/>
                  <a:gd name="connsiteX8" fmla="*/ 7594 w 56950"/>
                  <a:gd name="connsiteY8" fmla="*/ 11907 h 45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950" h="45058">
                    <a:moveTo>
                      <a:pt x="7594" y="12006"/>
                    </a:moveTo>
                    <a:cubicBezTo>
                      <a:pt x="7594" y="19582"/>
                      <a:pt x="2084" y="25486"/>
                      <a:pt x="1002" y="27355"/>
                    </a:cubicBezTo>
                    <a:cubicBezTo>
                      <a:pt x="-3131" y="33456"/>
                      <a:pt x="6611" y="37195"/>
                      <a:pt x="10448" y="30898"/>
                    </a:cubicBezTo>
                    <a:lnTo>
                      <a:pt x="15761" y="22239"/>
                    </a:lnTo>
                    <a:cubicBezTo>
                      <a:pt x="23141" y="10136"/>
                      <a:pt x="30521" y="23518"/>
                      <a:pt x="36818" y="32078"/>
                    </a:cubicBezTo>
                    <a:cubicBezTo>
                      <a:pt x="40951" y="37687"/>
                      <a:pt x="47347" y="40639"/>
                      <a:pt x="53742" y="44279"/>
                    </a:cubicBezTo>
                    <a:cubicBezTo>
                      <a:pt x="60335" y="48018"/>
                      <a:pt x="55514" y="37884"/>
                      <a:pt x="50495" y="22829"/>
                    </a:cubicBezTo>
                    <a:cubicBezTo>
                      <a:pt x="48134" y="15745"/>
                      <a:pt x="43608" y="15154"/>
                      <a:pt x="12613" y="494"/>
                    </a:cubicBezTo>
                    <a:cubicBezTo>
                      <a:pt x="5430" y="-2852"/>
                      <a:pt x="7594" y="11907"/>
                      <a:pt x="7594" y="11907"/>
                    </a:cubicBezTo>
                    <a:close/>
                  </a:path>
                </a:pathLst>
              </a:custGeom>
              <a:grpFill/>
              <a:ln w="9835" cap="flat">
                <a:noFill/>
                <a:prstDash val="solid"/>
                <a:miter/>
              </a:ln>
            </p:spPr>
            <p:txBody>
              <a:bodyPr rtlCol="0" anchor="ctr"/>
              <a:lstStyle/>
              <a:p>
                <a:endParaRPr lang="en-IN"/>
              </a:p>
            </p:txBody>
          </p:sp>
          <p:sp>
            <p:nvSpPr>
              <p:cNvPr id="726" name="Freeform: Shape 725">
                <a:extLst>
                  <a:ext uri="{FF2B5EF4-FFF2-40B4-BE49-F238E27FC236}">
                    <a16:creationId xmlns:a16="http://schemas.microsoft.com/office/drawing/2014/main" id="{AB6E1E63-0CB2-AD28-EB45-2C43B7319195}"/>
                  </a:ext>
                </a:extLst>
              </p:cNvPr>
              <p:cNvSpPr/>
              <p:nvPr/>
            </p:nvSpPr>
            <p:spPr>
              <a:xfrm>
                <a:off x="12606871" y="5411606"/>
                <a:ext cx="12101" cy="31781"/>
              </a:xfrm>
              <a:custGeom>
                <a:avLst/>
                <a:gdLst>
                  <a:gd name="connsiteX0" fmla="*/ 5630 w 12101"/>
                  <a:gd name="connsiteY0" fmla="*/ 819 h 31781"/>
                  <a:gd name="connsiteX1" fmla="*/ 317 w 12101"/>
                  <a:gd name="connsiteY1" fmla="*/ 16168 h 31781"/>
                  <a:gd name="connsiteX2" fmla="*/ 4252 w 12101"/>
                  <a:gd name="connsiteY2" fmla="*/ 29747 h 31781"/>
                  <a:gd name="connsiteX3" fmla="*/ 12026 w 12101"/>
                  <a:gd name="connsiteY3" fmla="*/ 4164 h 31781"/>
                  <a:gd name="connsiteX4" fmla="*/ 7598 w 12101"/>
                  <a:gd name="connsiteY4" fmla="*/ 228 h 31781"/>
                  <a:gd name="connsiteX5" fmla="*/ 5630 w 12101"/>
                  <a:gd name="connsiteY5" fmla="*/ 819 h 3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01" h="31781">
                    <a:moveTo>
                      <a:pt x="5630" y="819"/>
                    </a:moveTo>
                    <a:cubicBezTo>
                      <a:pt x="-1947" y="2983"/>
                      <a:pt x="317" y="16168"/>
                      <a:pt x="317" y="16168"/>
                    </a:cubicBezTo>
                    <a:cubicBezTo>
                      <a:pt x="317" y="23351"/>
                      <a:pt x="3760" y="28468"/>
                      <a:pt x="4252" y="29747"/>
                    </a:cubicBezTo>
                    <a:cubicBezTo>
                      <a:pt x="7696" y="36733"/>
                      <a:pt x="8385" y="25122"/>
                      <a:pt x="12026" y="4164"/>
                    </a:cubicBezTo>
                    <a:cubicBezTo>
                      <a:pt x="12518" y="1114"/>
                      <a:pt x="10550" y="-657"/>
                      <a:pt x="7598" y="228"/>
                    </a:cubicBezTo>
                    <a:lnTo>
                      <a:pt x="5630" y="819"/>
                    </a:lnTo>
                    <a:close/>
                  </a:path>
                </a:pathLst>
              </a:custGeom>
              <a:grpFill/>
              <a:ln w="9835" cap="flat">
                <a:noFill/>
                <a:prstDash val="solid"/>
                <a:miter/>
              </a:ln>
            </p:spPr>
            <p:txBody>
              <a:bodyPr rtlCol="0" anchor="ctr"/>
              <a:lstStyle/>
              <a:p>
                <a:endParaRPr lang="en-IN"/>
              </a:p>
            </p:txBody>
          </p:sp>
          <p:sp>
            <p:nvSpPr>
              <p:cNvPr id="727" name="Freeform: Shape 726">
                <a:extLst>
                  <a:ext uri="{FF2B5EF4-FFF2-40B4-BE49-F238E27FC236}">
                    <a16:creationId xmlns:a16="http://schemas.microsoft.com/office/drawing/2014/main" id="{AE882BEF-601B-E76D-3EA9-FF7A1307EE95}"/>
                  </a:ext>
                </a:extLst>
              </p:cNvPr>
              <p:cNvSpPr/>
              <p:nvPr/>
            </p:nvSpPr>
            <p:spPr>
              <a:xfrm>
                <a:off x="12637223" y="5420464"/>
                <a:ext cx="16911" cy="15179"/>
              </a:xfrm>
              <a:custGeom>
                <a:avLst/>
                <a:gdLst>
                  <a:gd name="connsiteX0" fmla="*/ 13259 w 16911"/>
                  <a:gd name="connsiteY0" fmla="*/ 13707 h 15179"/>
                  <a:gd name="connsiteX1" fmla="*/ 16211 w 16911"/>
                  <a:gd name="connsiteY1" fmla="*/ 3965 h 15179"/>
                  <a:gd name="connsiteX2" fmla="*/ 3223 w 16911"/>
                  <a:gd name="connsiteY2" fmla="*/ 30 h 15179"/>
                  <a:gd name="connsiteX3" fmla="*/ 6371 w 16911"/>
                  <a:gd name="connsiteY3" fmla="*/ 13117 h 15179"/>
                  <a:gd name="connsiteX4" fmla="*/ 13259 w 16911"/>
                  <a:gd name="connsiteY4" fmla="*/ 13608 h 15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11" h="15179">
                    <a:moveTo>
                      <a:pt x="13259" y="13707"/>
                    </a:moveTo>
                    <a:cubicBezTo>
                      <a:pt x="12669" y="14691"/>
                      <a:pt x="18966" y="8590"/>
                      <a:pt x="16211" y="3965"/>
                    </a:cubicBezTo>
                    <a:cubicBezTo>
                      <a:pt x="13062" y="-1348"/>
                      <a:pt x="4994" y="325"/>
                      <a:pt x="3223" y="30"/>
                    </a:cubicBezTo>
                    <a:cubicBezTo>
                      <a:pt x="-4944" y="30"/>
                      <a:pt x="4797" y="9672"/>
                      <a:pt x="6371" y="13117"/>
                    </a:cubicBezTo>
                    <a:cubicBezTo>
                      <a:pt x="8045" y="15674"/>
                      <a:pt x="11193" y="15871"/>
                      <a:pt x="13259" y="13608"/>
                    </a:cubicBezTo>
                    <a:close/>
                  </a:path>
                </a:pathLst>
              </a:custGeom>
              <a:grpFill/>
              <a:ln w="9835" cap="flat">
                <a:noFill/>
                <a:prstDash val="solid"/>
                <a:miter/>
              </a:ln>
            </p:spPr>
            <p:txBody>
              <a:bodyPr rtlCol="0" anchor="ctr"/>
              <a:lstStyle/>
              <a:p>
                <a:endParaRPr lang="en-IN"/>
              </a:p>
            </p:txBody>
          </p:sp>
          <p:sp>
            <p:nvSpPr>
              <p:cNvPr id="728" name="Freeform: Shape 727">
                <a:extLst>
                  <a:ext uri="{FF2B5EF4-FFF2-40B4-BE49-F238E27FC236}">
                    <a16:creationId xmlns:a16="http://schemas.microsoft.com/office/drawing/2014/main" id="{E7634A8B-3296-879A-547A-6C706AE7DDCB}"/>
                  </a:ext>
                </a:extLst>
              </p:cNvPr>
              <p:cNvSpPr/>
              <p:nvPr/>
            </p:nvSpPr>
            <p:spPr>
              <a:xfrm>
                <a:off x="12694718" y="5501573"/>
                <a:ext cx="42156" cy="106190"/>
              </a:xfrm>
              <a:custGeom>
                <a:avLst/>
                <a:gdLst>
                  <a:gd name="connsiteX0" fmla="*/ 42058 w 42156"/>
                  <a:gd name="connsiteY0" fmla="*/ 2459 h 106190"/>
                  <a:gd name="connsiteX1" fmla="*/ 32120 w 42156"/>
                  <a:gd name="connsiteY1" fmla="*/ 22827 h 106190"/>
                  <a:gd name="connsiteX2" fmla="*/ 4864 w 42156"/>
                  <a:gd name="connsiteY2" fmla="*/ 71139 h 106190"/>
                  <a:gd name="connsiteX3" fmla="*/ 42 w 42156"/>
                  <a:gd name="connsiteY3" fmla="*/ 103610 h 106190"/>
                  <a:gd name="connsiteX4" fmla="*/ 14211 w 42156"/>
                  <a:gd name="connsiteY4" fmla="*/ 85997 h 106190"/>
                  <a:gd name="connsiteX5" fmla="*/ 17163 w 42156"/>
                  <a:gd name="connsiteY5" fmla="*/ 76059 h 106190"/>
                  <a:gd name="connsiteX6" fmla="*/ 35957 w 42156"/>
                  <a:gd name="connsiteY6" fmla="*/ 52543 h 106190"/>
                  <a:gd name="connsiteX7" fmla="*/ 42156 w 42156"/>
                  <a:gd name="connsiteY7" fmla="*/ 2459 h 106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56" h="106190">
                    <a:moveTo>
                      <a:pt x="42058" y="2459"/>
                    </a:moveTo>
                    <a:cubicBezTo>
                      <a:pt x="42451" y="-5314"/>
                      <a:pt x="38516" y="6395"/>
                      <a:pt x="32120" y="22827"/>
                    </a:cubicBezTo>
                    <a:cubicBezTo>
                      <a:pt x="28872" y="30895"/>
                      <a:pt x="25822" y="35126"/>
                      <a:pt x="4864" y="71139"/>
                    </a:cubicBezTo>
                    <a:cubicBezTo>
                      <a:pt x="830" y="78027"/>
                      <a:pt x="1125" y="88064"/>
                      <a:pt x="42" y="103610"/>
                    </a:cubicBezTo>
                    <a:cubicBezTo>
                      <a:pt x="-548" y="111383"/>
                      <a:pt x="5061" y="100461"/>
                      <a:pt x="14211" y="85997"/>
                    </a:cubicBezTo>
                    <a:cubicBezTo>
                      <a:pt x="15884" y="83439"/>
                      <a:pt x="17163" y="78913"/>
                      <a:pt x="17163" y="76059"/>
                    </a:cubicBezTo>
                    <a:cubicBezTo>
                      <a:pt x="17163" y="68975"/>
                      <a:pt x="23559" y="64547"/>
                      <a:pt x="35957" y="52543"/>
                    </a:cubicBezTo>
                    <a:cubicBezTo>
                      <a:pt x="41467" y="47229"/>
                      <a:pt x="40090" y="43096"/>
                      <a:pt x="42156" y="2459"/>
                    </a:cubicBezTo>
                    <a:close/>
                  </a:path>
                </a:pathLst>
              </a:custGeom>
              <a:grpFill/>
              <a:ln w="9835" cap="flat">
                <a:noFill/>
                <a:prstDash val="solid"/>
                <a:miter/>
              </a:ln>
            </p:spPr>
            <p:txBody>
              <a:bodyPr rtlCol="0" anchor="ctr"/>
              <a:lstStyle/>
              <a:p>
                <a:endParaRPr lang="en-IN"/>
              </a:p>
            </p:txBody>
          </p:sp>
          <p:sp>
            <p:nvSpPr>
              <p:cNvPr id="729" name="Freeform: Shape 728">
                <a:extLst>
                  <a:ext uri="{FF2B5EF4-FFF2-40B4-BE49-F238E27FC236}">
                    <a16:creationId xmlns:a16="http://schemas.microsoft.com/office/drawing/2014/main" id="{8A1ADF4A-ED5C-C8A7-9F47-1D5AA4856DD0}"/>
                  </a:ext>
                </a:extLst>
              </p:cNvPr>
              <p:cNvSpPr/>
              <p:nvPr/>
            </p:nvSpPr>
            <p:spPr>
              <a:xfrm>
                <a:off x="12722633" y="5564751"/>
                <a:ext cx="46254" cy="37003"/>
              </a:xfrm>
              <a:custGeom>
                <a:avLst/>
                <a:gdLst>
                  <a:gd name="connsiteX0" fmla="*/ 8534 w 46254"/>
                  <a:gd name="connsiteY0" fmla="*/ 36889 h 37003"/>
                  <a:gd name="connsiteX1" fmla="*/ 35888 w 46254"/>
                  <a:gd name="connsiteY1" fmla="*/ 32166 h 37003"/>
                  <a:gd name="connsiteX2" fmla="*/ 46220 w 46254"/>
                  <a:gd name="connsiteY2" fmla="*/ 21835 h 37003"/>
                  <a:gd name="connsiteX3" fmla="*/ 40414 w 46254"/>
                  <a:gd name="connsiteY3" fmla="*/ 6977 h 37003"/>
                  <a:gd name="connsiteX4" fmla="*/ 20145 w 46254"/>
                  <a:gd name="connsiteY4" fmla="*/ 2549 h 37003"/>
                  <a:gd name="connsiteX5" fmla="*/ 9518 w 46254"/>
                  <a:gd name="connsiteY5" fmla="*/ 16915 h 37003"/>
                  <a:gd name="connsiteX6" fmla="*/ 367 w 46254"/>
                  <a:gd name="connsiteY6" fmla="*/ 28526 h 37003"/>
                  <a:gd name="connsiteX7" fmla="*/ 8534 w 46254"/>
                  <a:gd name="connsiteY7" fmla="*/ 36889 h 3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54" h="37003">
                    <a:moveTo>
                      <a:pt x="8534" y="36889"/>
                    </a:moveTo>
                    <a:cubicBezTo>
                      <a:pt x="26639" y="36889"/>
                      <a:pt x="32740" y="38168"/>
                      <a:pt x="35888" y="32166"/>
                    </a:cubicBezTo>
                    <a:cubicBezTo>
                      <a:pt x="39627" y="24984"/>
                      <a:pt x="46810" y="29903"/>
                      <a:pt x="46220" y="21835"/>
                    </a:cubicBezTo>
                    <a:cubicBezTo>
                      <a:pt x="45629" y="19375"/>
                      <a:pt x="47203" y="10519"/>
                      <a:pt x="40414" y="6977"/>
                    </a:cubicBezTo>
                    <a:cubicBezTo>
                      <a:pt x="40414" y="6977"/>
                      <a:pt x="23982" y="-5126"/>
                      <a:pt x="20145" y="2549"/>
                    </a:cubicBezTo>
                    <a:cubicBezTo>
                      <a:pt x="18571" y="5107"/>
                      <a:pt x="16209" y="13077"/>
                      <a:pt x="9518" y="16915"/>
                    </a:cubicBezTo>
                    <a:cubicBezTo>
                      <a:pt x="7747" y="18391"/>
                      <a:pt x="-1994" y="21146"/>
                      <a:pt x="367" y="28526"/>
                    </a:cubicBezTo>
                    <a:cubicBezTo>
                      <a:pt x="957" y="29509"/>
                      <a:pt x="1548" y="36889"/>
                      <a:pt x="8534" y="36889"/>
                    </a:cubicBezTo>
                    <a:close/>
                  </a:path>
                </a:pathLst>
              </a:custGeom>
              <a:grpFill/>
              <a:ln w="9835" cap="flat">
                <a:noFill/>
                <a:prstDash val="solid"/>
                <a:miter/>
              </a:ln>
            </p:spPr>
            <p:txBody>
              <a:bodyPr rtlCol="0" anchor="ctr"/>
              <a:lstStyle/>
              <a:p>
                <a:endParaRPr lang="en-IN"/>
              </a:p>
            </p:txBody>
          </p:sp>
          <p:sp>
            <p:nvSpPr>
              <p:cNvPr id="730" name="Freeform: Shape 729">
                <a:extLst>
                  <a:ext uri="{FF2B5EF4-FFF2-40B4-BE49-F238E27FC236}">
                    <a16:creationId xmlns:a16="http://schemas.microsoft.com/office/drawing/2014/main" id="{36AF08E5-75E2-F432-DEF3-956C35F979EC}"/>
                  </a:ext>
                </a:extLst>
              </p:cNvPr>
              <p:cNvSpPr/>
              <p:nvPr/>
            </p:nvSpPr>
            <p:spPr>
              <a:xfrm>
                <a:off x="12702918" y="5620820"/>
                <a:ext cx="16503" cy="13533"/>
              </a:xfrm>
              <a:custGeom>
                <a:avLst/>
                <a:gdLst>
                  <a:gd name="connsiteX0" fmla="*/ 15162 w 16503"/>
                  <a:gd name="connsiteY0" fmla="*/ 3354 h 13533"/>
                  <a:gd name="connsiteX1" fmla="*/ 3650 w 16503"/>
                  <a:gd name="connsiteY1" fmla="*/ 1878 h 13533"/>
                  <a:gd name="connsiteX2" fmla="*/ 304 w 16503"/>
                  <a:gd name="connsiteY2" fmla="*/ 9159 h 13533"/>
                  <a:gd name="connsiteX3" fmla="*/ 501 w 16503"/>
                  <a:gd name="connsiteY3" fmla="*/ 9749 h 13533"/>
                  <a:gd name="connsiteX4" fmla="*/ 13096 w 16503"/>
                  <a:gd name="connsiteY4" fmla="*/ 11717 h 13533"/>
                  <a:gd name="connsiteX5" fmla="*/ 15950 w 16503"/>
                  <a:gd name="connsiteY5" fmla="*/ 5026 h 13533"/>
                  <a:gd name="connsiteX6" fmla="*/ 15162 w 16503"/>
                  <a:gd name="connsiteY6" fmla="*/ 3354 h 13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03" h="13533">
                    <a:moveTo>
                      <a:pt x="15162" y="3354"/>
                    </a:moveTo>
                    <a:cubicBezTo>
                      <a:pt x="12013" y="-3141"/>
                      <a:pt x="4634" y="1779"/>
                      <a:pt x="3650" y="1878"/>
                    </a:cubicBezTo>
                    <a:cubicBezTo>
                      <a:pt x="797" y="2960"/>
                      <a:pt x="-679" y="6207"/>
                      <a:pt x="304" y="9159"/>
                    </a:cubicBezTo>
                    <a:lnTo>
                      <a:pt x="501" y="9749"/>
                    </a:lnTo>
                    <a:cubicBezTo>
                      <a:pt x="3060" y="16834"/>
                      <a:pt x="11325" y="11816"/>
                      <a:pt x="13096" y="11717"/>
                    </a:cubicBezTo>
                    <a:cubicBezTo>
                      <a:pt x="16048" y="10831"/>
                      <a:pt x="17327" y="7781"/>
                      <a:pt x="15950" y="5026"/>
                    </a:cubicBezTo>
                    <a:lnTo>
                      <a:pt x="15162" y="3354"/>
                    </a:lnTo>
                    <a:close/>
                  </a:path>
                </a:pathLst>
              </a:custGeom>
              <a:grpFill/>
              <a:ln w="9835" cap="flat">
                <a:noFill/>
                <a:prstDash val="solid"/>
                <a:miter/>
              </a:ln>
            </p:spPr>
            <p:txBody>
              <a:bodyPr rtlCol="0" anchor="ctr"/>
              <a:lstStyle/>
              <a:p>
                <a:endParaRPr lang="en-IN"/>
              </a:p>
            </p:txBody>
          </p:sp>
          <p:sp>
            <p:nvSpPr>
              <p:cNvPr id="731" name="Freeform: Shape 730">
                <a:extLst>
                  <a:ext uri="{FF2B5EF4-FFF2-40B4-BE49-F238E27FC236}">
                    <a16:creationId xmlns:a16="http://schemas.microsoft.com/office/drawing/2014/main" id="{628354B6-58A7-C504-A445-D1EA663DB367}"/>
                  </a:ext>
                </a:extLst>
              </p:cNvPr>
              <p:cNvSpPr/>
              <p:nvPr/>
            </p:nvSpPr>
            <p:spPr>
              <a:xfrm>
                <a:off x="12602912" y="5459389"/>
                <a:ext cx="79831" cy="93128"/>
              </a:xfrm>
              <a:custGeom>
                <a:avLst/>
                <a:gdLst>
                  <a:gd name="connsiteX0" fmla="*/ 1520 w 79831"/>
                  <a:gd name="connsiteY0" fmla="*/ 91971 h 93128"/>
                  <a:gd name="connsiteX1" fmla="*/ 13721 w 79831"/>
                  <a:gd name="connsiteY1" fmla="*/ 82131 h 93128"/>
                  <a:gd name="connsiteX2" fmla="*/ 47570 w 79831"/>
                  <a:gd name="connsiteY2" fmla="*/ 65208 h 93128"/>
                  <a:gd name="connsiteX3" fmla="*/ 48061 w 79831"/>
                  <a:gd name="connsiteY3" fmla="*/ 64223 h 93128"/>
                  <a:gd name="connsiteX4" fmla="*/ 66954 w 79831"/>
                  <a:gd name="connsiteY4" fmla="*/ 49365 h 93128"/>
                  <a:gd name="connsiteX5" fmla="*/ 79056 w 79831"/>
                  <a:gd name="connsiteY5" fmla="*/ 28309 h 93128"/>
                  <a:gd name="connsiteX6" fmla="*/ 78663 w 79831"/>
                  <a:gd name="connsiteY6" fmla="*/ 20929 h 93128"/>
                  <a:gd name="connsiteX7" fmla="*/ 67150 w 79831"/>
                  <a:gd name="connsiteY7" fmla="*/ 23783 h 93128"/>
                  <a:gd name="connsiteX8" fmla="*/ 58394 w 79831"/>
                  <a:gd name="connsiteY8" fmla="*/ 22504 h 93128"/>
                  <a:gd name="connsiteX9" fmla="*/ 56720 w 79831"/>
                  <a:gd name="connsiteY9" fmla="*/ 20732 h 93128"/>
                  <a:gd name="connsiteX10" fmla="*/ 46487 w 79831"/>
                  <a:gd name="connsiteY10" fmla="*/ 22701 h 93128"/>
                  <a:gd name="connsiteX11" fmla="*/ 35172 w 79831"/>
                  <a:gd name="connsiteY11" fmla="*/ 16206 h 93128"/>
                  <a:gd name="connsiteX12" fmla="*/ 7129 w 79831"/>
                  <a:gd name="connsiteY12" fmla="*/ 463 h 93128"/>
                  <a:gd name="connsiteX13" fmla="*/ 733 w 79831"/>
                  <a:gd name="connsiteY13" fmla="*/ 3612 h 93128"/>
                  <a:gd name="connsiteX14" fmla="*/ 143 w 79831"/>
                  <a:gd name="connsiteY14" fmla="*/ 6170 h 93128"/>
                  <a:gd name="connsiteX15" fmla="*/ 4374 w 79831"/>
                  <a:gd name="connsiteY15" fmla="*/ 12271 h 93128"/>
                  <a:gd name="connsiteX16" fmla="*/ 6637 w 79831"/>
                  <a:gd name="connsiteY16" fmla="*/ 12565 h 93128"/>
                  <a:gd name="connsiteX17" fmla="*/ 11950 w 79831"/>
                  <a:gd name="connsiteY17" fmla="*/ 18863 h 93128"/>
                  <a:gd name="connsiteX18" fmla="*/ 10770 w 79831"/>
                  <a:gd name="connsiteY18" fmla="*/ 53596 h 93128"/>
                  <a:gd name="connsiteX19" fmla="*/ 1520 w 79831"/>
                  <a:gd name="connsiteY19" fmla="*/ 91971 h 9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831" h="93128">
                    <a:moveTo>
                      <a:pt x="1520" y="91971"/>
                    </a:moveTo>
                    <a:cubicBezTo>
                      <a:pt x="5554" y="96792"/>
                      <a:pt x="10967" y="85182"/>
                      <a:pt x="13721" y="82131"/>
                    </a:cubicBezTo>
                    <a:cubicBezTo>
                      <a:pt x="21397" y="71406"/>
                      <a:pt x="42158" y="76326"/>
                      <a:pt x="47570" y="65208"/>
                    </a:cubicBezTo>
                    <a:lnTo>
                      <a:pt x="48061" y="64223"/>
                    </a:lnTo>
                    <a:cubicBezTo>
                      <a:pt x="51309" y="57532"/>
                      <a:pt x="58098" y="54679"/>
                      <a:pt x="66954" y="49365"/>
                    </a:cubicBezTo>
                    <a:cubicBezTo>
                      <a:pt x="72563" y="46020"/>
                      <a:pt x="73645" y="41887"/>
                      <a:pt x="79056" y="28309"/>
                    </a:cubicBezTo>
                    <a:cubicBezTo>
                      <a:pt x="80237" y="25455"/>
                      <a:pt x="80040" y="22110"/>
                      <a:pt x="78663" y="20929"/>
                    </a:cubicBezTo>
                    <a:cubicBezTo>
                      <a:pt x="75416" y="17977"/>
                      <a:pt x="68135" y="23389"/>
                      <a:pt x="67150" y="23783"/>
                    </a:cubicBezTo>
                    <a:cubicBezTo>
                      <a:pt x="64494" y="25258"/>
                      <a:pt x="60558" y="24668"/>
                      <a:pt x="58394" y="22504"/>
                    </a:cubicBezTo>
                    <a:lnTo>
                      <a:pt x="56720" y="20732"/>
                    </a:lnTo>
                    <a:cubicBezTo>
                      <a:pt x="51801" y="15616"/>
                      <a:pt x="47471" y="22208"/>
                      <a:pt x="46487" y="22701"/>
                    </a:cubicBezTo>
                    <a:cubicBezTo>
                      <a:pt x="40879" y="28014"/>
                      <a:pt x="36845" y="17781"/>
                      <a:pt x="35172" y="16206"/>
                    </a:cubicBezTo>
                    <a:cubicBezTo>
                      <a:pt x="30646" y="9712"/>
                      <a:pt x="21003" y="6662"/>
                      <a:pt x="7129" y="463"/>
                    </a:cubicBezTo>
                    <a:cubicBezTo>
                      <a:pt x="4276" y="-816"/>
                      <a:pt x="1422" y="659"/>
                      <a:pt x="733" y="3612"/>
                    </a:cubicBezTo>
                    <a:lnTo>
                      <a:pt x="143" y="6170"/>
                    </a:lnTo>
                    <a:cubicBezTo>
                      <a:pt x="-546" y="9122"/>
                      <a:pt x="1323" y="11877"/>
                      <a:pt x="4374" y="12271"/>
                    </a:cubicBezTo>
                    <a:lnTo>
                      <a:pt x="6637" y="12565"/>
                    </a:lnTo>
                    <a:cubicBezTo>
                      <a:pt x="9687" y="12959"/>
                      <a:pt x="12049" y="15813"/>
                      <a:pt x="11950" y="18863"/>
                    </a:cubicBezTo>
                    <a:lnTo>
                      <a:pt x="10770" y="53596"/>
                    </a:lnTo>
                    <a:cubicBezTo>
                      <a:pt x="10278" y="68553"/>
                      <a:pt x="-4187" y="85083"/>
                      <a:pt x="1520" y="91971"/>
                    </a:cubicBezTo>
                    <a:close/>
                  </a:path>
                </a:pathLst>
              </a:custGeom>
              <a:grpFill/>
              <a:ln w="9835" cap="flat">
                <a:noFill/>
                <a:prstDash val="solid"/>
                <a:miter/>
              </a:ln>
            </p:spPr>
            <p:txBody>
              <a:bodyPr rtlCol="0" anchor="ctr"/>
              <a:lstStyle/>
              <a:p>
                <a:endParaRPr lang="en-IN"/>
              </a:p>
            </p:txBody>
          </p:sp>
          <p:sp>
            <p:nvSpPr>
              <p:cNvPr id="732" name="Freeform: Shape 731">
                <a:extLst>
                  <a:ext uri="{FF2B5EF4-FFF2-40B4-BE49-F238E27FC236}">
                    <a16:creationId xmlns:a16="http://schemas.microsoft.com/office/drawing/2014/main" id="{77E2A281-94BA-037B-3079-9026124F8796}"/>
                  </a:ext>
                </a:extLst>
              </p:cNvPr>
              <p:cNvSpPr/>
              <p:nvPr/>
            </p:nvSpPr>
            <p:spPr>
              <a:xfrm>
                <a:off x="12638941" y="5538239"/>
                <a:ext cx="12216" cy="16843"/>
              </a:xfrm>
              <a:custGeom>
                <a:avLst/>
                <a:gdLst>
                  <a:gd name="connsiteX0" fmla="*/ 8294 w 12216"/>
                  <a:gd name="connsiteY0" fmla="*/ 133 h 16843"/>
                  <a:gd name="connsiteX1" fmla="*/ 128 w 12216"/>
                  <a:gd name="connsiteY1" fmla="*/ 14794 h 16843"/>
                  <a:gd name="connsiteX2" fmla="*/ 12132 w 12216"/>
                  <a:gd name="connsiteY2" fmla="*/ 5053 h 16843"/>
                  <a:gd name="connsiteX3" fmla="*/ 8294 w 12216"/>
                  <a:gd name="connsiteY3" fmla="*/ 133 h 16843"/>
                </a:gdLst>
                <a:ahLst/>
                <a:cxnLst>
                  <a:cxn ang="0">
                    <a:pos x="connsiteX0" y="connsiteY0"/>
                  </a:cxn>
                  <a:cxn ang="0">
                    <a:pos x="connsiteX1" y="connsiteY1"/>
                  </a:cxn>
                  <a:cxn ang="0">
                    <a:pos x="connsiteX2" y="connsiteY2"/>
                  </a:cxn>
                  <a:cxn ang="0">
                    <a:pos x="connsiteX3" y="connsiteY3"/>
                  </a:cxn>
                </a:cxnLst>
                <a:rect l="l" t="t" r="r" b="b"/>
                <a:pathLst>
                  <a:path w="12216" h="16843">
                    <a:moveTo>
                      <a:pt x="8294" y="133"/>
                    </a:moveTo>
                    <a:cubicBezTo>
                      <a:pt x="3079" y="1708"/>
                      <a:pt x="-758" y="9382"/>
                      <a:pt x="128" y="14794"/>
                    </a:cubicBezTo>
                    <a:cubicBezTo>
                      <a:pt x="1013" y="20698"/>
                      <a:pt x="12132" y="12728"/>
                      <a:pt x="12132" y="5053"/>
                    </a:cubicBezTo>
                    <a:cubicBezTo>
                      <a:pt x="12427" y="6037"/>
                      <a:pt x="12132" y="-1048"/>
                      <a:pt x="8294" y="133"/>
                    </a:cubicBezTo>
                    <a:close/>
                  </a:path>
                </a:pathLst>
              </a:custGeom>
              <a:grpFill/>
              <a:ln w="9835" cap="flat">
                <a:noFill/>
                <a:prstDash val="solid"/>
                <a:miter/>
              </a:ln>
            </p:spPr>
            <p:txBody>
              <a:bodyPr rtlCol="0" anchor="ctr"/>
              <a:lstStyle/>
              <a:p>
                <a:endParaRPr lang="en-IN"/>
              </a:p>
            </p:txBody>
          </p:sp>
          <p:sp>
            <p:nvSpPr>
              <p:cNvPr id="733" name="Freeform: Shape 732">
                <a:extLst>
                  <a:ext uri="{FF2B5EF4-FFF2-40B4-BE49-F238E27FC236}">
                    <a16:creationId xmlns:a16="http://schemas.microsoft.com/office/drawing/2014/main" id="{3A2B2C08-3779-F072-C05C-CBE68D9E33B2}"/>
                  </a:ext>
                </a:extLst>
              </p:cNvPr>
              <p:cNvSpPr/>
              <p:nvPr/>
            </p:nvSpPr>
            <p:spPr>
              <a:xfrm>
                <a:off x="12635299" y="5517853"/>
                <a:ext cx="68255" cy="117182"/>
              </a:xfrm>
              <a:custGeom>
                <a:avLst/>
                <a:gdLst>
                  <a:gd name="connsiteX0" fmla="*/ 59559 w 68255"/>
                  <a:gd name="connsiteY0" fmla="*/ 28981 h 117182"/>
                  <a:gd name="connsiteX1" fmla="*/ 60248 w 68255"/>
                  <a:gd name="connsiteY1" fmla="*/ 28588 h 117182"/>
                  <a:gd name="connsiteX2" fmla="*/ 68120 w 68255"/>
                  <a:gd name="connsiteY2" fmla="*/ 8908 h 117182"/>
                  <a:gd name="connsiteX3" fmla="*/ 52868 w 68255"/>
                  <a:gd name="connsiteY3" fmla="*/ 249 h 117182"/>
                  <a:gd name="connsiteX4" fmla="*/ 35748 w 68255"/>
                  <a:gd name="connsiteY4" fmla="*/ 11073 h 117182"/>
                  <a:gd name="connsiteX5" fmla="*/ 35748 w 68255"/>
                  <a:gd name="connsiteY5" fmla="*/ 13828 h 117182"/>
                  <a:gd name="connsiteX6" fmla="*/ 31615 w 68255"/>
                  <a:gd name="connsiteY6" fmla="*/ 23176 h 117182"/>
                  <a:gd name="connsiteX7" fmla="*/ 27187 w 68255"/>
                  <a:gd name="connsiteY7" fmla="*/ 33212 h 117182"/>
                  <a:gd name="connsiteX8" fmla="*/ 28466 w 68255"/>
                  <a:gd name="connsiteY8" fmla="*/ 48759 h 117182"/>
                  <a:gd name="connsiteX9" fmla="*/ 24924 w 68255"/>
                  <a:gd name="connsiteY9" fmla="*/ 57614 h 117182"/>
                  <a:gd name="connsiteX10" fmla="*/ 1112 w 68255"/>
                  <a:gd name="connsiteY10" fmla="*/ 67159 h 117182"/>
                  <a:gd name="connsiteX11" fmla="*/ 719 w 68255"/>
                  <a:gd name="connsiteY11" fmla="*/ 68143 h 117182"/>
                  <a:gd name="connsiteX12" fmla="*/ 12428 w 68255"/>
                  <a:gd name="connsiteY12" fmla="*/ 92053 h 117182"/>
                  <a:gd name="connsiteX13" fmla="*/ 29057 w 68255"/>
                  <a:gd name="connsiteY13" fmla="*/ 103959 h 117182"/>
                  <a:gd name="connsiteX14" fmla="*/ 29352 w 68255"/>
                  <a:gd name="connsiteY14" fmla="*/ 105632 h 117182"/>
                  <a:gd name="connsiteX15" fmla="*/ 37519 w 68255"/>
                  <a:gd name="connsiteY15" fmla="*/ 116062 h 117182"/>
                  <a:gd name="connsiteX16" fmla="*/ 52377 w 68255"/>
                  <a:gd name="connsiteY16" fmla="*/ 105828 h 117182"/>
                  <a:gd name="connsiteX17" fmla="*/ 45390 w 68255"/>
                  <a:gd name="connsiteY17" fmla="*/ 86936 h 117182"/>
                  <a:gd name="connsiteX18" fmla="*/ 51786 w 68255"/>
                  <a:gd name="connsiteY18" fmla="*/ 51514 h 117182"/>
                  <a:gd name="connsiteX19" fmla="*/ 59559 w 68255"/>
                  <a:gd name="connsiteY19" fmla="*/ 29079 h 11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255" h="117182">
                    <a:moveTo>
                      <a:pt x="59559" y="28981"/>
                    </a:moveTo>
                    <a:lnTo>
                      <a:pt x="60248" y="28588"/>
                    </a:lnTo>
                    <a:cubicBezTo>
                      <a:pt x="67431" y="24258"/>
                      <a:pt x="66447" y="14812"/>
                      <a:pt x="68120" y="8908"/>
                    </a:cubicBezTo>
                    <a:cubicBezTo>
                      <a:pt x="69694" y="545"/>
                      <a:pt x="57099" y="1726"/>
                      <a:pt x="52868" y="249"/>
                    </a:cubicBezTo>
                    <a:cubicBezTo>
                      <a:pt x="45784" y="-1128"/>
                      <a:pt x="35748" y="3300"/>
                      <a:pt x="35748" y="11073"/>
                    </a:cubicBezTo>
                    <a:lnTo>
                      <a:pt x="35748" y="13828"/>
                    </a:lnTo>
                    <a:cubicBezTo>
                      <a:pt x="35748" y="16878"/>
                      <a:pt x="33878" y="21109"/>
                      <a:pt x="31615" y="23176"/>
                    </a:cubicBezTo>
                    <a:cubicBezTo>
                      <a:pt x="32303" y="22192"/>
                      <a:pt x="26695" y="27210"/>
                      <a:pt x="27187" y="33212"/>
                    </a:cubicBezTo>
                    <a:lnTo>
                      <a:pt x="28466" y="48759"/>
                    </a:lnTo>
                    <a:cubicBezTo>
                      <a:pt x="28761" y="51809"/>
                      <a:pt x="27187" y="55745"/>
                      <a:pt x="24924" y="57614"/>
                    </a:cubicBezTo>
                    <a:cubicBezTo>
                      <a:pt x="16265" y="64699"/>
                      <a:pt x="4654" y="57516"/>
                      <a:pt x="1112" y="67159"/>
                    </a:cubicBezTo>
                    <a:lnTo>
                      <a:pt x="719" y="68143"/>
                    </a:lnTo>
                    <a:cubicBezTo>
                      <a:pt x="-1643" y="74342"/>
                      <a:pt x="1702" y="77490"/>
                      <a:pt x="12428" y="92053"/>
                    </a:cubicBezTo>
                    <a:cubicBezTo>
                      <a:pt x="18134" y="99826"/>
                      <a:pt x="27778" y="95103"/>
                      <a:pt x="29057" y="103959"/>
                    </a:cubicBezTo>
                    <a:lnTo>
                      <a:pt x="29352" y="105632"/>
                    </a:lnTo>
                    <a:cubicBezTo>
                      <a:pt x="30336" y="112716"/>
                      <a:pt x="36534" y="115077"/>
                      <a:pt x="37519" y="116062"/>
                    </a:cubicBezTo>
                    <a:cubicBezTo>
                      <a:pt x="44603" y="120785"/>
                      <a:pt x="48834" y="109272"/>
                      <a:pt x="52377" y="105828"/>
                    </a:cubicBezTo>
                    <a:cubicBezTo>
                      <a:pt x="57493" y="99137"/>
                      <a:pt x="48244" y="92152"/>
                      <a:pt x="45390" y="86936"/>
                    </a:cubicBezTo>
                    <a:cubicBezTo>
                      <a:pt x="38404" y="77097"/>
                      <a:pt x="46276" y="62140"/>
                      <a:pt x="51786" y="51514"/>
                    </a:cubicBezTo>
                    <a:cubicBezTo>
                      <a:pt x="56804" y="41674"/>
                      <a:pt x="51786" y="33704"/>
                      <a:pt x="59559" y="29079"/>
                    </a:cubicBezTo>
                    <a:close/>
                  </a:path>
                </a:pathLst>
              </a:custGeom>
              <a:grpFill/>
              <a:ln w="9835" cap="flat">
                <a:noFill/>
                <a:prstDash val="solid"/>
                <a:miter/>
              </a:ln>
            </p:spPr>
            <p:txBody>
              <a:bodyPr rtlCol="0" anchor="ctr"/>
              <a:lstStyle/>
              <a:p>
                <a:endParaRPr lang="en-IN"/>
              </a:p>
            </p:txBody>
          </p:sp>
          <p:sp>
            <p:nvSpPr>
              <p:cNvPr id="734" name="Freeform: Shape 733">
                <a:extLst>
                  <a:ext uri="{FF2B5EF4-FFF2-40B4-BE49-F238E27FC236}">
                    <a16:creationId xmlns:a16="http://schemas.microsoft.com/office/drawing/2014/main" id="{4D2DFB10-56FE-BD40-4CC5-639358A7E7EF}"/>
                  </a:ext>
                </a:extLst>
              </p:cNvPr>
              <p:cNvSpPr/>
              <p:nvPr/>
            </p:nvSpPr>
            <p:spPr>
              <a:xfrm>
                <a:off x="12481713" y="5432500"/>
                <a:ext cx="26390" cy="19283"/>
              </a:xfrm>
              <a:custGeom>
                <a:avLst/>
                <a:gdLst>
                  <a:gd name="connsiteX0" fmla="*/ 21372 w 26390"/>
                  <a:gd name="connsiteY0" fmla="*/ 6688 h 19283"/>
                  <a:gd name="connsiteX1" fmla="*/ 118 w 26390"/>
                  <a:gd name="connsiteY1" fmla="*/ 2359 h 19283"/>
                  <a:gd name="connsiteX2" fmla="*/ 10352 w 26390"/>
                  <a:gd name="connsiteY2" fmla="*/ 19283 h 19283"/>
                  <a:gd name="connsiteX3" fmla="*/ 20880 w 26390"/>
                  <a:gd name="connsiteY3" fmla="*/ 19283 h 19283"/>
                  <a:gd name="connsiteX4" fmla="*/ 21274 w 26390"/>
                  <a:gd name="connsiteY4" fmla="*/ 6688 h 19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90" h="19283">
                    <a:moveTo>
                      <a:pt x="21372" y="6688"/>
                    </a:moveTo>
                    <a:cubicBezTo>
                      <a:pt x="21372" y="6688"/>
                      <a:pt x="-1849" y="-4824"/>
                      <a:pt x="118" y="2359"/>
                    </a:cubicBezTo>
                    <a:cubicBezTo>
                      <a:pt x="2480" y="7869"/>
                      <a:pt x="1988" y="19283"/>
                      <a:pt x="10352" y="19283"/>
                    </a:cubicBezTo>
                    <a:lnTo>
                      <a:pt x="20880" y="19283"/>
                    </a:lnTo>
                    <a:cubicBezTo>
                      <a:pt x="28260" y="19283"/>
                      <a:pt x="28063" y="9641"/>
                      <a:pt x="21274" y="6688"/>
                    </a:cubicBezTo>
                    <a:close/>
                  </a:path>
                </a:pathLst>
              </a:custGeom>
              <a:grpFill/>
              <a:ln w="9835" cap="flat">
                <a:noFill/>
                <a:prstDash val="solid"/>
                <a:miter/>
              </a:ln>
            </p:spPr>
            <p:txBody>
              <a:bodyPr rtlCol="0" anchor="ctr"/>
              <a:lstStyle/>
              <a:p>
                <a:endParaRPr lang="en-IN"/>
              </a:p>
            </p:txBody>
          </p:sp>
          <p:sp>
            <p:nvSpPr>
              <p:cNvPr id="735" name="Freeform: Shape 734">
                <a:extLst>
                  <a:ext uri="{FF2B5EF4-FFF2-40B4-BE49-F238E27FC236}">
                    <a16:creationId xmlns:a16="http://schemas.microsoft.com/office/drawing/2014/main" id="{EE496C69-75F7-F0D7-2BCE-E2D330471549}"/>
                  </a:ext>
                </a:extLst>
              </p:cNvPr>
              <p:cNvSpPr/>
              <p:nvPr/>
            </p:nvSpPr>
            <p:spPr>
              <a:xfrm>
                <a:off x="12475444" y="5457206"/>
                <a:ext cx="16790" cy="17277"/>
              </a:xfrm>
              <a:custGeom>
                <a:avLst/>
                <a:gdLst>
                  <a:gd name="connsiteX0" fmla="*/ 15833 w 16790"/>
                  <a:gd name="connsiteY0" fmla="*/ 10026 h 17277"/>
                  <a:gd name="connsiteX1" fmla="*/ 5206 w 16790"/>
                  <a:gd name="connsiteY1" fmla="*/ 481 h 17277"/>
                  <a:gd name="connsiteX2" fmla="*/ 3238 w 16790"/>
                  <a:gd name="connsiteY2" fmla="*/ 11404 h 17277"/>
                  <a:gd name="connsiteX3" fmla="*/ 6092 w 16790"/>
                  <a:gd name="connsiteY3" fmla="*/ 15339 h 17277"/>
                  <a:gd name="connsiteX4" fmla="*/ 15833 w 16790"/>
                  <a:gd name="connsiteY4" fmla="*/ 10026 h 17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0" h="17277">
                    <a:moveTo>
                      <a:pt x="15833" y="10026"/>
                    </a:moveTo>
                    <a:cubicBezTo>
                      <a:pt x="20261" y="3335"/>
                      <a:pt x="8060" y="2056"/>
                      <a:pt x="5206" y="481"/>
                    </a:cubicBezTo>
                    <a:cubicBezTo>
                      <a:pt x="-1681" y="-1979"/>
                      <a:pt x="-1091" y="5500"/>
                      <a:pt x="3238" y="11404"/>
                    </a:cubicBezTo>
                    <a:lnTo>
                      <a:pt x="6092" y="15339"/>
                    </a:lnTo>
                    <a:cubicBezTo>
                      <a:pt x="10618" y="21440"/>
                      <a:pt x="14554" y="11305"/>
                      <a:pt x="15833" y="10026"/>
                    </a:cubicBezTo>
                    <a:close/>
                  </a:path>
                </a:pathLst>
              </a:custGeom>
              <a:grpFill/>
              <a:ln w="9835" cap="flat">
                <a:noFill/>
                <a:prstDash val="solid"/>
                <a:miter/>
              </a:ln>
            </p:spPr>
            <p:txBody>
              <a:bodyPr rtlCol="0" anchor="ctr"/>
              <a:lstStyle/>
              <a:p>
                <a:endParaRPr lang="en-IN"/>
              </a:p>
            </p:txBody>
          </p:sp>
          <p:sp>
            <p:nvSpPr>
              <p:cNvPr id="736" name="Freeform: Shape 735">
                <a:extLst>
                  <a:ext uri="{FF2B5EF4-FFF2-40B4-BE49-F238E27FC236}">
                    <a16:creationId xmlns:a16="http://schemas.microsoft.com/office/drawing/2014/main" id="{C332F3CF-DB6D-809F-8703-E4D81BA4C54A}"/>
                  </a:ext>
                </a:extLst>
              </p:cNvPr>
              <p:cNvSpPr/>
              <p:nvPr/>
            </p:nvSpPr>
            <p:spPr>
              <a:xfrm>
                <a:off x="12467563" y="5483045"/>
                <a:ext cx="11047" cy="10779"/>
              </a:xfrm>
              <a:custGeom>
                <a:avLst/>
                <a:gdLst>
                  <a:gd name="connsiteX0" fmla="*/ 99 w 11047"/>
                  <a:gd name="connsiteY0" fmla="*/ 7703 h 10779"/>
                  <a:gd name="connsiteX1" fmla="*/ 7381 w 11047"/>
                  <a:gd name="connsiteY1" fmla="*/ 10458 h 10779"/>
                  <a:gd name="connsiteX2" fmla="*/ 10628 w 11047"/>
                  <a:gd name="connsiteY2" fmla="*/ 4259 h 10779"/>
                  <a:gd name="connsiteX3" fmla="*/ 10037 w 11047"/>
                  <a:gd name="connsiteY3" fmla="*/ 2980 h 10779"/>
                  <a:gd name="connsiteX4" fmla="*/ 99 w 11047"/>
                  <a:gd name="connsiteY4" fmla="*/ 7703 h 10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7" h="10779">
                    <a:moveTo>
                      <a:pt x="99" y="7703"/>
                    </a:moveTo>
                    <a:cubicBezTo>
                      <a:pt x="985" y="12033"/>
                      <a:pt x="8365" y="10556"/>
                      <a:pt x="7381" y="10458"/>
                    </a:cubicBezTo>
                    <a:cubicBezTo>
                      <a:pt x="10431" y="9868"/>
                      <a:pt x="11808" y="7014"/>
                      <a:pt x="10628" y="4259"/>
                    </a:cubicBezTo>
                    <a:lnTo>
                      <a:pt x="10037" y="2980"/>
                    </a:lnTo>
                    <a:cubicBezTo>
                      <a:pt x="7085" y="-3711"/>
                      <a:pt x="-983" y="2193"/>
                      <a:pt x="99" y="7703"/>
                    </a:cubicBezTo>
                    <a:close/>
                  </a:path>
                </a:pathLst>
              </a:custGeom>
              <a:grpFill/>
              <a:ln w="9835" cap="flat">
                <a:noFill/>
                <a:prstDash val="solid"/>
                <a:miter/>
              </a:ln>
            </p:spPr>
            <p:txBody>
              <a:bodyPr rtlCol="0" anchor="ctr"/>
              <a:lstStyle/>
              <a:p>
                <a:endParaRPr lang="en-IN"/>
              </a:p>
            </p:txBody>
          </p:sp>
          <p:sp>
            <p:nvSpPr>
              <p:cNvPr id="737" name="Freeform: Shape 736">
                <a:extLst>
                  <a:ext uri="{FF2B5EF4-FFF2-40B4-BE49-F238E27FC236}">
                    <a16:creationId xmlns:a16="http://schemas.microsoft.com/office/drawing/2014/main" id="{C467C436-F7D8-A4D5-CA98-E144E90A8141}"/>
                  </a:ext>
                </a:extLst>
              </p:cNvPr>
              <p:cNvSpPr/>
              <p:nvPr/>
            </p:nvSpPr>
            <p:spPr>
              <a:xfrm>
                <a:off x="12312821" y="5494956"/>
                <a:ext cx="150379" cy="182054"/>
              </a:xfrm>
              <a:custGeom>
                <a:avLst/>
                <a:gdLst>
                  <a:gd name="connsiteX0" fmla="*/ 35683 w 150379"/>
                  <a:gd name="connsiteY0" fmla="*/ 130988 h 182054"/>
                  <a:gd name="connsiteX1" fmla="*/ 6460 w 150379"/>
                  <a:gd name="connsiteY1" fmla="*/ 162179 h 182054"/>
                  <a:gd name="connsiteX2" fmla="*/ 162 w 150379"/>
                  <a:gd name="connsiteY2" fmla="*/ 178611 h 182054"/>
                  <a:gd name="connsiteX3" fmla="*/ 13938 w 150379"/>
                  <a:gd name="connsiteY3" fmla="*/ 176742 h 182054"/>
                  <a:gd name="connsiteX4" fmla="*/ 46901 w 150379"/>
                  <a:gd name="connsiteY4" fmla="*/ 151651 h 182054"/>
                  <a:gd name="connsiteX5" fmla="*/ 53887 w 150379"/>
                  <a:gd name="connsiteY5" fmla="*/ 140729 h 182054"/>
                  <a:gd name="connsiteX6" fmla="*/ 66284 w 150379"/>
                  <a:gd name="connsiteY6" fmla="*/ 134333 h 182054"/>
                  <a:gd name="connsiteX7" fmla="*/ 90982 w 150379"/>
                  <a:gd name="connsiteY7" fmla="*/ 111210 h 182054"/>
                  <a:gd name="connsiteX8" fmla="*/ 96787 w 150379"/>
                  <a:gd name="connsiteY8" fmla="*/ 93991 h 182054"/>
                  <a:gd name="connsiteX9" fmla="*/ 124535 w 150379"/>
                  <a:gd name="connsiteY9" fmla="*/ 74410 h 182054"/>
                  <a:gd name="connsiteX10" fmla="*/ 131226 w 150379"/>
                  <a:gd name="connsiteY10" fmla="*/ 62504 h 182054"/>
                  <a:gd name="connsiteX11" fmla="*/ 147166 w 150379"/>
                  <a:gd name="connsiteY11" fmla="*/ 54141 h 182054"/>
                  <a:gd name="connsiteX12" fmla="*/ 144706 w 150379"/>
                  <a:gd name="connsiteY12" fmla="*/ 26295 h 182054"/>
                  <a:gd name="connsiteX13" fmla="*/ 145591 w 150379"/>
                  <a:gd name="connsiteY13" fmla="*/ 10945 h 182054"/>
                  <a:gd name="connsiteX14" fmla="*/ 141656 w 150379"/>
                  <a:gd name="connsiteY14" fmla="*/ 1794 h 182054"/>
                  <a:gd name="connsiteX15" fmla="*/ 140967 w 150379"/>
                  <a:gd name="connsiteY15" fmla="*/ 1204 h 182054"/>
                  <a:gd name="connsiteX16" fmla="*/ 134670 w 150379"/>
                  <a:gd name="connsiteY16" fmla="*/ 8190 h 182054"/>
                  <a:gd name="connsiteX17" fmla="*/ 130340 w 150379"/>
                  <a:gd name="connsiteY17" fmla="*/ 18226 h 182054"/>
                  <a:gd name="connsiteX18" fmla="*/ 128077 w 150379"/>
                  <a:gd name="connsiteY18" fmla="*/ 28361 h 182054"/>
                  <a:gd name="connsiteX19" fmla="*/ 130734 w 150379"/>
                  <a:gd name="connsiteY19" fmla="*/ 41447 h 182054"/>
                  <a:gd name="connsiteX20" fmla="*/ 126503 w 150379"/>
                  <a:gd name="connsiteY20" fmla="*/ 48434 h 182054"/>
                  <a:gd name="connsiteX21" fmla="*/ 111645 w 150379"/>
                  <a:gd name="connsiteY21" fmla="*/ 55813 h 182054"/>
                  <a:gd name="connsiteX22" fmla="*/ 55264 w 150379"/>
                  <a:gd name="connsiteY22" fmla="*/ 121443 h 182054"/>
                  <a:gd name="connsiteX23" fmla="*/ 46113 w 150379"/>
                  <a:gd name="connsiteY23" fmla="*/ 126265 h 182054"/>
                  <a:gd name="connsiteX24" fmla="*/ 35880 w 150379"/>
                  <a:gd name="connsiteY24" fmla="*/ 130988 h 18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0379" h="182054">
                    <a:moveTo>
                      <a:pt x="35683" y="130988"/>
                    </a:moveTo>
                    <a:lnTo>
                      <a:pt x="6460" y="162179"/>
                    </a:lnTo>
                    <a:cubicBezTo>
                      <a:pt x="1146" y="167788"/>
                      <a:pt x="851" y="176348"/>
                      <a:pt x="162" y="178611"/>
                    </a:cubicBezTo>
                    <a:cubicBezTo>
                      <a:pt x="-1510" y="186778"/>
                      <a:pt x="10199" y="178021"/>
                      <a:pt x="13938" y="176742"/>
                    </a:cubicBezTo>
                    <a:cubicBezTo>
                      <a:pt x="21121" y="173200"/>
                      <a:pt x="27320" y="167493"/>
                      <a:pt x="46901" y="151651"/>
                    </a:cubicBezTo>
                    <a:cubicBezTo>
                      <a:pt x="52115" y="147420"/>
                      <a:pt x="53394" y="141713"/>
                      <a:pt x="53887" y="140729"/>
                    </a:cubicBezTo>
                    <a:cubicBezTo>
                      <a:pt x="56445" y="133841"/>
                      <a:pt x="65006" y="134629"/>
                      <a:pt x="66284" y="134333"/>
                    </a:cubicBezTo>
                    <a:cubicBezTo>
                      <a:pt x="73566" y="133546"/>
                      <a:pt x="76222" y="128528"/>
                      <a:pt x="90982" y="111210"/>
                    </a:cubicBezTo>
                    <a:cubicBezTo>
                      <a:pt x="95410" y="106094"/>
                      <a:pt x="95803" y="99698"/>
                      <a:pt x="96787" y="93991"/>
                    </a:cubicBezTo>
                    <a:cubicBezTo>
                      <a:pt x="98853" y="81593"/>
                      <a:pt x="122272" y="86808"/>
                      <a:pt x="124535" y="74410"/>
                    </a:cubicBezTo>
                    <a:cubicBezTo>
                      <a:pt x="124141" y="75394"/>
                      <a:pt x="125125" y="65752"/>
                      <a:pt x="131226" y="62504"/>
                    </a:cubicBezTo>
                    <a:lnTo>
                      <a:pt x="147166" y="54141"/>
                    </a:lnTo>
                    <a:cubicBezTo>
                      <a:pt x="155923" y="49516"/>
                      <a:pt x="143919" y="39873"/>
                      <a:pt x="144706" y="26295"/>
                    </a:cubicBezTo>
                    <a:lnTo>
                      <a:pt x="145591" y="10945"/>
                    </a:lnTo>
                    <a:cubicBezTo>
                      <a:pt x="145788" y="7895"/>
                      <a:pt x="144017" y="3762"/>
                      <a:pt x="141656" y="1794"/>
                    </a:cubicBezTo>
                    <a:lnTo>
                      <a:pt x="140967" y="1204"/>
                    </a:lnTo>
                    <a:cubicBezTo>
                      <a:pt x="135260" y="-3520"/>
                      <a:pt x="135064" y="7107"/>
                      <a:pt x="134670" y="8190"/>
                    </a:cubicBezTo>
                    <a:cubicBezTo>
                      <a:pt x="134079" y="11240"/>
                      <a:pt x="132111" y="15668"/>
                      <a:pt x="130340" y="18226"/>
                    </a:cubicBezTo>
                    <a:cubicBezTo>
                      <a:pt x="130734" y="17242"/>
                      <a:pt x="126995" y="23047"/>
                      <a:pt x="128077" y="28361"/>
                    </a:cubicBezTo>
                    <a:lnTo>
                      <a:pt x="130734" y="41447"/>
                    </a:lnTo>
                    <a:cubicBezTo>
                      <a:pt x="131324" y="44498"/>
                      <a:pt x="129455" y="47548"/>
                      <a:pt x="126503" y="48434"/>
                    </a:cubicBezTo>
                    <a:cubicBezTo>
                      <a:pt x="127487" y="48040"/>
                      <a:pt x="116565" y="50106"/>
                      <a:pt x="111645" y="55813"/>
                    </a:cubicBezTo>
                    <a:lnTo>
                      <a:pt x="55264" y="121443"/>
                    </a:lnTo>
                    <a:cubicBezTo>
                      <a:pt x="53296" y="123805"/>
                      <a:pt x="49163" y="125970"/>
                      <a:pt x="46113" y="126265"/>
                    </a:cubicBezTo>
                    <a:cubicBezTo>
                      <a:pt x="47097" y="125970"/>
                      <a:pt x="39816" y="126757"/>
                      <a:pt x="35880" y="130988"/>
                    </a:cubicBezTo>
                    <a:close/>
                  </a:path>
                </a:pathLst>
              </a:custGeom>
              <a:grpFill/>
              <a:ln w="9835" cap="flat">
                <a:noFill/>
                <a:prstDash val="solid"/>
                <a:miter/>
              </a:ln>
            </p:spPr>
            <p:txBody>
              <a:bodyPr rtlCol="0" anchor="ctr"/>
              <a:lstStyle/>
              <a:p>
                <a:endParaRPr lang="en-IN"/>
              </a:p>
            </p:txBody>
          </p:sp>
          <p:sp>
            <p:nvSpPr>
              <p:cNvPr id="738" name="Freeform: Shape 737">
                <a:extLst>
                  <a:ext uri="{FF2B5EF4-FFF2-40B4-BE49-F238E27FC236}">
                    <a16:creationId xmlns:a16="http://schemas.microsoft.com/office/drawing/2014/main" id="{482FA42E-F95D-4D0F-6DF0-7D09706C0367}"/>
                  </a:ext>
                </a:extLst>
              </p:cNvPr>
              <p:cNvSpPr/>
              <p:nvPr/>
            </p:nvSpPr>
            <p:spPr>
              <a:xfrm>
                <a:off x="12474240" y="5537483"/>
                <a:ext cx="13002" cy="10979"/>
              </a:xfrm>
              <a:custGeom>
                <a:avLst/>
                <a:gdLst>
                  <a:gd name="connsiteX0" fmla="*/ 1884 w 13002"/>
                  <a:gd name="connsiteY0" fmla="*/ 9449 h 10979"/>
                  <a:gd name="connsiteX1" fmla="*/ 11231 w 13002"/>
                  <a:gd name="connsiteY1" fmla="*/ 8957 h 10979"/>
                  <a:gd name="connsiteX2" fmla="*/ 11231 w 13002"/>
                  <a:gd name="connsiteY2" fmla="*/ 1971 h 10979"/>
                  <a:gd name="connsiteX3" fmla="*/ 10543 w 13002"/>
                  <a:gd name="connsiteY3" fmla="*/ 1380 h 10979"/>
                  <a:gd name="connsiteX4" fmla="*/ 1687 w 13002"/>
                  <a:gd name="connsiteY4" fmla="*/ 1971 h 10979"/>
                  <a:gd name="connsiteX5" fmla="*/ 1884 w 13002"/>
                  <a:gd name="connsiteY5" fmla="*/ 9449 h 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02" h="10979">
                    <a:moveTo>
                      <a:pt x="1884" y="9449"/>
                    </a:moveTo>
                    <a:cubicBezTo>
                      <a:pt x="6410" y="13287"/>
                      <a:pt x="12216" y="8662"/>
                      <a:pt x="11231" y="8957"/>
                    </a:cubicBezTo>
                    <a:cubicBezTo>
                      <a:pt x="13593" y="6989"/>
                      <a:pt x="13593" y="3939"/>
                      <a:pt x="11231" y="1971"/>
                    </a:cubicBezTo>
                    <a:lnTo>
                      <a:pt x="10543" y="1380"/>
                    </a:lnTo>
                    <a:cubicBezTo>
                      <a:pt x="6115" y="-2162"/>
                      <a:pt x="704" y="2266"/>
                      <a:pt x="1687" y="1971"/>
                    </a:cubicBezTo>
                    <a:cubicBezTo>
                      <a:pt x="-2445" y="5710"/>
                      <a:pt x="2376" y="10433"/>
                      <a:pt x="1884" y="9449"/>
                    </a:cubicBezTo>
                    <a:close/>
                  </a:path>
                </a:pathLst>
              </a:custGeom>
              <a:grpFill/>
              <a:ln w="9835" cap="flat">
                <a:noFill/>
                <a:prstDash val="solid"/>
                <a:miter/>
              </a:ln>
            </p:spPr>
            <p:txBody>
              <a:bodyPr rtlCol="0" anchor="ctr"/>
              <a:lstStyle/>
              <a:p>
                <a:endParaRPr lang="en-IN"/>
              </a:p>
            </p:txBody>
          </p:sp>
          <p:sp>
            <p:nvSpPr>
              <p:cNvPr id="739" name="Freeform: Shape 738">
                <a:extLst>
                  <a:ext uri="{FF2B5EF4-FFF2-40B4-BE49-F238E27FC236}">
                    <a16:creationId xmlns:a16="http://schemas.microsoft.com/office/drawing/2014/main" id="{1717B301-F7C2-0E2A-AD59-57936C43FA5F}"/>
                  </a:ext>
                </a:extLst>
              </p:cNvPr>
              <p:cNvSpPr/>
              <p:nvPr/>
            </p:nvSpPr>
            <p:spPr>
              <a:xfrm>
                <a:off x="12294722" y="5693589"/>
                <a:ext cx="11749" cy="19879"/>
              </a:xfrm>
              <a:custGeom>
                <a:avLst/>
                <a:gdLst>
                  <a:gd name="connsiteX0" fmla="*/ 11177 w 11749"/>
                  <a:gd name="connsiteY0" fmla="*/ 10088 h 19879"/>
                  <a:gd name="connsiteX1" fmla="*/ 3502 w 11749"/>
                  <a:gd name="connsiteY1" fmla="*/ 1823 h 19879"/>
                  <a:gd name="connsiteX2" fmla="*/ 1436 w 11749"/>
                  <a:gd name="connsiteY2" fmla="*/ 14418 h 19879"/>
                  <a:gd name="connsiteX3" fmla="*/ 3502 w 11749"/>
                  <a:gd name="connsiteY3" fmla="*/ 17468 h 19879"/>
                  <a:gd name="connsiteX4" fmla="*/ 11177 w 11749"/>
                  <a:gd name="connsiteY4" fmla="*/ 10088 h 1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9" h="19879">
                    <a:moveTo>
                      <a:pt x="11177" y="10088"/>
                    </a:moveTo>
                    <a:cubicBezTo>
                      <a:pt x="10095" y="8121"/>
                      <a:pt x="7832" y="-4671"/>
                      <a:pt x="3502" y="1823"/>
                    </a:cubicBezTo>
                    <a:cubicBezTo>
                      <a:pt x="3109" y="2807"/>
                      <a:pt x="-2598" y="8514"/>
                      <a:pt x="1436" y="14418"/>
                    </a:cubicBezTo>
                    <a:lnTo>
                      <a:pt x="3502" y="17468"/>
                    </a:lnTo>
                    <a:cubicBezTo>
                      <a:pt x="7635" y="23568"/>
                      <a:pt x="13637" y="16976"/>
                      <a:pt x="11177" y="10088"/>
                    </a:cubicBezTo>
                    <a:close/>
                  </a:path>
                </a:pathLst>
              </a:custGeom>
              <a:grpFill/>
              <a:ln w="9835" cap="flat">
                <a:noFill/>
                <a:prstDash val="solid"/>
                <a:miter/>
              </a:ln>
            </p:spPr>
            <p:txBody>
              <a:bodyPr rtlCol="0" anchor="ctr"/>
              <a:lstStyle/>
              <a:p>
                <a:endParaRPr lang="en-IN"/>
              </a:p>
            </p:txBody>
          </p:sp>
          <p:sp>
            <p:nvSpPr>
              <p:cNvPr id="740" name="Freeform: Shape 739">
                <a:extLst>
                  <a:ext uri="{FF2B5EF4-FFF2-40B4-BE49-F238E27FC236}">
                    <a16:creationId xmlns:a16="http://schemas.microsoft.com/office/drawing/2014/main" id="{D8CC03AB-C26B-CE76-65FA-E6E70F70E9A7}"/>
                  </a:ext>
                </a:extLst>
              </p:cNvPr>
              <p:cNvSpPr/>
              <p:nvPr/>
            </p:nvSpPr>
            <p:spPr>
              <a:xfrm>
                <a:off x="12540666" y="5817827"/>
                <a:ext cx="35901" cy="15370"/>
              </a:xfrm>
              <a:custGeom>
                <a:avLst/>
                <a:gdLst>
                  <a:gd name="connsiteX0" fmla="*/ 32772 w 35901"/>
                  <a:gd name="connsiteY0" fmla="*/ 11206 h 15370"/>
                  <a:gd name="connsiteX1" fmla="*/ 32379 w 35901"/>
                  <a:gd name="connsiteY1" fmla="*/ 1465 h 15370"/>
                  <a:gd name="connsiteX2" fmla="*/ 14963 w 35901"/>
                  <a:gd name="connsiteY2" fmla="*/ 776 h 15370"/>
                  <a:gd name="connsiteX3" fmla="*/ 14176 w 35901"/>
                  <a:gd name="connsiteY3" fmla="*/ 481 h 15370"/>
                  <a:gd name="connsiteX4" fmla="*/ 5615 w 35901"/>
                  <a:gd name="connsiteY4" fmla="*/ 2744 h 15370"/>
                  <a:gd name="connsiteX5" fmla="*/ 3057 w 35901"/>
                  <a:gd name="connsiteY5" fmla="*/ 14552 h 15370"/>
                  <a:gd name="connsiteX6" fmla="*/ 15160 w 35901"/>
                  <a:gd name="connsiteY6" fmla="*/ 14355 h 15370"/>
                  <a:gd name="connsiteX7" fmla="*/ 32772 w 35901"/>
                  <a:gd name="connsiteY7" fmla="*/ 11206 h 1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01" h="15370">
                    <a:moveTo>
                      <a:pt x="32772" y="11206"/>
                    </a:moveTo>
                    <a:cubicBezTo>
                      <a:pt x="33166" y="9829"/>
                      <a:pt x="39857" y="580"/>
                      <a:pt x="32379" y="1465"/>
                    </a:cubicBezTo>
                    <a:cubicBezTo>
                      <a:pt x="27164" y="2055"/>
                      <a:pt x="21162" y="3334"/>
                      <a:pt x="14963" y="776"/>
                    </a:cubicBezTo>
                    <a:lnTo>
                      <a:pt x="14176" y="481"/>
                    </a:lnTo>
                    <a:cubicBezTo>
                      <a:pt x="11322" y="-700"/>
                      <a:pt x="7485" y="383"/>
                      <a:pt x="5615" y="2744"/>
                    </a:cubicBezTo>
                    <a:cubicBezTo>
                      <a:pt x="4435" y="5106"/>
                      <a:pt x="-4618" y="12879"/>
                      <a:pt x="3057" y="14552"/>
                    </a:cubicBezTo>
                    <a:cubicBezTo>
                      <a:pt x="4041" y="14552"/>
                      <a:pt x="9649" y="16520"/>
                      <a:pt x="15160" y="14355"/>
                    </a:cubicBezTo>
                    <a:cubicBezTo>
                      <a:pt x="22342" y="11501"/>
                      <a:pt x="29132" y="18291"/>
                      <a:pt x="32772" y="11206"/>
                    </a:cubicBezTo>
                    <a:close/>
                  </a:path>
                </a:pathLst>
              </a:custGeom>
              <a:grpFill/>
              <a:ln w="9835" cap="flat">
                <a:noFill/>
                <a:prstDash val="solid"/>
                <a:miter/>
              </a:ln>
            </p:spPr>
            <p:txBody>
              <a:bodyPr rtlCol="0" anchor="ctr"/>
              <a:lstStyle/>
              <a:p>
                <a:endParaRPr lang="en-IN"/>
              </a:p>
            </p:txBody>
          </p:sp>
          <p:sp>
            <p:nvSpPr>
              <p:cNvPr id="741" name="Freeform: Shape 740">
                <a:extLst>
                  <a:ext uri="{FF2B5EF4-FFF2-40B4-BE49-F238E27FC236}">
                    <a16:creationId xmlns:a16="http://schemas.microsoft.com/office/drawing/2014/main" id="{EEE9F604-C254-1287-D171-88F244154E8B}"/>
                  </a:ext>
                </a:extLst>
              </p:cNvPr>
              <p:cNvSpPr/>
              <p:nvPr/>
            </p:nvSpPr>
            <p:spPr>
              <a:xfrm>
                <a:off x="12472161" y="5866105"/>
                <a:ext cx="34172" cy="17439"/>
              </a:xfrm>
              <a:custGeom>
                <a:avLst/>
                <a:gdLst>
                  <a:gd name="connsiteX0" fmla="*/ 2290 w 34172"/>
                  <a:gd name="connsiteY0" fmla="*/ 15570 h 17439"/>
                  <a:gd name="connsiteX1" fmla="*/ 5537 w 34172"/>
                  <a:gd name="connsiteY1" fmla="*/ 16653 h 17439"/>
                  <a:gd name="connsiteX2" fmla="*/ 30628 w 34172"/>
                  <a:gd name="connsiteY2" fmla="*/ 12815 h 17439"/>
                  <a:gd name="connsiteX3" fmla="*/ 32203 w 34172"/>
                  <a:gd name="connsiteY3" fmla="*/ 3172 h 17439"/>
                  <a:gd name="connsiteX4" fmla="*/ 24823 w 34172"/>
                  <a:gd name="connsiteY4" fmla="*/ 516 h 17439"/>
                  <a:gd name="connsiteX5" fmla="*/ 1995 w 34172"/>
                  <a:gd name="connsiteY5" fmla="*/ 11438 h 17439"/>
                  <a:gd name="connsiteX6" fmla="*/ 2290 w 34172"/>
                  <a:gd name="connsiteY6" fmla="*/ 15570 h 1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72" h="17439">
                    <a:moveTo>
                      <a:pt x="2290" y="15570"/>
                    </a:moveTo>
                    <a:lnTo>
                      <a:pt x="5537" y="16653"/>
                    </a:lnTo>
                    <a:cubicBezTo>
                      <a:pt x="12622" y="19014"/>
                      <a:pt x="20986" y="15570"/>
                      <a:pt x="30628" y="12815"/>
                    </a:cubicBezTo>
                    <a:cubicBezTo>
                      <a:pt x="37418" y="10946"/>
                      <a:pt x="32399" y="4156"/>
                      <a:pt x="32203" y="3172"/>
                    </a:cubicBezTo>
                    <a:cubicBezTo>
                      <a:pt x="30924" y="418"/>
                      <a:pt x="27578" y="-764"/>
                      <a:pt x="24823" y="516"/>
                    </a:cubicBezTo>
                    <a:lnTo>
                      <a:pt x="1995" y="11438"/>
                    </a:lnTo>
                    <a:cubicBezTo>
                      <a:pt x="-760" y="12717"/>
                      <a:pt x="-662" y="14586"/>
                      <a:pt x="2290" y="15570"/>
                    </a:cubicBezTo>
                    <a:close/>
                  </a:path>
                </a:pathLst>
              </a:custGeom>
              <a:grpFill/>
              <a:ln w="9835" cap="flat">
                <a:noFill/>
                <a:prstDash val="solid"/>
                <a:miter/>
              </a:ln>
            </p:spPr>
            <p:txBody>
              <a:bodyPr rtlCol="0" anchor="ctr"/>
              <a:lstStyle/>
              <a:p>
                <a:endParaRPr lang="en-IN"/>
              </a:p>
            </p:txBody>
          </p:sp>
          <p:sp>
            <p:nvSpPr>
              <p:cNvPr id="742" name="Freeform: Shape 741">
                <a:extLst>
                  <a:ext uri="{FF2B5EF4-FFF2-40B4-BE49-F238E27FC236}">
                    <a16:creationId xmlns:a16="http://schemas.microsoft.com/office/drawing/2014/main" id="{AF38DA05-2EDF-9DB2-DEC6-886A9463C49F}"/>
                  </a:ext>
                </a:extLst>
              </p:cNvPr>
              <p:cNvSpPr/>
              <p:nvPr/>
            </p:nvSpPr>
            <p:spPr>
              <a:xfrm>
                <a:off x="12534247" y="5847004"/>
                <a:ext cx="14435" cy="11681"/>
              </a:xfrm>
              <a:custGeom>
                <a:avLst/>
                <a:gdLst>
                  <a:gd name="connsiteX0" fmla="*/ 3867 w 14435"/>
                  <a:gd name="connsiteY0" fmla="*/ 1610 h 11681"/>
                  <a:gd name="connsiteX1" fmla="*/ 1800 w 14435"/>
                  <a:gd name="connsiteY1" fmla="*/ 3283 h 11681"/>
                  <a:gd name="connsiteX2" fmla="*/ 10853 w 14435"/>
                  <a:gd name="connsiteY2" fmla="*/ 9777 h 11681"/>
                  <a:gd name="connsiteX3" fmla="*/ 12820 w 14435"/>
                  <a:gd name="connsiteY3" fmla="*/ 7809 h 11681"/>
                  <a:gd name="connsiteX4" fmla="*/ 3965 w 14435"/>
                  <a:gd name="connsiteY4" fmla="*/ 1708 h 1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5" h="11681">
                    <a:moveTo>
                      <a:pt x="3867" y="1610"/>
                    </a:moveTo>
                    <a:lnTo>
                      <a:pt x="1800" y="3283"/>
                    </a:lnTo>
                    <a:cubicBezTo>
                      <a:pt x="-4005" y="7809"/>
                      <a:pt x="5638" y="15189"/>
                      <a:pt x="10853" y="9777"/>
                    </a:cubicBezTo>
                    <a:lnTo>
                      <a:pt x="12820" y="7809"/>
                    </a:lnTo>
                    <a:cubicBezTo>
                      <a:pt x="17937" y="2496"/>
                      <a:pt x="9770" y="-2818"/>
                      <a:pt x="3965" y="1708"/>
                    </a:cubicBezTo>
                    <a:close/>
                  </a:path>
                </a:pathLst>
              </a:custGeom>
              <a:grpFill/>
              <a:ln w="9835" cap="flat">
                <a:noFill/>
                <a:prstDash val="solid"/>
                <a:miter/>
              </a:ln>
            </p:spPr>
            <p:txBody>
              <a:bodyPr rtlCol="0" anchor="ctr"/>
              <a:lstStyle/>
              <a:p>
                <a:endParaRPr lang="en-IN"/>
              </a:p>
            </p:txBody>
          </p:sp>
          <p:sp>
            <p:nvSpPr>
              <p:cNvPr id="743" name="Freeform: Shape 742">
                <a:extLst>
                  <a:ext uri="{FF2B5EF4-FFF2-40B4-BE49-F238E27FC236}">
                    <a16:creationId xmlns:a16="http://schemas.microsoft.com/office/drawing/2014/main" id="{EE927D54-2E30-5155-5CB1-7F0FFA9F5BFA}"/>
                  </a:ext>
                </a:extLst>
              </p:cNvPr>
              <p:cNvSpPr/>
              <p:nvPr/>
            </p:nvSpPr>
            <p:spPr>
              <a:xfrm>
                <a:off x="12516314" y="5801437"/>
                <a:ext cx="11563" cy="12757"/>
              </a:xfrm>
              <a:custGeom>
                <a:avLst/>
                <a:gdLst>
                  <a:gd name="connsiteX0" fmla="*/ 3499 w 11563"/>
                  <a:gd name="connsiteY0" fmla="*/ 1423 h 12757"/>
                  <a:gd name="connsiteX1" fmla="*/ 2514 w 11563"/>
                  <a:gd name="connsiteY1" fmla="*/ 2309 h 12757"/>
                  <a:gd name="connsiteX2" fmla="*/ 7238 w 11563"/>
                  <a:gd name="connsiteY2" fmla="*/ 11656 h 12757"/>
                  <a:gd name="connsiteX3" fmla="*/ 9009 w 11563"/>
                  <a:gd name="connsiteY3" fmla="*/ 10475 h 12757"/>
                  <a:gd name="connsiteX4" fmla="*/ 10682 w 11563"/>
                  <a:gd name="connsiteY4" fmla="*/ 2603 h 12757"/>
                  <a:gd name="connsiteX5" fmla="*/ 10485 w 11563"/>
                  <a:gd name="connsiteY5" fmla="*/ 2210 h 12757"/>
                  <a:gd name="connsiteX6" fmla="*/ 3499 w 11563"/>
                  <a:gd name="connsiteY6" fmla="*/ 1324 h 1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63" h="12757">
                    <a:moveTo>
                      <a:pt x="3499" y="1423"/>
                    </a:moveTo>
                    <a:lnTo>
                      <a:pt x="2514" y="2309"/>
                    </a:lnTo>
                    <a:cubicBezTo>
                      <a:pt x="-2799" y="7326"/>
                      <a:pt x="1039" y="15789"/>
                      <a:pt x="7238" y="11656"/>
                    </a:cubicBezTo>
                    <a:lnTo>
                      <a:pt x="9009" y="10475"/>
                    </a:lnTo>
                    <a:cubicBezTo>
                      <a:pt x="11567" y="8802"/>
                      <a:pt x="12354" y="5260"/>
                      <a:pt x="10682" y="2603"/>
                    </a:cubicBezTo>
                    <a:lnTo>
                      <a:pt x="10485" y="2210"/>
                    </a:lnTo>
                    <a:cubicBezTo>
                      <a:pt x="8812" y="-348"/>
                      <a:pt x="5663" y="-742"/>
                      <a:pt x="3499" y="1324"/>
                    </a:cubicBezTo>
                    <a:close/>
                  </a:path>
                </a:pathLst>
              </a:custGeom>
              <a:grpFill/>
              <a:ln w="9835" cap="flat">
                <a:noFill/>
                <a:prstDash val="solid"/>
                <a:miter/>
              </a:ln>
            </p:spPr>
            <p:txBody>
              <a:bodyPr rtlCol="0" anchor="ctr"/>
              <a:lstStyle/>
              <a:p>
                <a:endParaRPr lang="en-IN"/>
              </a:p>
            </p:txBody>
          </p:sp>
        </p:grpSp>
        <p:sp>
          <p:nvSpPr>
            <p:cNvPr id="481" name="Freeform: Shape 480">
              <a:extLst>
                <a:ext uri="{FF2B5EF4-FFF2-40B4-BE49-F238E27FC236}">
                  <a16:creationId xmlns:a16="http://schemas.microsoft.com/office/drawing/2014/main" id="{81A48507-3707-11F9-C061-1641CD01406D}"/>
                </a:ext>
              </a:extLst>
            </p:cNvPr>
            <p:cNvSpPr/>
            <p:nvPr/>
          </p:nvSpPr>
          <p:spPr>
            <a:xfrm>
              <a:off x="7208398" y="4107498"/>
              <a:ext cx="48214" cy="83833"/>
            </a:xfrm>
            <a:custGeom>
              <a:avLst/>
              <a:gdLst>
                <a:gd name="connsiteX0" fmla="*/ 48214 w 48214"/>
                <a:gd name="connsiteY0" fmla="*/ 14759 h 83833"/>
                <a:gd name="connsiteX1" fmla="*/ 20762 w 48214"/>
                <a:gd name="connsiteY1" fmla="*/ 0 h 83833"/>
                <a:gd name="connsiteX2" fmla="*/ 10135 w 48214"/>
                <a:gd name="connsiteY2" fmla="*/ 45557 h 83833"/>
                <a:gd name="connsiteX3" fmla="*/ 20762 w 48214"/>
                <a:gd name="connsiteY3" fmla="*/ 54118 h 83833"/>
                <a:gd name="connsiteX4" fmla="*/ 4231 w 48214"/>
                <a:gd name="connsiteY4" fmla="*/ 63269 h 83833"/>
                <a:gd name="connsiteX5" fmla="*/ 0 w 48214"/>
                <a:gd name="connsiteY5" fmla="*/ 83833 h 83833"/>
                <a:gd name="connsiteX6" fmla="*/ 44081 w 48214"/>
                <a:gd name="connsiteY6" fmla="*/ 77733 h 83833"/>
                <a:gd name="connsiteX7" fmla="*/ 48214 w 48214"/>
                <a:gd name="connsiteY7" fmla="*/ 14759 h 83833"/>
                <a:gd name="connsiteX8" fmla="*/ 48214 w 48214"/>
                <a:gd name="connsiteY8" fmla="*/ 14759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14" h="83833">
                  <a:moveTo>
                    <a:pt x="48214" y="14759"/>
                  </a:moveTo>
                  <a:lnTo>
                    <a:pt x="20762" y="0"/>
                  </a:lnTo>
                  <a:lnTo>
                    <a:pt x="10135" y="45557"/>
                  </a:lnTo>
                  <a:lnTo>
                    <a:pt x="20762" y="54118"/>
                  </a:lnTo>
                  <a:lnTo>
                    <a:pt x="4231" y="63269"/>
                  </a:lnTo>
                  <a:lnTo>
                    <a:pt x="0" y="83833"/>
                  </a:lnTo>
                  <a:lnTo>
                    <a:pt x="44081" y="77733"/>
                  </a:lnTo>
                  <a:lnTo>
                    <a:pt x="48214" y="14759"/>
                  </a:lnTo>
                  <a:lnTo>
                    <a:pt x="48214" y="14759"/>
                  </a:lnTo>
                  <a:close/>
                </a:path>
              </a:pathLst>
            </a:custGeom>
            <a:grpFill/>
            <a:ln w="9835" cap="flat">
              <a:noFill/>
              <a:prstDash val="solid"/>
              <a:miter/>
            </a:ln>
          </p:spPr>
          <p:txBody>
            <a:bodyPr rtlCol="0" anchor="ctr"/>
            <a:lstStyle/>
            <a:p>
              <a:endParaRPr lang="en-IN"/>
            </a:p>
          </p:txBody>
        </p:sp>
        <p:sp>
          <p:nvSpPr>
            <p:cNvPr id="482" name="Freeform: Shape 481">
              <a:extLst>
                <a:ext uri="{FF2B5EF4-FFF2-40B4-BE49-F238E27FC236}">
                  <a16:creationId xmlns:a16="http://schemas.microsoft.com/office/drawing/2014/main" id="{7EE79C32-DC0F-DA8C-FC3F-D8F577F1FC82}"/>
                </a:ext>
              </a:extLst>
            </p:cNvPr>
            <p:cNvSpPr/>
            <p:nvPr/>
          </p:nvSpPr>
          <p:spPr>
            <a:xfrm>
              <a:off x="8820026" y="3793910"/>
              <a:ext cx="1061102" cy="898348"/>
            </a:xfrm>
            <a:custGeom>
              <a:avLst/>
              <a:gdLst>
                <a:gd name="connsiteX0" fmla="*/ 479287 w 1061102"/>
                <a:gd name="connsiteY0" fmla="*/ 860473 h 898348"/>
                <a:gd name="connsiteX1" fmla="*/ 569221 w 1061102"/>
                <a:gd name="connsiteY1" fmla="*/ 873855 h 898348"/>
                <a:gd name="connsiteX2" fmla="*/ 598936 w 1061102"/>
                <a:gd name="connsiteY2" fmla="*/ 858701 h 898348"/>
                <a:gd name="connsiteX3" fmla="*/ 608284 w 1061102"/>
                <a:gd name="connsiteY3" fmla="*/ 873855 h 898348"/>
                <a:gd name="connsiteX4" fmla="*/ 636524 w 1061102"/>
                <a:gd name="connsiteY4" fmla="*/ 862244 h 898348"/>
                <a:gd name="connsiteX5" fmla="*/ 608284 w 1061102"/>
                <a:gd name="connsiteY5" fmla="*/ 771621 h 898348"/>
                <a:gd name="connsiteX6" fmla="*/ 587326 w 1061102"/>
                <a:gd name="connsiteY6" fmla="*/ 775655 h 898348"/>
                <a:gd name="connsiteX7" fmla="*/ 570402 w 1061102"/>
                <a:gd name="connsiteY7" fmla="*/ 755484 h 898348"/>
                <a:gd name="connsiteX8" fmla="*/ 576994 w 1061102"/>
                <a:gd name="connsiteY8" fmla="*/ 716126 h 898348"/>
                <a:gd name="connsiteX9" fmla="*/ 553773 w 1061102"/>
                <a:gd name="connsiteY9" fmla="*/ 716126 h 898348"/>
                <a:gd name="connsiteX10" fmla="*/ 530157 w 1061102"/>
                <a:gd name="connsiteY10" fmla="*/ 695167 h 898348"/>
                <a:gd name="connsiteX11" fmla="*/ 596673 w 1061102"/>
                <a:gd name="connsiteY11" fmla="*/ 615565 h 898348"/>
                <a:gd name="connsiteX12" fmla="*/ 616844 w 1061102"/>
                <a:gd name="connsiteY12" fmla="*/ 642034 h 898348"/>
                <a:gd name="connsiteX13" fmla="*/ 683262 w 1061102"/>
                <a:gd name="connsiteY13" fmla="*/ 621567 h 898348"/>
                <a:gd name="connsiteX14" fmla="*/ 709828 w 1061102"/>
                <a:gd name="connsiteY14" fmla="*/ 571975 h 898348"/>
                <a:gd name="connsiteX15" fmla="*/ 748105 w 1061102"/>
                <a:gd name="connsiteY15" fmla="*/ 551214 h 898348"/>
                <a:gd name="connsiteX16" fmla="*/ 779591 w 1061102"/>
                <a:gd name="connsiteY16" fmla="*/ 488929 h 898348"/>
                <a:gd name="connsiteX17" fmla="*/ 818359 w 1061102"/>
                <a:gd name="connsiteY17" fmla="*/ 475449 h 898348"/>
                <a:gd name="connsiteX18" fmla="*/ 811964 w 1061102"/>
                <a:gd name="connsiteY18" fmla="*/ 454196 h 898348"/>
                <a:gd name="connsiteX19" fmla="*/ 855651 w 1061102"/>
                <a:gd name="connsiteY19" fmla="*/ 412574 h 898348"/>
                <a:gd name="connsiteX20" fmla="*/ 847681 w 1061102"/>
                <a:gd name="connsiteY20" fmla="*/ 360916 h 898348"/>
                <a:gd name="connsiteX21" fmla="*/ 898158 w 1061102"/>
                <a:gd name="connsiteY21" fmla="*/ 334644 h 898348"/>
                <a:gd name="connsiteX22" fmla="*/ 892943 w 1061102"/>
                <a:gd name="connsiteY22" fmla="*/ 313194 h 898348"/>
                <a:gd name="connsiteX23" fmla="*/ 817277 w 1061102"/>
                <a:gd name="connsiteY23" fmla="*/ 270884 h 898348"/>
                <a:gd name="connsiteX24" fmla="*/ 830856 w 1061102"/>
                <a:gd name="connsiteY24" fmla="*/ 211846 h 898348"/>
                <a:gd name="connsiteX25" fmla="*/ 805174 w 1061102"/>
                <a:gd name="connsiteY25" fmla="*/ 177211 h 898348"/>
                <a:gd name="connsiteX26" fmla="*/ 834988 w 1061102"/>
                <a:gd name="connsiteY26" fmla="*/ 156646 h 898348"/>
                <a:gd name="connsiteX27" fmla="*/ 923249 w 1061102"/>
                <a:gd name="connsiteY27" fmla="*/ 182426 h 898348"/>
                <a:gd name="connsiteX28" fmla="*/ 992028 w 1061102"/>
                <a:gd name="connsiteY28" fmla="*/ 165502 h 898348"/>
                <a:gd name="connsiteX29" fmla="*/ 1002065 w 1061102"/>
                <a:gd name="connsiteY29" fmla="*/ 134507 h 898348"/>
                <a:gd name="connsiteX30" fmla="*/ 1061102 w 1061102"/>
                <a:gd name="connsiteY30" fmla="*/ 104398 h 898348"/>
                <a:gd name="connsiteX31" fmla="*/ 938107 w 1061102"/>
                <a:gd name="connsiteY31" fmla="*/ 71632 h 898348"/>
                <a:gd name="connsiteX32" fmla="*/ 931908 w 1061102"/>
                <a:gd name="connsiteY32" fmla="*/ 28830 h 898348"/>
                <a:gd name="connsiteX33" fmla="*/ 904357 w 1061102"/>
                <a:gd name="connsiteY33" fmla="*/ 19581 h 898348"/>
                <a:gd name="connsiteX34" fmla="*/ 898257 w 1061102"/>
                <a:gd name="connsiteY34" fmla="*/ 5412 h 898348"/>
                <a:gd name="connsiteX35" fmla="*/ 849846 w 1061102"/>
                <a:gd name="connsiteY35" fmla="*/ 0 h 898348"/>
                <a:gd name="connsiteX36" fmla="*/ 721636 w 1061102"/>
                <a:gd name="connsiteY36" fmla="*/ 19384 h 898348"/>
                <a:gd name="connsiteX37" fmla="*/ 640459 w 1061102"/>
                <a:gd name="connsiteY37" fmla="*/ 73501 h 898348"/>
                <a:gd name="connsiteX38" fmla="*/ 657384 w 1061102"/>
                <a:gd name="connsiteY38" fmla="*/ 86687 h 898348"/>
                <a:gd name="connsiteX39" fmla="*/ 665944 w 1061102"/>
                <a:gd name="connsiteY39" fmla="*/ 132146 h 898348"/>
                <a:gd name="connsiteX40" fmla="*/ 627865 w 1061102"/>
                <a:gd name="connsiteY40" fmla="*/ 171701 h 898348"/>
                <a:gd name="connsiteX41" fmla="*/ 634752 w 1061102"/>
                <a:gd name="connsiteY41" fmla="*/ 193938 h 898348"/>
                <a:gd name="connsiteX42" fmla="*/ 625405 w 1061102"/>
                <a:gd name="connsiteY42" fmla="*/ 215979 h 898348"/>
                <a:gd name="connsiteX43" fmla="*/ 560463 w 1061102"/>
                <a:gd name="connsiteY43" fmla="*/ 206139 h 898348"/>
                <a:gd name="connsiteX44" fmla="*/ 562923 w 1061102"/>
                <a:gd name="connsiteY44" fmla="*/ 224835 h 898348"/>
                <a:gd name="connsiteX45" fmla="*/ 585358 w 1061102"/>
                <a:gd name="connsiteY45" fmla="*/ 255534 h 898348"/>
                <a:gd name="connsiteX46" fmla="*/ 572861 w 1061102"/>
                <a:gd name="connsiteY46" fmla="*/ 274426 h 898348"/>
                <a:gd name="connsiteX47" fmla="*/ 539308 w 1061102"/>
                <a:gd name="connsiteY47" fmla="*/ 274426 h 898348"/>
                <a:gd name="connsiteX48" fmla="*/ 518055 w 1061102"/>
                <a:gd name="connsiteY48" fmla="*/ 319885 h 898348"/>
                <a:gd name="connsiteX49" fmla="*/ 526812 w 1061102"/>
                <a:gd name="connsiteY49" fmla="*/ 357079 h 898348"/>
                <a:gd name="connsiteX50" fmla="*/ 500343 w 1061102"/>
                <a:gd name="connsiteY50" fmla="*/ 373708 h 898348"/>
                <a:gd name="connsiteX51" fmla="*/ 475843 w 1061102"/>
                <a:gd name="connsiteY51" fmla="*/ 357079 h 898348"/>
                <a:gd name="connsiteX52" fmla="*/ 418872 w 1061102"/>
                <a:gd name="connsiteY52" fmla="*/ 374298 h 898348"/>
                <a:gd name="connsiteX53" fmla="*/ 418872 w 1061102"/>
                <a:gd name="connsiteY53" fmla="*/ 398602 h 898348"/>
                <a:gd name="connsiteX54" fmla="*/ 352651 w 1061102"/>
                <a:gd name="connsiteY54" fmla="*/ 407457 h 898348"/>
                <a:gd name="connsiteX55" fmla="*/ 332382 w 1061102"/>
                <a:gd name="connsiteY55" fmla="*/ 496506 h 898348"/>
                <a:gd name="connsiteX56" fmla="*/ 104890 w 1061102"/>
                <a:gd name="connsiteY56" fmla="*/ 533601 h 898348"/>
                <a:gd name="connsiteX57" fmla="*/ 0 w 1061102"/>
                <a:gd name="connsiteY57" fmla="*/ 495227 h 898348"/>
                <a:gd name="connsiteX58" fmla="*/ 57365 w 1061102"/>
                <a:gd name="connsiteY58" fmla="*/ 579257 h 898348"/>
                <a:gd name="connsiteX59" fmla="*/ 114730 w 1061102"/>
                <a:gd name="connsiteY59" fmla="*/ 602675 h 898348"/>
                <a:gd name="connsiteX60" fmla="*/ 117190 w 1061102"/>
                <a:gd name="connsiteY60" fmla="*/ 668305 h 898348"/>
                <a:gd name="connsiteX61" fmla="*/ 150054 w 1061102"/>
                <a:gd name="connsiteY61" fmla="*/ 677358 h 898348"/>
                <a:gd name="connsiteX62" fmla="*/ 142576 w 1061102"/>
                <a:gd name="connsiteY62" fmla="*/ 715142 h 898348"/>
                <a:gd name="connsiteX63" fmla="*/ 92591 w 1061102"/>
                <a:gd name="connsiteY63" fmla="*/ 715142 h 898348"/>
                <a:gd name="connsiteX64" fmla="*/ 57365 w 1061102"/>
                <a:gd name="connsiteY64" fmla="*/ 744956 h 898348"/>
                <a:gd name="connsiteX65" fmla="*/ 47525 w 1061102"/>
                <a:gd name="connsiteY65" fmla="*/ 794056 h 898348"/>
                <a:gd name="connsiteX66" fmla="*/ 51658 w 1061102"/>
                <a:gd name="connsiteY66" fmla="*/ 795039 h 898348"/>
                <a:gd name="connsiteX67" fmla="*/ 57070 w 1061102"/>
                <a:gd name="connsiteY67" fmla="*/ 802714 h 898348"/>
                <a:gd name="connsiteX68" fmla="*/ 99970 w 1061102"/>
                <a:gd name="connsiteY68" fmla="*/ 792088 h 898348"/>
                <a:gd name="connsiteX69" fmla="*/ 166683 w 1061102"/>
                <a:gd name="connsiteY69" fmla="*/ 790316 h 898348"/>
                <a:gd name="connsiteX70" fmla="*/ 177310 w 1061102"/>
                <a:gd name="connsiteY70" fmla="*/ 783133 h 898348"/>
                <a:gd name="connsiteX71" fmla="*/ 195710 w 1061102"/>
                <a:gd name="connsiteY71" fmla="*/ 780673 h 898348"/>
                <a:gd name="connsiteX72" fmla="*/ 207025 w 1061102"/>
                <a:gd name="connsiteY72" fmla="*/ 776836 h 898348"/>
                <a:gd name="connsiteX73" fmla="*/ 207812 w 1061102"/>
                <a:gd name="connsiteY73" fmla="*/ 783232 h 898348"/>
                <a:gd name="connsiteX74" fmla="*/ 230935 w 1061102"/>
                <a:gd name="connsiteY74" fmla="*/ 793957 h 898348"/>
                <a:gd name="connsiteX75" fmla="*/ 245006 w 1061102"/>
                <a:gd name="connsiteY75" fmla="*/ 786872 h 898348"/>
                <a:gd name="connsiteX76" fmla="*/ 337793 w 1061102"/>
                <a:gd name="connsiteY76" fmla="*/ 775557 h 898348"/>
                <a:gd name="connsiteX77" fmla="*/ 350290 w 1061102"/>
                <a:gd name="connsiteY77" fmla="*/ 771522 h 898348"/>
                <a:gd name="connsiteX78" fmla="*/ 365541 w 1061102"/>
                <a:gd name="connsiteY78" fmla="*/ 799172 h 898348"/>
                <a:gd name="connsiteX79" fmla="*/ 368690 w 1061102"/>
                <a:gd name="connsiteY79" fmla="*/ 819048 h 898348"/>
                <a:gd name="connsiteX80" fmla="*/ 394076 w 1061102"/>
                <a:gd name="connsiteY80" fmla="*/ 829970 h 898348"/>
                <a:gd name="connsiteX81" fmla="*/ 412181 w 1061102"/>
                <a:gd name="connsiteY81" fmla="*/ 867262 h 898348"/>
                <a:gd name="connsiteX82" fmla="*/ 422709 w 1061102"/>
                <a:gd name="connsiteY82" fmla="*/ 869033 h 898348"/>
                <a:gd name="connsiteX83" fmla="*/ 418380 w 1061102"/>
                <a:gd name="connsiteY83" fmla="*/ 880840 h 898348"/>
                <a:gd name="connsiteX84" fmla="*/ 432844 w 1061102"/>
                <a:gd name="connsiteY84" fmla="*/ 882218 h 898348"/>
                <a:gd name="connsiteX85" fmla="*/ 441896 w 1061102"/>
                <a:gd name="connsiteY85" fmla="*/ 877692 h 898348"/>
                <a:gd name="connsiteX86" fmla="*/ 446816 w 1061102"/>
                <a:gd name="connsiteY86" fmla="*/ 893042 h 898348"/>
                <a:gd name="connsiteX87" fmla="*/ 466692 w 1061102"/>
                <a:gd name="connsiteY87" fmla="*/ 895698 h 898348"/>
                <a:gd name="connsiteX88" fmla="*/ 478008 w 1061102"/>
                <a:gd name="connsiteY88" fmla="*/ 888122 h 898348"/>
                <a:gd name="connsiteX89" fmla="*/ 479188 w 1061102"/>
                <a:gd name="connsiteY89" fmla="*/ 888122 h 898348"/>
                <a:gd name="connsiteX90" fmla="*/ 479188 w 1061102"/>
                <a:gd name="connsiteY90" fmla="*/ 888122 h 898348"/>
                <a:gd name="connsiteX91" fmla="*/ 479188 w 1061102"/>
                <a:gd name="connsiteY91" fmla="*/ 888122 h 898348"/>
                <a:gd name="connsiteX92" fmla="*/ 479188 w 1061102"/>
                <a:gd name="connsiteY92" fmla="*/ 860669 h 898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061102" h="898348">
                  <a:moveTo>
                    <a:pt x="479287" y="860473"/>
                  </a:moveTo>
                  <a:lnTo>
                    <a:pt x="569221" y="873855"/>
                  </a:lnTo>
                  <a:lnTo>
                    <a:pt x="598936" y="858701"/>
                  </a:lnTo>
                  <a:lnTo>
                    <a:pt x="608284" y="873855"/>
                  </a:lnTo>
                  <a:lnTo>
                    <a:pt x="636524" y="862244"/>
                  </a:lnTo>
                  <a:lnTo>
                    <a:pt x="608284" y="771621"/>
                  </a:lnTo>
                  <a:lnTo>
                    <a:pt x="587326" y="775655"/>
                  </a:lnTo>
                  <a:lnTo>
                    <a:pt x="570402" y="755484"/>
                  </a:lnTo>
                  <a:lnTo>
                    <a:pt x="576994" y="716126"/>
                  </a:lnTo>
                  <a:lnTo>
                    <a:pt x="553773" y="716126"/>
                  </a:lnTo>
                  <a:lnTo>
                    <a:pt x="530157" y="695167"/>
                  </a:lnTo>
                  <a:lnTo>
                    <a:pt x="596673" y="615565"/>
                  </a:lnTo>
                  <a:lnTo>
                    <a:pt x="616844" y="642034"/>
                  </a:lnTo>
                  <a:lnTo>
                    <a:pt x="683262" y="621567"/>
                  </a:lnTo>
                  <a:lnTo>
                    <a:pt x="709828" y="571975"/>
                  </a:lnTo>
                  <a:lnTo>
                    <a:pt x="748105" y="551214"/>
                  </a:lnTo>
                  <a:lnTo>
                    <a:pt x="779591" y="488929"/>
                  </a:lnTo>
                  <a:lnTo>
                    <a:pt x="818359" y="475449"/>
                  </a:lnTo>
                  <a:lnTo>
                    <a:pt x="811964" y="454196"/>
                  </a:lnTo>
                  <a:lnTo>
                    <a:pt x="855651" y="412574"/>
                  </a:lnTo>
                  <a:lnTo>
                    <a:pt x="847681" y="360916"/>
                  </a:lnTo>
                  <a:lnTo>
                    <a:pt x="898158" y="334644"/>
                  </a:lnTo>
                  <a:lnTo>
                    <a:pt x="892943" y="313194"/>
                  </a:lnTo>
                  <a:lnTo>
                    <a:pt x="817277" y="270884"/>
                  </a:lnTo>
                  <a:lnTo>
                    <a:pt x="830856" y="211846"/>
                  </a:lnTo>
                  <a:lnTo>
                    <a:pt x="805174" y="177211"/>
                  </a:lnTo>
                  <a:lnTo>
                    <a:pt x="834988" y="156646"/>
                  </a:lnTo>
                  <a:lnTo>
                    <a:pt x="923249" y="182426"/>
                  </a:lnTo>
                  <a:lnTo>
                    <a:pt x="992028" y="165502"/>
                  </a:lnTo>
                  <a:lnTo>
                    <a:pt x="1002065" y="134507"/>
                  </a:lnTo>
                  <a:lnTo>
                    <a:pt x="1061102" y="104398"/>
                  </a:lnTo>
                  <a:lnTo>
                    <a:pt x="938107" y="71632"/>
                  </a:lnTo>
                  <a:lnTo>
                    <a:pt x="931908" y="28830"/>
                  </a:lnTo>
                  <a:lnTo>
                    <a:pt x="904357" y="19581"/>
                  </a:lnTo>
                  <a:lnTo>
                    <a:pt x="898257" y="5412"/>
                  </a:lnTo>
                  <a:lnTo>
                    <a:pt x="849846" y="0"/>
                  </a:lnTo>
                  <a:lnTo>
                    <a:pt x="721636" y="19384"/>
                  </a:lnTo>
                  <a:lnTo>
                    <a:pt x="640459" y="73501"/>
                  </a:lnTo>
                  <a:lnTo>
                    <a:pt x="657384" y="86687"/>
                  </a:lnTo>
                  <a:lnTo>
                    <a:pt x="665944" y="132146"/>
                  </a:lnTo>
                  <a:lnTo>
                    <a:pt x="627865" y="171701"/>
                  </a:lnTo>
                  <a:lnTo>
                    <a:pt x="634752" y="193938"/>
                  </a:lnTo>
                  <a:lnTo>
                    <a:pt x="625405" y="215979"/>
                  </a:lnTo>
                  <a:lnTo>
                    <a:pt x="560463" y="206139"/>
                  </a:lnTo>
                  <a:lnTo>
                    <a:pt x="562923" y="224835"/>
                  </a:lnTo>
                  <a:lnTo>
                    <a:pt x="585358" y="255534"/>
                  </a:lnTo>
                  <a:lnTo>
                    <a:pt x="572861" y="274426"/>
                  </a:lnTo>
                  <a:lnTo>
                    <a:pt x="539308" y="274426"/>
                  </a:lnTo>
                  <a:lnTo>
                    <a:pt x="518055" y="319885"/>
                  </a:lnTo>
                  <a:lnTo>
                    <a:pt x="526812" y="357079"/>
                  </a:lnTo>
                  <a:lnTo>
                    <a:pt x="500343" y="373708"/>
                  </a:lnTo>
                  <a:lnTo>
                    <a:pt x="475843" y="357079"/>
                  </a:lnTo>
                  <a:lnTo>
                    <a:pt x="418872" y="374298"/>
                  </a:lnTo>
                  <a:lnTo>
                    <a:pt x="418872" y="398602"/>
                  </a:lnTo>
                  <a:lnTo>
                    <a:pt x="352651" y="407457"/>
                  </a:lnTo>
                  <a:lnTo>
                    <a:pt x="332382" y="496506"/>
                  </a:lnTo>
                  <a:lnTo>
                    <a:pt x="104890" y="533601"/>
                  </a:lnTo>
                  <a:lnTo>
                    <a:pt x="0" y="495227"/>
                  </a:lnTo>
                  <a:lnTo>
                    <a:pt x="57365" y="579257"/>
                  </a:lnTo>
                  <a:lnTo>
                    <a:pt x="114730" y="602675"/>
                  </a:lnTo>
                  <a:lnTo>
                    <a:pt x="117190" y="668305"/>
                  </a:lnTo>
                  <a:lnTo>
                    <a:pt x="150054" y="677358"/>
                  </a:lnTo>
                  <a:lnTo>
                    <a:pt x="142576" y="715142"/>
                  </a:lnTo>
                  <a:lnTo>
                    <a:pt x="92591" y="715142"/>
                  </a:lnTo>
                  <a:lnTo>
                    <a:pt x="57365" y="744956"/>
                  </a:lnTo>
                  <a:lnTo>
                    <a:pt x="47525" y="794056"/>
                  </a:lnTo>
                  <a:cubicBezTo>
                    <a:pt x="50084" y="794153"/>
                    <a:pt x="52150" y="795138"/>
                    <a:pt x="51658" y="795039"/>
                  </a:cubicBezTo>
                  <a:cubicBezTo>
                    <a:pt x="56971" y="796810"/>
                    <a:pt x="57463" y="803698"/>
                    <a:pt x="57070" y="802714"/>
                  </a:cubicBezTo>
                  <a:cubicBezTo>
                    <a:pt x="57267" y="815112"/>
                    <a:pt x="83637" y="791300"/>
                    <a:pt x="99970" y="792088"/>
                  </a:cubicBezTo>
                  <a:cubicBezTo>
                    <a:pt x="161074" y="794842"/>
                    <a:pt x="162550" y="796515"/>
                    <a:pt x="166683" y="790316"/>
                  </a:cubicBezTo>
                  <a:cubicBezTo>
                    <a:pt x="167667" y="789332"/>
                    <a:pt x="170225" y="782346"/>
                    <a:pt x="177310" y="783133"/>
                  </a:cubicBezTo>
                  <a:cubicBezTo>
                    <a:pt x="183607" y="783133"/>
                    <a:pt x="195710" y="787463"/>
                    <a:pt x="195710" y="780673"/>
                  </a:cubicBezTo>
                  <a:cubicBezTo>
                    <a:pt x="195710" y="774671"/>
                    <a:pt x="208009" y="776738"/>
                    <a:pt x="207025" y="776836"/>
                  </a:cubicBezTo>
                  <a:cubicBezTo>
                    <a:pt x="213618" y="777230"/>
                    <a:pt x="207419" y="784216"/>
                    <a:pt x="207812" y="783232"/>
                  </a:cubicBezTo>
                  <a:cubicBezTo>
                    <a:pt x="202007" y="790513"/>
                    <a:pt x="219030" y="790021"/>
                    <a:pt x="230935" y="793957"/>
                  </a:cubicBezTo>
                  <a:cubicBezTo>
                    <a:pt x="238807" y="795827"/>
                    <a:pt x="236741" y="787463"/>
                    <a:pt x="245006" y="786872"/>
                  </a:cubicBezTo>
                  <a:cubicBezTo>
                    <a:pt x="358948" y="778607"/>
                    <a:pt x="341828" y="781559"/>
                    <a:pt x="337793" y="775557"/>
                  </a:cubicBezTo>
                  <a:cubicBezTo>
                    <a:pt x="331201" y="771031"/>
                    <a:pt x="345763" y="765323"/>
                    <a:pt x="350290" y="771522"/>
                  </a:cubicBezTo>
                  <a:cubicBezTo>
                    <a:pt x="361900" y="787561"/>
                    <a:pt x="366427" y="791891"/>
                    <a:pt x="365541" y="799172"/>
                  </a:cubicBezTo>
                  <a:cubicBezTo>
                    <a:pt x="365541" y="805765"/>
                    <a:pt x="360424" y="817178"/>
                    <a:pt x="368690" y="819048"/>
                  </a:cubicBezTo>
                  <a:cubicBezTo>
                    <a:pt x="386302" y="823180"/>
                    <a:pt x="391911" y="823377"/>
                    <a:pt x="394076" y="829970"/>
                  </a:cubicBezTo>
                  <a:cubicBezTo>
                    <a:pt x="404998" y="863129"/>
                    <a:pt x="404899" y="868344"/>
                    <a:pt x="412181" y="867262"/>
                  </a:cubicBezTo>
                  <a:cubicBezTo>
                    <a:pt x="414936" y="867262"/>
                    <a:pt x="428416" y="863326"/>
                    <a:pt x="422709" y="869033"/>
                  </a:cubicBezTo>
                  <a:cubicBezTo>
                    <a:pt x="421430" y="871001"/>
                    <a:pt x="411394" y="877298"/>
                    <a:pt x="418380" y="880840"/>
                  </a:cubicBezTo>
                  <a:cubicBezTo>
                    <a:pt x="420446" y="881431"/>
                    <a:pt x="427727" y="887827"/>
                    <a:pt x="432844" y="882218"/>
                  </a:cubicBezTo>
                  <a:cubicBezTo>
                    <a:pt x="434615" y="880742"/>
                    <a:pt x="442093" y="869820"/>
                    <a:pt x="441896" y="877692"/>
                  </a:cubicBezTo>
                  <a:cubicBezTo>
                    <a:pt x="442290" y="880348"/>
                    <a:pt x="439633" y="889992"/>
                    <a:pt x="446816" y="893042"/>
                  </a:cubicBezTo>
                  <a:cubicBezTo>
                    <a:pt x="452720" y="894714"/>
                    <a:pt x="461477" y="902291"/>
                    <a:pt x="466692" y="895698"/>
                  </a:cubicBezTo>
                  <a:cubicBezTo>
                    <a:pt x="467676" y="894813"/>
                    <a:pt x="470825" y="888515"/>
                    <a:pt x="478008" y="888122"/>
                  </a:cubicBezTo>
                  <a:lnTo>
                    <a:pt x="479188" y="888122"/>
                  </a:lnTo>
                  <a:cubicBezTo>
                    <a:pt x="479188" y="888122"/>
                    <a:pt x="479188" y="888122"/>
                    <a:pt x="479188" y="888122"/>
                  </a:cubicBezTo>
                  <a:lnTo>
                    <a:pt x="479188" y="888122"/>
                  </a:lnTo>
                  <a:lnTo>
                    <a:pt x="479188" y="860669"/>
                  </a:lnTo>
                  <a:close/>
                </a:path>
              </a:pathLst>
            </a:custGeom>
            <a:grpFill/>
            <a:ln w="9835" cap="flat">
              <a:noFill/>
              <a:prstDash val="solid"/>
              <a:miter/>
            </a:ln>
          </p:spPr>
          <p:txBody>
            <a:bodyPr rtlCol="0" anchor="ctr"/>
            <a:lstStyle/>
            <a:p>
              <a:endParaRPr lang="en-IN"/>
            </a:p>
          </p:txBody>
        </p:sp>
        <p:grpSp>
          <p:nvGrpSpPr>
            <p:cNvPr id="483" name="Graphic 470">
              <a:extLst>
                <a:ext uri="{FF2B5EF4-FFF2-40B4-BE49-F238E27FC236}">
                  <a16:creationId xmlns:a16="http://schemas.microsoft.com/office/drawing/2014/main" id="{8FB771A6-5E98-660B-4B00-442A1BB0169A}"/>
                </a:ext>
              </a:extLst>
            </p:cNvPr>
            <p:cNvGrpSpPr/>
            <p:nvPr/>
          </p:nvGrpSpPr>
          <p:grpSpPr>
            <a:xfrm>
              <a:off x="8259366" y="4515139"/>
              <a:ext cx="496410" cy="637717"/>
              <a:chOff x="8259366" y="4515139"/>
              <a:chExt cx="496410" cy="637717"/>
            </a:xfrm>
            <a:grpFill/>
          </p:grpSpPr>
          <p:sp>
            <p:nvSpPr>
              <p:cNvPr id="703" name="Freeform: Shape 702">
                <a:extLst>
                  <a:ext uri="{FF2B5EF4-FFF2-40B4-BE49-F238E27FC236}">
                    <a16:creationId xmlns:a16="http://schemas.microsoft.com/office/drawing/2014/main" id="{ECFE664D-A5EC-5859-51E7-7071C982F61D}"/>
                  </a:ext>
                </a:extLst>
              </p:cNvPr>
              <p:cNvSpPr/>
              <p:nvPr/>
            </p:nvSpPr>
            <p:spPr>
              <a:xfrm>
                <a:off x="8516474" y="4515139"/>
                <a:ext cx="33795" cy="65839"/>
              </a:xfrm>
              <a:custGeom>
                <a:avLst/>
                <a:gdLst>
                  <a:gd name="connsiteX0" fmla="*/ 25091 w 33795"/>
                  <a:gd name="connsiteY0" fmla="*/ 35140 h 65839"/>
                  <a:gd name="connsiteX1" fmla="*/ 30995 w 33795"/>
                  <a:gd name="connsiteY1" fmla="*/ 4244 h 65839"/>
                  <a:gd name="connsiteX2" fmla="*/ 19482 w 33795"/>
                  <a:gd name="connsiteY2" fmla="*/ 2571 h 65839"/>
                  <a:gd name="connsiteX3" fmla="*/ 0 w 33795"/>
                  <a:gd name="connsiteY3" fmla="*/ 34845 h 65839"/>
                  <a:gd name="connsiteX4" fmla="*/ 0 w 33795"/>
                  <a:gd name="connsiteY4" fmla="*/ 34845 h 65839"/>
                  <a:gd name="connsiteX5" fmla="*/ 25386 w 33795"/>
                  <a:gd name="connsiteY5" fmla="*/ 65840 h 65839"/>
                  <a:gd name="connsiteX6" fmla="*/ 25091 w 33795"/>
                  <a:gd name="connsiteY6" fmla="*/ 35140 h 6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95" h="65839">
                    <a:moveTo>
                      <a:pt x="25091" y="35140"/>
                    </a:moveTo>
                    <a:cubicBezTo>
                      <a:pt x="33356" y="13001"/>
                      <a:pt x="36603" y="8475"/>
                      <a:pt x="30995" y="4244"/>
                    </a:cubicBezTo>
                    <a:cubicBezTo>
                      <a:pt x="29715" y="3653"/>
                      <a:pt x="23320" y="-3825"/>
                      <a:pt x="19482" y="2571"/>
                    </a:cubicBezTo>
                    <a:cubicBezTo>
                      <a:pt x="8560" y="21168"/>
                      <a:pt x="4133" y="29532"/>
                      <a:pt x="0" y="34845"/>
                    </a:cubicBezTo>
                    <a:lnTo>
                      <a:pt x="0" y="34845"/>
                    </a:lnTo>
                    <a:lnTo>
                      <a:pt x="25386" y="65840"/>
                    </a:lnTo>
                    <a:cubicBezTo>
                      <a:pt x="23221" y="43504"/>
                      <a:pt x="23123" y="40453"/>
                      <a:pt x="25091" y="35140"/>
                    </a:cubicBezTo>
                    <a:close/>
                  </a:path>
                </a:pathLst>
              </a:custGeom>
              <a:grpFill/>
              <a:ln w="9835" cap="flat">
                <a:noFill/>
                <a:prstDash val="solid"/>
                <a:miter/>
              </a:ln>
            </p:spPr>
            <p:txBody>
              <a:bodyPr rtlCol="0" anchor="ctr"/>
              <a:lstStyle/>
              <a:p>
                <a:endParaRPr lang="en-IN"/>
              </a:p>
            </p:txBody>
          </p:sp>
          <p:grpSp>
            <p:nvGrpSpPr>
              <p:cNvPr id="704" name="Graphic 470">
                <a:extLst>
                  <a:ext uri="{FF2B5EF4-FFF2-40B4-BE49-F238E27FC236}">
                    <a16:creationId xmlns:a16="http://schemas.microsoft.com/office/drawing/2014/main" id="{353E4BCE-542F-8327-668C-B7A55E3364D5}"/>
                  </a:ext>
                </a:extLst>
              </p:cNvPr>
              <p:cNvGrpSpPr/>
              <p:nvPr/>
            </p:nvGrpSpPr>
            <p:grpSpPr>
              <a:xfrm>
                <a:off x="8259366" y="4615811"/>
                <a:ext cx="496410" cy="537045"/>
                <a:chOff x="8259366" y="4615811"/>
                <a:chExt cx="496410" cy="537045"/>
              </a:xfrm>
              <a:grpFill/>
            </p:grpSpPr>
            <p:sp>
              <p:nvSpPr>
                <p:cNvPr id="705" name="Freeform: Shape 704">
                  <a:extLst>
                    <a:ext uri="{FF2B5EF4-FFF2-40B4-BE49-F238E27FC236}">
                      <a16:creationId xmlns:a16="http://schemas.microsoft.com/office/drawing/2014/main" id="{952F7C09-622C-F4F0-FF43-503758439E1A}"/>
                    </a:ext>
                  </a:extLst>
                </p:cNvPr>
                <p:cNvSpPr/>
                <p:nvPr/>
              </p:nvSpPr>
              <p:spPr>
                <a:xfrm>
                  <a:off x="8682443" y="4886341"/>
                  <a:ext cx="20661" cy="37303"/>
                </a:xfrm>
                <a:custGeom>
                  <a:avLst/>
                  <a:gdLst>
                    <a:gd name="connsiteX0" fmla="*/ 15572 w 20661"/>
                    <a:gd name="connsiteY0" fmla="*/ 1634 h 37303"/>
                    <a:gd name="connsiteX1" fmla="*/ 25 w 20661"/>
                    <a:gd name="connsiteY1" fmla="*/ 26036 h 37303"/>
                    <a:gd name="connsiteX2" fmla="*/ 4748 w 20661"/>
                    <a:gd name="connsiteY2" fmla="*/ 35777 h 37303"/>
                    <a:gd name="connsiteX3" fmla="*/ 7996 w 20661"/>
                    <a:gd name="connsiteY3" fmla="*/ 32136 h 37303"/>
                    <a:gd name="connsiteX4" fmla="*/ 16753 w 20661"/>
                    <a:gd name="connsiteY4" fmla="*/ 16688 h 37303"/>
                    <a:gd name="connsiteX5" fmla="*/ 17146 w 20661"/>
                    <a:gd name="connsiteY5" fmla="*/ 16393 h 37303"/>
                    <a:gd name="connsiteX6" fmla="*/ 15572 w 20661"/>
                    <a:gd name="connsiteY6" fmla="*/ 1634 h 3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61" h="37303">
                      <a:moveTo>
                        <a:pt x="15572" y="1634"/>
                      </a:moveTo>
                      <a:cubicBezTo>
                        <a:pt x="12817" y="6652"/>
                        <a:pt x="-663" y="17377"/>
                        <a:pt x="25" y="26036"/>
                      </a:cubicBezTo>
                      <a:cubicBezTo>
                        <a:pt x="517" y="28299"/>
                        <a:pt x="-467" y="41779"/>
                        <a:pt x="4748" y="35777"/>
                      </a:cubicBezTo>
                      <a:lnTo>
                        <a:pt x="7996" y="32136"/>
                      </a:lnTo>
                      <a:cubicBezTo>
                        <a:pt x="13407" y="25937"/>
                        <a:pt x="9963" y="20919"/>
                        <a:pt x="16753" y="16688"/>
                      </a:cubicBezTo>
                      <a:lnTo>
                        <a:pt x="17146" y="16393"/>
                      </a:lnTo>
                      <a:cubicBezTo>
                        <a:pt x="24034" y="12064"/>
                        <a:pt x="19311" y="-5353"/>
                        <a:pt x="15572" y="1634"/>
                      </a:cubicBezTo>
                      <a:close/>
                    </a:path>
                  </a:pathLst>
                </a:custGeom>
                <a:grpFill/>
                <a:ln w="9835" cap="flat">
                  <a:noFill/>
                  <a:prstDash val="solid"/>
                  <a:miter/>
                </a:ln>
              </p:spPr>
              <p:txBody>
                <a:bodyPr rtlCol="0" anchor="ctr"/>
                <a:lstStyle/>
                <a:p>
                  <a:endParaRPr lang="en-IN"/>
                </a:p>
              </p:txBody>
            </p:sp>
            <p:sp>
              <p:nvSpPr>
                <p:cNvPr id="706" name="Freeform: Shape 705">
                  <a:extLst>
                    <a:ext uri="{FF2B5EF4-FFF2-40B4-BE49-F238E27FC236}">
                      <a16:creationId xmlns:a16="http://schemas.microsoft.com/office/drawing/2014/main" id="{A36394AF-175D-A814-1E4F-05F473450428}"/>
                    </a:ext>
                  </a:extLst>
                </p:cNvPr>
                <p:cNvSpPr/>
                <p:nvPr/>
              </p:nvSpPr>
              <p:spPr>
                <a:xfrm>
                  <a:off x="8259366" y="4615811"/>
                  <a:ext cx="496410" cy="537045"/>
                </a:xfrm>
                <a:custGeom>
                  <a:avLst/>
                  <a:gdLst>
                    <a:gd name="connsiteX0" fmla="*/ 130375 w 496410"/>
                    <a:gd name="connsiteY0" fmla="*/ 519433 h 537045"/>
                    <a:gd name="connsiteX1" fmla="*/ 147692 w 496410"/>
                    <a:gd name="connsiteY1" fmla="*/ 510774 h 537045"/>
                    <a:gd name="connsiteX2" fmla="*/ 181147 w 496410"/>
                    <a:gd name="connsiteY2" fmla="*/ 512249 h 537045"/>
                    <a:gd name="connsiteX3" fmla="*/ 207714 w 496410"/>
                    <a:gd name="connsiteY3" fmla="*/ 504378 h 537045"/>
                    <a:gd name="connsiteX4" fmla="*/ 215389 w 496410"/>
                    <a:gd name="connsiteY4" fmla="*/ 491783 h 537045"/>
                    <a:gd name="connsiteX5" fmla="*/ 213913 w 496410"/>
                    <a:gd name="connsiteY5" fmla="*/ 483321 h 537045"/>
                    <a:gd name="connsiteX6" fmla="*/ 212831 w 496410"/>
                    <a:gd name="connsiteY6" fmla="*/ 475056 h 537045"/>
                    <a:gd name="connsiteX7" fmla="*/ 231821 w 496410"/>
                    <a:gd name="connsiteY7" fmla="*/ 454589 h 537045"/>
                    <a:gd name="connsiteX8" fmla="*/ 274820 w 496410"/>
                    <a:gd name="connsiteY8" fmla="*/ 450653 h 537045"/>
                    <a:gd name="connsiteX9" fmla="*/ 292728 w 496410"/>
                    <a:gd name="connsiteY9" fmla="*/ 435894 h 537045"/>
                    <a:gd name="connsiteX10" fmla="*/ 299320 w 496410"/>
                    <a:gd name="connsiteY10" fmla="*/ 411394 h 537045"/>
                    <a:gd name="connsiteX11" fmla="*/ 310046 w 496410"/>
                    <a:gd name="connsiteY11" fmla="*/ 397224 h 537045"/>
                    <a:gd name="connsiteX12" fmla="*/ 367214 w 496410"/>
                    <a:gd name="connsiteY12" fmla="*/ 383548 h 537045"/>
                    <a:gd name="connsiteX13" fmla="*/ 371838 w 496410"/>
                    <a:gd name="connsiteY13" fmla="*/ 376955 h 537045"/>
                    <a:gd name="connsiteX14" fmla="*/ 367115 w 496410"/>
                    <a:gd name="connsiteY14" fmla="*/ 327658 h 537045"/>
                    <a:gd name="connsiteX15" fmla="*/ 372527 w 496410"/>
                    <a:gd name="connsiteY15" fmla="*/ 316245 h 537045"/>
                    <a:gd name="connsiteX16" fmla="*/ 374889 w 496410"/>
                    <a:gd name="connsiteY16" fmla="*/ 303256 h 537045"/>
                    <a:gd name="connsiteX17" fmla="*/ 382170 w 496410"/>
                    <a:gd name="connsiteY17" fmla="*/ 292630 h 537045"/>
                    <a:gd name="connsiteX18" fmla="*/ 388762 w 496410"/>
                    <a:gd name="connsiteY18" fmla="*/ 280920 h 537045"/>
                    <a:gd name="connsiteX19" fmla="*/ 397716 w 496410"/>
                    <a:gd name="connsiteY19" fmla="*/ 273836 h 537045"/>
                    <a:gd name="connsiteX20" fmla="*/ 403423 w 496410"/>
                    <a:gd name="connsiteY20" fmla="*/ 290957 h 537045"/>
                    <a:gd name="connsiteX21" fmla="*/ 408638 w 496410"/>
                    <a:gd name="connsiteY21" fmla="*/ 290957 h 537045"/>
                    <a:gd name="connsiteX22" fmla="*/ 438944 w 496410"/>
                    <a:gd name="connsiteY22" fmla="*/ 244809 h 537045"/>
                    <a:gd name="connsiteX23" fmla="*/ 468365 w 496410"/>
                    <a:gd name="connsiteY23" fmla="*/ 216668 h 537045"/>
                    <a:gd name="connsiteX24" fmla="*/ 496309 w 496410"/>
                    <a:gd name="connsiteY24" fmla="*/ 163633 h 537045"/>
                    <a:gd name="connsiteX25" fmla="*/ 490799 w 496410"/>
                    <a:gd name="connsiteY25" fmla="*/ 148578 h 537045"/>
                    <a:gd name="connsiteX26" fmla="*/ 472596 w 496410"/>
                    <a:gd name="connsiteY26" fmla="*/ 141493 h 537045"/>
                    <a:gd name="connsiteX27" fmla="*/ 400078 w 496410"/>
                    <a:gd name="connsiteY27" fmla="*/ 76749 h 537045"/>
                    <a:gd name="connsiteX28" fmla="*/ 329922 w 496410"/>
                    <a:gd name="connsiteY28" fmla="*/ 54413 h 537045"/>
                    <a:gd name="connsiteX29" fmla="*/ 286332 w 496410"/>
                    <a:gd name="connsiteY29" fmla="*/ 0 h 537045"/>
                    <a:gd name="connsiteX30" fmla="*/ 265866 w 496410"/>
                    <a:gd name="connsiteY30" fmla="*/ 13579 h 537045"/>
                    <a:gd name="connsiteX31" fmla="*/ 259569 w 496410"/>
                    <a:gd name="connsiteY31" fmla="*/ 2264 h 537045"/>
                    <a:gd name="connsiteX32" fmla="*/ 245695 w 496410"/>
                    <a:gd name="connsiteY32" fmla="*/ 2558 h 537045"/>
                    <a:gd name="connsiteX33" fmla="*/ 245006 w 496410"/>
                    <a:gd name="connsiteY33" fmla="*/ 45754 h 537045"/>
                    <a:gd name="connsiteX34" fmla="*/ 255534 w 496410"/>
                    <a:gd name="connsiteY34" fmla="*/ 47427 h 537045"/>
                    <a:gd name="connsiteX35" fmla="*/ 261044 w 496410"/>
                    <a:gd name="connsiteY35" fmla="*/ 61497 h 537045"/>
                    <a:gd name="connsiteX36" fmla="*/ 233002 w 496410"/>
                    <a:gd name="connsiteY36" fmla="*/ 67992 h 537045"/>
                    <a:gd name="connsiteX37" fmla="*/ 207222 w 496410"/>
                    <a:gd name="connsiteY37" fmla="*/ 150152 h 537045"/>
                    <a:gd name="connsiteX38" fmla="*/ 236741 w 496410"/>
                    <a:gd name="connsiteY38" fmla="*/ 196202 h 537045"/>
                    <a:gd name="connsiteX39" fmla="*/ 195414 w 496410"/>
                    <a:gd name="connsiteY39" fmla="*/ 324904 h 537045"/>
                    <a:gd name="connsiteX40" fmla="*/ 0 w 496410"/>
                    <a:gd name="connsiteY40" fmla="*/ 392207 h 537045"/>
                    <a:gd name="connsiteX41" fmla="*/ 75667 w 496410"/>
                    <a:gd name="connsiteY41" fmla="*/ 537045 h 537045"/>
                    <a:gd name="connsiteX42" fmla="*/ 117386 w 496410"/>
                    <a:gd name="connsiteY42" fmla="*/ 522384 h 537045"/>
                    <a:gd name="connsiteX43" fmla="*/ 130276 w 496410"/>
                    <a:gd name="connsiteY43" fmla="*/ 519236 h 5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6410" h="537045">
                      <a:moveTo>
                        <a:pt x="130375" y="519433"/>
                      </a:moveTo>
                      <a:cubicBezTo>
                        <a:pt x="138738" y="519728"/>
                        <a:pt x="139230" y="511167"/>
                        <a:pt x="147692" y="510774"/>
                      </a:cubicBezTo>
                      <a:cubicBezTo>
                        <a:pt x="171799" y="509495"/>
                        <a:pt x="176818" y="508314"/>
                        <a:pt x="181147" y="512249"/>
                      </a:cubicBezTo>
                      <a:cubicBezTo>
                        <a:pt x="186460" y="517071"/>
                        <a:pt x="203876" y="510675"/>
                        <a:pt x="207714" y="504378"/>
                      </a:cubicBezTo>
                      <a:lnTo>
                        <a:pt x="215389" y="491783"/>
                      </a:lnTo>
                      <a:cubicBezTo>
                        <a:pt x="218242" y="487060"/>
                        <a:pt x="213421" y="482337"/>
                        <a:pt x="213913" y="483321"/>
                      </a:cubicBezTo>
                      <a:cubicBezTo>
                        <a:pt x="211551" y="481353"/>
                        <a:pt x="211059" y="477614"/>
                        <a:pt x="212831" y="475056"/>
                      </a:cubicBezTo>
                      <a:cubicBezTo>
                        <a:pt x="220702" y="463445"/>
                        <a:pt x="224244" y="455278"/>
                        <a:pt x="231821" y="454589"/>
                      </a:cubicBezTo>
                      <a:lnTo>
                        <a:pt x="274820" y="450653"/>
                      </a:lnTo>
                      <a:cubicBezTo>
                        <a:pt x="283577" y="449867"/>
                        <a:pt x="293614" y="434910"/>
                        <a:pt x="292728" y="435894"/>
                      </a:cubicBezTo>
                      <a:cubicBezTo>
                        <a:pt x="298435" y="429302"/>
                        <a:pt x="299419" y="410410"/>
                        <a:pt x="299320" y="411394"/>
                      </a:cubicBezTo>
                      <a:cubicBezTo>
                        <a:pt x="300403" y="403719"/>
                        <a:pt x="310931" y="396241"/>
                        <a:pt x="310046" y="397224"/>
                      </a:cubicBezTo>
                      <a:cubicBezTo>
                        <a:pt x="317229" y="390928"/>
                        <a:pt x="368198" y="383351"/>
                        <a:pt x="367214" y="383548"/>
                      </a:cubicBezTo>
                      <a:cubicBezTo>
                        <a:pt x="370264" y="382958"/>
                        <a:pt x="372330" y="380005"/>
                        <a:pt x="371838" y="376955"/>
                      </a:cubicBezTo>
                      <a:cubicBezTo>
                        <a:pt x="366033" y="340844"/>
                        <a:pt x="363770" y="334645"/>
                        <a:pt x="367115" y="327658"/>
                      </a:cubicBezTo>
                      <a:lnTo>
                        <a:pt x="372527" y="316245"/>
                      </a:lnTo>
                      <a:cubicBezTo>
                        <a:pt x="375282" y="310439"/>
                        <a:pt x="374987" y="302273"/>
                        <a:pt x="374889" y="303256"/>
                      </a:cubicBezTo>
                      <a:cubicBezTo>
                        <a:pt x="374889" y="296566"/>
                        <a:pt x="383154" y="291646"/>
                        <a:pt x="382170" y="292630"/>
                      </a:cubicBezTo>
                      <a:cubicBezTo>
                        <a:pt x="387680" y="288793"/>
                        <a:pt x="389156" y="279937"/>
                        <a:pt x="388762" y="280920"/>
                      </a:cubicBezTo>
                      <a:cubicBezTo>
                        <a:pt x="390238" y="274623"/>
                        <a:pt x="398700" y="273344"/>
                        <a:pt x="397716" y="273836"/>
                      </a:cubicBezTo>
                      <a:cubicBezTo>
                        <a:pt x="408835" y="271376"/>
                        <a:pt x="392108" y="291252"/>
                        <a:pt x="403423" y="290957"/>
                      </a:cubicBezTo>
                      <a:lnTo>
                        <a:pt x="408638" y="290957"/>
                      </a:lnTo>
                      <a:cubicBezTo>
                        <a:pt x="421331" y="290465"/>
                        <a:pt x="425661" y="256420"/>
                        <a:pt x="438944" y="244809"/>
                      </a:cubicBezTo>
                      <a:cubicBezTo>
                        <a:pt x="460788" y="225622"/>
                        <a:pt x="464626" y="222966"/>
                        <a:pt x="468365" y="216668"/>
                      </a:cubicBezTo>
                      <a:cubicBezTo>
                        <a:pt x="493948" y="173079"/>
                        <a:pt x="496309" y="171209"/>
                        <a:pt x="496309" y="163633"/>
                      </a:cubicBezTo>
                      <a:cubicBezTo>
                        <a:pt x="495719" y="159992"/>
                        <a:pt x="498769" y="149955"/>
                        <a:pt x="490799" y="148578"/>
                      </a:cubicBezTo>
                      <a:cubicBezTo>
                        <a:pt x="486371" y="147299"/>
                        <a:pt x="477516" y="147889"/>
                        <a:pt x="472596" y="141493"/>
                      </a:cubicBezTo>
                      <a:cubicBezTo>
                        <a:pt x="394076" y="39555"/>
                        <a:pt x="435008" y="90918"/>
                        <a:pt x="400078" y="76749"/>
                      </a:cubicBezTo>
                      <a:cubicBezTo>
                        <a:pt x="372035" y="65335"/>
                        <a:pt x="337498" y="63663"/>
                        <a:pt x="329922" y="54413"/>
                      </a:cubicBezTo>
                      <a:cubicBezTo>
                        <a:pt x="296467" y="13874"/>
                        <a:pt x="288497" y="5707"/>
                        <a:pt x="286332" y="0"/>
                      </a:cubicBezTo>
                      <a:lnTo>
                        <a:pt x="265866" y="13579"/>
                      </a:lnTo>
                      <a:lnTo>
                        <a:pt x="259569" y="2264"/>
                      </a:lnTo>
                      <a:lnTo>
                        <a:pt x="245695" y="2558"/>
                      </a:lnTo>
                      <a:lnTo>
                        <a:pt x="245006" y="45754"/>
                      </a:lnTo>
                      <a:lnTo>
                        <a:pt x="255534" y="47427"/>
                      </a:lnTo>
                      <a:lnTo>
                        <a:pt x="261044" y="61497"/>
                      </a:lnTo>
                      <a:lnTo>
                        <a:pt x="233002" y="67992"/>
                      </a:lnTo>
                      <a:lnTo>
                        <a:pt x="207222" y="150152"/>
                      </a:lnTo>
                      <a:lnTo>
                        <a:pt x="236741" y="196202"/>
                      </a:lnTo>
                      <a:lnTo>
                        <a:pt x="195414" y="324904"/>
                      </a:lnTo>
                      <a:lnTo>
                        <a:pt x="0" y="392207"/>
                      </a:lnTo>
                      <a:lnTo>
                        <a:pt x="75667" y="537045"/>
                      </a:lnTo>
                      <a:cubicBezTo>
                        <a:pt x="112565" y="526320"/>
                        <a:pt x="113352" y="526222"/>
                        <a:pt x="117386" y="522384"/>
                      </a:cubicBezTo>
                      <a:cubicBezTo>
                        <a:pt x="121913" y="518055"/>
                        <a:pt x="131260" y="519137"/>
                        <a:pt x="130276" y="519236"/>
                      </a:cubicBezTo>
                      <a:close/>
                    </a:path>
                  </a:pathLst>
                </a:custGeom>
                <a:grpFill/>
                <a:ln w="9835" cap="flat">
                  <a:noFill/>
                  <a:prstDash val="solid"/>
                  <a:miter/>
                </a:ln>
              </p:spPr>
              <p:txBody>
                <a:bodyPr rtlCol="0" anchor="ctr"/>
                <a:lstStyle/>
                <a:p>
                  <a:endParaRPr lang="en-IN"/>
                </a:p>
              </p:txBody>
            </p:sp>
          </p:grpSp>
        </p:grpSp>
        <p:sp>
          <p:nvSpPr>
            <p:cNvPr id="484" name="Freeform: Shape 483">
              <a:extLst>
                <a:ext uri="{FF2B5EF4-FFF2-40B4-BE49-F238E27FC236}">
                  <a16:creationId xmlns:a16="http://schemas.microsoft.com/office/drawing/2014/main" id="{86CD089B-489F-A412-B6D2-907B9644F4F3}"/>
                </a:ext>
              </a:extLst>
            </p:cNvPr>
            <p:cNvSpPr/>
            <p:nvPr/>
          </p:nvSpPr>
          <p:spPr>
            <a:xfrm>
              <a:off x="12741400" y="3345520"/>
              <a:ext cx="409819" cy="394776"/>
            </a:xfrm>
            <a:custGeom>
              <a:avLst/>
              <a:gdLst>
                <a:gd name="connsiteX0" fmla="*/ 349896 w 409819"/>
                <a:gd name="connsiteY0" fmla="*/ 98 h 394776"/>
                <a:gd name="connsiteX1" fmla="*/ 339565 w 409819"/>
                <a:gd name="connsiteY1" fmla="*/ 50871 h 394776"/>
                <a:gd name="connsiteX2" fmla="*/ 314178 w 409819"/>
                <a:gd name="connsiteY2" fmla="*/ 50871 h 394776"/>
                <a:gd name="connsiteX3" fmla="*/ 300600 w 409819"/>
                <a:gd name="connsiteY3" fmla="*/ 80389 h 394776"/>
                <a:gd name="connsiteX4" fmla="*/ 245105 w 409819"/>
                <a:gd name="connsiteY4" fmla="*/ 83932 h 394776"/>
                <a:gd name="connsiteX5" fmla="*/ 258191 w 409819"/>
                <a:gd name="connsiteY5" fmla="*/ 125750 h 394776"/>
                <a:gd name="connsiteX6" fmla="*/ 198268 w 409819"/>
                <a:gd name="connsiteY6" fmla="*/ 123290 h 394776"/>
                <a:gd name="connsiteX7" fmla="*/ 178884 w 409819"/>
                <a:gd name="connsiteY7" fmla="*/ 96822 h 394776"/>
                <a:gd name="connsiteX8" fmla="*/ 150546 w 409819"/>
                <a:gd name="connsiteY8" fmla="*/ 107842 h 394776"/>
                <a:gd name="connsiteX9" fmla="*/ 135393 w 409819"/>
                <a:gd name="connsiteY9" fmla="*/ 150251 h 394776"/>
                <a:gd name="connsiteX10" fmla="*/ 0 w 409819"/>
                <a:gd name="connsiteY10" fmla="*/ 238512 h 394776"/>
                <a:gd name="connsiteX11" fmla="*/ 16433 w 409819"/>
                <a:gd name="connsiteY11" fmla="*/ 238905 h 394776"/>
                <a:gd name="connsiteX12" fmla="*/ 32077 w 409819"/>
                <a:gd name="connsiteY12" fmla="*/ 254845 h 394776"/>
                <a:gd name="connsiteX13" fmla="*/ 48116 w 409819"/>
                <a:gd name="connsiteY13" fmla="*/ 248253 h 394776"/>
                <a:gd name="connsiteX14" fmla="*/ 78520 w 409819"/>
                <a:gd name="connsiteY14" fmla="*/ 264980 h 394776"/>
                <a:gd name="connsiteX15" fmla="*/ 80980 w 409819"/>
                <a:gd name="connsiteY15" fmla="*/ 272655 h 394776"/>
                <a:gd name="connsiteX16" fmla="*/ 66221 w 409819"/>
                <a:gd name="connsiteY16" fmla="*/ 302764 h 394776"/>
                <a:gd name="connsiteX17" fmla="*/ 70550 w 409819"/>
                <a:gd name="connsiteY17" fmla="*/ 317917 h 394776"/>
                <a:gd name="connsiteX18" fmla="*/ 41326 w 409819"/>
                <a:gd name="connsiteY18" fmla="*/ 358161 h 394776"/>
                <a:gd name="connsiteX19" fmla="*/ 61497 w 409819"/>
                <a:gd name="connsiteY19" fmla="*/ 363671 h 394776"/>
                <a:gd name="connsiteX20" fmla="*/ 58349 w 409819"/>
                <a:gd name="connsiteY20" fmla="*/ 374495 h 394776"/>
                <a:gd name="connsiteX21" fmla="*/ 74781 w 409819"/>
                <a:gd name="connsiteY21" fmla="*/ 385319 h 394776"/>
                <a:gd name="connsiteX22" fmla="*/ 67106 w 409819"/>
                <a:gd name="connsiteY22" fmla="*/ 394765 h 394776"/>
                <a:gd name="connsiteX23" fmla="*/ 89344 w 409819"/>
                <a:gd name="connsiteY23" fmla="*/ 388762 h 394776"/>
                <a:gd name="connsiteX24" fmla="*/ 93575 w 409819"/>
                <a:gd name="connsiteY24" fmla="*/ 375184 h 394776"/>
                <a:gd name="connsiteX25" fmla="*/ 92787 w 409819"/>
                <a:gd name="connsiteY25" fmla="*/ 373609 h 394776"/>
                <a:gd name="connsiteX26" fmla="*/ 107153 w 409819"/>
                <a:gd name="connsiteY26" fmla="*/ 372625 h 394776"/>
                <a:gd name="connsiteX27" fmla="*/ 120535 w 409819"/>
                <a:gd name="connsiteY27" fmla="*/ 384039 h 394776"/>
                <a:gd name="connsiteX28" fmla="*/ 127915 w 409819"/>
                <a:gd name="connsiteY28" fmla="*/ 388074 h 394776"/>
                <a:gd name="connsiteX29" fmla="*/ 161861 w 409819"/>
                <a:gd name="connsiteY29" fmla="*/ 388074 h 394776"/>
                <a:gd name="connsiteX30" fmla="*/ 185378 w 409819"/>
                <a:gd name="connsiteY30" fmla="*/ 354028 h 394776"/>
                <a:gd name="connsiteX31" fmla="*/ 256715 w 409819"/>
                <a:gd name="connsiteY31" fmla="*/ 351864 h 394776"/>
                <a:gd name="connsiteX32" fmla="*/ 265965 w 409819"/>
                <a:gd name="connsiteY32" fmla="*/ 330807 h 394776"/>
                <a:gd name="connsiteX33" fmla="*/ 257699 w 409819"/>
                <a:gd name="connsiteY33" fmla="*/ 319984 h 394776"/>
                <a:gd name="connsiteX34" fmla="*/ 217455 w 409819"/>
                <a:gd name="connsiteY34" fmla="*/ 292236 h 394776"/>
                <a:gd name="connsiteX35" fmla="*/ 199252 w 409819"/>
                <a:gd name="connsiteY35" fmla="*/ 281904 h 394776"/>
                <a:gd name="connsiteX36" fmla="*/ 198858 w 409819"/>
                <a:gd name="connsiteY36" fmla="*/ 280429 h 394776"/>
                <a:gd name="connsiteX37" fmla="*/ 210076 w 409819"/>
                <a:gd name="connsiteY37" fmla="*/ 262127 h 394776"/>
                <a:gd name="connsiteX38" fmla="*/ 216570 w 409819"/>
                <a:gd name="connsiteY38" fmla="*/ 237823 h 394776"/>
                <a:gd name="connsiteX39" fmla="*/ 278166 w 409819"/>
                <a:gd name="connsiteY39" fmla="*/ 208698 h 394776"/>
                <a:gd name="connsiteX40" fmla="*/ 309161 w 409819"/>
                <a:gd name="connsiteY40" fmla="*/ 186559 h 394776"/>
                <a:gd name="connsiteX41" fmla="*/ 319787 w 409819"/>
                <a:gd name="connsiteY41" fmla="*/ 174358 h 394776"/>
                <a:gd name="connsiteX42" fmla="*/ 347830 w 409819"/>
                <a:gd name="connsiteY42" fmla="*/ 156351 h 394776"/>
                <a:gd name="connsiteX43" fmla="*/ 345961 w 409819"/>
                <a:gd name="connsiteY43" fmla="*/ 123388 h 394776"/>
                <a:gd name="connsiteX44" fmla="*/ 344189 w 409819"/>
                <a:gd name="connsiteY44" fmla="*/ 110302 h 394776"/>
                <a:gd name="connsiteX45" fmla="*/ 394765 w 409819"/>
                <a:gd name="connsiteY45" fmla="*/ 59333 h 394776"/>
                <a:gd name="connsiteX46" fmla="*/ 409819 w 409819"/>
                <a:gd name="connsiteY46" fmla="*/ 54708 h 394776"/>
                <a:gd name="connsiteX47" fmla="*/ 377053 w 409819"/>
                <a:gd name="connsiteY47" fmla="*/ 25681 h 394776"/>
                <a:gd name="connsiteX48" fmla="*/ 377053 w 409819"/>
                <a:gd name="connsiteY48" fmla="*/ 5412 h 394776"/>
                <a:gd name="connsiteX49" fmla="*/ 350093 w 409819"/>
                <a:gd name="connsiteY49" fmla="*/ 0 h 39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9819" h="394776">
                  <a:moveTo>
                    <a:pt x="349896" y="98"/>
                  </a:moveTo>
                  <a:lnTo>
                    <a:pt x="339565" y="50871"/>
                  </a:lnTo>
                  <a:lnTo>
                    <a:pt x="314178" y="50871"/>
                  </a:lnTo>
                  <a:lnTo>
                    <a:pt x="300600" y="80389"/>
                  </a:lnTo>
                  <a:lnTo>
                    <a:pt x="245105" y="83932"/>
                  </a:lnTo>
                  <a:lnTo>
                    <a:pt x="258191" y="125750"/>
                  </a:lnTo>
                  <a:lnTo>
                    <a:pt x="198268" y="123290"/>
                  </a:lnTo>
                  <a:lnTo>
                    <a:pt x="178884" y="96822"/>
                  </a:lnTo>
                  <a:lnTo>
                    <a:pt x="150546" y="107842"/>
                  </a:lnTo>
                  <a:lnTo>
                    <a:pt x="135393" y="150251"/>
                  </a:lnTo>
                  <a:lnTo>
                    <a:pt x="0" y="238512"/>
                  </a:lnTo>
                  <a:cubicBezTo>
                    <a:pt x="4723" y="238708"/>
                    <a:pt x="10135" y="238807"/>
                    <a:pt x="16433" y="238905"/>
                  </a:cubicBezTo>
                  <a:cubicBezTo>
                    <a:pt x="24993" y="239201"/>
                    <a:pt x="27748" y="249335"/>
                    <a:pt x="32077" y="254845"/>
                  </a:cubicBezTo>
                  <a:cubicBezTo>
                    <a:pt x="37784" y="263701"/>
                    <a:pt x="38867" y="243235"/>
                    <a:pt x="48116" y="248253"/>
                  </a:cubicBezTo>
                  <a:lnTo>
                    <a:pt x="78520" y="264980"/>
                  </a:lnTo>
                  <a:cubicBezTo>
                    <a:pt x="81177" y="266456"/>
                    <a:pt x="82259" y="269900"/>
                    <a:pt x="80980" y="272655"/>
                  </a:cubicBezTo>
                  <a:lnTo>
                    <a:pt x="66221" y="302764"/>
                  </a:lnTo>
                  <a:cubicBezTo>
                    <a:pt x="62777" y="309750"/>
                    <a:pt x="69566" y="315753"/>
                    <a:pt x="70550" y="317917"/>
                  </a:cubicBezTo>
                  <a:cubicBezTo>
                    <a:pt x="75962" y="326084"/>
                    <a:pt x="63367" y="331299"/>
                    <a:pt x="41326" y="358161"/>
                  </a:cubicBezTo>
                  <a:cubicBezTo>
                    <a:pt x="35226" y="364852"/>
                    <a:pt x="52445" y="362294"/>
                    <a:pt x="61497" y="363671"/>
                  </a:cubicBezTo>
                  <a:cubicBezTo>
                    <a:pt x="69370" y="364065"/>
                    <a:pt x="59530" y="372330"/>
                    <a:pt x="58349" y="374495"/>
                  </a:cubicBezTo>
                  <a:cubicBezTo>
                    <a:pt x="50674" y="383744"/>
                    <a:pt x="82948" y="376365"/>
                    <a:pt x="74781" y="385319"/>
                  </a:cubicBezTo>
                  <a:cubicBezTo>
                    <a:pt x="74781" y="385319"/>
                    <a:pt x="65827" y="395158"/>
                    <a:pt x="67106" y="394765"/>
                  </a:cubicBezTo>
                  <a:cubicBezTo>
                    <a:pt x="72813" y="392895"/>
                    <a:pt x="83834" y="395945"/>
                    <a:pt x="89344" y="388762"/>
                  </a:cubicBezTo>
                  <a:cubicBezTo>
                    <a:pt x="90033" y="387483"/>
                    <a:pt x="96723" y="381973"/>
                    <a:pt x="93575" y="375184"/>
                  </a:cubicBezTo>
                  <a:lnTo>
                    <a:pt x="92787" y="373609"/>
                  </a:lnTo>
                  <a:cubicBezTo>
                    <a:pt x="89541" y="366820"/>
                    <a:pt x="101939" y="367115"/>
                    <a:pt x="107153" y="372625"/>
                  </a:cubicBezTo>
                  <a:cubicBezTo>
                    <a:pt x="108630" y="374003"/>
                    <a:pt x="114041" y="380694"/>
                    <a:pt x="120535" y="384039"/>
                  </a:cubicBezTo>
                  <a:cubicBezTo>
                    <a:pt x="123192" y="385515"/>
                    <a:pt x="125652" y="386893"/>
                    <a:pt x="127915" y="388074"/>
                  </a:cubicBezTo>
                  <a:lnTo>
                    <a:pt x="161861" y="388074"/>
                  </a:lnTo>
                  <a:lnTo>
                    <a:pt x="185378" y="354028"/>
                  </a:lnTo>
                  <a:lnTo>
                    <a:pt x="256715" y="351864"/>
                  </a:lnTo>
                  <a:lnTo>
                    <a:pt x="265965" y="330807"/>
                  </a:lnTo>
                  <a:cubicBezTo>
                    <a:pt x="263111" y="325396"/>
                    <a:pt x="261045" y="322542"/>
                    <a:pt x="257699" y="319984"/>
                  </a:cubicBezTo>
                  <a:cubicBezTo>
                    <a:pt x="235560" y="304043"/>
                    <a:pt x="226606" y="294991"/>
                    <a:pt x="217455" y="292236"/>
                  </a:cubicBezTo>
                  <a:cubicBezTo>
                    <a:pt x="211650" y="289776"/>
                    <a:pt x="201417" y="289973"/>
                    <a:pt x="199252" y="281904"/>
                  </a:cubicBezTo>
                  <a:lnTo>
                    <a:pt x="198858" y="280429"/>
                  </a:lnTo>
                  <a:cubicBezTo>
                    <a:pt x="196202" y="270687"/>
                    <a:pt x="209387" y="272852"/>
                    <a:pt x="210076" y="262127"/>
                  </a:cubicBezTo>
                  <a:cubicBezTo>
                    <a:pt x="211650" y="252386"/>
                    <a:pt x="208403" y="240972"/>
                    <a:pt x="216570" y="237823"/>
                  </a:cubicBezTo>
                  <a:cubicBezTo>
                    <a:pt x="267047" y="216176"/>
                    <a:pt x="281905" y="216077"/>
                    <a:pt x="278166" y="208698"/>
                  </a:cubicBezTo>
                  <a:cubicBezTo>
                    <a:pt x="273639" y="199645"/>
                    <a:pt x="302469" y="198563"/>
                    <a:pt x="309161" y="186559"/>
                  </a:cubicBezTo>
                  <a:cubicBezTo>
                    <a:pt x="310243" y="184984"/>
                    <a:pt x="312900" y="177506"/>
                    <a:pt x="319787" y="174358"/>
                  </a:cubicBezTo>
                  <a:cubicBezTo>
                    <a:pt x="335137" y="166092"/>
                    <a:pt x="347436" y="165600"/>
                    <a:pt x="347830" y="156351"/>
                  </a:cubicBezTo>
                  <a:cubicBezTo>
                    <a:pt x="347732" y="140608"/>
                    <a:pt x="350782" y="131162"/>
                    <a:pt x="345961" y="123388"/>
                  </a:cubicBezTo>
                  <a:cubicBezTo>
                    <a:pt x="345567" y="122306"/>
                    <a:pt x="339270" y="115812"/>
                    <a:pt x="344189" y="110302"/>
                  </a:cubicBezTo>
                  <a:cubicBezTo>
                    <a:pt x="382465" y="69271"/>
                    <a:pt x="384729" y="59333"/>
                    <a:pt x="394765" y="59333"/>
                  </a:cubicBezTo>
                  <a:cubicBezTo>
                    <a:pt x="396831" y="59038"/>
                    <a:pt x="405588" y="61005"/>
                    <a:pt x="409819" y="54708"/>
                  </a:cubicBezTo>
                  <a:lnTo>
                    <a:pt x="377053" y="25681"/>
                  </a:lnTo>
                  <a:lnTo>
                    <a:pt x="377053" y="5412"/>
                  </a:lnTo>
                  <a:lnTo>
                    <a:pt x="350093" y="0"/>
                  </a:lnTo>
                  <a:close/>
                </a:path>
              </a:pathLst>
            </a:custGeom>
            <a:grpFill/>
            <a:ln w="9835" cap="flat">
              <a:noFill/>
              <a:prstDash val="solid"/>
              <a:miter/>
            </a:ln>
          </p:spPr>
          <p:txBody>
            <a:bodyPr rtlCol="0" anchor="ctr"/>
            <a:lstStyle/>
            <a:p>
              <a:endParaRPr lang="en-IN"/>
            </a:p>
          </p:txBody>
        </p:sp>
        <p:sp>
          <p:nvSpPr>
            <p:cNvPr id="485" name="Freeform: Shape 484">
              <a:extLst>
                <a:ext uri="{FF2B5EF4-FFF2-40B4-BE49-F238E27FC236}">
                  <a16:creationId xmlns:a16="http://schemas.microsoft.com/office/drawing/2014/main" id="{730BD48B-4E35-6A69-B9CE-879CDF7A2CB0}"/>
                </a:ext>
              </a:extLst>
            </p:cNvPr>
            <p:cNvSpPr/>
            <p:nvPr/>
          </p:nvSpPr>
          <p:spPr>
            <a:xfrm>
              <a:off x="10008059" y="4251845"/>
              <a:ext cx="506050" cy="272163"/>
            </a:xfrm>
            <a:custGeom>
              <a:avLst/>
              <a:gdLst>
                <a:gd name="connsiteX0" fmla="*/ 0 w 506050"/>
                <a:gd name="connsiteY0" fmla="*/ 108236 h 272163"/>
                <a:gd name="connsiteX1" fmla="*/ 199055 w 506050"/>
                <a:gd name="connsiteY1" fmla="*/ 206140 h 272163"/>
                <a:gd name="connsiteX2" fmla="*/ 246580 w 506050"/>
                <a:gd name="connsiteY2" fmla="*/ 191675 h 272163"/>
                <a:gd name="connsiteX3" fmla="*/ 287612 w 506050"/>
                <a:gd name="connsiteY3" fmla="*/ 206140 h 272163"/>
                <a:gd name="connsiteX4" fmla="*/ 285742 w 506050"/>
                <a:gd name="connsiteY4" fmla="*/ 227885 h 272163"/>
                <a:gd name="connsiteX5" fmla="*/ 322837 w 506050"/>
                <a:gd name="connsiteY5" fmla="*/ 250910 h 272163"/>
                <a:gd name="connsiteX6" fmla="*/ 350880 w 506050"/>
                <a:gd name="connsiteY6" fmla="*/ 236642 h 272163"/>
                <a:gd name="connsiteX7" fmla="*/ 364262 w 506050"/>
                <a:gd name="connsiteY7" fmla="*/ 256814 h 272163"/>
                <a:gd name="connsiteX8" fmla="*/ 413165 w 506050"/>
                <a:gd name="connsiteY8" fmla="*/ 268523 h 272163"/>
                <a:gd name="connsiteX9" fmla="*/ 435697 w 506050"/>
                <a:gd name="connsiteY9" fmla="*/ 253665 h 272163"/>
                <a:gd name="connsiteX10" fmla="*/ 448095 w 506050"/>
                <a:gd name="connsiteY10" fmla="*/ 270983 h 272163"/>
                <a:gd name="connsiteX11" fmla="*/ 494145 w 506050"/>
                <a:gd name="connsiteY11" fmla="*/ 272163 h 272163"/>
                <a:gd name="connsiteX12" fmla="*/ 504279 w 506050"/>
                <a:gd name="connsiteY12" fmla="*/ 238512 h 272163"/>
                <a:gd name="connsiteX13" fmla="*/ 492865 w 506050"/>
                <a:gd name="connsiteY13" fmla="*/ 214897 h 272163"/>
                <a:gd name="connsiteX14" fmla="*/ 506050 w 506050"/>
                <a:gd name="connsiteY14" fmla="*/ 181344 h 272163"/>
                <a:gd name="connsiteX15" fmla="*/ 492865 w 506050"/>
                <a:gd name="connsiteY15" fmla="*/ 167765 h 272163"/>
                <a:gd name="connsiteX16" fmla="*/ 492865 w 506050"/>
                <a:gd name="connsiteY16" fmla="*/ 167765 h 272163"/>
                <a:gd name="connsiteX17" fmla="*/ 468168 w 506050"/>
                <a:gd name="connsiteY17" fmla="*/ 175342 h 272163"/>
                <a:gd name="connsiteX18" fmla="*/ 408638 w 506050"/>
                <a:gd name="connsiteY18" fmla="*/ 153006 h 272163"/>
                <a:gd name="connsiteX19" fmla="*/ 399684 w 506050"/>
                <a:gd name="connsiteY19" fmla="*/ 168257 h 272163"/>
                <a:gd name="connsiteX20" fmla="*/ 368985 w 506050"/>
                <a:gd name="connsiteY20" fmla="*/ 170619 h 272163"/>
                <a:gd name="connsiteX21" fmla="*/ 352946 w 506050"/>
                <a:gd name="connsiteY21" fmla="*/ 144642 h 272163"/>
                <a:gd name="connsiteX22" fmla="*/ 313489 w 506050"/>
                <a:gd name="connsiteY22" fmla="*/ 142281 h 272163"/>
                <a:gd name="connsiteX23" fmla="*/ 322542 w 506050"/>
                <a:gd name="connsiteY23" fmla="*/ 123389 h 272163"/>
                <a:gd name="connsiteX24" fmla="*/ 312112 w 506050"/>
                <a:gd name="connsiteY24" fmla="*/ 114926 h 272163"/>
                <a:gd name="connsiteX25" fmla="*/ 293417 w 506050"/>
                <a:gd name="connsiteY25" fmla="*/ 123389 h 272163"/>
                <a:gd name="connsiteX26" fmla="*/ 261438 w 506050"/>
                <a:gd name="connsiteY26" fmla="*/ 102135 h 272163"/>
                <a:gd name="connsiteX27" fmla="*/ 256814 w 506050"/>
                <a:gd name="connsiteY27" fmla="*/ 82062 h 272163"/>
                <a:gd name="connsiteX28" fmla="*/ 243825 w 506050"/>
                <a:gd name="connsiteY28" fmla="*/ 76159 h 272163"/>
                <a:gd name="connsiteX29" fmla="*/ 223752 w 506050"/>
                <a:gd name="connsiteY29" fmla="*/ 85014 h 272163"/>
                <a:gd name="connsiteX30" fmla="*/ 194824 w 506050"/>
                <a:gd name="connsiteY30" fmla="*/ 54315 h 272163"/>
                <a:gd name="connsiteX31" fmla="*/ 134606 w 506050"/>
                <a:gd name="connsiteY31" fmla="*/ 23320 h 272163"/>
                <a:gd name="connsiteX32" fmla="*/ 125849 w 506050"/>
                <a:gd name="connsiteY32" fmla="*/ 4822 h 272163"/>
                <a:gd name="connsiteX33" fmla="*/ 86195 w 506050"/>
                <a:gd name="connsiteY33" fmla="*/ 0 h 272163"/>
                <a:gd name="connsiteX34" fmla="*/ 74978 w 506050"/>
                <a:gd name="connsiteY34" fmla="*/ 25386 h 272163"/>
                <a:gd name="connsiteX35" fmla="*/ 55889 w 506050"/>
                <a:gd name="connsiteY35" fmla="*/ 12103 h 272163"/>
                <a:gd name="connsiteX36" fmla="*/ 17023 w 506050"/>
                <a:gd name="connsiteY36" fmla="*/ 44278 h 272163"/>
                <a:gd name="connsiteX37" fmla="*/ 0 w 506050"/>
                <a:gd name="connsiteY37" fmla="*/ 108236 h 27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06050" h="272163">
                  <a:moveTo>
                    <a:pt x="0" y="108236"/>
                  </a:moveTo>
                  <a:lnTo>
                    <a:pt x="199055" y="206140"/>
                  </a:lnTo>
                  <a:lnTo>
                    <a:pt x="246580" y="191675"/>
                  </a:lnTo>
                  <a:lnTo>
                    <a:pt x="287612" y="206140"/>
                  </a:lnTo>
                  <a:lnTo>
                    <a:pt x="285742" y="227885"/>
                  </a:lnTo>
                  <a:lnTo>
                    <a:pt x="322837" y="250910"/>
                  </a:lnTo>
                  <a:lnTo>
                    <a:pt x="350880" y="236642"/>
                  </a:lnTo>
                  <a:lnTo>
                    <a:pt x="364262" y="256814"/>
                  </a:lnTo>
                  <a:lnTo>
                    <a:pt x="413165" y="268523"/>
                  </a:lnTo>
                  <a:lnTo>
                    <a:pt x="435697" y="253665"/>
                  </a:lnTo>
                  <a:lnTo>
                    <a:pt x="448095" y="270983"/>
                  </a:lnTo>
                  <a:lnTo>
                    <a:pt x="494145" y="272163"/>
                  </a:lnTo>
                  <a:lnTo>
                    <a:pt x="504279" y="238512"/>
                  </a:lnTo>
                  <a:lnTo>
                    <a:pt x="492865" y="214897"/>
                  </a:lnTo>
                  <a:lnTo>
                    <a:pt x="506050" y="181344"/>
                  </a:lnTo>
                  <a:lnTo>
                    <a:pt x="492865" y="167765"/>
                  </a:lnTo>
                  <a:lnTo>
                    <a:pt x="492865" y="167765"/>
                  </a:lnTo>
                  <a:lnTo>
                    <a:pt x="468168" y="175342"/>
                  </a:lnTo>
                  <a:lnTo>
                    <a:pt x="408638" y="153006"/>
                  </a:lnTo>
                  <a:lnTo>
                    <a:pt x="399684" y="168257"/>
                  </a:lnTo>
                  <a:lnTo>
                    <a:pt x="368985" y="170619"/>
                  </a:lnTo>
                  <a:lnTo>
                    <a:pt x="352946" y="144642"/>
                  </a:lnTo>
                  <a:lnTo>
                    <a:pt x="313489" y="142281"/>
                  </a:lnTo>
                  <a:lnTo>
                    <a:pt x="322542" y="123389"/>
                  </a:lnTo>
                  <a:lnTo>
                    <a:pt x="312112" y="114926"/>
                  </a:lnTo>
                  <a:lnTo>
                    <a:pt x="293417" y="123389"/>
                  </a:lnTo>
                  <a:lnTo>
                    <a:pt x="261438" y="102135"/>
                  </a:lnTo>
                  <a:lnTo>
                    <a:pt x="256814" y="82062"/>
                  </a:lnTo>
                  <a:lnTo>
                    <a:pt x="243825" y="76159"/>
                  </a:lnTo>
                  <a:lnTo>
                    <a:pt x="223752" y="85014"/>
                  </a:lnTo>
                  <a:lnTo>
                    <a:pt x="194824" y="54315"/>
                  </a:lnTo>
                  <a:lnTo>
                    <a:pt x="134606" y="23320"/>
                  </a:lnTo>
                  <a:lnTo>
                    <a:pt x="125849" y="4822"/>
                  </a:lnTo>
                  <a:lnTo>
                    <a:pt x="86195" y="0"/>
                  </a:lnTo>
                  <a:lnTo>
                    <a:pt x="74978" y="25386"/>
                  </a:lnTo>
                  <a:lnTo>
                    <a:pt x="55889" y="12103"/>
                  </a:lnTo>
                  <a:lnTo>
                    <a:pt x="17023" y="44278"/>
                  </a:lnTo>
                  <a:lnTo>
                    <a:pt x="0" y="108236"/>
                  </a:lnTo>
                  <a:close/>
                </a:path>
              </a:pathLst>
            </a:custGeom>
            <a:grpFill/>
            <a:ln w="9835" cap="flat">
              <a:noFill/>
              <a:prstDash val="solid"/>
              <a:miter/>
            </a:ln>
          </p:spPr>
          <p:txBody>
            <a:bodyPr rtlCol="0" anchor="ctr"/>
            <a:lstStyle/>
            <a:p>
              <a:endParaRPr lang="en-IN"/>
            </a:p>
          </p:txBody>
        </p:sp>
        <p:grpSp>
          <p:nvGrpSpPr>
            <p:cNvPr id="486" name="Graphic 470">
              <a:extLst>
                <a:ext uri="{FF2B5EF4-FFF2-40B4-BE49-F238E27FC236}">
                  <a16:creationId xmlns:a16="http://schemas.microsoft.com/office/drawing/2014/main" id="{33AAFA14-1507-C89E-69CA-FA99E55A2E3F}"/>
                </a:ext>
              </a:extLst>
            </p:cNvPr>
            <p:cNvGrpSpPr/>
            <p:nvPr/>
          </p:nvGrpSpPr>
          <p:grpSpPr>
            <a:xfrm>
              <a:off x="10758623" y="4378775"/>
              <a:ext cx="561250" cy="1208002"/>
              <a:chOff x="10758623" y="4378775"/>
              <a:chExt cx="561250" cy="1208002"/>
            </a:xfrm>
            <a:grpFill/>
          </p:grpSpPr>
          <p:sp>
            <p:nvSpPr>
              <p:cNvPr id="697" name="Freeform: Shape 696">
                <a:extLst>
                  <a:ext uri="{FF2B5EF4-FFF2-40B4-BE49-F238E27FC236}">
                    <a16:creationId xmlns:a16="http://schemas.microsoft.com/office/drawing/2014/main" id="{EA591D3D-4119-65FB-76FF-0D05D864B050}"/>
                  </a:ext>
                </a:extLst>
              </p:cNvPr>
              <p:cNvSpPr/>
              <p:nvPr/>
            </p:nvSpPr>
            <p:spPr>
              <a:xfrm>
                <a:off x="10842621" y="5008702"/>
                <a:ext cx="15628" cy="16538"/>
              </a:xfrm>
              <a:custGeom>
                <a:avLst/>
                <a:gdLst>
                  <a:gd name="connsiteX0" fmla="*/ 12135 w 15628"/>
                  <a:gd name="connsiteY0" fmla="*/ 16437 h 16538"/>
                  <a:gd name="connsiteX1" fmla="*/ 14988 w 15628"/>
                  <a:gd name="connsiteY1" fmla="*/ 5613 h 16538"/>
                  <a:gd name="connsiteX2" fmla="*/ 3279 w 15628"/>
                  <a:gd name="connsiteY2" fmla="*/ 103 h 16538"/>
                  <a:gd name="connsiteX3" fmla="*/ 4952 w 15628"/>
                  <a:gd name="connsiteY3" fmla="*/ 11910 h 16538"/>
                  <a:gd name="connsiteX4" fmla="*/ 12036 w 15628"/>
                  <a:gd name="connsiteY4" fmla="*/ 16535 h 16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8" h="16538">
                    <a:moveTo>
                      <a:pt x="12135" y="16437"/>
                    </a:moveTo>
                    <a:cubicBezTo>
                      <a:pt x="17645" y="16240"/>
                      <a:pt x="14988" y="6794"/>
                      <a:pt x="14988" y="5613"/>
                    </a:cubicBezTo>
                    <a:cubicBezTo>
                      <a:pt x="14103" y="-1865"/>
                      <a:pt x="4952" y="398"/>
                      <a:pt x="3279" y="103"/>
                    </a:cubicBezTo>
                    <a:cubicBezTo>
                      <a:pt x="-4593" y="103"/>
                      <a:pt x="4066" y="9648"/>
                      <a:pt x="4952" y="11910"/>
                    </a:cubicBezTo>
                    <a:cubicBezTo>
                      <a:pt x="6526" y="14567"/>
                      <a:pt x="9773" y="16633"/>
                      <a:pt x="12036" y="16535"/>
                    </a:cubicBezTo>
                    <a:close/>
                  </a:path>
                </a:pathLst>
              </a:custGeom>
              <a:grpFill/>
              <a:ln w="9835" cap="flat">
                <a:noFill/>
                <a:prstDash val="solid"/>
                <a:miter/>
              </a:ln>
            </p:spPr>
            <p:txBody>
              <a:bodyPr rtlCol="0" anchor="ctr"/>
              <a:lstStyle/>
              <a:p>
                <a:endParaRPr lang="en-IN"/>
              </a:p>
            </p:txBody>
          </p:sp>
          <p:sp>
            <p:nvSpPr>
              <p:cNvPr id="698" name="Freeform: Shape 697">
                <a:extLst>
                  <a:ext uri="{FF2B5EF4-FFF2-40B4-BE49-F238E27FC236}">
                    <a16:creationId xmlns:a16="http://schemas.microsoft.com/office/drawing/2014/main" id="{3B58BD46-F887-2A27-8D1F-1892B40C02B4}"/>
                  </a:ext>
                </a:extLst>
              </p:cNvPr>
              <p:cNvSpPr/>
              <p:nvPr/>
            </p:nvSpPr>
            <p:spPr>
              <a:xfrm>
                <a:off x="11141927" y="5467527"/>
                <a:ext cx="9911" cy="15128"/>
              </a:xfrm>
              <a:custGeom>
                <a:avLst/>
                <a:gdLst>
                  <a:gd name="connsiteX0" fmla="*/ 3983 w 9911"/>
                  <a:gd name="connsiteY0" fmla="*/ 0 h 15128"/>
                  <a:gd name="connsiteX1" fmla="*/ 1424 w 9911"/>
                  <a:gd name="connsiteY1" fmla="*/ 9840 h 15128"/>
                  <a:gd name="connsiteX2" fmla="*/ 9886 w 9911"/>
                  <a:gd name="connsiteY2" fmla="*/ 9643 h 15128"/>
                  <a:gd name="connsiteX3" fmla="*/ 9690 w 9911"/>
                  <a:gd name="connsiteY3" fmla="*/ 5609 h 15128"/>
                  <a:gd name="connsiteX4" fmla="*/ 3983 w 9911"/>
                  <a:gd name="connsiteY4" fmla="*/ 0 h 15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 h="15128">
                    <a:moveTo>
                      <a:pt x="3983" y="0"/>
                    </a:moveTo>
                    <a:cubicBezTo>
                      <a:pt x="-3102" y="0"/>
                      <a:pt x="1424" y="9840"/>
                      <a:pt x="1424" y="9840"/>
                    </a:cubicBezTo>
                    <a:cubicBezTo>
                      <a:pt x="3491" y="16924"/>
                      <a:pt x="10379" y="16924"/>
                      <a:pt x="9886" y="9643"/>
                    </a:cubicBezTo>
                    <a:lnTo>
                      <a:pt x="9690" y="5609"/>
                    </a:lnTo>
                    <a:cubicBezTo>
                      <a:pt x="9493" y="2558"/>
                      <a:pt x="6935" y="0"/>
                      <a:pt x="3983" y="0"/>
                    </a:cubicBezTo>
                    <a:close/>
                  </a:path>
                </a:pathLst>
              </a:custGeom>
              <a:grpFill/>
              <a:ln w="9835" cap="flat">
                <a:noFill/>
                <a:prstDash val="solid"/>
                <a:miter/>
              </a:ln>
            </p:spPr>
            <p:txBody>
              <a:bodyPr rtlCol="0" anchor="ctr"/>
              <a:lstStyle/>
              <a:p>
                <a:endParaRPr lang="en-IN"/>
              </a:p>
            </p:txBody>
          </p:sp>
          <p:sp>
            <p:nvSpPr>
              <p:cNvPr id="699" name="Freeform: Shape 698">
                <a:extLst>
                  <a:ext uri="{FF2B5EF4-FFF2-40B4-BE49-F238E27FC236}">
                    <a16:creationId xmlns:a16="http://schemas.microsoft.com/office/drawing/2014/main" id="{842D2AFD-786F-D4EA-4971-345793A7EED2}"/>
                  </a:ext>
                </a:extLst>
              </p:cNvPr>
              <p:cNvSpPr/>
              <p:nvPr/>
            </p:nvSpPr>
            <p:spPr>
              <a:xfrm>
                <a:off x="11135773" y="5406612"/>
                <a:ext cx="15781" cy="23446"/>
              </a:xfrm>
              <a:custGeom>
                <a:avLst/>
                <a:gdLst>
                  <a:gd name="connsiteX0" fmla="*/ 8070 w 15781"/>
                  <a:gd name="connsiteY0" fmla="*/ 22835 h 23446"/>
                  <a:gd name="connsiteX1" fmla="*/ 14958 w 15781"/>
                  <a:gd name="connsiteY1" fmla="*/ 13291 h 23446"/>
                  <a:gd name="connsiteX2" fmla="*/ 3052 w 15781"/>
                  <a:gd name="connsiteY2" fmla="*/ 303 h 23446"/>
                  <a:gd name="connsiteX3" fmla="*/ 100 w 15781"/>
                  <a:gd name="connsiteY3" fmla="*/ 7387 h 23446"/>
                  <a:gd name="connsiteX4" fmla="*/ 8070 w 15781"/>
                  <a:gd name="connsiteY4" fmla="*/ 22835 h 2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1" h="23446">
                    <a:moveTo>
                      <a:pt x="8070" y="22835"/>
                    </a:moveTo>
                    <a:cubicBezTo>
                      <a:pt x="9054" y="22049"/>
                      <a:pt x="18598" y="19785"/>
                      <a:pt x="14958" y="13291"/>
                    </a:cubicBezTo>
                    <a:cubicBezTo>
                      <a:pt x="12006" y="9060"/>
                      <a:pt x="8759" y="-1960"/>
                      <a:pt x="3052" y="303"/>
                    </a:cubicBezTo>
                    <a:cubicBezTo>
                      <a:pt x="985" y="1188"/>
                      <a:pt x="-392" y="4337"/>
                      <a:pt x="100" y="7387"/>
                    </a:cubicBezTo>
                    <a:cubicBezTo>
                      <a:pt x="1773" y="12897"/>
                      <a:pt x="494" y="26476"/>
                      <a:pt x="8070" y="22835"/>
                    </a:cubicBezTo>
                    <a:close/>
                  </a:path>
                </a:pathLst>
              </a:custGeom>
              <a:grpFill/>
              <a:ln w="9835" cap="flat">
                <a:noFill/>
                <a:prstDash val="solid"/>
                <a:miter/>
              </a:ln>
            </p:spPr>
            <p:txBody>
              <a:bodyPr rtlCol="0" anchor="ctr"/>
              <a:lstStyle/>
              <a:p>
                <a:endParaRPr lang="en-IN"/>
              </a:p>
            </p:txBody>
          </p:sp>
          <p:sp>
            <p:nvSpPr>
              <p:cNvPr id="700" name="Freeform: Shape 699">
                <a:extLst>
                  <a:ext uri="{FF2B5EF4-FFF2-40B4-BE49-F238E27FC236}">
                    <a16:creationId xmlns:a16="http://schemas.microsoft.com/office/drawing/2014/main" id="{1781A11B-6690-557F-1D00-0E1B629AE73F}"/>
                  </a:ext>
                </a:extLst>
              </p:cNvPr>
              <p:cNvSpPr/>
              <p:nvPr/>
            </p:nvSpPr>
            <p:spPr>
              <a:xfrm>
                <a:off x="11115899" y="5429251"/>
                <a:ext cx="12745" cy="14759"/>
              </a:xfrm>
              <a:custGeom>
                <a:avLst/>
                <a:gdLst>
                  <a:gd name="connsiteX0" fmla="*/ 0 w 12745"/>
                  <a:gd name="connsiteY0" fmla="*/ 9151 h 14759"/>
                  <a:gd name="connsiteX1" fmla="*/ 5609 w 12745"/>
                  <a:gd name="connsiteY1" fmla="*/ 14759 h 14759"/>
                  <a:gd name="connsiteX2" fmla="*/ 7970 w 12745"/>
                  <a:gd name="connsiteY2" fmla="*/ 14759 h 14759"/>
                  <a:gd name="connsiteX3" fmla="*/ 12299 w 12745"/>
                  <a:gd name="connsiteY3" fmla="*/ 5510 h 14759"/>
                  <a:gd name="connsiteX4" fmla="*/ 5904 w 12745"/>
                  <a:gd name="connsiteY4" fmla="*/ 0 h 14759"/>
                  <a:gd name="connsiteX5" fmla="*/ 5609 w 12745"/>
                  <a:gd name="connsiteY5" fmla="*/ 0 h 14759"/>
                  <a:gd name="connsiteX6" fmla="*/ 0 w 12745"/>
                  <a:gd name="connsiteY6" fmla="*/ 9151 h 14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45" h="14759">
                    <a:moveTo>
                      <a:pt x="0" y="9151"/>
                    </a:moveTo>
                    <a:cubicBezTo>
                      <a:pt x="0" y="12201"/>
                      <a:pt x="2460" y="14759"/>
                      <a:pt x="5609" y="14759"/>
                    </a:cubicBezTo>
                    <a:lnTo>
                      <a:pt x="7970" y="14759"/>
                    </a:lnTo>
                    <a:cubicBezTo>
                      <a:pt x="15055" y="14759"/>
                      <a:pt x="12103" y="6494"/>
                      <a:pt x="12299" y="5510"/>
                    </a:cubicBezTo>
                    <a:cubicBezTo>
                      <a:pt x="11906" y="2460"/>
                      <a:pt x="9053" y="0"/>
                      <a:pt x="5904" y="0"/>
                    </a:cubicBezTo>
                    <a:lnTo>
                      <a:pt x="5609" y="0"/>
                    </a:lnTo>
                    <a:cubicBezTo>
                      <a:pt x="-1476" y="0"/>
                      <a:pt x="295" y="8166"/>
                      <a:pt x="0" y="9151"/>
                    </a:cubicBezTo>
                    <a:close/>
                  </a:path>
                </a:pathLst>
              </a:custGeom>
              <a:grpFill/>
              <a:ln w="9835" cap="flat">
                <a:noFill/>
                <a:prstDash val="solid"/>
                <a:miter/>
              </a:ln>
            </p:spPr>
            <p:txBody>
              <a:bodyPr rtlCol="0" anchor="ctr"/>
              <a:lstStyle/>
              <a:p>
                <a:endParaRPr lang="en-IN"/>
              </a:p>
            </p:txBody>
          </p:sp>
          <p:sp>
            <p:nvSpPr>
              <p:cNvPr id="701" name="Freeform: Shape 700">
                <a:extLst>
                  <a:ext uri="{FF2B5EF4-FFF2-40B4-BE49-F238E27FC236}">
                    <a16:creationId xmlns:a16="http://schemas.microsoft.com/office/drawing/2014/main" id="{4511440A-F7AC-77D1-FC1E-B66E5395D0FE}"/>
                  </a:ext>
                </a:extLst>
              </p:cNvPr>
              <p:cNvSpPr/>
              <p:nvPr/>
            </p:nvSpPr>
            <p:spPr>
              <a:xfrm>
                <a:off x="11127652" y="5567692"/>
                <a:ext cx="11089" cy="19085"/>
              </a:xfrm>
              <a:custGeom>
                <a:avLst/>
                <a:gdLst>
                  <a:gd name="connsiteX0" fmla="*/ 350 w 11089"/>
                  <a:gd name="connsiteY0" fmla="*/ 17025 h 19085"/>
                  <a:gd name="connsiteX1" fmla="*/ 9402 w 11089"/>
                  <a:gd name="connsiteY1" fmla="*/ 11908 h 19085"/>
                  <a:gd name="connsiteX2" fmla="*/ 10190 w 11089"/>
                  <a:gd name="connsiteY2" fmla="*/ 2560 h 19085"/>
                  <a:gd name="connsiteX3" fmla="*/ 9993 w 11089"/>
                  <a:gd name="connsiteY3" fmla="*/ 2167 h 19085"/>
                  <a:gd name="connsiteX4" fmla="*/ 1629 w 11089"/>
                  <a:gd name="connsiteY4" fmla="*/ 7578 h 19085"/>
                  <a:gd name="connsiteX5" fmla="*/ 350 w 11089"/>
                  <a:gd name="connsiteY5" fmla="*/ 17025 h 1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89" h="19085">
                    <a:moveTo>
                      <a:pt x="350" y="17025"/>
                    </a:moveTo>
                    <a:cubicBezTo>
                      <a:pt x="2318" y="23420"/>
                      <a:pt x="8221" y="12990"/>
                      <a:pt x="9402" y="11908"/>
                    </a:cubicBezTo>
                    <a:cubicBezTo>
                      <a:pt x="11272" y="9448"/>
                      <a:pt x="11665" y="5315"/>
                      <a:pt x="10190" y="2560"/>
                    </a:cubicBezTo>
                    <a:lnTo>
                      <a:pt x="9993" y="2167"/>
                    </a:lnTo>
                    <a:cubicBezTo>
                      <a:pt x="6352" y="-4524"/>
                      <a:pt x="2711" y="6299"/>
                      <a:pt x="1629" y="7578"/>
                    </a:cubicBezTo>
                    <a:cubicBezTo>
                      <a:pt x="153" y="10235"/>
                      <a:pt x="-437" y="14565"/>
                      <a:pt x="350" y="17025"/>
                    </a:cubicBezTo>
                    <a:close/>
                  </a:path>
                </a:pathLst>
              </a:custGeom>
              <a:grpFill/>
              <a:ln w="9835" cap="flat">
                <a:noFill/>
                <a:prstDash val="solid"/>
                <a:miter/>
              </a:ln>
            </p:spPr>
            <p:txBody>
              <a:bodyPr rtlCol="0" anchor="ctr"/>
              <a:lstStyle/>
              <a:p>
                <a:endParaRPr lang="en-IN"/>
              </a:p>
            </p:txBody>
          </p:sp>
          <p:sp>
            <p:nvSpPr>
              <p:cNvPr id="702" name="Freeform: Shape 701">
                <a:extLst>
                  <a:ext uri="{FF2B5EF4-FFF2-40B4-BE49-F238E27FC236}">
                    <a16:creationId xmlns:a16="http://schemas.microsoft.com/office/drawing/2014/main" id="{79C034CA-A884-4819-5D0C-B8A0D04A064A}"/>
                  </a:ext>
                </a:extLst>
              </p:cNvPr>
              <p:cNvSpPr/>
              <p:nvPr/>
            </p:nvSpPr>
            <p:spPr>
              <a:xfrm>
                <a:off x="10758623" y="4378775"/>
                <a:ext cx="561250" cy="1202103"/>
              </a:xfrm>
              <a:custGeom>
                <a:avLst/>
                <a:gdLst>
                  <a:gd name="connsiteX0" fmla="*/ 414247 w 561250"/>
                  <a:gd name="connsiteY0" fmla="*/ 1158514 h 1202103"/>
                  <a:gd name="connsiteX1" fmla="*/ 461083 w 561250"/>
                  <a:gd name="connsiteY1" fmla="*/ 1074681 h 1202103"/>
                  <a:gd name="connsiteX2" fmla="*/ 449079 w 561250"/>
                  <a:gd name="connsiteY2" fmla="*/ 1032568 h 1202103"/>
                  <a:gd name="connsiteX3" fmla="*/ 431663 w 561250"/>
                  <a:gd name="connsiteY3" fmla="*/ 1015643 h 1202103"/>
                  <a:gd name="connsiteX4" fmla="*/ 429597 w 561250"/>
                  <a:gd name="connsiteY4" fmla="*/ 950898 h 1202103"/>
                  <a:gd name="connsiteX5" fmla="*/ 394273 w 561250"/>
                  <a:gd name="connsiteY5" fmla="*/ 919018 h 1202103"/>
                  <a:gd name="connsiteX6" fmla="*/ 375873 w 561250"/>
                  <a:gd name="connsiteY6" fmla="*/ 869624 h 1202103"/>
                  <a:gd name="connsiteX7" fmla="*/ 400078 w 561250"/>
                  <a:gd name="connsiteY7" fmla="*/ 857718 h 1202103"/>
                  <a:gd name="connsiteX8" fmla="*/ 402439 w 561250"/>
                  <a:gd name="connsiteY8" fmla="*/ 815899 h 1202103"/>
                  <a:gd name="connsiteX9" fmla="*/ 419954 w 561250"/>
                  <a:gd name="connsiteY9" fmla="*/ 811275 h 1202103"/>
                  <a:gd name="connsiteX10" fmla="*/ 422119 w 561250"/>
                  <a:gd name="connsiteY10" fmla="*/ 783429 h 1202103"/>
                  <a:gd name="connsiteX11" fmla="*/ 401357 w 561250"/>
                  <a:gd name="connsiteY11" fmla="*/ 787463 h 1202103"/>
                  <a:gd name="connsiteX12" fmla="*/ 392403 w 561250"/>
                  <a:gd name="connsiteY12" fmla="*/ 754205 h 1202103"/>
                  <a:gd name="connsiteX13" fmla="*/ 325789 w 561250"/>
                  <a:gd name="connsiteY13" fmla="*/ 661024 h 1202103"/>
                  <a:gd name="connsiteX14" fmla="*/ 353832 w 561250"/>
                  <a:gd name="connsiteY14" fmla="*/ 648331 h 1202103"/>
                  <a:gd name="connsiteX15" fmla="*/ 361507 w 561250"/>
                  <a:gd name="connsiteY15" fmla="*/ 580536 h 1202103"/>
                  <a:gd name="connsiteX16" fmla="*/ 428318 w 561250"/>
                  <a:gd name="connsiteY16" fmla="*/ 576306 h 1202103"/>
                  <a:gd name="connsiteX17" fmla="*/ 436681 w 561250"/>
                  <a:gd name="connsiteY17" fmla="*/ 550132 h 1202103"/>
                  <a:gd name="connsiteX18" fmla="*/ 493456 w 561250"/>
                  <a:gd name="connsiteY18" fmla="*/ 539603 h 1202103"/>
                  <a:gd name="connsiteX19" fmla="*/ 561251 w 561250"/>
                  <a:gd name="connsiteY19" fmla="*/ 462166 h 1202103"/>
                  <a:gd name="connsiteX20" fmla="*/ 552985 w 561250"/>
                  <a:gd name="connsiteY20" fmla="*/ 439928 h 1202103"/>
                  <a:gd name="connsiteX21" fmla="*/ 500737 w 561250"/>
                  <a:gd name="connsiteY21" fmla="*/ 463642 h 1202103"/>
                  <a:gd name="connsiteX22" fmla="*/ 485190 w 561250"/>
                  <a:gd name="connsiteY22" fmla="*/ 429794 h 1202103"/>
                  <a:gd name="connsiteX23" fmla="*/ 440027 w 561250"/>
                  <a:gd name="connsiteY23" fmla="*/ 425267 h 1202103"/>
                  <a:gd name="connsiteX24" fmla="*/ 445931 w 561250"/>
                  <a:gd name="connsiteY24" fmla="*/ 379120 h 1202103"/>
                  <a:gd name="connsiteX25" fmla="*/ 463150 w 561250"/>
                  <a:gd name="connsiteY25" fmla="*/ 374790 h 1202103"/>
                  <a:gd name="connsiteX26" fmla="*/ 455770 w 561250"/>
                  <a:gd name="connsiteY26" fmla="*/ 356292 h 1202103"/>
                  <a:gd name="connsiteX27" fmla="*/ 423004 w 561250"/>
                  <a:gd name="connsiteY27" fmla="*/ 356292 h 1202103"/>
                  <a:gd name="connsiteX28" fmla="*/ 407261 w 561250"/>
                  <a:gd name="connsiteY28" fmla="*/ 311128 h 1202103"/>
                  <a:gd name="connsiteX29" fmla="*/ 423004 w 561250"/>
                  <a:gd name="connsiteY29" fmla="*/ 286628 h 1202103"/>
                  <a:gd name="connsiteX30" fmla="*/ 373806 w 561250"/>
                  <a:gd name="connsiteY30" fmla="*/ 286628 h 1202103"/>
                  <a:gd name="connsiteX31" fmla="*/ 337597 w 561250"/>
                  <a:gd name="connsiteY31" fmla="*/ 307389 h 1202103"/>
                  <a:gd name="connsiteX32" fmla="*/ 336416 w 561250"/>
                  <a:gd name="connsiteY32" fmla="*/ 256519 h 1202103"/>
                  <a:gd name="connsiteX33" fmla="*/ 350388 w 561250"/>
                  <a:gd name="connsiteY33" fmla="*/ 245695 h 1202103"/>
                  <a:gd name="connsiteX34" fmla="*/ 356489 w 561250"/>
                  <a:gd name="connsiteY34" fmla="*/ 219620 h 1202103"/>
                  <a:gd name="connsiteX35" fmla="*/ 406670 w 561250"/>
                  <a:gd name="connsiteY35" fmla="*/ 175932 h 1202103"/>
                  <a:gd name="connsiteX36" fmla="*/ 405490 w 561250"/>
                  <a:gd name="connsiteY36" fmla="*/ 62285 h 1202103"/>
                  <a:gd name="connsiteX37" fmla="*/ 382564 w 561250"/>
                  <a:gd name="connsiteY37" fmla="*/ 66122 h 1202103"/>
                  <a:gd name="connsiteX38" fmla="*/ 372822 w 561250"/>
                  <a:gd name="connsiteY38" fmla="*/ 19876 h 1202103"/>
                  <a:gd name="connsiteX39" fmla="*/ 336514 w 561250"/>
                  <a:gd name="connsiteY39" fmla="*/ 0 h 1202103"/>
                  <a:gd name="connsiteX40" fmla="*/ 323034 w 561250"/>
                  <a:gd name="connsiteY40" fmla="*/ 25878 h 1202103"/>
                  <a:gd name="connsiteX41" fmla="*/ 333366 w 561250"/>
                  <a:gd name="connsiteY41" fmla="*/ 42212 h 1202103"/>
                  <a:gd name="connsiteX42" fmla="*/ 296467 w 561250"/>
                  <a:gd name="connsiteY42" fmla="*/ 61399 h 1202103"/>
                  <a:gd name="connsiteX43" fmla="*/ 314966 w 561250"/>
                  <a:gd name="connsiteY43" fmla="*/ 93673 h 1202103"/>
                  <a:gd name="connsiteX44" fmla="*/ 293122 w 561250"/>
                  <a:gd name="connsiteY44" fmla="*/ 93673 h 1202103"/>
                  <a:gd name="connsiteX45" fmla="*/ 277477 w 561250"/>
                  <a:gd name="connsiteY45" fmla="*/ 75667 h 1202103"/>
                  <a:gd name="connsiteX46" fmla="*/ 215487 w 561250"/>
                  <a:gd name="connsiteY46" fmla="*/ 118370 h 1202103"/>
                  <a:gd name="connsiteX47" fmla="*/ 184788 w 561250"/>
                  <a:gd name="connsiteY47" fmla="*/ 126734 h 1202103"/>
                  <a:gd name="connsiteX48" fmla="*/ 185968 w 561250"/>
                  <a:gd name="connsiteY48" fmla="*/ 169536 h 1202103"/>
                  <a:gd name="connsiteX49" fmla="*/ 148086 w 561250"/>
                  <a:gd name="connsiteY49" fmla="*/ 215291 h 1202103"/>
                  <a:gd name="connsiteX50" fmla="*/ 161369 w 561250"/>
                  <a:gd name="connsiteY50" fmla="*/ 233395 h 1202103"/>
                  <a:gd name="connsiteX51" fmla="*/ 125356 w 561250"/>
                  <a:gd name="connsiteY51" fmla="*/ 309849 h 1202103"/>
                  <a:gd name="connsiteX52" fmla="*/ 75863 w 561250"/>
                  <a:gd name="connsiteY52" fmla="*/ 292334 h 1202103"/>
                  <a:gd name="connsiteX53" fmla="*/ 69861 w 561250"/>
                  <a:gd name="connsiteY53" fmla="*/ 306208 h 1202103"/>
                  <a:gd name="connsiteX54" fmla="*/ 80488 w 561250"/>
                  <a:gd name="connsiteY54" fmla="*/ 314670 h 1202103"/>
                  <a:gd name="connsiteX55" fmla="*/ 79307 w 561250"/>
                  <a:gd name="connsiteY55" fmla="*/ 361605 h 1202103"/>
                  <a:gd name="connsiteX56" fmla="*/ 61793 w 561250"/>
                  <a:gd name="connsiteY56" fmla="*/ 368690 h 1202103"/>
                  <a:gd name="connsiteX57" fmla="*/ 71042 w 561250"/>
                  <a:gd name="connsiteY57" fmla="*/ 414050 h 1202103"/>
                  <a:gd name="connsiteX58" fmla="*/ 55200 w 561250"/>
                  <a:gd name="connsiteY58" fmla="*/ 431466 h 1202103"/>
                  <a:gd name="connsiteX59" fmla="*/ 42310 w 561250"/>
                  <a:gd name="connsiteY59" fmla="*/ 419265 h 1202103"/>
                  <a:gd name="connsiteX60" fmla="*/ 28535 w 561250"/>
                  <a:gd name="connsiteY60" fmla="*/ 425661 h 1202103"/>
                  <a:gd name="connsiteX61" fmla="*/ 28535 w 561250"/>
                  <a:gd name="connsiteY61" fmla="*/ 425661 h 1202103"/>
                  <a:gd name="connsiteX62" fmla="*/ 39063 w 561250"/>
                  <a:gd name="connsiteY62" fmla="*/ 482435 h 1202103"/>
                  <a:gd name="connsiteX63" fmla="*/ 12398 w 561250"/>
                  <a:gd name="connsiteY63" fmla="*/ 468266 h 1202103"/>
                  <a:gd name="connsiteX64" fmla="*/ 0 w 561250"/>
                  <a:gd name="connsiteY64" fmla="*/ 487749 h 1202103"/>
                  <a:gd name="connsiteX65" fmla="*/ 12004 w 561250"/>
                  <a:gd name="connsiteY65" fmla="*/ 506838 h 1202103"/>
                  <a:gd name="connsiteX66" fmla="*/ 55298 w 561250"/>
                  <a:gd name="connsiteY66" fmla="*/ 562825 h 1202103"/>
                  <a:gd name="connsiteX67" fmla="*/ 65138 w 561250"/>
                  <a:gd name="connsiteY67" fmla="*/ 563317 h 1202103"/>
                  <a:gd name="connsiteX68" fmla="*/ 66417 w 561250"/>
                  <a:gd name="connsiteY68" fmla="*/ 550427 h 1202103"/>
                  <a:gd name="connsiteX69" fmla="*/ 78618 w 561250"/>
                  <a:gd name="connsiteY69" fmla="*/ 557512 h 1202103"/>
                  <a:gd name="connsiteX70" fmla="*/ 86195 w 561250"/>
                  <a:gd name="connsiteY70" fmla="*/ 571878 h 1202103"/>
                  <a:gd name="connsiteX71" fmla="*/ 104398 w 561250"/>
                  <a:gd name="connsiteY71" fmla="*/ 583095 h 1202103"/>
                  <a:gd name="connsiteX72" fmla="*/ 104398 w 561250"/>
                  <a:gd name="connsiteY72" fmla="*/ 583095 h 1202103"/>
                  <a:gd name="connsiteX73" fmla="*/ 93476 w 561250"/>
                  <a:gd name="connsiteY73" fmla="*/ 587424 h 1202103"/>
                  <a:gd name="connsiteX74" fmla="*/ 89147 w 561250"/>
                  <a:gd name="connsiteY74" fmla="*/ 592737 h 1202103"/>
                  <a:gd name="connsiteX75" fmla="*/ 85998 w 561250"/>
                  <a:gd name="connsiteY75" fmla="*/ 593032 h 1202103"/>
                  <a:gd name="connsiteX76" fmla="*/ 105284 w 561250"/>
                  <a:gd name="connsiteY76" fmla="*/ 627471 h 1202103"/>
                  <a:gd name="connsiteX77" fmla="*/ 109318 w 561250"/>
                  <a:gd name="connsiteY77" fmla="*/ 615762 h 1202103"/>
                  <a:gd name="connsiteX78" fmla="*/ 118764 w 561250"/>
                  <a:gd name="connsiteY78" fmla="*/ 612909 h 1202103"/>
                  <a:gd name="connsiteX79" fmla="*/ 121322 w 561250"/>
                  <a:gd name="connsiteY79" fmla="*/ 636917 h 1202103"/>
                  <a:gd name="connsiteX80" fmla="*/ 144740 w 561250"/>
                  <a:gd name="connsiteY80" fmla="*/ 684541 h 1202103"/>
                  <a:gd name="connsiteX81" fmla="*/ 150644 w 561250"/>
                  <a:gd name="connsiteY81" fmla="*/ 713076 h 1202103"/>
                  <a:gd name="connsiteX82" fmla="*/ 127816 w 561250"/>
                  <a:gd name="connsiteY82" fmla="*/ 807241 h 1202103"/>
                  <a:gd name="connsiteX83" fmla="*/ 137361 w 561250"/>
                  <a:gd name="connsiteY83" fmla="*/ 814620 h 1202103"/>
                  <a:gd name="connsiteX84" fmla="*/ 150349 w 561250"/>
                  <a:gd name="connsiteY84" fmla="*/ 801829 h 1202103"/>
                  <a:gd name="connsiteX85" fmla="*/ 146315 w 561250"/>
                  <a:gd name="connsiteY85" fmla="*/ 817179 h 1202103"/>
                  <a:gd name="connsiteX86" fmla="*/ 168454 w 561250"/>
                  <a:gd name="connsiteY86" fmla="*/ 830757 h 1202103"/>
                  <a:gd name="connsiteX87" fmla="*/ 177014 w 561250"/>
                  <a:gd name="connsiteY87" fmla="*/ 816490 h 1202103"/>
                  <a:gd name="connsiteX88" fmla="*/ 186657 w 561250"/>
                  <a:gd name="connsiteY88" fmla="*/ 812554 h 1202103"/>
                  <a:gd name="connsiteX89" fmla="*/ 191085 w 561250"/>
                  <a:gd name="connsiteY89" fmla="*/ 836464 h 1202103"/>
                  <a:gd name="connsiteX90" fmla="*/ 211059 w 561250"/>
                  <a:gd name="connsiteY90" fmla="*/ 831840 h 1202103"/>
                  <a:gd name="connsiteX91" fmla="*/ 233887 w 561250"/>
                  <a:gd name="connsiteY91" fmla="*/ 803010 h 1202103"/>
                  <a:gd name="connsiteX92" fmla="*/ 254255 w 561250"/>
                  <a:gd name="connsiteY92" fmla="*/ 785101 h 1202103"/>
                  <a:gd name="connsiteX93" fmla="*/ 251500 w 561250"/>
                  <a:gd name="connsiteY93" fmla="*/ 767193 h 1202103"/>
                  <a:gd name="connsiteX94" fmla="*/ 259569 w 561250"/>
                  <a:gd name="connsiteY94" fmla="*/ 773884 h 1202103"/>
                  <a:gd name="connsiteX95" fmla="*/ 271081 w 561250"/>
                  <a:gd name="connsiteY95" fmla="*/ 783822 h 1202103"/>
                  <a:gd name="connsiteX96" fmla="*/ 286037 w 561250"/>
                  <a:gd name="connsiteY96" fmla="*/ 764635 h 1202103"/>
                  <a:gd name="connsiteX97" fmla="*/ 290268 w 561250"/>
                  <a:gd name="connsiteY97" fmla="*/ 733739 h 1202103"/>
                  <a:gd name="connsiteX98" fmla="*/ 296270 w 561250"/>
                  <a:gd name="connsiteY98" fmla="*/ 730098 h 1202103"/>
                  <a:gd name="connsiteX99" fmla="*/ 296959 w 561250"/>
                  <a:gd name="connsiteY99" fmla="*/ 730295 h 1202103"/>
                  <a:gd name="connsiteX100" fmla="*/ 327068 w 561250"/>
                  <a:gd name="connsiteY100" fmla="*/ 794056 h 1202103"/>
                  <a:gd name="connsiteX101" fmla="*/ 334251 w 561250"/>
                  <a:gd name="connsiteY101" fmla="*/ 797794 h 1202103"/>
                  <a:gd name="connsiteX102" fmla="*/ 337006 w 561250"/>
                  <a:gd name="connsiteY102" fmla="*/ 810488 h 1202103"/>
                  <a:gd name="connsiteX103" fmla="*/ 342615 w 561250"/>
                  <a:gd name="connsiteY103" fmla="*/ 825936 h 1202103"/>
                  <a:gd name="connsiteX104" fmla="*/ 350388 w 561250"/>
                  <a:gd name="connsiteY104" fmla="*/ 894026 h 1202103"/>
                  <a:gd name="connsiteX105" fmla="*/ 363573 w 561250"/>
                  <a:gd name="connsiteY105" fmla="*/ 932498 h 1202103"/>
                  <a:gd name="connsiteX106" fmla="*/ 370953 w 561250"/>
                  <a:gd name="connsiteY106" fmla="*/ 968413 h 1202103"/>
                  <a:gd name="connsiteX107" fmla="*/ 373216 w 561250"/>
                  <a:gd name="connsiteY107" fmla="*/ 965363 h 1202103"/>
                  <a:gd name="connsiteX108" fmla="*/ 379120 w 561250"/>
                  <a:gd name="connsiteY108" fmla="*/ 965756 h 1202103"/>
                  <a:gd name="connsiteX109" fmla="*/ 394273 w 561250"/>
                  <a:gd name="connsiteY109" fmla="*/ 994882 h 1202103"/>
                  <a:gd name="connsiteX110" fmla="*/ 402341 w 561250"/>
                  <a:gd name="connsiteY110" fmla="*/ 1030304 h 1202103"/>
                  <a:gd name="connsiteX111" fmla="*/ 405982 w 561250"/>
                  <a:gd name="connsiteY111" fmla="*/ 1048508 h 1202103"/>
                  <a:gd name="connsiteX112" fmla="*/ 398995 w 561250"/>
                  <a:gd name="connsiteY112" fmla="*/ 1062972 h 1202103"/>
                  <a:gd name="connsiteX113" fmla="*/ 406277 w 561250"/>
                  <a:gd name="connsiteY113" fmla="*/ 1071434 h 1202103"/>
                  <a:gd name="connsiteX114" fmla="*/ 397520 w 561250"/>
                  <a:gd name="connsiteY114" fmla="*/ 1074484 h 1202103"/>
                  <a:gd name="connsiteX115" fmla="*/ 398208 w 561250"/>
                  <a:gd name="connsiteY115" fmla="*/ 1085603 h 1202103"/>
                  <a:gd name="connsiteX116" fmla="*/ 405785 w 561250"/>
                  <a:gd name="connsiteY116" fmla="*/ 1087571 h 1202103"/>
                  <a:gd name="connsiteX117" fmla="*/ 407261 w 561250"/>
                  <a:gd name="connsiteY117" fmla="*/ 1086685 h 1202103"/>
                  <a:gd name="connsiteX118" fmla="*/ 415723 w 561250"/>
                  <a:gd name="connsiteY118" fmla="*/ 1097509 h 1202103"/>
                  <a:gd name="connsiteX119" fmla="*/ 402243 w 561250"/>
                  <a:gd name="connsiteY119" fmla="*/ 1144247 h 1202103"/>
                  <a:gd name="connsiteX120" fmla="*/ 392797 w 561250"/>
                  <a:gd name="connsiteY120" fmla="*/ 1161171 h 1202103"/>
                  <a:gd name="connsiteX121" fmla="*/ 396044 w 561250"/>
                  <a:gd name="connsiteY121" fmla="*/ 1202104 h 1202103"/>
                  <a:gd name="connsiteX122" fmla="*/ 414542 w 561250"/>
                  <a:gd name="connsiteY122" fmla="*/ 1184294 h 1202103"/>
                  <a:gd name="connsiteX123" fmla="*/ 414542 w 561250"/>
                  <a:gd name="connsiteY123" fmla="*/ 1158317 h 120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61250" h="1202103">
                    <a:moveTo>
                      <a:pt x="414247" y="1158514"/>
                    </a:moveTo>
                    <a:lnTo>
                      <a:pt x="461083" y="1074681"/>
                    </a:lnTo>
                    <a:lnTo>
                      <a:pt x="449079" y="1032568"/>
                    </a:lnTo>
                    <a:lnTo>
                      <a:pt x="431663" y="1015643"/>
                    </a:lnTo>
                    <a:lnTo>
                      <a:pt x="429597" y="950898"/>
                    </a:lnTo>
                    <a:lnTo>
                      <a:pt x="394273" y="919018"/>
                    </a:lnTo>
                    <a:lnTo>
                      <a:pt x="375873" y="869624"/>
                    </a:lnTo>
                    <a:lnTo>
                      <a:pt x="400078" y="857718"/>
                    </a:lnTo>
                    <a:lnTo>
                      <a:pt x="402439" y="815899"/>
                    </a:lnTo>
                    <a:lnTo>
                      <a:pt x="419954" y="811275"/>
                    </a:lnTo>
                    <a:lnTo>
                      <a:pt x="422119" y="783429"/>
                    </a:lnTo>
                    <a:lnTo>
                      <a:pt x="401357" y="787463"/>
                    </a:lnTo>
                    <a:lnTo>
                      <a:pt x="392403" y="754205"/>
                    </a:lnTo>
                    <a:lnTo>
                      <a:pt x="325789" y="661024"/>
                    </a:lnTo>
                    <a:lnTo>
                      <a:pt x="353832" y="648331"/>
                    </a:lnTo>
                    <a:lnTo>
                      <a:pt x="361507" y="580536"/>
                    </a:lnTo>
                    <a:lnTo>
                      <a:pt x="428318" y="576306"/>
                    </a:lnTo>
                    <a:lnTo>
                      <a:pt x="436681" y="550132"/>
                    </a:lnTo>
                    <a:lnTo>
                      <a:pt x="493456" y="539603"/>
                    </a:lnTo>
                    <a:lnTo>
                      <a:pt x="561251" y="462166"/>
                    </a:lnTo>
                    <a:lnTo>
                      <a:pt x="552985" y="439928"/>
                    </a:lnTo>
                    <a:lnTo>
                      <a:pt x="500737" y="463642"/>
                    </a:lnTo>
                    <a:lnTo>
                      <a:pt x="485190" y="429794"/>
                    </a:lnTo>
                    <a:lnTo>
                      <a:pt x="440027" y="425267"/>
                    </a:lnTo>
                    <a:lnTo>
                      <a:pt x="445931" y="379120"/>
                    </a:lnTo>
                    <a:lnTo>
                      <a:pt x="463150" y="374790"/>
                    </a:lnTo>
                    <a:lnTo>
                      <a:pt x="455770" y="356292"/>
                    </a:lnTo>
                    <a:lnTo>
                      <a:pt x="423004" y="356292"/>
                    </a:lnTo>
                    <a:lnTo>
                      <a:pt x="407261" y="311128"/>
                    </a:lnTo>
                    <a:lnTo>
                      <a:pt x="423004" y="286628"/>
                    </a:lnTo>
                    <a:lnTo>
                      <a:pt x="373806" y="286628"/>
                    </a:lnTo>
                    <a:lnTo>
                      <a:pt x="337597" y="307389"/>
                    </a:lnTo>
                    <a:lnTo>
                      <a:pt x="336416" y="256519"/>
                    </a:lnTo>
                    <a:lnTo>
                      <a:pt x="350388" y="245695"/>
                    </a:lnTo>
                    <a:lnTo>
                      <a:pt x="356489" y="219620"/>
                    </a:lnTo>
                    <a:lnTo>
                      <a:pt x="406670" y="175932"/>
                    </a:lnTo>
                    <a:lnTo>
                      <a:pt x="405490" y="62285"/>
                    </a:lnTo>
                    <a:lnTo>
                      <a:pt x="382564" y="66122"/>
                    </a:lnTo>
                    <a:lnTo>
                      <a:pt x="372822" y="19876"/>
                    </a:lnTo>
                    <a:lnTo>
                      <a:pt x="336514" y="0"/>
                    </a:lnTo>
                    <a:lnTo>
                      <a:pt x="323034" y="25878"/>
                    </a:lnTo>
                    <a:lnTo>
                      <a:pt x="333366" y="42212"/>
                    </a:lnTo>
                    <a:lnTo>
                      <a:pt x="296467" y="61399"/>
                    </a:lnTo>
                    <a:lnTo>
                      <a:pt x="314966" y="93673"/>
                    </a:lnTo>
                    <a:lnTo>
                      <a:pt x="293122" y="93673"/>
                    </a:lnTo>
                    <a:lnTo>
                      <a:pt x="277477" y="75667"/>
                    </a:lnTo>
                    <a:lnTo>
                      <a:pt x="215487" y="118370"/>
                    </a:lnTo>
                    <a:lnTo>
                      <a:pt x="184788" y="126734"/>
                    </a:lnTo>
                    <a:lnTo>
                      <a:pt x="185968" y="169536"/>
                    </a:lnTo>
                    <a:lnTo>
                      <a:pt x="148086" y="215291"/>
                    </a:lnTo>
                    <a:lnTo>
                      <a:pt x="161369" y="233395"/>
                    </a:lnTo>
                    <a:lnTo>
                      <a:pt x="125356" y="309849"/>
                    </a:lnTo>
                    <a:lnTo>
                      <a:pt x="75863" y="292334"/>
                    </a:lnTo>
                    <a:lnTo>
                      <a:pt x="69861" y="306208"/>
                    </a:lnTo>
                    <a:lnTo>
                      <a:pt x="80488" y="314670"/>
                    </a:lnTo>
                    <a:lnTo>
                      <a:pt x="79307" y="361605"/>
                    </a:lnTo>
                    <a:lnTo>
                      <a:pt x="61793" y="368690"/>
                    </a:lnTo>
                    <a:lnTo>
                      <a:pt x="71042" y="414050"/>
                    </a:lnTo>
                    <a:lnTo>
                      <a:pt x="55200" y="431466"/>
                    </a:lnTo>
                    <a:lnTo>
                      <a:pt x="42310" y="419265"/>
                    </a:lnTo>
                    <a:lnTo>
                      <a:pt x="28535" y="425661"/>
                    </a:lnTo>
                    <a:lnTo>
                      <a:pt x="28535" y="425661"/>
                    </a:lnTo>
                    <a:lnTo>
                      <a:pt x="39063" y="482435"/>
                    </a:lnTo>
                    <a:lnTo>
                      <a:pt x="12398" y="468266"/>
                    </a:lnTo>
                    <a:lnTo>
                      <a:pt x="0" y="487749"/>
                    </a:lnTo>
                    <a:cubicBezTo>
                      <a:pt x="7576" y="504968"/>
                      <a:pt x="10627" y="512643"/>
                      <a:pt x="12004" y="506838"/>
                    </a:cubicBezTo>
                    <a:cubicBezTo>
                      <a:pt x="13677" y="499655"/>
                      <a:pt x="16039" y="507428"/>
                      <a:pt x="55298" y="562825"/>
                    </a:cubicBezTo>
                    <a:cubicBezTo>
                      <a:pt x="59529" y="568827"/>
                      <a:pt x="67303" y="570401"/>
                      <a:pt x="65138" y="563317"/>
                    </a:cubicBezTo>
                    <a:cubicBezTo>
                      <a:pt x="64744" y="560365"/>
                      <a:pt x="58447" y="549247"/>
                      <a:pt x="66417" y="550427"/>
                    </a:cubicBezTo>
                    <a:cubicBezTo>
                      <a:pt x="67992" y="551018"/>
                      <a:pt x="77241" y="550132"/>
                      <a:pt x="78618" y="557512"/>
                    </a:cubicBezTo>
                    <a:cubicBezTo>
                      <a:pt x="79406" y="559873"/>
                      <a:pt x="78815" y="569319"/>
                      <a:pt x="86195" y="571878"/>
                    </a:cubicBezTo>
                    <a:cubicBezTo>
                      <a:pt x="91902" y="574632"/>
                      <a:pt x="102135" y="575026"/>
                      <a:pt x="104398" y="583095"/>
                    </a:cubicBezTo>
                    <a:lnTo>
                      <a:pt x="104398" y="583095"/>
                    </a:lnTo>
                    <a:cubicBezTo>
                      <a:pt x="107055" y="592934"/>
                      <a:pt x="91311" y="578371"/>
                      <a:pt x="93476" y="587424"/>
                    </a:cubicBezTo>
                    <a:cubicBezTo>
                      <a:pt x="94165" y="590081"/>
                      <a:pt x="92197" y="592541"/>
                      <a:pt x="89147" y="592737"/>
                    </a:cubicBezTo>
                    <a:lnTo>
                      <a:pt x="85998" y="593032"/>
                    </a:lnTo>
                    <a:cubicBezTo>
                      <a:pt x="76355" y="593820"/>
                      <a:pt x="90524" y="604840"/>
                      <a:pt x="105284" y="627471"/>
                    </a:cubicBezTo>
                    <a:cubicBezTo>
                      <a:pt x="110007" y="633867"/>
                      <a:pt x="108727" y="619698"/>
                      <a:pt x="109318" y="615762"/>
                    </a:cubicBezTo>
                    <a:cubicBezTo>
                      <a:pt x="109711" y="608382"/>
                      <a:pt x="118764" y="605627"/>
                      <a:pt x="118764" y="612909"/>
                    </a:cubicBezTo>
                    <a:cubicBezTo>
                      <a:pt x="119157" y="620485"/>
                      <a:pt x="117386" y="629341"/>
                      <a:pt x="121322" y="636917"/>
                    </a:cubicBezTo>
                    <a:cubicBezTo>
                      <a:pt x="136869" y="667420"/>
                      <a:pt x="142773" y="674799"/>
                      <a:pt x="144740" y="684541"/>
                    </a:cubicBezTo>
                    <a:lnTo>
                      <a:pt x="150644" y="713076"/>
                    </a:lnTo>
                    <a:cubicBezTo>
                      <a:pt x="152710" y="723211"/>
                      <a:pt x="148086" y="728524"/>
                      <a:pt x="127816" y="807241"/>
                    </a:cubicBezTo>
                    <a:cubicBezTo>
                      <a:pt x="125947" y="814325"/>
                      <a:pt x="133130" y="820721"/>
                      <a:pt x="137361" y="814620"/>
                    </a:cubicBezTo>
                    <a:cubicBezTo>
                      <a:pt x="139821" y="811767"/>
                      <a:pt x="143560" y="803207"/>
                      <a:pt x="150349" y="801829"/>
                    </a:cubicBezTo>
                    <a:cubicBezTo>
                      <a:pt x="157532" y="800353"/>
                      <a:pt x="148283" y="812357"/>
                      <a:pt x="146315" y="817179"/>
                    </a:cubicBezTo>
                    <a:cubicBezTo>
                      <a:pt x="142084" y="825050"/>
                      <a:pt x="156745" y="825346"/>
                      <a:pt x="168454" y="830757"/>
                    </a:cubicBezTo>
                    <a:cubicBezTo>
                      <a:pt x="176227" y="833512"/>
                      <a:pt x="175342" y="821016"/>
                      <a:pt x="177014" y="816490"/>
                    </a:cubicBezTo>
                    <a:cubicBezTo>
                      <a:pt x="178490" y="809307"/>
                      <a:pt x="187051" y="805273"/>
                      <a:pt x="186657" y="812554"/>
                    </a:cubicBezTo>
                    <a:cubicBezTo>
                      <a:pt x="187248" y="823181"/>
                      <a:pt x="182229" y="836464"/>
                      <a:pt x="191085" y="836464"/>
                    </a:cubicBezTo>
                    <a:cubicBezTo>
                      <a:pt x="196693" y="835874"/>
                      <a:pt x="206336" y="838727"/>
                      <a:pt x="211059" y="831840"/>
                    </a:cubicBezTo>
                    <a:cubicBezTo>
                      <a:pt x="222276" y="816588"/>
                      <a:pt x="225720" y="807634"/>
                      <a:pt x="233887" y="803010"/>
                    </a:cubicBezTo>
                    <a:cubicBezTo>
                      <a:pt x="244416" y="795630"/>
                      <a:pt x="257601" y="793465"/>
                      <a:pt x="254255" y="785101"/>
                    </a:cubicBezTo>
                    <a:cubicBezTo>
                      <a:pt x="252287" y="778608"/>
                      <a:pt x="243038" y="764439"/>
                      <a:pt x="251500" y="767193"/>
                    </a:cubicBezTo>
                    <a:cubicBezTo>
                      <a:pt x="253173" y="768178"/>
                      <a:pt x="257010" y="769063"/>
                      <a:pt x="259569" y="773884"/>
                    </a:cubicBezTo>
                    <a:cubicBezTo>
                      <a:pt x="262127" y="777230"/>
                      <a:pt x="265177" y="789529"/>
                      <a:pt x="271081" y="783822"/>
                    </a:cubicBezTo>
                    <a:cubicBezTo>
                      <a:pt x="276394" y="777919"/>
                      <a:pt x="284856" y="773195"/>
                      <a:pt x="286037" y="764635"/>
                    </a:cubicBezTo>
                    <a:lnTo>
                      <a:pt x="290268" y="733739"/>
                    </a:lnTo>
                    <a:cubicBezTo>
                      <a:pt x="290662" y="730689"/>
                      <a:pt x="293417" y="729114"/>
                      <a:pt x="296270" y="730098"/>
                    </a:cubicBezTo>
                    <a:lnTo>
                      <a:pt x="296959" y="730295"/>
                    </a:lnTo>
                    <a:cubicBezTo>
                      <a:pt x="306405" y="733739"/>
                      <a:pt x="305323" y="743874"/>
                      <a:pt x="327068" y="794056"/>
                    </a:cubicBezTo>
                    <a:cubicBezTo>
                      <a:pt x="328249" y="796909"/>
                      <a:pt x="331496" y="798582"/>
                      <a:pt x="334251" y="797794"/>
                    </a:cubicBezTo>
                    <a:cubicBezTo>
                      <a:pt x="341631" y="795728"/>
                      <a:pt x="337006" y="807438"/>
                      <a:pt x="337006" y="810488"/>
                    </a:cubicBezTo>
                    <a:cubicBezTo>
                      <a:pt x="335727" y="818261"/>
                      <a:pt x="341237" y="823181"/>
                      <a:pt x="342615" y="825936"/>
                    </a:cubicBezTo>
                    <a:cubicBezTo>
                      <a:pt x="348125" y="834201"/>
                      <a:pt x="345567" y="842171"/>
                      <a:pt x="350388" y="894026"/>
                    </a:cubicBezTo>
                    <a:cubicBezTo>
                      <a:pt x="351077" y="903374"/>
                      <a:pt x="355701" y="911048"/>
                      <a:pt x="363573" y="932498"/>
                    </a:cubicBezTo>
                    <a:cubicBezTo>
                      <a:pt x="368886" y="946274"/>
                      <a:pt x="364065" y="977859"/>
                      <a:pt x="370953" y="968413"/>
                    </a:cubicBezTo>
                    <a:lnTo>
                      <a:pt x="373216" y="965363"/>
                    </a:lnTo>
                    <a:cubicBezTo>
                      <a:pt x="374987" y="962903"/>
                      <a:pt x="377644" y="963100"/>
                      <a:pt x="379120" y="965756"/>
                    </a:cubicBezTo>
                    <a:lnTo>
                      <a:pt x="394273" y="994882"/>
                    </a:lnTo>
                    <a:cubicBezTo>
                      <a:pt x="398504" y="1002852"/>
                      <a:pt x="398504" y="1011412"/>
                      <a:pt x="402341" y="1030304"/>
                    </a:cubicBezTo>
                    <a:cubicBezTo>
                      <a:pt x="403915" y="1038963"/>
                      <a:pt x="411393" y="1043194"/>
                      <a:pt x="405982" y="1048508"/>
                    </a:cubicBezTo>
                    <a:cubicBezTo>
                      <a:pt x="403325" y="1052050"/>
                      <a:pt x="392206" y="1058249"/>
                      <a:pt x="398995" y="1062972"/>
                    </a:cubicBezTo>
                    <a:cubicBezTo>
                      <a:pt x="399980" y="1063857"/>
                      <a:pt x="406867" y="1067498"/>
                      <a:pt x="406277" y="1071434"/>
                    </a:cubicBezTo>
                    <a:cubicBezTo>
                      <a:pt x="405785" y="1075271"/>
                      <a:pt x="398504" y="1074386"/>
                      <a:pt x="397520" y="1074484"/>
                    </a:cubicBezTo>
                    <a:cubicBezTo>
                      <a:pt x="389746" y="1074484"/>
                      <a:pt x="397520" y="1083733"/>
                      <a:pt x="398208" y="1085603"/>
                    </a:cubicBezTo>
                    <a:cubicBezTo>
                      <a:pt x="399684" y="1088259"/>
                      <a:pt x="403128" y="1089145"/>
                      <a:pt x="405785" y="1087571"/>
                    </a:cubicBezTo>
                    <a:lnTo>
                      <a:pt x="407261" y="1086685"/>
                    </a:lnTo>
                    <a:cubicBezTo>
                      <a:pt x="413558" y="1082946"/>
                      <a:pt x="417396" y="1090326"/>
                      <a:pt x="415723" y="1097509"/>
                    </a:cubicBezTo>
                    <a:cubicBezTo>
                      <a:pt x="407851" y="1127913"/>
                      <a:pt x="408540" y="1136966"/>
                      <a:pt x="402243" y="1144247"/>
                    </a:cubicBezTo>
                    <a:cubicBezTo>
                      <a:pt x="399684" y="1147986"/>
                      <a:pt x="392206" y="1153103"/>
                      <a:pt x="392797" y="1161171"/>
                    </a:cubicBezTo>
                    <a:cubicBezTo>
                      <a:pt x="394076" y="1183310"/>
                      <a:pt x="395945" y="1194428"/>
                      <a:pt x="396044" y="1202104"/>
                    </a:cubicBezTo>
                    <a:lnTo>
                      <a:pt x="414542" y="1184294"/>
                    </a:lnTo>
                    <a:lnTo>
                      <a:pt x="414542" y="1158317"/>
                    </a:lnTo>
                    <a:close/>
                  </a:path>
                </a:pathLst>
              </a:custGeom>
              <a:grpFill/>
              <a:ln w="9835" cap="flat">
                <a:noFill/>
                <a:prstDash val="solid"/>
                <a:miter/>
              </a:ln>
            </p:spPr>
            <p:txBody>
              <a:bodyPr rtlCol="0" anchor="ctr"/>
              <a:lstStyle/>
              <a:p>
                <a:endParaRPr lang="en-IN"/>
              </a:p>
            </p:txBody>
          </p:sp>
        </p:grpSp>
        <p:sp>
          <p:nvSpPr>
            <p:cNvPr id="487" name="Freeform: Shape 486">
              <a:extLst>
                <a:ext uri="{FF2B5EF4-FFF2-40B4-BE49-F238E27FC236}">
                  <a16:creationId xmlns:a16="http://schemas.microsoft.com/office/drawing/2014/main" id="{6F583496-FA4E-1FF5-02CA-7C2883B9605E}"/>
                </a:ext>
              </a:extLst>
            </p:cNvPr>
            <p:cNvSpPr/>
            <p:nvPr/>
          </p:nvSpPr>
          <p:spPr>
            <a:xfrm>
              <a:off x="10490494" y="2633821"/>
              <a:ext cx="1991534" cy="825443"/>
            </a:xfrm>
            <a:custGeom>
              <a:avLst/>
              <a:gdLst>
                <a:gd name="connsiteX0" fmla="*/ 18498 w 1991534"/>
                <a:gd name="connsiteY0" fmla="*/ 276689 h 825443"/>
                <a:gd name="connsiteX1" fmla="*/ 13874 w 1991534"/>
                <a:gd name="connsiteY1" fmla="*/ 291055 h 825443"/>
                <a:gd name="connsiteX2" fmla="*/ 44081 w 1991534"/>
                <a:gd name="connsiteY2" fmla="*/ 303650 h 825443"/>
                <a:gd name="connsiteX3" fmla="*/ 46837 w 1991534"/>
                <a:gd name="connsiteY3" fmla="*/ 321558 h 825443"/>
                <a:gd name="connsiteX4" fmla="*/ 77930 w 1991534"/>
                <a:gd name="connsiteY4" fmla="*/ 335137 h 825443"/>
                <a:gd name="connsiteX5" fmla="*/ 109318 w 1991534"/>
                <a:gd name="connsiteY5" fmla="*/ 332283 h 825443"/>
                <a:gd name="connsiteX6" fmla="*/ 153891 w 1991534"/>
                <a:gd name="connsiteY6" fmla="*/ 355800 h 825443"/>
                <a:gd name="connsiteX7" fmla="*/ 173078 w 1991534"/>
                <a:gd name="connsiteY7" fmla="*/ 405982 h 825443"/>
                <a:gd name="connsiteX8" fmla="*/ 197579 w 1991534"/>
                <a:gd name="connsiteY8" fmla="*/ 419265 h 825443"/>
                <a:gd name="connsiteX9" fmla="*/ 198465 w 1991534"/>
                <a:gd name="connsiteY9" fmla="*/ 492177 h 825443"/>
                <a:gd name="connsiteX10" fmla="*/ 173570 w 1991534"/>
                <a:gd name="connsiteY10" fmla="*/ 520810 h 825443"/>
                <a:gd name="connsiteX11" fmla="*/ 193250 w 1991534"/>
                <a:gd name="connsiteY11" fmla="*/ 557118 h 825443"/>
                <a:gd name="connsiteX12" fmla="*/ 350979 w 1991534"/>
                <a:gd name="connsiteY12" fmla="*/ 571287 h 825443"/>
                <a:gd name="connsiteX13" fmla="*/ 468266 w 1991534"/>
                <a:gd name="connsiteY13" fmla="*/ 623338 h 825443"/>
                <a:gd name="connsiteX14" fmla="*/ 536258 w 1991534"/>
                <a:gd name="connsiteY14" fmla="*/ 744562 h 825443"/>
                <a:gd name="connsiteX15" fmla="*/ 842958 w 1991534"/>
                <a:gd name="connsiteY15" fmla="*/ 744562 h 825443"/>
                <a:gd name="connsiteX16" fmla="*/ 983960 w 1991534"/>
                <a:gd name="connsiteY16" fmla="*/ 807831 h 825443"/>
                <a:gd name="connsiteX17" fmla="*/ 1034240 w 1991534"/>
                <a:gd name="connsiteY17" fmla="*/ 801435 h 825443"/>
                <a:gd name="connsiteX18" fmla="*/ 1067400 w 1991534"/>
                <a:gd name="connsiteY18" fmla="*/ 825444 h 825443"/>
                <a:gd name="connsiteX19" fmla="*/ 1219815 w 1991534"/>
                <a:gd name="connsiteY19" fmla="*/ 761487 h 825443"/>
                <a:gd name="connsiteX20" fmla="*/ 1369377 w 1991534"/>
                <a:gd name="connsiteY20" fmla="*/ 753319 h 825443"/>
                <a:gd name="connsiteX21" fmla="*/ 1498275 w 1991534"/>
                <a:gd name="connsiteY21" fmla="*/ 661024 h 825443"/>
                <a:gd name="connsiteX22" fmla="*/ 1464231 w 1991534"/>
                <a:gd name="connsiteY22" fmla="*/ 614581 h 825443"/>
                <a:gd name="connsiteX23" fmla="*/ 1502998 w 1991534"/>
                <a:gd name="connsiteY23" fmla="*/ 561054 h 825443"/>
                <a:gd name="connsiteX24" fmla="*/ 1601689 w 1991534"/>
                <a:gd name="connsiteY24" fmla="*/ 588113 h 825443"/>
                <a:gd name="connsiteX25" fmla="*/ 1659546 w 1991534"/>
                <a:gd name="connsiteY25" fmla="*/ 537144 h 825443"/>
                <a:gd name="connsiteX26" fmla="*/ 1715828 w 1991534"/>
                <a:gd name="connsiteY26" fmla="*/ 537144 h 825443"/>
                <a:gd name="connsiteX27" fmla="*/ 1764338 w 1991534"/>
                <a:gd name="connsiteY27" fmla="*/ 508117 h 825443"/>
                <a:gd name="connsiteX28" fmla="*/ 1776736 w 1991534"/>
                <a:gd name="connsiteY28" fmla="*/ 465610 h 825443"/>
                <a:gd name="connsiteX29" fmla="*/ 1834002 w 1991534"/>
                <a:gd name="connsiteY29" fmla="*/ 465610 h 825443"/>
                <a:gd name="connsiteX30" fmla="*/ 1852992 w 1991534"/>
                <a:gd name="connsiteY30" fmla="*/ 436091 h 825443"/>
                <a:gd name="connsiteX31" fmla="*/ 1991534 w 1991534"/>
                <a:gd name="connsiteY31" fmla="*/ 445144 h 825443"/>
                <a:gd name="connsiteX32" fmla="*/ 1991534 w 1991534"/>
                <a:gd name="connsiteY32" fmla="*/ 412771 h 825443"/>
                <a:gd name="connsiteX33" fmla="*/ 1907012 w 1991534"/>
                <a:gd name="connsiteY33" fmla="*/ 335530 h 825443"/>
                <a:gd name="connsiteX34" fmla="*/ 1861356 w 1991534"/>
                <a:gd name="connsiteY34" fmla="*/ 330315 h 825443"/>
                <a:gd name="connsiteX35" fmla="*/ 1834002 w 1991534"/>
                <a:gd name="connsiteY35" fmla="*/ 359047 h 825443"/>
                <a:gd name="connsiteX36" fmla="*/ 1786575 w 1991534"/>
                <a:gd name="connsiteY36" fmla="*/ 340155 h 825443"/>
                <a:gd name="connsiteX37" fmla="*/ 1752924 w 1991534"/>
                <a:gd name="connsiteY37" fmla="*/ 364754 h 825443"/>
                <a:gd name="connsiteX38" fmla="*/ 1714353 w 1991534"/>
                <a:gd name="connsiteY38" fmla="*/ 327855 h 825443"/>
                <a:gd name="connsiteX39" fmla="*/ 1791397 w 1991534"/>
                <a:gd name="connsiteY39" fmla="*/ 184492 h 825443"/>
                <a:gd name="connsiteX40" fmla="*/ 1754499 w 1991534"/>
                <a:gd name="connsiteY40" fmla="*/ 168848 h 825443"/>
                <a:gd name="connsiteX41" fmla="*/ 1724980 w 1991534"/>
                <a:gd name="connsiteY41" fmla="*/ 184394 h 825443"/>
                <a:gd name="connsiteX42" fmla="*/ 1658563 w 1991534"/>
                <a:gd name="connsiteY42" fmla="*/ 150743 h 825443"/>
                <a:gd name="connsiteX43" fmla="*/ 1583092 w 1991534"/>
                <a:gd name="connsiteY43" fmla="*/ 181049 h 825443"/>
                <a:gd name="connsiteX44" fmla="*/ 1564201 w 1991534"/>
                <a:gd name="connsiteY44" fmla="*/ 213815 h 825443"/>
                <a:gd name="connsiteX45" fmla="*/ 1520710 w 1991534"/>
                <a:gd name="connsiteY45" fmla="*/ 211355 h 825443"/>
                <a:gd name="connsiteX46" fmla="*/ 1424774 w 1991534"/>
                <a:gd name="connsiteY46" fmla="*/ 248056 h 825443"/>
                <a:gd name="connsiteX47" fmla="*/ 1355109 w 1991534"/>
                <a:gd name="connsiteY47" fmla="*/ 224835 h 825443"/>
                <a:gd name="connsiteX48" fmla="*/ 1274720 w 1991534"/>
                <a:gd name="connsiteY48" fmla="*/ 220407 h 825443"/>
                <a:gd name="connsiteX49" fmla="*/ 1250121 w 1991534"/>
                <a:gd name="connsiteY49" fmla="*/ 178786 h 825443"/>
                <a:gd name="connsiteX50" fmla="*/ 1199152 w 1991534"/>
                <a:gd name="connsiteY50" fmla="*/ 170816 h 825443"/>
                <a:gd name="connsiteX51" fmla="*/ 1175832 w 1991534"/>
                <a:gd name="connsiteY51" fmla="*/ 146020 h 825443"/>
                <a:gd name="connsiteX52" fmla="*/ 1081864 w 1991534"/>
                <a:gd name="connsiteY52" fmla="*/ 138050 h 825443"/>
                <a:gd name="connsiteX53" fmla="*/ 1012691 w 1991534"/>
                <a:gd name="connsiteY53" fmla="*/ 163534 h 825443"/>
                <a:gd name="connsiteX54" fmla="*/ 907014 w 1991534"/>
                <a:gd name="connsiteY54" fmla="*/ 138738 h 825443"/>
                <a:gd name="connsiteX55" fmla="*/ 888122 w 1991534"/>
                <a:gd name="connsiteY55" fmla="*/ 60809 h 825443"/>
                <a:gd name="connsiteX56" fmla="*/ 685721 w 1991534"/>
                <a:gd name="connsiteY56" fmla="*/ 0 h 825443"/>
                <a:gd name="connsiteX57" fmla="*/ 675882 w 1991534"/>
                <a:gd name="connsiteY57" fmla="*/ 28338 h 825443"/>
                <a:gd name="connsiteX58" fmla="*/ 646363 w 1991534"/>
                <a:gd name="connsiteY58" fmla="*/ 38178 h 825443"/>
                <a:gd name="connsiteX59" fmla="*/ 622354 w 1991534"/>
                <a:gd name="connsiteY59" fmla="*/ 88556 h 825443"/>
                <a:gd name="connsiteX60" fmla="*/ 634654 w 1991534"/>
                <a:gd name="connsiteY60" fmla="*/ 124569 h 825443"/>
                <a:gd name="connsiteX61" fmla="*/ 651873 w 1991534"/>
                <a:gd name="connsiteY61" fmla="*/ 134704 h 825443"/>
                <a:gd name="connsiteX62" fmla="*/ 642034 w 1991534"/>
                <a:gd name="connsiteY62" fmla="*/ 175538 h 825443"/>
                <a:gd name="connsiteX63" fmla="*/ 613105 w 1991534"/>
                <a:gd name="connsiteY63" fmla="*/ 175538 h 825443"/>
                <a:gd name="connsiteX64" fmla="*/ 593426 w 1991534"/>
                <a:gd name="connsiteY64" fmla="*/ 199842 h 825443"/>
                <a:gd name="connsiteX65" fmla="*/ 562727 w 1991534"/>
                <a:gd name="connsiteY65" fmla="*/ 183902 h 825443"/>
                <a:gd name="connsiteX66" fmla="*/ 424185 w 1991534"/>
                <a:gd name="connsiteY66" fmla="*/ 173275 h 825443"/>
                <a:gd name="connsiteX67" fmla="*/ 406179 w 1991534"/>
                <a:gd name="connsiteY67" fmla="*/ 157335 h 825443"/>
                <a:gd name="connsiteX68" fmla="*/ 402046 w 1991534"/>
                <a:gd name="connsiteY68" fmla="*/ 128997 h 825443"/>
                <a:gd name="connsiteX69" fmla="*/ 330315 w 1991534"/>
                <a:gd name="connsiteY69" fmla="*/ 124668 h 825443"/>
                <a:gd name="connsiteX70" fmla="*/ 315949 w 1991534"/>
                <a:gd name="connsiteY70" fmla="*/ 105677 h 825443"/>
                <a:gd name="connsiteX71" fmla="*/ 297943 w 1991534"/>
                <a:gd name="connsiteY71" fmla="*/ 113844 h 825443"/>
                <a:gd name="connsiteX72" fmla="*/ 279740 w 1991534"/>
                <a:gd name="connsiteY72" fmla="*/ 104300 h 825443"/>
                <a:gd name="connsiteX73" fmla="*/ 110400 w 1991534"/>
                <a:gd name="connsiteY73" fmla="*/ 179376 h 825443"/>
                <a:gd name="connsiteX74" fmla="*/ 113942 w 1991534"/>
                <a:gd name="connsiteY74" fmla="*/ 197776 h 825443"/>
                <a:gd name="connsiteX75" fmla="*/ 77831 w 1991534"/>
                <a:gd name="connsiteY75" fmla="*/ 218341 h 825443"/>
                <a:gd name="connsiteX76" fmla="*/ 22533 w 1991534"/>
                <a:gd name="connsiteY76" fmla="*/ 217652 h 825443"/>
                <a:gd name="connsiteX77" fmla="*/ 26764 w 1991534"/>
                <a:gd name="connsiteY77" fmla="*/ 238217 h 825443"/>
                <a:gd name="connsiteX78" fmla="*/ 3050 w 1991534"/>
                <a:gd name="connsiteY78" fmla="*/ 242644 h 825443"/>
                <a:gd name="connsiteX79" fmla="*/ 0 w 1991534"/>
                <a:gd name="connsiteY79" fmla="*/ 268621 h 825443"/>
                <a:gd name="connsiteX80" fmla="*/ 18498 w 1991534"/>
                <a:gd name="connsiteY80" fmla="*/ 276788 h 825443"/>
                <a:gd name="connsiteX81" fmla="*/ 275509 w 1991534"/>
                <a:gd name="connsiteY81" fmla="*/ 139919 h 825443"/>
                <a:gd name="connsiteX82" fmla="*/ 296565 w 1991534"/>
                <a:gd name="connsiteY82" fmla="*/ 135294 h 825443"/>
                <a:gd name="connsiteX83" fmla="*/ 305716 w 1991534"/>
                <a:gd name="connsiteY83" fmla="*/ 129981 h 825443"/>
                <a:gd name="connsiteX84" fmla="*/ 309062 w 1991534"/>
                <a:gd name="connsiteY84" fmla="*/ 126242 h 825443"/>
                <a:gd name="connsiteX85" fmla="*/ 316244 w 1991534"/>
                <a:gd name="connsiteY85" fmla="*/ 126537 h 825443"/>
                <a:gd name="connsiteX86" fmla="*/ 324018 w 1991534"/>
                <a:gd name="connsiteY86" fmla="*/ 136574 h 825443"/>
                <a:gd name="connsiteX87" fmla="*/ 332677 w 1991534"/>
                <a:gd name="connsiteY87" fmla="*/ 142969 h 825443"/>
                <a:gd name="connsiteX88" fmla="*/ 337695 w 1991534"/>
                <a:gd name="connsiteY88" fmla="*/ 144839 h 825443"/>
                <a:gd name="connsiteX89" fmla="*/ 342811 w 1991534"/>
                <a:gd name="connsiteY89" fmla="*/ 152317 h 825443"/>
                <a:gd name="connsiteX90" fmla="*/ 342910 w 1991534"/>
                <a:gd name="connsiteY90" fmla="*/ 157532 h 825443"/>
                <a:gd name="connsiteX91" fmla="*/ 327855 w 1991534"/>
                <a:gd name="connsiteY91" fmla="*/ 157827 h 825443"/>
                <a:gd name="connsiteX92" fmla="*/ 319787 w 1991534"/>
                <a:gd name="connsiteY92" fmla="*/ 162255 h 825443"/>
                <a:gd name="connsiteX93" fmla="*/ 318901 w 1991534"/>
                <a:gd name="connsiteY93" fmla="*/ 163928 h 825443"/>
                <a:gd name="connsiteX94" fmla="*/ 311128 w 1991534"/>
                <a:gd name="connsiteY94" fmla="*/ 170717 h 825443"/>
                <a:gd name="connsiteX95" fmla="*/ 297746 w 1991534"/>
                <a:gd name="connsiteY95" fmla="*/ 175243 h 825443"/>
                <a:gd name="connsiteX96" fmla="*/ 289481 w 1991534"/>
                <a:gd name="connsiteY96" fmla="*/ 172291 h 825443"/>
                <a:gd name="connsiteX97" fmla="*/ 272950 w 1991534"/>
                <a:gd name="connsiteY97" fmla="*/ 145921 h 825443"/>
                <a:gd name="connsiteX98" fmla="*/ 275410 w 1991534"/>
                <a:gd name="connsiteY98" fmla="*/ 140018 h 82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991534" h="825443">
                  <a:moveTo>
                    <a:pt x="18498" y="276689"/>
                  </a:moveTo>
                  <a:lnTo>
                    <a:pt x="13874" y="291055"/>
                  </a:lnTo>
                  <a:lnTo>
                    <a:pt x="44081" y="303650"/>
                  </a:lnTo>
                  <a:lnTo>
                    <a:pt x="46837" y="321558"/>
                  </a:lnTo>
                  <a:lnTo>
                    <a:pt x="77930" y="335137"/>
                  </a:lnTo>
                  <a:lnTo>
                    <a:pt x="109318" y="332283"/>
                  </a:lnTo>
                  <a:lnTo>
                    <a:pt x="153891" y="355800"/>
                  </a:lnTo>
                  <a:lnTo>
                    <a:pt x="173078" y="405982"/>
                  </a:lnTo>
                  <a:lnTo>
                    <a:pt x="197579" y="419265"/>
                  </a:lnTo>
                  <a:lnTo>
                    <a:pt x="198465" y="492177"/>
                  </a:lnTo>
                  <a:lnTo>
                    <a:pt x="173570" y="520810"/>
                  </a:lnTo>
                  <a:lnTo>
                    <a:pt x="193250" y="557118"/>
                  </a:lnTo>
                  <a:lnTo>
                    <a:pt x="350979" y="571287"/>
                  </a:lnTo>
                  <a:lnTo>
                    <a:pt x="468266" y="623338"/>
                  </a:lnTo>
                  <a:lnTo>
                    <a:pt x="536258" y="744562"/>
                  </a:lnTo>
                  <a:lnTo>
                    <a:pt x="842958" y="744562"/>
                  </a:lnTo>
                  <a:lnTo>
                    <a:pt x="983960" y="807831"/>
                  </a:lnTo>
                  <a:lnTo>
                    <a:pt x="1034240" y="801435"/>
                  </a:lnTo>
                  <a:lnTo>
                    <a:pt x="1067400" y="825444"/>
                  </a:lnTo>
                  <a:lnTo>
                    <a:pt x="1219815" y="761487"/>
                  </a:lnTo>
                  <a:lnTo>
                    <a:pt x="1369377" y="753319"/>
                  </a:lnTo>
                  <a:lnTo>
                    <a:pt x="1498275" y="661024"/>
                  </a:lnTo>
                  <a:lnTo>
                    <a:pt x="1464231" y="614581"/>
                  </a:lnTo>
                  <a:lnTo>
                    <a:pt x="1502998" y="561054"/>
                  </a:lnTo>
                  <a:lnTo>
                    <a:pt x="1601689" y="588113"/>
                  </a:lnTo>
                  <a:lnTo>
                    <a:pt x="1659546" y="537144"/>
                  </a:lnTo>
                  <a:lnTo>
                    <a:pt x="1715828" y="537144"/>
                  </a:lnTo>
                  <a:lnTo>
                    <a:pt x="1764338" y="508117"/>
                  </a:lnTo>
                  <a:lnTo>
                    <a:pt x="1776736" y="465610"/>
                  </a:lnTo>
                  <a:lnTo>
                    <a:pt x="1834002" y="465610"/>
                  </a:lnTo>
                  <a:lnTo>
                    <a:pt x="1852992" y="436091"/>
                  </a:lnTo>
                  <a:lnTo>
                    <a:pt x="1991534" y="445144"/>
                  </a:lnTo>
                  <a:lnTo>
                    <a:pt x="1991534" y="412771"/>
                  </a:lnTo>
                  <a:lnTo>
                    <a:pt x="1907012" y="335530"/>
                  </a:lnTo>
                  <a:lnTo>
                    <a:pt x="1861356" y="330315"/>
                  </a:lnTo>
                  <a:lnTo>
                    <a:pt x="1834002" y="359047"/>
                  </a:lnTo>
                  <a:lnTo>
                    <a:pt x="1786575" y="340155"/>
                  </a:lnTo>
                  <a:lnTo>
                    <a:pt x="1752924" y="364754"/>
                  </a:lnTo>
                  <a:lnTo>
                    <a:pt x="1714353" y="327855"/>
                  </a:lnTo>
                  <a:lnTo>
                    <a:pt x="1791397" y="184492"/>
                  </a:lnTo>
                  <a:lnTo>
                    <a:pt x="1754499" y="168848"/>
                  </a:lnTo>
                  <a:lnTo>
                    <a:pt x="1724980" y="184394"/>
                  </a:lnTo>
                  <a:lnTo>
                    <a:pt x="1658563" y="150743"/>
                  </a:lnTo>
                  <a:lnTo>
                    <a:pt x="1583092" y="181049"/>
                  </a:lnTo>
                  <a:lnTo>
                    <a:pt x="1564201" y="213815"/>
                  </a:lnTo>
                  <a:lnTo>
                    <a:pt x="1520710" y="211355"/>
                  </a:lnTo>
                  <a:lnTo>
                    <a:pt x="1424774" y="248056"/>
                  </a:lnTo>
                  <a:lnTo>
                    <a:pt x="1355109" y="224835"/>
                  </a:lnTo>
                  <a:lnTo>
                    <a:pt x="1274720" y="220407"/>
                  </a:lnTo>
                  <a:lnTo>
                    <a:pt x="1250121" y="178786"/>
                  </a:lnTo>
                  <a:lnTo>
                    <a:pt x="1199152" y="170816"/>
                  </a:lnTo>
                  <a:lnTo>
                    <a:pt x="1175832" y="146020"/>
                  </a:lnTo>
                  <a:lnTo>
                    <a:pt x="1081864" y="138050"/>
                  </a:lnTo>
                  <a:lnTo>
                    <a:pt x="1012691" y="163534"/>
                  </a:lnTo>
                  <a:lnTo>
                    <a:pt x="907014" y="138738"/>
                  </a:lnTo>
                  <a:lnTo>
                    <a:pt x="888122" y="60809"/>
                  </a:lnTo>
                  <a:lnTo>
                    <a:pt x="685721" y="0"/>
                  </a:lnTo>
                  <a:lnTo>
                    <a:pt x="675882" y="28338"/>
                  </a:lnTo>
                  <a:lnTo>
                    <a:pt x="646363" y="38178"/>
                  </a:lnTo>
                  <a:lnTo>
                    <a:pt x="622354" y="88556"/>
                  </a:lnTo>
                  <a:lnTo>
                    <a:pt x="634654" y="124569"/>
                  </a:lnTo>
                  <a:lnTo>
                    <a:pt x="651873" y="134704"/>
                  </a:lnTo>
                  <a:lnTo>
                    <a:pt x="642034" y="175538"/>
                  </a:lnTo>
                  <a:lnTo>
                    <a:pt x="613105" y="175538"/>
                  </a:lnTo>
                  <a:lnTo>
                    <a:pt x="593426" y="199842"/>
                  </a:lnTo>
                  <a:lnTo>
                    <a:pt x="562727" y="183902"/>
                  </a:lnTo>
                  <a:lnTo>
                    <a:pt x="424185" y="173275"/>
                  </a:lnTo>
                  <a:lnTo>
                    <a:pt x="406179" y="157335"/>
                  </a:lnTo>
                  <a:lnTo>
                    <a:pt x="402046" y="128997"/>
                  </a:lnTo>
                  <a:lnTo>
                    <a:pt x="330315" y="124668"/>
                  </a:lnTo>
                  <a:lnTo>
                    <a:pt x="315949" y="105677"/>
                  </a:lnTo>
                  <a:lnTo>
                    <a:pt x="297943" y="113844"/>
                  </a:lnTo>
                  <a:lnTo>
                    <a:pt x="279740" y="104300"/>
                  </a:lnTo>
                  <a:lnTo>
                    <a:pt x="110400" y="179376"/>
                  </a:lnTo>
                  <a:lnTo>
                    <a:pt x="113942" y="197776"/>
                  </a:lnTo>
                  <a:lnTo>
                    <a:pt x="77831" y="218341"/>
                  </a:lnTo>
                  <a:lnTo>
                    <a:pt x="22533" y="217652"/>
                  </a:lnTo>
                  <a:lnTo>
                    <a:pt x="26764" y="238217"/>
                  </a:lnTo>
                  <a:lnTo>
                    <a:pt x="3050" y="242644"/>
                  </a:lnTo>
                  <a:lnTo>
                    <a:pt x="0" y="268621"/>
                  </a:lnTo>
                  <a:lnTo>
                    <a:pt x="18498" y="276788"/>
                  </a:lnTo>
                  <a:close/>
                  <a:moveTo>
                    <a:pt x="275509" y="139919"/>
                  </a:moveTo>
                  <a:lnTo>
                    <a:pt x="296565" y="135294"/>
                  </a:lnTo>
                  <a:cubicBezTo>
                    <a:pt x="299517" y="134606"/>
                    <a:pt x="303650" y="132244"/>
                    <a:pt x="305716" y="129981"/>
                  </a:cubicBezTo>
                  <a:lnTo>
                    <a:pt x="309062" y="126242"/>
                  </a:lnTo>
                  <a:cubicBezTo>
                    <a:pt x="311128" y="123979"/>
                    <a:pt x="314375" y="124077"/>
                    <a:pt x="316244" y="126537"/>
                  </a:cubicBezTo>
                  <a:lnTo>
                    <a:pt x="324018" y="136574"/>
                  </a:lnTo>
                  <a:cubicBezTo>
                    <a:pt x="325887" y="139034"/>
                    <a:pt x="329823" y="141887"/>
                    <a:pt x="332677" y="142969"/>
                  </a:cubicBezTo>
                  <a:lnTo>
                    <a:pt x="337695" y="144839"/>
                  </a:lnTo>
                  <a:cubicBezTo>
                    <a:pt x="340548" y="145921"/>
                    <a:pt x="342910" y="149267"/>
                    <a:pt x="342811" y="152317"/>
                  </a:cubicBezTo>
                  <a:cubicBezTo>
                    <a:pt x="342811" y="152317"/>
                    <a:pt x="342811" y="155564"/>
                    <a:pt x="342910" y="157532"/>
                  </a:cubicBezTo>
                  <a:cubicBezTo>
                    <a:pt x="343107" y="159500"/>
                    <a:pt x="327855" y="157827"/>
                    <a:pt x="327855" y="157827"/>
                  </a:cubicBezTo>
                  <a:cubicBezTo>
                    <a:pt x="324805" y="157532"/>
                    <a:pt x="321164" y="159500"/>
                    <a:pt x="319787" y="162255"/>
                  </a:cubicBezTo>
                  <a:lnTo>
                    <a:pt x="318901" y="163928"/>
                  </a:lnTo>
                  <a:cubicBezTo>
                    <a:pt x="317524" y="166683"/>
                    <a:pt x="313982" y="169733"/>
                    <a:pt x="311128" y="170717"/>
                  </a:cubicBezTo>
                  <a:lnTo>
                    <a:pt x="297746" y="175243"/>
                  </a:lnTo>
                  <a:cubicBezTo>
                    <a:pt x="294893" y="176227"/>
                    <a:pt x="291154" y="174948"/>
                    <a:pt x="289481" y="172291"/>
                  </a:cubicBezTo>
                  <a:lnTo>
                    <a:pt x="272950" y="145921"/>
                  </a:lnTo>
                  <a:cubicBezTo>
                    <a:pt x="271278" y="143363"/>
                    <a:pt x="272458" y="140608"/>
                    <a:pt x="275410" y="140018"/>
                  </a:cubicBezTo>
                  <a:close/>
                </a:path>
              </a:pathLst>
            </a:custGeom>
            <a:grpFill/>
            <a:ln w="9835" cap="flat">
              <a:noFill/>
              <a:prstDash val="solid"/>
              <a:miter/>
            </a:ln>
          </p:spPr>
          <p:txBody>
            <a:bodyPr rtlCol="0" anchor="ctr"/>
            <a:lstStyle/>
            <a:p>
              <a:endParaRPr lang="en-IN"/>
            </a:p>
          </p:txBody>
        </p:sp>
        <p:grpSp>
          <p:nvGrpSpPr>
            <p:cNvPr id="488" name="Graphic 470">
              <a:extLst>
                <a:ext uri="{FF2B5EF4-FFF2-40B4-BE49-F238E27FC236}">
                  <a16:creationId xmlns:a16="http://schemas.microsoft.com/office/drawing/2014/main" id="{BC337F31-4953-5CDD-14CC-C3557E7C554F}"/>
                </a:ext>
              </a:extLst>
            </p:cNvPr>
            <p:cNvGrpSpPr/>
            <p:nvPr/>
          </p:nvGrpSpPr>
          <p:grpSpPr>
            <a:xfrm>
              <a:off x="11251783" y="5735982"/>
              <a:ext cx="1188048" cy="412838"/>
              <a:chOff x="11251783" y="5735982"/>
              <a:chExt cx="1188048" cy="412838"/>
            </a:xfrm>
            <a:grpFill/>
          </p:grpSpPr>
          <p:grpSp>
            <p:nvGrpSpPr>
              <p:cNvPr id="691" name="Graphic 470">
                <a:extLst>
                  <a:ext uri="{FF2B5EF4-FFF2-40B4-BE49-F238E27FC236}">
                    <a16:creationId xmlns:a16="http://schemas.microsoft.com/office/drawing/2014/main" id="{F9E0AF9D-C92A-7211-D132-9E949FDF4969}"/>
                  </a:ext>
                </a:extLst>
              </p:cNvPr>
              <p:cNvGrpSpPr/>
              <p:nvPr/>
            </p:nvGrpSpPr>
            <p:grpSpPr>
              <a:xfrm>
                <a:off x="11834681" y="5735982"/>
                <a:ext cx="605150" cy="412838"/>
                <a:chOff x="11834681" y="5735982"/>
                <a:chExt cx="605150" cy="412838"/>
              </a:xfrm>
              <a:grpFill/>
            </p:grpSpPr>
            <p:sp>
              <p:nvSpPr>
                <p:cNvPr id="695" name="Freeform: Shape 694">
                  <a:extLst>
                    <a:ext uri="{FF2B5EF4-FFF2-40B4-BE49-F238E27FC236}">
                      <a16:creationId xmlns:a16="http://schemas.microsoft.com/office/drawing/2014/main" id="{E9F306B8-683E-B990-BA31-513D51DD3D2B}"/>
                    </a:ext>
                  </a:extLst>
                </p:cNvPr>
                <p:cNvSpPr/>
                <p:nvPr/>
              </p:nvSpPr>
              <p:spPr>
                <a:xfrm>
                  <a:off x="12305309" y="5735982"/>
                  <a:ext cx="13369" cy="17526"/>
                </a:xfrm>
                <a:custGeom>
                  <a:avLst/>
                  <a:gdLst>
                    <a:gd name="connsiteX0" fmla="*/ 0 w 13369"/>
                    <a:gd name="connsiteY0" fmla="*/ 13941 h 17526"/>
                    <a:gd name="connsiteX1" fmla="*/ 5018 w 13369"/>
                    <a:gd name="connsiteY1" fmla="*/ 16991 h 17526"/>
                    <a:gd name="connsiteX2" fmla="*/ 8167 w 13369"/>
                    <a:gd name="connsiteY2" fmla="*/ 15417 h 17526"/>
                    <a:gd name="connsiteX3" fmla="*/ 7872 w 13369"/>
                    <a:gd name="connsiteY3" fmla="*/ 264 h 17526"/>
                    <a:gd name="connsiteX4" fmla="*/ 5412 w 13369"/>
                    <a:gd name="connsiteY4" fmla="*/ 1051 h 17526"/>
                    <a:gd name="connsiteX5" fmla="*/ 98 w 13369"/>
                    <a:gd name="connsiteY5" fmla="*/ 13941 h 1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69" h="17526">
                      <a:moveTo>
                        <a:pt x="0" y="13941"/>
                      </a:moveTo>
                      <a:cubicBezTo>
                        <a:pt x="0" y="16991"/>
                        <a:pt x="2264" y="18369"/>
                        <a:pt x="5018" y="16991"/>
                      </a:cubicBezTo>
                      <a:lnTo>
                        <a:pt x="8167" y="15417"/>
                      </a:lnTo>
                      <a:cubicBezTo>
                        <a:pt x="14956" y="12072"/>
                        <a:pt x="15350" y="-2097"/>
                        <a:pt x="7872" y="264"/>
                      </a:cubicBezTo>
                      <a:lnTo>
                        <a:pt x="5412" y="1051"/>
                      </a:lnTo>
                      <a:cubicBezTo>
                        <a:pt x="-1673" y="3314"/>
                        <a:pt x="394" y="12269"/>
                        <a:pt x="98" y="13941"/>
                      </a:cubicBezTo>
                      <a:close/>
                    </a:path>
                  </a:pathLst>
                </a:custGeom>
                <a:grpFill/>
                <a:ln w="9835" cap="flat">
                  <a:noFill/>
                  <a:prstDash val="solid"/>
                  <a:miter/>
                </a:ln>
              </p:spPr>
              <p:txBody>
                <a:bodyPr rtlCol="0" anchor="ctr"/>
                <a:lstStyle/>
                <a:p>
                  <a:endParaRPr lang="en-IN"/>
                </a:p>
              </p:txBody>
            </p:sp>
            <p:sp>
              <p:nvSpPr>
                <p:cNvPr id="696" name="Freeform: Shape 695">
                  <a:extLst>
                    <a:ext uri="{FF2B5EF4-FFF2-40B4-BE49-F238E27FC236}">
                      <a16:creationId xmlns:a16="http://schemas.microsoft.com/office/drawing/2014/main" id="{BDEB712A-AFF9-CAFF-E421-4200156C62EC}"/>
                    </a:ext>
                  </a:extLst>
                </p:cNvPr>
                <p:cNvSpPr/>
                <p:nvPr/>
              </p:nvSpPr>
              <p:spPr>
                <a:xfrm>
                  <a:off x="11834681" y="5763652"/>
                  <a:ext cx="605150" cy="385167"/>
                </a:xfrm>
                <a:custGeom>
                  <a:avLst/>
                  <a:gdLst>
                    <a:gd name="connsiteX0" fmla="*/ 53232 w 605150"/>
                    <a:gd name="connsiteY0" fmla="*/ 385168 h 385167"/>
                    <a:gd name="connsiteX1" fmla="*/ 102725 w 605150"/>
                    <a:gd name="connsiteY1" fmla="*/ 366768 h 385167"/>
                    <a:gd name="connsiteX2" fmla="*/ 159205 w 605150"/>
                    <a:gd name="connsiteY2" fmla="*/ 370999 h 385167"/>
                    <a:gd name="connsiteX3" fmla="*/ 173078 w 605150"/>
                    <a:gd name="connsiteY3" fmla="*/ 342563 h 385167"/>
                    <a:gd name="connsiteX4" fmla="*/ 217652 w 605150"/>
                    <a:gd name="connsiteY4" fmla="*/ 336462 h 385167"/>
                    <a:gd name="connsiteX5" fmla="*/ 258092 w 605150"/>
                    <a:gd name="connsiteY5" fmla="*/ 359093 h 385167"/>
                    <a:gd name="connsiteX6" fmla="*/ 275902 w 605150"/>
                    <a:gd name="connsiteY6" fmla="*/ 343055 h 385167"/>
                    <a:gd name="connsiteX7" fmla="*/ 319885 w 605150"/>
                    <a:gd name="connsiteY7" fmla="*/ 345318 h 385167"/>
                    <a:gd name="connsiteX8" fmla="*/ 328839 w 605150"/>
                    <a:gd name="connsiteY8" fmla="*/ 303204 h 385167"/>
                    <a:gd name="connsiteX9" fmla="*/ 358555 w 605150"/>
                    <a:gd name="connsiteY9" fmla="*/ 283525 h 385167"/>
                    <a:gd name="connsiteX10" fmla="*/ 348814 w 605150"/>
                    <a:gd name="connsiteY10" fmla="*/ 272997 h 385167"/>
                    <a:gd name="connsiteX11" fmla="*/ 355111 w 605150"/>
                    <a:gd name="connsiteY11" fmla="*/ 244856 h 385167"/>
                    <a:gd name="connsiteX12" fmla="*/ 375380 w 605150"/>
                    <a:gd name="connsiteY12" fmla="*/ 240723 h 385167"/>
                    <a:gd name="connsiteX13" fmla="*/ 380497 w 605150"/>
                    <a:gd name="connsiteY13" fmla="*/ 187982 h 385167"/>
                    <a:gd name="connsiteX14" fmla="*/ 398799 w 605150"/>
                    <a:gd name="connsiteY14" fmla="*/ 163974 h 385167"/>
                    <a:gd name="connsiteX15" fmla="*/ 475252 w 605150"/>
                    <a:gd name="connsiteY15" fmla="*/ 165549 h 385167"/>
                    <a:gd name="connsiteX16" fmla="*/ 497391 w 605150"/>
                    <a:gd name="connsiteY16" fmla="*/ 182177 h 385167"/>
                    <a:gd name="connsiteX17" fmla="*/ 516874 w 605150"/>
                    <a:gd name="connsiteY17" fmla="*/ 180800 h 385167"/>
                    <a:gd name="connsiteX18" fmla="*/ 503590 w 605150"/>
                    <a:gd name="connsiteY18" fmla="*/ 160924 h 385167"/>
                    <a:gd name="connsiteX19" fmla="*/ 535471 w 605150"/>
                    <a:gd name="connsiteY19" fmla="*/ 168106 h 385167"/>
                    <a:gd name="connsiteX20" fmla="*/ 564989 w 605150"/>
                    <a:gd name="connsiteY20" fmla="*/ 152855 h 385167"/>
                    <a:gd name="connsiteX21" fmla="*/ 540489 w 605150"/>
                    <a:gd name="connsiteY21" fmla="*/ 135833 h 385167"/>
                    <a:gd name="connsiteX22" fmla="*/ 540095 w 605150"/>
                    <a:gd name="connsiteY22" fmla="*/ 128945 h 385167"/>
                    <a:gd name="connsiteX23" fmla="*/ 554264 w 605150"/>
                    <a:gd name="connsiteY23" fmla="*/ 122943 h 385167"/>
                    <a:gd name="connsiteX24" fmla="*/ 573058 w 605150"/>
                    <a:gd name="connsiteY24" fmla="*/ 125600 h 385167"/>
                    <a:gd name="connsiteX25" fmla="*/ 605135 w 605150"/>
                    <a:gd name="connsiteY25" fmla="*/ 107298 h 385167"/>
                    <a:gd name="connsiteX26" fmla="*/ 599527 w 605150"/>
                    <a:gd name="connsiteY26" fmla="*/ 97262 h 385167"/>
                    <a:gd name="connsiteX27" fmla="*/ 580635 w 605150"/>
                    <a:gd name="connsiteY27" fmla="*/ 94408 h 385167"/>
                    <a:gd name="connsiteX28" fmla="*/ 547081 w 605150"/>
                    <a:gd name="connsiteY28" fmla="*/ 73942 h 385167"/>
                    <a:gd name="connsiteX29" fmla="*/ 540292 w 605150"/>
                    <a:gd name="connsiteY29" fmla="*/ 76205 h 385167"/>
                    <a:gd name="connsiteX30" fmla="*/ 532715 w 605150"/>
                    <a:gd name="connsiteY30" fmla="*/ 80829 h 385167"/>
                    <a:gd name="connsiteX31" fmla="*/ 524450 w 605150"/>
                    <a:gd name="connsiteY31" fmla="*/ 75614 h 385167"/>
                    <a:gd name="connsiteX32" fmla="*/ 529370 w 605150"/>
                    <a:gd name="connsiteY32" fmla="*/ 62528 h 385167"/>
                    <a:gd name="connsiteX33" fmla="*/ 529370 w 605150"/>
                    <a:gd name="connsiteY33" fmla="*/ 62331 h 385167"/>
                    <a:gd name="connsiteX34" fmla="*/ 507624 w 605150"/>
                    <a:gd name="connsiteY34" fmla="*/ 62823 h 385167"/>
                    <a:gd name="connsiteX35" fmla="*/ 505066 w 605150"/>
                    <a:gd name="connsiteY35" fmla="*/ 49539 h 385167"/>
                    <a:gd name="connsiteX36" fmla="*/ 505952 w 605150"/>
                    <a:gd name="connsiteY36" fmla="*/ 49047 h 385167"/>
                    <a:gd name="connsiteX37" fmla="*/ 506838 w 605150"/>
                    <a:gd name="connsiteY37" fmla="*/ 30156 h 385167"/>
                    <a:gd name="connsiteX38" fmla="*/ 487847 w 605150"/>
                    <a:gd name="connsiteY38" fmla="*/ 19037 h 385167"/>
                    <a:gd name="connsiteX39" fmla="*/ 486666 w 605150"/>
                    <a:gd name="connsiteY39" fmla="*/ 19627 h 385167"/>
                    <a:gd name="connsiteX40" fmla="*/ 474761 w 605150"/>
                    <a:gd name="connsiteY40" fmla="*/ 2309 h 385167"/>
                    <a:gd name="connsiteX41" fmla="*/ 468070 w 605150"/>
                    <a:gd name="connsiteY41" fmla="*/ 7426 h 385167"/>
                    <a:gd name="connsiteX42" fmla="*/ 463445 w 605150"/>
                    <a:gd name="connsiteY42" fmla="*/ 21005 h 385167"/>
                    <a:gd name="connsiteX43" fmla="*/ 454097 w 605150"/>
                    <a:gd name="connsiteY43" fmla="*/ 26318 h 385167"/>
                    <a:gd name="connsiteX44" fmla="*/ 449768 w 605150"/>
                    <a:gd name="connsiteY44" fmla="*/ 20906 h 385167"/>
                    <a:gd name="connsiteX45" fmla="*/ 452227 w 605150"/>
                    <a:gd name="connsiteY45" fmla="*/ 10476 h 385167"/>
                    <a:gd name="connsiteX46" fmla="*/ 448095 w 605150"/>
                    <a:gd name="connsiteY46" fmla="*/ 1030 h 385167"/>
                    <a:gd name="connsiteX47" fmla="*/ 425267 w 605150"/>
                    <a:gd name="connsiteY47" fmla="*/ 39700 h 385167"/>
                    <a:gd name="connsiteX48" fmla="*/ 410213 w 605150"/>
                    <a:gd name="connsiteY48" fmla="*/ 55837 h 385167"/>
                    <a:gd name="connsiteX49" fmla="*/ 388566 w 605150"/>
                    <a:gd name="connsiteY49" fmla="*/ 87914 h 385167"/>
                    <a:gd name="connsiteX50" fmla="*/ 371346 w 605150"/>
                    <a:gd name="connsiteY50" fmla="*/ 92046 h 385167"/>
                    <a:gd name="connsiteX51" fmla="*/ 368394 w 605150"/>
                    <a:gd name="connsiteY51" fmla="*/ 105330 h 385167"/>
                    <a:gd name="connsiteX52" fmla="*/ 374691 w 605150"/>
                    <a:gd name="connsiteY52" fmla="*/ 119204 h 385167"/>
                    <a:gd name="connsiteX53" fmla="*/ 363868 w 605150"/>
                    <a:gd name="connsiteY53" fmla="*/ 129437 h 385167"/>
                    <a:gd name="connsiteX54" fmla="*/ 363868 w 605150"/>
                    <a:gd name="connsiteY54" fmla="*/ 129437 h 385167"/>
                    <a:gd name="connsiteX55" fmla="*/ 369870 w 605150"/>
                    <a:gd name="connsiteY55" fmla="*/ 164663 h 385167"/>
                    <a:gd name="connsiteX56" fmla="*/ 348715 w 605150"/>
                    <a:gd name="connsiteY56" fmla="*/ 165843 h 385167"/>
                    <a:gd name="connsiteX57" fmla="*/ 341336 w 605150"/>
                    <a:gd name="connsiteY57" fmla="*/ 135734 h 385167"/>
                    <a:gd name="connsiteX58" fmla="*/ 328544 w 605150"/>
                    <a:gd name="connsiteY58" fmla="*/ 146853 h 385167"/>
                    <a:gd name="connsiteX59" fmla="*/ 331102 w 605150"/>
                    <a:gd name="connsiteY59" fmla="*/ 175584 h 385167"/>
                    <a:gd name="connsiteX60" fmla="*/ 312309 w 605150"/>
                    <a:gd name="connsiteY60" fmla="*/ 190344 h 385167"/>
                    <a:gd name="connsiteX61" fmla="*/ 289087 w 605150"/>
                    <a:gd name="connsiteY61" fmla="*/ 147837 h 385167"/>
                    <a:gd name="connsiteX62" fmla="*/ 278854 w 605150"/>
                    <a:gd name="connsiteY62" fmla="*/ 154036 h 385167"/>
                    <a:gd name="connsiteX63" fmla="*/ 214306 w 605150"/>
                    <a:gd name="connsiteY63" fmla="*/ 239837 h 385167"/>
                    <a:gd name="connsiteX64" fmla="*/ 111876 w 605150"/>
                    <a:gd name="connsiteY64" fmla="*/ 265814 h 385167"/>
                    <a:gd name="connsiteX65" fmla="*/ 93378 w 605150"/>
                    <a:gd name="connsiteY65" fmla="*/ 332526 h 385167"/>
                    <a:gd name="connsiteX66" fmla="*/ 86490 w 605150"/>
                    <a:gd name="connsiteY66" fmla="*/ 336561 h 385167"/>
                    <a:gd name="connsiteX67" fmla="*/ 62481 w 605150"/>
                    <a:gd name="connsiteY67" fmla="*/ 330460 h 385167"/>
                    <a:gd name="connsiteX68" fmla="*/ 28141 w 605150"/>
                    <a:gd name="connsiteY68" fmla="*/ 329083 h 385167"/>
                    <a:gd name="connsiteX69" fmla="*/ 19089 w 605150"/>
                    <a:gd name="connsiteY69" fmla="*/ 324655 h 385167"/>
                    <a:gd name="connsiteX70" fmla="*/ 9348 w 605150"/>
                    <a:gd name="connsiteY70" fmla="*/ 312257 h 385167"/>
                    <a:gd name="connsiteX71" fmla="*/ 0 w 605150"/>
                    <a:gd name="connsiteY71" fmla="*/ 308715 h 385167"/>
                    <a:gd name="connsiteX72" fmla="*/ 0 w 605150"/>
                    <a:gd name="connsiteY72" fmla="*/ 335675 h 385167"/>
                    <a:gd name="connsiteX73" fmla="*/ 53133 w 605150"/>
                    <a:gd name="connsiteY73" fmla="*/ 385168 h 38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05150" h="385167">
                      <a:moveTo>
                        <a:pt x="53232" y="385168"/>
                      </a:moveTo>
                      <a:lnTo>
                        <a:pt x="102725" y="366768"/>
                      </a:lnTo>
                      <a:lnTo>
                        <a:pt x="159205" y="370999"/>
                      </a:lnTo>
                      <a:lnTo>
                        <a:pt x="173078" y="342563"/>
                      </a:lnTo>
                      <a:lnTo>
                        <a:pt x="217652" y="336462"/>
                      </a:lnTo>
                      <a:lnTo>
                        <a:pt x="258092" y="359093"/>
                      </a:lnTo>
                      <a:lnTo>
                        <a:pt x="275902" y="343055"/>
                      </a:lnTo>
                      <a:lnTo>
                        <a:pt x="319885" y="345318"/>
                      </a:lnTo>
                      <a:lnTo>
                        <a:pt x="328839" y="303204"/>
                      </a:lnTo>
                      <a:lnTo>
                        <a:pt x="358555" y="283525"/>
                      </a:lnTo>
                      <a:lnTo>
                        <a:pt x="348814" y="272997"/>
                      </a:lnTo>
                      <a:lnTo>
                        <a:pt x="355111" y="244856"/>
                      </a:lnTo>
                      <a:lnTo>
                        <a:pt x="375380" y="240723"/>
                      </a:lnTo>
                      <a:lnTo>
                        <a:pt x="380497" y="187982"/>
                      </a:lnTo>
                      <a:lnTo>
                        <a:pt x="398799" y="163974"/>
                      </a:lnTo>
                      <a:lnTo>
                        <a:pt x="475252" y="165549"/>
                      </a:lnTo>
                      <a:lnTo>
                        <a:pt x="497391" y="182177"/>
                      </a:lnTo>
                      <a:cubicBezTo>
                        <a:pt x="498179" y="180800"/>
                        <a:pt x="509691" y="185228"/>
                        <a:pt x="516874" y="180800"/>
                      </a:cubicBezTo>
                      <a:cubicBezTo>
                        <a:pt x="526615" y="174798"/>
                        <a:pt x="493554" y="167221"/>
                        <a:pt x="503590" y="160924"/>
                      </a:cubicBezTo>
                      <a:cubicBezTo>
                        <a:pt x="513332" y="154725"/>
                        <a:pt x="523663" y="172239"/>
                        <a:pt x="535471" y="168106"/>
                      </a:cubicBezTo>
                      <a:cubicBezTo>
                        <a:pt x="562825" y="158365"/>
                        <a:pt x="571188" y="157185"/>
                        <a:pt x="564989" y="152855"/>
                      </a:cubicBezTo>
                      <a:lnTo>
                        <a:pt x="540489" y="135833"/>
                      </a:lnTo>
                      <a:cubicBezTo>
                        <a:pt x="537931" y="134062"/>
                        <a:pt x="537832" y="131011"/>
                        <a:pt x="540095" y="128945"/>
                      </a:cubicBezTo>
                      <a:cubicBezTo>
                        <a:pt x="541867" y="127863"/>
                        <a:pt x="547081" y="120483"/>
                        <a:pt x="554264" y="122943"/>
                      </a:cubicBezTo>
                      <a:cubicBezTo>
                        <a:pt x="558299" y="123927"/>
                        <a:pt x="565580" y="128552"/>
                        <a:pt x="573058" y="125600"/>
                      </a:cubicBezTo>
                      <a:cubicBezTo>
                        <a:pt x="599724" y="115071"/>
                        <a:pt x="605135" y="114579"/>
                        <a:pt x="605135" y="107298"/>
                      </a:cubicBezTo>
                      <a:cubicBezTo>
                        <a:pt x="604840" y="106314"/>
                        <a:pt x="606709" y="97262"/>
                        <a:pt x="599527" y="97262"/>
                      </a:cubicBezTo>
                      <a:cubicBezTo>
                        <a:pt x="592344" y="97262"/>
                        <a:pt x="586440" y="97852"/>
                        <a:pt x="580635" y="94408"/>
                      </a:cubicBezTo>
                      <a:lnTo>
                        <a:pt x="547081" y="73942"/>
                      </a:lnTo>
                      <a:cubicBezTo>
                        <a:pt x="544424" y="72367"/>
                        <a:pt x="541374" y="73352"/>
                        <a:pt x="540292" y="76205"/>
                      </a:cubicBezTo>
                      <a:cubicBezTo>
                        <a:pt x="539111" y="79058"/>
                        <a:pt x="535766" y="81125"/>
                        <a:pt x="532715" y="80829"/>
                      </a:cubicBezTo>
                      <a:cubicBezTo>
                        <a:pt x="531141" y="80337"/>
                        <a:pt x="519235" y="81223"/>
                        <a:pt x="524450" y="75614"/>
                      </a:cubicBezTo>
                      <a:cubicBezTo>
                        <a:pt x="525336" y="74237"/>
                        <a:pt x="533109" y="69022"/>
                        <a:pt x="529370" y="62528"/>
                      </a:cubicBezTo>
                      <a:lnTo>
                        <a:pt x="529370" y="62331"/>
                      </a:lnTo>
                      <a:cubicBezTo>
                        <a:pt x="523565" y="52590"/>
                        <a:pt x="514119" y="71974"/>
                        <a:pt x="507624" y="62823"/>
                      </a:cubicBezTo>
                      <a:cubicBezTo>
                        <a:pt x="506641" y="60658"/>
                        <a:pt x="498179" y="53278"/>
                        <a:pt x="505066" y="49539"/>
                      </a:cubicBezTo>
                      <a:lnTo>
                        <a:pt x="505952" y="49047"/>
                      </a:lnTo>
                      <a:cubicBezTo>
                        <a:pt x="512348" y="45604"/>
                        <a:pt x="512249" y="35469"/>
                        <a:pt x="506838" y="30156"/>
                      </a:cubicBezTo>
                      <a:cubicBezTo>
                        <a:pt x="500934" y="25629"/>
                        <a:pt x="495522" y="15002"/>
                        <a:pt x="487847" y="19037"/>
                      </a:cubicBezTo>
                      <a:lnTo>
                        <a:pt x="486666" y="19627"/>
                      </a:lnTo>
                      <a:cubicBezTo>
                        <a:pt x="476433" y="24940"/>
                        <a:pt x="485289" y="2801"/>
                        <a:pt x="474761" y="2309"/>
                      </a:cubicBezTo>
                      <a:cubicBezTo>
                        <a:pt x="472005" y="2211"/>
                        <a:pt x="469053" y="4474"/>
                        <a:pt x="468070" y="7426"/>
                      </a:cubicBezTo>
                      <a:lnTo>
                        <a:pt x="463445" y="21005"/>
                      </a:lnTo>
                      <a:cubicBezTo>
                        <a:pt x="461378" y="27007"/>
                        <a:pt x="453113" y="26613"/>
                        <a:pt x="454097" y="26318"/>
                      </a:cubicBezTo>
                      <a:cubicBezTo>
                        <a:pt x="451047" y="26318"/>
                        <a:pt x="449079" y="23858"/>
                        <a:pt x="449768" y="20906"/>
                      </a:cubicBezTo>
                      <a:lnTo>
                        <a:pt x="452227" y="10476"/>
                      </a:lnTo>
                      <a:cubicBezTo>
                        <a:pt x="453507" y="4671"/>
                        <a:pt x="447308" y="46"/>
                        <a:pt x="448095" y="1030"/>
                      </a:cubicBezTo>
                      <a:cubicBezTo>
                        <a:pt x="438157" y="-6448"/>
                        <a:pt x="437468" y="28876"/>
                        <a:pt x="425267" y="39700"/>
                      </a:cubicBezTo>
                      <a:cubicBezTo>
                        <a:pt x="419167" y="45111"/>
                        <a:pt x="413362" y="49441"/>
                        <a:pt x="410213" y="55837"/>
                      </a:cubicBezTo>
                      <a:cubicBezTo>
                        <a:pt x="396830" y="82502"/>
                        <a:pt x="395945" y="88111"/>
                        <a:pt x="388566" y="87914"/>
                      </a:cubicBezTo>
                      <a:cubicBezTo>
                        <a:pt x="385121" y="88307"/>
                        <a:pt x="376069" y="85651"/>
                        <a:pt x="371346" y="92046"/>
                      </a:cubicBezTo>
                      <a:cubicBezTo>
                        <a:pt x="370559" y="93719"/>
                        <a:pt x="362982" y="100115"/>
                        <a:pt x="368394" y="105330"/>
                      </a:cubicBezTo>
                      <a:cubicBezTo>
                        <a:pt x="370362" y="108085"/>
                        <a:pt x="380005" y="113103"/>
                        <a:pt x="374691" y="119204"/>
                      </a:cubicBezTo>
                      <a:cubicBezTo>
                        <a:pt x="371937" y="121664"/>
                        <a:pt x="368788" y="128256"/>
                        <a:pt x="363868" y="129437"/>
                      </a:cubicBezTo>
                      <a:lnTo>
                        <a:pt x="363868" y="129437"/>
                      </a:lnTo>
                      <a:cubicBezTo>
                        <a:pt x="363868" y="129437"/>
                        <a:pt x="369870" y="164663"/>
                        <a:pt x="369870" y="164663"/>
                      </a:cubicBezTo>
                      <a:lnTo>
                        <a:pt x="348715" y="165843"/>
                      </a:lnTo>
                      <a:lnTo>
                        <a:pt x="341336" y="135734"/>
                      </a:lnTo>
                      <a:lnTo>
                        <a:pt x="328544" y="146853"/>
                      </a:lnTo>
                      <a:lnTo>
                        <a:pt x="331102" y="175584"/>
                      </a:lnTo>
                      <a:lnTo>
                        <a:pt x="312309" y="190344"/>
                      </a:lnTo>
                      <a:lnTo>
                        <a:pt x="289087" y="147837"/>
                      </a:lnTo>
                      <a:cubicBezTo>
                        <a:pt x="283774" y="149313"/>
                        <a:pt x="281215" y="150691"/>
                        <a:pt x="278854" y="154036"/>
                      </a:cubicBezTo>
                      <a:cubicBezTo>
                        <a:pt x="220899" y="236983"/>
                        <a:pt x="222178" y="238263"/>
                        <a:pt x="214306" y="239837"/>
                      </a:cubicBezTo>
                      <a:cubicBezTo>
                        <a:pt x="115221" y="259910"/>
                        <a:pt x="113942" y="258336"/>
                        <a:pt x="111876" y="265814"/>
                      </a:cubicBezTo>
                      <a:lnTo>
                        <a:pt x="93378" y="332526"/>
                      </a:lnTo>
                      <a:cubicBezTo>
                        <a:pt x="92590" y="335478"/>
                        <a:pt x="89442" y="337249"/>
                        <a:pt x="86490" y="336561"/>
                      </a:cubicBezTo>
                      <a:lnTo>
                        <a:pt x="62481" y="330460"/>
                      </a:lnTo>
                      <a:cubicBezTo>
                        <a:pt x="54118" y="328295"/>
                        <a:pt x="27157" y="329083"/>
                        <a:pt x="28141" y="329083"/>
                      </a:cubicBezTo>
                      <a:cubicBezTo>
                        <a:pt x="25091" y="329083"/>
                        <a:pt x="21056" y="327115"/>
                        <a:pt x="19089" y="324655"/>
                      </a:cubicBezTo>
                      <a:lnTo>
                        <a:pt x="9348" y="312257"/>
                      </a:lnTo>
                      <a:cubicBezTo>
                        <a:pt x="6789" y="309009"/>
                        <a:pt x="2656" y="308616"/>
                        <a:pt x="0" y="308715"/>
                      </a:cubicBezTo>
                      <a:lnTo>
                        <a:pt x="0" y="335675"/>
                      </a:lnTo>
                      <a:lnTo>
                        <a:pt x="53133" y="385168"/>
                      </a:lnTo>
                      <a:close/>
                    </a:path>
                  </a:pathLst>
                </a:custGeom>
                <a:grpFill/>
                <a:ln w="9835" cap="flat">
                  <a:noFill/>
                  <a:prstDash val="solid"/>
                  <a:miter/>
                </a:ln>
              </p:spPr>
              <p:txBody>
                <a:bodyPr rtlCol="0" anchor="ctr"/>
                <a:lstStyle/>
                <a:p>
                  <a:endParaRPr lang="en-IN"/>
                </a:p>
              </p:txBody>
            </p:sp>
          </p:grpSp>
          <p:grpSp>
            <p:nvGrpSpPr>
              <p:cNvPr id="692" name="Graphic 470">
                <a:extLst>
                  <a:ext uri="{FF2B5EF4-FFF2-40B4-BE49-F238E27FC236}">
                    <a16:creationId xmlns:a16="http://schemas.microsoft.com/office/drawing/2014/main" id="{708901A4-E4B0-D731-F53A-791C8CF4F05C}"/>
                  </a:ext>
                </a:extLst>
              </p:cNvPr>
              <p:cNvGrpSpPr/>
              <p:nvPr/>
            </p:nvGrpSpPr>
            <p:grpSpPr>
              <a:xfrm>
                <a:off x="11251783" y="5782591"/>
                <a:ext cx="258400" cy="332528"/>
                <a:chOff x="11251783" y="5782591"/>
                <a:chExt cx="258400" cy="332528"/>
              </a:xfrm>
              <a:grpFill/>
            </p:grpSpPr>
            <p:sp>
              <p:nvSpPr>
                <p:cNvPr id="693" name="Freeform: Shape 692">
                  <a:extLst>
                    <a:ext uri="{FF2B5EF4-FFF2-40B4-BE49-F238E27FC236}">
                      <a16:creationId xmlns:a16="http://schemas.microsoft.com/office/drawing/2014/main" id="{33BC7230-777A-B8E8-E550-61C2F9FD80D4}"/>
                    </a:ext>
                  </a:extLst>
                </p:cNvPr>
                <p:cNvSpPr/>
                <p:nvPr/>
              </p:nvSpPr>
              <p:spPr>
                <a:xfrm>
                  <a:off x="11499694" y="6017560"/>
                  <a:ext cx="10171" cy="14696"/>
                </a:xfrm>
                <a:custGeom>
                  <a:avLst/>
                  <a:gdLst>
                    <a:gd name="connsiteX0" fmla="*/ 10084 w 10171"/>
                    <a:gd name="connsiteY0" fmla="*/ 6789 h 14696"/>
                    <a:gd name="connsiteX1" fmla="*/ 4672 w 10171"/>
                    <a:gd name="connsiteY1" fmla="*/ 0 h 14696"/>
                    <a:gd name="connsiteX2" fmla="*/ 47 w 10171"/>
                    <a:gd name="connsiteY2" fmla="*/ 10725 h 14696"/>
                    <a:gd name="connsiteX3" fmla="*/ 5262 w 10171"/>
                    <a:gd name="connsiteY3" fmla="*/ 14366 h 14696"/>
                    <a:gd name="connsiteX4" fmla="*/ 10084 w 10171"/>
                    <a:gd name="connsiteY4" fmla="*/ 6789 h 1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1" h="14696">
                      <a:moveTo>
                        <a:pt x="10084" y="6789"/>
                      </a:moveTo>
                      <a:cubicBezTo>
                        <a:pt x="10477" y="7773"/>
                        <a:pt x="9690" y="0"/>
                        <a:pt x="4672" y="0"/>
                      </a:cubicBezTo>
                      <a:cubicBezTo>
                        <a:pt x="-1527" y="0"/>
                        <a:pt x="343" y="9249"/>
                        <a:pt x="47" y="10725"/>
                      </a:cubicBezTo>
                      <a:cubicBezTo>
                        <a:pt x="47" y="13776"/>
                        <a:pt x="2409" y="15448"/>
                        <a:pt x="5262" y="14366"/>
                      </a:cubicBezTo>
                      <a:cubicBezTo>
                        <a:pt x="4278" y="15251"/>
                        <a:pt x="10773" y="12398"/>
                        <a:pt x="10084" y="6789"/>
                      </a:cubicBezTo>
                      <a:close/>
                    </a:path>
                  </a:pathLst>
                </a:custGeom>
                <a:grpFill/>
                <a:ln w="9835" cap="flat">
                  <a:noFill/>
                  <a:prstDash val="solid"/>
                  <a:miter/>
                </a:ln>
              </p:spPr>
              <p:txBody>
                <a:bodyPr rtlCol="0" anchor="ctr"/>
                <a:lstStyle/>
                <a:p>
                  <a:endParaRPr lang="en-IN"/>
                </a:p>
              </p:txBody>
            </p:sp>
            <p:sp>
              <p:nvSpPr>
                <p:cNvPr id="694" name="Freeform: Shape 693">
                  <a:extLst>
                    <a:ext uri="{FF2B5EF4-FFF2-40B4-BE49-F238E27FC236}">
                      <a16:creationId xmlns:a16="http://schemas.microsoft.com/office/drawing/2014/main" id="{04FD89BB-CAF1-AB1D-E493-19893D4A8A61}"/>
                    </a:ext>
                  </a:extLst>
                </p:cNvPr>
                <p:cNvSpPr/>
                <p:nvPr/>
              </p:nvSpPr>
              <p:spPr>
                <a:xfrm>
                  <a:off x="11251783" y="5782591"/>
                  <a:ext cx="258400" cy="332528"/>
                </a:xfrm>
                <a:custGeom>
                  <a:avLst/>
                  <a:gdLst>
                    <a:gd name="connsiteX0" fmla="*/ 106661 w 258400"/>
                    <a:gd name="connsiteY0" fmla="*/ 61399 h 332528"/>
                    <a:gd name="connsiteX1" fmla="*/ 92787 w 258400"/>
                    <a:gd name="connsiteY1" fmla="*/ 48312 h 332528"/>
                    <a:gd name="connsiteX2" fmla="*/ 74191 w 258400"/>
                    <a:gd name="connsiteY2" fmla="*/ 54413 h 332528"/>
                    <a:gd name="connsiteX3" fmla="*/ 68877 w 258400"/>
                    <a:gd name="connsiteY3" fmla="*/ 66713 h 332528"/>
                    <a:gd name="connsiteX4" fmla="*/ 52248 w 258400"/>
                    <a:gd name="connsiteY4" fmla="*/ 56381 h 332528"/>
                    <a:gd name="connsiteX5" fmla="*/ 60415 w 258400"/>
                    <a:gd name="connsiteY5" fmla="*/ 29125 h 332528"/>
                    <a:gd name="connsiteX6" fmla="*/ 9741 w 258400"/>
                    <a:gd name="connsiteY6" fmla="*/ 0 h 332528"/>
                    <a:gd name="connsiteX7" fmla="*/ 0 w 258400"/>
                    <a:gd name="connsiteY7" fmla="*/ 22532 h 332528"/>
                    <a:gd name="connsiteX8" fmla="*/ 15252 w 258400"/>
                    <a:gd name="connsiteY8" fmla="*/ 49591 h 332528"/>
                    <a:gd name="connsiteX9" fmla="*/ 22139 w 258400"/>
                    <a:gd name="connsiteY9" fmla="*/ 106465 h 332528"/>
                    <a:gd name="connsiteX10" fmla="*/ 31388 w 258400"/>
                    <a:gd name="connsiteY10" fmla="*/ 125159 h 332528"/>
                    <a:gd name="connsiteX11" fmla="*/ 31880 w 258400"/>
                    <a:gd name="connsiteY11" fmla="*/ 155171 h 332528"/>
                    <a:gd name="connsiteX12" fmla="*/ 40146 w 258400"/>
                    <a:gd name="connsiteY12" fmla="*/ 166584 h 332528"/>
                    <a:gd name="connsiteX13" fmla="*/ 38079 w 258400"/>
                    <a:gd name="connsiteY13" fmla="*/ 167470 h 332528"/>
                    <a:gd name="connsiteX14" fmla="*/ 36997 w 258400"/>
                    <a:gd name="connsiteY14" fmla="*/ 173571 h 332528"/>
                    <a:gd name="connsiteX15" fmla="*/ 75371 w 258400"/>
                    <a:gd name="connsiteY15" fmla="*/ 214995 h 332528"/>
                    <a:gd name="connsiteX16" fmla="*/ 73207 w 258400"/>
                    <a:gd name="connsiteY16" fmla="*/ 224638 h 332528"/>
                    <a:gd name="connsiteX17" fmla="*/ 74289 w 258400"/>
                    <a:gd name="connsiteY17" fmla="*/ 238807 h 332528"/>
                    <a:gd name="connsiteX18" fmla="*/ 203680 w 258400"/>
                    <a:gd name="connsiteY18" fmla="*/ 322936 h 332528"/>
                    <a:gd name="connsiteX19" fmla="*/ 212831 w 258400"/>
                    <a:gd name="connsiteY19" fmla="*/ 332480 h 332528"/>
                    <a:gd name="connsiteX20" fmla="*/ 254649 w 258400"/>
                    <a:gd name="connsiteY20" fmla="*/ 328150 h 332528"/>
                    <a:gd name="connsiteX21" fmla="*/ 257994 w 258400"/>
                    <a:gd name="connsiteY21" fmla="*/ 322444 h 332528"/>
                    <a:gd name="connsiteX22" fmla="*/ 224047 w 258400"/>
                    <a:gd name="connsiteY22" fmla="*/ 250221 h 332528"/>
                    <a:gd name="connsiteX23" fmla="*/ 206435 w 258400"/>
                    <a:gd name="connsiteY23" fmla="*/ 233493 h 332528"/>
                    <a:gd name="connsiteX24" fmla="*/ 204467 w 258400"/>
                    <a:gd name="connsiteY24" fmla="*/ 192659 h 332528"/>
                    <a:gd name="connsiteX25" fmla="*/ 200531 w 258400"/>
                    <a:gd name="connsiteY25" fmla="*/ 175145 h 332528"/>
                    <a:gd name="connsiteX26" fmla="*/ 203975 w 258400"/>
                    <a:gd name="connsiteY26" fmla="*/ 119059 h 332528"/>
                    <a:gd name="connsiteX27" fmla="*/ 177998 w 258400"/>
                    <a:gd name="connsiteY27" fmla="*/ 72419 h 332528"/>
                    <a:gd name="connsiteX28" fmla="*/ 147495 w 258400"/>
                    <a:gd name="connsiteY28" fmla="*/ 49296 h 332528"/>
                    <a:gd name="connsiteX29" fmla="*/ 132539 w 258400"/>
                    <a:gd name="connsiteY29" fmla="*/ 29125 h 332528"/>
                    <a:gd name="connsiteX30" fmla="*/ 124569 w 258400"/>
                    <a:gd name="connsiteY30" fmla="*/ 25091 h 332528"/>
                    <a:gd name="connsiteX31" fmla="*/ 117091 w 258400"/>
                    <a:gd name="connsiteY31" fmla="*/ 53626 h 332528"/>
                    <a:gd name="connsiteX32" fmla="*/ 106661 w 258400"/>
                    <a:gd name="connsiteY32" fmla="*/ 61399 h 33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58400" h="332528">
                      <a:moveTo>
                        <a:pt x="106661" y="61399"/>
                      </a:moveTo>
                      <a:lnTo>
                        <a:pt x="92787" y="48312"/>
                      </a:lnTo>
                      <a:lnTo>
                        <a:pt x="74191" y="54413"/>
                      </a:lnTo>
                      <a:lnTo>
                        <a:pt x="68877" y="66713"/>
                      </a:lnTo>
                      <a:lnTo>
                        <a:pt x="52248" y="56381"/>
                      </a:lnTo>
                      <a:lnTo>
                        <a:pt x="60415" y="29125"/>
                      </a:lnTo>
                      <a:lnTo>
                        <a:pt x="9741" y="0"/>
                      </a:lnTo>
                      <a:lnTo>
                        <a:pt x="0" y="22532"/>
                      </a:lnTo>
                      <a:cubicBezTo>
                        <a:pt x="11217" y="38276"/>
                        <a:pt x="14759" y="42900"/>
                        <a:pt x="15252" y="49591"/>
                      </a:cubicBezTo>
                      <a:cubicBezTo>
                        <a:pt x="18990" y="89934"/>
                        <a:pt x="16235" y="98691"/>
                        <a:pt x="22139" y="106465"/>
                      </a:cubicBezTo>
                      <a:cubicBezTo>
                        <a:pt x="25091" y="111286"/>
                        <a:pt x="32668" y="116993"/>
                        <a:pt x="31388" y="125159"/>
                      </a:cubicBezTo>
                      <a:cubicBezTo>
                        <a:pt x="30404" y="138837"/>
                        <a:pt x="24304" y="150054"/>
                        <a:pt x="31880" y="155171"/>
                      </a:cubicBezTo>
                      <a:cubicBezTo>
                        <a:pt x="34931" y="157925"/>
                        <a:pt x="47722" y="163239"/>
                        <a:pt x="40146" y="166584"/>
                      </a:cubicBezTo>
                      <a:lnTo>
                        <a:pt x="38079" y="167470"/>
                      </a:lnTo>
                      <a:cubicBezTo>
                        <a:pt x="35226" y="168651"/>
                        <a:pt x="34734" y="171406"/>
                        <a:pt x="36997" y="173571"/>
                      </a:cubicBezTo>
                      <a:cubicBezTo>
                        <a:pt x="64450" y="201416"/>
                        <a:pt x="73600" y="205254"/>
                        <a:pt x="75371" y="214995"/>
                      </a:cubicBezTo>
                      <a:cubicBezTo>
                        <a:pt x="75371" y="215979"/>
                        <a:pt x="77733" y="223162"/>
                        <a:pt x="73207" y="224638"/>
                      </a:cubicBezTo>
                      <a:cubicBezTo>
                        <a:pt x="68385" y="226212"/>
                        <a:pt x="67992" y="234970"/>
                        <a:pt x="74289" y="238807"/>
                      </a:cubicBezTo>
                      <a:cubicBezTo>
                        <a:pt x="194726" y="315064"/>
                        <a:pt x="200039" y="312899"/>
                        <a:pt x="203680" y="322936"/>
                      </a:cubicBezTo>
                      <a:cubicBezTo>
                        <a:pt x="204565" y="324313"/>
                        <a:pt x="205451" y="333267"/>
                        <a:pt x="212831" y="332480"/>
                      </a:cubicBezTo>
                      <a:lnTo>
                        <a:pt x="254649" y="328150"/>
                      </a:lnTo>
                      <a:cubicBezTo>
                        <a:pt x="257699" y="327855"/>
                        <a:pt x="259175" y="325297"/>
                        <a:pt x="257994" y="322444"/>
                      </a:cubicBezTo>
                      <a:cubicBezTo>
                        <a:pt x="232215" y="264193"/>
                        <a:pt x="232608" y="255633"/>
                        <a:pt x="224047" y="250221"/>
                      </a:cubicBezTo>
                      <a:cubicBezTo>
                        <a:pt x="217258" y="245006"/>
                        <a:pt x="206435" y="242152"/>
                        <a:pt x="206435" y="233493"/>
                      </a:cubicBezTo>
                      <a:cubicBezTo>
                        <a:pt x="205943" y="211059"/>
                        <a:pt x="207812" y="201515"/>
                        <a:pt x="204467" y="192659"/>
                      </a:cubicBezTo>
                      <a:cubicBezTo>
                        <a:pt x="203581" y="189708"/>
                        <a:pt x="199645" y="182721"/>
                        <a:pt x="200531" y="175145"/>
                      </a:cubicBezTo>
                      <a:cubicBezTo>
                        <a:pt x="203975" y="136475"/>
                        <a:pt x="208304" y="127915"/>
                        <a:pt x="203975" y="119059"/>
                      </a:cubicBezTo>
                      <a:cubicBezTo>
                        <a:pt x="187543" y="87474"/>
                        <a:pt x="186067" y="77733"/>
                        <a:pt x="177998" y="72419"/>
                      </a:cubicBezTo>
                      <a:cubicBezTo>
                        <a:pt x="160877" y="60317"/>
                        <a:pt x="152120" y="57464"/>
                        <a:pt x="147495" y="49296"/>
                      </a:cubicBezTo>
                      <a:cubicBezTo>
                        <a:pt x="142969" y="42310"/>
                        <a:pt x="140313" y="32962"/>
                        <a:pt x="132539" y="29125"/>
                      </a:cubicBezTo>
                      <a:cubicBezTo>
                        <a:pt x="129686" y="27551"/>
                        <a:pt x="127029" y="26272"/>
                        <a:pt x="124569" y="25091"/>
                      </a:cubicBezTo>
                      <a:lnTo>
                        <a:pt x="117091" y="53626"/>
                      </a:lnTo>
                      <a:lnTo>
                        <a:pt x="106661" y="61399"/>
                      </a:lnTo>
                      <a:close/>
                    </a:path>
                  </a:pathLst>
                </a:custGeom>
                <a:grpFill/>
                <a:ln w="9835" cap="flat">
                  <a:noFill/>
                  <a:prstDash val="solid"/>
                  <a:miter/>
                </a:ln>
              </p:spPr>
              <p:txBody>
                <a:bodyPr rtlCol="0" anchor="ctr"/>
                <a:lstStyle/>
                <a:p>
                  <a:endParaRPr lang="en-IN"/>
                </a:p>
              </p:txBody>
            </p:sp>
          </p:grpSp>
        </p:grpSp>
        <p:sp>
          <p:nvSpPr>
            <p:cNvPr id="489" name="Freeform: Shape 488">
              <a:extLst>
                <a:ext uri="{FF2B5EF4-FFF2-40B4-BE49-F238E27FC236}">
                  <a16:creationId xmlns:a16="http://schemas.microsoft.com/office/drawing/2014/main" id="{FB1EF7A4-43D4-AA75-5AC1-FA52FEDEC240}"/>
                </a:ext>
              </a:extLst>
            </p:cNvPr>
            <p:cNvSpPr/>
            <p:nvPr/>
          </p:nvSpPr>
          <p:spPr>
            <a:xfrm>
              <a:off x="7220009" y="3960396"/>
              <a:ext cx="92492" cy="109809"/>
            </a:xfrm>
            <a:custGeom>
              <a:avLst/>
              <a:gdLst>
                <a:gd name="connsiteX0" fmla="*/ 51264 w 92492"/>
                <a:gd name="connsiteY0" fmla="*/ 68090 h 109809"/>
                <a:gd name="connsiteX1" fmla="*/ 92492 w 92492"/>
                <a:gd name="connsiteY1" fmla="*/ 30601 h 109809"/>
                <a:gd name="connsiteX2" fmla="*/ 81570 w 92492"/>
                <a:gd name="connsiteY2" fmla="*/ 10430 h 109809"/>
                <a:gd name="connsiteX3" fmla="*/ 87179 w 92492"/>
                <a:gd name="connsiteY3" fmla="*/ 0 h 109809"/>
                <a:gd name="connsiteX4" fmla="*/ 56479 w 92492"/>
                <a:gd name="connsiteY4" fmla="*/ 0 h 109809"/>
                <a:gd name="connsiteX5" fmla="*/ 54216 w 92492"/>
                <a:gd name="connsiteY5" fmla="*/ 3641 h 109809"/>
                <a:gd name="connsiteX6" fmla="*/ 34832 w 92492"/>
                <a:gd name="connsiteY6" fmla="*/ 23910 h 109809"/>
                <a:gd name="connsiteX7" fmla="*/ 0 w 92492"/>
                <a:gd name="connsiteY7" fmla="*/ 107350 h 109809"/>
                <a:gd name="connsiteX8" fmla="*/ 0 w 92492"/>
                <a:gd name="connsiteY8" fmla="*/ 107350 h 109809"/>
                <a:gd name="connsiteX9" fmla="*/ 20171 w 92492"/>
                <a:gd name="connsiteY9" fmla="*/ 109810 h 109809"/>
                <a:gd name="connsiteX10" fmla="*/ 23615 w 92492"/>
                <a:gd name="connsiteY10" fmla="*/ 97707 h 109809"/>
                <a:gd name="connsiteX11" fmla="*/ 40638 w 92492"/>
                <a:gd name="connsiteY11" fmla="*/ 98888 h 109809"/>
                <a:gd name="connsiteX12" fmla="*/ 57070 w 92492"/>
                <a:gd name="connsiteY12" fmla="*/ 75371 h 109809"/>
                <a:gd name="connsiteX13" fmla="*/ 51166 w 92492"/>
                <a:gd name="connsiteY13" fmla="*/ 68188 h 10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492" h="109809">
                  <a:moveTo>
                    <a:pt x="51264" y="68090"/>
                  </a:moveTo>
                  <a:lnTo>
                    <a:pt x="92492" y="30601"/>
                  </a:lnTo>
                  <a:lnTo>
                    <a:pt x="81570" y="10430"/>
                  </a:lnTo>
                  <a:lnTo>
                    <a:pt x="87179" y="0"/>
                  </a:lnTo>
                  <a:lnTo>
                    <a:pt x="56479" y="0"/>
                  </a:lnTo>
                  <a:cubicBezTo>
                    <a:pt x="56086" y="1279"/>
                    <a:pt x="55495" y="2558"/>
                    <a:pt x="54216" y="3641"/>
                  </a:cubicBezTo>
                  <a:cubicBezTo>
                    <a:pt x="44672" y="12103"/>
                    <a:pt x="37784" y="17023"/>
                    <a:pt x="34832" y="23910"/>
                  </a:cubicBezTo>
                  <a:cubicBezTo>
                    <a:pt x="19679" y="59038"/>
                    <a:pt x="8462" y="86195"/>
                    <a:pt x="0" y="107350"/>
                  </a:cubicBezTo>
                  <a:lnTo>
                    <a:pt x="0" y="107350"/>
                  </a:lnTo>
                  <a:lnTo>
                    <a:pt x="20171" y="109810"/>
                  </a:lnTo>
                  <a:lnTo>
                    <a:pt x="23615" y="97707"/>
                  </a:lnTo>
                  <a:lnTo>
                    <a:pt x="40638" y="98888"/>
                  </a:lnTo>
                  <a:lnTo>
                    <a:pt x="57070" y="75371"/>
                  </a:lnTo>
                  <a:lnTo>
                    <a:pt x="51166" y="68188"/>
                  </a:lnTo>
                  <a:close/>
                </a:path>
              </a:pathLst>
            </a:custGeom>
            <a:grpFill/>
            <a:ln w="9835" cap="flat">
              <a:noFill/>
              <a:prstDash val="solid"/>
              <a:miter/>
            </a:ln>
          </p:spPr>
          <p:txBody>
            <a:bodyPr rtlCol="0" anchor="ctr"/>
            <a:lstStyle/>
            <a:p>
              <a:endParaRPr lang="en-IN"/>
            </a:p>
          </p:txBody>
        </p:sp>
        <p:sp>
          <p:nvSpPr>
            <p:cNvPr id="490" name="Freeform: Shape 489">
              <a:extLst>
                <a:ext uri="{FF2B5EF4-FFF2-40B4-BE49-F238E27FC236}">
                  <a16:creationId xmlns:a16="http://schemas.microsoft.com/office/drawing/2014/main" id="{BFA2230A-0EBF-AF90-AC02-4DF30902C63C}"/>
                </a:ext>
              </a:extLst>
            </p:cNvPr>
            <p:cNvSpPr/>
            <p:nvPr/>
          </p:nvSpPr>
          <p:spPr>
            <a:xfrm>
              <a:off x="11251980" y="4786135"/>
              <a:ext cx="469348" cy="545507"/>
            </a:xfrm>
            <a:custGeom>
              <a:avLst/>
              <a:gdLst>
                <a:gd name="connsiteX0" fmla="*/ 348322 w 469348"/>
                <a:gd name="connsiteY0" fmla="*/ 532519 h 545507"/>
                <a:gd name="connsiteX1" fmla="*/ 362884 w 469348"/>
                <a:gd name="connsiteY1" fmla="*/ 545507 h 545507"/>
                <a:gd name="connsiteX2" fmla="*/ 380497 w 469348"/>
                <a:gd name="connsiteY2" fmla="*/ 535274 h 545507"/>
                <a:gd name="connsiteX3" fmla="*/ 368198 w 469348"/>
                <a:gd name="connsiteY3" fmla="*/ 517858 h 545507"/>
                <a:gd name="connsiteX4" fmla="*/ 400767 w 469348"/>
                <a:gd name="connsiteY4" fmla="*/ 501525 h 545507"/>
                <a:gd name="connsiteX5" fmla="*/ 419561 w 469348"/>
                <a:gd name="connsiteY5" fmla="*/ 517858 h 545507"/>
                <a:gd name="connsiteX6" fmla="*/ 458623 w 469348"/>
                <a:gd name="connsiteY6" fmla="*/ 497097 h 545507"/>
                <a:gd name="connsiteX7" fmla="*/ 469349 w 469348"/>
                <a:gd name="connsiteY7" fmla="*/ 455475 h 545507"/>
                <a:gd name="connsiteX8" fmla="*/ 438157 w 469348"/>
                <a:gd name="connsiteY8" fmla="*/ 422512 h 545507"/>
                <a:gd name="connsiteX9" fmla="*/ 452523 w 469348"/>
                <a:gd name="connsiteY9" fmla="*/ 420052 h 545507"/>
                <a:gd name="connsiteX10" fmla="*/ 456656 w 469348"/>
                <a:gd name="connsiteY10" fmla="*/ 407163 h 545507"/>
                <a:gd name="connsiteX11" fmla="*/ 405785 w 469348"/>
                <a:gd name="connsiteY11" fmla="*/ 380202 h 545507"/>
                <a:gd name="connsiteX12" fmla="*/ 398897 w 469348"/>
                <a:gd name="connsiteY12" fmla="*/ 349700 h 545507"/>
                <a:gd name="connsiteX13" fmla="*/ 343697 w 469348"/>
                <a:gd name="connsiteY13" fmla="*/ 294303 h 545507"/>
                <a:gd name="connsiteX14" fmla="*/ 339466 w 469348"/>
                <a:gd name="connsiteY14" fmla="*/ 275410 h 545507"/>
                <a:gd name="connsiteX15" fmla="*/ 311030 w 469348"/>
                <a:gd name="connsiteY15" fmla="*/ 256617 h 545507"/>
                <a:gd name="connsiteX16" fmla="*/ 314080 w 469348"/>
                <a:gd name="connsiteY16" fmla="*/ 240874 h 545507"/>
                <a:gd name="connsiteX17" fmla="*/ 234970 w 469348"/>
                <a:gd name="connsiteY17" fmla="*/ 200728 h 545507"/>
                <a:gd name="connsiteX18" fmla="*/ 244416 w 469348"/>
                <a:gd name="connsiteY18" fmla="*/ 174751 h 545507"/>
                <a:gd name="connsiteX19" fmla="*/ 279838 w 469348"/>
                <a:gd name="connsiteY19" fmla="*/ 179474 h 545507"/>
                <a:gd name="connsiteX20" fmla="*/ 300403 w 469348"/>
                <a:gd name="connsiteY20" fmla="*/ 145430 h 545507"/>
                <a:gd name="connsiteX21" fmla="*/ 268720 w 469348"/>
                <a:gd name="connsiteY21" fmla="*/ 123684 h 545507"/>
                <a:gd name="connsiteX22" fmla="*/ 279051 w 469348"/>
                <a:gd name="connsiteY22" fmla="*/ 107744 h 545507"/>
                <a:gd name="connsiteX23" fmla="*/ 244613 w 469348"/>
                <a:gd name="connsiteY23" fmla="*/ 91115 h 545507"/>
                <a:gd name="connsiteX24" fmla="*/ 222867 w 469348"/>
                <a:gd name="connsiteY24" fmla="*/ 112172 h 545507"/>
                <a:gd name="connsiteX25" fmla="*/ 189904 w 469348"/>
                <a:gd name="connsiteY25" fmla="*/ 103119 h 545507"/>
                <a:gd name="connsiteX26" fmla="*/ 170717 w 469348"/>
                <a:gd name="connsiteY26" fmla="*/ 75076 h 545507"/>
                <a:gd name="connsiteX27" fmla="*/ 183115 w 469348"/>
                <a:gd name="connsiteY27" fmla="*/ 54905 h 545507"/>
                <a:gd name="connsiteX28" fmla="*/ 179474 w 469348"/>
                <a:gd name="connsiteY28" fmla="*/ 35029 h 545507"/>
                <a:gd name="connsiteX29" fmla="*/ 158811 w 469348"/>
                <a:gd name="connsiteY29" fmla="*/ 41917 h 545507"/>
                <a:gd name="connsiteX30" fmla="*/ 126341 w 469348"/>
                <a:gd name="connsiteY30" fmla="*/ 0 h 545507"/>
                <a:gd name="connsiteX31" fmla="*/ 91508 w 469348"/>
                <a:gd name="connsiteY31" fmla="*/ 11808 h 545507"/>
                <a:gd name="connsiteX32" fmla="*/ 107744 w 469348"/>
                <a:gd name="connsiteY32" fmla="*/ 76749 h 545507"/>
                <a:gd name="connsiteX33" fmla="*/ 76651 w 469348"/>
                <a:gd name="connsiteY33" fmla="*/ 78520 h 545507"/>
                <a:gd name="connsiteX34" fmla="*/ 67795 w 469348"/>
                <a:gd name="connsiteY34" fmla="*/ 54905 h 545507"/>
                <a:gd name="connsiteX35" fmla="*/ 0 w 469348"/>
                <a:gd name="connsiteY35" fmla="*/ 132244 h 545507"/>
                <a:gd name="connsiteX36" fmla="*/ 30405 w 469348"/>
                <a:gd name="connsiteY36" fmla="*/ 145233 h 545507"/>
                <a:gd name="connsiteX37" fmla="*/ 15547 w 469348"/>
                <a:gd name="connsiteY37" fmla="*/ 183706 h 545507"/>
                <a:gd name="connsiteX38" fmla="*/ 69665 w 469348"/>
                <a:gd name="connsiteY38" fmla="*/ 180655 h 545507"/>
                <a:gd name="connsiteX39" fmla="*/ 73797 w 469348"/>
                <a:gd name="connsiteY39" fmla="*/ 223752 h 545507"/>
                <a:gd name="connsiteX40" fmla="*/ 56479 w 469348"/>
                <a:gd name="connsiteY40" fmla="*/ 252976 h 545507"/>
                <a:gd name="connsiteX41" fmla="*/ 66122 w 469348"/>
                <a:gd name="connsiteY41" fmla="*/ 274918 h 545507"/>
                <a:gd name="connsiteX42" fmla="*/ 50772 w 469348"/>
                <a:gd name="connsiteY42" fmla="*/ 310833 h 545507"/>
                <a:gd name="connsiteX43" fmla="*/ 73797 w 469348"/>
                <a:gd name="connsiteY43" fmla="*/ 315163 h 545507"/>
                <a:gd name="connsiteX44" fmla="*/ 123684 w 469348"/>
                <a:gd name="connsiteY44" fmla="*/ 270393 h 545507"/>
                <a:gd name="connsiteX45" fmla="*/ 157237 w 469348"/>
                <a:gd name="connsiteY45" fmla="*/ 295483 h 545507"/>
                <a:gd name="connsiteX46" fmla="*/ 183804 w 469348"/>
                <a:gd name="connsiteY46" fmla="*/ 282790 h 545507"/>
                <a:gd name="connsiteX47" fmla="*/ 197481 w 469348"/>
                <a:gd name="connsiteY47" fmla="*/ 257306 h 545507"/>
                <a:gd name="connsiteX48" fmla="*/ 239594 w 469348"/>
                <a:gd name="connsiteY48" fmla="*/ 262225 h 545507"/>
                <a:gd name="connsiteX49" fmla="*/ 290564 w 469348"/>
                <a:gd name="connsiteY49" fmla="*/ 320082 h 545507"/>
                <a:gd name="connsiteX50" fmla="*/ 289087 w 469348"/>
                <a:gd name="connsiteY50" fmla="*/ 375184 h 545507"/>
                <a:gd name="connsiteX51" fmla="*/ 342713 w 469348"/>
                <a:gd name="connsiteY51" fmla="*/ 430384 h 545507"/>
                <a:gd name="connsiteX52" fmla="*/ 338778 w 469348"/>
                <a:gd name="connsiteY52" fmla="*/ 499261 h 545507"/>
                <a:gd name="connsiteX53" fmla="*/ 315556 w 469348"/>
                <a:gd name="connsiteY53" fmla="*/ 517563 h 545507"/>
                <a:gd name="connsiteX54" fmla="*/ 328052 w 469348"/>
                <a:gd name="connsiteY54" fmla="*/ 534881 h 545507"/>
                <a:gd name="connsiteX55" fmla="*/ 348322 w 469348"/>
                <a:gd name="connsiteY55" fmla="*/ 532519 h 545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69348" h="545507">
                  <a:moveTo>
                    <a:pt x="348322" y="532519"/>
                  </a:moveTo>
                  <a:lnTo>
                    <a:pt x="362884" y="545507"/>
                  </a:lnTo>
                  <a:lnTo>
                    <a:pt x="380497" y="535274"/>
                  </a:lnTo>
                  <a:lnTo>
                    <a:pt x="368198" y="517858"/>
                  </a:lnTo>
                  <a:lnTo>
                    <a:pt x="400767" y="501525"/>
                  </a:lnTo>
                  <a:lnTo>
                    <a:pt x="419561" y="517858"/>
                  </a:lnTo>
                  <a:lnTo>
                    <a:pt x="458623" y="497097"/>
                  </a:lnTo>
                  <a:lnTo>
                    <a:pt x="469349" y="455475"/>
                  </a:lnTo>
                  <a:lnTo>
                    <a:pt x="438157" y="422512"/>
                  </a:lnTo>
                  <a:lnTo>
                    <a:pt x="452523" y="420052"/>
                  </a:lnTo>
                  <a:lnTo>
                    <a:pt x="456656" y="407163"/>
                  </a:lnTo>
                  <a:lnTo>
                    <a:pt x="405785" y="380202"/>
                  </a:lnTo>
                  <a:lnTo>
                    <a:pt x="398897" y="349700"/>
                  </a:lnTo>
                  <a:lnTo>
                    <a:pt x="343697" y="294303"/>
                  </a:lnTo>
                  <a:lnTo>
                    <a:pt x="339466" y="275410"/>
                  </a:lnTo>
                  <a:lnTo>
                    <a:pt x="311030" y="256617"/>
                  </a:lnTo>
                  <a:lnTo>
                    <a:pt x="314080" y="240874"/>
                  </a:lnTo>
                  <a:lnTo>
                    <a:pt x="234970" y="200728"/>
                  </a:lnTo>
                  <a:lnTo>
                    <a:pt x="244416" y="174751"/>
                  </a:lnTo>
                  <a:lnTo>
                    <a:pt x="279838" y="179474"/>
                  </a:lnTo>
                  <a:lnTo>
                    <a:pt x="300403" y="145430"/>
                  </a:lnTo>
                  <a:lnTo>
                    <a:pt x="268720" y="123684"/>
                  </a:lnTo>
                  <a:lnTo>
                    <a:pt x="279051" y="107744"/>
                  </a:lnTo>
                  <a:lnTo>
                    <a:pt x="244613" y="91115"/>
                  </a:lnTo>
                  <a:lnTo>
                    <a:pt x="222867" y="112172"/>
                  </a:lnTo>
                  <a:lnTo>
                    <a:pt x="189904" y="103119"/>
                  </a:lnTo>
                  <a:lnTo>
                    <a:pt x="170717" y="75076"/>
                  </a:lnTo>
                  <a:lnTo>
                    <a:pt x="183115" y="54905"/>
                  </a:lnTo>
                  <a:lnTo>
                    <a:pt x="179474" y="35029"/>
                  </a:lnTo>
                  <a:lnTo>
                    <a:pt x="158811" y="41917"/>
                  </a:lnTo>
                  <a:lnTo>
                    <a:pt x="126341" y="0"/>
                  </a:lnTo>
                  <a:lnTo>
                    <a:pt x="91508" y="11808"/>
                  </a:lnTo>
                  <a:lnTo>
                    <a:pt x="107744" y="76749"/>
                  </a:lnTo>
                  <a:lnTo>
                    <a:pt x="76651" y="78520"/>
                  </a:lnTo>
                  <a:lnTo>
                    <a:pt x="67795" y="54905"/>
                  </a:lnTo>
                  <a:lnTo>
                    <a:pt x="0" y="132244"/>
                  </a:lnTo>
                  <a:lnTo>
                    <a:pt x="30405" y="145233"/>
                  </a:lnTo>
                  <a:lnTo>
                    <a:pt x="15547" y="183706"/>
                  </a:lnTo>
                  <a:lnTo>
                    <a:pt x="69665" y="180655"/>
                  </a:lnTo>
                  <a:lnTo>
                    <a:pt x="73797" y="223752"/>
                  </a:lnTo>
                  <a:lnTo>
                    <a:pt x="56479" y="252976"/>
                  </a:lnTo>
                  <a:lnTo>
                    <a:pt x="66122" y="274918"/>
                  </a:lnTo>
                  <a:lnTo>
                    <a:pt x="50772" y="310833"/>
                  </a:lnTo>
                  <a:lnTo>
                    <a:pt x="73797" y="315163"/>
                  </a:lnTo>
                  <a:lnTo>
                    <a:pt x="123684" y="270393"/>
                  </a:lnTo>
                  <a:lnTo>
                    <a:pt x="157237" y="295483"/>
                  </a:lnTo>
                  <a:lnTo>
                    <a:pt x="183804" y="282790"/>
                  </a:lnTo>
                  <a:lnTo>
                    <a:pt x="197481" y="257306"/>
                  </a:lnTo>
                  <a:lnTo>
                    <a:pt x="239594" y="262225"/>
                  </a:lnTo>
                  <a:lnTo>
                    <a:pt x="290564" y="320082"/>
                  </a:lnTo>
                  <a:lnTo>
                    <a:pt x="289087" y="375184"/>
                  </a:lnTo>
                  <a:lnTo>
                    <a:pt x="342713" y="430384"/>
                  </a:lnTo>
                  <a:lnTo>
                    <a:pt x="338778" y="499261"/>
                  </a:lnTo>
                  <a:lnTo>
                    <a:pt x="315556" y="517563"/>
                  </a:lnTo>
                  <a:lnTo>
                    <a:pt x="328052" y="534881"/>
                  </a:lnTo>
                  <a:lnTo>
                    <a:pt x="348322" y="532519"/>
                  </a:lnTo>
                  <a:close/>
                </a:path>
              </a:pathLst>
            </a:custGeom>
            <a:grpFill/>
            <a:ln w="9835" cap="flat">
              <a:noFill/>
              <a:prstDash val="solid"/>
              <a:miter/>
            </a:ln>
          </p:spPr>
          <p:txBody>
            <a:bodyPr rtlCol="0" anchor="ctr"/>
            <a:lstStyle/>
            <a:p>
              <a:endParaRPr lang="en-IN"/>
            </a:p>
          </p:txBody>
        </p:sp>
        <p:sp>
          <p:nvSpPr>
            <p:cNvPr id="491" name="Freeform: Shape 490">
              <a:extLst>
                <a:ext uri="{FF2B5EF4-FFF2-40B4-BE49-F238E27FC236}">
                  <a16:creationId xmlns:a16="http://schemas.microsoft.com/office/drawing/2014/main" id="{37D4ECF6-3EFF-4C75-71AE-835F7E53B1E2}"/>
                </a:ext>
              </a:extLst>
            </p:cNvPr>
            <p:cNvSpPr/>
            <p:nvPr/>
          </p:nvSpPr>
          <p:spPr>
            <a:xfrm>
              <a:off x="9340639" y="3334794"/>
              <a:ext cx="681293" cy="298828"/>
            </a:xfrm>
            <a:custGeom>
              <a:avLst/>
              <a:gdLst>
                <a:gd name="connsiteX0" fmla="*/ 631899 w 681293"/>
                <a:gd name="connsiteY0" fmla="*/ 62088 h 298828"/>
                <a:gd name="connsiteX1" fmla="*/ 613893 w 681293"/>
                <a:gd name="connsiteY1" fmla="*/ 47722 h 298828"/>
                <a:gd name="connsiteX2" fmla="*/ 616352 w 681293"/>
                <a:gd name="connsiteY2" fmla="*/ 34340 h 298828"/>
                <a:gd name="connsiteX3" fmla="*/ 503689 w 681293"/>
                <a:gd name="connsiteY3" fmla="*/ 26272 h 298828"/>
                <a:gd name="connsiteX4" fmla="*/ 481845 w 681293"/>
                <a:gd name="connsiteY4" fmla="*/ 17416 h 298828"/>
                <a:gd name="connsiteX5" fmla="*/ 407655 w 681293"/>
                <a:gd name="connsiteY5" fmla="*/ 21549 h 298828"/>
                <a:gd name="connsiteX6" fmla="*/ 396536 w 681293"/>
                <a:gd name="connsiteY6" fmla="*/ 34439 h 298828"/>
                <a:gd name="connsiteX7" fmla="*/ 365836 w 681293"/>
                <a:gd name="connsiteY7" fmla="*/ 34439 h 298828"/>
                <a:gd name="connsiteX8" fmla="*/ 309062 w 681293"/>
                <a:gd name="connsiteY8" fmla="*/ 0 h 298828"/>
                <a:gd name="connsiteX9" fmla="*/ 269802 w 681293"/>
                <a:gd name="connsiteY9" fmla="*/ 11315 h 298828"/>
                <a:gd name="connsiteX10" fmla="*/ 258093 w 681293"/>
                <a:gd name="connsiteY10" fmla="*/ 45557 h 298828"/>
                <a:gd name="connsiteX11" fmla="*/ 269802 w 681293"/>
                <a:gd name="connsiteY11" fmla="*/ 60513 h 298828"/>
                <a:gd name="connsiteX12" fmla="*/ 258782 w 681293"/>
                <a:gd name="connsiteY12" fmla="*/ 68779 h 298828"/>
                <a:gd name="connsiteX13" fmla="*/ 168552 w 681293"/>
                <a:gd name="connsiteY13" fmla="*/ 31880 h 298828"/>
                <a:gd name="connsiteX14" fmla="*/ 123586 w 681293"/>
                <a:gd name="connsiteY14" fmla="*/ 37390 h 298828"/>
                <a:gd name="connsiteX15" fmla="*/ 109023 w 681293"/>
                <a:gd name="connsiteY15" fmla="*/ 68779 h 298828"/>
                <a:gd name="connsiteX16" fmla="*/ 125357 w 681293"/>
                <a:gd name="connsiteY16" fmla="*/ 80980 h 298828"/>
                <a:gd name="connsiteX17" fmla="*/ 60415 w 681293"/>
                <a:gd name="connsiteY17" fmla="*/ 128407 h 298828"/>
                <a:gd name="connsiteX18" fmla="*/ 93279 w 681293"/>
                <a:gd name="connsiteY18" fmla="*/ 132835 h 298828"/>
                <a:gd name="connsiteX19" fmla="*/ 97215 w 681293"/>
                <a:gd name="connsiteY19" fmla="*/ 149857 h 298828"/>
                <a:gd name="connsiteX20" fmla="*/ 131752 w 681293"/>
                <a:gd name="connsiteY20" fmla="*/ 158712 h 298828"/>
                <a:gd name="connsiteX21" fmla="*/ 147102 w 681293"/>
                <a:gd name="connsiteY21" fmla="*/ 125848 h 298828"/>
                <a:gd name="connsiteX22" fmla="*/ 162452 w 681293"/>
                <a:gd name="connsiteY22" fmla="*/ 134999 h 298828"/>
                <a:gd name="connsiteX23" fmla="*/ 164420 w 681293"/>
                <a:gd name="connsiteY23" fmla="*/ 154383 h 298828"/>
                <a:gd name="connsiteX24" fmla="*/ 184886 w 681293"/>
                <a:gd name="connsiteY24" fmla="*/ 155170 h 298828"/>
                <a:gd name="connsiteX25" fmla="*/ 192266 w 681293"/>
                <a:gd name="connsiteY25" fmla="*/ 166683 h 298828"/>
                <a:gd name="connsiteX26" fmla="*/ 239299 w 681293"/>
                <a:gd name="connsiteY26" fmla="*/ 174948 h 298828"/>
                <a:gd name="connsiteX27" fmla="*/ 243038 w 681293"/>
                <a:gd name="connsiteY27" fmla="*/ 184788 h 298828"/>
                <a:gd name="connsiteX28" fmla="*/ 213618 w 681293"/>
                <a:gd name="connsiteY28" fmla="*/ 198661 h 298828"/>
                <a:gd name="connsiteX29" fmla="*/ 193840 w 681293"/>
                <a:gd name="connsiteY29" fmla="*/ 196300 h 298828"/>
                <a:gd name="connsiteX30" fmla="*/ 195513 w 681293"/>
                <a:gd name="connsiteY30" fmla="*/ 213027 h 298828"/>
                <a:gd name="connsiteX31" fmla="*/ 179081 w 681293"/>
                <a:gd name="connsiteY31" fmla="*/ 208206 h 298828"/>
                <a:gd name="connsiteX32" fmla="*/ 170324 w 681293"/>
                <a:gd name="connsiteY32" fmla="*/ 220604 h 298828"/>
                <a:gd name="connsiteX33" fmla="*/ 123487 w 681293"/>
                <a:gd name="connsiteY33" fmla="*/ 216766 h 298828"/>
                <a:gd name="connsiteX34" fmla="*/ 96035 w 681293"/>
                <a:gd name="connsiteY34" fmla="*/ 225327 h 298828"/>
                <a:gd name="connsiteX35" fmla="*/ 80488 w 681293"/>
                <a:gd name="connsiteY35" fmla="*/ 243628 h 298828"/>
                <a:gd name="connsiteX36" fmla="*/ 40047 w 681293"/>
                <a:gd name="connsiteY36" fmla="*/ 230246 h 298828"/>
                <a:gd name="connsiteX37" fmla="*/ 0 w 681293"/>
                <a:gd name="connsiteY37" fmla="*/ 251992 h 298828"/>
                <a:gd name="connsiteX38" fmla="*/ 5904 w 681293"/>
                <a:gd name="connsiteY38" fmla="*/ 279838 h 298828"/>
                <a:gd name="connsiteX39" fmla="*/ 78028 w 681293"/>
                <a:gd name="connsiteY39" fmla="*/ 272360 h 298828"/>
                <a:gd name="connsiteX40" fmla="*/ 94952 w 681293"/>
                <a:gd name="connsiteY40" fmla="*/ 286431 h 298828"/>
                <a:gd name="connsiteX41" fmla="*/ 138837 w 681293"/>
                <a:gd name="connsiteY41" fmla="*/ 270589 h 298828"/>
                <a:gd name="connsiteX42" fmla="*/ 152416 w 681293"/>
                <a:gd name="connsiteY42" fmla="*/ 290268 h 298828"/>
                <a:gd name="connsiteX43" fmla="*/ 170029 w 681293"/>
                <a:gd name="connsiteY43" fmla="*/ 285545 h 298828"/>
                <a:gd name="connsiteX44" fmla="*/ 182623 w 681293"/>
                <a:gd name="connsiteY44" fmla="*/ 298828 h 298828"/>
                <a:gd name="connsiteX45" fmla="*/ 203188 w 681293"/>
                <a:gd name="connsiteY45" fmla="*/ 287710 h 298828"/>
                <a:gd name="connsiteX46" fmla="*/ 271868 w 681293"/>
                <a:gd name="connsiteY46" fmla="*/ 283479 h 298828"/>
                <a:gd name="connsiteX47" fmla="*/ 289284 w 681293"/>
                <a:gd name="connsiteY47" fmla="*/ 274918 h 298828"/>
                <a:gd name="connsiteX48" fmla="*/ 282888 w 681293"/>
                <a:gd name="connsiteY48" fmla="*/ 256223 h 298828"/>
                <a:gd name="connsiteX49" fmla="*/ 291154 w 681293"/>
                <a:gd name="connsiteY49" fmla="*/ 242349 h 298828"/>
                <a:gd name="connsiteX50" fmla="*/ 393879 w 681293"/>
                <a:gd name="connsiteY50" fmla="*/ 200531 h 298828"/>
                <a:gd name="connsiteX51" fmla="*/ 404900 w 681293"/>
                <a:gd name="connsiteY51" fmla="*/ 225720 h 298828"/>
                <a:gd name="connsiteX52" fmla="*/ 443668 w 681293"/>
                <a:gd name="connsiteY52" fmla="*/ 212535 h 298828"/>
                <a:gd name="connsiteX53" fmla="*/ 464626 w 681293"/>
                <a:gd name="connsiteY53" fmla="*/ 173275 h 298828"/>
                <a:gd name="connsiteX54" fmla="*/ 554855 w 681293"/>
                <a:gd name="connsiteY54" fmla="*/ 165305 h 298828"/>
                <a:gd name="connsiteX55" fmla="*/ 681294 w 681293"/>
                <a:gd name="connsiteY55" fmla="*/ 87080 h 298828"/>
                <a:gd name="connsiteX56" fmla="*/ 660040 w 681293"/>
                <a:gd name="connsiteY56" fmla="*/ 61989 h 298828"/>
                <a:gd name="connsiteX57" fmla="*/ 631604 w 681293"/>
                <a:gd name="connsiteY57" fmla="*/ 62186 h 298828"/>
                <a:gd name="connsiteX58" fmla="*/ 538029 w 681293"/>
                <a:gd name="connsiteY58" fmla="*/ 59628 h 298828"/>
                <a:gd name="connsiteX59" fmla="*/ 533405 w 681293"/>
                <a:gd name="connsiteY59" fmla="*/ 61202 h 298828"/>
                <a:gd name="connsiteX60" fmla="*/ 524647 w 681293"/>
                <a:gd name="connsiteY60" fmla="*/ 67303 h 298828"/>
                <a:gd name="connsiteX61" fmla="*/ 515988 w 681293"/>
                <a:gd name="connsiteY61" fmla="*/ 78225 h 298828"/>
                <a:gd name="connsiteX62" fmla="*/ 506936 w 681293"/>
                <a:gd name="connsiteY62" fmla="*/ 82554 h 298828"/>
                <a:gd name="connsiteX63" fmla="*/ 476237 w 681293"/>
                <a:gd name="connsiteY63" fmla="*/ 82554 h 298828"/>
                <a:gd name="connsiteX64" fmla="*/ 465413 w 681293"/>
                <a:gd name="connsiteY64" fmla="*/ 80488 h 298828"/>
                <a:gd name="connsiteX65" fmla="*/ 434025 w 681293"/>
                <a:gd name="connsiteY65" fmla="*/ 68188 h 298828"/>
                <a:gd name="connsiteX66" fmla="*/ 428810 w 681293"/>
                <a:gd name="connsiteY66" fmla="*/ 60612 h 298828"/>
                <a:gd name="connsiteX67" fmla="*/ 428810 w 681293"/>
                <a:gd name="connsiteY67" fmla="*/ 57857 h 298828"/>
                <a:gd name="connsiteX68" fmla="*/ 434418 w 681293"/>
                <a:gd name="connsiteY68" fmla="*/ 51953 h 298828"/>
                <a:gd name="connsiteX69" fmla="*/ 529174 w 681293"/>
                <a:gd name="connsiteY69" fmla="*/ 45557 h 298828"/>
                <a:gd name="connsiteX70" fmla="*/ 537832 w 681293"/>
                <a:gd name="connsiteY70" fmla="*/ 49788 h 298828"/>
                <a:gd name="connsiteX71" fmla="*/ 540096 w 681293"/>
                <a:gd name="connsiteY71" fmla="*/ 53232 h 298828"/>
                <a:gd name="connsiteX72" fmla="*/ 537931 w 681293"/>
                <a:gd name="connsiteY72" fmla="*/ 59628 h 29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81293" h="298828">
                  <a:moveTo>
                    <a:pt x="631899" y="62088"/>
                  </a:moveTo>
                  <a:lnTo>
                    <a:pt x="613893" y="47722"/>
                  </a:lnTo>
                  <a:lnTo>
                    <a:pt x="616352" y="34340"/>
                  </a:lnTo>
                  <a:lnTo>
                    <a:pt x="503689" y="26272"/>
                  </a:lnTo>
                  <a:lnTo>
                    <a:pt x="481845" y="17416"/>
                  </a:lnTo>
                  <a:lnTo>
                    <a:pt x="407655" y="21549"/>
                  </a:lnTo>
                  <a:lnTo>
                    <a:pt x="396536" y="34439"/>
                  </a:lnTo>
                  <a:lnTo>
                    <a:pt x="365836" y="34439"/>
                  </a:lnTo>
                  <a:cubicBezTo>
                    <a:pt x="365836" y="34439"/>
                    <a:pt x="309062" y="0"/>
                    <a:pt x="309062" y="0"/>
                  </a:cubicBezTo>
                  <a:lnTo>
                    <a:pt x="269802" y="11315"/>
                  </a:lnTo>
                  <a:lnTo>
                    <a:pt x="258093" y="45557"/>
                  </a:lnTo>
                  <a:lnTo>
                    <a:pt x="269802" y="60513"/>
                  </a:lnTo>
                  <a:lnTo>
                    <a:pt x="258782" y="68779"/>
                  </a:lnTo>
                  <a:lnTo>
                    <a:pt x="168552" y="31880"/>
                  </a:lnTo>
                  <a:lnTo>
                    <a:pt x="123586" y="37390"/>
                  </a:lnTo>
                  <a:lnTo>
                    <a:pt x="109023" y="68779"/>
                  </a:lnTo>
                  <a:lnTo>
                    <a:pt x="125357" y="80980"/>
                  </a:lnTo>
                  <a:lnTo>
                    <a:pt x="60415" y="128407"/>
                  </a:lnTo>
                  <a:lnTo>
                    <a:pt x="93279" y="132835"/>
                  </a:lnTo>
                  <a:lnTo>
                    <a:pt x="97215" y="149857"/>
                  </a:lnTo>
                  <a:lnTo>
                    <a:pt x="131752" y="158712"/>
                  </a:lnTo>
                  <a:lnTo>
                    <a:pt x="147102" y="125848"/>
                  </a:lnTo>
                  <a:lnTo>
                    <a:pt x="162452" y="134999"/>
                  </a:lnTo>
                  <a:lnTo>
                    <a:pt x="164420" y="154383"/>
                  </a:lnTo>
                  <a:lnTo>
                    <a:pt x="184886" y="155170"/>
                  </a:lnTo>
                  <a:lnTo>
                    <a:pt x="192266" y="166683"/>
                  </a:lnTo>
                  <a:lnTo>
                    <a:pt x="239299" y="174948"/>
                  </a:lnTo>
                  <a:lnTo>
                    <a:pt x="243038" y="184788"/>
                  </a:lnTo>
                  <a:lnTo>
                    <a:pt x="213618" y="198661"/>
                  </a:lnTo>
                  <a:lnTo>
                    <a:pt x="193840" y="196300"/>
                  </a:lnTo>
                  <a:lnTo>
                    <a:pt x="195513" y="213027"/>
                  </a:lnTo>
                  <a:lnTo>
                    <a:pt x="179081" y="208206"/>
                  </a:lnTo>
                  <a:lnTo>
                    <a:pt x="170324" y="220604"/>
                  </a:lnTo>
                  <a:lnTo>
                    <a:pt x="123487" y="216766"/>
                  </a:lnTo>
                  <a:lnTo>
                    <a:pt x="96035" y="225327"/>
                  </a:lnTo>
                  <a:lnTo>
                    <a:pt x="80488" y="243628"/>
                  </a:lnTo>
                  <a:lnTo>
                    <a:pt x="40047" y="230246"/>
                  </a:lnTo>
                  <a:lnTo>
                    <a:pt x="0" y="251992"/>
                  </a:lnTo>
                  <a:lnTo>
                    <a:pt x="5904" y="279838"/>
                  </a:lnTo>
                  <a:lnTo>
                    <a:pt x="78028" y="272360"/>
                  </a:lnTo>
                  <a:lnTo>
                    <a:pt x="94952" y="286431"/>
                  </a:lnTo>
                  <a:lnTo>
                    <a:pt x="138837" y="270589"/>
                  </a:lnTo>
                  <a:lnTo>
                    <a:pt x="152416" y="290268"/>
                  </a:lnTo>
                  <a:lnTo>
                    <a:pt x="170029" y="285545"/>
                  </a:lnTo>
                  <a:lnTo>
                    <a:pt x="182623" y="298828"/>
                  </a:lnTo>
                  <a:lnTo>
                    <a:pt x="203188" y="287710"/>
                  </a:lnTo>
                  <a:lnTo>
                    <a:pt x="271868" y="283479"/>
                  </a:lnTo>
                  <a:lnTo>
                    <a:pt x="289284" y="274918"/>
                  </a:lnTo>
                  <a:lnTo>
                    <a:pt x="282888" y="256223"/>
                  </a:lnTo>
                  <a:lnTo>
                    <a:pt x="291154" y="242349"/>
                  </a:lnTo>
                  <a:lnTo>
                    <a:pt x="393879" y="200531"/>
                  </a:lnTo>
                  <a:lnTo>
                    <a:pt x="404900" y="225720"/>
                  </a:lnTo>
                  <a:lnTo>
                    <a:pt x="443668" y="212535"/>
                  </a:lnTo>
                  <a:lnTo>
                    <a:pt x="464626" y="173275"/>
                  </a:lnTo>
                  <a:lnTo>
                    <a:pt x="554855" y="165305"/>
                  </a:lnTo>
                  <a:lnTo>
                    <a:pt x="681294" y="87080"/>
                  </a:lnTo>
                  <a:lnTo>
                    <a:pt x="660040" y="61989"/>
                  </a:lnTo>
                  <a:lnTo>
                    <a:pt x="631604" y="62186"/>
                  </a:lnTo>
                  <a:close/>
                  <a:moveTo>
                    <a:pt x="538029" y="59628"/>
                  </a:moveTo>
                  <a:lnTo>
                    <a:pt x="533405" y="61202"/>
                  </a:lnTo>
                  <a:cubicBezTo>
                    <a:pt x="530453" y="62186"/>
                    <a:pt x="526517" y="64941"/>
                    <a:pt x="524647" y="67303"/>
                  </a:cubicBezTo>
                  <a:lnTo>
                    <a:pt x="515988" y="78225"/>
                  </a:lnTo>
                  <a:cubicBezTo>
                    <a:pt x="514119" y="80586"/>
                    <a:pt x="509986" y="82554"/>
                    <a:pt x="506936" y="82554"/>
                  </a:cubicBezTo>
                  <a:lnTo>
                    <a:pt x="476237" y="82554"/>
                  </a:lnTo>
                  <a:cubicBezTo>
                    <a:pt x="473186" y="82554"/>
                    <a:pt x="468365" y="81669"/>
                    <a:pt x="465413" y="80488"/>
                  </a:cubicBezTo>
                  <a:lnTo>
                    <a:pt x="434025" y="68188"/>
                  </a:lnTo>
                  <a:cubicBezTo>
                    <a:pt x="431171" y="67106"/>
                    <a:pt x="428810" y="63662"/>
                    <a:pt x="428810" y="60612"/>
                  </a:cubicBezTo>
                  <a:lnTo>
                    <a:pt x="428810" y="57857"/>
                  </a:lnTo>
                  <a:cubicBezTo>
                    <a:pt x="428810" y="54806"/>
                    <a:pt x="431270" y="52150"/>
                    <a:pt x="434418" y="51953"/>
                  </a:cubicBezTo>
                  <a:lnTo>
                    <a:pt x="529174" y="45557"/>
                  </a:lnTo>
                  <a:cubicBezTo>
                    <a:pt x="532224" y="45360"/>
                    <a:pt x="536160" y="47230"/>
                    <a:pt x="537832" y="49788"/>
                  </a:cubicBezTo>
                  <a:lnTo>
                    <a:pt x="540096" y="53232"/>
                  </a:lnTo>
                  <a:cubicBezTo>
                    <a:pt x="541768" y="55790"/>
                    <a:pt x="540784" y="58644"/>
                    <a:pt x="537931" y="59628"/>
                  </a:cubicBezTo>
                  <a:close/>
                </a:path>
              </a:pathLst>
            </a:custGeom>
            <a:grpFill/>
            <a:ln w="9835" cap="flat">
              <a:noFill/>
              <a:prstDash val="solid"/>
              <a:miter/>
            </a:ln>
          </p:spPr>
          <p:txBody>
            <a:bodyPr rtlCol="0" anchor="ctr"/>
            <a:lstStyle/>
            <a:p>
              <a:endParaRPr lang="en-IN"/>
            </a:p>
          </p:txBody>
        </p:sp>
        <p:grpSp>
          <p:nvGrpSpPr>
            <p:cNvPr id="492" name="Graphic 470">
              <a:extLst>
                <a:ext uri="{FF2B5EF4-FFF2-40B4-BE49-F238E27FC236}">
                  <a16:creationId xmlns:a16="http://schemas.microsoft.com/office/drawing/2014/main" id="{5686BF78-693C-651F-66FF-916D2B165EE9}"/>
                </a:ext>
              </a:extLst>
            </p:cNvPr>
            <p:cNvGrpSpPr/>
            <p:nvPr/>
          </p:nvGrpSpPr>
          <p:grpSpPr>
            <a:xfrm>
              <a:off x="7929838" y="2353196"/>
              <a:ext cx="2534286" cy="1180653"/>
              <a:chOff x="7929838" y="2353196"/>
              <a:chExt cx="2534286" cy="1180653"/>
            </a:xfrm>
            <a:grpFill/>
          </p:grpSpPr>
          <p:sp>
            <p:nvSpPr>
              <p:cNvPr id="687" name="Freeform: Shape 686">
                <a:extLst>
                  <a:ext uri="{FF2B5EF4-FFF2-40B4-BE49-F238E27FC236}">
                    <a16:creationId xmlns:a16="http://schemas.microsoft.com/office/drawing/2014/main" id="{455975C3-7057-F733-E0D9-8B7C5618B85F}"/>
                  </a:ext>
                </a:extLst>
              </p:cNvPr>
              <p:cNvSpPr/>
              <p:nvPr/>
            </p:nvSpPr>
            <p:spPr>
              <a:xfrm>
                <a:off x="8182142" y="3195059"/>
                <a:ext cx="11693" cy="15926"/>
              </a:xfrm>
              <a:custGeom>
                <a:avLst/>
                <a:gdLst>
                  <a:gd name="connsiteX0" fmla="*/ 10610 w 11693"/>
                  <a:gd name="connsiteY0" fmla="*/ 13296 h 15926"/>
                  <a:gd name="connsiteX1" fmla="*/ 6871 w 11693"/>
                  <a:gd name="connsiteY1" fmla="*/ 13 h 15926"/>
                  <a:gd name="connsiteX2" fmla="*/ 967 w 11693"/>
                  <a:gd name="connsiteY2" fmla="*/ 5228 h 15926"/>
                  <a:gd name="connsiteX3" fmla="*/ 10610 w 11693"/>
                  <a:gd name="connsiteY3" fmla="*/ 13296 h 15926"/>
                </a:gdLst>
                <a:ahLst/>
                <a:cxnLst>
                  <a:cxn ang="0">
                    <a:pos x="connsiteX0" y="connsiteY0"/>
                  </a:cxn>
                  <a:cxn ang="0">
                    <a:pos x="connsiteX1" y="connsiteY1"/>
                  </a:cxn>
                  <a:cxn ang="0">
                    <a:pos x="connsiteX2" y="connsiteY2"/>
                  </a:cxn>
                  <a:cxn ang="0">
                    <a:pos x="connsiteX3" y="connsiteY3"/>
                  </a:cxn>
                </a:cxnLst>
                <a:rect l="l" t="t" r="r" b="b"/>
                <a:pathLst>
                  <a:path w="11693" h="15926">
                    <a:moveTo>
                      <a:pt x="10610" y="13296"/>
                    </a:moveTo>
                    <a:cubicBezTo>
                      <a:pt x="10610" y="13296"/>
                      <a:pt x="14742" y="-479"/>
                      <a:pt x="6871" y="13"/>
                    </a:cubicBezTo>
                    <a:cubicBezTo>
                      <a:pt x="5887" y="407"/>
                      <a:pt x="-2871" y="-676"/>
                      <a:pt x="967" y="5228"/>
                    </a:cubicBezTo>
                    <a:cubicBezTo>
                      <a:pt x="3525" y="8278"/>
                      <a:pt x="9527" y="21463"/>
                      <a:pt x="10610" y="13296"/>
                    </a:cubicBezTo>
                    <a:close/>
                  </a:path>
                </a:pathLst>
              </a:custGeom>
              <a:grpFill/>
              <a:ln w="9835" cap="flat">
                <a:noFill/>
                <a:prstDash val="solid"/>
                <a:miter/>
              </a:ln>
            </p:spPr>
            <p:txBody>
              <a:bodyPr rtlCol="0" anchor="ctr"/>
              <a:lstStyle/>
              <a:p>
                <a:endParaRPr lang="en-IN"/>
              </a:p>
            </p:txBody>
          </p:sp>
          <p:sp>
            <p:nvSpPr>
              <p:cNvPr id="688" name="Freeform: Shape 687">
                <a:extLst>
                  <a:ext uri="{FF2B5EF4-FFF2-40B4-BE49-F238E27FC236}">
                    <a16:creationId xmlns:a16="http://schemas.microsoft.com/office/drawing/2014/main" id="{83E6C8F5-F265-A238-45D5-98CBDA8946E5}"/>
                  </a:ext>
                </a:extLst>
              </p:cNvPr>
              <p:cNvSpPr/>
              <p:nvPr/>
            </p:nvSpPr>
            <p:spPr>
              <a:xfrm>
                <a:off x="8156881" y="3183706"/>
                <a:ext cx="12784" cy="20940"/>
              </a:xfrm>
              <a:custGeom>
                <a:avLst/>
                <a:gdLst>
                  <a:gd name="connsiteX0" fmla="*/ 7926 w 12784"/>
                  <a:gd name="connsiteY0" fmla="*/ 19729 h 20940"/>
                  <a:gd name="connsiteX1" fmla="*/ 12748 w 12784"/>
                  <a:gd name="connsiteY1" fmla="*/ 9693 h 20940"/>
                  <a:gd name="connsiteX2" fmla="*/ 6746 w 12784"/>
                  <a:gd name="connsiteY2" fmla="*/ 542 h 20940"/>
                  <a:gd name="connsiteX3" fmla="*/ 251 w 12784"/>
                  <a:gd name="connsiteY3" fmla="*/ 9693 h 20940"/>
                  <a:gd name="connsiteX4" fmla="*/ 7926 w 12784"/>
                  <a:gd name="connsiteY4" fmla="*/ 19729 h 20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4" h="20940">
                    <a:moveTo>
                      <a:pt x="7926" y="19729"/>
                    </a:moveTo>
                    <a:cubicBezTo>
                      <a:pt x="8615" y="18745"/>
                      <a:pt x="13240" y="15892"/>
                      <a:pt x="12748" y="9693"/>
                    </a:cubicBezTo>
                    <a:cubicBezTo>
                      <a:pt x="12748" y="9693"/>
                      <a:pt x="13535" y="-2705"/>
                      <a:pt x="6746" y="542"/>
                    </a:cubicBezTo>
                    <a:cubicBezTo>
                      <a:pt x="5762" y="1428"/>
                      <a:pt x="-1421" y="2805"/>
                      <a:pt x="251" y="9693"/>
                    </a:cubicBezTo>
                    <a:cubicBezTo>
                      <a:pt x="1432" y="12251"/>
                      <a:pt x="1826" y="24846"/>
                      <a:pt x="7926" y="19729"/>
                    </a:cubicBezTo>
                    <a:close/>
                  </a:path>
                </a:pathLst>
              </a:custGeom>
              <a:grpFill/>
              <a:ln w="9835" cap="flat">
                <a:noFill/>
                <a:prstDash val="solid"/>
                <a:miter/>
              </a:ln>
            </p:spPr>
            <p:txBody>
              <a:bodyPr rtlCol="0" anchor="ctr"/>
              <a:lstStyle/>
              <a:p>
                <a:endParaRPr lang="en-IN"/>
              </a:p>
            </p:txBody>
          </p:sp>
          <p:sp>
            <p:nvSpPr>
              <p:cNvPr id="689" name="Freeform: Shape 688">
                <a:extLst>
                  <a:ext uri="{FF2B5EF4-FFF2-40B4-BE49-F238E27FC236}">
                    <a16:creationId xmlns:a16="http://schemas.microsoft.com/office/drawing/2014/main" id="{361346DA-CABD-7DDE-9FBE-0B2A29EFCF9F}"/>
                  </a:ext>
                </a:extLst>
              </p:cNvPr>
              <p:cNvSpPr/>
              <p:nvPr/>
            </p:nvSpPr>
            <p:spPr>
              <a:xfrm>
                <a:off x="8130158" y="3098009"/>
                <a:ext cx="12510" cy="12054"/>
              </a:xfrm>
              <a:custGeom>
                <a:avLst/>
                <a:gdLst>
                  <a:gd name="connsiteX0" fmla="*/ 6705 w 12510"/>
                  <a:gd name="connsiteY0" fmla="*/ 11950 h 12054"/>
                  <a:gd name="connsiteX1" fmla="*/ 12510 w 12510"/>
                  <a:gd name="connsiteY1" fmla="*/ 7522 h 12054"/>
                  <a:gd name="connsiteX2" fmla="*/ 7492 w 12510"/>
                  <a:gd name="connsiteY2" fmla="*/ 536 h 12054"/>
                  <a:gd name="connsiteX3" fmla="*/ 5819 w 12510"/>
                  <a:gd name="connsiteY3" fmla="*/ 143 h 12054"/>
                  <a:gd name="connsiteX4" fmla="*/ 14 w 12510"/>
                  <a:gd name="connsiteY4" fmla="*/ 4374 h 12054"/>
                  <a:gd name="connsiteX5" fmla="*/ 14 w 12510"/>
                  <a:gd name="connsiteY5" fmla="*/ 4866 h 12054"/>
                  <a:gd name="connsiteX6" fmla="*/ 6705 w 12510"/>
                  <a:gd name="connsiteY6" fmla="*/ 11852 h 1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10" h="12054">
                    <a:moveTo>
                      <a:pt x="6705" y="11950"/>
                    </a:moveTo>
                    <a:cubicBezTo>
                      <a:pt x="9657" y="12541"/>
                      <a:pt x="12313" y="10573"/>
                      <a:pt x="12510" y="7522"/>
                    </a:cubicBezTo>
                    <a:cubicBezTo>
                      <a:pt x="12215" y="6538"/>
                      <a:pt x="12510" y="1717"/>
                      <a:pt x="7492" y="536"/>
                    </a:cubicBezTo>
                    <a:lnTo>
                      <a:pt x="5819" y="143"/>
                    </a:lnTo>
                    <a:cubicBezTo>
                      <a:pt x="2868" y="-546"/>
                      <a:pt x="211" y="1323"/>
                      <a:pt x="14" y="4374"/>
                    </a:cubicBezTo>
                    <a:lnTo>
                      <a:pt x="14" y="4866"/>
                    </a:lnTo>
                    <a:cubicBezTo>
                      <a:pt x="-380" y="11065"/>
                      <a:pt x="7689" y="12442"/>
                      <a:pt x="6705" y="11852"/>
                    </a:cubicBezTo>
                    <a:close/>
                  </a:path>
                </a:pathLst>
              </a:custGeom>
              <a:grpFill/>
              <a:ln w="9835" cap="flat">
                <a:noFill/>
                <a:prstDash val="solid"/>
                <a:miter/>
              </a:ln>
            </p:spPr>
            <p:txBody>
              <a:bodyPr rtlCol="0" anchor="ctr"/>
              <a:lstStyle/>
              <a:p>
                <a:endParaRPr lang="en-IN"/>
              </a:p>
            </p:txBody>
          </p:sp>
          <p:sp>
            <p:nvSpPr>
              <p:cNvPr id="690" name="Freeform: Shape 689">
                <a:extLst>
                  <a:ext uri="{FF2B5EF4-FFF2-40B4-BE49-F238E27FC236}">
                    <a16:creationId xmlns:a16="http://schemas.microsoft.com/office/drawing/2014/main" id="{CAD13024-66E8-9E92-A35F-ADBC26088FA5}"/>
                  </a:ext>
                </a:extLst>
              </p:cNvPr>
              <p:cNvSpPr/>
              <p:nvPr/>
            </p:nvSpPr>
            <p:spPr>
              <a:xfrm>
                <a:off x="7929838" y="2353196"/>
                <a:ext cx="2534286" cy="1180653"/>
              </a:xfrm>
              <a:custGeom>
                <a:avLst/>
                <a:gdLst>
                  <a:gd name="connsiteX0" fmla="*/ 2534286 w 2534286"/>
                  <a:gd name="connsiteY0" fmla="*/ 528583 h 1180653"/>
                  <a:gd name="connsiteX1" fmla="*/ 2492468 w 2534286"/>
                  <a:gd name="connsiteY1" fmla="*/ 493849 h 1180653"/>
                  <a:gd name="connsiteX2" fmla="*/ 2505948 w 2534286"/>
                  <a:gd name="connsiteY2" fmla="*/ 476138 h 1180653"/>
                  <a:gd name="connsiteX3" fmla="*/ 2486860 w 2534286"/>
                  <a:gd name="connsiteY3" fmla="*/ 467676 h 1180653"/>
                  <a:gd name="connsiteX4" fmla="*/ 2458521 w 2534286"/>
                  <a:gd name="connsiteY4" fmla="*/ 493849 h 1180653"/>
                  <a:gd name="connsiteX5" fmla="*/ 2401452 w 2534286"/>
                  <a:gd name="connsiteY5" fmla="*/ 488930 h 1180653"/>
                  <a:gd name="connsiteX6" fmla="*/ 2385118 w 2534286"/>
                  <a:gd name="connsiteY6" fmla="*/ 447505 h 1180653"/>
                  <a:gd name="connsiteX7" fmla="*/ 2341135 w 2534286"/>
                  <a:gd name="connsiteY7" fmla="*/ 436189 h 1180653"/>
                  <a:gd name="connsiteX8" fmla="*/ 2333559 w 2534286"/>
                  <a:gd name="connsiteY8" fmla="*/ 399783 h 1180653"/>
                  <a:gd name="connsiteX9" fmla="*/ 2275210 w 2534286"/>
                  <a:gd name="connsiteY9" fmla="*/ 371543 h 1180653"/>
                  <a:gd name="connsiteX10" fmla="*/ 2241952 w 2534286"/>
                  <a:gd name="connsiteY10" fmla="*/ 396044 h 1180653"/>
                  <a:gd name="connsiteX11" fmla="*/ 2170418 w 2534286"/>
                  <a:gd name="connsiteY11" fmla="*/ 399783 h 1180653"/>
                  <a:gd name="connsiteX12" fmla="*/ 2170418 w 2534286"/>
                  <a:gd name="connsiteY12" fmla="*/ 380300 h 1180653"/>
                  <a:gd name="connsiteX13" fmla="*/ 2146606 w 2534286"/>
                  <a:gd name="connsiteY13" fmla="*/ 374692 h 1180653"/>
                  <a:gd name="connsiteX14" fmla="*/ 2149165 w 2534286"/>
                  <a:gd name="connsiteY14" fmla="*/ 358358 h 1180653"/>
                  <a:gd name="connsiteX15" fmla="*/ 2106461 w 2534286"/>
                  <a:gd name="connsiteY15" fmla="*/ 348322 h 1180653"/>
                  <a:gd name="connsiteX16" fmla="*/ 2106461 w 2534286"/>
                  <a:gd name="connsiteY16" fmla="*/ 379710 h 1180653"/>
                  <a:gd name="connsiteX17" fmla="*/ 2077631 w 2534286"/>
                  <a:gd name="connsiteY17" fmla="*/ 395453 h 1180653"/>
                  <a:gd name="connsiteX18" fmla="*/ 2004818 w 2534286"/>
                  <a:gd name="connsiteY18" fmla="*/ 266751 h 1180653"/>
                  <a:gd name="connsiteX19" fmla="*/ 1947158 w 2534286"/>
                  <a:gd name="connsiteY19" fmla="*/ 185870 h 1180653"/>
                  <a:gd name="connsiteX20" fmla="*/ 1858601 w 2534286"/>
                  <a:gd name="connsiteY20" fmla="*/ 119453 h 1180653"/>
                  <a:gd name="connsiteX21" fmla="*/ 1882020 w 2534286"/>
                  <a:gd name="connsiteY21" fmla="*/ 108432 h 1180653"/>
                  <a:gd name="connsiteX22" fmla="*/ 1882020 w 2534286"/>
                  <a:gd name="connsiteY22" fmla="*/ 78323 h 1180653"/>
                  <a:gd name="connsiteX23" fmla="*/ 1680898 w 2534286"/>
                  <a:gd name="connsiteY23" fmla="*/ 170619 h 1180653"/>
                  <a:gd name="connsiteX24" fmla="*/ 1645279 w 2534286"/>
                  <a:gd name="connsiteY24" fmla="*/ 161960 h 1180653"/>
                  <a:gd name="connsiteX25" fmla="*/ 1687786 w 2534286"/>
                  <a:gd name="connsiteY25" fmla="*/ 110302 h 1180653"/>
                  <a:gd name="connsiteX26" fmla="*/ 1528483 w 2534286"/>
                  <a:gd name="connsiteY26" fmla="*/ 109121 h 1180653"/>
                  <a:gd name="connsiteX27" fmla="*/ 1509984 w 2534286"/>
                  <a:gd name="connsiteY27" fmla="*/ 13185 h 1180653"/>
                  <a:gd name="connsiteX28" fmla="*/ 1384530 w 2534286"/>
                  <a:gd name="connsiteY28" fmla="*/ 0 h 1180653"/>
                  <a:gd name="connsiteX29" fmla="*/ 1343991 w 2534286"/>
                  <a:gd name="connsiteY29" fmla="*/ 41425 h 1180653"/>
                  <a:gd name="connsiteX30" fmla="*/ 1014364 w 2534286"/>
                  <a:gd name="connsiteY30" fmla="*/ 117681 h 1180653"/>
                  <a:gd name="connsiteX31" fmla="*/ 913016 w 2534286"/>
                  <a:gd name="connsiteY31" fmla="*/ 117681 h 1180653"/>
                  <a:gd name="connsiteX32" fmla="*/ 912327 w 2534286"/>
                  <a:gd name="connsiteY32" fmla="*/ 170619 h 1180653"/>
                  <a:gd name="connsiteX33" fmla="*/ 968905 w 2534286"/>
                  <a:gd name="connsiteY33" fmla="*/ 187838 h 1180653"/>
                  <a:gd name="connsiteX34" fmla="*/ 968905 w 2534286"/>
                  <a:gd name="connsiteY34" fmla="*/ 221096 h 1180653"/>
                  <a:gd name="connsiteX35" fmla="*/ 915968 w 2534286"/>
                  <a:gd name="connsiteY35" fmla="*/ 207517 h 1180653"/>
                  <a:gd name="connsiteX36" fmla="*/ 887630 w 2534286"/>
                  <a:gd name="connsiteY36" fmla="*/ 232116 h 1180653"/>
                  <a:gd name="connsiteX37" fmla="*/ 899930 w 2534286"/>
                  <a:gd name="connsiteY37" fmla="*/ 270294 h 1180653"/>
                  <a:gd name="connsiteX38" fmla="*/ 858702 w 2534286"/>
                  <a:gd name="connsiteY38" fmla="*/ 305224 h 1180653"/>
                  <a:gd name="connsiteX39" fmla="*/ 938796 w 2534286"/>
                  <a:gd name="connsiteY39" fmla="*/ 347830 h 1180653"/>
                  <a:gd name="connsiteX40" fmla="*/ 920789 w 2534286"/>
                  <a:gd name="connsiteY40" fmla="*/ 392108 h 1180653"/>
                  <a:gd name="connsiteX41" fmla="*/ 804879 w 2534286"/>
                  <a:gd name="connsiteY41" fmla="*/ 410606 h 1180653"/>
                  <a:gd name="connsiteX42" fmla="*/ 740233 w 2534286"/>
                  <a:gd name="connsiteY42" fmla="*/ 365639 h 1180653"/>
                  <a:gd name="connsiteX43" fmla="*/ 618025 w 2534286"/>
                  <a:gd name="connsiteY43" fmla="*/ 369280 h 1180653"/>
                  <a:gd name="connsiteX44" fmla="*/ 573058 w 2534286"/>
                  <a:gd name="connsiteY44" fmla="*/ 410606 h 1180653"/>
                  <a:gd name="connsiteX45" fmla="*/ 515595 w 2534286"/>
                  <a:gd name="connsiteY45" fmla="*/ 380005 h 1180653"/>
                  <a:gd name="connsiteX46" fmla="*/ 506641 w 2534286"/>
                  <a:gd name="connsiteY46" fmla="*/ 414149 h 1180653"/>
                  <a:gd name="connsiteX47" fmla="*/ 476138 w 2534286"/>
                  <a:gd name="connsiteY47" fmla="*/ 406966 h 1180653"/>
                  <a:gd name="connsiteX48" fmla="*/ 474367 w 2534286"/>
                  <a:gd name="connsiteY48" fmla="*/ 372822 h 1180653"/>
                  <a:gd name="connsiteX49" fmla="*/ 366525 w 2534286"/>
                  <a:gd name="connsiteY49" fmla="*/ 313489 h 1180653"/>
                  <a:gd name="connsiteX50" fmla="*/ 267735 w 2534286"/>
                  <a:gd name="connsiteY50" fmla="*/ 315261 h 1180653"/>
                  <a:gd name="connsiteX51" fmla="*/ 138345 w 2534286"/>
                  <a:gd name="connsiteY51" fmla="*/ 406867 h 1180653"/>
                  <a:gd name="connsiteX52" fmla="*/ 145528 w 2534286"/>
                  <a:gd name="connsiteY52" fmla="*/ 455377 h 1180653"/>
                  <a:gd name="connsiteX53" fmla="*/ 113155 w 2534286"/>
                  <a:gd name="connsiteY53" fmla="*/ 471514 h 1180653"/>
                  <a:gd name="connsiteX54" fmla="*/ 66417 w 2534286"/>
                  <a:gd name="connsiteY54" fmla="*/ 417592 h 1180653"/>
                  <a:gd name="connsiteX55" fmla="*/ 17908 w 2534286"/>
                  <a:gd name="connsiteY55" fmla="*/ 484108 h 1180653"/>
                  <a:gd name="connsiteX56" fmla="*/ 30503 w 2534286"/>
                  <a:gd name="connsiteY56" fmla="*/ 525434 h 1180653"/>
                  <a:gd name="connsiteX57" fmla="*/ 0 w 2534286"/>
                  <a:gd name="connsiteY57" fmla="*/ 575715 h 1180653"/>
                  <a:gd name="connsiteX58" fmla="*/ 48509 w 2534286"/>
                  <a:gd name="connsiteY58" fmla="*/ 631407 h 1180653"/>
                  <a:gd name="connsiteX59" fmla="*/ 95247 w 2534286"/>
                  <a:gd name="connsiteY59" fmla="*/ 631407 h 1180653"/>
                  <a:gd name="connsiteX60" fmla="*/ 150152 w 2534286"/>
                  <a:gd name="connsiteY60" fmla="*/ 700186 h 1180653"/>
                  <a:gd name="connsiteX61" fmla="*/ 120634 w 2534286"/>
                  <a:gd name="connsiteY61" fmla="*/ 719865 h 1180653"/>
                  <a:gd name="connsiteX62" fmla="*/ 155072 w 2534286"/>
                  <a:gd name="connsiteY62" fmla="*/ 754697 h 1180653"/>
                  <a:gd name="connsiteX63" fmla="*/ 155072 w 2534286"/>
                  <a:gd name="connsiteY63" fmla="*/ 754894 h 1180653"/>
                  <a:gd name="connsiteX64" fmla="*/ 166388 w 2534286"/>
                  <a:gd name="connsiteY64" fmla="*/ 755091 h 1180653"/>
                  <a:gd name="connsiteX65" fmla="*/ 168651 w 2534286"/>
                  <a:gd name="connsiteY65" fmla="*/ 751056 h 1180653"/>
                  <a:gd name="connsiteX66" fmla="*/ 171996 w 2534286"/>
                  <a:gd name="connsiteY66" fmla="*/ 734034 h 1180653"/>
                  <a:gd name="connsiteX67" fmla="*/ 191774 w 2534286"/>
                  <a:gd name="connsiteY67" fmla="*/ 742102 h 1180653"/>
                  <a:gd name="connsiteX68" fmla="*/ 201712 w 2534286"/>
                  <a:gd name="connsiteY68" fmla="*/ 738068 h 1180653"/>
                  <a:gd name="connsiteX69" fmla="*/ 210174 w 2534286"/>
                  <a:gd name="connsiteY69" fmla="*/ 727048 h 1180653"/>
                  <a:gd name="connsiteX70" fmla="*/ 224146 w 2534286"/>
                  <a:gd name="connsiteY70" fmla="*/ 719176 h 1180653"/>
                  <a:gd name="connsiteX71" fmla="*/ 247269 w 2534286"/>
                  <a:gd name="connsiteY71" fmla="*/ 705204 h 1180653"/>
                  <a:gd name="connsiteX72" fmla="*/ 247564 w 2534286"/>
                  <a:gd name="connsiteY72" fmla="*/ 705499 h 1180653"/>
                  <a:gd name="connsiteX73" fmla="*/ 275607 w 2534286"/>
                  <a:gd name="connsiteY73" fmla="*/ 692314 h 1180653"/>
                  <a:gd name="connsiteX74" fmla="*/ 300600 w 2534286"/>
                  <a:gd name="connsiteY74" fmla="*/ 690641 h 1180653"/>
                  <a:gd name="connsiteX75" fmla="*/ 326183 w 2534286"/>
                  <a:gd name="connsiteY75" fmla="*/ 702055 h 1180653"/>
                  <a:gd name="connsiteX76" fmla="*/ 332185 w 2534286"/>
                  <a:gd name="connsiteY76" fmla="*/ 700481 h 1180653"/>
                  <a:gd name="connsiteX77" fmla="*/ 355406 w 2534286"/>
                  <a:gd name="connsiteY77" fmla="*/ 708451 h 1180653"/>
                  <a:gd name="connsiteX78" fmla="*/ 370658 w 2534286"/>
                  <a:gd name="connsiteY78" fmla="*/ 700284 h 1180653"/>
                  <a:gd name="connsiteX79" fmla="*/ 383941 w 2534286"/>
                  <a:gd name="connsiteY79" fmla="*/ 703531 h 1180653"/>
                  <a:gd name="connsiteX80" fmla="*/ 392600 w 2534286"/>
                  <a:gd name="connsiteY80" fmla="*/ 711009 h 1180653"/>
                  <a:gd name="connsiteX81" fmla="*/ 402144 w 2534286"/>
                  <a:gd name="connsiteY81" fmla="*/ 712190 h 1180653"/>
                  <a:gd name="connsiteX82" fmla="*/ 403915 w 2534286"/>
                  <a:gd name="connsiteY82" fmla="*/ 738265 h 1180653"/>
                  <a:gd name="connsiteX83" fmla="*/ 392305 w 2534286"/>
                  <a:gd name="connsiteY83" fmla="*/ 758338 h 1180653"/>
                  <a:gd name="connsiteX84" fmla="*/ 397815 w 2534286"/>
                  <a:gd name="connsiteY84" fmla="*/ 768866 h 1180653"/>
                  <a:gd name="connsiteX85" fmla="*/ 393289 w 2534286"/>
                  <a:gd name="connsiteY85" fmla="*/ 791694 h 1180653"/>
                  <a:gd name="connsiteX86" fmla="*/ 396339 w 2534286"/>
                  <a:gd name="connsiteY86" fmla="*/ 801829 h 1180653"/>
                  <a:gd name="connsiteX87" fmla="*/ 388861 w 2534286"/>
                  <a:gd name="connsiteY87" fmla="*/ 807437 h 1180653"/>
                  <a:gd name="connsiteX88" fmla="*/ 377841 w 2534286"/>
                  <a:gd name="connsiteY88" fmla="*/ 807044 h 1180653"/>
                  <a:gd name="connsiteX89" fmla="*/ 370362 w 2534286"/>
                  <a:gd name="connsiteY89" fmla="*/ 810881 h 1180653"/>
                  <a:gd name="connsiteX90" fmla="*/ 350782 w 2534286"/>
                  <a:gd name="connsiteY90" fmla="*/ 810684 h 1180653"/>
                  <a:gd name="connsiteX91" fmla="*/ 334841 w 2534286"/>
                  <a:gd name="connsiteY91" fmla="*/ 813538 h 1180653"/>
                  <a:gd name="connsiteX92" fmla="*/ 321952 w 2534286"/>
                  <a:gd name="connsiteY92" fmla="*/ 812849 h 1180653"/>
                  <a:gd name="connsiteX93" fmla="*/ 310242 w 2534286"/>
                  <a:gd name="connsiteY93" fmla="*/ 816195 h 1180653"/>
                  <a:gd name="connsiteX94" fmla="*/ 294302 w 2534286"/>
                  <a:gd name="connsiteY94" fmla="*/ 834201 h 1180653"/>
                  <a:gd name="connsiteX95" fmla="*/ 280724 w 2534286"/>
                  <a:gd name="connsiteY95" fmla="*/ 843647 h 1180653"/>
                  <a:gd name="connsiteX96" fmla="*/ 272852 w 2534286"/>
                  <a:gd name="connsiteY96" fmla="*/ 851912 h 1180653"/>
                  <a:gd name="connsiteX97" fmla="*/ 276296 w 2534286"/>
                  <a:gd name="connsiteY97" fmla="*/ 858308 h 1180653"/>
                  <a:gd name="connsiteX98" fmla="*/ 285939 w 2534286"/>
                  <a:gd name="connsiteY98" fmla="*/ 860374 h 1180653"/>
                  <a:gd name="connsiteX99" fmla="*/ 307979 w 2534286"/>
                  <a:gd name="connsiteY99" fmla="*/ 872083 h 1180653"/>
                  <a:gd name="connsiteX100" fmla="*/ 304929 w 2534286"/>
                  <a:gd name="connsiteY100" fmla="*/ 882809 h 1180653"/>
                  <a:gd name="connsiteX101" fmla="*/ 266161 w 2534286"/>
                  <a:gd name="connsiteY101" fmla="*/ 871985 h 1180653"/>
                  <a:gd name="connsiteX102" fmla="*/ 234084 w 2534286"/>
                  <a:gd name="connsiteY102" fmla="*/ 876413 h 1180653"/>
                  <a:gd name="connsiteX103" fmla="*/ 245203 w 2534286"/>
                  <a:gd name="connsiteY103" fmla="*/ 896879 h 1180653"/>
                  <a:gd name="connsiteX104" fmla="*/ 263898 w 2534286"/>
                  <a:gd name="connsiteY104" fmla="*/ 901307 h 1180653"/>
                  <a:gd name="connsiteX105" fmla="*/ 270687 w 2534286"/>
                  <a:gd name="connsiteY105" fmla="*/ 912623 h 1180653"/>
                  <a:gd name="connsiteX106" fmla="*/ 276886 w 2534286"/>
                  <a:gd name="connsiteY106" fmla="*/ 922462 h 1180653"/>
                  <a:gd name="connsiteX107" fmla="*/ 282495 w 2534286"/>
                  <a:gd name="connsiteY107" fmla="*/ 933581 h 1180653"/>
                  <a:gd name="connsiteX108" fmla="*/ 300108 w 2534286"/>
                  <a:gd name="connsiteY108" fmla="*/ 966347 h 1180653"/>
                  <a:gd name="connsiteX109" fmla="*/ 302863 w 2534286"/>
                  <a:gd name="connsiteY109" fmla="*/ 984156 h 1180653"/>
                  <a:gd name="connsiteX110" fmla="*/ 322936 w 2534286"/>
                  <a:gd name="connsiteY110" fmla="*/ 987502 h 1180653"/>
                  <a:gd name="connsiteX111" fmla="*/ 340548 w 2534286"/>
                  <a:gd name="connsiteY111" fmla="*/ 1008362 h 1180653"/>
                  <a:gd name="connsiteX112" fmla="*/ 349207 w 2534286"/>
                  <a:gd name="connsiteY112" fmla="*/ 1006886 h 1180653"/>
                  <a:gd name="connsiteX113" fmla="*/ 364754 w 2534286"/>
                  <a:gd name="connsiteY113" fmla="*/ 1011215 h 1180653"/>
                  <a:gd name="connsiteX114" fmla="*/ 383548 w 2534286"/>
                  <a:gd name="connsiteY114" fmla="*/ 1014069 h 1180653"/>
                  <a:gd name="connsiteX115" fmla="*/ 384433 w 2534286"/>
                  <a:gd name="connsiteY115" fmla="*/ 1015151 h 1180653"/>
                  <a:gd name="connsiteX116" fmla="*/ 371248 w 2534286"/>
                  <a:gd name="connsiteY116" fmla="*/ 1066514 h 1180653"/>
                  <a:gd name="connsiteX117" fmla="*/ 371740 w 2534286"/>
                  <a:gd name="connsiteY117" fmla="*/ 1071040 h 1180653"/>
                  <a:gd name="connsiteX118" fmla="*/ 371740 w 2534286"/>
                  <a:gd name="connsiteY118" fmla="*/ 1075861 h 1180653"/>
                  <a:gd name="connsiteX119" fmla="*/ 371740 w 2534286"/>
                  <a:gd name="connsiteY119" fmla="*/ 1075861 h 1180653"/>
                  <a:gd name="connsiteX120" fmla="*/ 419560 w 2534286"/>
                  <a:gd name="connsiteY120" fmla="*/ 1042604 h 1180653"/>
                  <a:gd name="connsiteX121" fmla="*/ 480467 w 2534286"/>
                  <a:gd name="connsiteY121" fmla="*/ 1042604 h 1180653"/>
                  <a:gd name="connsiteX122" fmla="*/ 530157 w 2534286"/>
                  <a:gd name="connsiteY122" fmla="*/ 1085504 h 1180653"/>
                  <a:gd name="connsiteX123" fmla="*/ 550624 w 2534286"/>
                  <a:gd name="connsiteY123" fmla="*/ 1134899 h 1180653"/>
                  <a:gd name="connsiteX124" fmla="*/ 587916 w 2534286"/>
                  <a:gd name="connsiteY124" fmla="*/ 1133423 h 1180653"/>
                  <a:gd name="connsiteX125" fmla="*/ 587916 w 2534286"/>
                  <a:gd name="connsiteY125" fmla="*/ 849551 h 1180653"/>
                  <a:gd name="connsiteX126" fmla="*/ 746530 w 2534286"/>
                  <a:gd name="connsiteY126" fmla="*/ 806552 h 1180653"/>
                  <a:gd name="connsiteX127" fmla="*/ 757846 w 2534286"/>
                  <a:gd name="connsiteY127" fmla="*/ 774081 h 1180653"/>
                  <a:gd name="connsiteX128" fmla="*/ 765225 w 2534286"/>
                  <a:gd name="connsiteY128" fmla="*/ 768473 h 1180653"/>
                  <a:gd name="connsiteX129" fmla="*/ 790218 w 2534286"/>
                  <a:gd name="connsiteY129" fmla="*/ 766800 h 1180653"/>
                  <a:gd name="connsiteX130" fmla="*/ 794055 w 2534286"/>
                  <a:gd name="connsiteY130" fmla="*/ 771719 h 1180653"/>
                  <a:gd name="connsiteX131" fmla="*/ 789234 w 2534286"/>
                  <a:gd name="connsiteY131" fmla="*/ 786873 h 1180653"/>
                  <a:gd name="connsiteX132" fmla="*/ 782543 w 2534286"/>
                  <a:gd name="connsiteY132" fmla="*/ 794744 h 1180653"/>
                  <a:gd name="connsiteX133" fmla="*/ 768669 w 2534286"/>
                  <a:gd name="connsiteY133" fmla="*/ 801927 h 1180653"/>
                  <a:gd name="connsiteX134" fmla="*/ 764241 w 2534286"/>
                  <a:gd name="connsiteY134" fmla="*/ 810094 h 1180653"/>
                  <a:gd name="connsiteX135" fmla="*/ 764930 w 2534286"/>
                  <a:gd name="connsiteY135" fmla="*/ 817375 h 1180653"/>
                  <a:gd name="connsiteX136" fmla="*/ 800648 w 2534286"/>
                  <a:gd name="connsiteY136" fmla="*/ 838235 h 1180653"/>
                  <a:gd name="connsiteX137" fmla="*/ 804584 w 2534286"/>
                  <a:gd name="connsiteY137" fmla="*/ 830757 h 1180653"/>
                  <a:gd name="connsiteX138" fmla="*/ 806257 w 2534286"/>
                  <a:gd name="connsiteY138" fmla="*/ 820327 h 1180653"/>
                  <a:gd name="connsiteX139" fmla="*/ 801927 w 2534286"/>
                  <a:gd name="connsiteY139" fmla="*/ 794056 h 1180653"/>
                  <a:gd name="connsiteX140" fmla="*/ 806257 w 2534286"/>
                  <a:gd name="connsiteY140" fmla="*/ 786479 h 1180653"/>
                  <a:gd name="connsiteX141" fmla="*/ 810586 w 2534286"/>
                  <a:gd name="connsiteY141" fmla="*/ 784806 h 1180653"/>
                  <a:gd name="connsiteX142" fmla="*/ 817277 w 2534286"/>
                  <a:gd name="connsiteY142" fmla="*/ 777427 h 1180653"/>
                  <a:gd name="connsiteX143" fmla="*/ 820130 w 2534286"/>
                  <a:gd name="connsiteY143" fmla="*/ 766898 h 1180653"/>
                  <a:gd name="connsiteX144" fmla="*/ 827116 w 2534286"/>
                  <a:gd name="connsiteY144" fmla="*/ 761486 h 1180653"/>
                  <a:gd name="connsiteX145" fmla="*/ 870903 w 2534286"/>
                  <a:gd name="connsiteY145" fmla="*/ 761486 h 1180653"/>
                  <a:gd name="connsiteX146" fmla="*/ 872575 w 2534286"/>
                  <a:gd name="connsiteY146" fmla="*/ 765422 h 1180653"/>
                  <a:gd name="connsiteX147" fmla="*/ 858702 w 2534286"/>
                  <a:gd name="connsiteY147" fmla="*/ 779296 h 1180653"/>
                  <a:gd name="connsiteX148" fmla="*/ 849256 w 2534286"/>
                  <a:gd name="connsiteY148" fmla="*/ 783921 h 1180653"/>
                  <a:gd name="connsiteX149" fmla="*/ 832430 w 2534286"/>
                  <a:gd name="connsiteY149" fmla="*/ 785889 h 1180653"/>
                  <a:gd name="connsiteX150" fmla="*/ 825739 w 2534286"/>
                  <a:gd name="connsiteY150" fmla="*/ 791989 h 1180653"/>
                  <a:gd name="connsiteX151" fmla="*/ 825542 w 2534286"/>
                  <a:gd name="connsiteY151" fmla="*/ 792973 h 1180653"/>
                  <a:gd name="connsiteX152" fmla="*/ 829970 w 2534286"/>
                  <a:gd name="connsiteY152" fmla="*/ 798483 h 1180653"/>
                  <a:gd name="connsiteX153" fmla="*/ 850830 w 2534286"/>
                  <a:gd name="connsiteY153" fmla="*/ 798483 h 1180653"/>
                  <a:gd name="connsiteX154" fmla="*/ 857718 w 2534286"/>
                  <a:gd name="connsiteY154" fmla="*/ 803895 h 1180653"/>
                  <a:gd name="connsiteX155" fmla="*/ 860768 w 2534286"/>
                  <a:gd name="connsiteY155" fmla="*/ 816391 h 1180653"/>
                  <a:gd name="connsiteX156" fmla="*/ 859784 w 2534286"/>
                  <a:gd name="connsiteY156" fmla="*/ 826920 h 1180653"/>
                  <a:gd name="connsiteX157" fmla="*/ 858997 w 2534286"/>
                  <a:gd name="connsiteY157" fmla="*/ 828592 h 1180653"/>
                  <a:gd name="connsiteX158" fmla="*/ 858997 w 2534286"/>
                  <a:gd name="connsiteY158" fmla="*/ 838727 h 1180653"/>
                  <a:gd name="connsiteX159" fmla="*/ 870706 w 2534286"/>
                  <a:gd name="connsiteY159" fmla="*/ 864212 h 1180653"/>
                  <a:gd name="connsiteX160" fmla="*/ 869820 w 2534286"/>
                  <a:gd name="connsiteY160" fmla="*/ 873855 h 1180653"/>
                  <a:gd name="connsiteX161" fmla="*/ 867360 w 2534286"/>
                  <a:gd name="connsiteY161" fmla="*/ 877298 h 1180653"/>
                  <a:gd name="connsiteX162" fmla="*/ 900028 w 2534286"/>
                  <a:gd name="connsiteY162" fmla="*/ 896387 h 1180653"/>
                  <a:gd name="connsiteX163" fmla="*/ 906227 w 2534286"/>
                  <a:gd name="connsiteY163" fmla="*/ 911048 h 1180653"/>
                  <a:gd name="connsiteX164" fmla="*/ 961230 w 2534286"/>
                  <a:gd name="connsiteY164" fmla="*/ 965658 h 1180653"/>
                  <a:gd name="connsiteX165" fmla="*/ 1031485 w 2534286"/>
                  <a:gd name="connsiteY165" fmla="*/ 953654 h 1180653"/>
                  <a:gd name="connsiteX166" fmla="*/ 1111579 w 2534286"/>
                  <a:gd name="connsiteY166" fmla="*/ 960738 h 1180653"/>
                  <a:gd name="connsiteX167" fmla="*/ 1141590 w 2534286"/>
                  <a:gd name="connsiteY167" fmla="*/ 945585 h 1180653"/>
                  <a:gd name="connsiteX168" fmla="*/ 1160482 w 2534286"/>
                  <a:gd name="connsiteY168" fmla="*/ 969004 h 1180653"/>
                  <a:gd name="connsiteX169" fmla="*/ 1178488 w 2534286"/>
                  <a:gd name="connsiteY169" fmla="*/ 977662 h 1180653"/>
                  <a:gd name="connsiteX170" fmla="*/ 1193838 w 2534286"/>
                  <a:gd name="connsiteY170" fmla="*/ 1007673 h 1180653"/>
                  <a:gd name="connsiteX171" fmla="*/ 1214108 w 2534286"/>
                  <a:gd name="connsiteY171" fmla="*/ 1002655 h 1180653"/>
                  <a:gd name="connsiteX172" fmla="*/ 1208598 w 2534286"/>
                  <a:gd name="connsiteY172" fmla="*/ 1076255 h 1180653"/>
                  <a:gd name="connsiteX173" fmla="*/ 1239592 w 2534286"/>
                  <a:gd name="connsiteY173" fmla="*/ 1076649 h 1180653"/>
                  <a:gd name="connsiteX174" fmla="*/ 1252285 w 2534286"/>
                  <a:gd name="connsiteY174" fmla="*/ 1137949 h 1180653"/>
                  <a:gd name="connsiteX175" fmla="*/ 1321950 w 2534286"/>
                  <a:gd name="connsiteY175" fmla="*/ 1135096 h 1180653"/>
                  <a:gd name="connsiteX176" fmla="*/ 1338382 w 2534286"/>
                  <a:gd name="connsiteY176" fmla="*/ 1147199 h 1180653"/>
                  <a:gd name="connsiteX177" fmla="*/ 1333068 w 2534286"/>
                  <a:gd name="connsiteY177" fmla="*/ 1167960 h 1180653"/>
                  <a:gd name="connsiteX178" fmla="*/ 1371640 w 2534286"/>
                  <a:gd name="connsiteY178" fmla="*/ 1180653 h 1180653"/>
                  <a:gd name="connsiteX179" fmla="*/ 1369278 w 2534286"/>
                  <a:gd name="connsiteY179" fmla="*/ 1155857 h 1180653"/>
                  <a:gd name="connsiteX180" fmla="*/ 1395944 w 2534286"/>
                  <a:gd name="connsiteY180" fmla="*/ 1135883 h 1180653"/>
                  <a:gd name="connsiteX181" fmla="*/ 1396731 w 2534286"/>
                  <a:gd name="connsiteY181" fmla="*/ 1120533 h 1180653"/>
                  <a:gd name="connsiteX182" fmla="*/ 1459311 w 2534286"/>
                  <a:gd name="connsiteY182" fmla="*/ 1088948 h 1180653"/>
                  <a:gd name="connsiteX183" fmla="*/ 1474070 w 2534286"/>
                  <a:gd name="connsiteY183" fmla="*/ 1070056 h 1180653"/>
                  <a:gd name="connsiteX184" fmla="*/ 1493257 w 2534286"/>
                  <a:gd name="connsiteY184" fmla="*/ 1070646 h 1180653"/>
                  <a:gd name="connsiteX185" fmla="*/ 1500440 w 2534286"/>
                  <a:gd name="connsiteY185" fmla="*/ 1058937 h 1180653"/>
                  <a:gd name="connsiteX186" fmla="*/ 1519824 w 2534286"/>
                  <a:gd name="connsiteY186" fmla="*/ 1050771 h 1180653"/>
                  <a:gd name="connsiteX187" fmla="*/ 1534387 w 2534286"/>
                  <a:gd name="connsiteY187" fmla="*/ 1019382 h 1180653"/>
                  <a:gd name="connsiteX188" fmla="*/ 1579353 w 2534286"/>
                  <a:gd name="connsiteY188" fmla="*/ 1013872 h 1180653"/>
                  <a:gd name="connsiteX189" fmla="*/ 1669583 w 2534286"/>
                  <a:gd name="connsiteY189" fmla="*/ 1050771 h 1180653"/>
                  <a:gd name="connsiteX190" fmla="*/ 1680603 w 2534286"/>
                  <a:gd name="connsiteY190" fmla="*/ 1042505 h 1180653"/>
                  <a:gd name="connsiteX191" fmla="*/ 1668894 w 2534286"/>
                  <a:gd name="connsiteY191" fmla="*/ 1027549 h 1180653"/>
                  <a:gd name="connsiteX192" fmla="*/ 1680603 w 2534286"/>
                  <a:gd name="connsiteY192" fmla="*/ 993307 h 1180653"/>
                  <a:gd name="connsiteX193" fmla="*/ 1719863 w 2534286"/>
                  <a:gd name="connsiteY193" fmla="*/ 981992 h 1180653"/>
                  <a:gd name="connsiteX194" fmla="*/ 1776638 w 2534286"/>
                  <a:gd name="connsiteY194" fmla="*/ 1016332 h 1180653"/>
                  <a:gd name="connsiteX195" fmla="*/ 1807337 w 2534286"/>
                  <a:gd name="connsiteY195" fmla="*/ 1016332 h 1180653"/>
                  <a:gd name="connsiteX196" fmla="*/ 1818456 w 2534286"/>
                  <a:gd name="connsiteY196" fmla="*/ 1003540 h 1180653"/>
                  <a:gd name="connsiteX197" fmla="*/ 1892646 w 2534286"/>
                  <a:gd name="connsiteY197" fmla="*/ 999408 h 1180653"/>
                  <a:gd name="connsiteX198" fmla="*/ 1914490 w 2534286"/>
                  <a:gd name="connsiteY198" fmla="*/ 1008263 h 1180653"/>
                  <a:gd name="connsiteX199" fmla="*/ 2027154 w 2534286"/>
                  <a:gd name="connsiteY199" fmla="*/ 1016332 h 1180653"/>
                  <a:gd name="connsiteX200" fmla="*/ 2024694 w 2534286"/>
                  <a:gd name="connsiteY200" fmla="*/ 1029714 h 1180653"/>
                  <a:gd name="connsiteX201" fmla="*/ 2042700 w 2534286"/>
                  <a:gd name="connsiteY201" fmla="*/ 1044079 h 1180653"/>
                  <a:gd name="connsiteX202" fmla="*/ 2071137 w 2534286"/>
                  <a:gd name="connsiteY202" fmla="*/ 1043883 h 1180653"/>
                  <a:gd name="connsiteX203" fmla="*/ 2092390 w 2534286"/>
                  <a:gd name="connsiteY203" fmla="*/ 1068974 h 1180653"/>
                  <a:gd name="connsiteX204" fmla="*/ 2093669 w 2534286"/>
                  <a:gd name="connsiteY204" fmla="*/ 1014659 h 1180653"/>
                  <a:gd name="connsiteX205" fmla="*/ 2125746 w 2534286"/>
                  <a:gd name="connsiteY205" fmla="*/ 986715 h 1180653"/>
                  <a:gd name="connsiteX206" fmla="*/ 2103214 w 2534286"/>
                  <a:gd name="connsiteY206" fmla="*/ 873363 h 1180653"/>
                  <a:gd name="connsiteX207" fmla="*/ 2066906 w 2534286"/>
                  <a:gd name="connsiteY207" fmla="*/ 870214 h 1180653"/>
                  <a:gd name="connsiteX208" fmla="*/ 2073498 w 2534286"/>
                  <a:gd name="connsiteY208" fmla="*/ 846599 h 1180653"/>
                  <a:gd name="connsiteX209" fmla="*/ 2172091 w 2534286"/>
                  <a:gd name="connsiteY209" fmla="*/ 827313 h 1180653"/>
                  <a:gd name="connsiteX210" fmla="*/ 2234572 w 2534286"/>
                  <a:gd name="connsiteY210" fmla="*/ 839810 h 1180653"/>
                  <a:gd name="connsiteX211" fmla="*/ 2244805 w 2534286"/>
                  <a:gd name="connsiteY211" fmla="*/ 811963 h 1180653"/>
                  <a:gd name="connsiteX212" fmla="*/ 2220895 w 2534286"/>
                  <a:gd name="connsiteY212" fmla="*/ 800451 h 1180653"/>
                  <a:gd name="connsiteX213" fmla="*/ 2265665 w 2534286"/>
                  <a:gd name="connsiteY213" fmla="*/ 678047 h 1180653"/>
                  <a:gd name="connsiteX214" fmla="*/ 2374295 w 2534286"/>
                  <a:gd name="connsiteY214" fmla="*/ 707172 h 1180653"/>
                  <a:gd name="connsiteX215" fmla="*/ 2429495 w 2534286"/>
                  <a:gd name="connsiteY215" fmla="*/ 677554 h 1180653"/>
                  <a:gd name="connsiteX216" fmla="*/ 2416113 w 2534286"/>
                  <a:gd name="connsiteY216" fmla="*/ 615762 h 1180653"/>
                  <a:gd name="connsiteX217" fmla="*/ 2434119 w 2534286"/>
                  <a:gd name="connsiteY217" fmla="*/ 580930 h 1180653"/>
                  <a:gd name="connsiteX218" fmla="*/ 2464032 w 2534286"/>
                  <a:gd name="connsiteY218" fmla="*/ 580930 h 1180653"/>
                  <a:gd name="connsiteX219" fmla="*/ 2495518 w 2534286"/>
                  <a:gd name="connsiteY219" fmla="*/ 560660 h 1180653"/>
                  <a:gd name="connsiteX220" fmla="*/ 2493550 w 2534286"/>
                  <a:gd name="connsiteY220" fmla="*/ 537242 h 1180653"/>
                  <a:gd name="connsiteX221" fmla="*/ 2534188 w 2534286"/>
                  <a:gd name="connsiteY221" fmla="*/ 528878 h 1180653"/>
                  <a:gd name="connsiteX222" fmla="*/ 919215 w 2534286"/>
                  <a:gd name="connsiteY222" fmla="*/ 743775 h 1180653"/>
                  <a:gd name="connsiteX223" fmla="*/ 894223 w 2534286"/>
                  <a:gd name="connsiteY223" fmla="*/ 756665 h 1180653"/>
                  <a:gd name="connsiteX224" fmla="*/ 888516 w 2534286"/>
                  <a:gd name="connsiteY224" fmla="*/ 753713 h 1180653"/>
                  <a:gd name="connsiteX225" fmla="*/ 887630 w 2534286"/>
                  <a:gd name="connsiteY225" fmla="*/ 747514 h 1180653"/>
                  <a:gd name="connsiteX226" fmla="*/ 881234 w 2534286"/>
                  <a:gd name="connsiteY226" fmla="*/ 741610 h 1180653"/>
                  <a:gd name="connsiteX227" fmla="*/ 851814 w 2534286"/>
                  <a:gd name="connsiteY227" fmla="*/ 739544 h 1180653"/>
                  <a:gd name="connsiteX228" fmla="*/ 844139 w 2534286"/>
                  <a:gd name="connsiteY228" fmla="*/ 734034 h 1180653"/>
                  <a:gd name="connsiteX229" fmla="*/ 839810 w 2534286"/>
                  <a:gd name="connsiteY229" fmla="*/ 723407 h 1180653"/>
                  <a:gd name="connsiteX230" fmla="*/ 842761 w 2534286"/>
                  <a:gd name="connsiteY230" fmla="*/ 716027 h 1180653"/>
                  <a:gd name="connsiteX231" fmla="*/ 850141 w 2534286"/>
                  <a:gd name="connsiteY231" fmla="*/ 712780 h 1180653"/>
                  <a:gd name="connsiteX232" fmla="*/ 860276 w 2534286"/>
                  <a:gd name="connsiteY232" fmla="*/ 712977 h 1180653"/>
                  <a:gd name="connsiteX233" fmla="*/ 870706 w 2534286"/>
                  <a:gd name="connsiteY233" fmla="*/ 717995 h 1180653"/>
                  <a:gd name="connsiteX234" fmla="*/ 875527 w 2534286"/>
                  <a:gd name="connsiteY234" fmla="*/ 714847 h 1180653"/>
                  <a:gd name="connsiteX235" fmla="*/ 875527 w 2534286"/>
                  <a:gd name="connsiteY235" fmla="*/ 712584 h 1180653"/>
                  <a:gd name="connsiteX236" fmla="*/ 880841 w 2534286"/>
                  <a:gd name="connsiteY236" fmla="*/ 706975 h 1180653"/>
                  <a:gd name="connsiteX237" fmla="*/ 882809 w 2534286"/>
                  <a:gd name="connsiteY237" fmla="*/ 706975 h 1180653"/>
                  <a:gd name="connsiteX238" fmla="*/ 888909 w 2534286"/>
                  <a:gd name="connsiteY238" fmla="*/ 712485 h 1180653"/>
                  <a:gd name="connsiteX239" fmla="*/ 889106 w 2534286"/>
                  <a:gd name="connsiteY239" fmla="*/ 714748 h 1180653"/>
                  <a:gd name="connsiteX240" fmla="*/ 894911 w 2534286"/>
                  <a:gd name="connsiteY240" fmla="*/ 722030 h 1180653"/>
                  <a:gd name="connsiteX241" fmla="*/ 913803 w 2534286"/>
                  <a:gd name="connsiteY241" fmla="*/ 728327 h 1180653"/>
                  <a:gd name="connsiteX242" fmla="*/ 921380 w 2534286"/>
                  <a:gd name="connsiteY242" fmla="*/ 735215 h 1180653"/>
                  <a:gd name="connsiteX243" fmla="*/ 921773 w 2534286"/>
                  <a:gd name="connsiteY243" fmla="*/ 736100 h 1180653"/>
                  <a:gd name="connsiteX244" fmla="*/ 919117 w 2534286"/>
                  <a:gd name="connsiteY244" fmla="*/ 743775 h 1180653"/>
                  <a:gd name="connsiteX245" fmla="*/ 2016133 w 2534286"/>
                  <a:gd name="connsiteY245" fmla="*/ 711993 h 1180653"/>
                  <a:gd name="connsiteX246" fmla="*/ 2003440 w 2534286"/>
                  <a:gd name="connsiteY246" fmla="*/ 740233 h 1180653"/>
                  <a:gd name="connsiteX247" fmla="*/ 1995569 w 2534286"/>
                  <a:gd name="connsiteY247" fmla="*/ 745251 h 1180653"/>
                  <a:gd name="connsiteX248" fmla="*/ 1905832 w 2534286"/>
                  <a:gd name="connsiteY248" fmla="*/ 744562 h 1180653"/>
                  <a:gd name="connsiteX249" fmla="*/ 1894811 w 2534286"/>
                  <a:gd name="connsiteY249" fmla="*/ 743283 h 1180653"/>
                  <a:gd name="connsiteX250" fmla="*/ 1849746 w 2534286"/>
                  <a:gd name="connsiteY250" fmla="*/ 732951 h 1180653"/>
                  <a:gd name="connsiteX251" fmla="*/ 1838725 w 2534286"/>
                  <a:gd name="connsiteY251" fmla="*/ 732066 h 1180653"/>
                  <a:gd name="connsiteX252" fmla="*/ 1771718 w 2534286"/>
                  <a:gd name="connsiteY252" fmla="*/ 736100 h 1180653"/>
                  <a:gd name="connsiteX253" fmla="*/ 1764633 w 2534286"/>
                  <a:gd name="connsiteY253" fmla="*/ 741807 h 1180653"/>
                  <a:gd name="connsiteX254" fmla="*/ 1760205 w 2534286"/>
                  <a:gd name="connsiteY254" fmla="*/ 757354 h 1180653"/>
                  <a:gd name="connsiteX255" fmla="*/ 1753318 w 2534286"/>
                  <a:gd name="connsiteY255" fmla="*/ 764438 h 1180653"/>
                  <a:gd name="connsiteX256" fmla="*/ 1729309 w 2534286"/>
                  <a:gd name="connsiteY256" fmla="*/ 772212 h 1180653"/>
                  <a:gd name="connsiteX257" fmla="*/ 1723208 w 2534286"/>
                  <a:gd name="connsiteY257" fmla="*/ 779493 h 1180653"/>
                  <a:gd name="connsiteX258" fmla="*/ 1716813 w 2534286"/>
                  <a:gd name="connsiteY258" fmla="*/ 825148 h 1180653"/>
                  <a:gd name="connsiteX259" fmla="*/ 1711795 w 2534286"/>
                  <a:gd name="connsiteY259" fmla="*/ 834299 h 1180653"/>
                  <a:gd name="connsiteX260" fmla="*/ 1708646 w 2534286"/>
                  <a:gd name="connsiteY260" fmla="*/ 836956 h 1180653"/>
                  <a:gd name="connsiteX261" fmla="*/ 1700676 w 2534286"/>
                  <a:gd name="connsiteY261" fmla="*/ 836366 h 1180653"/>
                  <a:gd name="connsiteX262" fmla="*/ 1669583 w 2534286"/>
                  <a:gd name="connsiteY262" fmla="*/ 800746 h 1180653"/>
                  <a:gd name="connsiteX263" fmla="*/ 1668107 w 2534286"/>
                  <a:gd name="connsiteY263" fmla="*/ 791399 h 1180653"/>
                  <a:gd name="connsiteX264" fmla="*/ 1685326 w 2534286"/>
                  <a:gd name="connsiteY264" fmla="*/ 751056 h 1180653"/>
                  <a:gd name="connsiteX265" fmla="*/ 1692312 w 2534286"/>
                  <a:gd name="connsiteY265" fmla="*/ 743185 h 1180653"/>
                  <a:gd name="connsiteX266" fmla="*/ 1757549 w 2534286"/>
                  <a:gd name="connsiteY266" fmla="*/ 705696 h 1180653"/>
                  <a:gd name="connsiteX267" fmla="*/ 1767487 w 2534286"/>
                  <a:gd name="connsiteY267" fmla="*/ 705106 h 1180653"/>
                  <a:gd name="connsiteX268" fmla="*/ 1781557 w 2534286"/>
                  <a:gd name="connsiteY268" fmla="*/ 711108 h 1180653"/>
                  <a:gd name="connsiteX269" fmla="*/ 1792086 w 2534286"/>
                  <a:gd name="connsiteY269" fmla="*/ 711993 h 1180653"/>
                  <a:gd name="connsiteX270" fmla="*/ 1824753 w 2534286"/>
                  <a:gd name="connsiteY270" fmla="*/ 704220 h 1180653"/>
                  <a:gd name="connsiteX271" fmla="*/ 1835577 w 2534286"/>
                  <a:gd name="connsiteY271" fmla="*/ 704220 h 1180653"/>
                  <a:gd name="connsiteX272" fmla="*/ 1894713 w 2534286"/>
                  <a:gd name="connsiteY272" fmla="*/ 718192 h 1180653"/>
                  <a:gd name="connsiteX273" fmla="*/ 1905733 w 2534286"/>
                  <a:gd name="connsiteY273" fmla="*/ 719766 h 1180653"/>
                  <a:gd name="connsiteX274" fmla="*/ 1948338 w 2534286"/>
                  <a:gd name="connsiteY274" fmla="*/ 722325 h 1180653"/>
                  <a:gd name="connsiteX275" fmla="*/ 1958178 w 2534286"/>
                  <a:gd name="connsiteY275" fmla="*/ 719078 h 1180653"/>
                  <a:gd name="connsiteX276" fmla="*/ 1973036 w 2534286"/>
                  <a:gd name="connsiteY276" fmla="*/ 706483 h 1180653"/>
                  <a:gd name="connsiteX277" fmla="*/ 1982875 w 2534286"/>
                  <a:gd name="connsiteY277" fmla="*/ 703433 h 1180653"/>
                  <a:gd name="connsiteX278" fmla="*/ 2012788 w 2534286"/>
                  <a:gd name="connsiteY278" fmla="*/ 706581 h 1180653"/>
                  <a:gd name="connsiteX279" fmla="*/ 2016035 w 2534286"/>
                  <a:gd name="connsiteY279" fmla="*/ 712288 h 1180653"/>
                  <a:gd name="connsiteX280" fmla="*/ 2200822 w 2534286"/>
                  <a:gd name="connsiteY280" fmla="*/ 787266 h 1180653"/>
                  <a:gd name="connsiteX281" fmla="*/ 2163137 w 2534286"/>
                  <a:gd name="connsiteY281" fmla="*/ 776443 h 1180653"/>
                  <a:gd name="connsiteX282" fmla="*/ 2156938 w 2534286"/>
                  <a:gd name="connsiteY282" fmla="*/ 769358 h 1180653"/>
                  <a:gd name="connsiteX283" fmla="*/ 2154577 w 2534286"/>
                  <a:gd name="connsiteY283" fmla="*/ 754107 h 1180653"/>
                  <a:gd name="connsiteX284" fmla="*/ 2157528 w 2534286"/>
                  <a:gd name="connsiteY284" fmla="*/ 744562 h 1180653"/>
                  <a:gd name="connsiteX285" fmla="*/ 2166286 w 2534286"/>
                  <a:gd name="connsiteY285" fmla="*/ 735411 h 1180653"/>
                  <a:gd name="connsiteX286" fmla="*/ 2174748 w 2534286"/>
                  <a:gd name="connsiteY286" fmla="*/ 734427 h 1180653"/>
                  <a:gd name="connsiteX287" fmla="*/ 2189212 w 2534286"/>
                  <a:gd name="connsiteY287" fmla="*/ 743874 h 1180653"/>
                  <a:gd name="connsiteX288" fmla="*/ 2195411 w 2534286"/>
                  <a:gd name="connsiteY288" fmla="*/ 752237 h 1180653"/>
                  <a:gd name="connsiteX289" fmla="*/ 2204562 w 2534286"/>
                  <a:gd name="connsiteY289" fmla="*/ 783330 h 1180653"/>
                  <a:gd name="connsiteX290" fmla="*/ 2200822 w 2534286"/>
                  <a:gd name="connsiteY290" fmla="*/ 787168 h 1180653"/>
                  <a:gd name="connsiteX291" fmla="*/ 2356190 w 2534286"/>
                  <a:gd name="connsiteY291" fmla="*/ 637606 h 1180653"/>
                  <a:gd name="connsiteX292" fmla="*/ 2353435 w 2534286"/>
                  <a:gd name="connsiteY292" fmla="*/ 639180 h 1180653"/>
                  <a:gd name="connsiteX293" fmla="*/ 2343694 w 2534286"/>
                  <a:gd name="connsiteY293" fmla="*/ 639180 h 1180653"/>
                  <a:gd name="connsiteX294" fmla="*/ 2301482 w 2534286"/>
                  <a:gd name="connsiteY294" fmla="*/ 615959 h 1180653"/>
                  <a:gd name="connsiteX295" fmla="*/ 2291052 w 2534286"/>
                  <a:gd name="connsiteY295" fmla="*/ 612613 h 1180653"/>
                  <a:gd name="connsiteX296" fmla="*/ 2281901 w 2534286"/>
                  <a:gd name="connsiteY296" fmla="*/ 611531 h 1180653"/>
                  <a:gd name="connsiteX297" fmla="*/ 2272553 w 2534286"/>
                  <a:gd name="connsiteY297" fmla="*/ 606710 h 1180653"/>
                  <a:gd name="connsiteX298" fmla="*/ 2257794 w 2534286"/>
                  <a:gd name="connsiteY298" fmla="*/ 590572 h 1180653"/>
                  <a:gd name="connsiteX299" fmla="*/ 2294692 w 2534286"/>
                  <a:gd name="connsiteY299" fmla="*/ 590572 h 1180653"/>
                  <a:gd name="connsiteX300" fmla="*/ 2305319 w 2534286"/>
                  <a:gd name="connsiteY300" fmla="*/ 592836 h 1180653"/>
                  <a:gd name="connsiteX301" fmla="*/ 2353730 w 2534286"/>
                  <a:gd name="connsiteY301" fmla="*/ 614286 h 1180653"/>
                  <a:gd name="connsiteX302" fmla="*/ 2355501 w 2534286"/>
                  <a:gd name="connsiteY302" fmla="*/ 620977 h 1180653"/>
                  <a:gd name="connsiteX303" fmla="*/ 2354222 w 2534286"/>
                  <a:gd name="connsiteY303" fmla="*/ 622650 h 1180653"/>
                  <a:gd name="connsiteX304" fmla="*/ 2355304 w 2534286"/>
                  <a:gd name="connsiteY304" fmla="*/ 630521 h 1180653"/>
                  <a:gd name="connsiteX305" fmla="*/ 2356485 w 2534286"/>
                  <a:gd name="connsiteY305" fmla="*/ 631407 h 1180653"/>
                  <a:gd name="connsiteX306" fmla="*/ 2356091 w 2534286"/>
                  <a:gd name="connsiteY306" fmla="*/ 637508 h 118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Lst>
                <a:rect l="l" t="t" r="r" b="b"/>
                <a:pathLst>
                  <a:path w="2534286" h="1180653">
                    <a:moveTo>
                      <a:pt x="2534286" y="528583"/>
                    </a:moveTo>
                    <a:lnTo>
                      <a:pt x="2492468" y="493849"/>
                    </a:lnTo>
                    <a:lnTo>
                      <a:pt x="2505948" y="476138"/>
                    </a:lnTo>
                    <a:lnTo>
                      <a:pt x="2486860" y="467676"/>
                    </a:lnTo>
                    <a:lnTo>
                      <a:pt x="2458521" y="493849"/>
                    </a:lnTo>
                    <a:lnTo>
                      <a:pt x="2401452" y="488930"/>
                    </a:lnTo>
                    <a:lnTo>
                      <a:pt x="2385118" y="447505"/>
                    </a:lnTo>
                    <a:lnTo>
                      <a:pt x="2341135" y="436189"/>
                    </a:lnTo>
                    <a:lnTo>
                      <a:pt x="2333559" y="399783"/>
                    </a:lnTo>
                    <a:lnTo>
                      <a:pt x="2275210" y="371543"/>
                    </a:lnTo>
                    <a:lnTo>
                      <a:pt x="2241952" y="396044"/>
                    </a:lnTo>
                    <a:lnTo>
                      <a:pt x="2170418" y="399783"/>
                    </a:lnTo>
                    <a:lnTo>
                      <a:pt x="2170418" y="380300"/>
                    </a:lnTo>
                    <a:lnTo>
                      <a:pt x="2146606" y="374692"/>
                    </a:lnTo>
                    <a:lnTo>
                      <a:pt x="2149165" y="358358"/>
                    </a:lnTo>
                    <a:lnTo>
                      <a:pt x="2106461" y="348322"/>
                    </a:lnTo>
                    <a:lnTo>
                      <a:pt x="2106461" y="379710"/>
                    </a:lnTo>
                    <a:lnTo>
                      <a:pt x="2077631" y="395453"/>
                    </a:lnTo>
                    <a:lnTo>
                      <a:pt x="2004818" y="266751"/>
                    </a:lnTo>
                    <a:lnTo>
                      <a:pt x="1947158" y="185870"/>
                    </a:lnTo>
                    <a:lnTo>
                      <a:pt x="1858601" y="119453"/>
                    </a:lnTo>
                    <a:lnTo>
                      <a:pt x="1882020" y="108432"/>
                    </a:lnTo>
                    <a:lnTo>
                      <a:pt x="1882020" y="78323"/>
                    </a:lnTo>
                    <a:lnTo>
                      <a:pt x="1680898" y="170619"/>
                    </a:lnTo>
                    <a:lnTo>
                      <a:pt x="1645279" y="161960"/>
                    </a:lnTo>
                    <a:lnTo>
                      <a:pt x="1687786" y="110302"/>
                    </a:lnTo>
                    <a:lnTo>
                      <a:pt x="1528483" y="109121"/>
                    </a:lnTo>
                    <a:lnTo>
                      <a:pt x="1509984" y="13185"/>
                    </a:lnTo>
                    <a:lnTo>
                      <a:pt x="1384530" y="0"/>
                    </a:lnTo>
                    <a:lnTo>
                      <a:pt x="1343991" y="41425"/>
                    </a:lnTo>
                    <a:lnTo>
                      <a:pt x="1014364" y="117681"/>
                    </a:lnTo>
                    <a:lnTo>
                      <a:pt x="913016" y="117681"/>
                    </a:lnTo>
                    <a:lnTo>
                      <a:pt x="912327" y="170619"/>
                    </a:lnTo>
                    <a:lnTo>
                      <a:pt x="968905" y="187838"/>
                    </a:lnTo>
                    <a:lnTo>
                      <a:pt x="968905" y="221096"/>
                    </a:lnTo>
                    <a:lnTo>
                      <a:pt x="915968" y="207517"/>
                    </a:lnTo>
                    <a:lnTo>
                      <a:pt x="887630" y="232116"/>
                    </a:lnTo>
                    <a:lnTo>
                      <a:pt x="899930" y="270294"/>
                    </a:lnTo>
                    <a:lnTo>
                      <a:pt x="858702" y="305224"/>
                    </a:lnTo>
                    <a:lnTo>
                      <a:pt x="938796" y="347830"/>
                    </a:lnTo>
                    <a:lnTo>
                      <a:pt x="920789" y="392108"/>
                    </a:lnTo>
                    <a:lnTo>
                      <a:pt x="804879" y="410606"/>
                    </a:lnTo>
                    <a:lnTo>
                      <a:pt x="740233" y="365639"/>
                    </a:lnTo>
                    <a:lnTo>
                      <a:pt x="618025" y="369280"/>
                    </a:lnTo>
                    <a:lnTo>
                      <a:pt x="573058" y="410606"/>
                    </a:lnTo>
                    <a:lnTo>
                      <a:pt x="515595" y="380005"/>
                    </a:lnTo>
                    <a:lnTo>
                      <a:pt x="506641" y="414149"/>
                    </a:lnTo>
                    <a:lnTo>
                      <a:pt x="476138" y="406966"/>
                    </a:lnTo>
                    <a:lnTo>
                      <a:pt x="474367" y="372822"/>
                    </a:lnTo>
                    <a:lnTo>
                      <a:pt x="366525" y="313489"/>
                    </a:lnTo>
                    <a:lnTo>
                      <a:pt x="267735" y="315261"/>
                    </a:lnTo>
                    <a:lnTo>
                      <a:pt x="138345" y="406867"/>
                    </a:lnTo>
                    <a:lnTo>
                      <a:pt x="145528" y="455377"/>
                    </a:lnTo>
                    <a:lnTo>
                      <a:pt x="113155" y="471514"/>
                    </a:lnTo>
                    <a:lnTo>
                      <a:pt x="66417" y="417592"/>
                    </a:lnTo>
                    <a:lnTo>
                      <a:pt x="17908" y="484108"/>
                    </a:lnTo>
                    <a:lnTo>
                      <a:pt x="30503" y="525434"/>
                    </a:lnTo>
                    <a:lnTo>
                      <a:pt x="0" y="575715"/>
                    </a:lnTo>
                    <a:lnTo>
                      <a:pt x="48509" y="631407"/>
                    </a:lnTo>
                    <a:lnTo>
                      <a:pt x="95247" y="631407"/>
                    </a:lnTo>
                    <a:lnTo>
                      <a:pt x="150152" y="700186"/>
                    </a:lnTo>
                    <a:lnTo>
                      <a:pt x="120634" y="719865"/>
                    </a:lnTo>
                    <a:lnTo>
                      <a:pt x="155072" y="754697"/>
                    </a:lnTo>
                    <a:lnTo>
                      <a:pt x="155072" y="754894"/>
                    </a:lnTo>
                    <a:cubicBezTo>
                      <a:pt x="159697" y="754303"/>
                      <a:pt x="162944" y="761191"/>
                      <a:pt x="166388" y="755091"/>
                    </a:cubicBezTo>
                    <a:lnTo>
                      <a:pt x="168651" y="751056"/>
                    </a:lnTo>
                    <a:cubicBezTo>
                      <a:pt x="172587" y="744070"/>
                      <a:pt x="166978" y="737970"/>
                      <a:pt x="171996" y="734034"/>
                    </a:cubicBezTo>
                    <a:cubicBezTo>
                      <a:pt x="179081" y="728524"/>
                      <a:pt x="181836" y="746136"/>
                      <a:pt x="191774" y="742102"/>
                    </a:cubicBezTo>
                    <a:lnTo>
                      <a:pt x="201712" y="738068"/>
                    </a:lnTo>
                    <a:cubicBezTo>
                      <a:pt x="208108" y="735411"/>
                      <a:pt x="210764" y="726064"/>
                      <a:pt x="210174" y="727048"/>
                    </a:cubicBezTo>
                    <a:cubicBezTo>
                      <a:pt x="212929" y="719471"/>
                      <a:pt x="218045" y="724981"/>
                      <a:pt x="224146" y="719176"/>
                    </a:cubicBezTo>
                    <a:cubicBezTo>
                      <a:pt x="239693" y="704417"/>
                      <a:pt x="242349" y="700776"/>
                      <a:pt x="247269" y="705204"/>
                    </a:cubicBezTo>
                    <a:lnTo>
                      <a:pt x="247564" y="705499"/>
                    </a:lnTo>
                    <a:cubicBezTo>
                      <a:pt x="255534" y="712682"/>
                      <a:pt x="261832" y="695364"/>
                      <a:pt x="275607" y="692314"/>
                    </a:cubicBezTo>
                    <a:cubicBezTo>
                      <a:pt x="287415" y="689657"/>
                      <a:pt x="294302" y="686902"/>
                      <a:pt x="300600" y="690641"/>
                    </a:cubicBezTo>
                    <a:cubicBezTo>
                      <a:pt x="319689" y="701957"/>
                      <a:pt x="325199" y="706385"/>
                      <a:pt x="326183" y="702055"/>
                    </a:cubicBezTo>
                    <a:cubicBezTo>
                      <a:pt x="326576" y="700186"/>
                      <a:pt x="329331" y="699497"/>
                      <a:pt x="332185" y="700481"/>
                    </a:cubicBezTo>
                    <a:lnTo>
                      <a:pt x="355406" y="708451"/>
                    </a:lnTo>
                    <a:cubicBezTo>
                      <a:pt x="362983" y="711009"/>
                      <a:pt x="362491" y="701760"/>
                      <a:pt x="370658" y="700284"/>
                    </a:cubicBezTo>
                    <a:cubicBezTo>
                      <a:pt x="372429" y="700284"/>
                      <a:pt x="381383" y="696348"/>
                      <a:pt x="383941" y="703531"/>
                    </a:cubicBezTo>
                    <a:cubicBezTo>
                      <a:pt x="384728" y="704613"/>
                      <a:pt x="386007" y="714551"/>
                      <a:pt x="392600" y="711009"/>
                    </a:cubicBezTo>
                    <a:cubicBezTo>
                      <a:pt x="393584" y="710812"/>
                      <a:pt x="399192" y="706188"/>
                      <a:pt x="402144" y="712190"/>
                    </a:cubicBezTo>
                    <a:cubicBezTo>
                      <a:pt x="405785" y="719471"/>
                      <a:pt x="409918" y="732656"/>
                      <a:pt x="403915" y="738265"/>
                    </a:cubicBezTo>
                    <a:cubicBezTo>
                      <a:pt x="398307" y="743578"/>
                      <a:pt x="391813" y="759322"/>
                      <a:pt x="392305" y="758338"/>
                    </a:cubicBezTo>
                    <a:cubicBezTo>
                      <a:pt x="388566" y="766111"/>
                      <a:pt x="401160" y="760896"/>
                      <a:pt x="397815" y="768866"/>
                    </a:cubicBezTo>
                    <a:cubicBezTo>
                      <a:pt x="395552" y="776147"/>
                      <a:pt x="388369" y="784609"/>
                      <a:pt x="393289" y="791694"/>
                    </a:cubicBezTo>
                    <a:cubicBezTo>
                      <a:pt x="393781" y="792678"/>
                      <a:pt x="397815" y="797302"/>
                      <a:pt x="396339" y="801829"/>
                    </a:cubicBezTo>
                    <a:cubicBezTo>
                      <a:pt x="394371" y="807634"/>
                      <a:pt x="395158" y="810389"/>
                      <a:pt x="388861" y="807437"/>
                    </a:cubicBezTo>
                    <a:cubicBezTo>
                      <a:pt x="387877" y="807142"/>
                      <a:pt x="380202" y="801829"/>
                      <a:pt x="377841" y="807044"/>
                    </a:cubicBezTo>
                    <a:cubicBezTo>
                      <a:pt x="376857" y="809208"/>
                      <a:pt x="373413" y="810980"/>
                      <a:pt x="370362" y="810881"/>
                    </a:cubicBezTo>
                    <a:lnTo>
                      <a:pt x="350782" y="810684"/>
                    </a:lnTo>
                    <a:cubicBezTo>
                      <a:pt x="342320" y="810586"/>
                      <a:pt x="342221" y="816883"/>
                      <a:pt x="334841" y="813538"/>
                    </a:cubicBezTo>
                    <a:cubicBezTo>
                      <a:pt x="333267" y="813144"/>
                      <a:pt x="325888" y="807831"/>
                      <a:pt x="321952" y="812849"/>
                    </a:cubicBezTo>
                    <a:cubicBezTo>
                      <a:pt x="318311" y="817375"/>
                      <a:pt x="309259" y="816293"/>
                      <a:pt x="310242" y="816195"/>
                    </a:cubicBezTo>
                    <a:cubicBezTo>
                      <a:pt x="297156" y="815506"/>
                      <a:pt x="293712" y="836464"/>
                      <a:pt x="294302" y="834201"/>
                    </a:cubicBezTo>
                    <a:cubicBezTo>
                      <a:pt x="293515" y="842171"/>
                      <a:pt x="279641" y="844139"/>
                      <a:pt x="280724" y="843647"/>
                    </a:cubicBezTo>
                    <a:cubicBezTo>
                      <a:pt x="274820" y="845418"/>
                      <a:pt x="272163" y="852896"/>
                      <a:pt x="272852" y="851912"/>
                    </a:cubicBezTo>
                    <a:cubicBezTo>
                      <a:pt x="271770" y="854766"/>
                      <a:pt x="273344" y="857619"/>
                      <a:pt x="276296" y="858308"/>
                    </a:cubicBezTo>
                    <a:lnTo>
                      <a:pt x="285939" y="860374"/>
                    </a:lnTo>
                    <a:cubicBezTo>
                      <a:pt x="294499" y="862244"/>
                      <a:pt x="308963" y="872772"/>
                      <a:pt x="307979" y="872083"/>
                    </a:cubicBezTo>
                    <a:cubicBezTo>
                      <a:pt x="314080" y="876019"/>
                      <a:pt x="311915" y="885072"/>
                      <a:pt x="304929" y="882809"/>
                    </a:cubicBezTo>
                    <a:cubicBezTo>
                      <a:pt x="278264" y="874248"/>
                      <a:pt x="273639" y="872280"/>
                      <a:pt x="266161" y="871985"/>
                    </a:cubicBezTo>
                    <a:cubicBezTo>
                      <a:pt x="240972" y="871198"/>
                      <a:pt x="235560" y="869427"/>
                      <a:pt x="234084" y="876413"/>
                    </a:cubicBezTo>
                    <a:cubicBezTo>
                      <a:pt x="233986" y="878971"/>
                      <a:pt x="227000" y="892550"/>
                      <a:pt x="245203" y="896879"/>
                    </a:cubicBezTo>
                    <a:lnTo>
                      <a:pt x="263898" y="901307"/>
                    </a:lnTo>
                    <a:cubicBezTo>
                      <a:pt x="270884" y="902980"/>
                      <a:pt x="270983" y="913607"/>
                      <a:pt x="270687" y="912623"/>
                    </a:cubicBezTo>
                    <a:cubicBezTo>
                      <a:pt x="271475" y="918625"/>
                      <a:pt x="277673" y="923446"/>
                      <a:pt x="276886" y="922462"/>
                    </a:cubicBezTo>
                    <a:cubicBezTo>
                      <a:pt x="281806" y="926398"/>
                      <a:pt x="282790" y="934565"/>
                      <a:pt x="282495" y="933581"/>
                    </a:cubicBezTo>
                    <a:cubicBezTo>
                      <a:pt x="284561" y="946569"/>
                      <a:pt x="301879" y="954933"/>
                      <a:pt x="300108" y="966347"/>
                    </a:cubicBezTo>
                    <a:cubicBezTo>
                      <a:pt x="300009" y="972546"/>
                      <a:pt x="294401" y="984845"/>
                      <a:pt x="302863" y="984156"/>
                    </a:cubicBezTo>
                    <a:cubicBezTo>
                      <a:pt x="308963" y="984353"/>
                      <a:pt x="318901" y="980122"/>
                      <a:pt x="322936" y="987502"/>
                    </a:cubicBezTo>
                    <a:cubicBezTo>
                      <a:pt x="329528" y="997145"/>
                      <a:pt x="331594" y="1009838"/>
                      <a:pt x="340548" y="1008362"/>
                    </a:cubicBezTo>
                    <a:lnTo>
                      <a:pt x="349207" y="1006886"/>
                    </a:lnTo>
                    <a:cubicBezTo>
                      <a:pt x="357571" y="1005508"/>
                      <a:pt x="356292" y="1012003"/>
                      <a:pt x="364754" y="1011215"/>
                    </a:cubicBezTo>
                    <a:cubicBezTo>
                      <a:pt x="369477" y="1011314"/>
                      <a:pt x="378529" y="1007673"/>
                      <a:pt x="383548" y="1014069"/>
                    </a:cubicBezTo>
                    <a:lnTo>
                      <a:pt x="384433" y="1015151"/>
                    </a:lnTo>
                    <a:cubicBezTo>
                      <a:pt x="392010" y="1024794"/>
                      <a:pt x="369674" y="1050869"/>
                      <a:pt x="371248" y="1066514"/>
                    </a:cubicBezTo>
                    <a:lnTo>
                      <a:pt x="371740" y="1071040"/>
                    </a:lnTo>
                    <a:cubicBezTo>
                      <a:pt x="371937" y="1072615"/>
                      <a:pt x="371937" y="1074287"/>
                      <a:pt x="371740" y="1075861"/>
                    </a:cubicBezTo>
                    <a:lnTo>
                      <a:pt x="371740" y="1075861"/>
                    </a:lnTo>
                    <a:cubicBezTo>
                      <a:pt x="371740" y="1075861"/>
                      <a:pt x="419560" y="1042604"/>
                      <a:pt x="419560" y="1042604"/>
                    </a:cubicBezTo>
                    <a:lnTo>
                      <a:pt x="480467" y="1042604"/>
                    </a:lnTo>
                    <a:lnTo>
                      <a:pt x="530157" y="1085504"/>
                    </a:lnTo>
                    <a:lnTo>
                      <a:pt x="550624" y="1134899"/>
                    </a:lnTo>
                    <a:lnTo>
                      <a:pt x="587916" y="1133423"/>
                    </a:lnTo>
                    <a:lnTo>
                      <a:pt x="587916" y="849551"/>
                    </a:lnTo>
                    <a:lnTo>
                      <a:pt x="746530" y="806552"/>
                    </a:lnTo>
                    <a:lnTo>
                      <a:pt x="757846" y="774081"/>
                    </a:lnTo>
                    <a:cubicBezTo>
                      <a:pt x="758830" y="771228"/>
                      <a:pt x="762175" y="768669"/>
                      <a:pt x="765225" y="768473"/>
                    </a:cubicBezTo>
                    <a:lnTo>
                      <a:pt x="790218" y="766800"/>
                    </a:lnTo>
                    <a:cubicBezTo>
                      <a:pt x="793268" y="766603"/>
                      <a:pt x="795039" y="768768"/>
                      <a:pt x="794055" y="771719"/>
                    </a:cubicBezTo>
                    <a:lnTo>
                      <a:pt x="789234" y="786873"/>
                    </a:lnTo>
                    <a:cubicBezTo>
                      <a:pt x="788349" y="789824"/>
                      <a:pt x="785298" y="793367"/>
                      <a:pt x="782543" y="794744"/>
                    </a:cubicBezTo>
                    <a:lnTo>
                      <a:pt x="768669" y="801927"/>
                    </a:lnTo>
                    <a:cubicBezTo>
                      <a:pt x="765914" y="803304"/>
                      <a:pt x="763946" y="806945"/>
                      <a:pt x="764241" y="810094"/>
                    </a:cubicBezTo>
                    <a:lnTo>
                      <a:pt x="764930" y="817375"/>
                    </a:lnTo>
                    <a:lnTo>
                      <a:pt x="800648" y="838235"/>
                    </a:lnTo>
                    <a:lnTo>
                      <a:pt x="804584" y="830757"/>
                    </a:lnTo>
                    <a:cubicBezTo>
                      <a:pt x="805961" y="828002"/>
                      <a:pt x="806749" y="823377"/>
                      <a:pt x="806257" y="820327"/>
                    </a:cubicBezTo>
                    <a:lnTo>
                      <a:pt x="801927" y="794056"/>
                    </a:lnTo>
                    <a:cubicBezTo>
                      <a:pt x="801435" y="791005"/>
                      <a:pt x="803403" y="787660"/>
                      <a:pt x="806257" y="786479"/>
                    </a:cubicBezTo>
                    <a:lnTo>
                      <a:pt x="810586" y="784806"/>
                    </a:lnTo>
                    <a:cubicBezTo>
                      <a:pt x="813439" y="783724"/>
                      <a:pt x="816391" y="780378"/>
                      <a:pt x="817277" y="777427"/>
                    </a:cubicBezTo>
                    <a:lnTo>
                      <a:pt x="820130" y="766898"/>
                    </a:lnTo>
                    <a:cubicBezTo>
                      <a:pt x="820918" y="763946"/>
                      <a:pt x="824066" y="761486"/>
                      <a:pt x="827116" y="761486"/>
                    </a:cubicBezTo>
                    <a:lnTo>
                      <a:pt x="870903" y="761486"/>
                    </a:lnTo>
                    <a:cubicBezTo>
                      <a:pt x="873953" y="761486"/>
                      <a:pt x="874740" y="763258"/>
                      <a:pt x="872575" y="765422"/>
                    </a:cubicBezTo>
                    <a:lnTo>
                      <a:pt x="858702" y="779296"/>
                    </a:lnTo>
                    <a:cubicBezTo>
                      <a:pt x="856537" y="781461"/>
                      <a:pt x="852306" y="783527"/>
                      <a:pt x="849256" y="783921"/>
                    </a:cubicBezTo>
                    <a:lnTo>
                      <a:pt x="832430" y="785889"/>
                    </a:lnTo>
                    <a:cubicBezTo>
                      <a:pt x="829380" y="786282"/>
                      <a:pt x="826329" y="789037"/>
                      <a:pt x="825739" y="791989"/>
                    </a:cubicBezTo>
                    <a:lnTo>
                      <a:pt x="825542" y="792973"/>
                    </a:lnTo>
                    <a:cubicBezTo>
                      <a:pt x="824952" y="796023"/>
                      <a:pt x="826920" y="798483"/>
                      <a:pt x="829970" y="798483"/>
                    </a:cubicBezTo>
                    <a:lnTo>
                      <a:pt x="850830" y="798483"/>
                    </a:lnTo>
                    <a:cubicBezTo>
                      <a:pt x="853880" y="798483"/>
                      <a:pt x="857029" y="800943"/>
                      <a:pt x="857718" y="803895"/>
                    </a:cubicBezTo>
                    <a:lnTo>
                      <a:pt x="860768" y="816391"/>
                    </a:lnTo>
                    <a:cubicBezTo>
                      <a:pt x="861555" y="819343"/>
                      <a:pt x="861063" y="824066"/>
                      <a:pt x="859784" y="826920"/>
                    </a:cubicBezTo>
                    <a:lnTo>
                      <a:pt x="858997" y="828592"/>
                    </a:lnTo>
                    <a:cubicBezTo>
                      <a:pt x="857718" y="831347"/>
                      <a:pt x="857718" y="835972"/>
                      <a:pt x="858997" y="838727"/>
                    </a:cubicBezTo>
                    <a:lnTo>
                      <a:pt x="870706" y="864212"/>
                    </a:lnTo>
                    <a:cubicBezTo>
                      <a:pt x="871985" y="866967"/>
                      <a:pt x="871591" y="871296"/>
                      <a:pt x="869820" y="873855"/>
                    </a:cubicBezTo>
                    <a:lnTo>
                      <a:pt x="867360" y="877298"/>
                    </a:lnTo>
                    <a:lnTo>
                      <a:pt x="900028" y="896387"/>
                    </a:lnTo>
                    <a:lnTo>
                      <a:pt x="906227" y="911048"/>
                    </a:lnTo>
                    <a:lnTo>
                      <a:pt x="961230" y="965658"/>
                    </a:lnTo>
                    <a:lnTo>
                      <a:pt x="1031485" y="953654"/>
                    </a:lnTo>
                    <a:lnTo>
                      <a:pt x="1111579" y="960738"/>
                    </a:lnTo>
                    <a:lnTo>
                      <a:pt x="1141590" y="945585"/>
                    </a:lnTo>
                    <a:lnTo>
                      <a:pt x="1160482" y="969004"/>
                    </a:lnTo>
                    <a:lnTo>
                      <a:pt x="1178488" y="977662"/>
                    </a:lnTo>
                    <a:lnTo>
                      <a:pt x="1193838" y="1007673"/>
                    </a:lnTo>
                    <a:lnTo>
                      <a:pt x="1214108" y="1002655"/>
                    </a:lnTo>
                    <a:lnTo>
                      <a:pt x="1208598" y="1076255"/>
                    </a:lnTo>
                    <a:lnTo>
                      <a:pt x="1239592" y="1076649"/>
                    </a:lnTo>
                    <a:lnTo>
                      <a:pt x="1252285" y="1137949"/>
                    </a:lnTo>
                    <a:lnTo>
                      <a:pt x="1321950" y="1135096"/>
                    </a:lnTo>
                    <a:lnTo>
                      <a:pt x="1338382" y="1147199"/>
                    </a:lnTo>
                    <a:lnTo>
                      <a:pt x="1333068" y="1167960"/>
                    </a:lnTo>
                    <a:lnTo>
                      <a:pt x="1371640" y="1180653"/>
                    </a:lnTo>
                    <a:lnTo>
                      <a:pt x="1369278" y="1155857"/>
                    </a:lnTo>
                    <a:lnTo>
                      <a:pt x="1395944" y="1135883"/>
                    </a:lnTo>
                    <a:lnTo>
                      <a:pt x="1396731" y="1120533"/>
                    </a:lnTo>
                    <a:lnTo>
                      <a:pt x="1459311" y="1088948"/>
                    </a:lnTo>
                    <a:lnTo>
                      <a:pt x="1474070" y="1070056"/>
                    </a:lnTo>
                    <a:lnTo>
                      <a:pt x="1493257" y="1070646"/>
                    </a:lnTo>
                    <a:lnTo>
                      <a:pt x="1500440" y="1058937"/>
                    </a:lnTo>
                    <a:lnTo>
                      <a:pt x="1519824" y="1050771"/>
                    </a:lnTo>
                    <a:lnTo>
                      <a:pt x="1534387" y="1019382"/>
                    </a:lnTo>
                    <a:lnTo>
                      <a:pt x="1579353" y="1013872"/>
                    </a:lnTo>
                    <a:lnTo>
                      <a:pt x="1669583" y="1050771"/>
                    </a:lnTo>
                    <a:lnTo>
                      <a:pt x="1680603" y="1042505"/>
                    </a:lnTo>
                    <a:lnTo>
                      <a:pt x="1668894" y="1027549"/>
                    </a:lnTo>
                    <a:lnTo>
                      <a:pt x="1680603" y="993307"/>
                    </a:lnTo>
                    <a:lnTo>
                      <a:pt x="1719863" y="981992"/>
                    </a:lnTo>
                    <a:lnTo>
                      <a:pt x="1776638" y="1016332"/>
                    </a:lnTo>
                    <a:lnTo>
                      <a:pt x="1807337" y="1016332"/>
                    </a:lnTo>
                    <a:cubicBezTo>
                      <a:pt x="1807337" y="1016332"/>
                      <a:pt x="1818456" y="1003540"/>
                      <a:pt x="1818456" y="1003540"/>
                    </a:cubicBezTo>
                    <a:lnTo>
                      <a:pt x="1892646" y="999408"/>
                    </a:lnTo>
                    <a:lnTo>
                      <a:pt x="1914490" y="1008263"/>
                    </a:lnTo>
                    <a:lnTo>
                      <a:pt x="2027154" y="1016332"/>
                    </a:lnTo>
                    <a:lnTo>
                      <a:pt x="2024694" y="1029714"/>
                    </a:lnTo>
                    <a:lnTo>
                      <a:pt x="2042700" y="1044079"/>
                    </a:lnTo>
                    <a:lnTo>
                      <a:pt x="2071137" y="1043883"/>
                    </a:lnTo>
                    <a:lnTo>
                      <a:pt x="2092390" y="1068974"/>
                    </a:lnTo>
                    <a:lnTo>
                      <a:pt x="2093669" y="1014659"/>
                    </a:lnTo>
                    <a:lnTo>
                      <a:pt x="2125746" y="986715"/>
                    </a:lnTo>
                    <a:lnTo>
                      <a:pt x="2103214" y="873363"/>
                    </a:lnTo>
                    <a:lnTo>
                      <a:pt x="2066906" y="870214"/>
                    </a:lnTo>
                    <a:lnTo>
                      <a:pt x="2073498" y="846599"/>
                    </a:lnTo>
                    <a:lnTo>
                      <a:pt x="2172091" y="827313"/>
                    </a:lnTo>
                    <a:lnTo>
                      <a:pt x="2234572" y="839810"/>
                    </a:lnTo>
                    <a:lnTo>
                      <a:pt x="2244805" y="811963"/>
                    </a:lnTo>
                    <a:lnTo>
                      <a:pt x="2220895" y="800451"/>
                    </a:lnTo>
                    <a:lnTo>
                      <a:pt x="2265665" y="678047"/>
                    </a:lnTo>
                    <a:lnTo>
                      <a:pt x="2374295" y="707172"/>
                    </a:lnTo>
                    <a:lnTo>
                      <a:pt x="2429495" y="677554"/>
                    </a:lnTo>
                    <a:lnTo>
                      <a:pt x="2416113" y="615762"/>
                    </a:lnTo>
                    <a:lnTo>
                      <a:pt x="2434119" y="580930"/>
                    </a:lnTo>
                    <a:lnTo>
                      <a:pt x="2464032" y="580930"/>
                    </a:lnTo>
                    <a:lnTo>
                      <a:pt x="2495518" y="560660"/>
                    </a:lnTo>
                    <a:lnTo>
                      <a:pt x="2493550" y="537242"/>
                    </a:lnTo>
                    <a:lnTo>
                      <a:pt x="2534188" y="528878"/>
                    </a:lnTo>
                    <a:close/>
                    <a:moveTo>
                      <a:pt x="919215" y="743775"/>
                    </a:moveTo>
                    <a:lnTo>
                      <a:pt x="894223" y="756665"/>
                    </a:lnTo>
                    <a:cubicBezTo>
                      <a:pt x="891467" y="758043"/>
                      <a:pt x="888909" y="756665"/>
                      <a:pt x="888516" y="753713"/>
                    </a:cubicBezTo>
                    <a:lnTo>
                      <a:pt x="887630" y="747514"/>
                    </a:lnTo>
                    <a:cubicBezTo>
                      <a:pt x="887236" y="744464"/>
                      <a:pt x="884383" y="741807"/>
                      <a:pt x="881234" y="741610"/>
                    </a:cubicBezTo>
                    <a:lnTo>
                      <a:pt x="851814" y="739544"/>
                    </a:lnTo>
                    <a:cubicBezTo>
                      <a:pt x="848764" y="739347"/>
                      <a:pt x="845320" y="736789"/>
                      <a:pt x="844139" y="734034"/>
                    </a:cubicBezTo>
                    <a:lnTo>
                      <a:pt x="839810" y="723407"/>
                    </a:lnTo>
                    <a:cubicBezTo>
                      <a:pt x="838629" y="720554"/>
                      <a:pt x="840006" y="717208"/>
                      <a:pt x="842761" y="716027"/>
                    </a:cubicBezTo>
                    <a:lnTo>
                      <a:pt x="850141" y="712780"/>
                    </a:lnTo>
                    <a:cubicBezTo>
                      <a:pt x="852995" y="711501"/>
                      <a:pt x="857521" y="711600"/>
                      <a:pt x="860276" y="712977"/>
                    </a:cubicBezTo>
                    <a:lnTo>
                      <a:pt x="870706" y="717995"/>
                    </a:lnTo>
                    <a:cubicBezTo>
                      <a:pt x="873461" y="719275"/>
                      <a:pt x="875626" y="717995"/>
                      <a:pt x="875527" y="714847"/>
                    </a:cubicBezTo>
                    <a:lnTo>
                      <a:pt x="875527" y="712584"/>
                    </a:lnTo>
                    <a:cubicBezTo>
                      <a:pt x="875331" y="709533"/>
                      <a:pt x="877790" y="706975"/>
                      <a:pt x="880841" y="706975"/>
                    </a:cubicBezTo>
                    <a:lnTo>
                      <a:pt x="882809" y="706975"/>
                    </a:lnTo>
                    <a:cubicBezTo>
                      <a:pt x="885859" y="706975"/>
                      <a:pt x="888614" y="709435"/>
                      <a:pt x="888909" y="712485"/>
                    </a:cubicBezTo>
                    <a:lnTo>
                      <a:pt x="889106" y="714748"/>
                    </a:lnTo>
                    <a:cubicBezTo>
                      <a:pt x="889401" y="717799"/>
                      <a:pt x="891959" y="721144"/>
                      <a:pt x="894911" y="722030"/>
                    </a:cubicBezTo>
                    <a:lnTo>
                      <a:pt x="913803" y="728327"/>
                    </a:lnTo>
                    <a:cubicBezTo>
                      <a:pt x="916755" y="729311"/>
                      <a:pt x="920101" y="732361"/>
                      <a:pt x="921380" y="735215"/>
                    </a:cubicBezTo>
                    <a:lnTo>
                      <a:pt x="921773" y="736100"/>
                    </a:lnTo>
                    <a:cubicBezTo>
                      <a:pt x="923052" y="738855"/>
                      <a:pt x="921773" y="742398"/>
                      <a:pt x="919117" y="743775"/>
                    </a:cubicBezTo>
                    <a:close/>
                    <a:moveTo>
                      <a:pt x="2016133" y="711993"/>
                    </a:moveTo>
                    <a:lnTo>
                      <a:pt x="2003440" y="740233"/>
                    </a:lnTo>
                    <a:cubicBezTo>
                      <a:pt x="2002161" y="742988"/>
                      <a:pt x="1998619" y="745349"/>
                      <a:pt x="1995569" y="745251"/>
                    </a:cubicBezTo>
                    <a:lnTo>
                      <a:pt x="1905832" y="744562"/>
                    </a:lnTo>
                    <a:cubicBezTo>
                      <a:pt x="1902781" y="744562"/>
                      <a:pt x="1897763" y="743972"/>
                      <a:pt x="1894811" y="743283"/>
                    </a:cubicBezTo>
                    <a:lnTo>
                      <a:pt x="1849746" y="732951"/>
                    </a:lnTo>
                    <a:cubicBezTo>
                      <a:pt x="1846794" y="732263"/>
                      <a:pt x="1841776" y="731869"/>
                      <a:pt x="1838725" y="732066"/>
                    </a:cubicBezTo>
                    <a:lnTo>
                      <a:pt x="1771718" y="736100"/>
                    </a:lnTo>
                    <a:cubicBezTo>
                      <a:pt x="1768668" y="736297"/>
                      <a:pt x="1765420" y="738855"/>
                      <a:pt x="1764633" y="741807"/>
                    </a:cubicBezTo>
                    <a:lnTo>
                      <a:pt x="1760205" y="757354"/>
                    </a:lnTo>
                    <a:cubicBezTo>
                      <a:pt x="1759320" y="760306"/>
                      <a:pt x="1756270" y="763454"/>
                      <a:pt x="1753318" y="764438"/>
                    </a:cubicBezTo>
                    <a:lnTo>
                      <a:pt x="1729309" y="772212"/>
                    </a:lnTo>
                    <a:cubicBezTo>
                      <a:pt x="1726357" y="773195"/>
                      <a:pt x="1723700" y="776443"/>
                      <a:pt x="1723208" y="779493"/>
                    </a:cubicBezTo>
                    <a:lnTo>
                      <a:pt x="1716813" y="825148"/>
                    </a:lnTo>
                    <a:cubicBezTo>
                      <a:pt x="1716419" y="828199"/>
                      <a:pt x="1714156" y="832331"/>
                      <a:pt x="1711795" y="834299"/>
                    </a:cubicBezTo>
                    <a:lnTo>
                      <a:pt x="1708646" y="836956"/>
                    </a:lnTo>
                    <a:cubicBezTo>
                      <a:pt x="1706285" y="838924"/>
                      <a:pt x="1702742" y="838629"/>
                      <a:pt x="1700676" y="836366"/>
                    </a:cubicBezTo>
                    <a:lnTo>
                      <a:pt x="1669583" y="800746"/>
                    </a:lnTo>
                    <a:cubicBezTo>
                      <a:pt x="1667516" y="798483"/>
                      <a:pt x="1666926" y="794252"/>
                      <a:pt x="1668107" y="791399"/>
                    </a:cubicBezTo>
                    <a:lnTo>
                      <a:pt x="1685326" y="751056"/>
                    </a:lnTo>
                    <a:cubicBezTo>
                      <a:pt x="1686507" y="748203"/>
                      <a:pt x="1689656" y="744661"/>
                      <a:pt x="1692312" y="743185"/>
                    </a:cubicBezTo>
                    <a:lnTo>
                      <a:pt x="1757549" y="705696"/>
                    </a:lnTo>
                    <a:cubicBezTo>
                      <a:pt x="1760205" y="704121"/>
                      <a:pt x="1764731" y="703925"/>
                      <a:pt x="1767487" y="705106"/>
                    </a:cubicBezTo>
                    <a:lnTo>
                      <a:pt x="1781557" y="711108"/>
                    </a:lnTo>
                    <a:cubicBezTo>
                      <a:pt x="1784411" y="712288"/>
                      <a:pt x="1789134" y="712682"/>
                      <a:pt x="1792086" y="711993"/>
                    </a:cubicBezTo>
                    <a:lnTo>
                      <a:pt x="1824753" y="704220"/>
                    </a:lnTo>
                    <a:cubicBezTo>
                      <a:pt x="1827705" y="703531"/>
                      <a:pt x="1832625" y="703531"/>
                      <a:pt x="1835577" y="704220"/>
                    </a:cubicBezTo>
                    <a:lnTo>
                      <a:pt x="1894713" y="718192"/>
                    </a:lnTo>
                    <a:cubicBezTo>
                      <a:pt x="1897664" y="718881"/>
                      <a:pt x="1902683" y="719668"/>
                      <a:pt x="1905733" y="719766"/>
                    </a:cubicBezTo>
                    <a:lnTo>
                      <a:pt x="1948338" y="722325"/>
                    </a:lnTo>
                    <a:cubicBezTo>
                      <a:pt x="1951389" y="722521"/>
                      <a:pt x="1955817" y="721046"/>
                      <a:pt x="1958178" y="719078"/>
                    </a:cubicBezTo>
                    <a:lnTo>
                      <a:pt x="1973036" y="706483"/>
                    </a:lnTo>
                    <a:cubicBezTo>
                      <a:pt x="1975397" y="704515"/>
                      <a:pt x="1979825" y="703137"/>
                      <a:pt x="1982875" y="703433"/>
                    </a:cubicBezTo>
                    <a:lnTo>
                      <a:pt x="2012788" y="706581"/>
                    </a:lnTo>
                    <a:cubicBezTo>
                      <a:pt x="2015838" y="706877"/>
                      <a:pt x="2017314" y="709435"/>
                      <a:pt x="2016035" y="712288"/>
                    </a:cubicBezTo>
                    <a:close/>
                    <a:moveTo>
                      <a:pt x="2200822" y="787266"/>
                    </a:moveTo>
                    <a:lnTo>
                      <a:pt x="2163137" y="776443"/>
                    </a:lnTo>
                    <a:cubicBezTo>
                      <a:pt x="2160185" y="775557"/>
                      <a:pt x="2157430" y="772408"/>
                      <a:pt x="2156938" y="769358"/>
                    </a:cubicBezTo>
                    <a:lnTo>
                      <a:pt x="2154577" y="754107"/>
                    </a:lnTo>
                    <a:cubicBezTo>
                      <a:pt x="2154084" y="751056"/>
                      <a:pt x="2155462" y="746825"/>
                      <a:pt x="2157528" y="744562"/>
                    </a:cubicBezTo>
                    <a:lnTo>
                      <a:pt x="2166286" y="735411"/>
                    </a:lnTo>
                    <a:cubicBezTo>
                      <a:pt x="2168352" y="733148"/>
                      <a:pt x="2172189" y="732755"/>
                      <a:pt x="2174748" y="734427"/>
                    </a:cubicBezTo>
                    <a:lnTo>
                      <a:pt x="2189212" y="743874"/>
                    </a:lnTo>
                    <a:cubicBezTo>
                      <a:pt x="2191770" y="745546"/>
                      <a:pt x="2194623" y="749384"/>
                      <a:pt x="2195411" y="752237"/>
                    </a:cubicBezTo>
                    <a:lnTo>
                      <a:pt x="2204562" y="783330"/>
                    </a:lnTo>
                    <a:cubicBezTo>
                      <a:pt x="2205447" y="786282"/>
                      <a:pt x="2203775" y="787955"/>
                      <a:pt x="2200822" y="787168"/>
                    </a:cubicBezTo>
                    <a:close/>
                    <a:moveTo>
                      <a:pt x="2356190" y="637606"/>
                    </a:moveTo>
                    <a:lnTo>
                      <a:pt x="2353435" y="639180"/>
                    </a:lnTo>
                    <a:cubicBezTo>
                      <a:pt x="2350778" y="640656"/>
                      <a:pt x="2346350" y="640754"/>
                      <a:pt x="2343694" y="639180"/>
                    </a:cubicBezTo>
                    <a:lnTo>
                      <a:pt x="2301482" y="615959"/>
                    </a:lnTo>
                    <a:cubicBezTo>
                      <a:pt x="2298825" y="614483"/>
                      <a:pt x="2294102" y="613007"/>
                      <a:pt x="2291052" y="612613"/>
                    </a:cubicBezTo>
                    <a:lnTo>
                      <a:pt x="2281901" y="611531"/>
                    </a:lnTo>
                    <a:cubicBezTo>
                      <a:pt x="2278850" y="611137"/>
                      <a:pt x="2274619" y="608972"/>
                      <a:pt x="2272553" y="606710"/>
                    </a:cubicBezTo>
                    <a:lnTo>
                      <a:pt x="2257794" y="590572"/>
                    </a:lnTo>
                    <a:lnTo>
                      <a:pt x="2294692" y="590572"/>
                    </a:lnTo>
                    <a:cubicBezTo>
                      <a:pt x="2297743" y="590572"/>
                      <a:pt x="2302564" y="591556"/>
                      <a:pt x="2305319" y="592836"/>
                    </a:cubicBezTo>
                    <a:lnTo>
                      <a:pt x="2353730" y="614286"/>
                    </a:lnTo>
                    <a:cubicBezTo>
                      <a:pt x="2356583" y="615565"/>
                      <a:pt x="2357370" y="618517"/>
                      <a:pt x="2355501" y="620977"/>
                    </a:cubicBezTo>
                    <a:lnTo>
                      <a:pt x="2354222" y="622650"/>
                    </a:lnTo>
                    <a:cubicBezTo>
                      <a:pt x="2352352" y="625110"/>
                      <a:pt x="2352844" y="628652"/>
                      <a:pt x="2355304" y="630521"/>
                    </a:cubicBezTo>
                    <a:lnTo>
                      <a:pt x="2356485" y="631407"/>
                    </a:lnTo>
                    <a:cubicBezTo>
                      <a:pt x="2358945" y="633276"/>
                      <a:pt x="2358748" y="636031"/>
                      <a:pt x="2356091" y="637508"/>
                    </a:cubicBezTo>
                    <a:close/>
                  </a:path>
                </a:pathLst>
              </a:custGeom>
              <a:grpFill/>
              <a:ln w="9835" cap="flat">
                <a:noFill/>
                <a:prstDash val="solid"/>
                <a:miter/>
              </a:ln>
            </p:spPr>
            <p:txBody>
              <a:bodyPr rtlCol="0" anchor="ctr"/>
              <a:lstStyle/>
              <a:p>
                <a:endParaRPr lang="en-IN"/>
              </a:p>
            </p:txBody>
          </p:sp>
        </p:grpSp>
        <p:sp>
          <p:nvSpPr>
            <p:cNvPr id="493" name="Freeform: Shape 492">
              <a:extLst>
                <a:ext uri="{FF2B5EF4-FFF2-40B4-BE49-F238E27FC236}">
                  <a16:creationId xmlns:a16="http://schemas.microsoft.com/office/drawing/2014/main" id="{F195723F-E651-E7AE-961B-876F7DE47127}"/>
                </a:ext>
              </a:extLst>
            </p:cNvPr>
            <p:cNvSpPr/>
            <p:nvPr/>
          </p:nvSpPr>
          <p:spPr>
            <a:xfrm>
              <a:off x="7211449" y="4051806"/>
              <a:ext cx="269309" cy="283183"/>
            </a:xfrm>
            <a:custGeom>
              <a:avLst/>
              <a:gdLst>
                <a:gd name="connsiteX0" fmla="*/ 268031 w 269309"/>
                <a:gd name="connsiteY0" fmla="*/ 63859 h 283183"/>
                <a:gd name="connsiteX1" fmla="*/ 255042 w 269309"/>
                <a:gd name="connsiteY1" fmla="*/ 62580 h 283183"/>
                <a:gd name="connsiteX2" fmla="*/ 240578 w 269309"/>
                <a:gd name="connsiteY2" fmla="*/ 0 h 283183"/>
                <a:gd name="connsiteX3" fmla="*/ 117780 w 269309"/>
                <a:gd name="connsiteY3" fmla="*/ 68975 h 283183"/>
                <a:gd name="connsiteX4" fmla="*/ 88753 w 269309"/>
                <a:gd name="connsiteY4" fmla="*/ 65237 h 283183"/>
                <a:gd name="connsiteX5" fmla="*/ 64548 w 269309"/>
                <a:gd name="connsiteY5" fmla="*/ 39949 h 283183"/>
                <a:gd name="connsiteX6" fmla="*/ 46738 w 269309"/>
                <a:gd name="connsiteY6" fmla="*/ 45262 h 283183"/>
                <a:gd name="connsiteX7" fmla="*/ 40933 w 269309"/>
                <a:gd name="connsiteY7" fmla="*/ 133326 h 283183"/>
                <a:gd name="connsiteX8" fmla="*/ 2853 w 269309"/>
                <a:gd name="connsiteY8" fmla="*/ 250418 h 283183"/>
                <a:gd name="connsiteX9" fmla="*/ 3247 w 269309"/>
                <a:gd name="connsiteY9" fmla="*/ 252681 h 283183"/>
                <a:gd name="connsiteX10" fmla="*/ 0 w 269309"/>
                <a:gd name="connsiteY10" fmla="*/ 271770 h 283183"/>
                <a:gd name="connsiteX11" fmla="*/ 72419 w 269309"/>
                <a:gd name="connsiteY11" fmla="*/ 283184 h 283183"/>
                <a:gd name="connsiteX12" fmla="*/ 106858 w 269309"/>
                <a:gd name="connsiteY12" fmla="*/ 238512 h 283183"/>
                <a:gd name="connsiteX13" fmla="*/ 158122 w 269309"/>
                <a:gd name="connsiteY13" fmla="*/ 228869 h 283183"/>
                <a:gd name="connsiteX14" fmla="*/ 188822 w 269309"/>
                <a:gd name="connsiteY14" fmla="*/ 194627 h 283183"/>
                <a:gd name="connsiteX15" fmla="*/ 137656 w 269309"/>
                <a:gd name="connsiteY15" fmla="*/ 132146 h 283183"/>
                <a:gd name="connsiteX16" fmla="*/ 267932 w 269309"/>
                <a:gd name="connsiteY16" fmla="*/ 83932 h 283183"/>
                <a:gd name="connsiteX17" fmla="*/ 269310 w 269309"/>
                <a:gd name="connsiteY17" fmla="*/ 84227 h 283183"/>
                <a:gd name="connsiteX18" fmla="*/ 269310 w 269309"/>
                <a:gd name="connsiteY18" fmla="*/ 83932 h 283183"/>
                <a:gd name="connsiteX19" fmla="*/ 267932 w 269309"/>
                <a:gd name="connsiteY19" fmla="*/ 63760 h 283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9309" h="283183">
                  <a:moveTo>
                    <a:pt x="268031" y="63859"/>
                  </a:moveTo>
                  <a:lnTo>
                    <a:pt x="255042" y="62580"/>
                  </a:lnTo>
                  <a:lnTo>
                    <a:pt x="240578" y="0"/>
                  </a:lnTo>
                  <a:lnTo>
                    <a:pt x="117780" y="68975"/>
                  </a:lnTo>
                  <a:lnTo>
                    <a:pt x="88753" y="65237"/>
                  </a:lnTo>
                  <a:lnTo>
                    <a:pt x="64548" y="39949"/>
                  </a:lnTo>
                  <a:lnTo>
                    <a:pt x="46738" y="45262"/>
                  </a:lnTo>
                  <a:lnTo>
                    <a:pt x="40933" y="133326"/>
                  </a:lnTo>
                  <a:lnTo>
                    <a:pt x="2853" y="250418"/>
                  </a:lnTo>
                  <a:cubicBezTo>
                    <a:pt x="2853" y="250418"/>
                    <a:pt x="3542" y="251303"/>
                    <a:pt x="3247" y="252681"/>
                  </a:cubicBezTo>
                  <a:cubicBezTo>
                    <a:pt x="2066" y="259864"/>
                    <a:pt x="984" y="266063"/>
                    <a:pt x="0" y="271770"/>
                  </a:cubicBezTo>
                  <a:lnTo>
                    <a:pt x="72419" y="283184"/>
                  </a:lnTo>
                  <a:lnTo>
                    <a:pt x="106858" y="238512"/>
                  </a:lnTo>
                  <a:lnTo>
                    <a:pt x="158122" y="228869"/>
                  </a:lnTo>
                  <a:lnTo>
                    <a:pt x="188822" y="194627"/>
                  </a:lnTo>
                  <a:lnTo>
                    <a:pt x="137656" y="132146"/>
                  </a:lnTo>
                  <a:lnTo>
                    <a:pt x="267932" y="83932"/>
                  </a:lnTo>
                  <a:lnTo>
                    <a:pt x="269310" y="84227"/>
                  </a:lnTo>
                  <a:lnTo>
                    <a:pt x="269310" y="83932"/>
                  </a:lnTo>
                  <a:cubicBezTo>
                    <a:pt x="269310" y="83932"/>
                    <a:pt x="267932" y="63760"/>
                    <a:pt x="267932" y="63760"/>
                  </a:cubicBezTo>
                  <a:close/>
                </a:path>
              </a:pathLst>
            </a:custGeom>
            <a:grpFill/>
            <a:ln w="9835" cap="flat">
              <a:noFill/>
              <a:prstDash val="solid"/>
              <a:miter/>
            </a:ln>
          </p:spPr>
          <p:txBody>
            <a:bodyPr rtlCol="0" anchor="ctr"/>
            <a:lstStyle/>
            <a:p>
              <a:endParaRPr lang="en-IN"/>
            </a:p>
          </p:txBody>
        </p:sp>
        <p:grpSp>
          <p:nvGrpSpPr>
            <p:cNvPr id="494" name="Graphic 470">
              <a:extLst>
                <a:ext uri="{FF2B5EF4-FFF2-40B4-BE49-F238E27FC236}">
                  <a16:creationId xmlns:a16="http://schemas.microsoft.com/office/drawing/2014/main" id="{EC9F901C-999A-827C-4569-45ED03DBDF04}"/>
                </a:ext>
              </a:extLst>
            </p:cNvPr>
            <p:cNvGrpSpPr/>
            <p:nvPr/>
          </p:nvGrpSpPr>
          <p:grpSpPr>
            <a:xfrm>
              <a:off x="12710264" y="3162531"/>
              <a:ext cx="1376849" cy="1494923"/>
              <a:chOff x="12710264" y="3162531"/>
              <a:chExt cx="1376849" cy="1494923"/>
            </a:xfrm>
            <a:grpFill/>
          </p:grpSpPr>
          <p:sp>
            <p:nvSpPr>
              <p:cNvPr id="651" name="Freeform: Shape 650">
                <a:extLst>
                  <a:ext uri="{FF2B5EF4-FFF2-40B4-BE49-F238E27FC236}">
                    <a16:creationId xmlns:a16="http://schemas.microsoft.com/office/drawing/2014/main" id="{2FA0EDD3-ED1B-9EE7-BD76-67A7E084F6D9}"/>
                  </a:ext>
                </a:extLst>
              </p:cNvPr>
              <p:cNvSpPr/>
              <p:nvPr/>
            </p:nvSpPr>
            <p:spPr>
              <a:xfrm>
                <a:off x="13715019" y="3162531"/>
                <a:ext cx="372094" cy="305851"/>
              </a:xfrm>
              <a:custGeom>
                <a:avLst/>
                <a:gdLst>
                  <a:gd name="connsiteX0" fmla="*/ 40745 w 372094"/>
                  <a:gd name="connsiteY0" fmla="*/ 193517 h 305851"/>
                  <a:gd name="connsiteX1" fmla="*/ 8963 w 372094"/>
                  <a:gd name="connsiteY1" fmla="*/ 213294 h 305851"/>
                  <a:gd name="connsiteX2" fmla="*/ 206 w 372094"/>
                  <a:gd name="connsiteY2" fmla="*/ 238483 h 305851"/>
                  <a:gd name="connsiteX3" fmla="*/ 18212 w 372094"/>
                  <a:gd name="connsiteY3" fmla="*/ 264066 h 305851"/>
                  <a:gd name="connsiteX4" fmla="*/ 15850 w 372094"/>
                  <a:gd name="connsiteY4" fmla="*/ 303031 h 305851"/>
                  <a:gd name="connsiteX5" fmla="*/ 21164 w 372094"/>
                  <a:gd name="connsiteY5" fmla="*/ 305196 h 305851"/>
                  <a:gd name="connsiteX6" fmla="*/ 46255 w 372094"/>
                  <a:gd name="connsiteY6" fmla="*/ 283844 h 305851"/>
                  <a:gd name="connsiteX7" fmla="*/ 81185 w 372094"/>
                  <a:gd name="connsiteY7" fmla="*/ 282663 h 305851"/>
                  <a:gd name="connsiteX8" fmla="*/ 80202 w 372094"/>
                  <a:gd name="connsiteY8" fmla="*/ 273512 h 305851"/>
                  <a:gd name="connsiteX9" fmla="*/ 52454 w 372094"/>
                  <a:gd name="connsiteY9" fmla="*/ 255703 h 305851"/>
                  <a:gd name="connsiteX10" fmla="*/ 34546 w 372094"/>
                  <a:gd name="connsiteY10" fmla="*/ 249406 h 305851"/>
                  <a:gd name="connsiteX11" fmla="*/ 38482 w 372094"/>
                  <a:gd name="connsiteY11" fmla="*/ 225692 h 305851"/>
                  <a:gd name="connsiteX12" fmla="*/ 52159 w 372094"/>
                  <a:gd name="connsiteY12" fmla="*/ 221067 h 305851"/>
                  <a:gd name="connsiteX13" fmla="*/ 78824 w 372094"/>
                  <a:gd name="connsiteY13" fmla="*/ 238287 h 305851"/>
                  <a:gd name="connsiteX14" fmla="*/ 112672 w 372094"/>
                  <a:gd name="connsiteY14" fmla="*/ 217722 h 305851"/>
                  <a:gd name="connsiteX15" fmla="*/ 208608 w 372094"/>
                  <a:gd name="connsiteY15" fmla="*/ 264854 h 305851"/>
                  <a:gd name="connsiteX16" fmla="*/ 218841 w 372094"/>
                  <a:gd name="connsiteY16" fmla="*/ 240255 h 305851"/>
                  <a:gd name="connsiteX17" fmla="*/ 270499 w 372094"/>
                  <a:gd name="connsiteY17" fmla="*/ 190073 h 305851"/>
                  <a:gd name="connsiteX18" fmla="*/ 297165 w 372094"/>
                  <a:gd name="connsiteY18" fmla="*/ 194500 h 305851"/>
                  <a:gd name="connsiteX19" fmla="*/ 318320 w 372094"/>
                  <a:gd name="connsiteY19" fmla="*/ 184661 h 305851"/>
                  <a:gd name="connsiteX20" fmla="*/ 332194 w 372094"/>
                  <a:gd name="connsiteY20" fmla="*/ 185251 h 305851"/>
                  <a:gd name="connsiteX21" fmla="*/ 369978 w 372094"/>
                  <a:gd name="connsiteY21" fmla="*/ 165474 h 305851"/>
                  <a:gd name="connsiteX22" fmla="*/ 359547 w 372094"/>
                  <a:gd name="connsiteY22" fmla="*/ 159078 h 305851"/>
                  <a:gd name="connsiteX23" fmla="*/ 347642 w 372094"/>
                  <a:gd name="connsiteY23" fmla="*/ 161636 h 305851"/>
                  <a:gd name="connsiteX24" fmla="*/ 340164 w 372094"/>
                  <a:gd name="connsiteY24" fmla="*/ 157602 h 305851"/>
                  <a:gd name="connsiteX25" fmla="*/ 329340 w 372094"/>
                  <a:gd name="connsiteY25" fmla="*/ 130248 h 305851"/>
                  <a:gd name="connsiteX26" fmla="*/ 342230 w 372094"/>
                  <a:gd name="connsiteY26" fmla="*/ 99942 h 305851"/>
                  <a:gd name="connsiteX27" fmla="*/ 336917 w 372094"/>
                  <a:gd name="connsiteY27" fmla="*/ 88528 h 305851"/>
                  <a:gd name="connsiteX28" fmla="*/ 311924 w 372094"/>
                  <a:gd name="connsiteY28" fmla="*/ 114603 h 305851"/>
                  <a:gd name="connsiteX29" fmla="*/ 285849 w 372094"/>
                  <a:gd name="connsiteY29" fmla="*/ 116964 h 305851"/>
                  <a:gd name="connsiteX30" fmla="*/ 279060 w 372094"/>
                  <a:gd name="connsiteY30" fmla="*/ 111061 h 305851"/>
                  <a:gd name="connsiteX31" fmla="*/ 272369 w 372094"/>
                  <a:gd name="connsiteY31" fmla="*/ 101319 h 305851"/>
                  <a:gd name="connsiteX32" fmla="*/ 260561 w 372094"/>
                  <a:gd name="connsiteY32" fmla="*/ 101024 h 305851"/>
                  <a:gd name="connsiteX33" fmla="*/ 256429 w 372094"/>
                  <a:gd name="connsiteY33" fmla="*/ 103583 h 305851"/>
                  <a:gd name="connsiteX34" fmla="*/ 198769 w 372094"/>
                  <a:gd name="connsiteY34" fmla="*/ 71899 h 305851"/>
                  <a:gd name="connsiteX35" fmla="*/ 133040 w 372094"/>
                  <a:gd name="connsiteY35" fmla="*/ 1841 h 305851"/>
                  <a:gd name="connsiteX36" fmla="*/ 113263 w 372094"/>
                  <a:gd name="connsiteY36" fmla="*/ 13747 h 305851"/>
                  <a:gd name="connsiteX37" fmla="*/ 122512 w 372094"/>
                  <a:gd name="connsiteY37" fmla="*/ 57927 h 305851"/>
                  <a:gd name="connsiteX38" fmla="*/ 116411 w 372094"/>
                  <a:gd name="connsiteY38" fmla="*/ 82231 h 305851"/>
                  <a:gd name="connsiteX39" fmla="*/ 115427 w 372094"/>
                  <a:gd name="connsiteY39" fmla="*/ 110962 h 305851"/>
                  <a:gd name="connsiteX40" fmla="*/ 95256 w 372094"/>
                  <a:gd name="connsiteY40" fmla="*/ 137726 h 305851"/>
                  <a:gd name="connsiteX41" fmla="*/ 99192 w 372094"/>
                  <a:gd name="connsiteY41" fmla="*/ 162325 h 305851"/>
                  <a:gd name="connsiteX42" fmla="*/ 87680 w 372094"/>
                  <a:gd name="connsiteY42" fmla="*/ 176100 h 305851"/>
                  <a:gd name="connsiteX43" fmla="*/ 47534 w 372094"/>
                  <a:gd name="connsiteY43" fmla="*/ 163604 h 305851"/>
                  <a:gd name="connsiteX44" fmla="*/ 38383 w 372094"/>
                  <a:gd name="connsiteY44" fmla="*/ 165179 h 305851"/>
                  <a:gd name="connsiteX45" fmla="*/ 36612 w 372094"/>
                  <a:gd name="connsiteY45" fmla="*/ 166851 h 305851"/>
                  <a:gd name="connsiteX46" fmla="*/ 40646 w 372094"/>
                  <a:gd name="connsiteY46" fmla="*/ 193517 h 30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72094" h="305851">
                    <a:moveTo>
                      <a:pt x="40745" y="193517"/>
                    </a:moveTo>
                    <a:lnTo>
                      <a:pt x="8963" y="213294"/>
                    </a:lnTo>
                    <a:cubicBezTo>
                      <a:pt x="2469" y="217328"/>
                      <a:pt x="2370" y="226774"/>
                      <a:pt x="206" y="238483"/>
                    </a:cubicBezTo>
                    <a:cubicBezTo>
                      <a:pt x="-1073" y="245470"/>
                      <a:pt x="3453" y="248421"/>
                      <a:pt x="18212" y="264066"/>
                    </a:cubicBezTo>
                    <a:cubicBezTo>
                      <a:pt x="27461" y="273906"/>
                      <a:pt x="3748" y="298013"/>
                      <a:pt x="15850" y="303031"/>
                    </a:cubicBezTo>
                    <a:lnTo>
                      <a:pt x="21164" y="305196"/>
                    </a:lnTo>
                    <a:cubicBezTo>
                      <a:pt x="27855" y="307951"/>
                      <a:pt x="30610" y="302244"/>
                      <a:pt x="46255" y="283844"/>
                    </a:cubicBezTo>
                    <a:cubicBezTo>
                      <a:pt x="54618" y="274005"/>
                      <a:pt x="74692" y="293585"/>
                      <a:pt x="81185" y="282663"/>
                    </a:cubicBezTo>
                    <a:cubicBezTo>
                      <a:pt x="80989" y="283647"/>
                      <a:pt x="85122" y="277055"/>
                      <a:pt x="80202" y="273512"/>
                    </a:cubicBezTo>
                    <a:cubicBezTo>
                      <a:pt x="81185" y="274201"/>
                      <a:pt x="60621" y="258556"/>
                      <a:pt x="52454" y="255703"/>
                    </a:cubicBezTo>
                    <a:lnTo>
                      <a:pt x="34546" y="249406"/>
                    </a:lnTo>
                    <a:cubicBezTo>
                      <a:pt x="26182" y="246453"/>
                      <a:pt x="35530" y="235630"/>
                      <a:pt x="38482" y="225692"/>
                    </a:cubicBezTo>
                    <a:cubicBezTo>
                      <a:pt x="41434" y="218608"/>
                      <a:pt x="50191" y="221363"/>
                      <a:pt x="52159" y="221067"/>
                    </a:cubicBezTo>
                    <a:cubicBezTo>
                      <a:pt x="64655" y="221559"/>
                      <a:pt x="69181" y="244191"/>
                      <a:pt x="78824" y="238287"/>
                    </a:cubicBezTo>
                    <a:lnTo>
                      <a:pt x="112672" y="217722"/>
                    </a:lnTo>
                    <a:cubicBezTo>
                      <a:pt x="119363" y="213589"/>
                      <a:pt x="119068" y="215754"/>
                      <a:pt x="208608" y="264854"/>
                    </a:cubicBezTo>
                    <a:cubicBezTo>
                      <a:pt x="216677" y="269281"/>
                      <a:pt x="215201" y="252948"/>
                      <a:pt x="218841" y="240255"/>
                    </a:cubicBezTo>
                    <a:cubicBezTo>
                      <a:pt x="220318" y="232875"/>
                      <a:pt x="221301" y="233564"/>
                      <a:pt x="270499" y="190073"/>
                    </a:cubicBezTo>
                    <a:cubicBezTo>
                      <a:pt x="277092" y="184169"/>
                      <a:pt x="286932" y="191745"/>
                      <a:pt x="297165" y="194500"/>
                    </a:cubicBezTo>
                    <a:cubicBezTo>
                      <a:pt x="307890" y="198338"/>
                      <a:pt x="307595" y="180922"/>
                      <a:pt x="318320" y="184661"/>
                    </a:cubicBezTo>
                    <a:cubicBezTo>
                      <a:pt x="317336" y="184464"/>
                      <a:pt x="326093" y="188400"/>
                      <a:pt x="332194" y="185251"/>
                    </a:cubicBezTo>
                    <a:lnTo>
                      <a:pt x="369978" y="165474"/>
                    </a:lnTo>
                    <a:cubicBezTo>
                      <a:pt x="376373" y="162128"/>
                      <a:pt x="366927" y="157504"/>
                      <a:pt x="359547" y="159078"/>
                    </a:cubicBezTo>
                    <a:lnTo>
                      <a:pt x="347642" y="161636"/>
                    </a:lnTo>
                    <a:cubicBezTo>
                      <a:pt x="344690" y="162325"/>
                      <a:pt x="341246" y="160455"/>
                      <a:pt x="340164" y="157602"/>
                    </a:cubicBezTo>
                    <a:lnTo>
                      <a:pt x="329340" y="130248"/>
                    </a:lnTo>
                    <a:cubicBezTo>
                      <a:pt x="326782" y="123655"/>
                      <a:pt x="330324" y="119916"/>
                      <a:pt x="342230" y="99942"/>
                    </a:cubicBezTo>
                    <a:cubicBezTo>
                      <a:pt x="345969" y="93546"/>
                      <a:pt x="342033" y="83215"/>
                      <a:pt x="336917" y="88528"/>
                    </a:cubicBezTo>
                    <a:lnTo>
                      <a:pt x="311924" y="114603"/>
                    </a:lnTo>
                    <a:cubicBezTo>
                      <a:pt x="305824" y="120900"/>
                      <a:pt x="295787" y="116866"/>
                      <a:pt x="285849" y="116964"/>
                    </a:cubicBezTo>
                    <a:cubicBezTo>
                      <a:pt x="282799" y="116768"/>
                      <a:pt x="279748" y="114111"/>
                      <a:pt x="279060" y="111061"/>
                    </a:cubicBezTo>
                    <a:cubicBezTo>
                      <a:pt x="279552" y="112045"/>
                      <a:pt x="278076" y="103976"/>
                      <a:pt x="272369" y="101319"/>
                    </a:cubicBezTo>
                    <a:cubicBezTo>
                      <a:pt x="273353" y="101516"/>
                      <a:pt x="265973" y="97581"/>
                      <a:pt x="260561" y="101024"/>
                    </a:cubicBezTo>
                    <a:lnTo>
                      <a:pt x="256429" y="103583"/>
                    </a:lnTo>
                    <a:cubicBezTo>
                      <a:pt x="250033" y="107617"/>
                      <a:pt x="248656" y="104665"/>
                      <a:pt x="198769" y="71899"/>
                    </a:cubicBezTo>
                    <a:cubicBezTo>
                      <a:pt x="192078" y="67570"/>
                      <a:pt x="190208" y="64618"/>
                      <a:pt x="133040" y="1841"/>
                    </a:cubicBezTo>
                    <a:cubicBezTo>
                      <a:pt x="127136" y="-4653"/>
                      <a:pt x="120937" y="7647"/>
                      <a:pt x="113263" y="13747"/>
                    </a:cubicBezTo>
                    <a:cubicBezTo>
                      <a:pt x="107950" y="19061"/>
                      <a:pt x="111098" y="23390"/>
                      <a:pt x="122512" y="57927"/>
                    </a:cubicBezTo>
                    <a:cubicBezTo>
                      <a:pt x="124775" y="64815"/>
                      <a:pt x="121134" y="70718"/>
                      <a:pt x="116411" y="82231"/>
                    </a:cubicBezTo>
                    <a:cubicBezTo>
                      <a:pt x="113558" y="89217"/>
                      <a:pt x="114837" y="96990"/>
                      <a:pt x="115427" y="110962"/>
                    </a:cubicBezTo>
                    <a:cubicBezTo>
                      <a:pt x="116017" y="123655"/>
                      <a:pt x="93288" y="125525"/>
                      <a:pt x="95256" y="137726"/>
                    </a:cubicBezTo>
                    <a:lnTo>
                      <a:pt x="99192" y="162325"/>
                    </a:lnTo>
                    <a:cubicBezTo>
                      <a:pt x="100471" y="170295"/>
                      <a:pt x="90730" y="173345"/>
                      <a:pt x="87680" y="176100"/>
                    </a:cubicBezTo>
                    <a:cubicBezTo>
                      <a:pt x="81579" y="180135"/>
                      <a:pt x="78234" y="176986"/>
                      <a:pt x="47534" y="163604"/>
                    </a:cubicBezTo>
                    <a:cubicBezTo>
                      <a:pt x="44680" y="162424"/>
                      <a:pt x="40548" y="163112"/>
                      <a:pt x="38383" y="165179"/>
                    </a:cubicBezTo>
                    <a:lnTo>
                      <a:pt x="36612" y="166851"/>
                    </a:lnTo>
                    <a:cubicBezTo>
                      <a:pt x="27757" y="175116"/>
                      <a:pt x="50879" y="187121"/>
                      <a:pt x="40646" y="193517"/>
                    </a:cubicBezTo>
                    <a:close/>
                  </a:path>
                </a:pathLst>
              </a:custGeom>
              <a:grpFill/>
              <a:ln w="9835" cap="flat">
                <a:noFill/>
                <a:prstDash val="solid"/>
                <a:miter/>
              </a:ln>
            </p:spPr>
            <p:txBody>
              <a:bodyPr rtlCol="0" anchor="ctr"/>
              <a:lstStyle/>
              <a:p>
                <a:endParaRPr lang="en-IN"/>
              </a:p>
            </p:txBody>
          </p:sp>
          <p:sp>
            <p:nvSpPr>
              <p:cNvPr id="652" name="Freeform: Shape 651">
                <a:extLst>
                  <a:ext uri="{FF2B5EF4-FFF2-40B4-BE49-F238E27FC236}">
                    <a16:creationId xmlns:a16="http://schemas.microsoft.com/office/drawing/2014/main" id="{FF0E460F-1A94-097D-3CCC-C635F221B766}"/>
                  </a:ext>
                </a:extLst>
              </p:cNvPr>
              <p:cNvSpPr/>
              <p:nvPr/>
            </p:nvSpPr>
            <p:spPr>
              <a:xfrm>
                <a:off x="13796513" y="3177640"/>
                <a:ext cx="15246" cy="15411"/>
              </a:xfrm>
              <a:custGeom>
                <a:avLst/>
                <a:gdLst>
                  <a:gd name="connsiteX0" fmla="*/ 3431 w 15246"/>
                  <a:gd name="connsiteY0" fmla="*/ 14382 h 15411"/>
                  <a:gd name="connsiteX1" fmla="*/ 11893 w 15246"/>
                  <a:gd name="connsiteY1" fmla="*/ 13398 h 15411"/>
                  <a:gd name="connsiteX2" fmla="*/ 13566 w 15246"/>
                  <a:gd name="connsiteY2" fmla="*/ 11627 h 15411"/>
                  <a:gd name="connsiteX3" fmla="*/ 13959 w 15246"/>
                  <a:gd name="connsiteY3" fmla="*/ 3165 h 15411"/>
                  <a:gd name="connsiteX4" fmla="*/ 13073 w 15246"/>
                  <a:gd name="connsiteY4" fmla="*/ 1984 h 15411"/>
                  <a:gd name="connsiteX5" fmla="*/ 1364 w 15246"/>
                  <a:gd name="connsiteY5" fmla="*/ 6313 h 15411"/>
                  <a:gd name="connsiteX6" fmla="*/ 2152 w 15246"/>
                  <a:gd name="connsiteY6" fmla="*/ 13496 h 15411"/>
                  <a:gd name="connsiteX7" fmla="*/ 3529 w 15246"/>
                  <a:gd name="connsiteY7" fmla="*/ 14382 h 1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46" h="15411">
                    <a:moveTo>
                      <a:pt x="3431" y="14382"/>
                    </a:moveTo>
                    <a:cubicBezTo>
                      <a:pt x="5989" y="16055"/>
                      <a:pt x="9827" y="15661"/>
                      <a:pt x="11893" y="13398"/>
                    </a:cubicBezTo>
                    <a:lnTo>
                      <a:pt x="13566" y="11627"/>
                    </a:lnTo>
                    <a:cubicBezTo>
                      <a:pt x="15632" y="9364"/>
                      <a:pt x="15829" y="5526"/>
                      <a:pt x="13959" y="3165"/>
                    </a:cubicBezTo>
                    <a:lnTo>
                      <a:pt x="13073" y="1984"/>
                    </a:lnTo>
                    <a:cubicBezTo>
                      <a:pt x="8351" y="-4018"/>
                      <a:pt x="2742" y="5428"/>
                      <a:pt x="1364" y="6313"/>
                    </a:cubicBezTo>
                    <a:cubicBezTo>
                      <a:pt x="-702" y="8577"/>
                      <a:pt x="-407" y="11725"/>
                      <a:pt x="2152" y="13496"/>
                    </a:cubicBezTo>
                    <a:lnTo>
                      <a:pt x="3529" y="14382"/>
                    </a:lnTo>
                    <a:close/>
                  </a:path>
                </a:pathLst>
              </a:custGeom>
              <a:grpFill/>
              <a:ln w="9835" cap="flat">
                <a:noFill/>
                <a:prstDash val="solid"/>
                <a:miter/>
              </a:ln>
            </p:spPr>
            <p:txBody>
              <a:bodyPr rtlCol="0" anchor="ctr"/>
              <a:lstStyle/>
              <a:p>
                <a:endParaRPr lang="en-IN"/>
              </a:p>
            </p:txBody>
          </p:sp>
          <p:sp>
            <p:nvSpPr>
              <p:cNvPr id="653" name="Freeform: Shape 652">
                <a:extLst>
                  <a:ext uri="{FF2B5EF4-FFF2-40B4-BE49-F238E27FC236}">
                    <a16:creationId xmlns:a16="http://schemas.microsoft.com/office/drawing/2014/main" id="{F7366B20-8DFE-D754-3FCE-7AF7CE992C7C}"/>
                  </a:ext>
                </a:extLst>
              </p:cNvPr>
              <p:cNvSpPr/>
              <p:nvPr/>
            </p:nvSpPr>
            <p:spPr>
              <a:xfrm>
                <a:off x="13688743" y="3410632"/>
                <a:ext cx="13185" cy="15853"/>
              </a:xfrm>
              <a:custGeom>
                <a:avLst/>
                <a:gdLst>
                  <a:gd name="connsiteX0" fmla="*/ 4442 w 13185"/>
                  <a:gd name="connsiteY0" fmla="*/ 15474 h 15853"/>
                  <a:gd name="connsiteX1" fmla="*/ 12903 w 13185"/>
                  <a:gd name="connsiteY1" fmla="*/ 6126 h 15853"/>
                  <a:gd name="connsiteX2" fmla="*/ 9164 w 13185"/>
                  <a:gd name="connsiteY2" fmla="*/ 321 h 15853"/>
                  <a:gd name="connsiteX3" fmla="*/ 6016 w 13185"/>
                  <a:gd name="connsiteY3" fmla="*/ 26 h 15853"/>
                  <a:gd name="connsiteX4" fmla="*/ 211 w 13185"/>
                  <a:gd name="connsiteY4" fmla="*/ 5044 h 15853"/>
                  <a:gd name="connsiteX5" fmla="*/ 14 w 13185"/>
                  <a:gd name="connsiteY5" fmla="*/ 8094 h 15853"/>
                  <a:gd name="connsiteX6" fmla="*/ 4343 w 13185"/>
                  <a:gd name="connsiteY6" fmla="*/ 15474 h 1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85" h="15853">
                    <a:moveTo>
                      <a:pt x="4442" y="15474"/>
                    </a:moveTo>
                    <a:cubicBezTo>
                      <a:pt x="10738" y="17934"/>
                      <a:pt x="12018" y="7701"/>
                      <a:pt x="12903" y="6126"/>
                    </a:cubicBezTo>
                    <a:cubicBezTo>
                      <a:pt x="13887" y="3273"/>
                      <a:pt x="12215" y="616"/>
                      <a:pt x="9164" y="321"/>
                    </a:cubicBezTo>
                    <a:lnTo>
                      <a:pt x="6016" y="26"/>
                    </a:lnTo>
                    <a:cubicBezTo>
                      <a:pt x="2965" y="-269"/>
                      <a:pt x="308" y="1994"/>
                      <a:pt x="211" y="5044"/>
                    </a:cubicBezTo>
                    <a:lnTo>
                      <a:pt x="14" y="8094"/>
                    </a:lnTo>
                    <a:cubicBezTo>
                      <a:pt x="-183" y="11145"/>
                      <a:pt x="1785" y="14490"/>
                      <a:pt x="4343" y="15474"/>
                    </a:cubicBezTo>
                    <a:close/>
                  </a:path>
                </a:pathLst>
              </a:custGeom>
              <a:grpFill/>
              <a:ln w="9835" cap="flat">
                <a:noFill/>
                <a:prstDash val="solid"/>
                <a:miter/>
              </a:ln>
            </p:spPr>
            <p:txBody>
              <a:bodyPr rtlCol="0" anchor="ctr"/>
              <a:lstStyle/>
              <a:p>
                <a:endParaRPr lang="en-IN"/>
              </a:p>
            </p:txBody>
          </p:sp>
          <p:sp>
            <p:nvSpPr>
              <p:cNvPr id="654" name="Freeform: Shape 653">
                <a:extLst>
                  <a:ext uri="{FF2B5EF4-FFF2-40B4-BE49-F238E27FC236}">
                    <a16:creationId xmlns:a16="http://schemas.microsoft.com/office/drawing/2014/main" id="{0998228B-DC68-CF6E-194C-7FDF6F6D518C}"/>
                  </a:ext>
                </a:extLst>
              </p:cNvPr>
              <p:cNvSpPr/>
              <p:nvPr/>
            </p:nvSpPr>
            <p:spPr>
              <a:xfrm>
                <a:off x="13163328" y="3464026"/>
                <a:ext cx="688829" cy="568551"/>
              </a:xfrm>
              <a:custGeom>
                <a:avLst/>
                <a:gdLst>
                  <a:gd name="connsiteX0" fmla="*/ 66608 w 688829"/>
                  <a:gd name="connsiteY0" fmla="*/ 480234 h 568551"/>
                  <a:gd name="connsiteX1" fmla="*/ 47421 w 688829"/>
                  <a:gd name="connsiteY1" fmla="*/ 486236 h 568551"/>
                  <a:gd name="connsiteX2" fmla="*/ 26954 w 688829"/>
                  <a:gd name="connsiteY2" fmla="*/ 502766 h 568551"/>
                  <a:gd name="connsiteX3" fmla="*/ 5701 w 688829"/>
                  <a:gd name="connsiteY3" fmla="*/ 505521 h 568551"/>
                  <a:gd name="connsiteX4" fmla="*/ 92 w 688829"/>
                  <a:gd name="connsiteY4" fmla="*/ 529038 h 568551"/>
                  <a:gd name="connsiteX5" fmla="*/ 5602 w 688829"/>
                  <a:gd name="connsiteY5" fmla="*/ 534056 h 568551"/>
                  <a:gd name="connsiteX6" fmla="*/ 44469 w 688829"/>
                  <a:gd name="connsiteY6" fmla="*/ 530219 h 568551"/>
                  <a:gd name="connsiteX7" fmla="*/ 72610 w 688829"/>
                  <a:gd name="connsiteY7" fmla="*/ 538680 h 568551"/>
                  <a:gd name="connsiteX8" fmla="*/ 75956 w 688829"/>
                  <a:gd name="connsiteY8" fmla="*/ 536221 h 568551"/>
                  <a:gd name="connsiteX9" fmla="*/ 82351 w 688829"/>
                  <a:gd name="connsiteY9" fmla="*/ 513885 h 568551"/>
                  <a:gd name="connsiteX10" fmla="*/ 93765 w 688829"/>
                  <a:gd name="connsiteY10" fmla="*/ 506702 h 568551"/>
                  <a:gd name="connsiteX11" fmla="*/ 98980 w 688829"/>
                  <a:gd name="connsiteY11" fmla="*/ 511425 h 568551"/>
                  <a:gd name="connsiteX12" fmla="*/ 98784 w 688829"/>
                  <a:gd name="connsiteY12" fmla="*/ 514180 h 568551"/>
                  <a:gd name="connsiteX13" fmla="*/ 103801 w 688829"/>
                  <a:gd name="connsiteY13" fmla="*/ 518214 h 568551"/>
                  <a:gd name="connsiteX14" fmla="*/ 170121 w 688829"/>
                  <a:gd name="connsiteY14" fmla="*/ 499125 h 568551"/>
                  <a:gd name="connsiteX15" fmla="*/ 179960 w 688829"/>
                  <a:gd name="connsiteY15" fmla="*/ 499125 h 568551"/>
                  <a:gd name="connsiteX16" fmla="*/ 210266 w 688829"/>
                  <a:gd name="connsiteY16" fmla="*/ 482693 h 568551"/>
                  <a:gd name="connsiteX17" fmla="*/ 231421 w 688829"/>
                  <a:gd name="connsiteY17" fmla="*/ 478856 h 568551"/>
                  <a:gd name="connsiteX18" fmla="*/ 254249 w 688829"/>
                  <a:gd name="connsiteY18" fmla="*/ 488204 h 568551"/>
                  <a:gd name="connsiteX19" fmla="*/ 267828 w 688829"/>
                  <a:gd name="connsiteY19" fmla="*/ 484464 h 568551"/>
                  <a:gd name="connsiteX20" fmla="*/ 279537 w 688829"/>
                  <a:gd name="connsiteY20" fmla="*/ 487318 h 568551"/>
                  <a:gd name="connsiteX21" fmla="*/ 265564 w 688829"/>
                  <a:gd name="connsiteY21" fmla="*/ 509162 h 568551"/>
                  <a:gd name="connsiteX22" fmla="*/ 260940 w 688829"/>
                  <a:gd name="connsiteY22" fmla="*/ 533761 h 568551"/>
                  <a:gd name="connsiteX23" fmla="*/ 273830 w 688829"/>
                  <a:gd name="connsiteY23" fmla="*/ 548619 h 568551"/>
                  <a:gd name="connsiteX24" fmla="*/ 280029 w 688829"/>
                  <a:gd name="connsiteY24" fmla="*/ 558163 h 568551"/>
                  <a:gd name="connsiteX25" fmla="*/ 299413 w 688829"/>
                  <a:gd name="connsiteY25" fmla="*/ 568298 h 568551"/>
                  <a:gd name="connsiteX26" fmla="*/ 315451 w 688829"/>
                  <a:gd name="connsiteY26" fmla="*/ 545863 h 568551"/>
                  <a:gd name="connsiteX27" fmla="*/ 327751 w 688829"/>
                  <a:gd name="connsiteY27" fmla="*/ 534548 h 568551"/>
                  <a:gd name="connsiteX28" fmla="*/ 328145 w 688829"/>
                  <a:gd name="connsiteY28" fmla="*/ 529136 h 568551"/>
                  <a:gd name="connsiteX29" fmla="*/ 328833 w 688829"/>
                  <a:gd name="connsiteY29" fmla="*/ 524118 h 568551"/>
                  <a:gd name="connsiteX30" fmla="*/ 349693 w 688829"/>
                  <a:gd name="connsiteY30" fmla="*/ 513294 h 568551"/>
                  <a:gd name="connsiteX31" fmla="*/ 362485 w 688829"/>
                  <a:gd name="connsiteY31" fmla="*/ 514475 h 568551"/>
                  <a:gd name="connsiteX32" fmla="*/ 369963 w 688829"/>
                  <a:gd name="connsiteY32" fmla="*/ 506308 h 568551"/>
                  <a:gd name="connsiteX33" fmla="*/ 351070 w 688829"/>
                  <a:gd name="connsiteY33" fmla="*/ 491549 h 568551"/>
                  <a:gd name="connsiteX34" fmla="*/ 353924 w 688829"/>
                  <a:gd name="connsiteY34" fmla="*/ 467343 h 568551"/>
                  <a:gd name="connsiteX35" fmla="*/ 363862 w 688829"/>
                  <a:gd name="connsiteY35" fmla="*/ 460653 h 568551"/>
                  <a:gd name="connsiteX36" fmla="*/ 370258 w 688829"/>
                  <a:gd name="connsiteY36" fmla="*/ 476199 h 568551"/>
                  <a:gd name="connsiteX37" fmla="*/ 394758 w 688829"/>
                  <a:gd name="connsiteY37" fmla="*/ 474625 h 568551"/>
                  <a:gd name="connsiteX38" fmla="*/ 392003 w 688829"/>
                  <a:gd name="connsiteY38" fmla="*/ 482890 h 568551"/>
                  <a:gd name="connsiteX39" fmla="*/ 384919 w 688829"/>
                  <a:gd name="connsiteY39" fmla="*/ 486137 h 568551"/>
                  <a:gd name="connsiteX40" fmla="*/ 382065 w 688829"/>
                  <a:gd name="connsiteY40" fmla="*/ 492139 h 568551"/>
                  <a:gd name="connsiteX41" fmla="*/ 403614 w 688829"/>
                  <a:gd name="connsiteY41" fmla="*/ 488105 h 568551"/>
                  <a:gd name="connsiteX42" fmla="*/ 413552 w 688829"/>
                  <a:gd name="connsiteY42" fmla="*/ 480922 h 568551"/>
                  <a:gd name="connsiteX43" fmla="*/ 420145 w 688829"/>
                  <a:gd name="connsiteY43" fmla="*/ 481414 h 568551"/>
                  <a:gd name="connsiteX44" fmla="*/ 445039 w 688829"/>
                  <a:gd name="connsiteY44" fmla="*/ 488991 h 568551"/>
                  <a:gd name="connsiteX45" fmla="*/ 473869 w 688829"/>
                  <a:gd name="connsiteY45" fmla="*/ 455635 h 568551"/>
                  <a:gd name="connsiteX46" fmla="*/ 491679 w 688829"/>
                  <a:gd name="connsiteY46" fmla="*/ 458390 h 568551"/>
                  <a:gd name="connsiteX47" fmla="*/ 492367 w 688829"/>
                  <a:gd name="connsiteY47" fmla="*/ 463309 h 568551"/>
                  <a:gd name="connsiteX48" fmla="*/ 493548 w 688829"/>
                  <a:gd name="connsiteY48" fmla="*/ 487416 h 568551"/>
                  <a:gd name="connsiteX49" fmla="*/ 505355 w 688829"/>
                  <a:gd name="connsiteY49" fmla="*/ 473739 h 568551"/>
                  <a:gd name="connsiteX50" fmla="*/ 509488 w 688829"/>
                  <a:gd name="connsiteY50" fmla="*/ 452978 h 568551"/>
                  <a:gd name="connsiteX51" fmla="*/ 525920 w 688829"/>
                  <a:gd name="connsiteY51" fmla="*/ 441859 h 568551"/>
                  <a:gd name="connsiteX52" fmla="*/ 534678 w 688829"/>
                  <a:gd name="connsiteY52" fmla="*/ 449042 h 568551"/>
                  <a:gd name="connsiteX53" fmla="*/ 540680 w 688829"/>
                  <a:gd name="connsiteY53" fmla="*/ 450321 h 568551"/>
                  <a:gd name="connsiteX54" fmla="*/ 541368 w 688829"/>
                  <a:gd name="connsiteY54" fmla="*/ 449632 h 568551"/>
                  <a:gd name="connsiteX55" fmla="*/ 542549 w 688829"/>
                  <a:gd name="connsiteY55" fmla="*/ 436251 h 568551"/>
                  <a:gd name="connsiteX56" fmla="*/ 555734 w 688829"/>
                  <a:gd name="connsiteY56" fmla="*/ 419031 h 568551"/>
                  <a:gd name="connsiteX57" fmla="*/ 568230 w 688829"/>
                  <a:gd name="connsiteY57" fmla="*/ 422868 h 568551"/>
                  <a:gd name="connsiteX58" fmla="*/ 559178 w 688829"/>
                  <a:gd name="connsiteY58" fmla="*/ 439301 h 568551"/>
                  <a:gd name="connsiteX59" fmla="*/ 554652 w 688829"/>
                  <a:gd name="connsiteY59" fmla="*/ 466458 h 568551"/>
                  <a:gd name="connsiteX60" fmla="*/ 564787 w 688829"/>
                  <a:gd name="connsiteY60" fmla="*/ 461833 h 568551"/>
                  <a:gd name="connsiteX61" fmla="*/ 584269 w 688829"/>
                  <a:gd name="connsiteY61" fmla="*/ 453765 h 568551"/>
                  <a:gd name="connsiteX62" fmla="*/ 588304 w 688829"/>
                  <a:gd name="connsiteY62" fmla="*/ 437628 h 568551"/>
                  <a:gd name="connsiteX63" fmla="*/ 596371 w 688829"/>
                  <a:gd name="connsiteY63" fmla="*/ 422672 h 568551"/>
                  <a:gd name="connsiteX64" fmla="*/ 611918 w 688829"/>
                  <a:gd name="connsiteY64" fmla="*/ 415981 h 568551"/>
                  <a:gd name="connsiteX65" fmla="*/ 614674 w 688829"/>
                  <a:gd name="connsiteY65" fmla="*/ 409979 h 568551"/>
                  <a:gd name="connsiteX66" fmla="*/ 600996 w 688829"/>
                  <a:gd name="connsiteY66" fmla="*/ 385281 h 568551"/>
                  <a:gd name="connsiteX67" fmla="*/ 609754 w 688829"/>
                  <a:gd name="connsiteY67" fmla="*/ 339626 h 568551"/>
                  <a:gd name="connsiteX68" fmla="*/ 619298 w 688829"/>
                  <a:gd name="connsiteY68" fmla="*/ 329688 h 568551"/>
                  <a:gd name="connsiteX69" fmla="*/ 627465 w 688829"/>
                  <a:gd name="connsiteY69" fmla="*/ 280785 h 568551"/>
                  <a:gd name="connsiteX70" fmla="*/ 621266 w 688829"/>
                  <a:gd name="connsiteY70" fmla="*/ 250479 h 568551"/>
                  <a:gd name="connsiteX71" fmla="*/ 637009 w 688829"/>
                  <a:gd name="connsiteY71" fmla="*/ 225880 h 568551"/>
                  <a:gd name="connsiteX72" fmla="*/ 656295 w 688829"/>
                  <a:gd name="connsiteY72" fmla="*/ 231685 h 568551"/>
                  <a:gd name="connsiteX73" fmla="*/ 657869 w 688829"/>
                  <a:gd name="connsiteY73" fmla="*/ 203347 h 568551"/>
                  <a:gd name="connsiteX74" fmla="*/ 678926 w 688829"/>
                  <a:gd name="connsiteY74" fmla="*/ 172549 h 568551"/>
                  <a:gd name="connsiteX75" fmla="*/ 681878 w 688829"/>
                  <a:gd name="connsiteY75" fmla="*/ 160938 h 568551"/>
                  <a:gd name="connsiteX76" fmla="*/ 688765 w 688829"/>
                  <a:gd name="connsiteY76" fmla="*/ 142440 h 568551"/>
                  <a:gd name="connsiteX77" fmla="*/ 686305 w 688829"/>
                  <a:gd name="connsiteY77" fmla="*/ 120301 h 568551"/>
                  <a:gd name="connsiteX78" fmla="*/ 678631 w 688829"/>
                  <a:gd name="connsiteY78" fmla="*/ 109871 h 568551"/>
                  <a:gd name="connsiteX79" fmla="*/ 675581 w 688829"/>
                  <a:gd name="connsiteY79" fmla="*/ 96883 h 568551"/>
                  <a:gd name="connsiteX80" fmla="*/ 654819 w 688829"/>
                  <a:gd name="connsiteY80" fmla="*/ 65691 h 568551"/>
                  <a:gd name="connsiteX81" fmla="*/ 651178 w 688829"/>
                  <a:gd name="connsiteY81" fmla="*/ 16985 h 568551"/>
                  <a:gd name="connsiteX82" fmla="*/ 625989 w 688829"/>
                  <a:gd name="connsiteY82" fmla="*/ 553 h 568551"/>
                  <a:gd name="connsiteX83" fmla="*/ 614477 w 688829"/>
                  <a:gd name="connsiteY83" fmla="*/ 17674 h 568551"/>
                  <a:gd name="connsiteX84" fmla="*/ 633368 w 688829"/>
                  <a:gd name="connsiteY84" fmla="*/ 21708 h 568551"/>
                  <a:gd name="connsiteX85" fmla="*/ 637698 w 688829"/>
                  <a:gd name="connsiteY85" fmla="*/ 37944 h 568551"/>
                  <a:gd name="connsiteX86" fmla="*/ 626383 w 688829"/>
                  <a:gd name="connsiteY86" fmla="*/ 41289 h 568551"/>
                  <a:gd name="connsiteX87" fmla="*/ 612804 w 688829"/>
                  <a:gd name="connsiteY87" fmla="*/ 47193 h 568551"/>
                  <a:gd name="connsiteX88" fmla="*/ 601291 w 688829"/>
                  <a:gd name="connsiteY88" fmla="*/ 28301 h 568551"/>
                  <a:gd name="connsiteX89" fmla="*/ 589583 w 688829"/>
                  <a:gd name="connsiteY89" fmla="*/ 23479 h 568551"/>
                  <a:gd name="connsiteX90" fmla="*/ 576889 w 688829"/>
                  <a:gd name="connsiteY90" fmla="*/ 52014 h 568551"/>
                  <a:gd name="connsiteX91" fmla="*/ 564885 w 688829"/>
                  <a:gd name="connsiteY91" fmla="*/ 54572 h 568551"/>
                  <a:gd name="connsiteX92" fmla="*/ 560457 w 688829"/>
                  <a:gd name="connsiteY92" fmla="*/ 61263 h 568551"/>
                  <a:gd name="connsiteX93" fmla="*/ 564984 w 688829"/>
                  <a:gd name="connsiteY93" fmla="*/ 86354 h 568551"/>
                  <a:gd name="connsiteX94" fmla="*/ 547961 w 688829"/>
                  <a:gd name="connsiteY94" fmla="*/ 116857 h 568551"/>
                  <a:gd name="connsiteX95" fmla="*/ 568034 w 688829"/>
                  <a:gd name="connsiteY95" fmla="*/ 121186 h 568551"/>
                  <a:gd name="connsiteX96" fmla="*/ 569707 w 688829"/>
                  <a:gd name="connsiteY96" fmla="*/ 146179 h 568551"/>
                  <a:gd name="connsiteX97" fmla="*/ 553865 w 688829"/>
                  <a:gd name="connsiteY97" fmla="*/ 189670 h 568551"/>
                  <a:gd name="connsiteX98" fmla="*/ 537334 w 688829"/>
                  <a:gd name="connsiteY98" fmla="*/ 208168 h 568551"/>
                  <a:gd name="connsiteX99" fmla="*/ 525920 w 688829"/>
                  <a:gd name="connsiteY99" fmla="*/ 243394 h 568551"/>
                  <a:gd name="connsiteX100" fmla="*/ 491973 w 688829"/>
                  <a:gd name="connsiteY100" fmla="*/ 269469 h 568551"/>
                  <a:gd name="connsiteX101" fmla="*/ 469933 w 688829"/>
                  <a:gd name="connsiteY101" fmla="*/ 302038 h 568551"/>
                  <a:gd name="connsiteX102" fmla="*/ 411781 w 688829"/>
                  <a:gd name="connsiteY102" fmla="*/ 326834 h 568551"/>
                  <a:gd name="connsiteX103" fmla="*/ 403614 w 688829"/>
                  <a:gd name="connsiteY103" fmla="*/ 338937 h 568551"/>
                  <a:gd name="connsiteX104" fmla="*/ 385509 w 688829"/>
                  <a:gd name="connsiteY104" fmla="*/ 343070 h 568551"/>
                  <a:gd name="connsiteX105" fmla="*/ 379900 w 688829"/>
                  <a:gd name="connsiteY105" fmla="*/ 315420 h 568551"/>
                  <a:gd name="connsiteX106" fmla="*/ 388067 w 688829"/>
                  <a:gd name="connsiteY106" fmla="*/ 305777 h 568551"/>
                  <a:gd name="connsiteX107" fmla="*/ 397022 w 688829"/>
                  <a:gd name="connsiteY107" fmla="*/ 291313 h 568551"/>
                  <a:gd name="connsiteX108" fmla="*/ 393578 w 688829"/>
                  <a:gd name="connsiteY108" fmla="*/ 287968 h 568551"/>
                  <a:gd name="connsiteX109" fmla="*/ 364649 w 688829"/>
                  <a:gd name="connsiteY109" fmla="*/ 298791 h 568551"/>
                  <a:gd name="connsiteX110" fmla="*/ 360812 w 688829"/>
                  <a:gd name="connsiteY110" fmla="*/ 336182 h 568551"/>
                  <a:gd name="connsiteX111" fmla="*/ 318797 w 688829"/>
                  <a:gd name="connsiteY111" fmla="*/ 389217 h 568551"/>
                  <a:gd name="connsiteX112" fmla="*/ 320076 w 688829"/>
                  <a:gd name="connsiteY112" fmla="*/ 410963 h 568551"/>
                  <a:gd name="connsiteX113" fmla="*/ 294395 w 688829"/>
                  <a:gd name="connsiteY113" fmla="*/ 432314 h 568551"/>
                  <a:gd name="connsiteX114" fmla="*/ 268615 w 688829"/>
                  <a:gd name="connsiteY114" fmla="*/ 427296 h 568551"/>
                  <a:gd name="connsiteX115" fmla="*/ 267631 w 688829"/>
                  <a:gd name="connsiteY115" fmla="*/ 421786 h 568551"/>
                  <a:gd name="connsiteX116" fmla="*/ 268910 w 688829"/>
                  <a:gd name="connsiteY116" fmla="*/ 420704 h 568551"/>
                  <a:gd name="connsiteX117" fmla="*/ 269107 w 688829"/>
                  <a:gd name="connsiteY117" fmla="*/ 413423 h 568551"/>
                  <a:gd name="connsiteX118" fmla="*/ 268320 w 688829"/>
                  <a:gd name="connsiteY118" fmla="*/ 412734 h 568551"/>
                  <a:gd name="connsiteX119" fmla="*/ 251199 w 688829"/>
                  <a:gd name="connsiteY119" fmla="*/ 417752 h 568551"/>
                  <a:gd name="connsiteX120" fmla="*/ 137059 w 688829"/>
                  <a:gd name="connsiteY120" fmla="*/ 437333 h 568551"/>
                  <a:gd name="connsiteX121" fmla="*/ 141487 w 688829"/>
                  <a:gd name="connsiteY121" fmla="*/ 431626 h 568551"/>
                  <a:gd name="connsiteX122" fmla="*/ 141487 w 688829"/>
                  <a:gd name="connsiteY122" fmla="*/ 424148 h 568551"/>
                  <a:gd name="connsiteX123" fmla="*/ 116298 w 688829"/>
                  <a:gd name="connsiteY123" fmla="*/ 429855 h 568551"/>
                  <a:gd name="connsiteX124" fmla="*/ 109804 w 688829"/>
                  <a:gd name="connsiteY124" fmla="*/ 436546 h 568551"/>
                  <a:gd name="connsiteX125" fmla="*/ 104097 w 688829"/>
                  <a:gd name="connsiteY125" fmla="*/ 447861 h 568551"/>
                  <a:gd name="connsiteX126" fmla="*/ 66608 w 688829"/>
                  <a:gd name="connsiteY126" fmla="*/ 479938 h 56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688829" h="568551">
                    <a:moveTo>
                      <a:pt x="66608" y="480234"/>
                    </a:moveTo>
                    <a:cubicBezTo>
                      <a:pt x="61295" y="484760"/>
                      <a:pt x="54505" y="485153"/>
                      <a:pt x="47421" y="486236"/>
                    </a:cubicBezTo>
                    <a:cubicBezTo>
                      <a:pt x="40434" y="487318"/>
                      <a:pt x="37286" y="491942"/>
                      <a:pt x="26954" y="502766"/>
                    </a:cubicBezTo>
                    <a:cubicBezTo>
                      <a:pt x="21149" y="508866"/>
                      <a:pt x="11900" y="505324"/>
                      <a:pt x="5701" y="505521"/>
                    </a:cubicBezTo>
                    <a:cubicBezTo>
                      <a:pt x="-3155" y="504931"/>
                      <a:pt x="1273" y="518608"/>
                      <a:pt x="92" y="529038"/>
                    </a:cubicBezTo>
                    <a:cubicBezTo>
                      <a:pt x="92" y="532088"/>
                      <a:pt x="2552" y="534351"/>
                      <a:pt x="5602" y="534056"/>
                    </a:cubicBezTo>
                    <a:lnTo>
                      <a:pt x="44469" y="530219"/>
                    </a:lnTo>
                    <a:cubicBezTo>
                      <a:pt x="57162" y="528939"/>
                      <a:pt x="63558" y="545273"/>
                      <a:pt x="72610" y="538680"/>
                    </a:cubicBezTo>
                    <a:lnTo>
                      <a:pt x="75956" y="536221"/>
                    </a:lnTo>
                    <a:cubicBezTo>
                      <a:pt x="82941" y="531104"/>
                      <a:pt x="80974" y="520969"/>
                      <a:pt x="82351" y="513885"/>
                    </a:cubicBezTo>
                    <a:cubicBezTo>
                      <a:pt x="83138" y="506407"/>
                      <a:pt x="92191" y="507292"/>
                      <a:pt x="93765" y="506702"/>
                    </a:cubicBezTo>
                    <a:cubicBezTo>
                      <a:pt x="96816" y="506210"/>
                      <a:pt x="99177" y="508375"/>
                      <a:pt x="98980" y="511425"/>
                    </a:cubicBezTo>
                    <a:lnTo>
                      <a:pt x="98784" y="514180"/>
                    </a:lnTo>
                    <a:cubicBezTo>
                      <a:pt x="98587" y="517230"/>
                      <a:pt x="100850" y="519100"/>
                      <a:pt x="103801" y="518214"/>
                    </a:cubicBezTo>
                    <a:lnTo>
                      <a:pt x="170121" y="499125"/>
                    </a:lnTo>
                    <a:cubicBezTo>
                      <a:pt x="173072" y="498240"/>
                      <a:pt x="177500" y="498338"/>
                      <a:pt x="179960" y="499125"/>
                    </a:cubicBezTo>
                    <a:cubicBezTo>
                      <a:pt x="185765" y="501192"/>
                      <a:pt x="189013" y="497551"/>
                      <a:pt x="210266" y="482693"/>
                    </a:cubicBezTo>
                    <a:cubicBezTo>
                      <a:pt x="216170" y="478561"/>
                      <a:pt x="223550" y="479151"/>
                      <a:pt x="231421" y="478856"/>
                    </a:cubicBezTo>
                    <a:cubicBezTo>
                      <a:pt x="238801" y="478561"/>
                      <a:pt x="244901" y="483087"/>
                      <a:pt x="254249" y="488204"/>
                    </a:cubicBezTo>
                    <a:cubicBezTo>
                      <a:pt x="260743" y="491844"/>
                      <a:pt x="266647" y="484956"/>
                      <a:pt x="267828" y="484464"/>
                    </a:cubicBezTo>
                    <a:cubicBezTo>
                      <a:pt x="273534" y="480135"/>
                      <a:pt x="278553" y="486826"/>
                      <a:pt x="279537" y="487318"/>
                    </a:cubicBezTo>
                    <a:cubicBezTo>
                      <a:pt x="286424" y="493222"/>
                      <a:pt x="273338" y="499716"/>
                      <a:pt x="265564" y="509162"/>
                    </a:cubicBezTo>
                    <a:cubicBezTo>
                      <a:pt x="260350" y="514377"/>
                      <a:pt x="261333" y="521757"/>
                      <a:pt x="260940" y="533761"/>
                    </a:cubicBezTo>
                    <a:cubicBezTo>
                      <a:pt x="260644" y="542026"/>
                      <a:pt x="273830" y="548619"/>
                      <a:pt x="273830" y="548619"/>
                    </a:cubicBezTo>
                    <a:cubicBezTo>
                      <a:pt x="278750" y="552062"/>
                      <a:pt x="279537" y="557179"/>
                      <a:pt x="280029" y="558163"/>
                    </a:cubicBezTo>
                    <a:cubicBezTo>
                      <a:pt x="282193" y="566428"/>
                      <a:pt x="293312" y="565936"/>
                      <a:pt x="299413" y="568298"/>
                    </a:cubicBezTo>
                    <a:cubicBezTo>
                      <a:pt x="308071" y="570561"/>
                      <a:pt x="309056" y="557277"/>
                      <a:pt x="315451" y="545863"/>
                    </a:cubicBezTo>
                    <a:cubicBezTo>
                      <a:pt x="318501" y="538976"/>
                      <a:pt x="326078" y="535827"/>
                      <a:pt x="327751" y="534548"/>
                    </a:cubicBezTo>
                    <a:cubicBezTo>
                      <a:pt x="330309" y="532974"/>
                      <a:pt x="330506" y="530514"/>
                      <a:pt x="328145" y="529136"/>
                    </a:cubicBezTo>
                    <a:cubicBezTo>
                      <a:pt x="325783" y="527759"/>
                      <a:pt x="326078" y="525495"/>
                      <a:pt x="328833" y="524118"/>
                    </a:cubicBezTo>
                    <a:lnTo>
                      <a:pt x="349693" y="513294"/>
                    </a:lnTo>
                    <a:cubicBezTo>
                      <a:pt x="355990" y="510047"/>
                      <a:pt x="361500" y="514180"/>
                      <a:pt x="362485" y="514475"/>
                    </a:cubicBezTo>
                    <a:cubicBezTo>
                      <a:pt x="369176" y="517624"/>
                      <a:pt x="369470" y="507391"/>
                      <a:pt x="369963" y="506308"/>
                    </a:cubicBezTo>
                    <a:cubicBezTo>
                      <a:pt x="371930" y="497748"/>
                      <a:pt x="359434" y="496567"/>
                      <a:pt x="351070" y="491549"/>
                    </a:cubicBezTo>
                    <a:cubicBezTo>
                      <a:pt x="343002" y="487810"/>
                      <a:pt x="351464" y="477281"/>
                      <a:pt x="353924" y="467343"/>
                    </a:cubicBezTo>
                    <a:cubicBezTo>
                      <a:pt x="356286" y="460849"/>
                      <a:pt x="362878" y="461046"/>
                      <a:pt x="363862" y="460653"/>
                    </a:cubicBezTo>
                    <a:cubicBezTo>
                      <a:pt x="372029" y="459177"/>
                      <a:pt x="369274" y="471575"/>
                      <a:pt x="370258" y="476199"/>
                    </a:cubicBezTo>
                    <a:cubicBezTo>
                      <a:pt x="370947" y="488695"/>
                      <a:pt x="390331" y="463309"/>
                      <a:pt x="394758" y="474625"/>
                    </a:cubicBezTo>
                    <a:cubicBezTo>
                      <a:pt x="394758" y="473641"/>
                      <a:pt x="397218" y="480430"/>
                      <a:pt x="392003" y="482890"/>
                    </a:cubicBezTo>
                    <a:lnTo>
                      <a:pt x="384919" y="486137"/>
                    </a:lnTo>
                    <a:cubicBezTo>
                      <a:pt x="382164" y="487416"/>
                      <a:pt x="380786" y="490171"/>
                      <a:pt x="382065" y="492139"/>
                    </a:cubicBezTo>
                    <a:cubicBezTo>
                      <a:pt x="385411" y="497846"/>
                      <a:pt x="395841" y="490368"/>
                      <a:pt x="403614" y="488105"/>
                    </a:cubicBezTo>
                    <a:cubicBezTo>
                      <a:pt x="409419" y="485744"/>
                      <a:pt x="412568" y="481709"/>
                      <a:pt x="413552" y="480922"/>
                    </a:cubicBezTo>
                    <a:cubicBezTo>
                      <a:pt x="415618" y="478659"/>
                      <a:pt x="418570" y="478954"/>
                      <a:pt x="420145" y="481414"/>
                    </a:cubicBezTo>
                    <a:cubicBezTo>
                      <a:pt x="423588" y="487121"/>
                      <a:pt x="429000" y="486826"/>
                      <a:pt x="445039" y="488991"/>
                    </a:cubicBezTo>
                    <a:cubicBezTo>
                      <a:pt x="452222" y="489975"/>
                      <a:pt x="453304" y="485744"/>
                      <a:pt x="473869" y="455635"/>
                    </a:cubicBezTo>
                    <a:cubicBezTo>
                      <a:pt x="478493" y="448845"/>
                      <a:pt x="486857" y="456815"/>
                      <a:pt x="491679" y="458390"/>
                    </a:cubicBezTo>
                    <a:cubicBezTo>
                      <a:pt x="494433" y="459767"/>
                      <a:pt x="494729" y="462030"/>
                      <a:pt x="492367" y="463309"/>
                    </a:cubicBezTo>
                    <a:cubicBezTo>
                      <a:pt x="483709" y="468229"/>
                      <a:pt x="485578" y="496665"/>
                      <a:pt x="493548" y="487416"/>
                    </a:cubicBezTo>
                    <a:lnTo>
                      <a:pt x="505355" y="473739"/>
                    </a:lnTo>
                    <a:cubicBezTo>
                      <a:pt x="509783" y="468623"/>
                      <a:pt x="509193" y="462817"/>
                      <a:pt x="509488" y="452978"/>
                    </a:cubicBezTo>
                    <a:cubicBezTo>
                      <a:pt x="509685" y="444614"/>
                      <a:pt x="520607" y="444417"/>
                      <a:pt x="525920" y="441859"/>
                    </a:cubicBezTo>
                    <a:cubicBezTo>
                      <a:pt x="532808" y="439497"/>
                      <a:pt x="533989" y="447960"/>
                      <a:pt x="534678" y="449042"/>
                    </a:cubicBezTo>
                    <a:cubicBezTo>
                      <a:pt x="535760" y="451895"/>
                      <a:pt x="538515" y="452486"/>
                      <a:pt x="540680" y="450321"/>
                    </a:cubicBezTo>
                    <a:lnTo>
                      <a:pt x="541368" y="449632"/>
                    </a:lnTo>
                    <a:cubicBezTo>
                      <a:pt x="546387" y="444614"/>
                      <a:pt x="542648" y="437333"/>
                      <a:pt x="542549" y="436251"/>
                    </a:cubicBezTo>
                    <a:cubicBezTo>
                      <a:pt x="540188" y="427985"/>
                      <a:pt x="550913" y="423951"/>
                      <a:pt x="555734" y="419031"/>
                    </a:cubicBezTo>
                    <a:cubicBezTo>
                      <a:pt x="561539" y="414407"/>
                      <a:pt x="566853" y="422081"/>
                      <a:pt x="568230" y="422868"/>
                    </a:cubicBezTo>
                    <a:cubicBezTo>
                      <a:pt x="574626" y="428576"/>
                      <a:pt x="562819" y="434676"/>
                      <a:pt x="559178" y="439301"/>
                    </a:cubicBezTo>
                    <a:cubicBezTo>
                      <a:pt x="554357" y="443925"/>
                      <a:pt x="555046" y="448452"/>
                      <a:pt x="554652" y="466458"/>
                    </a:cubicBezTo>
                    <a:cubicBezTo>
                      <a:pt x="554455" y="474526"/>
                      <a:pt x="562524" y="463506"/>
                      <a:pt x="564787" y="461833"/>
                    </a:cubicBezTo>
                    <a:cubicBezTo>
                      <a:pt x="569805" y="456815"/>
                      <a:pt x="576988" y="455733"/>
                      <a:pt x="584269" y="453765"/>
                    </a:cubicBezTo>
                    <a:cubicBezTo>
                      <a:pt x="592043" y="451698"/>
                      <a:pt x="588008" y="441367"/>
                      <a:pt x="588304" y="437628"/>
                    </a:cubicBezTo>
                    <a:cubicBezTo>
                      <a:pt x="587615" y="429855"/>
                      <a:pt x="594797" y="424935"/>
                      <a:pt x="596371" y="422672"/>
                    </a:cubicBezTo>
                    <a:cubicBezTo>
                      <a:pt x="601488" y="417063"/>
                      <a:pt x="609754" y="416768"/>
                      <a:pt x="611918" y="415981"/>
                    </a:cubicBezTo>
                    <a:cubicBezTo>
                      <a:pt x="614968" y="415390"/>
                      <a:pt x="616149" y="412635"/>
                      <a:pt x="614674" y="409979"/>
                    </a:cubicBezTo>
                    <a:lnTo>
                      <a:pt x="600996" y="385281"/>
                    </a:lnTo>
                    <a:cubicBezTo>
                      <a:pt x="597356" y="378787"/>
                      <a:pt x="599717" y="375442"/>
                      <a:pt x="609754" y="339626"/>
                    </a:cubicBezTo>
                    <a:cubicBezTo>
                      <a:pt x="611623" y="332738"/>
                      <a:pt x="618019" y="330672"/>
                      <a:pt x="619298" y="329688"/>
                    </a:cubicBezTo>
                    <a:cubicBezTo>
                      <a:pt x="625300" y="326244"/>
                      <a:pt x="624415" y="324177"/>
                      <a:pt x="627465" y="280785"/>
                    </a:cubicBezTo>
                    <a:cubicBezTo>
                      <a:pt x="628055" y="272815"/>
                      <a:pt x="624710" y="263172"/>
                      <a:pt x="621266" y="250479"/>
                    </a:cubicBezTo>
                    <a:cubicBezTo>
                      <a:pt x="619495" y="243690"/>
                      <a:pt x="624119" y="240344"/>
                      <a:pt x="637009" y="225880"/>
                    </a:cubicBezTo>
                    <a:cubicBezTo>
                      <a:pt x="642716" y="219484"/>
                      <a:pt x="650489" y="228930"/>
                      <a:pt x="656295" y="231685"/>
                    </a:cubicBezTo>
                    <a:cubicBezTo>
                      <a:pt x="662494" y="235621"/>
                      <a:pt x="660329" y="227651"/>
                      <a:pt x="657869" y="203347"/>
                    </a:cubicBezTo>
                    <a:cubicBezTo>
                      <a:pt x="657181" y="196263"/>
                      <a:pt x="660526" y="194098"/>
                      <a:pt x="678926" y="172549"/>
                    </a:cubicBezTo>
                    <a:cubicBezTo>
                      <a:pt x="683157" y="167531"/>
                      <a:pt x="681780" y="161923"/>
                      <a:pt x="681878" y="160938"/>
                    </a:cubicBezTo>
                    <a:cubicBezTo>
                      <a:pt x="681091" y="152280"/>
                      <a:pt x="689651" y="151000"/>
                      <a:pt x="688765" y="142440"/>
                    </a:cubicBezTo>
                    <a:lnTo>
                      <a:pt x="686305" y="120301"/>
                    </a:lnTo>
                    <a:cubicBezTo>
                      <a:pt x="685519" y="113216"/>
                      <a:pt x="679615" y="110953"/>
                      <a:pt x="678631" y="109871"/>
                    </a:cubicBezTo>
                    <a:cubicBezTo>
                      <a:pt x="672628" y="105738"/>
                      <a:pt x="675679" y="98260"/>
                      <a:pt x="675581" y="96883"/>
                    </a:cubicBezTo>
                    <a:cubicBezTo>
                      <a:pt x="676761" y="89700"/>
                      <a:pt x="672924" y="87142"/>
                      <a:pt x="654819" y="65691"/>
                    </a:cubicBezTo>
                    <a:cubicBezTo>
                      <a:pt x="649997" y="59984"/>
                      <a:pt x="651178" y="55950"/>
                      <a:pt x="651178" y="16985"/>
                    </a:cubicBezTo>
                    <a:cubicBezTo>
                      <a:pt x="651178" y="9901"/>
                      <a:pt x="646062" y="9212"/>
                      <a:pt x="625989" y="553"/>
                    </a:cubicBezTo>
                    <a:cubicBezTo>
                      <a:pt x="618019" y="-2891"/>
                      <a:pt x="617822" y="10589"/>
                      <a:pt x="614477" y="17674"/>
                    </a:cubicBezTo>
                    <a:cubicBezTo>
                      <a:pt x="611722" y="26136"/>
                      <a:pt x="626087" y="21315"/>
                      <a:pt x="633368" y="21708"/>
                    </a:cubicBezTo>
                    <a:cubicBezTo>
                      <a:pt x="641634" y="21216"/>
                      <a:pt x="637305" y="33122"/>
                      <a:pt x="637698" y="37944"/>
                    </a:cubicBezTo>
                    <a:cubicBezTo>
                      <a:pt x="637108" y="45323"/>
                      <a:pt x="627760" y="41289"/>
                      <a:pt x="626383" y="41289"/>
                    </a:cubicBezTo>
                    <a:cubicBezTo>
                      <a:pt x="619101" y="39813"/>
                      <a:pt x="613985" y="46504"/>
                      <a:pt x="612804" y="47193"/>
                    </a:cubicBezTo>
                    <a:cubicBezTo>
                      <a:pt x="606113" y="52998"/>
                      <a:pt x="605326" y="37550"/>
                      <a:pt x="601291" y="28301"/>
                    </a:cubicBezTo>
                    <a:cubicBezTo>
                      <a:pt x="599028" y="21413"/>
                      <a:pt x="590566" y="23676"/>
                      <a:pt x="589583" y="23479"/>
                    </a:cubicBezTo>
                    <a:cubicBezTo>
                      <a:pt x="577086" y="24168"/>
                      <a:pt x="589287" y="49358"/>
                      <a:pt x="576889" y="52014"/>
                    </a:cubicBezTo>
                    <a:lnTo>
                      <a:pt x="564885" y="54572"/>
                    </a:lnTo>
                    <a:cubicBezTo>
                      <a:pt x="561835" y="55163"/>
                      <a:pt x="559867" y="58213"/>
                      <a:pt x="560457" y="61263"/>
                    </a:cubicBezTo>
                    <a:lnTo>
                      <a:pt x="564984" y="86354"/>
                    </a:lnTo>
                    <a:cubicBezTo>
                      <a:pt x="567247" y="98654"/>
                      <a:pt x="545993" y="104656"/>
                      <a:pt x="547961" y="116857"/>
                    </a:cubicBezTo>
                    <a:cubicBezTo>
                      <a:pt x="549633" y="127779"/>
                      <a:pt x="567247" y="109772"/>
                      <a:pt x="568034" y="121186"/>
                    </a:cubicBezTo>
                    <a:lnTo>
                      <a:pt x="569707" y="146179"/>
                    </a:lnTo>
                    <a:cubicBezTo>
                      <a:pt x="570297" y="154149"/>
                      <a:pt x="566262" y="160742"/>
                      <a:pt x="553865" y="189670"/>
                    </a:cubicBezTo>
                    <a:cubicBezTo>
                      <a:pt x="550913" y="196558"/>
                      <a:pt x="545108" y="200887"/>
                      <a:pt x="537334" y="208168"/>
                    </a:cubicBezTo>
                    <a:cubicBezTo>
                      <a:pt x="531529" y="213679"/>
                      <a:pt x="530840" y="222534"/>
                      <a:pt x="525920" y="243394"/>
                    </a:cubicBezTo>
                    <a:cubicBezTo>
                      <a:pt x="523362" y="254316"/>
                      <a:pt x="499255" y="258744"/>
                      <a:pt x="491973" y="269469"/>
                    </a:cubicBezTo>
                    <a:lnTo>
                      <a:pt x="469933" y="302038"/>
                    </a:lnTo>
                    <a:cubicBezTo>
                      <a:pt x="465800" y="308237"/>
                      <a:pt x="463931" y="307745"/>
                      <a:pt x="411781" y="326834"/>
                    </a:cubicBezTo>
                    <a:cubicBezTo>
                      <a:pt x="404893" y="329392"/>
                      <a:pt x="404204" y="337756"/>
                      <a:pt x="403614" y="338937"/>
                    </a:cubicBezTo>
                    <a:cubicBezTo>
                      <a:pt x="401351" y="346907"/>
                      <a:pt x="390823" y="342676"/>
                      <a:pt x="385509" y="343070"/>
                    </a:cubicBezTo>
                    <a:cubicBezTo>
                      <a:pt x="376358" y="342381"/>
                      <a:pt x="381180" y="328703"/>
                      <a:pt x="379900" y="315420"/>
                    </a:cubicBezTo>
                    <a:cubicBezTo>
                      <a:pt x="379900" y="308237"/>
                      <a:pt x="387084" y="306564"/>
                      <a:pt x="388067" y="305777"/>
                    </a:cubicBezTo>
                    <a:cubicBezTo>
                      <a:pt x="394955" y="302333"/>
                      <a:pt x="395939" y="293576"/>
                      <a:pt x="397022" y="291313"/>
                    </a:cubicBezTo>
                    <a:cubicBezTo>
                      <a:pt x="398005" y="288361"/>
                      <a:pt x="396431" y="286885"/>
                      <a:pt x="393578" y="287968"/>
                    </a:cubicBezTo>
                    <a:lnTo>
                      <a:pt x="364649" y="298791"/>
                    </a:lnTo>
                    <a:cubicBezTo>
                      <a:pt x="357565" y="301448"/>
                      <a:pt x="359729" y="307548"/>
                      <a:pt x="360812" y="336182"/>
                    </a:cubicBezTo>
                    <a:cubicBezTo>
                      <a:pt x="361107" y="343660"/>
                      <a:pt x="359336" y="343660"/>
                      <a:pt x="318797" y="389217"/>
                    </a:cubicBezTo>
                    <a:cubicBezTo>
                      <a:pt x="313188" y="395514"/>
                      <a:pt x="318994" y="404468"/>
                      <a:pt x="320076" y="410963"/>
                    </a:cubicBezTo>
                    <a:cubicBezTo>
                      <a:pt x="322044" y="417949"/>
                      <a:pt x="316140" y="419523"/>
                      <a:pt x="294395" y="432314"/>
                    </a:cubicBezTo>
                    <a:cubicBezTo>
                      <a:pt x="288392" y="435857"/>
                      <a:pt x="283768" y="433003"/>
                      <a:pt x="268615" y="427296"/>
                    </a:cubicBezTo>
                    <a:cubicBezTo>
                      <a:pt x="265761" y="426214"/>
                      <a:pt x="265368" y="423754"/>
                      <a:pt x="267631" y="421786"/>
                    </a:cubicBezTo>
                    <a:lnTo>
                      <a:pt x="268910" y="420704"/>
                    </a:lnTo>
                    <a:cubicBezTo>
                      <a:pt x="271271" y="418736"/>
                      <a:pt x="271370" y="415489"/>
                      <a:pt x="269107" y="413423"/>
                    </a:cubicBezTo>
                    <a:lnTo>
                      <a:pt x="268320" y="412734"/>
                    </a:lnTo>
                    <a:cubicBezTo>
                      <a:pt x="262219" y="407224"/>
                      <a:pt x="255528" y="415685"/>
                      <a:pt x="251199" y="417752"/>
                    </a:cubicBezTo>
                    <a:cubicBezTo>
                      <a:pt x="245197" y="421786"/>
                      <a:pt x="248149" y="420802"/>
                      <a:pt x="137059" y="437333"/>
                    </a:cubicBezTo>
                    <a:cubicBezTo>
                      <a:pt x="129582" y="438415"/>
                      <a:pt x="140503" y="432511"/>
                      <a:pt x="141487" y="431626"/>
                    </a:cubicBezTo>
                    <a:cubicBezTo>
                      <a:pt x="147588" y="427592"/>
                      <a:pt x="148670" y="422475"/>
                      <a:pt x="141487" y="424148"/>
                    </a:cubicBezTo>
                    <a:lnTo>
                      <a:pt x="116298" y="429855"/>
                    </a:lnTo>
                    <a:cubicBezTo>
                      <a:pt x="113346" y="430543"/>
                      <a:pt x="110394" y="433594"/>
                      <a:pt x="109804" y="436546"/>
                    </a:cubicBezTo>
                    <a:cubicBezTo>
                      <a:pt x="110197" y="435562"/>
                      <a:pt x="108918" y="443728"/>
                      <a:pt x="104097" y="447861"/>
                    </a:cubicBezTo>
                    <a:lnTo>
                      <a:pt x="66608" y="479938"/>
                    </a:lnTo>
                    <a:close/>
                  </a:path>
                </a:pathLst>
              </a:custGeom>
              <a:grpFill/>
              <a:ln w="9835" cap="flat">
                <a:noFill/>
                <a:prstDash val="solid"/>
                <a:miter/>
              </a:ln>
            </p:spPr>
            <p:txBody>
              <a:bodyPr rtlCol="0" anchor="ctr"/>
              <a:lstStyle/>
              <a:p>
                <a:endParaRPr lang="en-IN"/>
              </a:p>
            </p:txBody>
          </p:sp>
          <p:sp>
            <p:nvSpPr>
              <p:cNvPr id="655" name="Freeform: Shape 654">
                <a:extLst>
                  <a:ext uri="{FF2B5EF4-FFF2-40B4-BE49-F238E27FC236}">
                    <a16:creationId xmlns:a16="http://schemas.microsoft.com/office/drawing/2014/main" id="{67E441CF-99F2-7D7D-2326-585925180A2B}"/>
                  </a:ext>
                </a:extLst>
              </p:cNvPr>
              <p:cNvSpPr/>
              <p:nvPr/>
            </p:nvSpPr>
            <p:spPr>
              <a:xfrm>
                <a:off x="13253672" y="3974244"/>
                <a:ext cx="141009" cy="105433"/>
              </a:xfrm>
              <a:custGeom>
                <a:avLst/>
                <a:gdLst>
                  <a:gd name="connsiteX0" fmla="*/ 138913 w 141009"/>
                  <a:gd name="connsiteY0" fmla="*/ 19804 h 105433"/>
                  <a:gd name="connsiteX1" fmla="*/ 101030 w 141009"/>
                  <a:gd name="connsiteY1" fmla="*/ 616 h 105433"/>
                  <a:gd name="connsiteX2" fmla="*/ 84204 w 141009"/>
                  <a:gd name="connsiteY2" fmla="*/ 7602 h 105433"/>
                  <a:gd name="connsiteX3" fmla="*/ 76727 w 141009"/>
                  <a:gd name="connsiteY3" fmla="*/ 19705 h 105433"/>
                  <a:gd name="connsiteX4" fmla="*/ 51242 w 141009"/>
                  <a:gd name="connsiteY4" fmla="*/ 28954 h 105433"/>
                  <a:gd name="connsiteX5" fmla="*/ 40025 w 141009"/>
                  <a:gd name="connsiteY5" fmla="*/ 22067 h 105433"/>
                  <a:gd name="connsiteX6" fmla="*/ 28906 w 141009"/>
                  <a:gd name="connsiteY6" fmla="*/ 20295 h 105433"/>
                  <a:gd name="connsiteX7" fmla="*/ 18574 w 141009"/>
                  <a:gd name="connsiteY7" fmla="*/ 40467 h 105433"/>
                  <a:gd name="connsiteX8" fmla="*/ 4996 w 141009"/>
                  <a:gd name="connsiteY8" fmla="*/ 50995 h 105433"/>
                  <a:gd name="connsiteX9" fmla="*/ 5586 w 141009"/>
                  <a:gd name="connsiteY9" fmla="*/ 72249 h 105433"/>
                  <a:gd name="connsiteX10" fmla="*/ 6373 w 141009"/>
                  <a:gd name="connsiteY10" fmla="*/ 72740 h 105433"/>
                  <a:gd name="connsiteX11" fmla="*/ 14048 w 141009"/>
                  <a:gd name="connsiteY11" fmla="*/ 93010 h 105433"/>
                  <a:gd name="connsiteX12" fmla="*/ 16016 w 141009"/>
                  <a:gd name="connsiteY12" fmla="*/ 93797 h 105433"/>
                  <a:gd name="connsiteX13" fmla="*/ 19952 w 141009"/>
                  <a:gd name="connsiteY13" fmla="*/ 100783 h 105433"/>
                  <a:gd name="connsiteX14" fmla="*/ 30382 w 141009"/>
                  <a:gd name="connsiteY14" fmla="*/ 105113 h 105433"/>
                  <a:gd name="connsiteX15" fmla="*/ 51635 w 141009"/>
                  <a:gd name="connsiteY15" fmla="*/ 72150 h 105433"/>
                  <a:gd name="connsiteX16" fmla="*/ 77809 w 141009"/>
                  <a:gd name="connsiteY16" fmla="*/ 54242 h 105433"/>
                  <a:gd name="connsiteX17" fmla="*/ 107131 w 141009"/>
                  <a:gd name="connsiteY17" fmla="*/ 71757 h 105433"/>
                  <a:gd name="connsiteX18" fmla="*/ 116479 w 141009"/>
                  <a:gd name="connsiteY18" fmla="*/ 57686 h 105433"/>
                  <a:gd name="connsiteX19" fmla="*/ 137437 w 141009"/>
                  <a:gd name="connsiteY19" fmla="*/ 38794 h 105433"/>
                  <a:gd name="connsiteX20" fmla="*/ 139011 w 141009"/>
                  <a:gd name="connsiteY20" fmla="*/ 19804 h 10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1009" h="105433">
                    <a:moveTo>
                      <a:pt x="138913" y="19804"/>
                    </a:moveTo>
                    <a:cubicBezTo>
                      <a:pt x="137535" y="12522"/>
                      <a:pt x="132320" y="12227"/>
                      <a:pt x="101030" y="616"/>
                    </a:cubicBezTo>
                    <a:cubicBezTo>
                      <a:pt x="93454" y="-2237"/>
                      <a:pt x="87649" y="5635"/>
                      <a:pt x="84204" y="7602"/>
                    </a:cubicBezTo>
                    <a:cubicBezTo>
                      <a:pt x="78596" y="11932"/>
                      <a:pt x="77415" y="18131"/>
                      <a:pt x="76727" y="19705"/>
                    </a:cubicBezTo>
                    <a:cubicBezTo>
                      <a:pt x="73774" y="28069"/>
                      <a:pt x="61573" y="26298"/>
                      <a:pt x="51242" y="28954"/>
                    </a:cubicBezTo>
                    <a:cubicBezTo>
                      <a:pt x="44158" y="30135"/>
                      <a:pt x="41009" y="22952"/>
                      <a:pt x="40025" y="22067"/>
                    </a:cubicBezTo>
                    <a:cubicBezTo>
                      <a:pt x="35892" y="16458"/>
                      <a:pt x="29890" y="20197"/>
                      <a:pt x="28906" y="20295"/>
                    </a:cubicBezTo>
                    <a:cubicBezTo>
                      <a:pt x="20739" y="23149"/>
                      <a:pt x="21231" y="33677"/>
                      <a:pt x="18574" y="40467"/>
                    </a:cubicBezTo>
                    <a:cubicBezTo>
                      <a:pt x="16410" y="48141"/>
                      <a:pt x="8144" y="49125"/>
                      <a:pt x="4996" y="50995"/>
                    </a:cubicBezTo>
                    <a:cubicBezTo>
                      <a:pt x="-2187" y="54045"/>
                      <a:pt x="-1302" y="68509"/>
                      <a:pt x="5586" y="72249"/>
                    </a:cubicBezTo>
                    <a:lnTo>
                      <a:pt x="6373" y="72740"/>
                    </a:lnTo>
                    <a:cubicBezTo>
                      <a:pt x="15820" y="77857"/>
                      <a:pt x="4111" y="89074"/>
                      <a:pt x="14048" y="93010"/>
                    </a:cubicBezTo>
                    <a:lnTo>
                      <a:pt x="16016" y="93797"/>
                    </a:lnTo>
                    <a:cubicBezTo>
                      <a:pt x="18870" y="94978"/>
                      <a:pt x="20641" y="98127"/>
                      <a:pt x="19952" y="100783"/>
                    </a:cubicBezTo>
                    <a:cubicBezTo>
                      <a:pt x="18280" y="107474"/>
                      <a:pt x="28710" y="104916"/>
                      <a:pt x="30382" y="105113"/>
                    </a:cubicBezTo>
                    <a:cubicBezTo>
                      <a:pt x="37565" y="104818"/>
                      <a:pt x="38254" y="100291"/>
                      <a:pt x="51635" y="72150"/>
                    </a:cubicBezTo>
                    <a:cubicBezTo>
                      <a:pt x="54883" y="65262"/>
                      <a:pt x="62656" y="62409"/>
                      <a:pt x="77809" y="54242"/>
                    </a:cubicBezTo>
                    <a:cubicBezTo>
                      <a:pt x="84106" y="50798"/>
                      <a:pt x="87353" y="55423"/>
                      <a:pt x="107131" y="71757"/>
                    </a:cubicBezTo>
                    <a:cubicBezTo>
                      <a:pt x="113625" y="77168"/>
                      <a:pt x="114117" y="62999"/>
                      <a:pt x="116479" y="57686"/>
                    </a:cubicBezTo>
                    <a:cubicBezTo>
                      <a:pt x="118447" y="50995"/>
                      <a:pt x="123268" y="48634"/>
                      <a:pt x="137437" y="38794"/>
                    </a:cubicBezTo>
                    <a:cubicBezTo>
                      <a:pt x="144226" y="34071"/>
                      <a:pt x="139306" y="25019"/>
                      <a:pt x="139011" y="19804"/>
                    </a:cubicBezTo>
                    <a:close/>
                  </a:path>
                </a:pathLst>
              </a:custGeom>
              <a:grpFill/>
              <a:ln w="9835" cap="flat">
                <a:noFill/>
                <a:prstDash val="solid"/>
                <a:miter/>
              </a:ln>
            </p:spPr>
            <p:txBody>
              <a:bodyPr rtlCol="0" anchor="ctr"/>
              <a:lstStyle/>
              <a:p>
                <a:endParaRPr lang="en-IN"/>
              </a:p>
            </p:txBody>
          </p:sp>
          <p:sp>
            <p:nvSpPr>
              <p:cNvPr id="656" name="Freeform: Shape 655">
                <a:extLst>
                  <a:ext uri="{FF2B5EF4-FFF2-40B4-BE49-F238E27FC236}">
                    <a16:creationId xmlns:a16="http://schemas.microsoft.com/office/drawing/2014/main" id="{4FBE0CB7-4A02-3942-72CC-2CD7DD6E0DE2}"/>
                  </a:ext>
                </a:extLst>
              </p:cNvPr>
              <p:cNvSpPr/>
              <p:nvPr/>
            </p:nvSpPr>
            <p:spPr>
              <a:xfrm>
                <a:off x="13395559" y="3960878"/>
                <a:ext cx="18517" cy="21532"/>
              </a:xfrm>
              <a:custGeom>
                <a:avLst/>
                <a:gdLst>
                  <a:gd name="connsiteX0" fmla="*/ 12768 w 18517"/>
                  <a:gd name="connsiteY0" fmla="*/ 20673 h 21532"/>
                  <a:gd name="connsiteX1" fmla="*/ 18082 w 18517"/>
                  <a:gd name="connsiteY1" fmla="*/ 6603 h 21532"/>
                  <a:gd name="connsiteX2" fmla="*/ 10112 w 18517"/>
                  <a:gd name="connsiteY2" fmla="*/ 1683 h 21532"/>
                  <a:gd name="connsiteX3" fmla="*/ 1847 w 18517"/>
                  <a:gd name="connsiteY3" fmla="*/ 17131 h 21532"/>
                  <a:gd name="connsiteX4" fmla="*/ 12768 w 18517"/>
                  <a:gd name="connsiteY4" fmla="*/ 20673 h 21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7" h="21532">
                    <a:moveTo>
                      <a:pt x="12768" y="20673"/>
                    </a:moveTo>
                    <a:cubicBezTo>
                      <a:pt x="19066" y="17131"/>
                      <a:pt x="13063" y="13097"/>
                      <a:pt x="18082" y="6603"/>
                    </a:cubicBezTo>
                    <a:cubicBezTo>
                      <a:pt x="19951" y="4241"/>
                      <a:pt x="15523" y="-3335"/>
                      <a:pt x="10112" y="1683"/>
                    </a:cubicBezTo>
                    <a:cubicBezTo>
                      <a:pt x="6766" y="5914"/>
                      <a:pt x="-4352" y="11523"/>
                      <a:pt x="1847" y="17131"/>
                    </a:cubicBezTo>
                    <a:cubicBezTo>
                      <a:pt x="2830" y="17722"/>
                      <a:pt x="7258" y="23724"/>
                      <a:pt x="12768" y="20673"/>
                    </a:cubicBezTo>
                    <a:close/>
                  </a:path>
                </a:pathLst>
              </a:custGeom>
              <a:grpFill/>
              <a:ln w="9835" cap="flat">
                <a:noFill/>
                <a:prstDash val="solid"/>
                <a:miter/>
              </a:ln>
            </p:spPr>
            <p:txBody>
              <a:bodyPr rtlCol="0" anchor="ctr"/>
              <a:lstStyle/>
              <a:p>
                <a:endParaRPr lang="en-IN"/>
              </a:p>
            </p:txBody>
          </p:sp>
          <p:sp>
            <p:nvSpPr>
              <p:cNvPr id="657" name="Freeform: Shape 656">
                <a:extLst>
                  <a:ext uri="{FF2B5EF4-FFF2-40B4-BE49-F238E27FC236}">
                    <a16:creationId xmlns:a16="http://schemas.microsoft.com/office/drawing/2014/main" id="{ACB9355D-3D56-2FDF-415F-28A731296D40}"/>
                  </a:ext>
                </a:extLst>
              </p:cNvPr>
              <p:cNvSpPr/>
              <p:nvPr/>
            </p:nvSpPr>
            <p:spPr>
              <a:xfrm>
                <a:off x="13304663" y="3835943"/>
                <a:ext cx="14380" cy="14369"/>
              </a:xfrm>
              <a:custGeom>
                <a:avLst/>
                <a:gdLst>
                  <a:gd name="connsiteX0" fmla="*/ 12157 w 14380"/>
                  <a:gd name="connsiteY0" fmla="*/ 11986 h 14369"/>
                  <a:gd name="connsiteX1" fmla="*/ 13534 w 14380"/>
                  <a:gd name="connsiteY1" fmla="*/ 9723 h 14369"/>
                  <a:gd name="connsiteX2" fmla="*/ 11566 w 14380"/>
                  <a:gd name="connsiteY2" fmla="*/ 2442 h 14369"/>
                  <a:gd name="connsiteX3" fmla="*/ 841 w 14380"/>
                  <a:gd name="connsiteY3" fmla="*/ 2245 h 14369"/>
                  <a:gd name="connsiteX4" fmla="*/ 2120 w 14380"/>
                  <a:gd name="connsiteY4" fmla="*/ 10117 h 14369"/>
                  <a:gd name="connsiteX5" fmla="*/ 12157 w 14380"/>
                  <a:gd name="connsiteY5" fmla="*/ 11986 h 1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 h="14369">
                    <a:moveTo>
                      <a:pt x="12157" y="11986"/>
                    </a:moveTo>
                    <a:lnTo>
                      <a:pt x="13534" y="9723"/>
                    </a:lnTo>
                    <a:cubicBezTo>
                      <a:pt x="15207" y="7165"/>
                      <a:pt x="14321" y="3819"/>
                      <a:pt x="11566" y="2442"/>
                    </a:cubicBezTo>
                    <a:cubicBezTo>
                      <a:pt x="10582" y="2146"/>
                      <a:pt x="4285" y="-2773"/>
                      <a:pt x="841" y="2245"/>
                    </a:cubicBezTo>
                    <a:cubicBezTo>
                      <a:pt x="-635" y="4409"/>
                      <a:pt x="-143" y="7952"/>
                      <a:pt x="2120" y="10117"/>
                    </a:cubicBezTo>
                    <a:cubicBezTo>
                      <a:pt x="3104" y="10608"/>
                      <a:pt x="8319" y="18087"/>
                      <a:pt x="12157" y="11986"/>
                    </a:cubicBezTo>
                    <a:close/>
                  </a:path>
                </a:pathLst>
              </a:custGeom>
              <a:grpFill/>
              <a:ln w="9835" cap="flat">
                <a:noFill/>
                <a:prstDash val="solid"/>
                <a:miter/>
              </a:ln>
            </p:spPr>
            <p:txBody>
              <a:bodyPr rtlCol="0" anchor="ctr"/>
              <a:lstStyle/>
              <a:p>
                <a:endParaRPr lang="en-IN"/>
              </a:p>
            </p:txBody>
          </p:sp>
          <p:sp>
            <p:nvSpPr>
              <p:cNvPr id="658" name="Freeform: Shape 657">
                <a:extLst>
                  <a:ext uri="{FF2B5EF4-FFF2-40B4-BE49-F238E27FC236}">
                    <a16:creationId xmlns:a16="http://schemas.microsoft.com/office/drawing/2014/main" id="{74B92850-4E05-BBFD-BFFC-5F6C76BDEF77}"/>
                  </a:ext>
                </a:extLst>
              </p:cNvPr>
              <p:cNvSpPr/>
              <p:nvPr/>
            </p:nvSpPr>
            <p:spPr>
              <a:xfrm>
                <a:off x="13289527" y="3851708"/>
                <a:ext cx="11776" cy="12679"/>
              </a:xfrm>
              <a:custGeom>
                <a:avLst/>
                <a:gdLst>
                  <a:gd name="connsiteX0" fmla="*/ 8203 w 11776"/>
                  <a:gd name="connsiteY0" fmla="*/ 11374 h 12679"/>
                  <a:gd name="connsiteX1" fmla="*/ 9679 w 11776"/>
                  <a:gd name="connsiteY1" fmla="*/ 10095 h 12679"/>
                  <a:gd name="connsiteX2" fmla="*/ 2791 w 11776"/>
                  <a:gd name="connsiteY2" fmla="*/ 1338 h 12679"/>
                  <a:gd name="connsiteX3" fmla="*/ 2299 w 11776"/>
                  <a:gd name="connsiteY3" fmla="*/ 1731 h 12679"/>
                  <a:gd name="connsiteX4" fmla="*/ 922 w 11776"/>
                  <a:gd name="connsiteY4" fmla="*/ 9997 h 12679"/>
                  <a:gd name="connsiteX5" fmla="*/ 1119 w 11776"/>
                  <a:gd name="connsiteY5" fmla="*/ 10390 h 12679"/>
                  <a:gd name="connsiteX6" fmla="*/ 8302 w 11776"/>
                  <a:gd name="connsiteY6" fmla="*/ 11472 h 1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6" h="12679">
                    <a:moveTo>
                      <a:pt x="8203" y="11374"/>
                    </a:moveTo>
                    <a:lnTo>
                      <a:pt x="9679" y="10095"/>
                    </a:lnTo>
                    <a:cubicBezTo>
                      <a:pt x="15288" y="5175"/>
                      <a:pt x="8498" y="-3287"/>
                      <a:pt x="2791" y="1338"/>
                    </a:cubicBezTo>
                    <a:lnTo>
                      <a:pt x="2299" y="1731"/>
                    </a:lnTo>
                    <a:cubicBezTo>
                      <a:pt x="-62" y="3601"/>
                      <a:pt x="-751" y="7340"/>
                      <a:pt x="922" y="9997"/>
                    </a:cubicBezTo>
                    <a:lnTo>
                      <a:pt x="1119" y="10390"/>
                    </a:lnTo>
                    <a:cubicBezTo>
                      <a:pt x="2791" y="12948"/>
                      <a:pt x="5940" y="13440"/>
                      <a:pt x="8302" y="11472"/>
                    </a:cubicBezTo>
                    <a:close/>
                  </a:path>
                </a:pathLst>
              </a:custGeom>
              <a:grpFill/>
              <a:ln w="9835" cap="flat">
                <a:noFill/>
                <a:prstDash val="solid"/>
                <a:miter/>
              </a:ln>
            </p:spPr>
            <p:txBody>
              <a:bodyPr rtlCol="0" anchor="ctr"/>
              <a:lstStyle/>
              <a:p>
                <a:endParaRPr lang="en-IN"/>
              </a:p>
            </p:txBody>
          </p:sp>
          <p:sp>
            <p:nvSpPr>
              <p:cNvPr id="659" name="Freeform: Shape 658">
                <a:extLst>
                  <a:ext uri="{FF2B5EF4-FFF2-40B4-BE49-F238E27FC236}">
                    <a16:creationId xmlns:a16="http://schemas.microsoft.com/office/drawing/2014/main" id="{47B7B8CF-4952-1D9D-D71A-1C24A857AD16}"/>
                  </a:ext>
                </a:extLst>
              </p:cNvPr>
              <p:cNvSpPr/>
              <p:nvPr/>
            </p:nvSpPr>
            <p:spPr>
              <a:xfrm>
                <a:off x="13617661" y="3695115"/>
                <a:ext cx="20661" cy="36449"/>
              </a:xfrm>
              <a:custGeom>
                <a:avLst/>
                <a:gdLst>
                  <a:gd name="connsiteX0" fmla="*/ 13238 w 20661"/>
                  <a:gd name="connsiteY0" fmla="*/ 1678 h 36449"/>
                  <a:gd name="connsiteX1" fmla="*/ 1332 w 20661"/>
                  <a:gd name="connsiteY1" fmla="*/ 16733 h 36449"/>
                  <a:gd name="connsiteX2" fmla="*/ 1627 w 20661"/>
                  <a:gd name="connsiteY2" fmla="*/ 22637 h 36449"/>
                  <a:gd name="connsiteX3" fmla="*/ 3596 w 20661"/>
                  <a:gd name="connsiteY3" fmla="*/ 29524 h 36449"/>
                  <a:gd name="connsiteX4" fmla="*/ 5170 w 20661"/>
                  <a:gd name="connsiteY4" fmla="*/ 35330 h 36449"/>
                  <a:gd name="connsiteX5" fmla="*/ 14714 w 20661"/>
                  <a:gd name="connsiteY5" fmla="*/ 28344 h 36449"/>
                  <a:gd name="connsiteX6" fmla="*/ 17174 w 20661"/>
                  <a:gd name="connsiteY6" fmla="*/ 15847 h 36449"/>
                  <a:gd name="connsiteX7" fmla="*/ 13631 w 20661"/>
                  <a:gd name="connsiteY7" fmla="*/ 11026 h 36449"/>
                  <a:gd name="connsiteX8" fmla="*/ 13140 w 20661"/>
                  <a:gd name="connsiteY8" fmla="*/ 1678 h 3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61" h="36449">
                    <a:moveTo>
                      <a:pt x="13238" y="1678"/>
                    </a:moveTo>
                    <a:lnTo>
                      <a:pt x="1332" y="16733"/>
                    </a:lnTo>
                    <a:cubicBezTo>
                      <a:pt x="-538" y="19193"/>
                      <a:pt x="-439" y="21849"/>
                      <a:pt x="1627" y="22637"/>
                    </a:cubicBezTo>
                    <a:cubicBezTo>
                      <a:pt x="3693" y="23522"/>
                      <a:pt x="4579" y="26572"/>
                      <a:pt x="3596" y="29524"/>
                    </a:cubicBezTo>
                    <a:cubicBezTo>
                      <a:pt x="3497" y="30508"/>
                      <a:pt x="-538" y="39561"/>
                      <a:pt x="5170" y="35330"/>
                    </a:cubicBezTo>
                    <a:lnTo>
                      <a:pt x="14714" y="28344"/>
                    </a:lnTo>
                    <a:cubicBezTo>
                      <a:pt x="20224" y="24309"/>
                      <a:pt x="23570" y="14962"/>
                      <a:pt x="17174" y="15847"/>
                    </a:cubicBezTo>
                    <a:cubicBezTo>
                      <a:pt x="14616" y="16241"/>
                      <a:pt x="13041" y="14076"/>
                      <a:pt x="13631" y="11026"/>
                    </a:cubicBezTo>
                    <a:cubicBezTo>
                      <a:pt x="13927" y="8664"/>
                      <a:pt x="18059" y="-4619"/>
                      <a:pt x="13140" y="1678"/>
                    </a:cubicBezTo>
                    <a:close/>
                  </a:path>
                </a:pathLst>
              </a:custGeom>
              <a:grpFill/>
              <a:ln w="9835" cap="flat">
                <a:noFill/>
                <a:prstDash val="solid"/>
                <a:miter/>
              </a:ln>
            </p:spPr>
            <p:txBody>
              <a:bodyPr rtlCol="0" anchor="ctr"/>
              <a:lstStyle/>
              <a:p>
                <a:endParaRPr lang="en-IN"/>
              </a:p>
            </p:txBody>
          </p:sp>
          <p:sp>
            <p:nvSpPr>
              <p:cNvPr id="660" name="Freeform: Shape 659">
                <a:extLst>
                  <a:ext uri="{FF2B5EF4-FFF2-40B4-BE49-F238E27FC236}">
                    <a16:creationId xmlns:a16="http://schemas.microsoft.com/office/drawing/2014/main" id="{9CA5C697-AE63-3ACF-6A75-7B2E7B3425C1}"/>
                  </a:ext>
                </a:extLst>
              </p:cNvPr>
              <p:cNvSpPr/>
              <p:nvPr/>
            </p:nvSpPr>
            <p:spPr>
              <a:xfrm>
                <a:off x="13684624" y="3942101"/>
                <a:ext cx="11846" cy="10524"/>
              </a:xfrm>
              <a:custGeom>
                <a:avLst/>
                <a:gdLst>
                  <a:gd name="connsiteX0" fmla="*/ 11709 w 11846"/>
                  <a:gd name="connsiteY0" fmla="*/ 5208 h 10524"/>
                  <a:gd name="connsiteX1" fmla="*/ 0 w 11846"/>
                  <a:gd name="connsiteY1" fmla="*/ 5208 h 10524"/>
                  <a:gd name="connsiteX2" fmla="*/ 5608 w 11846"/>
                  <a:gd name="connsiteY2" fmla="*/ 10521 h 10524"/>
                  <a:gd name="connsiteX3" fmla="*/ 7380 w 11846"/>
                  <a:gd name="connsiteY3" fmla="*/ 10521 h 10524"/>
                  <a:gd name="connsiteX4" fmla="*/ 11709 w 11846"/>
                  <a:gd name="connsiteY4" fmla="*/ 5208 h 10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6" h="10524">
                    <a:moveTo>
                      <a:pt x="11709" y="5208"/>
                    </a:moveTo>
                    <a:cubicBezTo>
                      <a:pt x="10134" y="-1286"/>
                      <a:pt x="0" y="-2172"/>
                      <a:pt x="0" y="5208"/>
                    </a:cubicBezTo>
                    <a:cubicBezTo>
                      <a:pt x="0" y="8258"/>
                      <a:pt x="2460" y="10620"/>
                      <a:pt x="5608" y="10521"/>
                    </a:cubicBezTo>
                    <a:lnTo>
                      <a:pt x="7380" y="10521"/>
                    </a:lnTo>
                    <a:cubicBezTo>
                      <a:pt x="10430" y="10324"/>
                      <a:pt x="12397" y="7963"/>
                      <a:pt x="11709" y="5208"/>
                    </a:cubicBezTo>
                    <a:close/>
                  </a:path>
                </a:pathLst>
              </a:custGeom>
              <a:grpFill/>
              <a:ln w="9835" cap="flat">
                <a:noFill/>
                <a:prstDash val="solid"/>
                <a:miter/>
              </a:ln>
            </p:spPr>
            <p:txBody>
              <a:bodyPr rtlCol="0" anchor="ctr"/>
              <a:lstStyle/>
              <a:p>
                <a:endParaRPr lang="en-IN"/>
              </a:p>
            </p:txBody>
          </p:sp>
          <p:sp>
            <p:nvSpPr>
              <p:cNvPr id="661" name="Freeform: Shape 660">
                <a:extLst>
                  <a:ext uri="{FF2B5EF4-FFF2-40B4-BE49-F238E27FC236}">
                    <a16:creationId xmlns:a16="http://schemas.microsoft.com/office/drawing/2014/main" id="{E8DD41F3-2C45-3D9E-5826-1968652C476F}"/>
                  </a:ext>
                </a:extLst>
              </p:cNvPr>
              <p:cNvSpPr/>
              <p:nvPr/>
            </p:nvSpPr>
            <p:spPr>
              <a:xfrm>
                <a:off x="13691784" y="3985081"/>
                <a:ext cx="11954" cy="10027"/>
              </a:xfrm>
              <a:custGeom>
                <a:avLst/>
                <a:gdLst>
                  <a:gd name="connsiteX0" fmla="*/ 4549 w 11954"/>
                  <a:gd name="connsiteY0" fmla="*/ 9754 h 10027"/>
                  <a:gd name="connsiteX1" fmla="*/ 5828 w 11954"/>
                  <a:gd name="connsiteY1" fmla="*/ 9950 h 10027"/>
                  <a:gd name="connsiteX2" fmla="*/ 7009 w 11954"/>
                  <a:gd name="connsiteY2" fmla="*/ 12 h 10027"/>
                  <a:gd name="connsiteX3" fmla="*/ 6517 w 11954"/>
                  <a:gd name="connsiteY3" fmla="*/ 12 h 10027"/>
                  <a:gd name="connsiteX4" fmla="*/ 4647 w 11954"/>
                  <a:gd name="connsiteY4" fmla="*/ 9754 h 10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4" h="10027">
                    <a:moveTo>
                      <a:pt x="4549" y="9754"/>
                    </a:moveTo>
                    <a:lnTo>
                      <a:pt x="5828" y="9950"/>
                    </a:lnTo>
                    <a:cubicBezTo>
                      <a:pt x="13110" y="11033"/>
                      <a:pt x="14389" y="406"/>
                      <a:pt x="7009" y="12"/>
                    </a:cubicBezTo>
                    <a:lnTo>
                      <a:pt x="6517" y="12"/>
                    </a:lnTo>
                    <a:cubicBezTo>
                      <a:pt x="-863" y="-381"/>
                      <a:pt x="-2634" y="8671"/>
                      <a:pt x="4647" y="9754"/>
                    </a:cubicBezTo>
                    <a:close/>
                  </a:path>
                </a:pathLst>
              </a:custGeom>
              <a:grpFill/>
              <a:ln w="9835" cap="flat">
                <a:noFill/>
                <a:prstDash val="solid"/>
                <a:miter/>
              </a:ln>
            </p:spPr>
            <p:txBody>
              <a:bodyPr rtlCol="0" anchor="ctr"/>
              <a:lstStyle/>
              <a:p>
                <a:endParaRPr lang="en-IN"/>
              </a:p>
            </p:txBody>
          </p:sp>
          <p:sp>
            <p:nvSpPr>
              <p:cNvPr id="662" name="Freeform: Shape 661">
                <a:extLst>
                  <a:ext uri="{FF2B5EF4-FFF2-40B4-BE49-F238E27FC236}">
                    <a16:creationId xmlns:a16="http://schemas.microsoft.com/office/drawing/2014/main" id="{0D3FE07C-E33B-29B9-48DF-257A95249056}"/>
                  </a:ext>
                </a:extLst>
              </p:cNvPr>
              <p:cNvSpPr/>
              <p:nvPr/>
            </p:nvSpPr>
            <p:spPr>
              <a:xfrm>
                <a:off x="13070764" y="4004782"/>
                <a:ext cx="161336" cy="196774"/>
              </a:xfrm>
              <a:custGeom>
                <a:avLst/>
                <a:gdLst>
                  <a:gd name="connsiteX0" fmla="*/ 1345 w 161336"/>
                  <a:gd name="connsiteY0" fmla="*/ 38070 h 196774"/>
                  <a:gd name="connsiteX1" fmla="*/ 557 w 161336"/>
                  <a:gd name="connsiteY1" fmla="*/ 39742 h 196774"/>
                  <a:gd name="connsiteX2" fmla="*/ 31749 w 161336"/>
                  <a:gd name="connsiteY2" fmla="*/ 61193 h 196774"/>
                  <a:gd name="connsiteX3" fmla="*/ 30666 w 161336"/>
                  <a:gd name="connsiteY3" fmla="*/ 71131 h 196774"/>
                  <a:gd name="connsiteX4" fmla="*/ 24074 w 161336"/>
                  <a:gd name="connsiteY4" fmla="*/ 67392 h 196774"/>
                  <a:gd name="connsiteX5" fmla="*/ 22893 w 161336"/>
                  <a:gd name="connsiteY5" fmla="*/ 65030 h 196774"/>
                  <a:gd name="connsiteX6" fmla="*/ 14332 w 161336"/>
                  <a:gd name="connsiteY6" fmla="*/ 61586 h 196774"/>
                  <a:gd name="connsiteX7" fmla="*/ 12168 w 161336"/>
                  <a:gd name="connsiteY7" fmla="*/ 67490 h 196774"/>
                  <a:gd name="connsiteX8" fmla="*/ 30961 w 161336"/>
                  <a:gd name="connsiteY8" fmla="*/ 84020 h 196774"/>
                  <a:gd name="connsiteX9" fmla="*/ 45229 w 161336"/>
                  <a:gd name="connsiteY9" fmla="*/ 81856 h 196774"/>
                  <a:gd name="connsiteX10" fmla="*/ 52412 w 161336"/>
                  <a:gd name="connsiteY10" fmla="*/ 85201 h 196774"/>
                  <a:gd name="connsiteX11" fmla="*/ 53986 w 161336"/>
                  <a:gd name="connsiteY11" fmla="*/ 84709 h 196774"/>
                  <a:gd name="connsiteX12" fmla="*/ 50149 w 161336"/>
                  <a:gd name="connsiteY12" fmla="*/ 51550 h 196774"/>
                  <a:gd name="connsiteX13" fmla="*/ 57233 w 161336"/>
                  <a:gd name="connsiteY13" fmla="*/ 52829 h 196774"/>
                  <a:gd name="connsiteX14" fmla="*/ 73468 w 161336"/>
                  <a:gd name="connsiteY14" fmla="*/ 80872 h 196774"/>
                  <a:gd name="connsiteX15" fmla="*/ 71993 w 161336"/>
                  <a:gd name="connsiteY15" fmla="*/ 95238 h 196774"/>
                  <a:gd name="connsiteX16" fmla="*/ 52412 w 161336"/>
                  <a:gd name="connsiteY16" fmla="*/ 123772 h 196774"/>
                  <a:gd name="connsiteX17" fmla="*/ 47295 w 161336"/>
                  <a:gd name="connsiteY17" fmla="*/ 129086 h 196774"/>
                  <a:gd name="connsiteX18" fmla="*/ 47000 w 161336"/>
                  <a:gd name="connsiteY18" fmla="*/ 138827 h 196774"/>
                  <a:gd name="connsiteX19" fmla="*/ 51723 w 161336"/>
                  <a:gd name="connsiteY19" fmla="*/ 164509 h 196774"/>
                  <a:gd name="connsiteX20" fmla="*/ 49854 w 161336"/>
                  <a:gd name="connsiteY20" fmla="*/ 165984 h 196774"/>
                  <a:gd name="connsiteX21" fmla="*/ 47590 w 161336"/>
                  <a:gd name="connsiteY21" fmla="*/ 175922 h 196774"/>
                  <a:gd name="connsiteX22" fmla="*/ 54872 w 161336"/>
                  <a:gd name="connsiteY22" fmla="*/ 181826 h 196774"/>
                  <a:gd name="connsiteX23" fmla="*/ 70418 w 161336"/>
                  <a:gd name="connsiteY23" fmla="*/ 178973 h 196774"/>
                  <a:gd name="connsiteX24" fmla="*/ 65990 w 161336"/>
                  <a:gd name="connsiteY24" fmla="*/ 163131 h 196774"/>
                  <a:gd name="connsiteX25" fmla="*/ 77306 w 161336"/>
                  <a:gd name="connsiteY25" fmla="*/ 148273 h 196774"/>
                  <a:gd name="connsiteX26" fmla="*/ 85079 w 161336"/>
                  <a:gd name="connsiteY26" fmla="*/ 157129 h 196774"/>
                  <a:gd name="connsiteX27" fmla="*/ 83702 w 161336"/>
                  <a:gd name="connsiteY27" fmla="*/ 159392 h 196774"/>
                  <a:gd name="connsiteX28" fmla="*/ 82619 w 161336"/>
                  <a:gd name="connsiteY28" fmla="*/ 178284 h 196774"/>
                  <a:gd name="connsiteX29" fmla="*/ 84981 w 161336"/>
                  <a:gd name="connsiteY29" fmla="*/ 195602 h 196774"/>
                  <a:gd name="connsiteX30" fmla="*/ 100823 w 161336"/>
                  <a:gd name="connsiteY30" fmla="*/ 175332 h 196774"/>
                  <a:gd name="connsiteX31" fmla="*/ 99838 w 161336"/>
                  <a:gd name="connsiteY31" fmla="*/ 174250 h 196774"/>
                  <a:gd name="connsiteX32" fmla="*/ 100626 w 161336"/>
                  <a:gd name="connsiteY32" fmla="*/ 166968 h 196774"/>
                  <a:gd name="connsiteX33" fmla="*/ 101315 w 161336"/>
                  <a:gd name="connsiteY33" fmla="*/ 166575 h 196774"/>
                  <a:gd name="connsiteX34" fmla="*/ 110859 w 161336"/>
                  <a:gd name="connsiteY34" fmla="*/ 165984 h 196774"/>
                  <a:gd name="connsiteX35" fmla="*/ 120994 w 161336"/>
                  <a:gd name="connsiteY35" fmla="*/ 165296 h 196774"/>
                  <a:gd name="connsiteX36" fmla="*/ 125323 w 161336"/>
                  <a:gd name="connsiteY36" fmla="*/ 138827 h 196774"/>
                  <a:gd name="connsiteX37" fmla="*/ 144314 w 161336"/>
                  <a:gd name="connsiteY37" fmla="*/ 86480 h 196774"/>
                  <a:gd name="connsiteX38" fmla="*/ 160352 w 161336"/>
                  <a:gd name="connsiteY38" fmla="*/ 65227 h 196774"/>
                  <a:gd name="connsiteX39" fmla="*/ 158483 w 161336"/>
                  <a:gd name="connsiteY39" fmla="*/ 58930 h 196774"/>
                  <a:gd name="connsiteX40" fmla="*/ 153071 w 161336"/>
                  <a:gd name="connsiteY40" fmla="*/ 57060 h 196774"/>
                  <a:gd name="connsiteX41" fmla="*/ 150611 w 161336"/>
                  <a:gd name="connsiteY41" fmla="*/ 50271 h 196774"/>
                  <a:gd name="connsiteX42" fmla="*/ 147757 w 161336"/>
                  <a:gd name="connsiteY42" fmla="*/ 45745 h 196774"/>
                  <a:gd name="connsiteX43" fmla="*/ 135556 w 161336"/>
                  <a:gd name="connsiteY43" fmla="*/ 46433 h 196774"/>
                  <a:gd name="connsiteX44" fmla="*/ 129751 w 161336"/>
                  <a:gd name="connsiteY44" fmla="*/ 35118 h 196774"/>
                  <a:gd name="connsiteX45" fmla="*/ 140673 w 161336"/>
                  <a:gd name="connsiteY45" fmla="*/ 21933 h 196774"/>
                  <a:gd name="connsiteX46" fmla="*/ 127390 w 161336"/>
                  <a:gd name="connsiteY46" fmla="*/ 16915 h 196774"/>
                  <a:gd name="connsiteX47" fmla="*/ 116467 w 161336"/>
                  <a:gd name="connsiteY47" fmla="*/ 21834 h 196774"/>
                  <a:gd name="connsiteX48" fmla="*/ 100035 w 161336"/>
                  <a:gd name="connsiteY48" fmla="*/ 14553 h 196774"/>
                  <a:gd name="connsiteX49" fmla="*/ 87637 w 161336"/>
                  <a:gd name="connsiteY49" fmla="*/ 89 h 196774"/>
                  <a:gd name="connsiteX50" fmla="*/ 65892 w 161336"/>
                  <a:gd name="connsiteY50" fmla="*/ 8354 h 196774"/>
                  <a:gd name="connsiteX51" fmla="*/ 58709 w 161336"/>
                  <a:gd name="connsiteY51" fmla="*/ 19965 h 196774"/>
                  <a:gd name="connsiteX52" fmla="*/ 46016 w 161336"/>
                  <a:gd name="connsiteY52" fmla="*/ 15045 h 196774"/>
                  <a:gd name="connsiteX53" fmla="*/ 39916 w 161336"/>
                  <a:gd name="connsiteY53" fmla="*/ 29017 h 196774"/>
                  <a:gd name="connsiteX54" fmla="*/ 33225 w 161336"/>
                  <a:gd name="connsiteY54" fmla="*/ 26951 h 196774"/>
                  <a:gd name="connsiteX55" fmla="*/ 33028 w 161336"/>
                  <a:gd name="connsiteY55" fmla="*/ 26557 h 196774"/>
                  <a:gd name="connsiteX56" fmla="*/ 22991 w 161336"/>
                  <a:gd name="connsiteY56" fmla="*/ 33248 h 196774"/>
                  <a:gd name="connsiteX57" fmla="*/ 23188 w 161336"/>
                  <a:gd name="connsiteY57" fmla="*/ 34232 h 196774"/>
                  <a:gd name="connsiteX58" fmla="*/ 19056 w 161336"/>
                  <a:gd name="connsiteY58" fmla="*/ 37971 h 196774"/>
                  <a:gd name="connsiteX59" fmla="*/ 1541 w 161336"/>
                  <a:gd name="connsiteY59" fmla="*/ 38168 h 19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61336" h="196774">
                    <a:moveTo>
                      <a:pt x="1345" y="38070"/>
                    </a:moveTo>
                    <a:lnTo>
                      <a:pt x="557" y="39742"/>
                    </a:lnTo>
                    <a:cubicBezTo>
                      <a:pt x="-4560" y="51058"/>
                      <a:pt x="27124" y="48401"/>
                      <a:pt x="31749" y="61193"/>
                    </a:cubicBezTo>
                    <a:cubicBezTo>
                      <a:pt x="31847" y="62177"/>
                      <a:pt x="35881" y="69556"/>
                      <a:pt x="30666" y="71131"/>
                    </a:cubicBezTo>
                    <a:cubicBezTo>
                      <a:pt x="28403" y="71819"/>
                      <a:pt x="25451" y="70147"/>
                      <a:pt x="24074" y="67392"/>
                    </a:cubicBezTo>
                    <a:lnTo>
                      <a:pt x="22893" y="65030"/>
                    </a:lnTo>
                    <a:cubicBezTo>
                      <a:pt x="20335" y="59815"/>
                      <a:pt x="13349" y="61488"/>
                      <a:pt x="14332" y="61586"/>
                    </a:cubicBezTo>
                    <a:cubicBezTo>
                      <a:pt x="11381" y="62373"/>
                      <a:pt x="10397" y="64932"/>
                      <a:pt x="12168" y="67490"/>
                    </a:cubicBezTo>
                    <a:cubicBezTo>
                      <a:pt x="19351" y="75558"/>
                      <a:pt x="23287" y="88350"/>
                      <a:pt x="30961" y="84020"/>
                    </a:cubicBezTo>
                    <a:cubicBezTo>
                      <a:pt x="34012" y="82840"/>
                      <a:pt x="42573" y="74870"/>
                      <a:pt x="45229" y="81856"/>
                    </a:cubicBezTo>
                    <a:cubicBezTo>
                      <a:pt x="46213" y="84513"/>
                      <a:pt x="49460" y="86087"/>
                      <a:pt x="52412" y="85201"/>
                    </a:cubicBezTo>
                    <a:lnTo>
                      <a:pt x="53986" y="84709"/>
                    </a:lnTo>
                    <a:cubicBezTo>
                      <a:pt x="66187" y="81069"/>
                      <a:pt x="40899" y="59323"/>
                      <a:pt x="50149" y="51550"/>
                    </a:cubicBezTo>
                    <a:cubicBezTo>
                      <a:pt x="52314" y="49779"/>
                      <a:pt x="55462" y="50369"/>
                      <a:pt x="57233" y="52829"/>
                    </a:cubicBezTo>
                    <a:cubicBezTo>
                      <a:pt x="66089" y="65522"/>
                      <a:pt x="72682" y="73000"/>
                      <a:pt x="73468" y="80872"/>
                    </a:cubicBezTo>
                    <a:cubicBezTo>
                      <a:pt x="73468" y="82053"/>
                      <a:pt x="75239" y="88842"/>
                      <a:pt x="71993" y="95238"/>
                    </a:cubicBezTo>
                    <a:cubicBezTo>
                      <a:pt x="60185" y="118459"/>
                      <a:pt x="58807" y="124166"/>
                      <a:pt x="52412" y="123772"/>
                    </a:cubicBezTo>
                    <a:cubicBezTo>
                      <a:pt x="49657" y="123576"/>
                      <a:pt x="47394" y="125937"/>
                      <a:pt x="47295" y="129086"/>
                    </a:cubicBezTo>
                    <a:lnTo>
                      <a:pt x="47000" y="138827"/>
                    </a:lnTo>
                    <a:cubicBezTo>
                      <a:pt x="46606" y="151520"/>
                      <a:pt x="59496" y="158211"/>
                      <a:pt x="51723" y="164509"/>
                    </a:cubicBezTo>
                    <a:lnTo>
                      <a:pt x="49854" y="165984"/>
                    </a:lnTo>
                    <a:cubicBezTo>
                      <a:pt x="45229" y="169822"/>
                      <a:pt x="47590" y="176906"/>
                      <a:pt x="47590" y="175922"/>
                    </a:cubicBezTo>
                    <a:cubicBezTo>
                      <a:pt x="48476" y="178874"/>
                      <a:pt x="51723" y="181531"/>
                      <a:pt x="54872" y="181826"/>
                    </a:cubicBezTo>
                    <a:cubicBezTo>
                      <a:pt x="60480" y="181826"/>
                      <a:pt x="74846" y="186254"/>
                      <a:pt x="70418" y="178973"/>
                    </a:cubicBezTo>
                    <a:cubicBezTo>
                      <a:pt x="69434" y="176611"/>
                      <a:pt x="63334" y="170412"/>
                      <a:pt x="65990" y="163131"/>
                    </a:cubicBezTo>
                    <a:cubicBezTo>
                      <a:pt x="68746" y="157916"/>
                      <a:pt x="69434" y="145223"/>
                      <a:pt x="77306" y="148273"/>
                    </a:cubicBezTo>
                    <a:cubicBezTo>
                      <a:pt x="78782" y="149257"/>
                      <a:pt x="89212" y="150635"/>
                      <a:pt x="85079" y="157129"/>
                    </a:cubicBezTo>
                    <a:lnTo>
                      <a:pt x="83702" y="159392"/>
                    </a:lnTo>
                    <a:cubicBezTo>
                      <a:pt x="79569" y="165984"/>
                      <a:pt x="83505" y="169330"/>
                      <a:pt x="82619" y="178284"/>
                    </a:cubicBezTo>
                    <a:cubicBezTo>
                      <a:pt x="82619" y="184680"/>
                      <a:pt x="78093" y="201309"/>
                      <a:pt x="84981" y="195602"/>
                    </a:cubicBezTo>
                    <a:cubicBezTo>
                      <a:pt x="93443" y="187139"/>
                      <a:pt x="107022" y="181924"/>
                      <a:pt x="100823" y="175332"/>
                    </a:cubicBezTo>
                    <a:lnTo>
                      <a:pt x="99838" y="174250"/>
                    </a:lnTo>
                    <a:cubicBezTo>
                      <a:pt x="97773" y="171986"/>
                      <a:pt x="98067" y="168739"/>
                      <a:pt x="100626" y="166968"/>
                    </a:cubicBezTo>
                    <a:lnTo>
                      <a:pt x="101315" y="166575"/>
                    </a:lnTo>
                    <a:cubicBezTo>
                      <a:pt x="103873" y="164804"/>
                      <a:pt x="108104" y="164607"/>
                      <a:pt x="110859" y="165984"/>
                    </a:cubicBezTo>
                    <a:cubicBezTo>
                      <a:pt x="111843" y="166181"/>
                      <a:pt x="119813" y="172479"/>
                      <a:pt x="120994" y="165296"/>
                    </a:cubicBezTo>
                    <a:lnTo>
                      <a:pt x="125323" y="138827"/>
                    </a:lnTo>
                    <a:cubicBezTo>
                      <a:pt x="126209" y="133218"/>
                      <a:pt x="137918" y="94942"/>
                      <a:pt x="144314" y="86480"/>
                    </a:cubicBezTo>
                    <a:lnTo>
                      <a:pt x="160352" y="65227"/>
                    </a:lnTo>
                    <a:cubicBezTo>
                      <a:pt x="162222" y="62767"/>
                      <a:pt x="161336" y="59914"/>
                      <a:pt x="158483" y="58930"/>
                    </a:cubicBezTo>
                    <a:lnTo>
                      <a:pt x="153071" y="57060"/>
                    </a:lnTo>
                    <a:cubicBezTo>
                      <a:pt x="147856" y="55289"/>
                      <a:pt x="150710" y="49287"/>
                      <a:pt x="150611" y="50271"/>
                    </a:cubicBezTo>
                    <a:cubicBezTo>
                      <a:pt x="152087" y="47614"/>
                      <a:pt x="150808" y="45548"/>
                      <a:pt x="147757" y="45745"/>
                    </a:cubicBezTo>
                    <a:lnTo>
                      <a:pt x="135556" y="46433"/>
                    </a:lnTo>
                    <a:cubicBezTo>
                      <a:pt x="128177" y="46827"/>
                      <a:pt x="123552" y="39054"/>
                      <a:pt x="129751" y="35118"/>
                    </a:cubicBezTo>
                    <a:cubicBezTo>
                      <a:pt x="133785" y="31772"/>
                      <a:pt x="146774" y="27738"/>
                      <a:pt x="140673" y="21933"/>
                    </a:cubicBezTo>
                    <a:cubicBezTo>
                      <a:pt x="138410" y="20457"/>
                      <a:pt x="132703" y="11207"/>
                      <a:pt x="127390" y="16915"/>
                    </a:cubicBezTo>
                    <a:cubicBezTo>
                      <a:pt x="126405" y="17603"/>
                      <a:pt x="123158" y="22818"/>
                      <a:pt x="116467" y="21834"/>
                    </a:cubicBezTo>
                    <a:cubicBezTo>
                      <a:pt x="112827" y="20752"/>
                      <a:pt x="103283" y="21834"/>
                      <a:pt x="100035" y="14553"/>
                    </a:cubicBezTo>
                    <a:cubicBezTo>
                      <a:pt x="97084" y="9830"/>
                      <a:pt x="95804" y="-1092"/>
                      <a:pt x="87637" y="89"/>
                    </a:cubicBezTo>
                    <a:cubicBezTo>
                      <a:pt x="79766" y="2057"/>
                      <a:pt x="68155" y="-10"/>
                      <a:pt x="65892" y="8354"/>
                    </a:cubicBezTo>
                    <a:cubicBezTo>
                      <a:pt x="65498" y="9338"/>
                      <a:pt x="64613" y="17800"/>
                      <a:pt x="58709" y="19965"/>
                    </a:cubicBezTo>
                    <a:cubicBezTo>
                      <a:pt x="51821" y="22425"/>
                      <a:pt x="52904" y="13175"/>
                      <a:pt x="46016" y="15045"/>
                    </a:cubicBezTo>
                    <a:cubicBezTo>
                      <a:pt x="39620" y="16816"/>
                      <a:pt x="45721" y="24885"/>
                      <a:pt x="39916" y="29017"/>
                    </a:cubicBezTo>
                    <a:cubicBezTo>
                      <a:pt x="37653" y="30591"/>
                      <a:pt x="34602" y="29706"/>
                      <a:pt x="33225" y="26951"/>
                    </a:cubicBezTo>
                    <a:lnTo>
                      <a:pt x="33028" y="26557"/>
                    </a:lnTo>
                    <a:cubicBezTo>
                      <a:pt x="29584" y="19965"/>
                      <a:pt x="21516" y="26065"/>
                      <a:pt x="22991" y="33248"/>
                    </a:cubicBezTo>
                    <a:lnTo>
                      <a:pt x="23188" y="34232"/>
                    </a:lnTo>
                    <a:cubicBezTo>
                      <a:pt x="23779" y="37282"/>
                      <a:pt x="21909" y="38955"/>
                      <a:pt x="19056" y="37971"/>
                    </a:cubicBezTo>
                    <a:cubicBezTo>
                      <a:pt x="14431" y="37282"/>
                      <a:pt x="4985" y="30788"/>
                      <a:pt x="1541" y="38168"/>
                    </a:cubicBezTo>
                    <a:close/>
                  </a:path>
                </a:pathLst>
              </a:custGeom>
              <a:grpFill/>
              <a:ln w="9835" cap="flat">
                <a:noFill/>
                <a:prstDash val="solid"/>
                <a:miter/>
              </a:ln>
            </p:spPr>
            <p:txBody>
              <a:bodyPr rtlCol="0" anchor="ctr"/>
              <a:lstStyle/>
              <a:p>
                <a:endParaRPr lang="en-IN"/>
              </a:p>
            </p:txBody>
          </p:sp>
          <p:sp>
            <p:nvSpPr>
              <p:cNvPr id="663" name="Freeform: Shape 662">
                <a:extLst>
                  <a:ext uri="{FF2B5EF4-FFF2-40B4-BE49-F238E27FC236}">
                    <a16:creationId xmlns:a16="http://schemas.microsoft.com/office/drawing/2014/main" id="{9AE6811D-3870-F0F9-8077-B8EDF3691651}"/>
                  </a:ext>
                </a:extLst>
              </p:cNvPr>
              <p:cNvSpPr/>
              <p:nvPr/>
            </p:nvSpPr>
            <p:spPr>
              <a:xfrm>
                <a:off x="13083593" y="4007299"/>
                <a:ext cx="11066" cy="11031"/>
              </a:xfrm>
              <a:custGeom>
                <a:avLst/>
                <a:gdLst>
                  <a:gd name="connsiteX0" fmla="*/ 10065 w 11066"/>
                  <a:gd name="connsiteY0" fmla="*/ 1901 h 11031"/>
                  <a:gd name="connsiteX1" fmla="*/ 3275 w 11066"/>
                  <a:gd name="connsiteY1" fmla="*/ 1508 h 11031"/>
                  <a:gd name="connsiteX2" fmla="*/ 1701 w 11066"/>
                  <a:gd name="connsiteY2" fmla="*/ 3082 h 11031"/>
                  <a:gd name="connsiteX3" fmla="*/ 1406 w 11066"/>
                  <a:gd name="connsiteY3" fmla="*/ 9871 h 11031"/>
                  <a:gd name="connsiteX4" fmla="*/ 10065 w 11066"/>
                  <a:gd name="connsiteY4" fmla="*/ 1901 h 11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6" h="11031">
                    <a:moveTo>
                      <a:pt x="10065" y="1901"/>
                    </a:moveTo>
                    <a:cubicBezTo>
                      <a:pt x="8490" y="-460"/>
                      <a:pt x="5440" y="-657"/>
                      <a:pt x="3275" y="1508"/>
                    </a:cubicBezTo>
                    <a:lnTo>
                      <a:pt x="1701" y="3082"/>
                    </a:lnTo>
                    <a:cubicBezTo>
                      <a:pt x="-464" y="5247"/>
                      <a:pt x="-562" y="8297"/>
                      <a:pt x="1406" y="9871"/>
                    </a:cubicBezTo>
                    <a:cubicBezTo>
                      <a:pt x="6227" y="13610"/>
                      <a:pt x="13803" y="7608"/>
                      <a:pt x="10065" y="1901"/>
                    </a:cubicBezTo>
                    <a:close/>
                  </a:path>
                </a:pathLst>
              </a:custGeom>
              <a:grpFill/>
              <a:ln w="9835" cap="flat">
                <a:noFill/>
                <a:prstDash val="solid"/>
                <a:miter/>
              </a:ln>
            </p:spPr>
            <p:txBody>
              <a:bodyPr rtlCol="0" anchor="ctr"/>
              <a:lstStyle/>
              <a:p>
                <a:endParaRPr lang="en-IN"/>
              </a:p>
            </p:txBody>
          </p:sp>
          <p:sp>
            <p:nvSpPr>
              <p:cNvPr id="664" name="Freeform: Shape 663">
                <a:extLst>
                  <a:ext uri="{FF2B5EF4-FFF2-40B4-BE49-F238E27FC236}">
                    <a16:creationId xmlns:a16="http://schemas.microsoft.com/office/drawing/2014/main" id="{21EA1154-DE5D-5C61-5375-079A28527E3B}"/>
                  </a:ext>
                </a:extLst>
              </p:cNvPr>
              <p:cNvSpPr/>
              <p:nvPr/>
            </p:nvSpPr>
            <p:spPr>
              <a:xfrm>
                <a:off x="13124635" y="4096897"/>
                <a:ext cx="7120" cy="10809"/>
              </a:xfrm>
              <a:custGeom>
                <a:avLst/>
                <a:gdLst>
                  <a:gd name="connsiteX0" fmla="*/ 4740 w 7120"/>
                  <a:gd name="connsiteY0" fmla="*/ 466 h 10809"/>
                  <a:gd name="connsiteX1" fmla="*/ 1002 w 7120"/>
                  <a:gd name="connsiteY1" fmla="*/ 10109 h 10809"/>
                  <a:gd name="connsiteX2" fmla="*/ 4740 w 7120"/>
                  <a:gd name="connsiteY2" fmla="*/ 466 h 10809"/>
                </a:gdLst>
                <a:ahLst/>
                <a:cxnLst>
                  <a:cxn ang="0">
                    <a:pos x="connsiteX0" y="connsiteY0"/>
                  </a:cxn>
                  <a:cxn ang="0">
                    <a:pos x="connsiteX1" y="connsiteY1"/>
                  </a:cxn>
                  <a:cxn ang="0">
                    <a:pos x="connsiteX2" y="connsiteY2"/>
                  </a:cxn>
                </a:cxnLst>
                <a:rect l="l" t="t" r="r" b="b"/>
                <a:pathLst>
                  <a:path w="7120" h="10809">
                    <a:moveTo>
                      <a:pt x="4740" y="466"/>
                    </a:moveTo>
                    <a:cubicBezTo>
                      <a:pt x="-573" y="-2387"/>
                      <a:pt x="-770" y="8732"/>
                      <a:pt x="1002" y="10109"/>
                    </a:cubicBezTo>
                    <a:cubicBezTo>
                      <a:pt x="5429" y="13553"/>
                      <a:pt x="10054" y="3320"/>
                      <a:pt x="4740" y="466"/>
                    </a:cubicBezTo>
                    <a:close/>
                  </a:path>
                </a:pathLst>
              </a:custGeom>
              <a:grpFill/>
              <a:ln w="9835" cap="flat">
                <a:noFill/>
                <a:prstDash val="solid"/>
                <a:miter/>
              </a:ln>
            </p:spPr>
            <p:txBody>
              <a:bodyPr rtlCol="0" anchor="ctr"/>
              <a:lstStyle/>
              <a:p>
                <a:endParaRPr lang="en-IN"/>
              </a:p>
            </p:txBody>
          </p:sp>
          <p:sp>
            <p:nvSpPr>
              <p:cNvPr id="665" name="Freeform: Shape 664">
                <a:extLst>
                  <a:ext uri="{FF2B5EF4-FFF2-40B4-BE49-F238E27FC236}">
                    <a16:creationId xmlns:a16="http://schemas.microsoft.com/office/drawing/2014/main" id="{CBF74B5E-42F5-F052-260A-6B5A8EA6BEBE}"/>
                  </a:ext>
                </a:extLst>
              </p:cNvPr>
              <p:cNvSpPr/>
              <p:nvPr/>
            </p:nvSpPr>
            <p:spPr>
              <a:xfrm>
                <a:off x="13106014" y="4103822"/>
                <a:ext cx="9564" cy="22198"/>
              </a:xfrm>
              <a:custGeom>
                <a:avLst/>
                <a:gdLst>
                  <a:gd name="connsiteX0" fmla="*/ 5157 w 9564"/>
                  <a:gd name="connsiteY0" fmla="*/ 1019 h 22198"/>
                  <a:gd name="connsiteX1" fmla="*/ 3977 w 9564"/>
                  <a:gd name="connsiteY1" fmla="*/ 2003 h 22198"/>
                  <a:gd name="connsiteX2" fmla="*/ 533 w 9564"/>
                  <a:gd name="connsiteY2" fmla="*/ 19321 h 22198"/>
                  <a:gd name="connsiteX3" fmla="*/ 4863 w 9564"/>
                  <a:gd name="connsiteY3" fmla="*/ 20896 h 22198"/>
                  <a:gd name="connsiteX4" fmla="*/ 5551 w 9564"/>
                  <a:gd name="connsiteY4" fmla="*/ 20207 h 22198"/>
                  <a:gd name="connsiteX5" fmla="*/ 9487 w 9564"/>
                  <a:gd name="connsiteY5" fmla="*/ 3086 h 22198"/>
                  <a:gd name="connsiteX6" fmla="*/ 5157 w 9564"/>
                  <a:gd name="connsiteY6" fmla="*/ 1019 h 2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4" h="22198">
                    <a:moveTo>
                      <a:pt x="5157" y="1019"/>
                    </a:moveTo>
                    <a:lnTo>
                      <a:pt x="3977" y="2003"/>
                    </a:lnTo>
                    <a:cubicBezTo>
                      <a:pt x="-2222" y="7022"/>
                      <a:pt x="729" y="15877"/>
                      <a:pt x="533" y="19321"/>
                    </a:cubicBezTo>
                    <a:cubicBezTo>
                      <a:pt x="729" y="22371"/>
                      <a:pt x="2697" y="23158"/>
                      <a:pt x="4863" y="20896"/>
                    </a:cubicBezTo>
                    <a:lnTo>
                      <a:pt x="5551" y="20207"/>
                    </a:lnTo>
                    <a:cubicBezTo>
                      <a:pt x="11061" y="14598"/>
                      <a:pt x="9191" y="5939"/>
                      <a:pt x="9487" y="3086"/>
                    </a:cubicBezTo>
                    <a:cubicBezTo>
                      <a:pt x="9487" y="36"/>
                      <a:pt x="7519" y="-948"/>
                      <a:pt x="5157" y="1019"/>
                    </a:cubicBezTo>
                    <a:close/>
                  </a:path>
                </a:pathLst>
              </a:custGeom>
              <a:grpFill/>
              <a:ln w="9835" cap="flat">
                <a:noFill/>
                <a:prstDash val="solid"/>
                <a:miter/>
              </a:ln>
            </p:spPr>
            <p:txBody>
              <a:bodyPr rtlCol="0" anchor="ctr"/>
              <a:lstStyle/>
              <a:p>
                <a:endParaRPr lang="en-IN"/>
              </a:p>
            </p:txBody>
          </p:sp>
          <p:sp>
            <p:nvSpPr>
              <p:cNvPr id="666" name="Freeform: Shape 665">
                <a:extLst>
                  <a:ext uri="{FF2B5EF4-FFF2-40B4-BE49-F238E27FC236}">
                    <a16:creationId xmlns:a16="http://schemas.microsoft.com/office/drawing/2014/main" id="{38CD05C8-0B1E-E2F8-2896-82C17FEA18DC}"/>
                  </a:ext>
                </a:extLst>
              </p:cNvPr>
              <p:cNvSpPr/>
              <p:nvPr/>
            </p:nvSpPr>
            <p:spPr>
              <a:xfrm>
                <a:off x="13367929" y="3958775"/>
                <a:ext cx="12776" cy="9524"/>
              </a:xfrm>
              <a:custGeom>
                <a:avLst/>
                <a:gdLst>
                  <a:gd name="connsiteX0" fmla="*/ 6551 w 12776"/>
                  <a:gd name="connsiteY0" fmla="*/ 9492 h 9524"/>
                  <a:gd name="connsiteX1" fmla="*/ 8421 w 12776"/>
                  <a:gd name="connsiteY1" fmla="*/ 47 h 9524"/>
                  <a:gd name="connsiteX2" fmla="*/ 253 w 12776"/>
                  <a:gd name="connsiteY2" fmla="*/ 5557 h 9524"/>
                  <a:gd name="connsiteX3" fmla="*/ 6649 w 12776"/>
                  <a:gd name="connsiteY3" fmla="*/ 9492 h 9524"/>
                </a:gdLst>
                <a:ahLst/>
                <a:cxnLst>
                  <a:cxn ang="0">
                    <a:pos x="connsiteX0" y="connsiteY0"/>
                  </a:cxn>
                  <a:cxn ang="0">
                    <a:pos x="connsiteX1" y="connsiteY1"/>
                  </a:cxn>
                  <a:cxn ang="0">
                    <a:pos x="connsiteX2" y="connsiteY2"/>
                  </a:cxn>
                  <a:cxn ang="0">
                    <a:pos x="connsiteX3" y="connsiteY3"/>
                  </a:cxn>
                </a:cxnLst>
                <a:rect l="l" t="t" r="r" b="b"/>
                <a:pathLst>
                  <a:path w="12776" h="9524">
                    <a:moveTo>
                      <a:pt x="6551" y="9492"/>
                    </a:moveTo>
                    <a:cubicBezTo>
                      <a:pt x="13143" y="8705"/>
                      <a:pt x="15603" y="-741"/>
                      <a:pt x="8421" y="47"/>
                    </a:cubicBezTo>
                    <a:cubicBezTo>
                      <a:pt x="7436" y="342"/>
                      <a:pt x="-1616" y="-150"/>
                      <a:pt x="253" y="5557"/>
                    </a:cubicBezTo>
                    <a:cubicBezTo>
                      <a:pt x="1041" y="8017"/>
                      <a:pt x="3894" y="9788"/>
                      <a:pt x="6649" y="9492"/>
                    </a:cubicBezTo>
                    <a:close/>
                  </a:path>
                </a:pathLst>
              </a:custGeom>
              <a:grpFill/>
              <a:ln w="9835" cap="flat">
                <a:noFill/>
                <a:prstDash val="solid"/>
                <a:miter/>
              </a:ln>
            </p:spPr>
            <p:txBody>
              <a:bodyPr rtlCol="0" anchor="ctr"/>
              <a:lstStyle/>
              <a:p>
                <a:endParaRPr lang="en-IN"/>
              </a:p>
            </p:txBody>
          </p:sp>
          <p:sp>
            <p:nvSpPr>
              <p:cNvPr id="667" name="Freeform: Shape 666">
                <a:extLst>
                  <a:ext uri="{FF2B5EF4-FFF2-40B4-BE49-F238E27FC236}">
                    <a16:creationId xmlns:a16="http://schemas.microsoft.com/office/drawing/2014/main" id="{17AA3F00-E5BE-EF55-FB98-5AFB26810767}"/>
                  </a:ext>
                </a:extLst>
              </p:cNvPr>
              <p:cNvSpPr/>
              <p:nvPr/>
            </p:nvSpPr>
            <p:spPr>
              <a:xfrm>
                <a:off x="13298573" y="3980661"/>
                <a:ext cx="12498" cy="10149"/>
              </a:xfrm>
              <a:custGeom>
                <a:avLst/>
                <a:gdLst>
                  <a:gd name="connsiteX0" fmla="*/ 11359 w 12498"/>
                  <a:gd name="connsiteY0" fmla="*/ 4433 h 10149"/>
                  <a:gd name="connsiteX1" fmla="*/ 3585 w 12498"/>
                  <a:gd name="connsiteY1" fmla="*/ 103 h 10149"/>
                  <a:gd name="connsiteX2" fmla="*/ 535 w 12498"/>
                  <a:gd name="connsiteY2" fmla="*/ 5023 h 10149"/>
                  <a:gd name="connsiteX3" fmla="*/ 2011 w 12498"/>
                  <a:gd name="connsiteY3" fmla="*/ 7778 h 10149"/>
                  <a:gd name="connsiteX4" fmla="*/ 11359 w 12498"/>
                  <a:gd name="connsiteY4" fmla="*/ 4334 h 10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 h="10149">
                    <a:moveTo>
                      <a:pt x="11359" y="4433"/>
                    </a:moveTo>
                    <a:cubicBezTo>
                      <a:pt x="16081" y="-1471"/>
                      <a:pt x="4668" y="300"/>
                      <a:pt x="3585" y="103"/>
                    </a:cubicBezTo>
                    <a:cubicBezTo>
                      <a:pt x="535" y="103"/>
                      <a:pt x="-842" y="2366"/>
                      <a:pt x="535" y="5023"/>
                    </a:cubicBezTo>
                    <a:lnTo>
                      <a:pt x="2011" y="7778"/>
                    </a:lnTo>
                    <a:cubicBezTo>
                      <a:pt x="5357" y="14370"/>
                      <a:pt x="10178" y="5220"/>
                      <a:pt x="11359" y="4334"/>
                    </a:cubicBezTo>
                    <a:close/>
                  </a:path>
                </a:pathLst>
              </a:custGeom>
              <a:grpFill/>
              <a:ln w="9835" cap="flat">
                <a:noFill/>
                <a:prstDash val="solid"/>
                <a:miter/>
              </a:ln>
            </p:spPr>
            <p:txBody>
              <a:bodyPr rtlCol="0" anchor="ctr"/>
              <a:lstStyle/>
              <a:p>
                <a:endParaRPr lang="en-IN"/>
              </a:p>
            </p:txBody>
          </p:sp>
          <p:sp>
            <p:nvSpPr>
              <p:cNvPr id="668" name="Freeform: Shape 667">
                <a:extLst>
                  <a:ext uri="{FF2B5EF4-FFF2-40B4-BE49-F238E27FC236}">
                    <a16:creationId xmlns:a16="http://schemas.microsoft.com/office/drawing/2014/main" id="{CD9BC740-B0A8-58BC-8BB2-93054E1FCA3F}"/>
                  </a:ext>
                </a:extLst>
              </p:cNvPr>
              <p:cNvSpPr/>
              <p:nvPr/>
            </p:nvSpPr>
            <p:spPr>
              <a:xfrm>
                <a:off x="13159986" y="4213791"/>
                <a:ext cx="15808" cy="31689"/>
              </a:xfrm>
              <a:custGeom>
                <a:avLst/>
                <a:gdLst>
                  <a:gd name="connsiteX0" fmla="*/ 4221 w 15808"/>
                  <a:gd name="connsiteY0" fmla="*/ 30969 h 31689"/>
                  <a:gd name="connsiteX1" fmla="*/ 5795 w 15808"/>
                  <a:gd name="connsiteY1" fmla="*/ 31461 h 31689"/>
                  <a:gd name="connsiteX2" fmla="*/ 11994 w 15808"/>
                  <a:gd name="connsiteY2" fmla="*/ 27525 h 31689"/>
                  <a:gd name="connsiteX3" fmla="*/ 15734 w 15808"/>
                  <a:gd name="connsiteY3" fmla="*/ 4697 h 31689"/>
                  <a:gd name="connsiteX4" fmla="*/ 11404 w 15808"/>
                  <a:gd name="connsiteY4" fmla="*/ 72 h 31689"/>
                  <a:gd name="connsiteX5" fmla="*/ 187 w 15808"/>
                  <a:gd name="connsiteY5" fmla="*/ 23884 h 31689"/>
                  <a:gd name="connsiteX6" fmla="*/ 4123 w 15808"/>
                  <a:gd name="connsiteY6" fmla="*/ 30870 h 3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08" h="31689">
                    <a:moveTo>
                      <a:pt x="4221" y="30969"/>
                    </a:moveTo>
                    <a:lnTo>
                      <a:pt x="5795" y="31461"/>
                    </a:lnTo>
                    <a:cubicBezTo>
                      <a:pt x="8747" y="32346"/>
                      <a:pt x="11503" y="30575"/>
                      <a:pt x="11994" y="27525"/>
                    </a:cubicBezTo>
                    <a:lnTo>
                      <a:pt x="15734" y="4697"/>
                    </a:lnTo>
                    <a:cubicBezTo>
                      <a:pt x="16225" y="1647"/>
                      <a:pt x="14257" y="-420"/>
                      <a:pt x="11404" y="72"/>
                    </a:cubicBezTo>
                    <a:cubicBezTo>
                      <a:pt x="3139" y="1548"/>
                      <a:pt x="3926" y="13553"/>
                      <a:pt x="187" y="23884"/>
                    </a:cubicBezTo>
                    <a:cubicBezTo>
                      <a:pt x="-600" y="26836"/>
                      <a:pt x="1171" y="29985"/>
                      <a:pt x="4123" y="30870"/>
                    </a:cubicBezTo>
                    <a:close/>
                  </a:path>
                </a:pathLst>
              </a:custGeom>
              <a:grpFill/>
              <a:ln w="9835" cap="flat">
                <a:noFill/>
                <a:prstDash val="solid"/>
                <a:miter/>
              </a:ln>
            </p:spPr>
            <p:txBody>
              <a:bodyPr rtlCol="0" anchor="ctr"/>
              <a:lstStyle/>
              <a:p>
                <a:endParaRPr lang="en-IN"/>
              </a:p>
            </p:txBody>
          </p:sp>
          <p:sp>
            <p:nvSpPr>
              <p:cNvPr id="669" name="Freeform: Shape 668">
                <a:extLst>
                  <a:ext uri="{FF2B5EF4-FFF2-40B4-BE49-F238E27FC236}">
                    <a16:creationId xmlns:a16="http://schemas.microsoft.com/office/drawing/2014/main" id="{ECE984D7-19A8-EACD-BD8E-1BA96795BF29}"/>
                  </a:ext>
                </a:extLst>
              </p:cNvPr>
              <p:cNvSpPr/>
              <p:nvPr/>
            </p:nvSpPr>
            <p:spPr>
              <a:xfrm>
                <a:off x="13128152" y="4239551"/>
                <a:ext cx="21135" cy="21552"/>
              </a:xfrm>
              <a:custGeom>
                <a:avLst/>
                <a:gdLst>
                  <a:gd name="connsiteX0" fmla="*/ 6537 w 21135"/>
                  <a:gd name="connsiteY0" fmla="*/ 19870 h 21552"/>
                  <a:gd name="connsiteX1" fmla="*/ 19919 w 21135"/>
                  <a:gd name="connsiteY1" fmla="*/ 11703 h 21552"/>
                  <a:gd name="connsiteX2" fmla="*/ 11653 w 21135"/>
                  <a:gd name="connsiteY2" fmla="*/ 782 h 21552"/>
                  <a:gd name="connsiteX3" fmla="*/ 1223 w 21135"/>
                  <a:gd name="connsiteY3" fmla="*/ 6390 h 21552"/>
                  <a:gd name="connsiteX4" fmla="*/ 6537 w 21135"/>
                  <a:gd name="connsiteY4" fmla="*/ 19870 h 21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35" h="21552">
                    <a:moveTo>
                      <a:pt x="6537" y="19870"/>
                    </a:moveTo>
                    <a:cubicBezTo>
                      <a:pt x="12146" y="25774"/>
                      <a:pt x="16868" y="14459"/>
                      <a:pt x="19919" y="11703"/>
                    </a:cubicBezTo>
                    <a:cubicBezTo>
                      <a:pt x="24740" y="5504"/>
                      <a:pt x="13818" y="2651"/>
                      <a:pt x="11653" y="782"/>
                    </a:cubicBezTo>
                    <a:cubicBezTo>
                      <a:pt x="5455" y="-2662"/>
                      <a:pt x="1223" y="6390"/>
                      <a:pt x="1223" y="6390"/>
                    </a:cubicBezTo>
                    <a:cubicBezTo>
                      <a:pt x="-3106" y="12786"/>
                      <a:pt x="5356" y="18099"/>
                      <a:pt x="6537" y="19870"/>
                    </a:cubicBezTo>
                    <a:close/>
                  </a:path>
                </a:pathLst>
              </a:custGeom>
              <a:grpFill/>
              <a:ln w="9835" cap="flat">
                <a:noFill/>
                <a:prstDash val="solid"/>
                <a:miter/>
              </a:ln>
            </p:spPr>
            <p:txBody>
              <a:bodyPr rtlCol="0" anchor="ctr"/>
              <a:lstStyle/>
              <a:p>
                <a:endParaRPr lang="en-IN"/>
              </a:p>
            </p:txBody>
          </p:sp>
          <p:sp>
            <p:nvSpPr>
              <p:cNvPr id="670" name="Freeform: Shape 669">
                <a:extLst>
                  <a:ext uri="{FF2B5EF4-FFF2-40B4-BE49-F238E27FC236}">
                    <a16:creationId xmlns:a16="http://schemas.microsoft.com/office/drawing/2014/main" id="{D19DA005-F53E-BE7C-A3D9-3AE154A2978F}"/>
                  </a:ext>
                </a:extLst>
              </p:cNvPr>
              <p:cNvSpPr/>
              <p:nvPr/>
            </p:nvSpPr>
            <p:spPr>
              <a:xfrm>
                <a:off x="13055455" y="3951649"/>
                <a:ext cx="18824" cy="38045"/>
              </a:xfrm>
              <a:custGeom>
                <a:avLst/>
                <a:gdLst>
                  <a:gd name="connsiteX0" fmla="*/ 10061 w 18824"/>
                  <a:gd name="connsiteY0" fmla="*/ 30689 h 38045"/>
                  <a:gd name="connsiteX1" fmla="*/ 18720 w 18824"/>
                  <a:gd name="connsiteY1" fmla="*/ 4221 h 38045"/>
                  <a:gd name="connsiteX2" fmla="*/ 14390 w 18824"/>
                  <a:gd name="connsiteY2" fmla="*/ 187 h 38045"/>
                  <a:gd name="connsiteX3" fmla="*/ 11635 w 18824"/>
                  <a:gd name="connsiteY3" fmla="*/ 974 h 38045"/>
                  <a:gd name="connsiteX4" fmla="*/ 4945 w 18824"/>
                  <a:gd name="connsiteY4" fmla="*/ 14749 h 38045"/>
                  <a:gd name="connsiteX5" fmla="*/ 320 w 18824"/>
                  <a:gd name="connsiteY5" fmla="*/ 35216 h 38045"/>
                  <a:gd name="connsiteX6" fmla="*/ 10061 w 18824"/>
                  <a:gd name="connsiteY6" fmla="*/ 30788 h 38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24" h="38045">
                    <a:moveTo>
                      <a:pt x="10061" y="30689"/>
                    </a:moveTo>
                    <a:cubicBezTo>
                      <a:pt x="15472" y="25966"/>
                      <a:pt x="15375" y="21243"/>
                      <a:pt x="18720" y="4221"/>
                    </a:cubicBezTo>
                    <a:cubicBezTo>
                      <a:pt x="19310" y="1171"/>
                      <a:pt x="17342" y="-601"/>
                      <a:pt x="14390" y="187"/>
                    </a:cubicBezTo>
                    <a:lnTo>
                      <a:pt x="11635" y="974"/>
                    </a:lnTo>
                    <a:cubicBezTo>
                      <a:pt x="4059" y="3040"/>
                      <a:pt x="4945" y="14749"/>
                      <a:pt x="4945" y="14749"/>
                    </a:cubicBezTo>
                    <a:cubicBezTo>
                      <a:pt x="4256" y="21637"/>
                      <a:pt x="2288" y="27934"/>
                      <a:pt x="320" y="35216"/>
                    </a:cubicBezTo>
                    <a:cubicBezTo>
                      <a:pt x="-1845" y="42989"/>
                      <a:pt x="7601" y="32461"/>
                      <a:pt x="10061" y="30788"/>
                    </a:cubicBezTo>
                    <a:close/>
                  </a:path>
                </a:pathLst>
              </a:custGeom>
              <a:grpFill/>
              <a:ln w="9835" cap="flat">
                <a:noFill/>
                <a:prstDash val="solid"/>
                <a:miter/>
              </a:ln>
            </p:spPr>
            <p:txBody>
              <a:bodyPr rtlCol="0" anchor="ctr"/>
              <a:lstStyle/>
              <a:p>
                <a:endParaRPr lang="en-IN"/>
              </a:p>
            </p:txBody>
          </p:sp>
          <p:sp>
            <p:nvSpPr>
              <p:cNvPr id="671" name="Freeform: Shape 670">
                <a:extLst>
                  <a:ext uri="{FF2B5EF4-FFF2-40B4-BE49-F238E27FC236}">
                    <a16:creationId xmlns:a16="http://schemas.microsoft.com/office/drawing/2014/main" id="{C030B7E5-B4C6-94F1-6D31-0973919DE146}"/>
                  </a:ext>
                </a:extLst>
              </p:cNvPr>
              <p:cNvSpPr/>
              <p:nvPr/>
            </p:nvSpPr>
            <p:spPr>
              <a:xfrm>
                <a:off x="13020826" y="4081521"/>
                <a:ext cx="15879" cy="13762"/>
              </a:xfrm>
              <a:custGeom>
                <a:avLst/>
                <a:gdLst>
                  <a:gd name="connsiteX0" fmla="*/ 5823 w 15879"/>
                  <a:gd name="connsiteY0" fmla="*/ 98 h 13762"/>
                  <a:gd name="connsiteX1" fmla="*/ 18 w 15879"/>
                  <a:gd name="connsiteY1" fmla="*/ 5412 h 13762"/>
                  <a:gd name="connsiteX2" fmla="*/ 18 w 15879"/>
                  <a:gd name="connsiteY2" fmla="*/ 8364 h 13762"/>
                  <a:gd name="connsiteX3" fmla="*/ 10055 w 15879"/>
                  <a:gd name="connsiteY3" fmla="*/ 13579 h 13762"/>
                  <a:gd name="connsiteX4" fmla="*/ 15860 w 15879"/>
                  <a:gd name="connsiteY4" fmla="*/ 7773 h 13762"/>
                  <a:gd name="connsiteX5" fmla="*/ 15860 w 15879"/>
                  <a:gd name="connsiteY5" fmla="*/ 6002 h 13762"/>
                  <a:gd name="connsiteX6" fmla="*/ 5823 w 15879"/>
                  <a:gd name="connsiteY6" fmla="*/ 0 h 1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9" h="13762">
                    <a:moveTo>
                      <a:pt x="5823" y="98"/>
                    </a:moveTo>
                    <a:cubicBezTo>
                      <a:pt x="2773" y="0"/>
                      <a:pt x="117" y="2361"/>
                      <a:pt x="18" y="5412"/>
                    </a:cubicBezTo>
                    <a:lnTo>
                      <a:pt x="18" y="8364"/>
                    </a:lnTo>
                    <a:cubicBezTo>
                      <a:pt x="-473" y="15645"/>
                      <a:pt x="9071" y="13382"/>
                      <a:pt x="10055" y="13579"/>
                    </a:cubicBezTo>
                    <a:cubicBezTo>
                      <a:pt x="13105" y="13480"/>
                      <a:pt x="15761" y="10824"/>
                      <a:pt x="15860" y="7773"/>
                    </a:cubicBezTo>
                    <a:lnTo>
                      <a:pt x="15860" y="6002"/>
                    </a:lnTo>
                    <a:cubicBezTo>
                      <a:pt x="16352" y="-1476"/>
                      <a:pt x="7201" y="492"/>
                      <a:pt x="5823" y="0"/>
                    </a:cubicBezTo>
                    <a:close/>
                  </a:path>
                </a:pathLst>
              </a:custGeom>
              <a:grpFill/>
              <a:ln w="9835" cap="flat">
                <a:noFill/>
                <a:prstDash val="solid"/>
                <a:miter/>
              </a:ln>
            </p:spPr>
            <p:txBody>
              <a:bodyPr rtlCol="0" anchor="ctr"/>
              <a:lstStyle/>
              <a:p>
                <a:endParaRPr lang="en-IN"/>
              </a:p>
            </p:txBody>
          </p:sp>
          <p:sp>
            <p:nvSpPr>
              <p:cNvPr id="672" name="Freeform: Shape 671">
                <a:extLst>
                  <a:ext uri="{FF2B5EF4-FFF2-40B4-BE49-F238E27FC236}">
                    <a16:creationId xmlns:a16="http://schemas.microsoft.com/office/drawing/2014/main" id="{03B169F5-8995-6865-2E73-A8BFEFCC1844}"/>
                  </a:ext>
                </a:extLst>
              </p:cNvPr>
              <p:cNvSpPr/>
              <p:nvPr/>
            </p:nvSpPr>
            <p:spPr>
              <a:xfrm>
                <a:off x="13044529" y="4058978"/>
                <a:ext cx="13719" cy="17956"/>
              </a:xfrm>
              <a:custGeom>
                <a:avLst/>
                <a:gdLst>
                  <a:gd name="connsiteX0" fmla="*/ 1013 w 13719"/>
                  <a:gd name="connsiteY0" fmla="*/ 6997 h 17956"/>
                  <a:gd name="connsiteX1" fmla="*/ 4162 w 13719"/>
                  <a:gd name="connsiteY1" fmla="*/ 17230 h 17956"/>
                  <a:gd name="connsiteX2" fmla="*/ 13706 w 13719"/>
                  <a:gd name="connsiteY2" fmla="*/ 6308 h 17956"/>
                  <a:gd name="connsiteX3" fmla="*/ 13706 w 13719"/>
                  <a:gd name="connsiteY3" fmla="*/ 4537 h 17956"/>
                  <a:gd name="connsiteX4" fmla="*/ 7114 w 13719"/>
                  <a:gd name="connsiteY4" fmla="*/ 306 h 17956"/>
                  <a:gd name="connsiteX5" fmla="*/ 915 w 13719"/>
                  <a:gd name="connsiteY5" fmla="*/ 6997 h 1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9" h="17956">
                    <a:moveTo>
                      <a:pt x="1013" y="6997"/>
                    </a:moveTo>
                    <a:cubicBezTo>
                      <a:pt x="1013" y="9162"/>
                      <a:pt x="-2726" y="20969"/>
                      <a:pt x="4162" y="17230"/>
                    </a:cubicBezTo>
                    <a:cubicBezTo>
                      <a:pt x="5933" y="15853"/>
                      <a:pt x="14099" y="13786"/>
                      <a:pt x="13706" y="6308"/>
                    </a:cubicBezTo>
                    <a:lnTo>
                      <a:pt x="13706" y="4537"/>
                    </a:lnTo>
                    <a:cubicBezTo>
                      <a:pt x="13313" y="-1367"/>
                      <a:pt x="6129" y="109"/>
                      <a:pt x="7114" y="306"/>
                    </a:cubicBezTo>
                    <a:cubicBezTo>
                      <a:pt x="4162" y="896"/>
                      <a:pt x="1308" y="3947"/>
                      <a:pt x="915" y="6997"/>
                    </a:cubicBezTo>
                    <a:close/>
                  </a:path>
                </a:pathLst>
              </a:custGeom>
              <a:grpFill/>
              <a:ln w="9835" cap="flat">
                <a:noFill/>
                <a:prstDash val="solid"/>
                <a:miter/>
              </a:ln>
            </p:spPr>
            <p:txBody>
              <a:bodyPr rtlCol="0" anchor="ctr"/>
              <a:lstStyle/>
              <a:p>
                <a:endParaRPr lang="en-IN"/>
              </a:p>
            </p:txBody>
          </p:sp>
          <p:sp>
            <p:nvSpPr>
              <p:cNvPr id="673" name="Freeform: Shape 672">
                <a:extLst>
                  <a:ext uri="{FF2B5EF4-FFF2-40B4-BE49-F238E27FC236}">
                    <a16:creationId xmlns:a16="http://schemas.microsoft.com/office/drawing/2014/main" id="{E2EDF756-456B-103E-2DEB-5201D4763075}"/>
                  </a:ext>
                </a:extLst>
              </p:cNvPr>
              <p:cNvSpPr/>
              <p:nvPr/>
            </p:nvSpPr>
            <p:spPr>
              <a:xfrm>
                <a:off x="13058861" y="4374633"/>
                <a:ext cx="23521" cy="26520"/>
              </a:xfrm>
              <a:custGeom>
                <a:avLst/>
                <a:gdLst>
                  <a:gd name="connsiteX0" fmla="*/ 18462 w 23521"/>
                  <a:gd name="connsiteY0" fmla="*/ 14179 h 26520"/>
                  <a:gd name="connsiteX1" fmla="*/ 23481 w 23521"/>
                  <a:gd name="connsiteY1" fmla="*/ 2765 h 26520"/>
                  <a:gd name="connsiteX2" fmla="*/ 3605 w 23521"/>
                  <a:gd name="connsiteY2" fmla="*/ 9160 h 26520"/>
                  <a:gd name="connsiteX3" fmla="*/ 1636 w 23521"/>
                  <a:gd name="connsiteY3" fmla="*/ 23723 h 26520"/>
                  <a:gd name="connsiteX4" fmla="*/ 18561 w 23521"/>
                  <a:gd name="connsiteY4" fmla="*/ 14179 h 2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21" h="26520">
                    <a:moveTo>
                      <a:pt x="18462" y="14179"/>
                    </a:moveTo>
                    <a:cubicBezTo>
                      <a:pt x="23284" y="9554"/>
                      <a:pt x="23185" y="3749"/>
                      <a:pt x="23481" y="2765"/>
                    </a:cubicBezTo>
                    <a:cubicBezTo>
                      <a:pt x="24563" y="-6091"/>
                      <a:pt x="3605" y="9160"/>
                      <a:pt x="3605" y="9160"/>
                    </a:cubicBezTo>
                    <a:cubicBezTo>
                      <a:pt x="-2988" y="12998"/>
                      <a:pt x="1440" y="21558"/>
                      <a:pt x="1636" y="23723"/>
                    </a:cubicBezTo>
                    <a:cubicBezTo>
                      <a:pt x="3703" y="32283"/>
                      <a:pt x="12460" y="18901"/>
                      <a:pt x="18561" y="14179"/>
                    </a:cubicBezTo>
                    <a:close/>
                  </a:path>
                </a:pathLst>
              </a:custGeom>
              <a:grpFill/>
              <a:ln w="9835" cap="flat">
                <a:noFill/>
                <a:prstDash val="solid"/>
                <a:miter/>
              </a:ln>
            </p:spPr>
            <p:txBody>
              <a:bodyPr rtlCol="0" anchor="ctr"/>
              <a:lstStyle/>
              <a:p>
                <a:endParaRPr lang="en-IN"/>
              </a:p>
            </p:txBody>
          </p:sp>
          <p:sp>
            <p:nvSpPr>
              <p:cNvPr id="674" name="Freeform: Shape 673">
                <a:extLst>
                  <a:ext uri="{FF2B5EF4-FFF2-40B4-BE49-F238E27FC236}">
                    <a16:creationId xmlns:a16="http://schemas.microsoft.com/office/drawing/2014/main" id="{570AA80F-FE5A-0056-813E-907B332F3402}"/>
                  </a:ext>
                </a:extLst>
              </p:cNvPr>
              <p:cNvSpPr/>
              <p:nvPr/>
            </p:nvSpPr>
            <p:spPr>
              <a:xfrm>
                <a:off x="13035899" y="4413008"/>
                <a:ext cx="11568" cy="17951"/>
              </a:xfrm>
              <a:custGeom>
                <a:avLst/>
                <a:gdLst>
                  <a:gd name="connsiteX0" fmla="*/ 0 w 11568"/>
                  <a:gd name="connsiteY0" fmla="*/ 7290 h 17951"/>
                  <a:gd name="connsiteX1" fmla="*/ 0 w 11568"/>
                  <a:gd name="connsiteY1" fmla="*/ 13981 h 17951"/>
                  <a:gd name="connsiteX2" fmla="*/ 5215 w 11568"/>
                  <a:gd name="connsiteY2" fmla="*/ 17622 h 17951"/>
                  <a:gd name="connsiteX3" fmla="*/ 7675 w 11568"/>
                  <a:gd name="connsiteY3" fmla="*/ 16638 h 17951"/>
                  <a:gd name="connsiteX4" fmla="*/ 10037 w 11568"/>
                  <a:gd name="connsiteY4" fmla="*/ 4043 h 17951"/>
                  <a:gd name="connsiteX5" fmla="*/ 0 w 11568"/>
                  <a:gd name="connsiteY5" fmla="*/ 7290 h 1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68" h="17951">
                    <a:moveTo>
                      <a:pt x="0" y="7290"/>
                    </a:moveTo>
                    <a:lnTo>
                      <a:pt x="0" y="13981"/>
                    </a:lnTo>
                    <a:cubicBezTo>
                      <a:pt x="0" y="17031"/>
                      <a:pt x="2362" y="18704"/>
                      <a:pt x="5215" y="17622"/>
                    </a:cubicBezTo>
                    <a:lnTo>
                      <a:pt x="7675" y="16638"/>
                    </a:lnTo>
                    <a:cubicBezTo>
                      <a:pt x="14662" y="13981"/>
                      <a:pt x="10135" y="5618"/>
                      <a:pt x="10037" y="4043"/>
                    </a:cubicBezTo>
                    <a:cubicBezTo>
                      <a:pt x="8167" y="-3041"/>
                      <a:pt x="0" y="-90"/>
                      <a:pt x="0" y="7290"/>
                    </a:cubicBezTo>
                    <a:close/>
                  </a:path>
                </a:pathLst>
              </a:custGeom>
              <a:grpFill/>
              <a:ln w="9835" cap="flat">
                <a:noFill/>
                <a:prstDash val="solid"/>
                <a:miter/>
              </a:ln>
            </p:spPr>
            <p:txBody>
              <a:bodyPr rtlCol="0" anchor="ctr"/>
              <a:lstStyle/>
              <a:p>
                <a:endParaRPr lang="en-IN"/>
              </a:p>
            </p:txBody>
          </p:sp>
          <p:sp>
            <p:nvSpPr>
              <p:cNvPr id="675" name="Freeform: Shape 674">
                <a:extLst>
                  <a:ext uri="{FF2B5EF4-FFF2-40B4-BE49-F238E27FC236}">
                    <a16:creationId xmlns:a16="http://schemas.microsoft.com/office/drawing/2014/main" id="{258D2CE2-D885-63EC-CDB8-EE8745864EC9}"/>
                  </a:ext>
                </a:extLst>
              </p:cNvPr>
              <p:cNvSpPr/>
              <p:nvPr/>
            </p:nvSpPr>
            <p:spPr>
              <a:xfrm>
                <a:off x="13011849" y="4439812"/>
                <a:ext cx="14612" cy="14135"/>
              </a:xfrm>
              <a:custGeom>
                <a:avLst/>
                <a:gdLst>
                  <a:gd name="connsiteX0" fmla="*/ 42 w 14612"/>
                  <a:gd name="connsiteY0" fmla="*/ 4988 h 14135"/>
                  <a:gd name="connsiteX1" fmla="*/ 5355 w 14612"/>
                  <a:gd name="connsiteY1" fmla="*/ 12761 h 14135"/>
                  <a:gd name="connsiteX2" fmla="*/ 11751 w 14612"/>
                  <a:gd name="connsiteY2" fmla="*/ 658 h 14135"/>
                  <a:gd name="connsiteX3" fmla="*/ 42 w 14612"/>
                  <a:gd name="connsiteY3" fmla="*/ 4889 h 14135"/>
                </a:gdLst>
                <a:ahLst/>
                <a:cxnLst>
                  <a:cxn ang="0">
                    <a:pos x="connsiteX0" y="connsiteY0"/>
                  </a:cxn>
                  <a:cxn ang="0">
                    <a:pos x="connsiteX1" y="connsiteY1"/>
                  </a:cxn>
                  <a:cxn ang="0">
                    <a:pos x="connsiteX2" y="connsiteY2"/>
                  </a:cxn>
                  <a:cxn ang="0">
                    <a:pos x="connsiteX3" y="connsiteY3"/>
                  </a:cxn>
                </a:cxnLst>
                <a:rect l="l" t="t" r="r" b="b"/>
                <a:pathLst>
                  <a:path w="14612" h="14135">
                    <a:moveTo>
                      <a:pt x="42" y="4988"/>
                    </a:moveTo>
                    <a:cubicBezTo>
                      <a:pt x="436" y="6365"/>
                      <a:pt x="-155" y="18074"/>
                      <a:pt x="5355" y="12761"/>
                    </a:cubicBezTo>
                    <a:cubicBezTo>
                      <a:pt x="8012" y="9514"/>
                      <a:pt x="20016" y="1544"/>
                      <a:pt x="11751" y="658"/>
                    </a:cubicBezTo>
                    <a:cubicBezTo>
                      <a:pt x="9881" y="855"/>
                      <a:pt x="-745" y="-2687"/>
                      <a:pt x="42" y="4889"/>
                    </a:cubicBezTo>
                    <a:close/>
                  </a:path>
                </a:pathLst>
              </a:custGeom>
              <a:grpFill/>
              <a:ln w="9835" cap="flat">
                <a:noFill/>
                <a:prstDash val="solid"/>
                <a:miter/>
              </a:ln>
            </p:spPr>
            <p:txBody>
              <a:bodyPr rtlCol="0" anchor="ctr"/>
              <a:lstStyle/>
              <a:p>
                <a:endParaRPr lang="en-IN"/>
              </a:p>
            </p:txBody>
          </p:sp>
          <p:sp>
            <p:nvSpPr>
              <p:cNvPr id="676" name="Freeform: Shape 675">
                <a:extLst>
                  <a:ext uri="{FF2B5EF4-FFF2-40B4-BE49-F238E27FC236}">
                    <a16:creationId xmlns:a16="http://schemas.microsoft.com/office/drawing/2014/main" id="{4AC10648-81F8-2FFB-0AC9-C59ACAEF0207}"/>
                  </a:ext>
                </a:extLst>
              </p:cNvPr>
              <p:cNvSpPr/>
              <p:nvPr/>
            </p:nvSpPr>
            <p:spPr>
              <a:xfrm>
                <a:off x="12960783" y="4483147"/>
                <a:ext cx="42009" cy="49240"/>
              </a:xfrm>
              <a:custGeom>
                <a:avLst/>
                <a:gdLst>
                  <a:gd name="connsiteX0" fmla="*/ 9682 w 42009"/>
                  <a:gd name="connsiteY0" fmla="*/ 18230 h 49240"/>
                  <a:gd name="connsiteX1" fmla="*/ 138 w 42009"/>
                  <a:gd name="connsiteY1" fmla="*/ 43518 h 49240"/>
                  <a:gd name="connsiteX2" fmla="*/ 4467 w 42009"/>
                  <a:gd name="connsiteY2" fmla="*/ 49225 h 49240"/>
                  <a:gd name="connsiteX3" fmla="*/ 4959 w 42009"/>
                  <a:gd name="connsiteY3" fmla="*/ 49225 h 49240"/>
                  <a:gd name="connsiteX4" fmla="*/ 13716 w 42009"/>
                  <a:gd name="connsiteY4" fmla="*/ 34072 h 49240"/>
                  <a:gd name="connsiteX5" fmla="*/ 34675 w 42009"/>
                  <a:gd name="connsiteY5" fmla="*/ 16164 h 49240"/>
                  <a:gd name="connsiteX6" fmla="*/ 41956 w 42009"/>
                  <a:gd name="connsiteY6" fmla="*/ 1404 h 49240"/>
                  <a:gd name="connsiteX7" fmla="*/ 9682 w 42009"/>
                  <a:gd name="connsiteY7" fmla="*/ 18132 h 49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09" h="49240">
                    <a:moveTo>
                      <a:pt x="9682" y="18230"/>
                    </a:moveTo>
                    <a:cubicBezTo>
                      <a:pt x="3975" y="21969"/>
                      <a:pt x="3778" y="26791"/>
                      <a:pt x="138" y="43518"/>
                    </a:cubicBezTo>
                    <a:cubicBezTo>
                      <a:pt x="-551" y="46470"/>
                      <a:pt x="1417" y="49126"/>
                      <a:pt x="4467" y="49225"/>
                    </a:cubicBezTo>
                    <a:lnTo>
                      <a:pt x="4959" y="49225"/>
                    </a:lnTo>
                    <a:cubicBezTo>
                      <a:pt x="13126" y="49717"/>
                      <a:pt x="12241" y="38106"/>
                      <a:pt x="13716" y="34072"/>
                    </a:cubicBezTo>
                    <a:cubicBezTo>
                      <a:pt x="15291" y="26594"/>
                      <a:pt x="23950" y="22953"/>
                      <a:pt x="34675" y="16164"/>
                    </a:cubicBezTo>
                    <a:cubicBezTo>
                      <a:pt x="41267" y="12031"/>
                      <a:pt x="41169" y="3668"/>
                      <a:pt x="41956" y="1404"/>
                    </a:cubicBezTo>
                    <a:cubicBezTo>
                      <a:pt x="43531" y="-5975"/>
                      <a:pt x="9682" y="18132"/>
                      <a:pt x="9682" y="18132"/>
                    </a:cubicBezTo>
                    <a:close/>
                  </a:path>
                </a:pathLst>
              </a:custGeom>
              <a:grpFill/>
              <a:ln w="9835" cap="flat">
                <a:noFill/>
                <a:prstDash val="solid"/>
                <a:miter/>
              </a:ln>
            </p:spPr>
            <p:txBody>
              <a:bodyPr rtlCol="0" anchor="ctr"/>
              <a:lstStyle/>
              <a:p>
                <a:endParaRPr lang="en-IN"/>
              </a:p>
            </p:txBody>
          </p:sp>
          <p:sp>
            <p:nvSpPr>
              <p:cNvPr id="677" name="Freeform: Shape 676">
                <a:extLst>
                  <a:ext uri="{FF2B5EF4-FFF2-40B4-BE49-F238E27FC236}">
                    <a16:creationId xmlns:a16="http://schemas.microsoft.com/office/drawing/2014/main" id="{1F2B48F8-5FEC-C873-C4E7-687AED103025}"/>
                  </a:ext>
                </a:extLst>
              </p:cNvPr>
              <p:cNvSpPr/>
              <p:nvPr/>
            </p:nvSpPr>
            <p:spPr>
              <a:xfrm>
                <a:off x="12812616" y="4610401"/>
                <a:ext cx="18309" cy="14340"/>
              </a:xfrm>
              <a:custGeom>
                <a:avLst/>
                <a:gdLst>
                  <a:gd name="connsiteX0" fmla="*/ 15569 w 18309"/>
                  <a:gd name="connsiteY0" fmla="*/ 13578 h 14340"/>
                  <a:gd name="connsiteX1" fmla="*/ 6616 w 18309"/>
                  <a:gd name="connsiteY1" fmla="*/ 1180 h 14340"/>
                  <a:gd name="connsiteX2" fmla="*/ 121 w 18309"/>
                  <a:gd name="connsiteY2" fmla="*/ 9347 h 14340"/>
                  <a:gd name="connsiteX3" fmla="*/ 15668 w 18309"/>
                  <a:gd name="connsiteY3" fmla="*/ 13578 h 14340"/>
                </a:gdLst>
                <a:ahLst/>
                <a:cxnLst>
                  <a:cxn ang="0">
                    <a:pos x="connsiteX0" y="connsiteY0"/>
                  </a:cxn>
                  <a:cxn ang="0">
                    <a:pos x="connsiteX1" y="connsiteY1"/>
                  </a:cxn>
                  <a:cxn ang="0">
                    <a:pos x="connsiteX2" y="connsiteY2"/>
                  </a:cxn>
                  <a:cxn ang="0">
                    <a:pos x="connsiteX3" y="connsiteY3"/>
                  </a:cxn>
                </a:cxnLst>
                <a:rect l="l" t="t" r="r" b="b"/>
                <a:pathLst>
                  <a:path w="18309" h="14340">
                    <a:moveTo>
                      <a:pt x="15569" y="13578"/>
                    </a:moveTo>
                    <a:cubicBezTo>
                      <a:pt x="24031" y="12987"/>
                      <a:pt x="10551" y="5116"/>
                      <a:pt x="6616" y="1180"/>
                    </a:cubicBezTo>
                    <a:cubicBezTo>
                      <a:pt x="712" y="-3642"/>
                      <a:pt x="712" y="7772"/>
                      <a:pt x="121" y="9347"/>
                    </a:cubicBezTo>
                    <a:cubicBezTo>
                      <a:pt x="-1354" y="17317"/>
                      <a:pt x="11044" y="13282"/>
                      <a:pt x="15668" y="13578"/>
                    </a:cubicBezTo>
                    <a:close/>
                  </a:path>
                </a:pathLst>
              </a:custGeom>
              <a:grpFill/>
              <a:ln w="9835" cap="flat">
                <a:noFill/>
                <a:prstDash val="solid"/>
                <a:miter/>
              </a:ln>
            </p:spPr>
            <p:txBody>
              <a:bodyPr rtlCol="0" anchor="ctr"/>
              <a:lstStyle/>
              <a:p>
                <a:endParaRPr lang="en-IN"/>
              </a:p>
            </p:txBody>
          </p:sp>
          <p:sp>
            <p:nvSpPr>
              <p:cNvPr id="678" name="Freeform: Shape 677">
                <a:extLst>
                  <a:ext uri="{FF2B5EF4-FFF2-40B4-BE49-F238E27FC236}">
                    <a16:creationId xmlns:a16="http://schemas.microsoft.com/office/drawing/2014/main" id="{A0C8B2CA-92A2-282B-05F1-45378E51DB6F}"/>
                  </a:ext>
                </a:extLst>
              </p:cNvPr>
              <p:cNvSpPr/>
              <p:nvPr/>
            </p:nvSpPr>
            <p:spPr>
              <a:xfrm>
                <a:off x="12710264" y="4638488"/>
                <a:ext cx="21654" cy="18967"/>
              </a:xfrm>
              <a:custGeom>
                <a:avLst/>
                <a:gdLst>
                  <a:gd name="connsiteX0" fmla="*/ 21001 w 21654"/>
                  <a:gd name="connsiteY0" fmla="*/ 7334 h 18967"/>
                  <a:gd name="connsiteX1" fmla="*/ 12539 w 21654"/>
                  <a:gd name="connsiteY1" fmla="*/ 151 h 18967"/>
                  <a:gd name="connsiteX2" fmla="*/ 830 w 21654"/>
                  <a:gd name="connsiteY2" fmla="*/ 9794 h 18967"/>
                  <a:gd name="connsiteX3" fmla="*/ 9193 w 21654"/>
                  <a:gd name="connsiteY3" fmla="*/ 18551 h 18967"/>
                  <a:gd name="connsiteX4" fmla="*/ 21001 w 21654"/>
                  <a:gd name="connsiteY4" fmla="*/ 7334 h 18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54" h="18967">
                    <a:moveTo>
                      <a:pt x="21001" y="7334"/>
                    </a:moveTo>
                    <a:cubicBezTo>
                      <a:pt x="24346" y="643"/>
                      <a:pt x="13818" y="742"/>
                      <a:pt x="12539" y="151"/>
                    </a:cubicBezTo>
                    <a:cubicBezTo>
                      <a:pt x="4864" y="-1423"/>
                      <a:pt x="830" y="9794"/>
                      <a:pt x="830" y="9794"/>
                    </a:cubicBezTo>
                    <a:cubicBezTo>
                      <a:pt x="-3008" y="16485"/>
                      <a:pt x="7619" y="17568"/>
                      <a:pt x="9193" y="18551"/>
                    </a:cubicBezTo>
                    <a:cubicBezTo>
                      <a:pt x="16770" y="21208"/>
                      <a:pt x="18738" y="10385"/>
                      <a:pt x="21001" y="7334"/>
                    </a:cubicBezTo>
                    <a:close/>
                  </a:path>
                </a:pathLst>
              </a:custGeom>
              <a:grpFill/>
              <a:ln w="9835" cap="flat">
                <a:noFill/>
                <a:prstDash val="solid"/>
                <a:miter/>
              </a:ln>
            </p:spPr>
            <p:txBody>
              <a:bodyPr rtlCol="0" anchor="ctr"/>
              <a:lstStyle/>
              <a:p>
                <a:endParaRPr lang="en-IN"/>
              </a:p>
            </p:txBody>
          </p:sp>
          <p:sp>
            <p:nvSpPr>
              <p:cNvPr id="679" name="Freeform: Shape 678">
                <a:extLst>
                  <a:ext uri="{FF2B5EF4-FFF2-40B4-BE49-F238E27FC236}">
                    <a16:creationId xmlns:a16="http://schemas.microsoft.com/office/drawing/2014/main" id="{F2E695BF-67EB-36B9-ECE7-6D39DB3564F7}"/>
                  </a:ext>
                </a:extLst>
              </p:cNvPr>
              <p:cNvSpPr/>
              <p:nvPr/>
            </p:nvSpPr>
            <p:spPr>
              <a:xfrm>
                <a:off x="12744351" y="4628817"/>
                <a:ext cx="14927" cy="18361"/>
              </a:xfrm>
              <a:custGeom>
                <a:avLst/>
                <a:gdLst>
                  <a:gd name="connsiteX0" fmla="*/ 4133 w 14927"/>
                  <a:gd name="connsiteY0" fmla="*/ 17596 h 18361"/>
                  <a:gd name="connsiteX1" fmla="*/ 14465 w 14927"/>
                  <a:gd name="connsiteY1" fmla="*/ 5985 h 18361"/>
                  <a:gd name="connsiteX2" fmla="*/ 13481 w 14927"/>
                  <a:gd name="connsiteY2" fmla="*/ 3328 h 18361"/>
                  <a:gd name="connsiteX3" fmla="*/ 886 w 14927"/>
                  <a:gd name="connsiteY3" fmla="*/ 8543 h 18361"/>
                  <a:gd name="connsiteX4" fmla="*/ 4133 w 14927"/>
                  <a:gd name="connsiteY4" fmla="*/ 17694 h 1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7" h="18361">
                    <a:moveTo>
                      <a:pt x="4133" y="17596"/>
                    </a:moveTo>
                    <a:cubicBezTo>
                      <a:pt x="6888" y="15431"/>
                      <a:pt x="17220" y="13463"/>
                      <a:pt x="14465" y="5985"/>
                    </a:cubicBezTo>
                    <a:lnTo>
                      <a:pt x="13481" y="3328"/>
                    </a:lnTo>
                    <a:cubicBezTo>
                      <a:pt x="10923" y="-3559"/>
                      <a:pt x="1968" y="1262"/>
                      <a:pt x="886" y="8543"/>
                    </a:cubicBezTo>
                    <a:cubicBezTo>
                      <a:pt x="886" y="10216"/>
                      <a:pt x="-2558" y="21138"/>
                      <a:pt x="4133" y="17694"/>
                    </a:cubicBezTo>
                    <a:close/>
                  </a:path>
                </a:pathLst>
              </a:custGeom>
              <a:grpFill/>
              <a:ln w="9835" cap="flat">
                <a:noFill/>
                <a:prstDash val="solid"/>
                <a:miter/>
              </a:ln>
            </p:spPr>
            <p:txBody>
              <a:bodyPr rtlCol="0" anchor="ctr"/>
              <a:lstStyle/>
              <a:p>
                <a:endParaRPr lang="en-IN"/>
              </a:p>
            </p:txBody>
          </p:sp>
          <p:sp>
            <p:nvSpPr>
              <p:cNvPr id="680" name="Freeform: Shape 679">
                <a:extLst>
                  <a:ext uri="{FF2B5EF4-FFF2-40B4-BE49-F238E27FC236}">
                    <a16:creationId xmlns:a16="http://schemas.microsoft.com/office/drawing/2014/main" id="{CAF632EC-431E-0AC8-6327-F5C1483216BC}"/>
                  </a:ext>
                </a:extLst>
              </p:cNvPr>
              <p:cNvSpPr/>
              <p:nvPr/>
            </p:nvSpPr>
            <p:spPr>
              <a:xfrm>
                <a:off x="13155269" y="3748783"/>
                <a:ext cx="10980" cy="11011"/>
              </a:xfrm>
              <a:custGeom>
                <a:avLst/>
                <a:gdLst>
                  <a:gd name="connsiteX0" fmla="*/ 673 w 10980"/>
                  <a:gd name="connsiteY0" fmla="*/ 2620 h 11011"/>
                  <a:gd name="connsiteX1" fmla="*/ 10808 w 10980"/>
                  <a:gd name="connsiteY1" fmla="*/ 7540 h 11011"/>
                  <a:gd name="connsiteX2" fmla="*/ 673 w 10980"/>
                  <a:gd name="connsiteY2" fmla="*/ 2620 h 11011"/>
                </a:gdLst>
                <a:ahLst/>
                <a:cxnLst>
                  <a:cxn ang="0">
                    <a:pos x="connsiteX0" y="connsiteY0"/>
                  </a:cxn>
                  <a:cxn ang="0">
                    <a:pos x="connsiteX1" y="connsiteY1"/>
                  </a:cxn>
                  <a:cxn ang="0">
                    <a:pos x="connsiteX2" y="connsiteY2"/>
                  </a:cxn>
                </a:cxnLst>
                <a:rect l="l" t="t" r="r" b="b"/>
                <a:pathLst>
                  <a:path w="10980" h="11011">
                    <a:moveTo>
                      <a:pt x="673" y="2620"/>
                    </a:moveTo>
                    <a:cubicBezTo>
                      <a:pt x="-2672" y="9606"/>
                      <a:pt x="7364" y="14723"/>
                      <a:pt x="10808" y="7540"/>
                    </a:cubicBezTo>
                    <a:cubicBezTo>
                      <a:pt x="12284" y="4490"/>
                      <a:pt x="3920" y="-4366"/>
                      <a:pt x="673" y="2620"/>
                    </a:cubicBezTo>
                    <a:close/>
                  </a:path>
                </a:pathLst>
              </a:custGeom>
              <a:grpFill/>
              <a:ln w="9835" cap="flat">
                <a:noFill/>
                <a:prstDash val="solid"/>
                <a:miter/>
              </a:ln>
            </p:spPr>
            <p:txBody>
              <a:bodyPr rtlCol="0" anchor="ctr"/>
              <a:lstStyle/>
              <a:p>
                <a:endParaRPr lang="en-IN"/>
              </a:p>
            </p:txBody>
          </p:sp>
          <p:grpSp>
            <p:nvGrpSpPr>
              <p:cNvPr id="681" name="Graphic 470">
                <a:extLst>
                  <a:ext uri="{FF2B5EF4-FFF2-40B4-BE49-F238E27FC236}">
                    <a16:creationId xmlns:a16="http://schemas.microsoft.com/office/drawing/2014/main" id="{E7B782DA-B8D4-BAEC-B2ED-E34CEF5D1E5A}"/>
                  </a:ext>
                </a:extLst>
              </p:cNvPr>
              <p:cNvGrpSpPr/>
              <p:nvPr/>
            </p:nvGrpSpPr>
            <p:grpSpPr>
              <a:xfrm>
                <a:off x="13797760" y="4434899"/>
                <a:ext cx="71308" cy="203751"/>
                <a:chOff x="13797760" y="4434899"/>
                <a:chExt cx="71308" cy="203751"/>
              </a:xfrm>
              <a:grpFill/>
            </p:grpSpPr>
            <p:sp>
              <p:nvSpPr>
                <p:cNvPr id="682" name="Freeform: Shape 681">
                  <a:extLst>
                    <a:ext uri="{FF2B5EF4-FFF2-40B4-BE49-F238E27FC236}">
                      <a16:creationId xmlns:a16="http://schemas.microsoft.com/office/drawing/2014/main" id="{ED8E3185-B6CA-3B6B-780E-390DDFF7F222}"/>
                    </a:ext>
                  </a:extLst>
                </p:cNvPr>
                <p:cNvSpPr/>
                <p:nvPr/>
              </p:nvSpPr>
              <p:spPr>
                <a:xfrm>
                  <a:off x="13850495" y="4434899"/>
                  <a:ext cx="17048" cy="18411"/>
                </a:xfrm>
                <a:custGeom>
                  <a:avLst/>
                  <a:gdLst>
                    <a:gd name="connsiteX0" fmla="*/ 6223 w 17048"/>
                    <a:gd name="connsiteY0" fmla="*/ 946 h 18411"/>
                    <a:gd name="connsiteX1" fmla="*/ 13111 w 17048"/>
                    <a:gd name="connsiteY1" fmla="*/ 2717 h 18411"/>
                    <a:gd name="connsiteX2" fmla="*/ 16554 w 17048"/>
                    <a:gd name="connsiteY2" fmla="*/ 9900 h 18411"/>
                    <a:gd name="connsiteX3" fmla="*/ 13603 w 17048"/>
                    <a:gd name="connsiteY3" fmla="*/ 16591 h 18411"/>
                    <a:gd name="connsiteX4" fmla="*/ 8683 w 17048"/>
                    <a:gd name="connsiteY4" fmla="*/ 18165 h 18411"/>
                    <a:gd name="connsiteX5" fmla="*/ 1402 w 17048"/>
                    <a:gd name="connsiteY5" fmla="*/ 14623 h 18411"/>
                    <a:gd name="connsiteX6" fmla="*/ 417 w 17048"/>
                    <a:gd name="connsiteY6" fmla="*/ 11966 h 18411"/>
                    <a:gd name="connsiteX7" fmla="*/ 2976 w 17048"/>
                    <a:gd name="connsiteY7" fmla="*/ 3406 h 18411"/>
                    <a:gd name="connsiteX8" fmla="*/ 6321 w 17048"/>
                    <a:gd name="connsiteY8" fmla="*/ 946 h 1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48" h="18411">
                      <a:moveTo>
                        <a:pt x="6223" y="946"/>
                      </a:moveTo>
                      <a:cubicBezTo>
                        <a:pt x="8683" y="-825"/>
                        <a:pt x="11832" y="-38"/>
                        <a:pt x="13111" y="2717"/>
                      </a:cubicBezTo>
                      <a:lnTo>
                        <a:pt x="16554" y="9900"/>
                      </a:lnTo>
                      <a:cubicBezTo>
                        <a:pt x="17834" y="12655"/>
                        <a:pt x="16554" y="15705"/>
                        <a:pt x="13603" y="16591"/>
                      </a:cubicBezTo>
                      <a:lnTo>
                        <a:pt x="8683" y="18165"/>
                      </a:lnTo>
                      <a:cubicBezTo>
                        <a:pt x="5731" y="19051"/>
                        <a:pt x="2484" y="17476"/>
                        <a:pt x="1402" y="14623"/>
                      </a:cubicBezTo>
                      <a:lnTo>
                        <a:pt x="417" y="11966"/>
                      </a:lnTo>
                      <a:cubicBezTo>
                        <a:pt x="-665" y="9112"/>
                        <a:pt x="417" y="5275"/>
                        <a:pt x="2976" y="3406"/>
                      </a:cubicBezTo>
                      <a:lnTo>
                        <a:pt x="6321" y="946"/>
                      </a:lnTo>
                      <a:close/>
                    </a:path>
                  </a:pathLst>
                </a:custGeom>
                <a:grpFill/>
                <a:ln w="9835" cap="flat">
                  <a:noFill/>
                  <a:prstDash val="solid"/>
                  <a:miter/>
                </a:ln>
              </p:spPr>
              <p:txBody>
                <a:bodyPr rtlCol="0" anchor="ctr"/>
                <a:lstStyle/>
                <a:p>
                  <a:endParaRPr lang="en-IN"/>
                </a:p>
              </p:txBody>
            </p:sp>
            <p:sp>
              <p:nvSpPr>
                <p:cNvPr id="683" name="Freeform: Shape 682">
                  <a:extLst>
                    <a:ext uri="{FF2B5EF4-FFF2-40B4-BE49-F238E27FC236}">
                      <a16:creationId xmlns:a16="http://schemas.microsoft.com/office/drawing/2014/main" id="{46EEC456-EE34-880E-0F43-856273D71C57}"/>
                    </a:ext>
                  </a:extLst>
                </p:cNvPr>
                <p:cNvSpPr/>
                <p:nvPr/>
              </p:nvSpPr>
              <p:spPr>
                <a:xfrm>
                  <a:off x="13853513" y="4474155"/>
                  <a:ext cx="15555" cy="16400"/>
                </a:xfrm>
                <a:custGeom>
                  <a:avLst/>
                  <a:gdLst>
                    <a:gd name="connsiteX0" fmla="*/ 13438 w 15555"/>
                    <a:gd name="connsiteY0" fmla="*/ 2623 h 16400"/>
                    <a:gd name="connsiteX1" fmla="*/ 6255 w 15555"/>
                    <a:gd name="connsiteY1" fmla="*/ 950 h 16400"/>
                    <a:gd name="connsiteX2" fmla="*/ 2418 w 15555"/>
                    <a:gd name="connsiteY2" fmla="*/ 3705 h 16400"/>
                    <a:gd name="connsiteX3" fmla="*/ 844 w 15555"/>
                    <a:gd name="connsiteY3" fmla="*/ 11675 h 16400"/>
                    <a:gd name="connsiteX4" fmla="*/ 2221 w 15555"/>
                    <a:gd name="connsiteY4" fmla="*/ 13939 h 16400"/>
                    <a:gd name="connsiteX5" fmla="*/ 9797 w 15555"/>
                    <a:gd name="connsiteY5" fmla="*/ 15415 h 16400"/>
                    <a:gd name="connsiteX6" fmla="*/ 12946 w 15555"/>
                    <a:gd name="connsiteY6" fmla="*/ 13250 h 16400"/>
                    <a:gd name="connsiteX7" fmla="*/ 14816 w 15555"/>
                    <a:gd name="connsiteY7" fmla="*/ 5181 h 16400"/>
                    <a:gd name="connsiteX8" fmla="*/ 13438 w 15555"/>
                    <a:gd name="connsiteY8" fmla="*/ 2623 h 1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5" h="16400">
                      <a:moveTo>
                        <a:pt x="13438" y="2623"/>
                      </a:moveTo>
                      <a:cubicBezTo>
                        <a:pt x="11962" y="-34"/>
                        <a:pt x="8715" y="-821"/>
                        <a:pt x="6255" y="950"/>
                      </a:cubicBezTo>
                      <a:lnTo>
                        <a:pt x="2418" y="3705"/>
                      </a:lnTo>
                      <a:cubicBezTo>
                        <a:pt x="-42" y="5477"/>
                        <a:pt x="-731" y="9117"/>
                        <a:pt x="844" y="11675"/>
                      </a:cubicBezTo>
                      <a:lnTo>
                        <a:pt x="2221" y="13939"/>
                      </a:lnTo>
                      <a:cubicBezTo>
                        <a:pt x="3894" y="16497"/>
                        <a:pt x="7239" y="17186"/>
                        <a:pt x="9797" y="15415"/>
                      </a:cubicBezTo>
                      <a:lnTo>
                        <a:pt x="12946" y="13250"/>
                      </a:lnTo>
                      <a:cubicBezTo>
                        <a:pt x="15504" y="11479"/>
                        <a:pt x="16291" y="7838"/>
                        <a:pt x="14816" y="5181"/>
                      </a:cubicBezTo>
                      <a:lnTo>
                        <a:pt x="13438" y="2623"/>
                      </a:lnTo>
                      <a:close/>
                    </a:path>
                  </a:pathLst>
                </a:custGeom>
                <a:grpFill/>
                <a:ln w="9835" cap="flat">
                  <a:noFill/>
                  <a:prstDash val="solid"/>
                  <a:miter/>
                </a:ln>
              </p:spPr>
              <p:txBody>
                <a:bodyPr rtlCol="0" anchor="ctr"/>
                <a:lstStyle/>
                <a:p>
                  <a:endParaRPr lang="en-IN"/>
                </a:p>
              </p:txBody>
            </p:sp>
            <p:sp>
              <p:nvSpPr>
                <p:cNvPr id="684" name="Freeform: Shape 683">
                  <a:extLst>
                    <a:ext uri="{FF2B5EF4-FFF2-40B4-BE49-F238E27FC236}">
                      <a16:creationId xmlns:a16="http://schemas.microsoft.com/office/drawing/2014/main" id="{26D2F5E0-3DC3-82CA-FA7E-32EA421EE4AE}"/>
                    </a:ext>
                  </a:extLst>
                </p:cNvPr>
                <p:cNvSpPr/>
                <p:nvPr/>
              </p:nvSpPr>
              <p:spPr>
                <a:xfrm>
                  <a:off x="13849662" y="4507081"/>
                  <a:ext cx="17806" cy="15717"/>
                </a:xfrm>
                <a:custGeom>
                  <a:avLst/>
                  <a:gdLst>
                    <a:gd name="connsiteX0" fmla="*/ 11484 w 17806"/>
                    <a:gd name="connsiteY0" fmla="*/ 298 h 15717"/>
                    <a:gd name="connsiteX1" fmla="*/ 17585 w 17806"/>
                    <a:gd name="connsiteY1" fmla="*/ 6005 h 15717"/>
                    <a:gd name="connsiteX2" fmla="*/ 17781 w 17806"/>
                    <a:gd name="connsiteY2" fmla="*/ 8465 h 15717"/>
                    <a:gd name="connsiteX3" fmla="*/ 12763 w 17806"/>
                    <a:gd name="connsiteY3" fmla="*/ 14861 h 15717"/>
                    <a:gd name="connsiteX4" fmla="*/ 7155 w 17806"/>
                    <a:gd name="connsiteY4" fmla="*/ 15648 h 15717"/>
                    <a:gd name="connsiteX5" fmla="*/ 857 w 17806"/>
                    <a:gd name="connsiteY5" fmla="*/ 10925 h 15717"/>
                    <a:gd name="connsiteX6" fmla="*/ 70 w 17806"/>
                    <a:gd name="connsiteY6" fmla="*/ 5316 h 15717"/>
                    <a:gd name="connsiteX7" fmla="*/ 4793 w 17806"/>
                    <a:gd name="connsiteY7" fmla="*/ 3 h 15717"/>
                    <a:gd name="connsiteX8" fmla="*/ 11484 w 17806"/>
                    <a:gd name="connsiteY8" fmla="*/ 200 h 1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06" h="15717">
                      <a:moveTo>
                        <a:pt x="11484" y="298"/>
                      </a:moveTo>
                      <a:cubicBezTo>
                        <a:pt x="14534" y="397"/>
                        <a:pt x="17289" y="2955"/>
                        <a:pt x="17585" y="6005"/>
                      </a:cubicBezTo>
                      <a:lnTo>
                        <a:pt x="17781" y="8465"/>
                      </a:lnTo>
                      <a:cubicBezTo>
                        <a:pt x="18076" y="11515"/>
                        <a:pt x="15813" y="14369"/>
                        <a:pt x="12763" y="14861"/>
                      </a:cubicBezTo>
                      <a:lnTo>
                        <a:pt x="7155" y="15648"/>
                      </a:lnTo>
                      <a:cubicBezTo>
                        <a:pt x="4104" y="16140"/>
                        <a:pt x="1250" y="13975"/>
                        <a:pt x="857" y="10925"/>
                      </a:cubicBezTo>
                      <a:lnTo>
                        <a:pt x="70" y="5316"/>
                      </a:lnTo>
                      <a:cubicBezTo>
                        <a:pt x="-422" y="2266"/>
                        <a:pt x="1742" y="-96"/>
                        <a:pt x="4793" y="3"/>
                      </a:cubicBezTo>
                      <a:lnTo>
                        <a:pt x="11484" y="200"/>
                      </a:lnTo>
                      <a:close/>
                    </a:path>
                  </a:pathLst>
                </a:custGeom>
                <a:grpFill/>
                <a:ln w="9835" cap="flat">
                  <a:noFill/>
                  <a:prstDash val="solid"/>
                  <a:miter/>
                </a:ln>
              </p:spPr>
              <p:txBody>
                <a:bodyPr rtlCol="0" anchor="ctr"/>
                <a:lstStyle/>
                <a:p>
                  <a:endParaRPr lang="en-IN"/>
                </a:p>
              </p:txBody>
            </p:sp>
            <p:sp>
              <p:nvSpPr>
                <p:cNvPr id="685" name="Freeform: Shape 684">
                  <a:extLst>
                    <a:ext uri="{FF2B5EF4-FFF2-40B4-BE49-F238E27FC236}">
                      <a16:creationId xmlns:a16="http://schemas.microsoft.com/office/drawing/2014/main" id="{368E74E8-681D-CDB6-E0ED-89B274C2BA1E}"/>
                    </a:ext>
                  </a:extLst>
                </p:cNvPr>
                <p:cNvSpPr/>
                <p:nvPr/>
              </p:nvSpPr>
              <p:spPr>
                <a:xfrm>
                  <a:off x="13797760" y="4579939"/>
                  <a:ext cx="15437" cy="17417"/>
                </a:xfrm>
                <a:custGeom>
                  <a:avLst/>
                  <a:gdLst>
                    <a:gd name="connsiteX0" fmla="*/ 9170 w 15437"/>
                    <a:gd name="connsiteY0" fmla="*/ 155 h 17417"/>
                    <a:gd name="connsiteX1" fmla="*/ 1396 w 15437"/>
                    <a:gd name="connsiteY1" fmla="*/ 3992 h 17417"/>
                    <a:gd name="connsiteX2" fmla="*/ 609 w 15437"/>
                    <a:gd name="connsiteY2" fmla="*/ 5567 h 17417"/>
                    <a:gd name="connsiteX3" fmla="*/ 2479 w 15437"/>
                    <a:gd name="connsiteY3" fmla="*/ 14225 h 17417"/>
                    <a:gd name="connsiteX4" fmla="*/ 4939 w 15437"/>
                    <a:gd name="connsiteY4" fmla="*/ 16292 h 17417"/>
                    <a:gd name="connsiteX5" fmla="*/ 11531 w 15437"/>
                    <a:gd name="connsiteY5" fmla="*/ 14816 h 17417"/>
                    <a:gd name="connsiteX6" fmla="*/ 14975 w 15437"/>
                    <a:gd name="connsiteY6" fmla="*/ 7141 h 17417"/>
                    <a:gd name="connsiteX7" fmla="*/ 11826 w 15437"/>
                    <a:gd name="connsiteY7" fmla="*/ 843 h 17417"/>
                    <a:gd name="connsiteX8" fmla="*/ 9170 w 15437"/>
                    <a:gd name="connsiteY8" fmla="*/ 253 h 1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37" h="17417">
                      <a:moveTo>
                        <a:pt x="9170" y="155"/>
                      </a:moveTo>
                      <a:cubicBezTo>
                        <a:pt x="6218" y="-534"/>
                        <a:pt x="2675" y="1139"/>
                        <a:pt x="1396" y="3992"/>
                      </a:cubicBezTo>
                      <a:lnTo>
                        <a:pt x="609" y="5567"/>
                      </a:lnTo>
                      <a:cubicBezTo>
                        <a:pt x="-670" y="8322"/>
                        <a:pt x="117" y="12258"/>
                        <a:pt x="2479" y="14225"/>
                      </a:cubicBezTo>
                      <a:lnTo>
                        <a:pt x="4939" y="16292"/>
                      </a:lnTo>
                      <a:cubicBezTo>
                        <a:pt x="7300" y="18260"/>
                        <a:pt x="10252" y="17571"/>
                        <a:pt x="11531" y="14816"/>
                      </a:cubicBezTo>
                      <a:lnTo>
                        <a:pt x="14975" y="7141"/>
                      </a:lnTo>
                      <a:cubicBezTo>
                        <a:pt x="16254" y="4386"/>
                        <a:pt x="14779" y="1532"/>
                        <a:pt x="11826" y="843"/>
                      </a:cubicBezTo>
                      <a:lnTo>
                        <a:pt x="9170" y="253"/>
                      </a:lnTo>
                      <a:close/>
                    </a:path>
                  </a:pathLst>
                </a:custGeom>
                <a:grpFill/>
                <a:ln w="9835" cap="flat">
                  <a:noFill/>
                  <a:prstDash val="solid"/>
                  <a:miter/>
                </a:ln>
              </p:spPr>
              <p:txBody>
                <a:bodyPr rtlCol="0" anchor="ctr"/>
                <a:lstStyle/>
                <a:p>
                  <a:endParaRPr lang="en-IN"/>
                </a:p>
              </p:txBody>
            </p:sp>
            <p:sp>
              <p:nvSpPr>
                <p:cNvPr id="686" name="Freeform: Shape 685">
                  <a:extLst>
                    <a:ext uri="{FF2B5EF4-FFF2-40B4-BE49-F238E27FC236}">
                      <a16:creationId xmlns:a16="http://schemas.microsoft.com/office/drawing/2014/main" id="{DC6F6340-9EEC-4676-60D7-EFB0FE4A0579}"/>
                    </a:ext>
                  </a:extLst>
                </p:cNvPr>
                <p:cNvSpPr/>
                <p:nvPr/>
              </p:nvSpPr>
              <p:spPr>
                <a:xfrm>
                  <a:off x="13800531" y="4619747"/>
                  <a:ext cx="21048" cy="18903"/>
                </a:xfrm>
                <a:custGeom>
                  <a:avLst/>
                  <a:gdLst>
                    <a:gd name="connsiteX0" fmla="*/ 16928 w 21048"/>
                    <a:gd name="connsiteY0" fmla="*/ 1476 h 18903"/>
                    <a:gd name="connsiteX1" fmla="*/ 8367 w 21048"/>
                    <a:gd name="connsiteY1" fmla="*/ 1476 h 18903"/>
                    <a:gd name="connsiteX2" fmla="*/ 2168 w 21048"/>
                    <a:gd name="connsiteY2" fmla="*/ 6592 h 18903"/>
                    <a:gd name="connsiteX3" fmla="*/ 987 w 21048"/>
                    <a:gd name="connsiteY3" fmla="*/ 14759 h 18903"/>
                    <a:gd name="connsiteX4" fmla="*/ 2168 w 21048"/>
                    <a:gd name="connsiteY4" fmla="*/ 16530 h 18903"/>
                    <a:gd name="connsiteX5" fmla="*/ 9646 w 21048"/>
                    <a:gd name="connsiteY5" fmla="*/ 17810 h 18903"/>
                    <a:gd name="connsiteX6" fmla="*/ 19191 w 21048"/>
                    <a:gd name="connsiteY6" fmla="*/ 10430 h 18903"/>
                    <a:gd name="connsiteX7" fmla="*/ 19289 w 21048"/>
                    <a:gd name="connsiteY7" fmla="*/ 3444 h 18903"/>
                    <a:gd name="connsiteX8" fmla="*/ 16829 w 21048"/>
                    <a:gd name="connsiteY8" fmla="*/ 1378 h 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48" h="18903">
                      <a:moveTo>
                        <a:pt x="16928" y="1476"/>
                      </a:moveTo>
                      <a:cubicBezTo>
                        <a:pt x="14566" y="-492"/>
                        <a:pt x="10729" y="-492"/>
                        <a:pt x="8367" y="1476"/>
                      </a:cubicBezTo>
                      <a:lnTo>
                        <a:pt x="2168" y="6592"/>
                      </a:lnTo>
                      <a:cubicBezTo>
                        <a:pt x="-194" y="8560"/>
                        <a:pt x="-686" y="12299"/>
                        <a:pt x="987" y="14759"/>
                      </a:cubicBezTo>
                      <a:lnTo>
                        <a:pt x="2168" y="16530"/>
                      </a:lnTo>
                      <a:cubicBezTo>
                        <a:pt x="3841" y="19089"/>
                        <a:pt x="7285" y="19679"/>
                        <a:pt x="9646" y="17810"/>
                      </a:cubicBezTo>
                      <a:lnTo>
                        <a:pt x="19191" y="10430"/>
                      </a:lnTo>
                      <a:cubicBezTo>
                        <a:pt x="21651" y="8560"/>
                        <a:pt x="21651" y="5412"/>
                        <a:pt x="19289" y="3444"/>
                      </a:cubicBezTo>
                      <a:lnTo>
                        <a:pt x="16829" y="1378"/>
                      </a:lnTo>
                      <a:close/>
                    </a:path>
                  </a:pathLst>
                </a:custGeom>
                <a:grpFill/>
                <a:ln w="9835" cap="flat">
                  <a:noFill/>
                  <a:prstDash val="solid"/>
                  <a:miter/>
                </a:ln>
              </p:spPr>
              <p:txBody>
                <a:bodyPr rtlCol="0" anchor="ctr"/>
                <a:lstStyle/>
                <a:p>
                  <a:endParaRPr lang="en-IN"/>
                </a:p>
              </p:txBody>
            </p:sp>
          </p:grpSp>
        </p:grpSp>
        <p:sp>
          <p:nvSpPr>
            <p:cNvPr id="495" name="Freeform: Shape 494">
              <a:extLst>
                <a:ext uri="{FF2B5EF4-FFF2-40B4-BE49-F238E27FC236}">
                  <a16:creationId xmlns:a16="http://schemas.microsoft.com/office/drawing/2014/main" id="{C653E594-4F87-0653-5A23-AFE44C5A5AC0}"/>
                </a:ext>
              </a:extLst>
            </p:cNvPr>
            <p:cNvSpPr/>
            <p:nvPr/>
          </p:nvSpPr>
          <p:spPr>
            <a:xfrm>
              <a:off x="7161365" y="4057906"/>
              <a:ext cx="99379" cy="258387"/>
            </a:xfrm>
            <a:custGeom>
              <a:avLst/>
              <a:gdLst>
                <a:gd name="connsiteX0" fmla="*/ 78914 w 99379"/>
                <a:gd name="connsiteY0" fmla="*/ 12201 h 258387"/>
                <a:gd name="connsiteX1" fmla="*/ 58742 w 99379"/>
                <a:gd name="connsiteY1" fmla="*/ 9741 h 258387"/>
                <a:gd name="connsiteX2" fmla="*/ 58742 w 99379"/>
                <a:gd name="connsiteY2" fmla="*/ 9741 h 258387"/>
                <a:gd name="connsiteX3" fmla="*/ 27452 w 99379"/>
                <a:gd name="connsiteY3" fmla="*/ 95247 h 258387"/>
                <a:gd name="connsiteX4" fmla="*/ 0 w 99379"/>
                <a:gd name="connsiteY4" fmla="*/ 124372 h 258387"/>
                <a:gd name="connsiteX5" fmla="*/ 37095 w 99379"/>
                <a:gd name="connsiteY5" fmla="*/ 258388 h 258387"/>
                <a:gd name="connsiteX6" fmla="*/ 52937 w 99379"/>
                <a:gd name="connsiteY6" fmla="*/ 244416 h 258387"/>
                <a:gd name="connsiteX7" fmla="*/ 91016 w 99379"/>
                <a:gd name="connsiteY7" fmla="*/ 127324 h 258387"/>
                <a:gd name="connsiteX8" fmla="*/ 46935 w 99379"/>
                <a:gd name="connsiteY8" fmla="*/ 133425 h 258387"/>
                <a:gd name="connsiteX9" fmla="*/ 51166 w 99379"/>
                <a:gd name="connsiteY9" fmla="*/ 112762 h 258387"/>
                <a:gd name="connsiteX10" fmla="*/ 67795 w 99379"/>
                <a:gd name="connsiteY10" fmla="*/ 103709 h 258387"/>
                <a:gd name="connsiteX11" fmla="*/ 57070 w 99379"/>
                <a:gd name="connsiteY11" fmla="*/ 95051 h 258387"/>
                <a:gd name="connsiteX12" fmla="*/ 67795 w 99379"/>
                <a:gd name="connsiteY12" fmla="*/ 49493 h 258387"/>
                <a:gd name="connsiteX13" fmla="*/ 95247 w 99379"/>
                <a:gd name="connsiteY13" fmla="*/ 64253 h 258387"/>
                <a:gd name="connsiteX14" fmla="*/ 99380 w 99379"/>
                <a:gd name="connsiteY14" fmla="*/ 1181 h 258387"/>
                <a:gd name="connsiteX15" fmla="*/ 82357 w 99379"/>
                <a:gd name="connsiteY15" fmla="*/ 0 h 258387"/>
                <a:gd name="connsiteX16" fmla="*/ 78914 w 99379"/>
                <a:gd name="connsiteY16" fmla="*/ 12103 h 25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379" h="258387">
                  <a:moveTo>
                    <a:pt x="78914" y="12201"/>
                  </a:moveTo>
                  <a:lnTo>
                    <a:pt x="58742" y="9741"/>
                  </a:lnTo>
                  <a:lnTo>
                    <a:pt x="58742" y="9741"/>
                  </a:lnTo>
                  <a:cubicBezTo>
                    <a:pt x="27649" y="87376"/>
                    <a:pt x="34340" y="83833"/>
                    <a:pt x="27452" y="95247"/>
                  </a:cubicBezTo>
                  <a:cubicBezTo>
                    <a:pt x="19974" y="107744"/>
                    <a:pt x="8068" y="119157"/>
                    <a:pt x="0" y="124372"/>
                  </a:cubicBezTo>
                  <a:lnTo>
                    <a:pt x="37095" y="258388"/>
                  </a:lnTo>
                  <a:cubicBezTo>
                    <a:pt x="40539" y="255436"/>
                    <a:pt x="50576" y="243432"/>
                    <a:pt x="52937" y="244416"/>
                  </a:cubicBezTo>
                  <a:lnTo>
                    <a:pt x="91016" y="127324"/>
                  </a:lnTo>
                  <a:lnTo>
                    <a:pt x="46935" y="133425"/>
                  </a:lnTo>
                  <a:lnTo>
                    <a:pt x="51166" y="112762"/>
                  </a:lnTo>
                  <a:lnTo>
                    <a:pt x="67795" y="103709"/>
                  </a:lnTo>
                  <a:lnTo>
                    <a:pt x="57070" y="95051"/>
                  </a:lnTo>
                  <a:lnTo>
                    <a:pt x="67795" y="49493"/>
                  </a:lnTo>
                  <a:lnTo>
                    <a:pt x="95247" y="64253"/>
                  </a:lnTo>
                  <a:lnTo>
                    <a:pt x="99380" y="1181"/>
                  </a:lnTo>
                  <a:lnTo>
                    <a:pt x="82357" y="0"/>
                  </a:lnTo>
                  <a:lnTo>
                    <a:pt x="78914" y="12103"/>
                  </a:lnTo>
                  <a:close/>
                </a:path>
              </a:pathLst>
            </a:custGeom>
            <a:grpFill/>
            <a:ln w="9835" cap="flat">
              <a:noFill/>
              <a:prstDash val="solid"/>
              <a:miter/>
            </a:ln>
          </p:spPr>
          <p:txBody>
            <a:bodyPr rtlCol="0" anchor="ctr"/>
            <a:lstStyle/>
            <a:p>
              <a:endParaRPr lang="en-IN"/>
            </a:p>
          </p:txBody>
        </p:sp>
        <p:sp>
          <p:nvSpPr>
            <p:cNvPr id="496" name="Freeform: Shape 495">
              <a:extLst>
                <a:ext uri="{FF2B5EF4-FFF2-40B4-BE49-F238E27FC236}">
                  <a16:creationId xmlns:a16="http://schemas.microsoft.com/office/drawing/2014/main" id="{C7F5E69C-B69B-FE1A-C061-CB6AFBC74416}"/>
                </a:ext>
              </a:extLst>
            </p:cNvPr>
            <p:cNvSpPr/>
            <p:nvPr/>
          </p:nvSpPr>
          <p:spPr>
            <a:xfrm>
              <a:off x="7452224" y="3766753"/>
              <a:ext cx="599034" cy="576993"/>
            </a:xfrm>
            <a:custGeom>
              <a:avLst/>
              <a:gdLst>
                <a:gd name="connsiteX0" fmla="*/ 588703 w 599034"/>
                <a:gd name="connsiteY0" fmla="*/ 503984 h 576993"/>
                <a:gd name="connsiteX1" fmla="*/ 599035 w 599034"/>
                <a:gd name="connsiteY1" fmla="*/ 506346 h 576993"/>
                <a:gd name="connsiteX2" fmla="*/ 570401 w 599034"/>
                <a:gd name="connsiteY2" fmla="*/ 470234 h 576993"/>
                <a:gd name="connsiteX3" fmla="*/ 570401 w 599034"/>
                <a:gd name="connsiteY3" fmla="*/ 445537 h 576993"/>
                <a:gd name="connsiteX4" fmla="*/ 544523 w 599034"/>
                <a:gd name="connsiteY4" fmla="*/ 441306 h 576993"/>
                <a:gd name="connsiteX5" fmla="*/ 558594 w 599034"/>
                <a:gd name="connsiteY5" fmla="*/ 388861 h 576993"/>
                <a:gd name="connsiteX6" fmla="*/ 529764 w 599034"/>
                <a:gd name="connsiteY6" fmla="*/ 343303 h 576993"/>
                <a:gd name="connsiteX7" fmla="*/ 512446 w 599034"/>
                <a:gd name="connsiteY7" fmla="*/ 343303 h 576993"/>
                <a:gd name="connsiteX8" fmla="*/ 471513 w 599034"/>
                <a:gd name="connsiteY8" fmla="*/ 312210 h 576993"/>
                <a:gd name="connsiteX9" fmla="*/ 452228 w 599034"/>
                <a:gd name="connsiteY9" fmla="*/ 315162 h 576993"/>
                <a:gd name="connsiteX10" fmla="*/ 441798 w 599034"/>
                <a:gd name="connsiteY10" fmla="*/ 301584 h 576993"/>
                <a:gd name="connsiteX11" fmla="*/ 455278 w 599034"/>
                <a:gd name="connsiteY11" fmla="*/ 288989 h 576993"/>
                <a:gd name="connsiteX12" fmla="*/ 409721 w 599034"/>
                <a:gd name="connsiteY12" fmla="*/ 242546 h 576993"/>
                <a:gd name="connsiteX13" fmla="*/ 412279 w 599034"/>
                <a:gd name="connsiteY13" fmla="*/ 200728 h 576993"/>
                <a:gd name="connsiteX14" fmla="*/ 429597 w 599034"/>
                <a:gd name="connsiteY14" fmla="*/ 193348 h 576993"/>
                <a:gd name="connsiteX15" fmla="*/ 454884 w 599034"/>
                <a:gd name="connsiteY15" fmla="*/ 155761 h 576993"/>
                <a:gd name="connsiteX16" fmla="*/ 442388 w 599034"/>
                <a:gd name="connsiteY16" fmla="*/ 126832 h 576993"/>
                <a:gd name="connsiteX17" fmla="*/ 461379 w 599034"/>
                <a:gd name="connsiteY17" fmla="*/ 119256 h 576993"/>
                <a:gd name="connsiteX18" fmla="*/ 464724 w 599034"/>
                <a:gd name="connsiteY18" fmla="*/ 106661 h 576993"/>
                <a:gd name="connsiteX19" fmla="*/ 404014 w 599034"/>
                <a:gd name="connsiteY19" fmla="*/ 94263 h 576993"/>
                <a:gd name="connsiteX20" fmla="*/ 372035 w 599034"/>
                <a:gd name="connsiteY20" fmla="*/ 11414 h 576993"/>
                <a:gd name="connsiteX21" fmla="*/ 336908 w 599034"/>
                <a:gd name="connsiteY21" fmla="*/ 28338 h 576993"/>
                <a:gd name="connsiteX22" fmla="*/ 332873 w 599034"/>
                <a:gd name="connsiteY22" fmla="*/ 6592 h 576993"/>
                <a:gd name="connsiteX23" fmla="*/ 317425 w 599034"/>
                <a:gd name="connsiteY23" fmla="*/ 0 h 576993"/>
                <a:gd name="connsiteX24" fmla="*/ 307881 w 599034"/>
                <a:gd name="connsiteY24" fmla="*/ 10725 h 576993"/>
                <a:gd name="connsiteX25" fmla="*/ 243136 w 599034"/>
                <a:gd name="connsiteY25" fmla="*/ 0 h 576993"/>
                <a:gd name="connsiteX26" fmla="*/ 237921 w 599034"/>
                <a:gd name="connsiteY26" fmla="*/ 16530 h 576993"/>
                <a:gd name="connsiteX27" fmla="*/ 219817 w 599034"/>
                <a:gd name="connsiteY27" fmla="*/ 24697 h 576993"/>
                <a:gd name="connsiteX28" fmla="*/ 195414 w 599034"/>
                <a:gd name="connsiteY28" fmla="*/ 54019 h 576993"/>
                <a:gd name="connsiteX29" fmla="*/ 155269 w 599034"/>
                <a:gd name="connsiteY29" fmla="*/ 65827 h 576993"/>
                <a:gd name="connsiteX30" fmla="*/ 158319 w 599034"/>
                <a:gd name="connsiteY30" fmla="*/ 121716 h 576993"/>
                <a:gd name="connsiteX31" fmla="*/ 149857 w 599034"/>
                <a:gd name="connsiteY31" fmla="*/ 145134 h 576993"/>
                <a:gd name="connsiteX32" fmla="*/ 149857 w 599034"/>
                <a:gd name="connsiteY32" fmla="*/ 179179 h 576993"/>
                <a:gd name="connsiteX33" fmla="*/ 131851 w 599034"/>
                <a:gd name="connsiteY33" fmla="*/ 210764 h 576993"/>
                <a:gd name="connsiteX34" fmla="*/ 0 w 599034"/>
                <a:gd name="connsiteY34" fmla="*/ 284856 h 576993"/>
                <a:gd name="connsiteX35" fmla="*/ 14464 w 599034"/>
                <a:gd name="connsiteY35" fmla="*/ 347436 h 576993"/>
                <a:gd name="connsiteX36" fmla="*/ 27452 w 599034"/>
                <a:gd name="connsiteY36" fmla="*/ 348715 h 576993"/>
                <a:gd name="connsiteX37" fmla="*/ 28732 w 599034"/>
                <a:gd name="connsiteY37" fmla="*/ 368886 h 576993"/>
                <a:gd name="connsiteX38" fmla="*/ 28732 w 599034"/>
                <a:gd name="connsiteY38" fmla="*/ 369182 h 576993"/>
                <a:gd name="connsiteX39" fmla="*/ 106464 w 599034"/>
                <a:gd name="connsiteY39" fmla="*/ 388369 h 576993"/>
                <a:gd name="connsiteX40" fmla="*/ 201023 w 599034"/>
                <a:gd name="connsiteY40" fmla="*/ 438256 h 576993"/>
                <a:gd name="connsiteX41" fmla="*/ 368886 w 599034"/>
                <a:gd name="connsiteY41" fmla="*/ 571484 h 576993"/>
                <a:gd name="connsiteX42" fmla="*/ 473481 w 599034"/>
                <a:gd name="connsiteY42" fmla="*/ 576994 h 576993"/>
                <a:gd name="connsiteX43" fmla="*/ 510380 w 599034"/>
                <a:gd name="connsiteY43" fmla="*/ 511856 h 576993"/>
                <a:gd name="connsiteX44" fmla="*/ 564006 w 599034"/>
                <a:gd name="connsiteY44" fmla="*/ 513529 h 576993"/>
                <a:gd name="connsiteX45" fmla="*/ 577978 w 599034"/>
                <a:gd name="connsiteY45" fmla="*/ 533011 h 576993"/>
                <a:gd name="connsiteX46" fmla="*/ 584669 w 599034"/>
                <a:gd name="connsiteY46" fmla="*/ 529764 h 576993"/>
                <a:gd name="connsiteX47" fmla="*/ 590868 w 599034"/>
                <a:gd name="connsiteY47" fmla="*/ 517366 h 576993"/>
                <a:gd name="connsiteX48" fmla="*/ 588998 w 599034"/>
                <a:gd name="connsiteY48" fmla="*/ 503886 h 576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99034" h="576993">
                  <a:moveTo>
                    <a:pt x="588703" y="503984"/>
                  </a:moveTo>
                  <a:cubicBezTo>
                    <a:pt x="592540" y="504870"/>
                    <a:pt x="595886" y="505657"/>
                    <a:pt x="599035" y="506346"/>
                  </a:cubicBezTo>
                  <a:lnTo>
                    <a:pt x="570401" y="470234"/>
                  </a:lnTo>
                  <a:lnTo>
                    <a:pt x="570401" y="445537"/>
                  </a:lnTo>
                  <a:cubicBezTo>
                    <a:pt x="570401" y="445537"/>
                    <a:pt x="544523" y="441306"/>
                    <a:pt x="544523" y="441306"/>
                  </a:cubicBezTo>
                  <a:lnTo>
                    <a:pt x="558594" y="388861"/>
                  </a:lnTo>
                  <a:lnTo>
                    <a:pt x="529764" y="343303"/>
                  </a:lnTo>
                  <a:lnTo>
                    <a:pt x="512446" y="343303"/>
                  </a:lnTo>
                  <a:lnTo>
                    <a:pt x="471513" y="312210"/>
                  </a:lnTo>
                  <a:lnTo>
                    <a:pt x="452228" y="315162"/>
                  </a:lnTo>
                  <a:lnTo>
                    <a:pt x="441798" y="301584"/>
                  </a:lnTo>
                  <a:lnTo>
                    <a:pt x="455278" y="288989"/>
                  </a:lnTo>
                  <a:lnTo>
                    <a:pt x="409721" y="242546"/>
                  </a:lnTo>
                  <a:lnTo>
                    <a:pt x="412279" y="200728"/>
                  </a:lnTo>
                  <a:lnTo>
                    <a:pt x="429597" y="193348"/>
                  </a:lnTo>
                  <a:lnTo>
                    <a:pt x="454884" y="155761"/>
                  </a:lnTo>
                  <a:lnTo>
                    <a:pt x="442388" y="126832"/>
                  </a:lnTo>
                  <a:lnTo>
                    <a:pt x="461379" y="119256"/>
                  </a:lnTo>
                  <a:lnTo>
                    <a:pt x="464724" y="106661"/>
                  </a:lnTo>
                  <a:lnTo>
                    <a:pt x="404014" y="94263"/>
                  </a:lnTo>
                  <a:lnTo>
                    <a:pt x="372035" y="11414"/>
                  </a:lnTo>
                  <a:lnTo>
                    <a:pt x="336908" y="28338"/>
                  </a:lnTo>
                  <a:lnTo>
                    <a:pt x="332873" y="6592"/>
                  </a:lnTo>
                  <a:lnTo>
                    <a:pt x="317425" y="0"/>
                  </a:lnTo>
                  <a:lnTo>
                    <a:pt x="307881" y="10725"/>
                  </a:lnTo>
                  <a:lnTo>
                    <a:pt x="243136" y="0"/>
                  </a:lnTo>
                  <a:lnTo>
                    <a:pt x="237921" y="16530"/>
                  </a:lnTo>
                  <a:lnTo>
                    <a:pt x="219817" y="24697"/>
                  </a:lnTo>
                  <a:lnTo>
                    <a:pt x="195414" y="54019"/>
                  </a:lnTo>
                  <a:lnTo>
                    <a:pt x="155269" y="65827"/>
                  </a:lnTo>
                  <a:lnTo>
                    <a:pt x="158319" y="121716"/>
                  </a:lnTo>
                  <a:lnTo>
                    <a:pt x="149857" y="145134"/>
                  </a:lnTo>
                  <a:lnTo>
                    <a:pt x="149857" y="179179"/>
                  </a:lnTo>
                  <a:lnTo>
                    <a:pt x="131851" y="210764"/>
                  </a:lnTo>
                  <a:lnTo>
                    <a:pt x="0" y="284856"/>
                  </a:lnTo>
                  <a:lnTo>
                    <a:pt x="14464" y="347436"/>
                  </a:lnTo>
                  <a:lnTo>
                    <a:pt x="27452" y="348715"/>
                  </a:lnTo>
                  <a:lnTo>
                    <a:pt x="28732" y="368886"/>
                  </a:lnTo>
                  <a:lnTo>
                    <a:pt x="28732" y="369182"/>
                  </a:lnTo>
                  <a:cubicBezTo>
                    <a:pt x="28732" y="369182"/>
                    <a:pt x="106464" y="388369"/>
                    <a:pt x="106464" y="388369"/>
                  </a:cubicBezTo>
                  <a:lnTo>
                    <a:pt x="201023" y="438256"/>
                  </a:lnTo>
                  <a:lnTo>
                    <a:pt x="368886" y="571484"/>
                  </a:lnTo>
                  <a:lnTo>
                    <a:pt x="473481" y="576994"/>
                  </a:lnTo>
                  <a:lnTo>
                    <a:pt x="510380" y="511856"/>
                  </a:lnTo>
                  <a:lnTo>
                    <a:pt x="564006" y="513529"/>
                  </a:lnTo>
                  <a:lnTo>
                    <a:pt x="577978" y="533011"/>
                  </a:lnTo>
                  <a:cubicBezTo>
                    <a:pt x="580241" y="532420"/>
                    <a:pt x="582602" y="531535"/>
                    <a:pt x="584669" y="529764"/>
                  </a:cubicBezTo>
                  <a:cubicBezTo>
                    <a:pt x="585751" y="528386"/>
                    <a:pt x="594213" y="524057"/>
                    <a:pt x="590868" y="517366"/>
                  </a:cubicBezTo>
                  <a:cubicBezTo>
                    <a:pt x="589490" y="513332"/>
                    <a:pt x="580831" y="502115"/>
                    <a:pt x="588998" y="503886"/>
                  </a:cubicBezTo>
                  <a:close/>
                </a:path>
              </a:pathLst>
            </a:custGeom>
            <a:grpFill/>
            <a:ln w="9835" cap="flat">
              <a:noFill/>
              <a:prstDash val="solid"/>
              <a:miter/>
            </a:ln>
          </p:spPr>
          <p:txBody>
            <a:bodyPr rtlCol="0" anchor="ctr"/>
            <a:lstStyle/>
            <a:p>
              <a:endParaRPr lang="en-IN"/>
            </a:p>
          </p:txBody>
        </p:sp>
        <p:grpSp>
          <p:nvGrpSpPr>
            <p:cNvPr id="497" name="Graphic 470">
              <a:extLst>
                <a:ext uri="{FF2B5EF4-FFF2-40B4-BE49-F238E27FC236}">
                  <a16:creationId xmlns:a16="http://schemas.microsoft.com/office/drawing/2014/main" id="{3C6312EF-7FA3-55D1-A1D8-BC5918106C2F}"/>
                </a:ext>
              </a:extLst>
            </p:cNvPr>
            <p:cNvGrpSpPr/>
            <p:nvPr/>
          </p:nvGrpSpPr>
          <p:grpSpPr>
            <a:xfrm>
              <a:off x="7774766" y="3600267"/>
              <a:ext cx="1195412" cy="996090"/>
              <a:chOff x="7774766" y="3600267"/>
              <a:chExt cx="1195412" cy="996090"/>
            </a:xfrm>
            <a:grpFill/>
          </p:grpSpPr>
          <p:sp>
            <p:nvSpPr>
              <p:cNvPr id="647" name="Freeform: Shape 646">
                <a:extLst>
                  <a:ext uri="{FF2B5EF4-FFF2-40B4-BE49-F238E27FC236}">
                    <a16:creationId xmlns:a16="http://schemas.microsoft.com/office/drawing/2014/main" id="{DBDECDA7-C172-C05A-1EE6-C535E2194D29}"/>
                  </a:ext>
                </a:extLst>
              </p:cNvPr>
              <p:cNvSpPr/>
              <p:nvPr/>
            </p:nvSpPr>
            <p:spPr>
              <a:xfrm>
                <a:off x="8478029" y="4471071"/>
                <a:ext cx="60160" cy="34827"/>
              </a:xfrm>
              <a:custGeom>
                <a:avLst/>
                <a:gdLst>
                  <a:gd name="connsiteX0" fmla="*/ 57239 w 60160"/>
                  <a:gd name="connsiteY0" fmla="*/ 0 h 34827"/>
                  <a:gd name="connsiteX1" fmla="*/ 29787 w 60160"/>
                  <a:gd name="connsiteY1" fmla="*/ 6789 h 34827"/>
                  <a:gd name="connsiteX2" fmla="*/ 28212 w 60160"/>
                  <a:gd name="connsiteY2" fmla="*/ 6789 h 34827"/>
                  <a:gd name="connsiteX3" fmla="*/ 15815 w 60160"/>
                  <a:gd name="connsiteY3" fmla="*/ 18498 h 34827"/>
                  <a:gd name="connsiteX4" fmla="*/ 3220 w 60160"/>
                  <a:gd name="connsiteY4" fmla="*/ 23713 h 34827"/>
                  <a:gd name="connsiteX5" fmla="*/ 957 w 60160"/>
                  <a:gd name="connsiteY5" fmla="*/ 31880 h 34827"/>
                  <a:gd name="connsiteX6" fmla="*/ 8238 w 60160"/>
                  <a:gd name="connsiteY6" fmla="*/ 34143 h 34827"/>
                  <a:gd name="connsiteX7" fmla="*/ 28114 w 60160"/>
                  <a:gd name="connsiteY7" fmla="*/ 22533 h 34827"/>
                  <a:gd name="connsiteX8" fmla="*/ 41398 w 60160"/>
                  <a:gd name="connsiteY8" fmla="*/ 21549 h 34827"/>
                  <a:gd name="connsiteX9" fmla="*/ 57239 w 60160"/>
                  <a:gd name="connsiteY9" fmla="*/ 98 h 3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60" h="34827">
                    <a:moveTo>
                      <a:pt x="57239" y="0"/>
                    </a:moveTo>
                    <a:cubicBezTo>
                      <a:pt x="40217" y="1181"/>
                      <a:pt x="39823" y="7085"/>
                      <a:pt x="29787" y="6789"/>
                    </a:cubicBezTo>
                    <a:lnTo>
                      <a:pt x="28212" y="6789"/>
                    </a:lnTo>
                    <a:cubicBezTo>
                      <a:pt x="20242" y="6494"/>
                      <a:pt x="23490" y="15350"/>
                      <a:pt x="15815" y="18498"/>
                    </a:cubicBezTo>
                    <a:lnTo>
                      <a:pt x="3220" y="23713"/>
                    </a:lnTo>
                    <a:cubicBezTo>
                      <a:pt x="-2389" y="25977"/>
                      <a:pt x="1055" y="32864"/>
                      <a:pt x="957" y="31880"/>
                    </a:cubicBezTo>
                    <a:cubicBezTo>
                      <a:pt x="2334" y="34636"/>
                      <a:pt x="5581" y="35619"/>
                      <a:pt x="8238" y="34143"/>
                    </a:cubicBezTo>
                    <a:lnTo>
                      <a:pt x="28114" y="22533"/>
                    </a:lnTo>
                    <a:cubicBezTo>
                      <a:pt x="35494" y="18203"/>
                      <a:pt x="35395" y="27453"/>
                      <a:pt x="41398" y="21549"/>
                    </a:cubicBezTo>
                    <a:cubicBezTo>
                      <a:pt x="57534" y="5707"/>
                      <a:pt x="64619" y="590"/>
                      <a:pt x="57239" y="98"/>
                    </a:cubicBezTo>
                    <a:close/>
                  </a:path>
                </a:pathLst>
              </a:custGeom>
              <a:grpFill/>
              <a:ln w="9835" cap="flat">
                <a:noFill/>
                <a:prstDash val="solid"/>
                <a:miter/>
              </a:ln>
            </p:spPr>
            <p:txBody>
              <a:bodyPr rtlCol="0" anchor="ctr"/>
              <a:lstStyle/>
              <a:p>
                <a:endParaRPr lang="en-IN"/>
              </a:p>
            </p:txBody>
          </p:sp>
          <p:sp>
            <p:nvSpPr>
              <p:cNvPr id="648" name="Freeform: Shape 647">
                <a:extLst>
                  <a:ext uri="{FF2B5EF4-FFF2-40B4-BE49-F238E27FC236}">
                    <a16:creationId xmlns:a16="http://schemas.microsoft.com/office/drawing/2014/main" id="{1D022C41-885F-8C23-681B-A5DCBBB5A84D}"/>
                  </a:ext>
                </a:extLst>
              </p:cNvPr>
              <p:cNvSpPr/>
              <p:nvPr/>
            </p:nvSpPr>
            <p:spPr>
              <a:xfrm>
                <a:off x="8388619" y="4497422"/>
                <a:ext cx="16909" cy="14473"/>
              </a:xfrm>
              <a:custGeom>
                <a:avLst/>
                <a:gdLst>
                  <a:gd name="connsiteX0" fmla="*/ 8305 w 16909"/>
                  <a:gd name="connsiteY0" fmla="*/ 314 h 14473"/>
                  <a:gd name="connsiteX1" fmla="*/ 7222 w 16909"/>
                  <a:gd name="connsiteY1" fmla="*/ 117 h 14473"/>
                  <a:gd name="connsiteX2" fmla="*/ 138 w 16909"/>
                  <a:gd name="connsiteY2" fmla="*/ 6119 h 14473"/>
                  <a:gd name="connsiteX3" fmla="*/ 4369 w 16909"/>
                  <a:gd name="connsiteY3" fmla="*/ 12712 h 14473"/>
                  <a:gd name="connsiteX4" fmla="*/ 16570 w 16909"/>
                  <a:gd name="connsiteY4" fmla="*/ 10252 h 14473"/>
                  <a:gd name="connsiteX5" fmla="*/ 8206 w 16909"/>
                  <a:gd name="connsiteY5" fmla="*/ 314 h 1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09" h="14473">
                    <a:moveTo>
                      <a:pt x="8305" y="314"/>
                    </a:moveTo>
                    <a:lnTo>
                      <a:pt x="7222" y="117"/>
                    </a:lnTo>
                    <a:cubicBezTo>
                      <a:pt x="1023" y="-1064"/>
                      <a:pt x="-453" y="7103"/>
                      <a:pt x="138" y="6119"/>
                    </a:cubicBezTo>
                    <a:cubicBezTo>
                      <a:pt x="-551" y="9071"/>
                      <a:pt x="1417" y="12023"/>
                      <a:pt x="4369" y="12712"/>
                    </a:cubicBezTo>
                    <a:cubicBezTo>
                      <a:pt x="7419" y="12810"/>
                      <a:pt x="19030" y="17927"/>
                      <a:pt x="16570" y="10252"/>
                    </a:cubicBezTo>
                    <a:cubicBezTo>
                      <a:pt x="16570" y="10252"/>
                      <a:pt x="15192" y="1691"/>
                      <a:pt x="8206" y="314"/>
                    </a:cubicBezTo>
                    <a:close/>
                  </a:path>
                </a:pathLst>
              </a:custGeom>
              <a:grpFill/>
              <a:ln w="9835" cap="flat">
                <a:noFill/>
                <a:prstDash val="solid"/>
                <a:miter/>
              </a:ln>
            </p:spPr>
            <p:txBody>
              <a:bodyPr rtlCol="0" anchor="ctr"/>
              <a:lstStyle/>
              <a:p>
                <a:endParaRPr lang="en-IN"/>
              </a:p>
            </p:txBody>
          </p:sp>
          <p:sp>
            <p:nvSpPr>
              <p:cNvPr id="649" name="Freeform: Shape 648">
                <a:extLst>
                  <a:ext uri="{FF2B5EF4-FFF2-40B4-BE49-F238E27FC236}">
                    <a16:creationId xmlns:a16="http://schemas.microsoft.com/office/drawing/2014/main" id="{12480950-3C8A-6DB1-EF06-711F6AF99157}"/>
                  </a:ext>
                </a:extLst>
              </p:cNvPr>
              <p:cNvSpPr/>
              <p:nvPr/>
            </p:nvSpPr>
            <p:spPr>
              <a:xfrm>
                <a:off x="8341768" y="4480529"/>
                <a:ext cx="16328" cy="11215"/>
              </a:xfrm>
              <a:custGeom>
                <a:avLst/>
                <a:gdLst>
                  <a:gd name="connsiteX0" fmla="*/ 15305 w 16328"/>
                  <a:gd name="connsiteY0" fmla="*/ 4810 h 11215"/>
                  <a:gd name="connsiteX1" fmla="*/ 3792 w 16328"/>
                  <a:gd name="connsiteY1" fmla="*/ 185 h 11215"/>
                  <a:gd name="connsiteX2" fmla="*/ 447 w 16328"/>
                  <a:gd name="connsiteY2" fmla="*/ 5499 h 11215"/>
                  <a:gd name="connsiteX3" fmla="*/ 939 w 16328"/>
                  <a:gd name="connsiteY3" fmla="*/ 6581 h 11215"/>
                  <a:gd name="connsiteX4" fmla="*/ 12943 w 16328"/>
                  <a:gd name="connsiteY4" fmla="*/ 10714 h 11215"/>
                  <a:gd name="connsiteX5" fmla="*/ 15403 w 16328"/>
                  <a:gd name="connsiteY5" fmla="*/ 4810 h 1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28" h="11215">
                    <a:moveTo>
                      <a:pt x="15305" y="4810"/>
                    </a:moveTo>
                    <a:cubicBezTo>
                      <a:pt x="11959" y="-996"/>
                      <a:pt x="2809" y="-12"/>
                      <a:pt x="3792" y="185"/>
                    </a:cubicBezTo>
                    <a:cubicBezTo>
                      <a:pt x="742" y="185"/>
                      <a:pt x="-832" y="2645"/>
                      <a:pt x="447" y="5499"/>
                    </a:cubicBezTo>
                    <a:lnTo>
                      <a:pt x="939" y="6581"/>
                    </a:lnTo>
                    <a:cubicBezTo>
                      <a:pt x="3694" y="13075"/>
                      <a:pt x="13927" y="10910"/>
                      <a:pt x="12943" y="10714"/>
                    </a:cubicBezTo>
                    <a:cubicBezTo>
                      <a:pt x="18749" y="10123"/>
                      <a:pt x="15305" y="3826"/>
                      <a:pt x="15403" y="4810"/>
                    </a:cubicBezTo>
                    <a:close/>
                  </a:path>
                </a:pathLst>
              </a:custGeom>
              <a:grpFill/>
              <a:ln w="9835" cap="flat">
                <a:noFill/>
                <a:prstDash val="solid"/>
                <a:miter/>
              </a:ln>
            </p:spPr>
            <p:txBody>
              <a:bodyPr rtlCol="0" anchor="ctr"/>
              <a:lstStyle/>
              <a:p>
                <a:endParaRPr lang="en-IN"/>
              </a:p>
            </p:txBody>
          </p:sp>
          <p:sp>
            <p:nvSpPr>
              <p:cNvPr id="650" name="Freeform: Shape 649">
                <a:extLst>
                  <a:ext uri="{FF2B5EF4-FFF2-40B4-BE49-F238E27FC236}">
                    <a16:creationId xmlns:a16="http://schemas.microsoft.com/office/drawing/2014/main" id="{24201857-BBA3-57C6-90DF-6191C4D48604}"/>
                  </a:ext>
                </a:extLst>
              </p:cNvPr>
              <p:cNvSpPr/>
              <p:nvPr/>
            </p:nvSpPr>
            <p:spPr>
              <a:xfrm>
                <a:off x="7774766" y="3600267"/>
                <a:ext cx="1195412" cy="996090"/>
              </a:xfrm>
              <a:custGeom>
                <a:avLst/>
                <a:gdLst>
                  <a:gd name="connsiteX0" fmla="*/ 1162548 w 1195412"/>
                  <a:gd name="connsiteY0" fmla="*/ 861752 h 996090"/>
                  <a:gd name="connsiteX1" fmla="*/ 1160088 w 1195412"/>
                  <a:gd name="connsiteY1" fmla="*/ 796122 h 996090"/>
                  <a:gd name="connsiteX2" fmla="*/ 1102723 w 1195412"/>
                  <a:gd name="connsiteY2" fmla="*/ 772703 h 996090"/>
                  <a:gd name="connsiteX3" fmla="*/ 1045359 w 1195412"/>
                  <a:gd name="connsiteY3" fmla="*/ 688674 h 996090"/>
                  <a:gd name="connsiteX4" fmla="*/ 1102723 w 1195412"/>
                  <a:gd name="connsiteY4" fmla="*/ 619009 h 996090"/>
                  <a:gd name="connsiteX5" fmla="*/ 1097017 w 1195412"/>
                  <a:gd name="connsiteY5" fmla="*/ 586243 h 996090"/>
                  <a:gd name="connsiteX6" fmla="*/ 1040439 w 1195412"/>
                  <a:gd name="connsiteY6" fmla="*/ 573156 h 996090"/>
                  <a:gd name="connsiteX7" fmla="*/ 1028926 w 1195412"/>
                  <a:gd name="connsiteY7" fmla="*/ 463248 h 996090"/>
                  <a:gd name="connsiteX8" fmla="*/ 1046146 w 1195412"/>
                  <a:gd name="connsiteY8" fmla="*/ 436977 h 996090"/>
                  <a:gd name="connsiteX9" fmla="*/ 1020169 w 1195412"/>
                  <a:gd name="connsiteY9" fmla="*/ 420151 h 996090"/>
                  <a:gd name="connsiteX10" fmla="*/ 1067006 w 1195412"/>
                  <a:gd name="connsiteY10" fmla="*/ 303256 h 996090"/>
                  <a:gd name="connsiteX11" fmla="*/ 1060905 w 1195412"/>
                  <a:gd name="connsiteY11" fmla="*/ 218439 h 996090"/>
                  <a:gd name="connsiteX12" fmla="*/ 1013577 w 1195412"/>
                  <a:gd name="connsiteY12" fmla="*/ 216373 h 996090"/>
                  <a:gd name="connsiteX13" fmla="*/ 996653 w 1195412"/>
                  <a:gd name="connsiteY13" fmla="*/ 189216 h 996090"/>
                  <a:gd name="connsiteX14" fmla="*/ 964969 w 1195412"/>
                  <a:gd name="connsiteY14" fmla="*/ 179966 h 996090"/>
                  <a:gd name="connsiteX15" fmla="*/ 949226 w 1195412"/>
                  <a:gd name="connsiteY15" fmla="*/ 150349 h 996090"/>
                  <a:gd name="connsiteX16" fmla="*/ 832135 w 1195412"/>
                  <a:gd name="connsiteY16" fmla="*/ 124865 h 996090"/>
                  <a:gd name="connsiteX17" fmla="*/ 824755 w 1195412"/>
                  <a:gd name="connsiteY17" fmla="*/ 103119 h 996090"/>
                  <a:gd name="connsiteX18" fmla="*/ 771031 w 1195412"/>
                  <a:gd name="connsiteY18" fmla="*/ 103119 h 996090"/>
                  <a:gd name="connsiteX19" fmla="*/ 758338 w 1195412"/>
                  <a:gd name="connsiteY19" fmla="*/ 117485 h 996090"/>
                  <a:gd name="connsiteX20" fmla="*/ 696643 w 1195412"/>
                  <a:gd name="connsiteY20" fmla="*/ 121814 h 996090"/>
                  <a:gd name="connsiteX21" fmla="*/ 668896 w 1195412"/>
                  <a:gd name="connsiteY21" fmla="*/ 157729 h 996090"/>
                  <a:gd name="connsiteX22" fmla="*/ 617435 w 1195412"/>
                  <a:gd name="connsiteY22" fmla="*/ 171406 h 996090"/>
                  <a:gd name="connsiteX23" fmla="*/ 620583 w 1195412"/>
                  <a:gd name="connsiteY23" fmla="*/ 182328 h 996090"/>
                  <a:gd name="connsiteX24" fmla="*/ 623338 w 1195412"/>
                  <a:gd name="connsiteY24" fmla="*/ 198957 h 996090"/>
                  <a:gd name="connsiteX25" fmla="*/ 622453 w 1195412"/>
                  <a:gd name="connsiteY25" fmla="*/ 200531 h 996090"/>
                  <a:gd name="connsiteX26" fmla="*/ 601003 w 1195412"/>
                  <a:gd name="connsiteY26" fmla="*/ 197481 h 996090"/>
                  <a:gd name="connsiteX27" fmla="*/ 596280 w 1195412"/>
                  <a:gd name="connsiteY27" fmla="*/ 190003 h 996090"/>
                  <a:gd name="connsiteX28" fmla="*/ 458230 w 1195412"/>
                  <a:gd name="connsiteY28" fmla="*/ 210075 h 996090"/>
                  <a:gd name="connsiteX29" fmla="*/ 432745 w 1195412"/>
                  <a:gd name="connsiteY29" fmla="*/ 203975 h 996090"/>
                  <a:gd name="connsiteX30" fmla="*/ 391321 w 1195412"/>
                  <a:gd name="connsiteY30" fmla="*/ 174161 h 996090"/>
                  <a:gd name="connsiteX31" fmla="*/ 378431 w 1195412"/>
                  <a:gd name="connsiteY31" fmla="*/ 158418 h 996090"/>
                  <a:gd name="connsiteX32" fmla="*/ 323034 w 1195412"/>
                  <a:gd name="connsiteY32" fmla="*/ 145823 h 996090"/>
                  <a:gd name="connsiteX33" fmla="*/ 307783 w 1195412"/>
                  <a:gd name="connsiteY33" fmla="*/ 124471 h 996090"/>
                  <a:gd name="connsiteX34" fmla="*/ 303650 w 1195412"/>
                  <a:gd name="connsiteY34" fmla="*/ 92394 h 996090"/>
                  <a:gd name="connsiteX35" fmla="*/ 303453 w 1195412"/>
                  <a:gd name="connsiteY35" fmla="*/ 92394 h 996090"/>
                  <a:gd name="connsiteX36" fmla="*/ 284168 w 1195412"/>
                  <a:gd name="connsiteY36" fmla="*/ 92394 h 996090"/>
                  <a:gd name="connsiteX37" fmla="*/ 246777 w 1195412"/>
                  <a:gd name="connsiteY37" fmla="*/ 59825 h 996090"/>
                  <a:gd name="connsiteX38" fmla="*/ 263504 w 1195412"/>
                  <a:gd name="connsiteY38" fmla="*/ 50280 h 996090"/>
                  <a:gd name="connsiteX39" fmla="*/ 264095 w 1195412"/>
                  <a:gd name="connsiteY39" fmla="*/ 41917 h 996090"/>
                  <a:gd name="connsiteX40" fmla="*/ 253960 w 1195412"/>
                  <a:gd name="connsiteY40" fmla="*/ 33553 h 996090"/>
                  <a:gd name="connsiteX41" fmla="*/ 268031 w 1195412"/>
                  <a:gd name="connsiteY41" fmla="*/ 21746 h 996090"/>
                  <a:gd name="connsiteX42" fmla="*/ 241857 w 1195412"/>
                  <a:gd name="connsiteY42" fmla="*/ 0 h 996090"/>
                  <a:gd name="connsiteX43" fmla="*/ 160582 w 1195412"/>
                  <a:gd name="connsiteY43" fmla="*/ 62088 h 996090"/>
                  <a:gd name="connsiteX44" fmla="*/ 84325 w 1195412"/>
                  <a:gd name="connsiteY44" fmla="*/ 58054 h 996090"/>
                  <a:gd name="connsiteX45" fmla="*/ 48411 w 1195412"/>
                  <a:gd name="connsiteY45" fmla="*/ 9446 h 996090"/>
                  <a:gd name="connsiteX46" fmla="*/ 26567 w 1195412"/>
                  <a:gd name="connsiteY46" fmla="*/ 4625 h 996090"/>
                  <a:gd name="connsiteX47" fmla="*/ 23025 w 1195412"/>
                  <a:gd name="connsiteY47" fmla="*/ 18794 h 996090"/>
                  <a:gd name="connsiteX48" fmla="*/ 0 w 1195412"/>
                  <a:gd name="connsiteY48" fmla="*/ 21254 h 996090"/>
                  <a:gd name="connsiteX49" fmla="*/ 23812 w 1195412"/>
                  <a:gd name="connsiteY49" fmla="*/ 94165 h 996090"/>
                  <a:gd name="connsiteX50" fmla="*/ 12201 w 1195412"/>
                  <a:gd name="connsiteY50" fmla="*/ 127620 h 996090"/>
                  <a:gd name="connsiteX51" fmla="*/ 34439 w 1195412"/>
                  <a:gd name="connsiteY51" fmla="*/ 139624 h 996090"/>
                  <a:gd name="connsiteX52" fmla="*/ 81373 w 1195412"/>
                  <a:gd name="connsiteY52" fmla="*/ 261143 h 996090"/>
                  <a:gd name="connsiteX53" fmla="*/ 142084 w 1195412"/>
                  <a:gd name="connsiteY53" fmla="*/ 273541 h 996090"/>
                  <a:gd name="connsiteX54" fmla="*/ 138738 w 1195412"/>
                  <a:gd name="connsiteY54" fmla="*/ 286136 h 996090"/>
                  <a:gd name="connsiteX55" fmla="*/ 119748 w 1195412"/>
                  <a:gd name="connsiteY55" fmla="*/ 293712 h 996090"/>
                  <a:gd name="connsiteX56" fmla="*/ 132244 w 1195412"/>
                  <a:gd name="connsiteY56" fmla="*/ 322640 h 996090"/>
                  <a:gd name="connsiteX57" fmla="*/ 106956 w 1195412"/>
                  <a:gd name="connsiteY57" fmla="*/ 360228 h 996090"/>
                  <a:gd name="connsiteX58" fmla="*/ 89639 w 1195412"/>
                  <a:gd name="connsiteY58" fmla="*/ 367607 h 996090"/>
                  <a:gd name="connsiteX59" fmla="*/ 87080 w 1195412"/>
                  <a:gd name="connsiteY59" fmla="*/ 409426 h 996090"/>
                  <a:gd name="connsiteX60" fmla="*/ 132638 w 1195412"/>
                  <a:gd name="connsiteY60" fmla="*/ 455869 h 996090"/>
                  <a:gd name="connsiteX61" fmla="*/ 119158 w 1195412"/>
                  <a:gd name="connsiteY61" fmla="*/ 468463 h 996090"/>
                  <a:gd name="connsiteX62" fmla="*/ 129587 w 1195412"/>
                  <a:gd name="connsiteY62" fmla="*/ 482042 h 996090"/>
                  <a:gd name="connsiteX63" fmla="*/ 148873 w 1195412"/>
                  <a:gd name="connsiteY63" fmla="*/ 479090 h 996090"/>
                  <a:gd name="connsiteX64" fmla="*/ 189806 w 1195412"/>
                  <a:gd name="connsiteY64" fmla="*/ 510183 h 996090"/>
                  <a:gd name="connsiteX65" fmla="*/ 207124 w 1195412"/>
                  <a:gd name="connsiteY65" fmla="*/ 510183 h 996090"/>
                  <a:gd name="connsiteX66" fmla="*/ 235953 w 1195412"/>
                  <a:gd name="connsiteY66" fmla="*/ 555741 h 996090"/>
                  <a:gd name="connsiteX67" fmla="*/ 221883 w 1195412"/>
                  <a:gd name="connsiteY67" fmla="*/ 608185 h 996090"/>
                  <a:gd name="connsiteX68" fmla="*/ 247761 w 1195412"/>
                  <a:gd name="connsiteY68" fmla="*/ 612417 h 996090"/>
                  <a:gd name="connsiteX69" fmla="*/ 247761 w 1195412"/>
                  <a:gd name="connsiteY69" fmla="*/ 637114 h 996090"/>
                  <a:gd name="connsiteX70" fmla="*/ 276493 w 1195412"/>
                  <a:gd name="connsiteY70" fmla="*/ 673225 h 996090"/>
                  <a:gd name="connsiteX71" fmla="*/ 291055 w 1195412"/>
                  <a:gd name="connsiteY71" fmla="*/ 673028 h 996090"/>
                  <a:gd name="connsiteX72" fmla="*/ 302076 w 1195412"/>
                  <a:gd name="connsiteY72" fmla="*/ 662402 h 996090"/>
                  <a:gd name="connsiteX73" fmla="*/ 303945 w 1195412"/>
                  <a:gd name="connsiteY73" fmla="*/ 643510 h 996090"/>
                  <a:gd name="connsiteX74" fmla="*/ 323132 w 1195412"/>
                  <a:gd name="connsiteY74" fmla="*/ 640459 h 996090"/>
                  <a:gd name="connsiteX75" fmla="*/ 320082 w 1195412"/>
                  <a:gd name="connsiteY75" fmla="*/ 648233 h 996090"/>
                  <a:gd name="connsiteX76" fmla="*/ 320672 w 1195412"/>
                  <a:gd name="connsiteY76" fmla="*/ 652956 h 996090"/>
                  <a:gd name="connsiteX77" fmla="*/ 335235 w 1195412"/>
                  <a:gd name="connsiteY77" fmla="*/ 657580 h 996090"/>
                  <a:gd name="connsiteX78" fmla="*/ 342811 w 1195412"/>
                  <a:gd name="connsiteY78" fmla="*/ 667420 h 996090"/>
                  <a:gd name="connsiteX79" fmla="*/ 348912 w 1195412"/>
                  <a:gd name="connsiteY79" fmla="*/ 669585 h 996090"/>
                  <a:gd name="connsiteX80" fmla="*/ 385614 w 1195412"/>
                  <a:gd name="connsiteY80" fmla="*/ 678735 h 996090"/>
                  <a:gd name="connsiteX81" fmla="*/ 410705 w 1195412"/>
                  <a:gd name="connsiteY81" fmla="*/ 706188 h 996090"/>
                  <a:gd name="connsiteX82" fmla="*/ 414444 w 1195412"/>
                  <a:gd name="connsiteY82" fmla="*/ 723801 h 996090"/>
                  <a:gd name="connsiteX83" fmla="*/ 423693 w 1195412"/>
                  <a:gd name="connsiteY83" fmla="*/ 730492 h 996090"/>
                  <a:gd name="connsiteX84" fmla="*/ 428613 w 1195412"/>
                  <a:gd name="connsiteY84" fmla="*/ 743480 h 996090"/>
                  <a:gd name="connsiteX85" fmla="*/ 438059 w 1195412"/>
                  <a:gd name="connsiteY85" fmla="*/ 759518 h 996090"/>
                  <a:gd name="connsiteX86" fmla="*/ 441896 w 1195412"/>
                  <a:gd name="connsiteY86" fmla="*/ 775557 h 996090"/>
                  <a:gd name="connsiteX87" fmla="*/ 449276 w 1195412"/>
                  <a:gd name="connsiteY87" fmla="*/ 785200 h 996090"/>
                  <a:gd name="connsiteX88" fmla="*/ 454589 w 1195412"/>
                  <a:gd name="connsiteY88" fmla="*/ 798287 h 996090"/>
                  <a:gd name="connsiteX89" fmla="*/ 481648 w 1195412"/>
                  <a:gd name="connsiteY89" fmla="*/ 816391 h 996090"/>
                  <a:gd name="connsiteX90" fmla="*/ 506050 w 1195412"/>
                  <a:gd name="connsiteY90" fmla="*/ 818359 h 996090"/>
                  <a:gd name="connsiteX91" fmla="*/ 535274 w 1195412"/>
                  <a:gd name="connsiteY91" fmla="*/ 836464 h 996090"/>
                  <a:gd name="connsiteX92" fmla="*/ 534782 w 1195412"/>
                  <a:gd name="connsiteY92" fmla="*/ 842958 h 996090"/>
                  <a:gd name="connsiteX93" fmla="*/ 534979 w 1195412"/>
                  <a:gd name="connsiteY93" fmla="*/ 848862 h 996090"/>
                  <a:gd name="connsiteX94" fmla="*/ 554264 w 1195412"/>
                  <a:gd name="connsiteY94" fmla="*/ 859882 h 996090"/>
                  <a:gd name="connsiteX95" fmla="*/ 589589 w 1195412"/>
                  <a:gd name="connsiteY95" fmla="*/ 875921 h 996090"/>
                  <a:gd name="connsiteX96" fmla="*/ 612121 w 1195412"/>
                  <a:gd name="connsiteY96" fmla="*/ 888811 h 996090"/>
                  <a:gd name="connsiteX97" fmla="*/ 642329 w 1195412"/>
                  <a:gd name="connsiteY97" fmla="*/ 889696 h 996090"/>
                  <a:gd name="connsiteX98" fmla="*/ 675193 w 1195412"/>
                  <a:gd name="connsiteY98" fmla="*/ 900225 h 996090"/>
                  <a:gd name="connsiteX99" fmla="*/ 694184 w 1195412"/>
                  <a:gd name="connsiteY99" fmla="*/ 887827 h 996090"/>
                  <a:gd name="connsiteX100" fmla="*/ 708648 w 1195412"/>
                  <a:gd name="connsiteY100" fmla="*/ 884777 h 996090"/>
                  <a:gd name="connsiteX101" fmla="*/ 718487 w 1195412"/>
                  <a:gd name="connsiteY101" fmla="*/ 876216 h 996090"/>
                  <a:gd name="connsiteX102" fmla="*/ 798385 w 1195412"/>
                  <a:gd name="connsiteY102" fmla="*/ 864900 h 996090"/>
                  <a:gd name="connsiteX103" fmla="*/ 810881 w 1195412"/>
                  <a:gd name="connsiteY103" fmla="*/ 884973 h 996090"/>
                  <a:gd name="connsiteX104" fmla="*/ 814227 w 1195412"/>
                  <a:gd name="connsiteY104" fmla="*/ 916362 h 996090"/>
                  <a:gd name="connsiteX105" fmla="*/ 834693 w 1195412"/>
                  <a:gd name="connsiteY105" fmla="*/ 951391 h 996090"/>
                  <a:gd name="connsiteX106" fmla="*/ 859882 w 1195412"/>
                  <a:gd name="connsiteY106" fmla="*/ 954933 h 996090"/>
                  <a:gd name="connsiteX107" fmla="*/ 872674 w 1195412"/>
                  <a:gd name="connsiteY107" fmla="*/ 963002 h 996090"/>
                  <a:gd name="connsiteX108" fmla="*/ 921085 w 1195412"/>
                  <a:gd name="connsiteY108" fmla="*/ 966347 h 996090"/>
                  <a:gd name="connsiteX109" fmla="*/ 942338 w 1195412"/>
                  <a:gd name="connsiteY109" fmla="*/ 975596 h 996090"/>
                  <a:gd name="connsiteX110" fmla="*/ 955523 w 1195412"/>
                  <a:gd name="connsiteY110" fmla="*/ 970676 h 996090"/>
                  <a:gd name="connsiteX111" fmla="*/ 968216 w 1195412"/>
                  <a:gd name="connsiteY111" fmla="*/ 974612 h 996090"/>
                  <a:gd name="connsiteX112" fmla="*/ 978154 w 1195412"/>
                  <a:gd name="connsiteY112" fmla="*/ 978351 h 996090"/>
                  <a:gd name="connsiteX113" fmla="*/ 1010625 w 1195412"/>
                  <a:gd name="connsiteY113" fmla="*/ 979729 h 996090"/>
                  <a:gd name="connsiteX114" fmla="*/ 1024794 w 1195412"/>
                  <a:gd name="connsiteY114" fmla="*/ 971562 h 996090"/>
                  <a:gd name="connsiteX115" fmla="*/ 1033945 w 1195412"/>
                  <a:gd name="connsiteY115" fmla="*/ 977761 h 996090"/>
                  <a:gd name="connsiteX116" fmla="*/ 1039553 w 1195412"/>
                  <a:gd name="connsiteY116" fmla="*/ 984156 h 996090"/>
                  <a:gd name="connsiteX117" fmla="*/ 1076353 w 1195412"/>
                  <a:gd name="connsiteY117" fmla="*/ 995767 h 996090"/>
                  <a:gd name="connsiteX118" fmla="*/ 1086095 w 1195412"/>
                  <a:gd name="connsiteY118" fmla="*/ 990847 h 996090"/>
                  <a:gd name="connsiteX119" fmla="*/ 1092884 w 1195412"/>
                  <a:gd name="connsiteY119" fmla="*/ 987797 h 996090"/>
                  <a:gd name="connsiteX120" fmla="*/ 1102723 w 1195412"/>
                  <a:gd name="connsiteY120" fmla="*/ 938697 h 996090"/>
                  <a:gd name="connsiteX121" fmla="*/ 1137949 w 1195412"/>
                  <a:gd name="connsiteY121" fmla="*/ 908883 h 996090"/>
                  <a:gd name="connsiteX122" fmla="*/ 1187934 w 1195412"/>
                  <a:gd name="connsiteY122" fmla="*/ 908883 h 996090"/>
                  <a:gd name="connsiteX123" fmla="*/ 1195413 w 1195412"/>
                  <a:gd name="connsiteY123" fmla="*/ 871099 h 996090"/>
                  <a:gd name="connsiteX124" fmla="*/ 1162548 w 1195412"/>
                  <a:gd name="connsiteY124" fmla="*/ 862047 h 996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195412" h="996090">
                    <a:moveTo>
                      <a:pt x="1162548" y="861752"/>
                    </a:moveTo>
                    <a:lnTo>
                      <a:pt x="1160088" y="796122"/>
                    </a:lnTo>
                    <a:lnTo>
                      <a:pt x="1102723" y="772703"/>
                    </a:lnTo>
                    <a:lnTo>
                      <a:pt x="1045359" y="688674"/>
                    </a:lnTo>
                    <a:lnTo>
                      <a:pt x="1102723" y="619009"/>
                    </a:lnTo>
                    <a:lnTo>
                      <a:pt x="1097017" y="586243"/>
                    </a:lnTo>
                    <a:lnTo>
                      <a:pt x="1040439" y="573156"/>
                    </a:lnTo>
                    <a:lnTo>
                      <a:pt x="1028926" y="463248"/>
                    </a:lnTo>
                    <a:lnTo>
                      <a:pt x="1046146" y="436977"/>
                    </a:lnTo>
                    <a:lnTo>
                      <a:pt x="1020169" y="420151"/>
                    </a:lnTo>
                    <a:lnTo>
                      <a:pt x="1067006" y="303256"/>
                    </a:lnTo>
                    <a:lnTo>
                      <a:pt x="1060905" y="218439"/>
                    </a:lnTo>
                    <a:lnTo>
                      <a:pt x="1013577" y="216373"/>
                    </a:lnTo>
                    <a:lnTo>
                      <a:pt x="996653" y="189216"/>
                    </a:lnTo>
                    <a:lnTo>
                      <a:pt x="964969" y="179966"/>
                    </a:lnTo>
                    <a:lnTo>
                      <a:pt x="949226" y="150349"/>
                    </a:lnTo>
                    <a:lnTo>
                      <a:pt x="832135" y="124865"/>
                    </a:lnTo>
                    <a:lnTo>
                      <a:pt x="824755" y="103119"/>
                    </a:lnTo>
                    <a:lnTo>
                      <a:pt x="771031" y="103119"/>
                    </a:lnTo>
                    <a:lnTo>
                      <a:pt x="758338" y="117485"/>
                    </a:lnTo>
                    <a:lnTo>
                      <a:pt x="696643" y="121814"/>
                    </a:lnTo>
                    <a:lnTo>
                      <a:pt x="668896" y="157729"/>
                    </a:lnTo>
                    <a:lnTo>
                      <a:pt x="617435" y="171406"/>
                    </a:lnTo>
                    <a:cubicBezTo>
                      <a:pt x="618320" y="176424"/>
                      <a:pt x="619206" y="179474"/>
                      <a:pt x="620583" y="182328"/>
                    </a:cubicBezTo>
                    <a:cubicBezTo>
                      <a:pt x="621370" y="184886"/>
                      <a:pt x="627176" y="192069"/>
                      <a:pt x="623338" y="198957"/>
                    </a:cubicBezTo>
                    <a:lnTo>
                      <a:pt x="622453" y="200531"/>
                    </a:lnTo>
                    <a:cubicBezTo>
                      <a:pt x="618517" y="207616"/>
                      <a:pt x="600511" y="205451"/>
                      <a:pt x="601003" y="197481"/>
                    </a:cubicBezTo>
                    <a:cubicBezTo>
                      <a:pt x="600806" y="196497"/>
                      <a:pt x="603069" y="188133"/>
                      <a:pt x="596280" y="190003"/>
                    </a:cubicBezTo>
                    <a:cubicBezTo>
                      <a:pt x="442388" y="233494"/>
                      <a:pt x="510872" y="217947"/>
                      <a:pt x="458230" y="210075"/>
                    </a:cubicBezTo>
                    <a:cubicBezTo>
                      <a:pt x="447702" y="208501"/>
                      <a:pt x="439043" y="208009"/>
                      <a:pt x="432745" y="203975"/>
                    </a:cubicBezTo>
                    <a:cubicBezTo>
                      <a:pt x="401160" y="183902"/>
                      <a:pt x="394765" y="181147"/>
                      <a:pt x="391321" y="174161"/>
                    </a:cubicBezTo>
                    <a:cubicBezTo>
                      <a:pt x="388467" y="169832"/>
                      <a:pt x="386696" y="159795"/>
                      <a:pt x="378431" y="158418"/>
                    </a:cubicBezTo>
                    <a:cubicBezTo>
                      <a:pt x="330610" y="150546"/>
                      <a:pt x="328151" y="151235"/>
                      <a:pt x="323034" y="145823"/>
                    </a:cubicBezTo>
                    <a:cubicBezTo>
                      <a:pt x="312309" y="134310"/>
                      <a:pt x="308570" y="131260"/>
                      <a:pt x="307783" y="124471"/>
                    </a:cubicBezTo>
                    <a:cubicBezTo>
                      <a:pt x="306799" y="116009"/>
                      <a:pt x="305027" y="104496"/>
                      <a:pt x="303650" y="92394"/>
                    </a:cubicBezTo>
                    <a:lnTo>
                      <a:pt x="303453" y="92394"/>
                    </a:lnTo>
                    <a:cubicBezTo>
                      <a:pt x="303453" y="92394"/>
                      <a:pt x="284168" y="92394"/>
                      <a:pt x="284168" y="92394"/>
                    </a:cubicBezTo>
                    <a:lnTo>
                      <a:pt x="246777" y="59825"/>
                    </a:lnTo>
                    <a:lnTo>
                      <a:pt x="263504" y="50280"/>
                    </a:lnTo>
                    <a:lnTo>
                      <a:pt x="264095" y="41917"/>
                    </a:lnTo>
                    <a:lnTo>
                      <a:pt x="253960" y="33553"/>
                    </a:lnTo>
                    <a:lnTo>
                      <a:pt x="268031" y="21746"/>
                    </a:lnTo>
                    <a:lnTo>
                      <a:pt x="241857" y="0"/>
                    </a:lnTo>
                    <a:lnTo>
                      <a:pt x="160582" y="62088"/>
                    </a:lnTo>
                    <a:lnTo>
                      <a:pt x="84325" y="58054"/>
                    </a:lnTo>
                    <a:lnTo>
                      <a:pt x="48411" y="9446"/>
                    </a:lnTo>
                    <a:lnTo>
                      <a:pt x="26567" y="4625"/>
                    </a:lnTo>
                    <a:lnTo>
                      <a:pt x="23025" y="18794"/>
                    </a:lnTo>
                    <a:lnTo>
                      <a:pt x="0" y="21254"/>
                    </a:lnTo>
                    <a:lnTo>
                      <a:pt x="23812" y="94165"/>
                    </a:lnTo>
                    <a:lnTo>
                      <a:pt x="12201" y="127620"/>
                    </a:lnTo>
                    <a:lnTo>
                      <a:pt x="34439" y="139624"/>
                    </a:lnTo>
                    <a:lnTo>
                      <a:pt x="81373" y="261143"/>
                    </a:lnTo>
                    <a:lnTo>
                      <a:pt x="142084" y="273541"/>
                    </a:lnTo>
                    <a:lnTo>
                      <a:pt x="138738" y="286136"/>
                    </a:lnTo>
                    <a:lnTo>
                      <a:pt x="119748" y="293712"/>
                    </a:lnTo>
                    <a:lnTo>
                      <a:pt x="132244" y="322640"/>
                    </a:lnTo>
                    <a:lnTo>
                      <a:pt x="106956" y="360228"/>
                    </a:lnTo>
                    <a:lnTo>
                      <a:pt x="89639" y="367607"/>
                    </a:lnTo>
                    <a:lnTo>
                      <a:pt x="87080" y="409426"/>
                    </a:lnTo>
                    <a:lnTo>
                      <a:pt x="132638" y="455869"/>
                    </a:lnTo>
                    <a:lnTo>
                      <a:pt x="119158" y="468463"/>
                    </a:lnTo>
                    <a:lnTo>
                      <a:pt x="129587" y="482042"/>
                    </a:lnTo>
                    <a:lnTo>
                      <a:pt x="148873" y="479090"/>
                    </a:lnTo>
                    <a:lnTo>
                      <a:pt x="189806" y="510183"/>
                    </a:lnTo>
                    <a:lnTo>
                      <a:pt x="207124" y="510183"/>
                    </a:lnTo>
                    <a:lnTo>
                      <a:pt x="235953" y="555741"/>
                    </a:lnTo>
                    <a:lnTo>
                      <a:pt x="221883" y="608185"/>
                    </a:lnTo>
                    <a:lnTo>
                      <a:pt x="247761" y="612417"/>
                    </a:lnTo>
                    <a:lnTo>
                      <a:pt x="247761" y="637114"/>
                    </a:lnTo>
                    <a:cubicBezTo>
                      <a:pt x="247761" y="637114"/>
                      <a:pt x="276493" y="673225"/>
                      <a:pt x="276493" y="673225"/>
                    </a:cubicBezTo>
                    <a:cubicBezTo>
                      <a:pt x="282003" y="674406"/>
                      <a:pt x="286726" y="674898"/>
                      <a:pt x="291055" y="673028"/>
                    </a:cubicBezTo>
                    <a:cubicBezTo>
                      <a:pt x="293220" y="671552"/>
                      <a:pt x="303552" y="670077"/>
                      <a:pt x="302076" y="662402"/>
                    </a:cubicBezTo>
                    <a:cubicBezTo>
                      <a:pt x="301780" y="657088"/>
                      <a:pt x="296270" y="646855"/>
                      <a:pt x="303945" y="643510"/>
                    </a:cubicBezTo>
                    <a:cubicBezTo>
                      <a:pt x="309652" y="641837"/>
                      <a:pt x="318901" y="634457"/>
                      <a:pt x="323132" y="640459"/>
                    </a:cubicBezTo>
                    <a:cubicBezTo>
                      <a:pt x="326183" y="644887"/>
                      <a:pt x="319295" y="649217"/>
                      <a:pt x="320082" y="648233"/>
                    </a:cubicBezTo>
                    <a:cubicBezTo>
                      <a:pt x="317524" y="649906"/>
                      <a:pt x="317819" y="652070"/>
                      <a:pt x="320672" y="652956"/>
                    </a:cubicBezTo>
                    <a:lnTo>
                      <a:pt x="335235" y="657580"/>
                    </a:lnTo>
                    <a:cubicBezTo>
                      <a:pt x="341631" y="659647"/>
                      <a:pt x="343304" y="668404"/>
                      <a:pt x="342811" y="667420"/>
                    </a:cubicBezTo>
                    <a:cubicBezTo>
                      <a:pt x="343599" y="670372"/>
                      <a:pt x="346354" y="671356"/>
                      <a:pt x="348912" y="669585"/>
                    </a:cubicBezTo>
                    <a:cubicBezTo>
                      <a:pt x="390534" y="640656"/>
                      <a:pt x="366328" y="657679"/>
                      <a:pt x="385614" y="678735"/>
                    </a:cubicBezTo>
                    <a:lnTo>
                      <a:pt x="410705" y="706188"/>
                    </a:lnTo>
                    <a:cubicBezTo>
                      <a:pt x="416018" y="711993"/>
                      <a:pt x="414542" y="724785"/>
                      <a:pt x="414444" y="723801"/>
                    </a:cubicBezTo>
                    <a:cubicBezTo>
                      <a:pt x="414444" y="730689"/>
                      <a:pt x="424677" y="730885"/>
                      <a:pt x="423693" y="730492"/>
                    </a:cubicBezTo>
                    <a:cubicBezTo>
                      <a:pt x="430876" y="731377"/>
                      <a:pt x="432745" y="738560"/>
                      <a:pt x="428613" y="743480"/>
                    </a:cubicBezTo>
                    <a:cubicBezTo>
                      <a:pt x="423398" y="749777"/>
                      <a:pt x="437665" y="749679"/>
                      <a:pt x="438059" y="759518"/>
                    </a:cubicBezTo>
                    <a:cubicBezTo>
                      <a:pt x="438354" y="761585"/>
                      <a:pt x="437272" y="769555"/>
                      <a:pt x="441896" y="775557"/>
                    </a:cubicBezTo>
                    <a:lnTo>
                      <a:pt x="449276" y="785200"/>
                    </a:lnTo>
                    <a:cubicBezTo>
                      <a:pt x="453310" y="790513"/>
                      <a:pt x="454884" y="799271"/>
                      <a:pt x="454589" y="798287"/>
                    </a:cubicBezTo>
                    <a:cubicBezTo>
                      <a:pt x="456459" y="807142"/>
                      <a:pt x="474072" y="816785"/>
                      <a:pt x="481648" y="816391"/>
                    </a:cubicBezTo>
                    <a:cubicBezTo>
                      <a:pt x="489618" y="816490"/>
                      <a:pt x="498671" y="813833"/>
                      <a:pt x="506050" y="818359"/>
                    </a:cubicBezTo>
                    <a:lnTo>
                      <a:pt x="535274" y="836464"/>
                    </a:lnTo>
                    <a:cubicBezTo>
                      <a:pt x="540292" y="839613"/>
                      <a:pt x="534192" y="843942"/>
                      <a:pt x="534782" y="842958"/>
                    </a:cubicBezTo>
                    <a:cubicBezTo>
                      <a:pt x="532224" y="844729"/>
                      <a:pt x="532322" y="847386"/>
                      <a:pt x="534979" y="848862"/>
                    </a:cubicBezTo>
                    <a:lnTo>
                      <a:pt x="554264" y="859882"/>
                    </a:lnTo>
                    <a:cubicBezTo>
                      <a:pt x="567548" y="867557"/>
                      <a:pt x="595099" y="870312"/>
                      <a:pt x="589589" y="875921"/>
                    </a:cubicBezTo>
                    <a:cubicBezTo>
                      <a:pt x="584866" y="880644"/>
                      <a:pt x="605529" y="889204"/>
                      <a:pt x="612121" y="888811"/>
                    </a:cubicBezTo>
                    <a:cubicBezTo>
                      <a:pt x="625011" y="888024"/>
                      <a:pt x="635244" y="886351"/>
                      <a:pt x="642329" y="889696"/>
                    </a:cubicBezTo>
                    <a:cubicBezTo>
                      <a:pt x="665550" y="900913"/>
                      <a:pt x="669289" y="904062"/>
                      <a:pt x="675193" y="900225"/>
                    </a:cubicBezTo>
                    <a:lnTo>
                      <a:pt x="694184" y="887827"/>
                    </a:lnTo>
                    <a:cubicBezTo>
                      <a:pt x="700087" y="883989"/>
                      <a:pt x="709632" y="884678"/>
                      <a:pt x="708648" y="884777"/>
                    </a:cubicBezTo>
                    <a:cubicBezTo>
                      <a:pt x="715634" y="884777"/>
                      <a:pt x="719275" y="875232"/>
                      <a:pt x="718487" y="876216"/>
                    </a:cubicBezTo>
                    <a:cubicBezTo>
                      <a:pt x="725867" y="861358"/>
                      <a:pt x="789234" y="850437"/>
                      <a:pt x="798385" y="864900"/>
                    </a:cubicBezTo>
                    <a:lnTo>
                      <a:pt x="810881" y="884973"/>
                    </a:lnTo>
                    <a:cubicBezTo>
                      <a:pt x="816686" y="894223"/>
                      <a:pt x="809602" y="905735"/>
                      <a:pt x="814227" y="916362"/>
                    </a:cubicBezTo>
                    <a:cubicBezTo>
                      <a:pt x="827313" y="946176"/>
                      <a:pt x="827510" y="950407"/>
                      <a:pt x="834693" y="951391"/>
                    </a:cubicBezTo>
                    <a:lnTo>
                      <a:pt x="859882" y="954933"/>
                    </a:lnTo>
                    <a:cubicBezTo>
                      <a:pt x="867065" y="955917"/>
                      <a:pt x="873658" y="963788"/>
                      <a:pt x="872674" y="963002"/>
                    </a:cubicBezTo>
                    <a:cubicBezTo>
                      <a:pt x="882218" y="972546"/>
                      <a:pt x="909474" y="958278"/>
                      <a:pt x="921085" y="966347"/>
                    </a:cubicBezTo>
                    <a:cubicBezTo>
                      <a:pt x="927874" y="970184"/>
                      <a:pt x="934171" y="978548"/>
                      <a:pt x="942338" y="975596"/>
                    </a:cubicBezTo>
                    <a:lnTo>
                      <a:pt x="955523" y="970676"/>
                    </a:lnTo>
                    <a:cubicBezTo>
                      <a:pt x="962017" y="968315"/>
                      <a:pt x="969200" y="975104"/>
                      <a:pt x="968216" y="974612"/>
                    </a:cubicBezTo>
                    <a:cubicBezTo>
                      <a:pt x="970676" y="976482"/>
                      <a:pt x="975104" y="978154"/>
                      <a:pt x="978154" y="978351"/>
                    </a:cubicBezTo>
                    <a:lnTo>
                      <a:pt x="1010625" y="979729"/>
                    </a:lnTo>
                    <a:cubicBezTo>
                      <a:pt x="1019185" y="980122"/>
                      <a:pt x="1016430" y="970086"/>
                      <a:pt x="1024794" y="971562"/>
                    </a:cubicBezTo>
                    <a:cubicBezTo>
                      <a:pt x="1025876" y="971955"/>
                      <a:pt x="1033551" y="971660"/>
                      <a:pt x="1033945" y="977761"/>
                    </a:cubicBezTo>
                    <a:cubicBezTo>
                      <a:pt x="1034142" y="980319"/>
                      <a:pt x="1036700" y="983173"/>
                      <a:pt x="1039553" y="984156"/>
                    </a:cubicBezTo>
                    <a:lnTo>
                      <a:pt x="1076353" y="995767"/>
                    </a:lnTo>
                    <a:cubicBezTo>
                      <a:pt x="1082552" y="997735"/>
                      <a:pt x="1087079" y="990060"/>
                      <a:pt x="1086095" y="990847"/>
                    </a:cubicBezTo>
                    <a:cubicBezTo>
                      <a:pt x="1087866" y="988289"/>
                      <a:pt x="1090522" y="987699"/>
                      <a:pt x="1092884" y="987797"/>
                    </a:cubicBezTo>
                    <a:lnTo>
                      <a:pt x="1102723" y="938697"/>
                    </a:lnTo>
                    <a:lnTo>
                      <a:pt x="1137949" y="908883"/>
                    </a:lnTo>
                    <a:lnTo>
                      <a:pt x="1187934" y="908883"/>
                    </a:lnTo>
                    <a:lnTo>
                      <a:pt x="1195413" y="871099"/>
                    </a:lnTo>
                    <a:lnTo>
                      <a:pt x="1162548" y="862047"/>
                    </a:lnTo>
                    <a:close/>
                  </a:path>
                </a:pathLst>
              </a:custGeom>
              <a:grpFill/>
              <a:ln w="9835" cap="flat">
                <a:noFill/>
                <a:prstDash val="solid"/>
                <a:miter/>
              </a:ln>
            </p:spPr>
            <p:txBody>
              <a:bodyPr rtlCol="0" anchor="ctr"/>
              <a:lstStyle/>
              <a:p>
                <a:endParaRPr lang="en-IN"/>
              </a:p>
            </p:txBody>
          </p:sp>
        </p:grpSp>
        <p:grpSp>
          <p:nvGrpSpPr>
            <p:cNvPr id="498" name="Graphic 470">
              <a:extLst>
                <a:ext uri="{FF2B5EF4-FFF2-40B4-BE49-F238E27FC236}">
                  <a16:creationId xmlns:a16="http://schemas.microsoft.com/office/drawing/2014/main" id="{A5630274-085B-3D9C-F63B-C88B64CA544D}"/>
                </a:ext>
              </a:extLst>
            </p:cNvPr>
            <p:cNvGrpSpPr/>
            <p:nvPr/>
          </p:nvGrpSpPr>
          <p:grpSpPr>
            <a:xfrm>
              <a:off x="10950070" y="5849321"/>
              <a:ext cx="2839345" cy="1032216"/>
              <a:chOff x="10950070" y="5849321"/>
              <a:chExt cx="2839345" cy="1032216"/>
            </a:xfrm>
            <a:grpFill/>
          </p:grpSpPr>
          <p:sp>
            <p:nvSpPr>
              <p:cNvPr id="544" name="Freeform: Shape 543">
                <a:extLst>
                  <a:ext uri="{FF2B5EF4-FFF2-40B4-BE49-F238E27FC236}">
                    <a16:creationId xmlns:a16="http://schemas.microsoft.com/office/drawing/2014/main" id="{D96CD201-990C-7C76-5302-0D12F5FD8D95}"/>
                  </a:ext>
                </a:extLst>
              </p:cNvPr>
              <p:cNvSpPr/>
              <p:nvPr/>
            </p:nvSpPr>
            <p:spPr>
              <a:xfrm>
                <a:off x="10950070" y="5849321"/>
                <a:ext cx="668927" cy="719491"/>
              </a:xfrm>
              <a:custGeom>
                <a:avLst/>
                <a:gdLst>
                  <a:gd name="connsiteX0" fmla="*/ 646985 w 668927"/>
                  <a:gd name="connsiteY0" fmla="*/ 706662 h 719491"/>
                  <a:gd name="connsiteX1" fmla="*/ 662236 w 668927"/>
                  <a:gd name="connsiteY1" fmla="*/ 592720 h 719491"/>
                  <a:gd name="connsiteX2" fmla="*/ 655348 w 668927"/>
                  <a:gd name="connsiteY2" fmla="*/ 580322 h 719491"/>
                  <a:gd name="connsiteX3" fmla="*/ 656136 w 668927"/>
                  <a:gd name="connsiteY3" fmla="*/ 561332 h 719491"/>
                  <a:gd name="connsiteX4" fmla="*/ 664401 w 668927"/>
                  <a:gd name="connsiteY4" fmla="*/ 551098 h 719491"/>
                  <a:gd name="connsiteX5" fmla="*/ 668927 w 668927"/>
                  <a:gd name="connsiteY5" fmla="*/ 539881 h 719491"/>
                  <a:gd name="connsiteX6" fmla="*/ 659678 w 668927"/>
                  <a:gd name="connsiteY6" fmla="*/ 532797 h 719491"/>
                  <a:gd name="connsiteX7" fmla="*/ 646493 w 668927"/>
                  <a:gd name="connsiteY7" fmla="*/ 515577 h 719491"/>
                  <a:gd name="connsiteX8" fmla="*/ 646198 w 668927"/>
                  <a:gd name="connsiteY8" fmla="*/ 515577 h 719491"/>
                  <a:gd name="connsiteX9" fmla="*/ 639310 w 668927"/>
                  <a:gd name="connsiteY9" fmla="*/ 502589 h 719491"/>
                  <a:gd name="connsiteX10" fmla="*/ 621008 w 668927"/>
                  <a:gd name="connsiteY10" fmla="*/ 493340 h 719491"/>
                  <a:gd name="connsiteX11" fmla="*/ 607725 w 668927"/>
                  <a:gd name="connsiteY11" fmla="*/ 497866 h 719491"/>
                  <a:gd name="connsiteX12" fmla="*/ 591391 w 668927"/>
                  <a:gd name="connsiteY12" fmla="*/ 497866 h 719491"/>
                  <a:gd name="connsiteX13" fmla="*/ 592867 w 668927"/>
                  <a:gd name="connsiteY13" fmla="*/ 488912 h 719491"/>
                  <a:gd name="connsiteX14" fmla="*/ 595524 w 668927"/>
                  <a:gd name="connsiteY14" fmla="*/ 479368 h 719491"/>
                  <a:gd name="connsiteX15" fmla="*/ 595524 w 668927"/>
                  <a:gd name="connsiteY15" fmla="*/ 478777 h 719491"/>
                  <a:gd name="connsiteX16" fmla="*/ 578993 w 668927"/>
                  <a:gd name="connsiteY16" fmla="*/ 467560 h 719491"/>
                  <a:gd name="connsiteX17" fmla="*/ 566103 w 668927"/>
                  <a:gd name="connsiteY17" fmla="*/ 418166 h 719491"/>
                  <a:gd name="connsiteX18" fmla="*/ 538257 w 668927"/>
                  <a:gd name="connsiteY18" fmla="*/ 411474 h 719491"/>
                  <a:gd name="connsiteX19" fmla="*/ 510903 w 668927"/>
                  <a:gd name="connsiteY19" fmla="*/ 400749 h 719491"/>
                  <a:gd name="connsiteX20" fmla="*/ 504803 w 668927"/>
                  <a:gd name="connsiteY20" fmla="*/ 386285 h 719491"/>
                  <a:gd name="connsiteX21" fmla="*/ 510018 w 668927"/>
                  <a:gd name="connsiteY21" fmla="*/ 380283 h 719491"/>
                  <a:gd name="connsiteX22" fmla="*/ 522514 w 668927"/>
                  <a:gd name="connsiteY22" fmla="*/ 374970 h 719491"/>
                  <a:gd name="connsiteX23" fmla="*/ 524974 w 668927"/>
                  <a:gd name="connsiteY23" fmla="*/ 371624 h 719491"/>
                  <a:gd name="connsiteX24" fmla="*/ 510805 w 668927"/>
                  <a:gd name="connsiteY24" fmla="*/ 356274 h 719491"/>
                  <a:gd name="connsiteX25" fmla="*/ 523596 w 668927"/>
                  <a:gd name="connsiteY25" fmla="*/ 348009 h 719491"/>
                  <a:gd name="connsiteX26" fmla="*/ 528024 w 668927"/>
                  <a:gd name="connsiteY26" fmla="*/ 337776 h 719491"/>
                  <a:gd name="connsiteX27" fmla="*/ 492405 w 668927"/>
                  <a:gd name="connsiteY27" fmla="*/ 311701 h 719491"/>
                  <a:gd name="connsiteX28" fmla="*/ 488764 w 668927"/>
                  <a:gd name="connsiteY28" fmla="*/ 295367 h 719491"/>
                  <a:gd name="connsiteX29" fmla="*/ 471151 w 668927"/>
                  <a:gd name="connsiteY29" fmla="*/ 278049 h 719491"/>
                  <a:gd name="connsiteX30" fmla="*/ 463083 w 668927"/>
                  <a:gd name="connsiteY30" fmla="*/ 279427 h 719491"/>
                  <a:gd name="connsiteX31" fmla="*/ 461312 w 668927"/>
                  <a:gd name="connsiteY31" fmla="*/ 281690 h 719491"/>
                  <a:gd name="connsiteX32" fmla="*/ 449307 w 668927"/>
                  <a:gd name="connsiteY32" fmla="*/ 279132 h 719491"/>
                  <a:gd name="connsiteX33" fmla="*/ 444486 w 668927"/>
                  <a:gd name="connsiteY33" fmla="*/ 260928 h 719491"/>
                  <a:gd name="connsiteX34" fmla="*/ 382201 w 668927"/>
                  <a:gd name="connsiteY34" fmla="*/ 244595 h 719491"/>
                  <a:gd name="connsiteX35" fmla="*/ 374920 w 668927"/>
                  <a:gd name="connsiteY35" fmla="*/ 228851 h 719491"/>
                  <a:gd name="connsiteX36" fmla="*/ 359570 w 668927"/>
                  <a:gd name="connsiteY36" fmla="*/ 207696 h 719491"/>
                  <a:gd name="connsiteX37" fmla="*/ 350420 w 668927"/>
                  <a:gd name="connsiteY37" fmla="*/ 205138 h 719491"/>
                  <a:gd name="connsiteX38" fmla="*/ 350124 w 668927"/>
                  <a:gd name="connsiteY38" fmla="*/ 205138 h 719491"/>
                  <a:gd name="connsiteX39" fmla="*/ 347664 w 668927"/>
                  <a:gd name="connsiteY39" fmla="*/ 218520 h 719491"/>
                  <a:gd name="connsiteX40" fmla="*/ 330051 w 668927"/>
                  <a:gd name="connsiteY40" fmla="*/ 214682 h 719491"/>
                  <a:gd name="connsiteX41" fmla="*/ 310569 w 668927"/>
                  <a:gd name="connsiteY41" fmla="*/ 186344 h 719491"/>
                  <a:gd name="connsiteX42" fmla="*/ 299253 w 668927"/>
                  <a:gd name="connsiteY42" fmla="*/ 185754 h 719491"/>
                  <a:gd name="connsiteX43" fmla="*/ 291185 w 668927"/>
                  <a:gd name="connsiteY43" fmla="*/ 166272 h 719491"/>
                  <a:gd name="connsiteX44" fmla="*/ 189247 w 668927"/>
                  <a:gd name="connsiteY44" fmla="*/ 93360 h 719491"/>
                  <a:gd name="connsiteX45" fmla="*/ 186393 w 668927"/>
                  <a:gd name="connsiteY45" fmla="*/ 76141 h 719491"/>
                  <a:gd name="connsiteX46" fmla="*/ 147429 w 668927"/>
                  <a:gd name="connsiteY46" fmla="*/ 27139 h 719491"/>
                  <a:gd name="connsiteX47" fmla="*/ 124404 w 668927"/>
                  <a:gd name="connsiteY47" fmla="*/ 28813 h 719491"/>
                  <a:gd name="connsiteX48" fmla="*/ 109546 w 668927"/>
                  <a:gd name="connsiteY48" fmla="*/ 23106 h 719491"/>
                  <a:gd name="connsiteX49" fmla="*/ 68023 w 668927"/>
                  <a:gd name="connsiteY49" fmla="*/ 26156 h 719491"/>
                  <a:gd name="connsiteX50" fmla="*/ 34077 w 668927"/>
                  <a:gd name="connsiteY50" fmla="*/ 3623 h 719491"/>
                  <a:gd name="connsiteX51" fmla="*/ 4164 w 668927"/>
                  <a:gd name="connsiteY51" fmla="*/ 81 h 719491"/>
                  <a:gd name="connsiteX52" fmla="*/ 228 w 668927"/>
                  <a:gd name="connsiteY52" fmla="*/ 5394 h 719491"/>
                  <a:gd name="connsiteX53" fmla="*/ 12528 w 668927"/>
                  <a:gd name="connsiteY53" fmla="*/ 44753 h 719491"/>
                  <a:gd name="connsiteX54" fmla="*/ 71861 w 668927"/>
                  <a:gd name="connsiteY54" fmla="*/ 109989 h 719491"/>
                  <a:gd name="connsiteX55" fmla="*/ 91441 w 668927"/>
                  <a:gd name="connsiteY55" fmla="*/ 114023 h 719491"/>
                  <a:gd name="connsiteX56" fmla="*/ 141820 w 668927"/>
                  <a:gd name="connsiteY56" fmla="*/ 166370 h 719491"/>
                  <a:gd name="connsiteX57" fmla="*/ 152447 w 668927"/>
                  <a:gd name="connsiteY57" fmla="*/ 203662 h 719491"/>
                  <a:gd name="connsiteX58" fmla="*/ 170158 w 668927"/>
                  <a:gd name="connsiteY58" fmla="*/ 209074 h 719491"/>
                  <a:gd name="connsiteX59" fmla="*/ 216306 w 668927"/>
                  <a:gd name="connsiteY59" fmla="*/ 237806 h 719491"/>
                  <a:gd name="connsiteX60" fmla="*/ 240905 w 668927"/>
                  <a:gd name="connsiteY60" fmla="*/ 324984 h 719491"/>
                  <a:gd name="connsiteX61" fmla="*/ 272687 w 668927"/>
                  <a:gd name="connsiteY61" fmla="*/ 345155 h 719491"/>
                  <a:gd name="connsiteX62" fmla="*/ 311061 w 668927"/>
                  <a:gd name="connsiteY62" fmla="*/ 393861 h 719491"/>
                  <a:gd name="connsiteX63" fmla="*/ 319523 w 668927"/>
                  <a:gd name="connsiteY63" fmla="*/ 424266 h 719491"/>
                  <a:gd name="connsiteX64" fmla="*/ 325525 w 668927"/>
                  <a:gd name="connsiteY64" fmla="*/ 426726 h 719491"/>
                  <a:gd name="connsiteX65" fmla="*/ 346484 w 668927"/>
                  <a:gd name="connsiteY65" fmla="*/ 463919 h 719491"/>
                  <a:gd name="connsiteX66" fmla="*/ 348747 w 668927"/>
                  <a:gd name="connsiteY66" fmla="*/ 483894 h 719491"/>
                  <a:gd name="connsiteX67" fmla="*/ 372755 w 668927"/>
                  <a:gd name="connsiteY67" fmla="*/ 514200 h 719491"/>
                  <a:gd name="connsiteX68" fmla="*/ 387515 w 668927"/>
                  <a:gd name="connsiteY68" fmla="*/ 542636 h 719491"/>
                  <a:gd name="connsiteX69" fmla="*/ 429333 w 668927"/>
                  <a:gd name="connsiteY69" fmla="*/ 573434 h 719491"/>
                  <a:gd name="connsiteX70" fmla="*/ 443404 w 668927"/>
                  <a:gd name="connsiteY70" fmla="*/ 601083 h 719491"/>
                  <a:gd name="connsiteX71" fmla="*/ 537765 w 668927"/>
                  <a:gd name="connsiteY71" fmla="*/ 672420 h 719491"/>
                  <a:gd name="connsiteX72" fmla="*/ 577911 w 668927"/>
                  <a:gd name="connsiteY72" fmla="*/ 717387 h 719491"/>
                  <a:gd name="connsiteX73" fmla="*/ 586865 w 668927"/>
                  <a:gd name="connsiteY73" fmla="*/ 709811 h 719491"/>
                  <a:gd name="connsiteX74" fmla="*/ 579583 w 668927"/>
                  <a:gd name="connsiteY74" fmla="*/ 692297 h 719491"/>
                  <a:gd name="connsiteX75" fmla="*/ 610086 w 668927"/>
                  <a:gd name="connsiteY75" fmla="*/ 702038 h 719491"/>
                  <a:gd name="connsiteX76" fmla="*/ 625239 w 668927"/>
                  <a:gd name="connsiteY76" fmla="*/ 689049 h 719491"/>
                  <a:gd name="connsiteX77" fmla="*/ 646887 w 668927"/>
                  <a:gd name="connsiteY77" fmla="*/ 706662 h 71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68927" h="719491">
                    <a:moveTo>
                      <a:pt x="646985" y="706662"/>
                    </a:moveTo>
                    <a:cubicBezTo>
                      <a:pt x="653282" y="711779"/>
                      <a:pt x="651314" y="708926"/>
                      <a:pt x="662236" y="592720"/>
                    </a:cubicBezTo>
                    <a:cubicBezTo>
                      <a:pt x="662925" y="585439"/>
                      <a:pt x="655348" y="580322"/>
                      <a:pt x="655348" y="580322"/>
                    </a:cubicBezTo>
                    <a:cubicBezTo>
                      <a:pt x="649346" y="574713"/>
                      <a:pt x="655250" y="566350"/>
                      <a:pt x="656136" y="561332"/>
                    </a:cubicBezTo>
                    <a:cubicBezTo>
                      <a:pt x="658202" y="554739"/>
                      <a:pt x="663417" y="552082"/>
                      <a:pt x="664401" y="551098"/>
                    </a:cubicBezTo>
                    <a:cubicBezTo>
                      <a:pt x="669813" y="547064"/>
                      <a:pt x="668632" y="540865"/>
                      <a:pt x="668927" y="539881"/>
                    </a:cubicBezTo>
                    <a:cubicBezTo>
                      <a:pt x="668927" y="532797"/>
                      <a:pt x="660662" y="533190"/>
                      <a:pt x="659678" y="532797"/>
                    </a:cubicBezTo>
                    <a:cubicBezTo>
                      <a:pt x="649838" y="531124"/>
                      <a:pt x="656037" y="519218"/>
                      <a:pt x="646493" y="515577"/>
                    </a:cubicBezTo>
                    <a:lnTo>
                      <a:pt x="646198" y="515577"/>
                    </a:lnTo>
                    <a:cubicBezTo>
                      <a:pt x="639212" y="512822"/>
                      <a:pt x="639900" y="504065"/>
                      <a:pt x="639310" y="502589"/>
                    </a:cubicBezTo>
                    <a:cubicBezTo>
                      <a:pt x="638031" y="494225"/>
                      <a:pt x="627010" y="495406"/>
                      <a:pt x="621008" y="493340"/>
                    </a:cubicBezTo>
                    <a:cubicBezTo>
                      <a:pt x="614022" y="491864"/>
                      <a:pt x="608807" y="497374"/>
                      <a:pt x="607725" y="497866"/>
                    </a:cubicBezTo>
                    <a:cubicBezTo>
                      <a:pt x="601526" y="502392"/>
                      <a:pt x="593753" y="498063"/>
                      <a:pt x="591391" y="497866"/>
                    </a:cubicBezTo>
                    <a:cubicBezTo>
                      <a:pt x="584405" y="495898"/>
                      <a:pt x="592375" y="489994"/>
                      <a:pt x="592867" y="488912"/>
                    </a:cubicBezTo>
                    <a:cubicBezTo>
                      <a:pt x="594934" y="486649"/>
                      <a:pt x="596114" y="482418"/>
                      <a:pt x="595524" y="479368"/>
                    </a:cubicBezTo>
                    <a:lnTo>
                      <a:pt x="595524" y="478777"/>
                    </a:lnTo>
                    <a:cubicBezTo>
                      <a:pt x="593654" y="470709"/>
                      <a:pt x="583815" y="470020"/>
                      <a:pt x="578993" y="467560"/>
                    </a:cubicBezTo>
                    <a:cubicBezTo>
                      <a:pt x="572007" y="464904"/>
                      <a:pt x="572893" y="460672"/>
                      <a:pt x="566103" y="418166"/>
                    </a:cubicBezTo>
                    <a:cubicBezTo>
                      <a:pt x="564529" y="408326"/>
                      <a:pt x="551147" y="416492"/>
                      <a:pt x="538257" y="411474"/>
                    </a:cubicBezTo>
                    <a:lnTo>
                      <a:pt x="510903" y="400749"/>
                    </a:lnTo>
                    <a:cubicBezTo>
                      <a:pt x="503622" y="397895"/>
                      <a:pt x="505491" y="388942"/>
                      <a:pt x="504803" y="386285"/>
                    </a:cubicBezTo>
                    <a:cubicBezTo>
                      <a:pt x="504606" y="383235"/>
                      <a:pt x="506968" y="380480"/>
                      <a:pt x="510018" y="380283"/>
                    </a:cubicBezTo>
                    <a:cubicBezTo>
                      <a:pt x="509034" y="380578"/>
                      <a:pt x="518480" y="380578"/>
                      <a:pt x="522514" y="374970"/>
                    </a:cubicBezTo>
                    <a:lnTo>
                      <a:pt x="524974" y="371624"/>
                    </a:lnTo>
                    <a:cubicBezTo>
                      <a:pt x="530976" y="363457"/>
                      <a:pt x="512970" y="365917"/>
                      <a:pt x="510805" y="356274"/>
                    </a:cubicBezTo>
                    <a:cubicBezTo>
                      <a:pt x="509329" y="349485"/>
                      <a:pt x="520546" y="349288"/>
                      <a:pt x="523596" y="348009"/>
                    </a:cubicBezTo>
                    <a:cubicBezTo>
                      <a:pt x="530386" y="346238"/>
                      <a:pt x="527827" y="338858"/>
                      <a:pt x="528024" y="337776"/>
                    </a:cubicBezTo>
                    <a:cubicBezTo>
                      <a:pt x="527237" y="330888"/>
                      <a:pt x="523892" y="330101"/>
                      <a:pt x="492405" y="311701"/>
                    </a:cubicBezTo>
                    <a:cubicBezTo>
                      <a:pt x="485615" y="307765"/>
                      <a:pt x="488961" y="298614"/>
                      <a:pt x="488764" y="295367"/>
                    </a:cubicBezTo>
                    <a:cubicBezTo>
                      <a:pt x="489551" y="286610"/>
                      <a:pt x="478236" y="283756"/>
                      <a:pt x="471151" y="278049"/>
                    </a:cubicBezTo>
                    <a:cubicBezTo>
                      <a:pt x="468593" y="276377"/>
                      <a:pt x="464952" y="276967"/>
                      <a:pt x="463083" y="279427"/>
                    </a:cubicBezTo>
                    <a:lnTo>
                      <a:pt x="461312" y="281690"/>
                    </a:lnTo>
                    <a:cubicBezTo>
                      <a:pt x="456786" y="287495"/>
                      <a:pt x="450587" y="279722"/>
                      <a:pt x="449307" y="279132"/>
                    </a:cubicBezTo>
                    <a:cubicBezTo>
                      <a:pt x="443010" y="274015"/>
                      <a:pt x="445076" y="264864"/>
                      <a:pt x="444486" y="260928"/>
                    </a:cubicBezTo>
                    <a:cubicBezTo>
                      <a:pt x="444289" y="253254"/>
                      <a:pt x="441042" y="254828"/>
                      <a:pt x="382201" y="244595"/>
                    </a:cubicBezTo>
                    <a:cubicBezTo>
                      <a:pt x="374526" y="243217"/>
                      <a:pt x="375904" y="232492"/>
                      <a:pt x="374920" y="228851"/>
                    </a:cubicBezTo>
                    <a:cubicBezTo>
                      <a:pt x="374133" y="222062"/>
                      <a:pt x="370197" y="219012"/>
                      <a:pt x="359570" y="207696"/>
                    </a:cubicBezTo>
                    <a:cubicBezTo>
                      <a:pt x="357504" y="205433"/>
                      <a:pt x="353371" y="204252"/>
                      <a:pt x="350420" y="205138"/>
                    </a:cubicBezTo>
                    <a:lnTo>
                      <a:pt x="350124" y="205138"/>
                    </a:lnTo>
                    <a:cubicBezTo>
                      <a:pt x="342843" y="207302"/>
                      <a:pt x="347566" y="216257"/>
                      <a:pt x="347664" y="218520"/>
                    </a:cubicBezTo>
                    <a:cubicBezTo>
                      <a:pt x="349829" y="227179"/>
                      <a:pt x="336349" y="217044"/>
                      <a:pt x="330051" y="214682"/>
                    </a:cubicBezTo>
                    <a:cubicBezTo>
                      <a:pt x="322868" y="211239"/>
                      <a:pt x="319228" y="201891"/>
                      <a:pt x="310569" y="186344"/>
                    </a:cubicBezTo>
                    <a:cubicBezTo>
                      <a:pt x="307027" y="180047"/>
                      <a:pt x="300336" y="185557"/>
                      <a:pt x="299253" y="185754"/>
                    </a:cubicBezTo>
                    <a:cubicBezTo>
                      <a:pt x="291480" y="189690"/>
                      <a:pt x="293350" y="174733"/>
                      <a:pt x="291185" y="166272"/>
                    </a:cubicBezTo>
                    <a:cubicBezTo>
                      <a:pt x="290103" y="158498"/>
                      <a:pt x="290595" y="160761"/>
                      <a:pt x="189247" y="93360"/>
                    </a:cubicBezTo>
                    <a:cubicBezTo>
                      <a:pt x="182556" y="88932"/>
                      <a:pt x="186492" y="79782"/>
                      <a:pt x="186393" y="76141"/>
                    </a:cubicBezTo>
                    <a:cubicBezTo>
                      <a:pt x="187279" y="68860"/>
                      <a:pt x="185016" y="68171"/>
                      <a:pt x="147429" y="27139"/>
                    </a:cubicBezTo>
                    <a:cubicBezTo>
                      <a:pt x="141525" y="20744"/>
                      <a:pt x="132177" y="27336"/>
                      <a:pt x="124404" y="28813"/>
                    </a:cubicBezTo>
                    <a:cubicBezTo>
                      <a:pt x="117122" y="30977"/>
                      <a:pt x="111416" y="24188"/>
                      <a:pt x="109546" y="23106"/>
                    </a:cubicBezTo>
                    <a:cubicBezTo>
                      <a:pt x="103741" y="18678"/>
                      <a:pt x="99608" y="20646"/>
                      <a:pt x="68023" y="26156"/>
                    </a:cubicBezTo>
                    <a:cubicBezTo>
                      <a:pt x="61037" y="27336"/>
                      <a:pt x="59266" y="24385"/>
                      <a:pt x="34077" y="3623"/>
                    </a:cubicBezTo>
                    <a:cubicBezTo>
                      <a:pt x="27090" y="-2084"/>
                      <a:pt x="17152" y="868"/>
                      <a:pt x="4164" y="81"/>
                    </a:cubicBezTo>
                    <a:cubicBezTo>
                      <a:pt x="1114" y="81"/>
                      <a:pt x="-658" y="2443"/>
                      <a:pt x="228" y="5394"/>
                    </a:cubicBezTo>
                    <a:lnTo>
                      <a:pt x="12528" y="44753"/>
                    </a:lnTo>
                    <a:cubicBezTo>
                      <a:pt x="14791" y="52132"/>
                      <a:pt x="14693" y="50558"/>
                      <a:pt x="71861" y="109989"/>
                    </a:cubicBezTo>
                    <a:cubicBezTo>
                      <a:pt x="77469" y="115893"/>
                      <a:pt x="86521" y="113531"/>
                      <a:pt x="91441" y="114023"/>
                    </a:cubicBezTo>
                    <a:cubicBezTo>
                      <a:pt x="98919" y="114023"/>
                      <a:pt x="98427" y="115499"/>
                      <a:pt x="141820" y="166370"/>
                    </a:cubicBezTo>
                    <a:cubicBezTo>
                      <a:pt x="147035" y="172471"/>
                      <a:pt x="147625" y="180932"/>
                      <a:pt x="152447" y="203662"/>
                    </a:cubicBezTo>
                    <a:cubicBezTo>
                      <a:pt x="154218" y="211730"/>
                      <a:pt x="164845" y="208385"/>
                      <a:pt x="170158" y="209074"/>
                    </a:cubicBezTo>
                    <a:cubicBezTo>
                      <a:pt x="178030" y="209074"/>
                      <a:pt x="181966" y="213501"/>
                      <a:pt x="216306" y="237806"/>
                    </a:cubicBezTo>
                    <a:cubicBezTo>
                      <a:pt x="222505" y="242135"/>
                      <a:pt x="220733" y="240462"/>
                      <a:pt x="240905" y="324984"/>
                    </a:cubicBezTo>
                    <a:cubicBezTo>
                      <a:pt x="242577" y="331872"/>
                      <a:pt x="246907" y="332659"/>
                      <a:pt x="272687" y="345155"/>
                    </a:cubicBezTo>
                    <a:cubicBezTo>
                      <a:pt x="279279" y="348304"/>
                      <a:pt x="279476" y="349977"/>
                      <a:pt x="311061" y="393861"/>
                    </a:cubicBezTo>
                    <a:cubicBezTo>
                      <a:pt x="318638" y="404488"/>
                      <a:pt x="309192" y="420133"/>
                      <a:pt x="319523" y="424266"/>
                    </a:cubicBezTo>
                    <a:lnTo>
                      <a:pt x="325525" y="426726"/>
                    </a:lnTo>
                    <a:cubicBezTo>
                      <a:pt x="332413" y="429481"/>
                      <a:pt x="333200" y="434302"/>
                      <a:pt x="346484" y="463919"/>
                    </a:cubicBezTo>
                    <a:cubicBezTo>
                      <a:pt x="349337" y="470315"/>
                      <a:pt x="348747" y="476908"/>
                      <a:pt x="348747" y="483894"/>
                    </a:cubicBezTo>
                    <a:cubicBezTo>
                      <a:pt x="348747" y="490880"/>
                      <a:pt x="351502" y="492257"/>
                      <a:pt x="372755" y="514200"/>
                    </a:cubicBezTo>
                    <a:cubicBezTo>
                      <a:pt x="378265" y="519808"/>
                      <a:pt x="381316" y="528664"/>
                      <a:pt x="387515" y="542636"/>
                    </a:cubicBezTo>
                    <a:cubicBezTo>
                      <a:pt x="390663" y="549622"/>
                      <a:pt x="394304" y="550606"/>
                      <a:pt x="429333" y="573434"/>
                    </a:cubicBezTo>
                    <a:cubicBezTo>
                      <a:pt x="439173" y="579830"/>
                      <a:pt x="433761" y="593999"/>
                      <a:pt x="443404" y="601083"/>
                    </a:cubicBezTo>
                    <a:cubicBezTo>
                      <a:pt x="442420" y="600296"/>
                      <a:pt x="531370" y="665238"/>
                      <a:pt x="537765" y="672420"/>
                    </a:cubicBezTo>
                    <a:lnTo>
                      <a:pt x="577911" y="717387"/>
                    </a:lnTo>
                    <a:cubicBezTo>
                      <a:pt x="582831" y="722898"/>
                      <a:pt x="589718" y="716600"/>
                      <a:pt x="586865" y="709811"/>
                    </a:cubicBezTo>
                    <a:lnTo>
                      <a:pt x="579583" y="692297"/>
                    </a:lnTo>
                    <a:cubicBezTo>
                      <a:pt x="576632" y="685113"/>
                      <a:pt x="585782" y="690919"/>
                      <a:pt x="610086" y="702038"/>
                    </a:cubicBezTo>
                    <a:cubicBezTo>
                      <a:pt x="620516" y="706859"/>
                      <a:pt x="616187" y="681670"/>
                      <a:pt x="625239" y="689049"/>
                    </a:cubicBezTo>
                    <a:lnTo>
                      <a:pt x="646887" y="706662"/>
                    </a:lnTo>
                    <a:close/>
                  </a:path>
                </a:pathLst>
              </a:custGeom>
              <a:grpFill/>
              <a:ln w="9835" cap="flat">
                <a:noFill/>
                <a:prstDash val="solid"/>
                <a:miter/>
              </a:ln>
            </p:spPr>
            <p:txBody>
              <a:bodyPr rtlCol="0" anchor="ctr"/>
              <a:lstStyle/>
              <a:p>
                <a:endParaRPr lang="en-IN"/>
              </a:p>
            </p:txBody>
          </p:sp>
          <p:sp>
            <p:nvSpPr>
              <p:cNvPr id="545" name="Freeform: Shape 544">
                <a:extLst>
                  <a:ext uri="{FF2B5EF4-FFF2-40B4-BE49-F238E27FC236}">
                    <a16:creationId xmlns:a16="http://schemas.microsoft.com/office/drawing/2014/main" id="{4F11D8D9-A95D-0966-8E18-87B4C12949FB}"/>
                  </a:ext>
                </a:extLst>
              </p:cNvPr>
              <p:cNvSpPr/>
              <p:nvPr/>
            </p:nvSpPr>
            <p:spPr>
              <a:xfrm>
                <a:off x="10980090" y="6015581"/>
                <a:ext cx="47180" cy="38685"/>
              </a:xfrm>
              <a:custGeom>
                <a:avLst/>
                <a:gdLst>
                  <a:gd name="connsiteX0" fmla="*/ 12322 w 47180"/>
                  <a:gd name="connsiteY0" fmla="*/ 1192 h 38685"/>
                  <a:gd name="connsiteX1" fmla="*/ 1498 w 47180"/>
                  <a:gd name="connsiteY1" fmla="*/ 5719 h 38685"/>
                  <a:gd name="connsiteX2" fmla="*/ 9075 w 47180"/>
                  <a:gd name="connsiteY2" fmla="*/ 22347 h 38685"/>
                  <a:gd name="connsiteX3" fmla="*/ 38889 w 47180"/>
                  <a:gd name="connsiteY3" fmla="*/ 38189 h 38685"/>
                  <a:gd name="connsiteX4" fmla="*/ 46170 w 47180"/>
                  <a:gd name="connsiteY4" fmla="*/ 35336 h 38685"/>
                  <a:gd name="connsiteX5" fmla="*/ 44497 w 47180"/>
                  <a:gd name="connsiteY5" fmla="*/ 25595 h 38685"/>
                  <a:gd name="connsiteX6" fmla="*/ 12420 w 47180"/>
                  <a:gd name="connsiteY6" fmla="*/ 1192 h 3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180" h="38685">
                    <a:moveTo>
                      <a:pt x="12322" y="1192"/>
                    </a:moveTo>
                    <a:cubicBezTo>
                      <a:pt x="6615" y="-3137"/>
                      <a:pt x="1498" y="5719"/>
                      <a:pt x="1498" y="5719"/>
                    </a:cubicBezTo>
                    <a:cubicBezTo>
                      <a:pt x="-3717" y="12212"/>
                      <a:pt x="6123" y="18018"/>
                      <a:pt x="9075" y="22347"/>
                    </a:cubicBezTo>
                    <a:cubicBezTo>
                      <a:pt x="14388" y="28251"/>
                      <a:pt x="23736" y="31400"/>
                      <a:pt x="38889" y="38189"/>
                    </a:cubicBezTo>
                    <a:cubicBezTo>
                      <a:pt x="41742" y="39468"/>
                      <a:pt x="44989" y="38189"/>
                      <a:pt x="46170" y="35336"/>
                    </a:cubicBezTo>
                    <a:cubicBezTo>
                      <a:pt x="46170" y="36320"/>
                      <a:pt x="49319" y="29333"/>
                      <a:pt x="44497" y="25595"/>
                    </a:cubicBezTo>
                    <a:lnTo>
                      <a:pt x="12420" y="1192"/>
                    </a:lnTo>
                    <a:close/>
                  </a:path>
                </a:pathLst>
              </a:custGeom>
              <a:grpFill/>
              <a:ln w="9835" cap="flat">
                <a:noFill/>
                <a:prstDash val="solid"/>
                <a:miter/>
              </a:ln>
            </p:spPr>
            <p:txBody>
              <a:bodyPr rtlCol="0" anchor="ctr"/>
              <a:lstStyle/>
              <a:p>
                <a:endParaRPr lang="en-IN"/>
              </a:p>
            </p:txBody>
          </p:sp>
          <p:sp>
            <p:nvSpPr>
              <p:cNvPr id="546" name="Freeform: Shape 545">
                <a:extLst>
                  <a:ext uri="{FF2B5EF4-FFF2-40B4-BE49-F238E27FC236}">
                    <a16:creationId xmlns:a16="http://schemas.microsoft.com/office/drawing/2014/main" id="{F75A6315-6FE8-B64A-7DB6-17D16BD241A3}"/>
                  </a:ext>
                </a:extLst>
              </p:cNvPr>
              <p:cNvSpPr/>
              <p:nvPr/>
            </p:nvSpPr>
            <p:spPr>
              <a:xfrm>
                <a:off x="11336959" y="6063905"/>
                <a:ext cx="19932" cy="21351"/>
              </a:xfrm>
              <a:custGeom>
                <a:avLst/>
                <a:gdLst>
                  <a:gd name="connsiteX0" fmla="*/ 5545 w 19932"/>
                  <a:gd name="connsiteY0" fmla="*/ 21253 h 21351"/>
                  <a:gd name="connsiteX1" fmla="*/ 17845 w 19932"/>
                  <a:gd name="connsiteY1" fmla="*/ 16038 h 21351"/>
                  <a:gd name="connsiteX2" fmla="*/ 17648 w 19932"/>
                  <a:gd name="connsiteY2" fmla="*/ 2066 h 21351"/>
                  <a:gd name="connsiteX3" fmla="*/ 35 w 19932"/>
                  <a:gd name="connsiteY3" fmla="*/ 11709 h 21351"/>
                  <a:gd name="connsiteX4" fmla="*/ 5644 w 19932"/>
                  <a:gd name="connsiteY4" fmla="*/ 21351 h 21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2" h="21351">
                    <a:moveTo>
                      <a:pt x="5545" y="21253"/>
                    </a:moveTo>
                    <a:cubicBezTo>
                      <a:pt x="6824" y="20957"/>
                      <a:pt x="15385" y="22925"/>
                      <a:pt x="17845" y="16038"/>
                    </a:cubicBezTo>
                    <a:cubicBezTo>
                      <a:pt x="18041" y="14661"/>
                      <a:pt x="22568" y="7477"/>
                      <a:pt x="17648" y="2066"/>
                    </a:cubicBezTo>
                    <a:cubicBezTo>
                      <a:pt x="12236" y="-3936"/>
                      <a:pt x="35" y="4329"/>
                      <a:pt x="35" y="11709"/>
                    </a:cubicBezTo>
                    <a:cubicBezTo>
                      <a:pt x="330" y="12692"/>
                      <a:pt x="-1638" y="21351"/>
                      <a:pt x="5644" y="21351"/>
                    </a:cubicBezTo>
                    <a:close/>
                  </a:path>
                </a:pathLst>
              </a:custGeom>
              <a:grpFill/>
              <a:ln w="9835" cap="flat">
                <a:noFill/>
                <a:prstDash val="solid"/>
                <a:miter/>
              </a:ln>
            </p:spPr>
            <p:txBody>
              <a:bodyPr rtlCol="0" anchor="ctr"/>
              <a:lstStyle/>
              <a:p>
                <a:endParaRPr lang="en-IN"/>
              </a:p>
            </p:txBody>
          </p:sp>
          <p:sp>
            <p:nvSpPr>
              <p:cNvPr id="547" name="Freeform: Shape 546">
                <a:extLst>
                  <a:ext uri="{FF2B5EF4-FFF2-40B4-BE49-F238E27FC236}">
                    <a16:creationId xmlns:a16="http://schemas.microsoft.com/office/drawing/2014/main" id="{FAFDBDF4-8AE6-54D5-D957-734EA66CB913}"/>
                  </a:ext>
                </a:extLst>
              </p:cNvPr>
              <p:cNvSpPr/>
              <p:nvPr/>
            </p:nvSpPr>
            <p:spPr>
              <a:xfrm>
                <a:off x="11743366" y="5938330"/>
                <a:ext cx="22094" cy="34285"/>
              </a:xfrm>
              <a:custGeom>
                <a:avLst/>
                <a:gdLst>
                  <a:gd name="connsiteX0" fmla="*/ 14468 w 22094"/>
                  <a:gd name="connsiteY0" fmla="*/ 2186 h 34285"/>
                  <a:gd name="connsiteX1" fmla="*/ 2070 w 22094"/>
                  <a:gd name="connsiteY1" fmla="*/ 6614 h 34285"/>
                  <a:gd name="connsiteX2" fmla="*/ 890 w 22094"/>
                  <a:gd name="connsiteY2" fmla="*/ 15175 h 34285"/>
                  <a:gd name="connsiteX3" fmla="*/ 3841 w 22094"/>
                  <a:gd name="connsiteY3" fmla="*/ 32886 h 34285"/>
                  <a:gd name="connsiteX4" fmla="*/ 3841 w 22094"/>
                  <a:gd name="connsiteY4" fmla="*/ 32886 h 34285"/>
                  <a:gd name="connsiteX5" fmla="*/ 20569 w 22094"/>
                  <a:gd name="connsiteY5" fmla="*/ 20193 h 34285"/>
                  <a:gd name="connsiteX6" fmla="*/ 14370 w 22094"/>
                  <a:gd name="connsiteY6" fmla="*/ 2186 h 3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94" h="34285">
                    <a:moveTo>
                      <a:pt x="14468" y="2186"/>
                    </a:moveTo>
                    <a:cubicBezTo>
                      <a:pt x="9942" y="-4209"/>
                      <a:pt x="3841" y="5335"/>
                      <a:pt x="2070" y="6614"/>
                    </a:cubicBezTo>
                    <a:cubicBezTo>
                      <a:pt x="-95" y="8779"/>
                      <a:pt x="-685" y="12616"/>
                      <a:pt x="890" y="15175"/>
                    </a:cubicBezTo>
                    <a:cubicBezTo>
                      <a:pt x="5121" y="22260"/>
                      <a:pt x="-2456" y="27671"/>
                      <a:pt x="3841" y="32886"/>
                    </a:cubicBezTo>
                    <a:lnTo>
                      <a:pt x="3841" y="32886"/>
                    </a:lnTo>
                    <a:cubicBezTo>
                      <a:pt x="10532" y="38494"/>
                      <a:pt x="15157" y="25802"/>
                      <a:pt x="20569" y="20193"/>
                    </a:cubicBezTo>
                    <a:cubicBezTo>
                      <a:pt x="25587" y="13601"/>
                      <a:pt x="16830" y="7008"/>
                      <a:pt x="14370" y="2186"/>
                    </a:cubicBezTo>
                    <a:close/>
                  </a:path>
                </a:pathLst>
              </a:custGeom>
              <a:grpFill/>
              <a:ln w="9835" cap="flat">
                <a:noFill/>
                <a:prstDash val="solid"/>
                <a:miter/>
              </a:ln>
            </p:spPr>
            <p:txBody>
              <a:bodyPr rtlCol="0" anchor="ctr"/>
              <a:lstStyle/>
              <a:p>
                <a:endParaRPr lang="en-IN"/>
              </a:p>
            </p:txBody>
          </p:sp>
          <p:sp>
            <p:nvSpPr>
              <p:cNvPr id="548" name="Freeform: Shape 547">
                <a:extLst>
                  <a:ext uri="{FF2B5EF4-FFF2-40B4-BE49-F238E27FC236}">
                    <a16:creationId xmlns:a16="http://schemas.microsoft.com/office/drawing/2014/main" id="{B1C3F551-EABA-AD76-FC00-7944099E6FD9}"/>
                  </a:ext>
                </a:extLst>
              </p:cNvPr>
              <p:cNvSpPr/>
              <p:nvPr/>
            </p:nvSpPr>
            <p:spPr>
              <a:xfrm>
                <a:off x="11627982" y="5985747"/>
                <a:ext cx="13228" cy="19485"/>
              </a:xfrm>
              <a:custGeom>
                <a:avLst/>
                <a:gdLst>
                  <a:gd name="connsiteX0" fmla="*/ 7841 w 13228"/>
                  <a:gd name="connsiteY0" fmla="*/ 228 h 19485"/>
                  <a:gd name="connsiteX1" fmla="*/ 5381 w 13228"/>
                  <a:gd name="connsiteY1" fmla="*/ 1015 h 19485"/>
                  <a:gd name="connsiteX2" fmla="*/ 68 w 13228"/>
                  <a:gd name="connsiteY2" fmla="*/ 14693 h 19485"/>
                  <a:gd name="connsiteX3" fmla="*/ 5578 w 13228"/>
                  <a:gd name="connsiteY3" fmla="*/ 19415 h 19485"/>
                  <a:gd name="connsiteX4" fmla="*/ 7644 w 13228"/>
                  <a:gd name="connsiteY4" fmla="*/ 19121 h 19485"/>
                  <a:gd name="connsiteX5" fmla="*/ 13155 w 13228"/>
                  <a:gd name="connsiteY5" fmla="*/ 4164 h 19485"/>
                  <a:gd name="connsiteX6" fmla="*/ 7841 w 13228"/>
                  <a:gd name="connsiteY6" fmla="*/ 228 h 1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28" h="19485">
                    <a:moveTo>
                      <a:pt x="7841" y="228"/>
                    </a:moveTo>
                    <a:lnTo>
                      <a:pt x="5381" y="1015"/>
                    </a:lnTo>
                    <a:cubicBezTo>
                      <a:pt x="-1900" y="3278"/>
                      <a:pt x="461" y="12823"/>
                      <a:pt x="68" y="14693"/>
                    </a:cubicBezTo>
                    <a:cubicBezTo>
                      <a:pt x="68" y="17743"/>
                      <a:pt x="2528" y="19907"/>
                      <a:pt x="5578" y="19415"/>
                    </a:cubicBezTo>
                    <a:lnTo>
                      <a:pt x="7644" y="19121"/>
                    </a:lnTo>
                    <a:cubicBezTo>
                      <a:pt x="15516" y="17939"/>
                      <a:pt x="12564" y="7706"/>
                      <a:pt x="13155" y="4164"/>
                    </a:cubicBezTo>
                    <a:cubicBezTo>
                      <a:pt x="13155" y="1114"/>
                      <a:pt x="10793" y="-657"/>
                      <a:pt x="7841" y="228"/>
                    </a:cubicBezTo>
                    <a:close/>
                  </a:path>
                </a:pathLst>
              </a:custGeom>
              <a:grpFill/>
              <a:ln w="9835" cap="flat">
                <a:noFill/>
                <a:prstDash val="solid"/>
                <a:miter/>
              </a:ln>
            </p:spPr>
            <p:txBody>
              <a:bodyPr rtlCol="0" anchor="ctr"/>
              <a:lstStyle/>
              <a:p>
                <a:endParaRPr lang="en-IN"/>
              </a:p>
            </p:txBody>
          </p:sp>
          <p:sp>
            <p:nvSpPr>
              <p:cNvPr id="549" name="Freeform: Shape 548">
                <a:extLst>
                  <a:ext uri="{FF2B5EF4-FFF2-40B4-BE49-F238E27FC236}">
                    <a16:creationId xmlns:a16="http://schemas.microsoft.com/office/drawing/2014/main" id="{796CC5C1-17ED-21E0-256C-A5BEC1696E2E}"/>
                  </a:ext>
                </a:extLst>
              </p:cNvPr>
              <p:cNvSpPr/>
              <p:nvPr/>
            </p:nvSpPr>
            <p:spPr>
              <a:xfrm>
                <a:off x="11594289" y="6004522"/>
                <a:ext cx="14284" cy="17948"/>
              </a:xfrm>
              <a:custGeom>
                <a:avLst/>
                <a:gdLst>
                  <a:gd name="connsiteX0" fmla="*/ 12901 w 14284"/>
                  <a:gd name="connsiteY0" fmla="*/ 11857 h 17948"/>
                  <a:gd name="connsiteX1" fmla="*/ 7489 w 14284"/>
                  <a:gd name="connsiteY1" fmla="*/ 1033 h 17948"/>
                  <a:gd name="connsiteX2" fmla="*/ 208 w 14284"/>
                  <a:gd name="connsiteY2" fmla="*/ 9594 h 17948"/>
                  <a:gd name="connsiteX3" fmla="*/ 2569 w 14284"/>
                  <a:gd name="connsiteY3" fmla="*/ 17269 h 17948"/>
                  <a:gd name="connsiteX4" fmla="*/ 12901 w 14284"/>
                  <a:gd name="connsiteY4" fmla="*/ 11857 h 17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4" h="17948">
                    <a:moveTo>
                      <a:pt x="12901" y="11857"/>
                    </a:moveTo>
                    <a:cubicBezTo>
                      <a:pt x="17722" y="6249"/>
                      <a:pt x="8473" y="2116"/>
                      <a:pt x="7489" y="1033"/>
                    </a:cubicBezTo>
                    <a:cubicBezTo>
                      <a:pt x="1290" y="-3394"/>
                      <a:pt x="995" y="7725"/>
                      <a:pt x="208" y="9594"/>
                    </a:cubicBezTo>
                    <a:cubicBezTo>
                      <a:pt x="-481" y="12546"/>
                      <a:pt x="601" y="15990"/>
                      <a:pt x="2569" y="17269"/>
                    </a:cubicBezTo>
                    <a:cubicBezTo>
                      <a:pt x="7391" y="20221"/>
                      <a:pt x="11917" y="12644"/>
                      <a:pt x="12901" y="11857"/>
                    </a:cubicBezTo>
                    <a:close/>
                  </a:path>
                </a:pathLst>
              </a:custGeom>
              <a:grpFill/>
              <a:ln w="9835" cap="flat">
                <a:noFill/>
                <a:prstDash val="solid"/>
                <a:miter/>
              </a:ln>
            </p:spPr>
            <p:txBody>
              <a:bodyPr rtlCol="0" anchor="ctr"/>
              <a:lstStyle/>
              <a:p>
                <a:endParaRPr lang="en-IN"/>
              </a:p>
            </p:txBody>
          </p:sp>
          <p:sp>
            <p:nvSpPr>
              <p:cNvPr id="550" name="Freeform: Shape 549">
                <a:extLst>
                  <a:ext uri="{FF2B5EF4-FFF2-40B4-BE49-F238E27FC236}">
                    <a16:creationId xmlns:a16="http://schemas.microsoft.com/office/drawing/2014/main" id="{55BDEAC2-73EA-58F9-FAD4-D0A88265738E}"/>
                  </a:ext>
                </a:extLst>
              </p:cNvPr>
              <p:cNvSpPr/>
              <p:nvPr/>
            </p:nvSpPr>
            <p:spPr>
              <a:xfrm>
                <a:off x="11066257" y="6104004"/>
                <a:ext cx="47730" cy="59772"/>
              </a:xfrm>
              <a:custGeom>
                <a:avLst/>
                <a:gdLst>
                  <a:gd name="connsiteX0" fmla="*/ 13432 w 47730"/>
                  <a:gd name="connsiteY0" fmla="*/ 1326 h 59772"/>
                  <a:gd name="connsiteX1" fmla="*/ 3100 w 47730"/>
                  <a:gd name="connsiteY1" fmla="*/ 4671 h 59772"/>
                  <a:gd name="connsiteX2" fmla="*/ 28388 w 47730"/>
                  <a:gd name="connsiteY2" fmla="*/ 40488 h 59772"/>
                  <a:gd name="connsiteX3" fmla="*/ 33209 w 47730"/>
                  <a:gd name="connsiteY3" fmla="*/ 54263 h 59772"/>
                  <a:gd name="connsiteX4" fmla="*/ 39507 w 47730"/>
                  <a:gd name="connsiteY4" fmla="*/ 59773 h 59772"/>
                  <a:gd name="connsiteX5" fmla="*/ 40392 w 47730"/>
                  <a:gd name="connsiteY5" fmla="*/ 59773 h 59772"/>
                  <a:gd name="connsiteX6" fmla="*/ 47673 w 47730"/>
                  <a:gd name="connsiteY6" fmla="*/ 38224 h 59772"/>
                  <a:gd name="connsiteX7" fmla="*/ 19336 w 47730"/>
                  <a:gd name="connsiteY7" fmla="*/ 1916 h 59772"/>
                  <a:gd name="connsiteX8" fmla="*/ 13530 w 47730"/>
                  <a:gd name="connsiteY8" fmla="*/ 1227 h 5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30" h="59772">
                    <a:moveTo>
                      <a:pt x="13432" y="1326"/>
                    </a:moveTo>
                    <a:cubicBezTo>
                      <a:pt x="10972" y="5557"/>
                      <a:pt x="4084" y="4573"/>
                      <a:pt x="3100" y="4671"/>
                    </a:cubicBezTo>
                    <a:cubicBezTo>
                      <a:pt x="-4575" y="4671"/>
                      <a:pt x="1329" y="9001"/>
                      <a:pt x="28388" y="40488"/>
                    </a:cubicBezTo>
                    <a:cubicBezTo>
                      <a:pt x="33111" y="45998"/>
                      <a:pt x="32914" y="52984"/>
                      <a:pt x="33209" y="54263"/>
                    </a:cubicBezTo>
                    <a:cubicBezTo>
                      <a:pt x="33603" y="57313"/>
                      <a:pt x="36358" y="59773"/>
                      <a:pt x="39507" y="59773"/>
                    </a:cubicBezTo>
                    <a:lnTo>
                      <a:pt x="40392" y="59773"/>
                    </a:lnTo>
                    <a:cubicBezTo>
                      <a:pt x="49150" y="59773"/>
                      <a:pt x="46001" y="46982"/>
                      <a:pt x="47673" y="38224"/>
                    </a:cubicBezTo>
                    <a:cubicBezTo>
                      <a:pt x="48264" y="30844"/>
                      <a:pt x="44623" y="29073"/>
                      <a:pt x="19336" y="1916"/>
                    </a:cubicBezTo>
                    <a:cubicBezTo>
                      <a:pt x="17269" y="-347"/>
                      <a:pt x="14612" y="-642"/>
                      <a:pt x="13530" y="1227"/>
                    </a:cubicBezTo>
                    <a:close/>
                  </a:path>
                </a:pathLst>
              </a:custGeom>
              <a:grpFill/>
              <a:ln w="9835" cap="flat">
                <a:noFill/>
                <a:prstDash val="solid"/>
                <a:miter/>
              </a:ln>
            </p:spPr>
            <p:txBody>
              <a:bodyPr rtlCol="0" anchor="ctr"/>
              <a:lstStyle/>
              <a:p>
                <a:endParaRPr lang="en-IN"/>
              </a:p>
            </p:txBody>
          </p:sp>
          <p:sp>
            <p:nvSpPr>
              <p:cNvPr id="551" name="Freeform: Shape 550">
                <a:extLst>
                  <a:ext uri="{FF2B5EF4-FFF2-40B4-BE49-F238E27FC236}">
                    <a16:creationId xmlns:a16="http://schemas.microsoft.com/office/drawing/2014/main" id="{A893C181-B491-7714-71AE-8420AF90C7C9}"/>
                  </a:ext>
                </a:extLst>
              </p:cNvPr>
              <p:cNvSpPr/>
              <p:nvPr/>
            </p:nvSpPr>
            <p:spPr>
              <a:xfrm>
                <a:off x="11063981" y="6056033"/>
                <a:ext cx="16794" cy="14507"/>
              </a:xfrm>
              <a:custGeom>
                <a:avLst/>
                <a:gdLst>
                  <a:gd name="connsiteX0" fmla="*/ 4786 w 16794"/>
                  <a:gd name="connsiteY0" fmla="*/ 9249 h 14507"/>
                  <a:gd name="connsiteX1" fmla="*/ 16594 w 16794"/>
                  <a:gd name="connsiteY1" fmla="*/ 11217 h 14507"/>
                  <a:gd name="connsiteX2" fmla="*/ 8525 w 16794"/>
                  <a:gd name="connsiteY2" fmla="*/ 0 h 14507"/>
                  <a:gd name="connsiteX3" fmla="*/ 5475 w 16794"/>
                  <a:gd name="connsiteY3" fmla="*/ 0 h 14507"/>
                  <a:gd name="connsiteX4" fmla="*/ 4786 w 16794"/>
                  <a:gd name="connsiteY4" fmla="*/ 9249 h 14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4" h="14507">
                    <a:moveTo>
                      <a:pt x="4786" y="9249"/>
                    </a:moveTo>
                    <a:cubicBezTo>
                      <a:pt x="7935" y="10528"/>
                      <a:pt x="18365" y="19089"/>
                      <a:pt x="16594" y="11217"/>
                    </a:cubicBezTo>
                    <a:cubicBezTo>
                      <a:pt x="15905" y="9643"/>
                      <a:pt x="16102" y="0"/>
                      <a:pt x="8525" y="0"/>
                    </a:cubicBezTo>
                    <a:lnTo>
                      <a:pt x="5475" y="0"/>
                    </a:lnTo>
                    <a:cubicBezTo>
                      <a:pt x="-1806" y="0"/>
                      <a:pt x="-1610" y="5609"/>
                      <a:pt x="4786" y="9249"/>
                    </a:cubicBezTo>
                    <a:close/>
                  </a:path>
                </a:pathLst>
              </a:custGeom>
              <a:grpFill/>
              <a:ln w="9835" cap="flat">
                <a:noFill/>
                <a:prstDash val="solid"/>
                <a:miter/>
              </a:ln>
            </p:spPr>
            <p:txBody>
              <a:bodyPr rtlCol="0" anchor="ctr"/>
              <a:lstStyle/>
              <a:p>
                <a:endParaRPr lang="en-IN"/>
              </a:p>
            </p:txBody>
          </p:sp>
          <p:sp>
            <p:nvSpPr>
              <p:cNvPr id="552" name="Freeform: Shape 551">
                <a:extLst>
                  <a:ext uri="{FF2B5EF4-FFF2-40B4-BE49-F238E27FC236}">
                    <a16:creationId xmlns:a16="http://schemas.microsoft.com/office/drawing/2014/main" id="{82432D66-111F-4E08-9D8F-7069E1DA4572}"/>
                  </a:ext>
                </a:extLst>
              </p:cNvPr>
              <p:cNvSpPr/>
              <p:nvPr/>
            </p:nvSpPr>
            <p:spPr>
              <a:xfrm>
                <a:off x="11138966" y="6195757"/>
                <a:ext cx="19125" cy="38598"/>
              </a:xfrm>
              <a:custGeom>
                <a:avLst/>
                <a:gdLst>
                  <a:gd name="connsiteX0" fmla="*/ 2909 w 19125"/>
                  <a:gd name="connsiteY0" fmla="*/ 687 h 38598"/>
                  <a:gd name="connsiteX1" fmla="*/ 4090 w 19125"/>
                  <a:gd name="connsiteY1" fmla="*/ 14069 h 38598"/>
                  <a:gd name="connsiteX2" fmla="*/ 745 w 19125"/>
                  <a:gd name="connsiteY2" fmla="*/ 30599 h 38598"/>
                  <a:gd name="connsiteX3" fmla="*/ 7337 w 19125"/>
                  <a:gd name="connsiteY3" fmla="*/ 38275 h 38598"/>
                  <a:gd name="connsiteX4" fmla="*/ 18456 w 19125"/>
                  <a:gd name="connsiteY4" fmla="*/ 24204 h 38598"/>
                  <a:gd name="connsiteX5" fmla="*/ 10683 w 19125"/>
                  <a:gd name="connsiteY5" fmla="*/ 2852 h 38598"/>
                  <a:gd name="connsiteX6" fmla="*/ 3008 w 19125"/>
                  <a:gd name="connsiteY6" fmla="*/ 687 h 3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25" h="38598">
                    <a:moveTo>
                      <a:pt x="2909" y="687"/>
                    </a:moveTo>
                    <a:cubicBezTo>
                      <a:pt x="-3683" y="4328"/>
                      <a:pt x="3500" y="12101"/>
                      <a:pt x="4090" y="14069"/>
                    </a:cubicBezTo>
                    <a:cubicBezTo>
                      <a:pt x="7829" y="20957"/>
                      <a:pt x="1630" y="28042"/>
                      <a:pt x="745" y="30599"/>
                    </a:cubicBezTo>
                    <a:cubicBezTo>
                      <a:pt x="-2601" y="36995"/>
                      <a:pt x="6353" y="37684"/>
                      <a:pt x="7337" y="38275"/>
                    </a:cubicBezTo>
                    <a:cubicBezTo>
                      <a:pt x="15504" y="40734"/>
                      <a:pt x="16095" y="28533"/>
                      <a:pt x="18456" y="24204"/>
                    </a:cubicBezTo>
                    <a:cubicBezTo>
                      <a:pt x="21408" y="16037"/>
                      <a:pt x="13831" y="9445"/>
                      <a:pt x="10683" y="2852"/>
                    </a:cubicBezTo>
                    <a:cubicBezTo>
                      <a:pt x="9108" y="195"/>
                      <a:pt x="5665" y="-789"/>
                      <a:pt x="3008" y="687"/>
                    </a:cubicBezTo>
                    <a:close/>
                  </a:path>
                </a:pathLst>
              </a:custGeom>
              <a:grpFill/>
              <a:ln w="9835" cap="flat">
                <a:noFill/>
                <a:prstDash val="solid"/>
                <a:miter/>
              </a:ln>
            </p:spPr>
            <p:txBody>
              <a:bodyPr rtlCol="0" anchor="ctr"/>
              <a:lstStyle/>
              <a:p>
                <a:endParaRPr lang="en-IN"/>
              </a:p>
            </p:txBody>
          </p:sp>
          <p:sp>
            <p:nvSpPr>
              <p:cNvPr id="553" name="Freeform: Shape 552">
                <a:extLst>
                  <a:ext uri="{FF2B5EF4-FFF2-40B4-BE49-F238E27FC236}">
                    <a16:creationId xmlns:a16="http://schemas.microsoft.com/office/drawing/2014/main" id="{17F3B15C-726F-8345-ACD7-6D5CE93964F6}"/>
                  </a:ext>
                </a:extLst>
              </p:cNvPr>
              <p:cNvSpPr/>
              <p:nvPr/>
            </p:nvSpPr>
            <p:spPr>
              <a:xfrm>
                <a:off x="11160210" y="6255133"/>
                <a:ext cx="39503" cy="52369"/>
              </a:xfrm>
              <a:custGeom>
                <a:avLst/>
                <a:gdLst>
                  <a:gd name="connsiteX0" fmla="*/ 19449 w 39503"/>
                  <a:gd name="connsiteY0" fmla="*/ 5957 h 52369"/>
                  <a:gd name="connsiteX1" fmla="*/ 8822 w 39503"/>
                  <a:gd name="connsiteY1" fmla="*/ 54 h 52369"/>
                  <a:gd name="connsiteX2" fmla="*/ 360 w 39503"/>
                  <a:gd name="connsiteY2" fmla="*/ 11959 h 52369"/>
                  <a:gd name="connsiteX3" fmla="*/ 11479 w 39503"/>
                  <a:gd name="connsiteY3" fmla="*/ 42364 h 52369"/>
                  <a:gd name="connsiteX4" fmla="*/ 35389 w 39503"/>
                  <a:gd name="connsiteY4" fmla="*/ 50727 h 52369"/>
                  <a:gd name="connsiteX5" fmla="*/ 36865 w 39503"/>
                  <a:gd name="connsiteY5" fmla="*/ 49645 h 52369"/>
                  <a:gd name="connsiteX6" fmla="*/ 38833 w 39503"/>
                  <a:gd name="connsiteY6" fmla="*/ 41576 h 52369"/>
                  <a:gd name="connsiteX7" fmla="*/ 19547 w 39503"/>
                  <a:gd name="connsiteY7" fmla="*/ 5859 h 5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03" h="52369">
                    <a:moveTo>
                      <a:pt x="19449" y="5957"/>
                    </a:moveTo>
                    <a:cubicBezTo>
                      <a:pt x="16202" y="-45"/>
                      <a:pt x="9806" y="447"/>
                      <a:pt x="8822" y="54"/>
                    </a:cubicBezTo>
                    <a:cubicBezTo>
                      <a:pt x="1049" y="-931"/>
                      <a:pt x="360" y="11959"/>
                      <a:pt x="360" y="11959"/>
                    </a:cubicBezTo>
                    <a:cubicBezTo>
                      <a:pt x="-1313" y="19240"/>
                      <a:pt x="2918" y="25144"/>
                      <a:pt x="11479" y="42364"/>
                    </a:cubicBezTo>
                    <a:cubicBezTo>
                      <a:pt x="14824" y="49153"/>
                      <a:pt x="28600" y="55450"/>
                      <a:pt x="35389" y="50727"/>
                    </a:cubicBezTo>
                    <a:lnTo>
                      <a:pt x="36865" y="49645"/>
                    </a:lnTo>
                    <a:cubicBezTo>
                      <a:pt x="39423" y="47874"/>
                      <a:pt x="40210" y="44233"/>
                      <a:pt x="38833" y="41576"/>
                    </a:cubicBezTo>
                    <a:lnTo>
                      <a:pt x="19547" y="5859"/>
                    </a:lnTo>
                    <a:close/>
                  </a:path>
                </a:pathLst>
              </a:custGeom>
              <a:grpFill/>
              <a:ln w="9835" cap="flat">
                <a:noFill/>
                <a:prstDash val="solid"/>
                <a:miter/>
              </a:ln>
            </p:spPr>
            <p:txBody>
              <a:bodyPr rtlCol="0" anchor="ctr"/>
              <a:lstStyle/>
              <a:p>
                <a:endParaRPr lang="en-IN"/>
              </a:p>
            </p:txBody>
          </p:sp>
          <p:sp>
            <p:nvSpPr>
              <p:cNvPr id="554" name="Freeform: Shape 553">
                <a:extLst>
                  <a:ext uri="{FF2B5EF4-FFF2-40B4-BE49-F238E27FC236}">
                    <a16:creationId xmlns:a16="http://schemas.microsoft.com/office/drawing/2014/main" id="{A928C75E-C659-4D25-8CC6-A796A1FDDB63}"/>
                  </a:ext>
                </a:extLst>
              </p:cNvPr>
              <p:cNvSpPr/>
              <p:nvPr/>
            </p:nvSpPr>
            <p:spPr>
              <a:xfrm>
                <a:off x="11216718" y="6320213"/>
                <a:ext cx="18640" cy="23394"/>
              </a:xfrm>
              <a:custGeom>
                <a:avLst/>
                <a:gdLst>
                  <a:gd name="connsiteX0" fmla="*/ 430 w 18640"/>
                  <a:gd name="connsiteY0" fmla="*/ 8278 h 23394"/>
                  <a:gd name="connsiteX1" fmla="*/ 15386 w 18640"/>
                  <a:gd name="connsiteY1" fmla="*/ 23234 h 23394"/>
                  <a:gd name="connsiteX2" fmla="*/ 15484 w 18640"/>
                  <a:gd name="connsiteY2" fmla="*/ 23234 h 23394"/>
                  <a:gd name="connsiteX3" fmla="*/ 7416 w 18640"/>
                  <a:gd name="connsiteY3" fmla="*/ 1883 h 23394"/>
                  <a:gd name="connsiteX4" fmla="*/ 331 w 18640"/>
                  <a:gd name="connsiteY4" fmla="*/ 8278 h 23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23394">
                    <a:moveTo>
                      <a:pt x="430" y="8278"/>
                    </a:moveTo>
                    <a:cubicBezTo>
                      <a:pt x="-2227" y="15658"/>
                      <a:pt x="8006" y="24711"/>
                      <a:pt x="15386" y="23234"/>
                    </a:cubicBezTo>
                    <a:lnTo>
                      <a:pt x="15484" y="23234"/>
                    </a:lnTo>
                    <a:cubicBezTo>
                      <a:pt x="24241" y="21562"/>
                      <a:pt x="12532" y="11427"/>
                      <a:pt x="7416" y="1883"/>
                    </a:cubicBezTo>
                    <a:cubicBezTo>
                      <a:pt x="3185" y="-4415"/>
                      <a:pt x="1119" y="6999"/>
                      <a:pt x="331" y="8278"/>
                    </a:cubicBezTo>
                    <a:close/>
                  </a:path>
                </a:pathLst>
              </a:custGeom>
              <a:grpFill/>
              <a:ln w="9835" cap="flat">
                <a:noFill/>
                <a:prstDash val="solid"/>
                <a:miter/>
              </a:ln>
            </p:spPr>
            <p:txBody>
              <a:bodyPr rtlCol="0" anchor="ctr"/>
              <a:lstStyle/>
              <a:p>
                <a:endParaRPr lang="en-IN"/>
              </a:p>
            </p:txBody>
          </p:sp>
          <p:sp>
            <p:nvSpPr>
              <p:cNvPr id="555" name="Freeform: Shape 554">
                <a:extLst>
                  <a:ext uri="{FF2B5EF4-FFF2-40B4-BE49-F238E27FC236}">
                    <a16:creationId xmlns:a16="http://schemas.microsoft.com/office/drawing/2014/main" id="{E73A03E3-B59B-48C8-5B4F-62E1E177945D}"/>
                  </a:ext>
                </a:extLst>
              </p:cNvPr>
              <p:cNvSpPr/>
              <p:nvPr/>
            </p:nvSpPr>
            <p:spPr>
              <a:xfrm>
                <a:off x="11243362" y="6353189"/>
                <a:ext cx="29806" cy="49988"/>
              </a:xfrm>
              <a:custGeom>
                <a:avLst/>
                <a:gdLst>
                  <a:gd name="connsiteX0" fmla="*/ 156 w 29806"/>
                  <a:gd name="connsiteY0" fmla="*/ 197 h 49988"/>
                  <a:gd name="connsiteX1" fmla="*/ 156 w 29806"/>
                  <a:gd name="connsiteY1" fmla="*/ 1378 h 49988"/>
                  <a:gd name="connsiteX2" fmla="*/ 5666 w 29806"/>
                  <a:gd name="connsiteY2" fmla="*/ 21450 h 49988"/>
                  <a:gd name="connsiteX3" fmla="*/ 6257 w 29806"/>
                  <a:gd name="connsiteY3" fmla="*/ 21450 h 49988"/>
                  <a:gd name="connsiteX4" fmla="*/ 12554 w 29806"/>
                  <a:gd name="connsiteY4" fmla="*/ 27748 h 49988"/>
                  <a:gd name="connsiteX5" fmla="*/ 17671 w 29806"/>
                  <a:gd name="connsiteY5" fmla="*/ 39949 h 49988"/>
                  <a:gd name="connsiteX6" fmla="*/ 29675 w 29806"/>
                  <a:gd name="connsiteY6" fmla="*/ 49887 h 49988"/>
                  <a:gd name="connsiteX7" fmla="*/ 29675 w 29806"/>
                  <a:gd name="connsiteY7" fmla="*/ 35127 h 49988"/>
                  <a:gd name="connsiteX8" fmla="*/ 58 w 29806"/>
                  <a:gd name="connsiteY8" fmla="*/ 0 h 4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06" h="49988">
                    <a:moveTo>
                      <a:pt x="156" y="197"/>
                    </a:moveTo>
                    <a:lnTo>
                      <a:pt x="156" y="1378"/>
                    </a:lnTo>
                    <a:cubicBezTo>
                      <a:pt x="1042" y="8462"/>
                      <a:pt x="-2894" y="20368"/>
                      <a:pt x="5666" y="21450"/>
                    </a:cubicBezTo>
                    <a:lnTo>
                      <a:pt x="6257" y="21450"/>
                    </a:lnTo>
                    <a:cubicBezTo>
                      <a:pt x="9307" y="21942"/>
                      <a:pt x="12160" y="24796"/>
                      <a:pt x="12554" y="27748"/>
                    </a:cubicBezTo>
                    <a:cubicBezTo>
                      <a:pt x="12849" y="28731"/>
                      <a:pt x="12652" y="35127"/>
                      <a:pt x="17671" y="39949"/>
                    </a:cubicBezTo>
                    <a:cubicBezTo>
                      <a:pt x="17671" y="39949"/>
                      <a:pt x="29281" y="51166"/>
                      <a:pt x="29675" y="49887"/>
                    </a:cubicBezTo>
                    <a:cubicBezTo>
                      <a:pt x="29970" y="48706"/>
                      <a:pt x="29675" y="35127"/>
                      <a:pt x="29675" y="35127"/>
                    </a:cubicBezTo>
                    <a:cubicBezTo>
                      <a:pt x="29576" y="25485"/>
                      <a:pt x="19737" y="21352"/>
                      <a:pt x="58" y="0"/>
                    </a:cubicBezTo>
                    <a:close/>
                  </a:path>
                </a:pathLst>
              </a:custGeom>
              <a:grpFill/>
              <a:ln w="9835" cap="flat">
                <a:noFill/>
                <a:prstDash val="solid"/>
                <a:miter/>
              </a:ln>
            </p:spPr>
            <p:txBody>
              <a:bodyPr rtlCol="0" anchor="ctr"/>
              <a:lstStyle/>
              <a:p>
                <a:endParaRPr lang="en-IN"/>
              </a:p>
            </p:txBody>
          </p:sp>
          <p:sp>
            <p:nvSpPr>
              <p:cNvPr id="556" name="Freeform: Shape 555">
                <a:extLst>
                  <a:ext uri="{FF2B5EF4-FFF2-40B4-BE49-F238E27FC236}">
                    <a16:creationId xmlns:a16="http://schemas.microsoft.com/office/drawing/2014/main" id="{11E88105-52D6-64F1-9BD5-60434196BFBC}"/>
                  </a:ext>
                </a:extLst>
              </p:cNvPr>
              <p:cNvSpPr/>
              <p:nvPr/>
            </p:nvSpPr>
            <p:spPr>
              <a:xfrm>
                <a:off x="11374875" y="6523823"/>
                <a:ext cx="19120" cy="16940"/>
              </a:xfrm>
              <a:custGeom>
                <a:avLst/>
                <a:gdLst>
                  <a:gd name="connsiteX0" fmla="*/ 15745 w 19120"/>
                  <a:gd name="connsiteY0" fmla="*/ 3626 h 16940"/>
                  <a:gd name="connsiteX1" fmla="*/ 1478 w 19120"/>
                  <a:gd name="connsiteY1" fmla="*/ 2543 h 16940"/>
                  <a:gd name="connsiteX2" fmla="*/ 986 w 19120"/>
                  <a:gd name="connsiteY2" fmla="*/ 3232 h 16940"/>
                  <a:gd name="connsiteX3" fmla="*/ 2462 w 19120"/>
                  <a:gd name="connsiteY3" fmla="*/ 10808 h 16940"/>
                  <a:gd name="connsiteX4" fmla="*/ 17517 w 19120"/>
                  <a:gd name="connsiteY4" fmla="*/ 14056 h 16940"/>
                  <a:gd name="connsiteX5" fmla="*/ 15745 w 19120"/>
                  <a:gd name="connsiteY5" fmla="*/ 3527 h 1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20" h="16940">
                    <a:moveTo>
                      <a:pt x="15745" y="3626"/>
                    </a:moveTo>
                    <a:cubicBezTo>
                      <a:pt x="15745" y="3626"/>
                      <a:pt x="5906" y="-3754"/>
                      <a:pt x="1478" y="2543"/>
                    </a:cubicBezTo>
                    <a:lnTo>
                      <a:pt x="986" y="3232"/>
                    </a:lnTo>
                    <a:cubicBezTo>
                      <a:pt x="-785" y="5692"/>
                      <a:pt x="-96" y="9136"/>
                      <a:pt x="2462" y="10808"/>
                    </a:cubicBezTo>
                    <a:cubicBezTo>
                      <a:pt x="5807" y="12285"/>
                      <a:pt x="14466" y="21534"/>
                      <a:pt x="17517" y="14056"/>
                    </a:cubicBezTo>
                    <a:cubicBezTo>
                      <a:pt x="17615" y="13071"/>
                      <a:pt x="22043" y="6774"/>
                      <a:pt x="15745" y="3527"/>
                    </a:cubicBezTo>
                    <a:close/>
                  </a:path>
                </a:pathLst>
              </a:custGeom>
              <a:grpFill/>
              <a:ln w="9835" cap="flat">
                <a:noFill/>
                <a:prstDash val="solid"/>
                <a:miter/>
              </a:ln>
            </p:spPr>
            <p:txBody>
              <a:bodyPr rtlCol="0" anchor="ctr"/>
              <a:lstStyle/>
              <a:p>
                <a:endParaRPr lang="en-IN"/>
              </a:p>
            </p:txBody>
          </p:sp>
          <p:sp>
            <p:nvSpPr>
              <p:cNvPr id="557" name="Freeform: Shape 556">
                <a:extLst>
                  <a:ext uri="{FF2B5EF4-FFF2-40B4-BE49-F238E27FC236}">
                    <a16:creationId xmlns:a16="http://schemas.microsoft.com/office/drawing/2014/main" id="{FFA1A32C-B84F-E678-5720-1A2FD930FE27}"/>
                  </a:ext>
                </a:extLst>
              </p:cNvPr>
              <p:cNvSpPr/>
              <p:nvPr/>
            </p:nvSpPr>
            <p:spPr>
              <a:xfrm>
                <a:off x="11156009" y="6183146"/>
                <a:ext cx="17231" cy="12531"/>
              </a:xfrm>
              <a:custGeom>
                <a:avLst/>
                <a:gdLst>
                  <a:gd name="connsiteX0" fmla="*/ 13811 w 17231"/>
                  <a:gd name="connsiteY0" fmla="*/ 11330 h 12531"/>
                  <a:gd name="connsiteX1" fmla="*/ 13811 w 17231"/>
                  <a:gd name="connsiteY1" fmla="*/ 11330 h 12531"/>
                  <a:gd name="connsiteX2" fmla="*/ 10072 w 17231"/>
                  <a:gd name="connsiteY2" fmla="*/ 113 h 12531"/>
                  <a:gd name="connsiteX3" fmla="*/ 1315 w 17231"/>
                  <a:gd name="connsiteY3" fmla="*/ 6214 h 12531"/>
                  <a:gd name="connsiteX4" fmla="*/ 13614 w 17231"/>
                  <a:gd name="connsiteY4" fmla="*/ 11429 h 12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 h="12531">
                    <a:moveTo>
                      <a:pt x="13811" y="11330"/>
                    </a:moveTo>
                    <a:lnTo>
                      <a:pt x="13811" y="11330"/>
                    </a:lnTo>
                    <a:cubicBezTo>
                      <a:pt x="19912" y="7296"/>
                      <a:pt x="17353" y="-1068"/>
                      <a:pt x="10072" y="113"/>
                    </a:cubicBezTo>
                    <a:cubicBezTo>
                      <a:pt x="8399" y="704"/>
                      <a:pt x="-3999" y="507"/>
                      <a:pt x="1315" y="6214"/>
                    </a:cubicBezTo>
                    <a:cubicBezTo>
                      <a:pt x="2791" y="7198"/>
                      <a:pt x="7317" y="15463"/>
                      <a:pt x="13614" y="11429"/>
                    </a:cubicBezTo>
                    <a:close/>
                  </a:path>
                </a:pathLst>
              </a:custGeom>
              <a:grpFill/>
              <a:ln w="9835" cap="flat">
                <a:noFill/>
                <a:prstDash val="solid"/>
                <a:miter/>
              </a:ln>
            </p:spPr>
            <p:txBody>
              <a:bodyPr rtlCol="0" anchor="ctr"/>
              <a:lstStyle/>
              <a:p>
                <a:endParaRPr lang="en-IN"/>
              </a:p>
            </p:txBody>
          </p:sp>
          <p:sp>
            <p:nvSpPr>
              <p:cNvPr id="558" name="Freeform: Shape 557">
                <a:extLst>
                  <a:ext uri="{FF2B5EF4-FFF2-40B4-BE49-F238E27FC236}">
                    <a16:creationId xmlns:a16="http://schemas.microsoft.com/office/drawing/2014/main" id="{4361F7F8-7154-613A-5BF5-CF24CD66F3EB}"/>
                  </a:ext>
                </a:extLst>
              </p:cNvPr>
              <p:cNvSpPr/>
              <p:nvPr/>
            </p:nvSpPr>
            <p:spPr>
              <a:xfrm>
                <a:off x="11832134" y="6072760"/>
                <a:ext cx="87" cy="9839"/>
              </a:xfrm>
              <a:custGeom>
                <a:avLst/>
                <a:gdLst>
                  <a:gd name="connsiteX0" fmla="*/ 88 w 87"/>
                  <a:gd name="connsiteY0" fmla="*/ 0 h 9839"/>
                  <a:gd name="connsiteX1" fmla="*/ 88 w 87"/>
                  <a:gd name="connsiteY1" fmla="*/ 0 h 9839"/>
                  <a:gd name="connsiteX2" fmla="*/ 88 w 87"/>
                  <a:gd name="connsiteY2" fmla="*/ 0 h 9839"/>
                </a:gdLst>
                <a:ahLst/>
                <a:cxnLst>
                  <a:cxn ang="0">
                    <a:pos x="connsiteX0" y="connsiteY0"/>
                  </a:cxn>
                  <a:cxn ang="0">
                    <a:pos x="connsiteX1" y="connsiteY1"/>
                  </a:cxn>
                  <a:cxn ang="0">
                    <a:pos x="connsiteX2" y="connsiteY2"/>
                  </a:cxn>
                </a:cxnLst>
                <a:rect l="l" t="t" r="r" b="b"/>
                <a:pathLst>
                  <a:path w="87" h="9839">
                    <a:moveTo>
                      <a:pt x="88" y="0"/>
                    </a:moveTo>
                    <a:lnTo>
                      <a:pt x="88" y="0"/>
                    </a:lnTo>
                    <a:cubicBezTo>
                      <a:pt x="88" y="0"/>
                      <a:pt x="-109" y="0"/>
                      <a:pt x="88" y="0"/>
                    </a:cubicBezTo>
                    <a:close/>
                  </a:path>
                </a:pathLst>
              </a:custGeom>
              <a:grpFill/>
              <a:ln w="9835" cap="flat">
                <a:noFill/>
                <a:prstDash val="solid"/>
                <a:miter/>
              </a:ln>
            </p:spPr>
            <p:txBody>
              <a:bodyPr rtlCol="0" anchor="ctr"/>
              <a:lstStyle/>
              <a:p>
                <a:endParaRPr lang="en-IN"/>
              </a:p>
            </p:txBody>
          </p:sp>
          <p:sp>
            <p:nvSpPr>
              <p:cNvPr id="559" name="Freeform: Shape 558">
                <a:extLst>
                  <a:ext uri="{FF2B5EF4-FFF2-40B4-BE49-F238E27FC236}">
                    <a16:creationId xmlns:a16="http://schemas.microsoft.com/office/drawing/2014/main" id="{40C0D6DB-0BA7-5B48-EBF3-552DF266FEEC}"/>
                  </a:ext>
                </a:extLst>
              </p:cNvPr>
              <p:cNvSpPr/>
              <p:nvPr/>
            </p:nvSpPr>
            <p:spPr>
              <a:xfrm>
                <a:off x="12241708" y="6404256"/>
                <a:ext cx="23855" cy="41776"/>
              </a:xfrm>
              <a:custGeom>
                <a:avLst/>
                <a:gdLst>
                  <a:gd name="connsiteX0" fmla="*/ 16568 w 23855"/>
                  <a:gd name="connsiteY0" fmla="*/ 20171 h 41776"/>
                  <a:gd name="connsiteX1" fmla="*/ 23652 w 23855"/>
                  <a:gd name="connsiteY1" fmla="*/ 8659 h 41776"/>
                  <a:gd name="connsiteX2" fmla="*/ 20208 w 23855"/>
                  <a:gd name="connsiteY2" fmla="*/ 4920 h 41776"/>
                  <a:gd name="connsiteX3" fmla="*/ 13616 w 23855"/>
                  <a:gd name="connsiteY3" fmla="*/ 1968 h 41776"/>
                  <a:gd name="connsiteX4" fmla="*/ 2693 w 23855"/>
                  <a:gd name="connsiteY4" fmla="*/ 11119 h 41776"/>
                  <a:gd name="connsiteX5" fmla="*/ 825 w 23855"/>
                  <a:gd name="connsiteY5" fmla="*/ 38474 h 41776"/>
                  <a:gd name="connsiteX6" fmla="*/ 9975 w 23855"/>
                  <a:gd name="connsiteY6" fmla="*/ 38474 h 41776"/>
                  <a:gd name="connsiteX7" fmla="*/ 13812 w 23855"/>
                  <a:gd name="connsiteY7" fmla="*/ 30011 h 41776"/>
                  <a:gd name="connsiteX8" fmla="*/ 13320 w 23855"/>
                  <a:gd name="connsiteY8" fmla="*/ 26567 h 41776"/>
                  <a:gd name="connsiteX9" fmla="*/ 16666 w 23855"/>
                  <a:gd name="connsiteY9" fmla="*/ 20171 h 4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55" h="41776">
                    <a:moveTo>
                      <a:pt x="16568" y="20171"/>
                    </a:moveTo>
                    <a:cubicBezTo>
                      <a:pt x="22176" y="18991"/>
                      <a:pt x="23061" y="10037"/>
                      <a:pt x="23652" y="8659"/>
                    </a:cubicBezTo>
                    <a:cubicBezTo>
                      <a:pt x="24439" y="5708"/>
                      <a:pt x="22865" y="4035"/>
                      <a:pt x="20208" y="4920"/>
                    </a:cubicBezTo>
                    <a:cubicBezTo>
                      <a:pt x="17453" y="5806"/>
                      <a:pt x="14501" y="4527"/>
                      <a:pt x="13616" y="1968"/>
                    </a:cubicBezTo>
                    <a:cubicBezTo>
                      <a:pt x="11156" y="-4821"/>
                      <a:pt x="5449" y="7872"/>
                      <a:pt x="2693" y="11119"/>
                    </a:cubicBezTo>
                    <a:cubicBezTo>
                      <a:pt x="-947" y="16629"/>
                      <a:pt x="-160" y="20171"/>
                      <a:pt x="825" y="38474"/>
                    </a:cubicBezTo>
                    <a:cubicBezTo>
                      <a:pt x="1218" y="45755"/>
                      <a:pt x="8892" y="38768"/>
                      <a:pt x="9975" y="38474"/>
                    </a:cubicBezTo>
                    <a:cubicBezTo>
                      <a:pt x="12533" y="36800"/>
                      <a:pt x="14305" y="32963"/>
                      <a:pt x="13812" y="30011"/>
                    </a:cubicBezTo>
                    <a:lnTo>
                      <a:pt x="13320" y="26567"/>
                    </a:lnTo>
                    <a:cubicBezTo>
                      <a:pt x="12829" y="23517"/>
                      <a:pt x="14305" y="20664"/>
                      <a:pt x="16666" y="20171"/>
                    </a:cubicBezTo>
                    <a:close/>
                  </a:path>
                </a:pathLst>
              </a:custGeom>
              <a:grpFill/>
              <a:ln w="9835" cap="flat">
                <a:noFill/>
                <a:prstDash val="solid"/>
                <a:miter/>
              </a:ln>
            </p:spPr>
            <p:txBody>
              <a:bodyPr rtlCol="0" anchor="ctr"/>
              <a:lstStyle/>
              <a:p>
                <a:endParaRPr lang="en-IN"/>
              </a:p>
            </p:txBody>
          </p:sp>
          <p:sp>
            <p:nvSpPr>
              <p:cNvPr id="560" name="Freeform: Shape 559">
                <a:extLst>
                  <a:ext uri="{FF2B5EF4-FFF2-40B4-BE49-F238E27FC236}">
                    <a16:creationId xmlns:a16="http://schemas.microsoft.com/office/drawing/2014/main" id="{DB55FC5C-32A8-B0F8-B729-B72E4D9BCE5F}"/>
                  </a:ext>
                </a:extLst>
              </p:cNvPr>
              <p:cNvSpPr/>
              <p:nvPr/>
            </p:nvSpPr>
            <p:spPr>
              <a:xfrm>
                <a:off x="11788048" y="6007987"/>
                <a:ext cx="11297" cy="13385"/>
              </a:xfrm>
              <a:custGeom>
                <a:avLst/>
                <a:gdLst>
                  <a:gd name="connsiteX0" fmla="*/ 11014 w 11297"/>
                  <a:gd name="connsiteY0" fmla="*/ 8688 h 13385"/>
                  <a:gd name="connsiteX1" fmla="*/ 11014 w 11297"/>
                  <a:gd name="connsiteY1" fmla="*/ 8393 h 13385"/>
                  <a:gd name="connsiteX2" fmla="*/ 1174 w 11297"/>
                  <a:gd name="connsiteY2" fmla="*/ 3473 h 13385"/>
                  <a:gd name="connsiteX3" fmla="*/ 4028 w 11297"/>
                  <a:gd name="connsiteY3" fmla="*/ 13313 h 13385"/>
                  <a:gd name="connsiteX4" fmla="*/ 10915 w 11297"/>
                  <a:gd name="connsiteY4" fmla="*/ 8786 h 1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7" h="13385">
                    <a:moveTo>
                      <a:pt x="11014" y="8688"/>
                    </a:moveTo>
                    <a:lnTo>
                      <a:pt x="11014" y="8393"/>
                    </a:lnTo>
                    <a:cubicBezTo>
                      <a:pt x="13080" y="1210"/>
                      <a:pt x="3240" y="-3612"/>
                      <a:pt x="1174" y="3473"/>
                    </a:cubicBezTo>
                    <a:cubicBezTo>
                      <a:pt x="1174" y="4457"/>
                      <a:pt x="-2860" y="12231"/>
                      <a:pt x="4028" y="13313"/>
                    </a:cubicBezTo>
                    <a:cubicBezTo>
                      <a:pt x="6979" y="13805"/>
                      <a:pt x="10128" y="11738"/>
                      <a:pt x="10915" y="8786"/>
                    </a:cubicBezTo>
                    <a:close/>
                  </a:path>
                </a:pathLst>
              </a:custGeom>
              <a:grpFill/>
              <a:ln w="9835" cap="flat">
                <a:noFill/>
                <a:prstDash val="solid"/>
                <a:miter/>
              </a:ln>
            </p:spPr>
            <p:txBody>
              <a:bodyPr rtlCol="0" anchor="ctr"/>
              <a:lstStyle/>
              <a:p>
                <a:endParaRPr lang="en-IN"/>
              </a:p>
            </p:txBody>
          </p:sp>
          <p:sp>
            <p:nvSpPr>
              <p:cNvPr id="561" name="Freeform: Shape 560">
                <a:extLst>
                  <a:ext uri="{FF2B5EF4-FFF2-40B4-BE49-F238E27FC236}">
                    <a16:creationId xmlns:a16="http://schemas.microsoft.com/office/drawing/2014/main" id="{E2BBE306-97FA-279C-765A-05687F55AAEC}"/>
                  </a:ext>
                </a:extLst>
              </p:cNvPr>
              <p:cNvSpPr/>
              <p:nvPr/>
            </p:nvSpPr>
            <p:spPr>
              <a:xfrm>
                <a:off x="11801519" y="6035567"/>
                <a:ext cx="11784" cy="12705"/>
              </a:xfrm>
              <a:custGeom>
                <a:avLst/>
                <a:gdLst>
                  <a:gd name="connsiteX0" fmla="*/ 11417 w 11784"/>
                  <a:gd name="connsiteY0" fmla="*/ 7183 h 12705"/>
                  <a:gd name="connsiteX1" fmla="*/ 11712 w 11784"/>
                  <a:gd name="connsiteY1" fmla="*/ 5510 h 12705"/>
                  <a:gd name="connsiteX2" fmla="*/ 6989 w 11784"/>
                  <a:gd name="connsiteY2" fmla="*/ 0 h 12705"/>
                  <a:gd name="connsiteX3" fmla="*/ 4627 w 11784"/>
                  <a:gd name="connsiteY3" fmla="*/ 0 h 12705"/>
                  <a:gd name="connsiteX4" fmla="*/ 101 w 11784"/>
                  <a:gd name="connsiteY4" fmla="*/ 5510 h 12705"/>
                  <a:gd name="connsiteX5" fmla="*/ 495 w 11784"/>
                  <a:gd name="connsiteY5" fmla="*/ 7281 h 12705"/>
                  <a:gd name="connsiteX6" fmla="*/ 11417 w 11784"/>
                  <a:gd name="connsiteY6" fmla="*/ 7281 h 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84" h="12705">
                    <a:moveTo>
                      <a:pt x="11417" y="7183"/>
                    </a:moveTo>
                    <a:lnTo>
                      <a:pt x="11712" y="5510"/>
                    </a:lnTo>
                    <a:cubicBezTo>
                      <a:pt x="12204" y="2460"/>
                      <a:pt x="10137" y="0"/>
                      <a:pt x="6989" y="0"/>
                    </a:cubicBezTo>
                    <a:lnTo>
                      <a:pt x="4627" y="0"/>
                    </a:lnTo>
                    <a:cubicBezTo>
                      <a:pt x="1577" y="0"/>
                      <a:pt x="-490" y="2460"/>
                      <a:pt x="101" y="5510"/>
                    </a:cubicBezTo>
                    <a:lnTo>
                      <a:pt x="495" y="7281"/>
                    </a:lnTo>
                    <a:cubicBezTo>
                      <a:pt x="1872" y="14464"/>
                      <a:pt x="10236" y="14562"/>
                      <a:pt x="11417" y="7281"/>
                    </a:cubicBezTo>
                    <a:close/>
                  </a:path>
                </a:pathLst>
              </a:custGeom>
              <a:grpFill/>
              <a:ln w="9835" cap="flat">
                <a:noFill/>
                <a:prstDash val="solid"/>
                <a:miter/>
              </a:ln>
            </p:spPr>
            <p:txBody>
              <a:bodyPr rtlCol="0" anchor="ctr"/>
              <a:lstStyle/>
              <a:p>
                <a:endParaRPr lang="en-IN"/>
              </a:p>
            </p:txBody>
          </p:sp>
          <p:sp>
            <p:nvSpPr>
              <p:cNvPr id="562" name="Freeform: Shape 561">
                <a:extLst>
                  <a:ext uri="{FF2B5EF4-FFF2-40B4-BE49-F238E27FC236}">
                    <a16:creationId xmlns:a16="http://schemas.microsoft.com/office/drawing/2014/main" id="{6FEF556F-A80D-4F51-C2C0-7D5E875220AC}"/>
                  </a:ext>
                </a:extLst>
              </p:cNvPr>
              <p:cNvSpPr/>
              <p:nvPr/>
            </p:nvSpPr>
            <p:spPr>
              <a:xfrm>
                <a:off x="11452852" y="6139498"/>
                <a:ext cx="11701" cy="17269"/>
              </a:xfrm>
              <a:custGeom>
                <a:avLst/>
                <a:gdLst>
                  <a:gd name="connsiteX0" fmla="*/ 3103 w 11701"/>
                  <a:gd name="connsiteY0" fmla="*/ 1845 h 17269"/>
                  <a:gd name="connsiteX1" fmla="*/ 348 w 11701"/>
                  <a:gd name="connsiteY1" fmla="*/ 12373 h 17269"/>
                  <a:gd name="connsiteX2" fmla="*/ 11270 w 11701"/>
                  <a:gd name="connsiteY2" fmla="*/ 11979 h 17269"/>
                  <a:gd name="connsiteX3" fmla="*/ 9696 w 11701"/>
                  <a:gd name="connsiteY3" fmla="*/ 1845 h 17269"/>
                  <a:gd name="connsiteX4" fmla="*/ 3103 w 11701"/>
                  <a:gd name="connsiteY4" fmla="*/ 1845 h 17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1" h="17269">
                    <a:moveTo>
                      <a:pt x="3103" y="1845"/>
                    </a:moveTo>
                    <a:cubicBezTo>
                      <a:pt x="3596" y="861"/>
                      <a:pt x="-1324" y="6961"/>
                      <a:pt x="348" y="12373"/>
                    </a:cubicBezTo>
                    <a:cubicBezTo>
                      <a:pt x="2415" y="18966"/>
                      <a:pt x="9302" y="18966"/>
                      <a:pt x="11270" y="11979"/>
                    </a:cubicBezTo>
                    <a:cubicBezTo>
                      <a:pt x="11270" y="12964"/>
                      <a:pt x="12943" y="6272"/>
                      <a:pt x="9696" y="1845"/>
                    </a:cubicBezTo>
                    <a:cubicBezTo>
                      <a:pt x="7925" y="-615"/>
                      <a:pt x="4973" y="-615"/>
                      <a:pt x="3103" y="1845"/>
                    </a:cubicBezTo>
                    <a:close/>
                  </a:path>
                </a:pathLst>
              </a:custGeom>
              <a:grpFill/>
              <a:ln w="9835" cap="flat">
                <a:noFill/>
                <a:prstDash val="solid"/>
                <a:miter/>
              </a:ln>
            </p:spPr>
            <p:txBody>
              <a:bodyPr rtlCol="0" anchor="ctr"/>
              <a:lstStyle/>
              <a:p>
                <a:endParaRPr lang="en-IN"/>
              </a:p>
            </p:txBody>
          </p:sp>
          <p:sp>
            <p:nvSpPr>
              <p:cNvPr id="563" name="Freeform: Shape 562">
                <a:extLst>
                  <a:ext uri="{FF2B5EF4-FFF2-40B4-BE49-F238E27FC236}">
                    <a16:creationId xmlns:a16="http://schemas.microsoft.com/office/drawing/2014/main" id="{2D5D1945-9F69-AA2F-D444-432F203C34A0}"/>
                  </a:ext>
                </a:extLst>
              </p:cNvPr>
              <p:cNvSpPr/>
              <p:nvPr/>
            </p:nvSpPr>
            <p:spPr>
              <a:xfrm>
                <a:off x="11510358" y="6221584"/>
                <a:ext cx="17257" cy="16469"/>
              </a:xfrm>
              <a:custGeom>
                <a:avLst/>
                <a:gdLst>
                  <a:gd name="connsiteX0" fmla="*/ 305 w 17257"/>
                  <a:gd name="connsiteY0" fmla="*/ 8609 h 16469"/>
                  <a:gd name="connsiteX1" fmla="*/ 8275 w 17257"/>
                  <a:gd name="connsiteY1" fmla="*/ 15399 h 16469"/>
                  <a:gd name="connsiteX2" fmla="*/ 15360 w 17257"/>
                  <a:gd name="connsiteY2" fmla="*/ 3493 h 16469"/>
                  <a:gd name="connsiteX3" fmla="*/ 13294 w 17257"/>
                  <a:gd name="connsiteY3" fmla="*/ 1820 h 16469"/>
                  <a:gd name="connsiteX4" fmla="*/ 3553 w 17257"/>
                  <a:gd name="connsiteY4" fmla="*/ 836 h 16469"/>
                  <a:gd name="connsiteX5" fmla="*/ 305 w 17257"/>
                  <a:gd name="connsiteY5" fmla="*/ 8511 h 1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57" h="16469">
                    <a:moveTo>
                      <a:pt x="305" y="8609"/>
                    </a:moveTo>
                    <a:cubicBezTo>
                      <a:pt x="994" y="9594"/>
                      <a:pt x="2273" y="19728"/>
                      <a:pt x="8275" y="15399"/>
                    </a:cubicBezTo>
                    <a:cubicBezTo>
                      <a:pt x="10440" y="13037"/>
                      <a:pt x="21657" y="8511"/>
                      <a:pt x="15360" y="3493"/>
                    </a:cubicBezTo>
                    <a:lnTo>
                      <a:pt x="13294" y="1820"/>
                    </a:lnTo>
                    <a:cubicBezTo>
                      <a:pt x="8866" y="-1722"/>
                      <a:pt x="2569" y="1033"/>
                      <a:pt x="3553" y="836"/>
                    </a:cubicBezTo>
                    <a:cubicBezTo>
                      <a:pt x="798" y="2115"/>
                      <a:pt x="-679" y="5559"/>
                      <a:pt x="305" y="8511"/>
                    </a:cubicBezTo>
                    <a:close/>
                  </a:path>
                </a:pathLst>
              </a:custGeom>
              <a:grpFill/>
              <a:ln w="9835" cap="flat">
                <a:noFill/>
                <a:prstDash val="solid"/>
                <a:miter/>
              </a:ln>
            </p:spPr>
            <p:txBody>
              <a:bodyPr rtlCol="0" anchor="ctr"/>
              <a:lstStyle/>
              <a:p>
                <a:endParaRPr lang="en-IN"/>
              </a:p>
            </p:txBody>
          </p:sp>
          <p:sp>
            <p:nvSpPr>
              <p:cNvPr id="564" name="Freeform: Shape 563">
                <a:extLst>
                  <a:ext uri="{FF2B5EF4-FFF2-40B4-BE49-F238E27FC236}">
                    <a16:creationId xmlns:a16="http://schemas.microsoft.com/office/drawing/2014/main" id="{D9BE9279-BE6E-8D97-F9C1-97595E44B079}"/>
                  </a:ext>
                </a:extLst>
              </p:cNvPr>
              <p:cNvSpPr/>
              <p:nvPr/>
            </p:nvSpPr>
            <p:spPr>
              <a:xfrm>
                <a:off x="11522093" y="6194453"/>
                <a:ext cx="29673" cy="23411"/>
              </a:xfrm>
              <a:custGeom>
                <a:avLst/>
                <a:gdLst>
                  <a:gd name="connsiteX0" fmla="*/ 17893 w 29673"/>
                  <a:gd name="connsiteY0" fmla="*/ 20981 h 23411"/>
                  <a:gd name="connsiteX1" fmla="*/ 20058 w 29673"/>
                  <a:gd name="connsiteY1" fmla="*/ 22457 h 23411"/>
                  <a:gd name="connsiteX2" fmla="*/ 28028 w 29673"/>
                  <a:gd name="connsiteY2" fmla="*/ 21178 h 23411"/>
                  <a:gd name="connsiteX3" fmla="*/ 28618 w 29673"/>
                  <a:gd name="connsiteY3" fmla="*/ 20292 h 23411"/>
                  <a:gd name="connsiteX4" fmla="*/ 27142 w 29673"/>
                  <a:gd name="connsiteY4" fmla="*/ 13110 h 23411"/>
                  <a:gd name="connsiteX5" fmla="*/ 4904 w 29673"/>
                  <a:gd name="connsiteY5" fmla="*/ 613 h 23411"/>
                  <a:gd name="connsiteX6" fmla="*/ 83 w 29673"/>
                  <a:gd name="connsiteY6" fmla="*/ 3467 h 23411"/>
                  <a:gd name="connsiteX7" fmla="*/ 5593 w 29673"/>
                  <a:gd name="connsiteY7" fmla="*/ 16652 h 23411"/>
                  <a:gd name="connsiteX8" fmla="*/ 17893 w 29673"/>
                  <a:gd name="connsiteY8" fmla="*/ 20981 h 2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73" h="23411">
                    <a:moveTo>
                      <a:pt x="17893" y="20981"/>
                    </a:moveTo>
                    <a:lnTo>
                      <a:pt x="20058" y="22457"/>
                    </a:lnTo>
                    <a:cubicBezTo>
                      <a:pt x="22616" y="24130"/>
                      <a:pt x="26158" y="23540"/>
                      <a:pt x="28028" y="21178"/>
                    </a:cubicBezTo>
                    <a:lnTo>
                      <a:pt x="28618" y="20292"/>
                    </a:lnTo>
                    <a:cubicBezTo>
                      <a:pt x="30487" y="17832"/>
                      <a:pt x="29799" y="14586"/>
                      <a:pt x="27142" y="13110"/>
                    </a:cubicBezTo>
                    <a:lnTo>
                      <a:pt x="4904" y="613"/>
                    </a:lnTo>
                    <a:cubicBezTo>
                      <a:pt x="2248" y="-862"/>
                      <a:pt x="83" y="417"/>
                      <a:pt x="83" y="3467"/>
                    </a:cubicBezTo>
                    <a:cubicBezTo>
                      <a:pt x="477" y="5730"/>
                      <a:pt x="-1983" y="15471"/>
                      <a:pt x="5593" y="16652"/>
                    </a:cubicBezTo>
                    <a:cubicBezTo>
                      <a:pt x="6577" y="16947"/>
                      <a:pt x="12284" y="17144"/>
                      <a:pt x="17893" y="20981"/>
                    </a:cubicBezTo>
                    <a:close/>
                  </a:path>
                </a:pathLst>
              </a:custGeom>
              <a:grpFill/>
              <a:ln w="9835" cap="flat">
                <a:noFill/>
                <a:prstDash val="solid"/>
                <a:miter/>
              </a:ln>
            </p:spPr>
            <p:txBody>
              <a:bodyPr rtlCol="0" anchor="ctr"/>
              <a:lstStyle/>
              <a:p>
                <a:endParaRPr lang="en-IN"/>
              </a:p>
            </p:txBody>
          </p:sp>
          <p:sp>
            <p:nvSpPr>
              <p:cNvPr id="565" name="Freeform: Shape 564">
                <a:extLst>
                  <a:ext uri="{FF2B5EF4-FFF2-40B4-BE49-F238E27FC236}">
                    <a16:creationId xmlns:a16="http://schemas.microsoft.com/office/drawing/2014/main" id="{DB0D0E0C-B174-002A-626B-BE4222518A54}"/>
                  </a:ext>
                </a:extLst>
              </p:cNvPr>
              <p:cNvSpPr/>
              <p:nvPr/>
            </p:nvSpPr>
            <p:spPr>
              <a:xfrm>
                <a:off x="11482652" y="6125524"/>
                <a:ext cx="25165" cy="26363"/>
              </a:xfrm>
              <a:custGeom>
                <a:avLst/>
                <a:gdLst>
                  <a:gd name="connsiteX0" fmla="*/ 6462 w 25165"/>
                  <a:gd name="connsiteY0" fmla="*/ 1354 h 26363"/>
                  <a:gd name="connsiteX1" fmla="*/ 1149 w 25165"/>
                  <a:gd name="connsiteY1" fmla="*/ 11883 h 26363"/>
                  <a:gd name="connsiteX2" fmla="*/ 14334 w 25165"/>
                  <a:gd name="connsiteY2" fmla="*/ 17295 h 26363"/>
                  <a:gd name="connsiteX3" fmla="*/ 24862 w 25165"/>
                  <a:gd name="connsiteY3" fmla="*/ 24182 h 26363"/>
                  <a:gd name="connsiteX4" fmla="*/ 22993 w 25165"/>
                  <a:gd name="connsiteY4" fmla="*/ 14835 h 26363"/>
                  <a:gd name="connsiteX5" fmla="*/ 6462 w 25165"/>
                  <a:gd name="connsiteY5" fmla="*/ 1256 h 2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65" h="26363">
                    <a:moveTo>
                      <a:pt x="6462" y="1354"/>
                    </a:moveTo>
                    <a:cubicBezTo>
                      <a:pt x="5675" y="2339"/>
                      <a:pt x="-3082" y="6766"/>
                      <a:pt x="1149" y="11883"/>
                    </a:cubicBezTo>
                    <a:cubicBezTo>
                      <a:pt x="5774" y="17393"/>
                      <a:pt x="9414" y="11096"/>
                      <a:pt x="14334" y="17295"/>
                    </a:cubicBezTo>
                    <a:cubicBezTo>
                      <a:pt x="16794" y="19656"/>
                      <a:pt x="22895" y="31070"/>
                      <a:pt x="24862" y="24182"/>
                    </a:cubicBezTo>
                    <a:cubicBezTo>
                      <a:pt x="25650" y="21526"/>
                      <a:pt x="24862" y="17393"/>
                      <a:pt x="22993" y="14835"/>
                    </a:cubicBezTo>
                    <a:cubicBezTo>
                      <a:pt x="17483" y="8833"/>
                      <a:pt x="13350" y="-4057"/>
                      <a:pt x="6462" y="1256"/>
                    </a:cubicBezTo>
                    <a:close/>
                  </a:path>
                </a:pathLst>
              </a:custGeom>
              <a:grpFill/>
              <a:ln w="9835" cap="flat">
                <a:noFill/>
                <a:prstDash val="solid"/>
                <a:miter/>
              </a:ln>
            </p:spPr>
            <p:txBody>
              <a:bodyPr rtlCol="0" anchor="ctr"/>
              <a:lstStyle/>
              <a:p>
                <a:endParaRPr lang="en-IN"/>
              </a:p>
            </p:txBody>
          </p:sp>
          <p:sp>
            <p:nvSpPr>
              <p:cNvPr id="566" name="Freeform: Shape 565">
                <a:extLst>
                  <a:ext uri="{FF2B5EF4-FFF2-40B4-BE49-F238E27FC236}">
                    <a16:creationId xmlns:a16="http://schemas.microsoft.com/office/drawing/2014/main" id="{F42E1F48-4693-AB5B-3EEF-62B5E0DD79E5}"/>
                  </a:ext>
                </a:extLst>
              </p:cNvPr>
              <p:cNvSpPr/>
              <p:nvPr/>
            </p:nvSpPr>
            <p:spPr>
              <a:xfrm>
                <a:off x="11511784" y="6123159"/>
                <a:ext cx="23441" cy="22976"/>
              </a:xfrm>
              <a:custGeom>
                <a:avLst/>
                <a:gdLst>
                  <a:gd name="connsiteX0" fmla="*/ 10293 w 23441"/>
                  <a:gd name="connsiteY0" fmla="*/ 18184 h 22976"/>
                  <a:gd name="connsiteX1" fmla="*/ 15803 w 23441"/>
                  <a:gd name="connsiteY1" fmla="*/ 22906 h 22976"/>
                  <a:gd name="connsiteX2" fmla="*/ 17673 w 23441"/>
                  <a:gd name="connsiteY2" fmla="*/ 22611 h 22976"/>
                  <a:gd name="connsiteX3" fmla="*/ 18361 w 23441"/>
                  <a:gd name="connsiteY3" fmla="*/ 3030 h 22976"/>
                  <a:gd name="connsiteX4" fmla="*/ 5472 w 23441"/>
                  <a:gd name="connsiteY4" fmla="*/ 1259 h 22976"/>
                  <a:gd name="connsiteX5" fmla="*/ 1831 w 23441"/>
                  <a:gd name="connsiteY5" fmla="*/ 3522 h 22976"/>
                  <a:gd name="connsiteX6" fmla="*/ 2323 w 23441"/>
                  <a:gd name="connsiteY6" fmla="*/ 8147 h 22976"/>
                  <a:gd name="connsiteX7" fmla="*/ 4979 w 23441"/>
                  <a:gd name="connsiteY7" fmla="*/ 9033 h 22976"/>
                  <a:gd name="connsiteX8" fmla="*/ 10293 w 23441"/>
                  <a:gd name="connsiteY8" fmla="*/ 18282 h 2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1" h="22976">
                    <a:moveTo>
                      <a:pt x="10293" y="18184"/>
                    </a:moveTo>
                    <a:cubicBezTo>
                      <a:pt x="10293" y="21234"/>
                      <a:pt x="12753" y="23398"/>
                      <a:pt x="15803" y="22906"/>
                    </a:cubicBezTo>
                    <a:lnTo>
                      <a:pt x="17673" y="22611"/>
                    </a:lnTo>
                    <a:cubicBezTo>
                      <a:pt x="25741" y="21332"/>
                      <a:pt x="24757" y="6671"/>
                      <a:pt x="18361" y="3030"/>
                    </a:cubicBezTo>
                    <a:cubicBezTo>
                      <a:pt x="18361" y="3030"/>
                      <a:pt x="11572" y="-2381"/>
                      <a:pt x="5472" y="1259"/>
                    </a:cubicBezTo>
                    <a:lnTo>
                      <a:pt x="1831" y="3522"/>
                    </a:lnTo>
                    <a:cubicBezTo>
                      <a:pt x="-826" y="5097"/>
                      <a:pt x="-531" y="7163"/>
                      <a:pt x="2323" y="8147"/>
                    </a:cubicBezTo>
                    <a:lnTo>
                      <a:pt x="4979" y="9033"/>
                    </a:lnTo>
                    <a:cubicBezTo>
                      <a:pt x="10982" y="11000"/>
                      <a:pt x="10588" y="19266"/>
                      <a:pt x="10293" y="18282"/>
                    </a:cubicBezTo>
                    <a:close/>
                  </a:path>
                </a:pathLst>
              </a:custGeom>
              <a:grpFill/>
              <a:ln w="9835" cap="flat">
                <a:noFill/>
                <a:prstDash val="solid"/>
                <a:miter/>
              </a:ln>
            </p:spPr>
            <p:txBody>
              <a:bodyPr rtlCol="0" anchor="ctr"/>
              <a:lstStyle/>
              <a:p>
                <a:endParaRPr lang="en-IN"/>
              </a:p>
            </p:txBody>
          </p:sp>
          <p:sp>
            <p:nvSpPr>
              <p:cNvPr id="567" name="Freeform: Shape 566">
                <a:extLst>
                  <a:ext uri="{FF2B5EF4-FFF2-40B4-BE49-F238E27FC236}">
                    <a16:creationId xmlns:a16="http://schemas.microsoft.com/office/drawing/2014/main" id="{DB8C68BE-1FBF-303C-5037-A65F7B876C62}"/>
                  </a:ext>
                </a:extLst>
              </p:cNvPr>
              <p:cNvSpPr/>
              <p:nvPr/>
            </p:nvSpPr>
            <p:spPr>
              <a:xfrm>
                <a:off x="11565792" y="6291315"/>
                <a:ext cx="105668" cy="97312"/>
              </a:xfrm>
              <a:custGeom>
                <a:avLst/>
                <a:gdLst>
                  <a:gd name="connsiteX0" fmla="*/ 102993 w 105668"/>
                  <a:gd name="connsiteY0" fmla="*/ 88047 h 97312"/>
                  <a:gd name="connsiteX1" fmla="*/ 90891 w 105668"/>
                  <a:gd name="connsiteY1" fmla="*/ 80372 h 97312"/>
                  <a:gd name="connsiteX2" fmla="*/ 93252 w 105668"/>
                  <a:gd name="connsiteY2" fmla="*/ 63841 h 97312"/>
                  <a:gd name="connsiteX3" fmla="*/ 74950 w 105668"/>
                  <a:gd name="connsiteY3" fmla="*/ 58921 h 97312"/>
                  <a:gd name="connsiteX4" fmla="*/ 56747 w 105668"/>
                  <a:gd name="connsiteY4" fmla="*/ 17891 h 97312"/>
                  <a:gd name="connsiteX5" fmla="*/ 39528 w 105668"/>
                  <a:gd name="connsiteY5" fmla="*/ 277 h 97312"/>
                  <a:gd name="connsiteX6" fmla="*/ 16700 w 105668"/>
                  <a:gd name="connsiteY6" fmla="*/ 6083 h 97312"/>
                  <a:gd name="connsiteX7" fmla="*/ 9517 w 105668"/>
                  <a:gd name="connsiteY7" fmla="*/ 20744 h 97312"/>
                  <a:gd name="connsiteX8" fmla="*/ 2039 w 105668"/>
                  <a:gd name="connsiteY8" fmla="*/ 31764 h 97312"/>
                  <a:gd name="connsiteX9" fmla="*/ 17291 w 105668"/>
                  <a:gd name="connsiteY9" fmla="*/ 37668 h 97312"/>
                  <a:gd name="connsiteX10" fmla="*/ 38150 w 105668"/>
                  <a:gd name="connsiteY10" fmla="*/ 41013 h 97312"/>
                  <a:gd name="connsiteX11" fmla="*/ 44841 w 105668"/>
                  <a:gd name="connsiteY11" fmla="*/ 53706 h 97312"/>
                  <a:gd name="connsiteX12" fmla="*/ 52221 w 105668"/>
                  <a:gd name="connsiteY12" fmla="*/ 79093 h 97312"/>
                  <a:gd name="connsiteX13" fmla="*/ 77902 w 105668"/>
                  <a:gd name="connsiteY13" fmla="*/ 94344 h 97312"/>
                  <a:gd name="connsiteX14" fmla="*/ 92662 w 105668"/>
                  <a:gd name="connsiteY14" fmla="*/ 97198 h 97312"/>
                  <a:gd name="connsiteX15" fmla="*/ 104174 w 105668"/>
                  <a:gd name="connsiteY15" fmla="*/ 92474 h 97312"/>
                  <a:gd name="connsiteX16" fmla="*/ 103092 w 105668"/>
                  <a:gd name="connsiteY16" fmla="*/ 87948 h 9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668" h="97312">
                    <a:moveTo>
                      <a:pt x="102993" y="88047"/>
                    </a:moveTo>
                    <a:cubicBezTo>
                      <a:pt x="99648" y="86866"/>
                      <a:pt x="87250" y="87554"/>
                      <a:pt x="90891" y="80372"/>
                    </a:cubicBezTo>
                    <a:cubicBezTo>
                      <a:pt x="92563" y="75353"/>
                      <a:pt x="101320" y="65908"/>
                      <a:pt x="93252" y="63841"/>
                    </a:cubicBezTo>
                    <a:lnTo>
                      <a:pt x="74950" y="58921"/>
                    </a:lnTo>
                    <a:cubicBezTo>
                      <a:pt x="63930" y="55970"/>
                      <a:pt x="66390" y="33339"/>
                      <a:pt x="56747" y="17891"/>
                    </a:cubicBezTo>
                    <a:cubicBezTo>
                      <a:pt x="50745" y="10117"/>
                      <a:pt x="48089" y="-1986"/>
                      <a:pt x="39528" y="277"/>
                    </a:cubicBezTo>
                    <a:lnTo>
                      <a:pt x="16700" y="6083"/>
                    </a:lnTo>
                    <a:cubicBezTo>
                      <a:pt x="8730" y="8149"/>
                      <a:pt x="16503" y="16217"/>
                      <a:pt x="9517" y="20744"/>
                    </a:cubicBezTo>
                    <a:cubicBezTo>
                      <a:pt x="7057" y="23007"/>
                      <a:pt x="-4652" y="27435"/>
                      <a:pt x="2039" y="31764"/>
                    </a:cubicBezTo>
                    <a:cubicBezTo>
                      <a:pt x="3909" y="32650"/>
                      <a:pt x="9812" y="38259"/>
                      <a:pt x="17291" y="37668"/>
                    </a:cubicBezTo>
                    <a:cubicBezTo>
                      <a:pt x="23883" y="37865"/>
                      <a:pt x="34116" y="33535"/>
                      <a:pt x="38150" y="41013"/>
                    </a:cubicBezTo>
                    <a:lnTo>
                      <a:pt x="44841" y="53706"/>
                    </a:lnTo>
                    <a:cubicBezTo>
                      <a:pt x="50351" y="64136"/>
                      <a:pt x="43857" y="74074"/>
                      <a:pt x="52221" y="79093"/>
                    </a:cubicBezTo>
                    <a:lnTo>
                      <a:pt x="77902" y="94344"/>
                    </a:lnTo>
                    <a:cubicBezTo>
                      <a:pt x="84003" y="97984"/>
                      <a:pt x="93646" y="97296"/>
                      <a:pt x="92662" y="97198"/>
                    </a:cubicBezTo>
                    <a:cubicBezTo>
                      <a:pt x="98959" y="97198"/>
                      <a:pt x="105158" y="91884"/>
                      <a:pt x="104174" y="92474"/>
                    </a:cubicBezTo>
                    <a:cubicBezTo>
                      <a:pt x="106535" y="90605"/>
                      <a:pt x="106044" y="88539"/>
                      <a:pt x="103092" y="87948"/>
                    </a:cubicBezTo>
                    <a:close/>
                  </a:path>
                </a:pathLst>
              </a:custGeom>
              <a:grpFill/>
              <a:ln w="9835" cap="flat">
                <a:noFill/>
                <a:prstDash val="solid"/>
                <a:miter/>
              </a:ln>
            </p:spPr>
            <p:txBody>
              <a:bodyPr rtlCol="0" anchor="ctr"/>
              <a:lstStyle/>
              <a:p>
                <a:endParaRPr lang="en-IN"/>
              </a:p>
            </p:txBody>
          </p:sp>
          <p:sp>
            <p:nvSpPr>
              <p:cNvPr id="568" name="Freeform: Shape 567">
                <a:extLst>
                  <a:ext uri="{FF2B5EF4-FFF2-40B4-BE49-F238E27FC236}">
                    <a16:creationId xmlns:a16="http://schemas.microsoft.com/office/drawing/2014/main" id="{B98EFB3D-184B-C001-E0B5-D01EF8B33649}"/>
                  </a:ext>
                </a:extLst>
              </p:cNvPr>
              <p:cNvSpPr/>
              <p:nvPr/>
            </p:nvSpPr>
            <p:spPr>
              <a:xfrm>
                <a:off x="11713625" y="6358502"/>
                <a:ext cx="43690" cy="37605"/>
              </a:xfrm>
              <a:custGeom>
                <a:avLst/>
                <a:gdLst>
                  <a:gd name="connsiteX0" fmla="*/ 21578 w 43690"/>
                  <a:gd name="connsiteY0" fmla="*/ 98 h 37605"/>
                  <a:gd name="connsiteX1" fmla="*/ 2686 w 43690"/>
                  <a:gd name="connsiteY1" fmla="*/ 5608 h 37605"/>
                  <a:gd name="connsiteX2" fmla="*/ 29 w 43690"/>
                  <a:gd name="connsiteY2" fmla="*/ 33848 h 37605"/>
                  <a:gd name="connsiteX3" fmla="*/ 4358 w 43690"/>
                  <a:gd name="connsiteY3" fmla="*/ 36603 h 37605"/>
                  <a:gd name="connsiteX4" fmla="*/ 20594 w 43690"/>
                  <a:gd name="connsiteY4" fmla="*/ 33257 h 37605"/>
                  <a:gd name="connsiteX5" fmla="*/ 33582 w 43690"/>
                  <a:gd name="connsiteY5" fmla="*/ 36210 h 37605"/>
                  <a:gd name="connsiteX6" fmla="*/ 40470 w 43690"/>
                  <a:gd name="connsiteY6" fmla="*/ 27255 h 37605"/>
                  <a:gd name="connsiteX7" fmla="*/ 40470 w 43690"/>
                  <a:gd name="connsiteY7" fmla="*/ 9151 h 37605"/>
                  <a:gd name="connsiteX8" fmla="*/ 21676 w 43690"/>
                  <a:gd name="connsiteY8" fmla="*/ 0 h 3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90" h="37605">
                    <a:moveTo>
                      <a:pt x="21578" y="98"/>
                    </a:moveTo>
                    <a:cubicBezTo>
                      <a:pt x="15182" y="984"/>
                      <a:pt x="3473" y="-2755"/>
                      <a:pt x="2686" y="5608"/>
                    </a:cubicBezTo>
                    <a:lnTo>
                      <a:pt x="29" y="33848"/>
                    </a:lnTo>
                    <a:cubicBezTo>
                      <a:pt x="-266" y="36898"/>
                      <a:pt x="1702" y="38177"/>
                      <a:pt x="4358" y="36603"/>
                    </a:cubicBezTo>
                    <a:cubicBezTo>
                      <a:pt x="7704" y="35324"/>
                      <a:pt x="14198" y="28534"/>
                      <a:pt x="20594" y="33257"/>
                    </a:cubicBezTo>
                    <a:cubicBezTo>
                      <a:pt x="21775" y="33750"/>
                      <a:pt x="27482" y="40441"/>
                      <a:pt x="33582" y="36210"/>
                    </a:cubicBezTo>
                    <a:cubicBezTo>
                      <a:pt x="34566" y="35225"/>
                      <a:pt x="38797" y="32765"/>
                      <a:pt x="40470" y="27255"/>
                    </a:cubicBezTo>
                    <a:cubicBezTo>
                      <a:pt x="41159" y="22631"/>
                      <a:pt x="47358" y="13972"/>
                      <a:pt x="40470" y="9151"/>
                    </a:cubicBezTo>
                    <a:cubicBezTo>
                      <a:pt x="34172" y="4821"/>
                      <a:pt x="28761" y="0"/>
                      <a:pt x="21676" y="0"/>
                    </a:cubicBezTo>
                    <a:close/>
                  </a:path>
                </a:pathLst>
              </a:custGeom>
              <a:grpFill/>
              <a:ln w="9835" cap="flat">
                <a:noFill/>
                <a:prstDash val="solid"/>
                <a:miter/>
              </a:ln>
            </p:spPr>
            <p:txBody>
              <a:bodyPr rtlCol="0" anchor="ctr"/>
              <a:lstStyle/>
              <a:p>
                <a:endParaRPr lang="en-IN"/>
              </a:p>
            </p:txBody>
          </p:sp>
          <p:sp>
            <p:nvSpPr>
              <p:cNvPr id="569" name="Freeform: Shape 568">
                <a:extLst>
                  <a:ext uri="{FF2B5EF4-FFF2-40B4-BE49-F238E27FC236}">
                    <a16:creationId xmlns:a16="http://schemas.microsoft.com/office/drawing/2014/main" id="{3A7AF739-F9FD-A5B8-682D-AA60F46FC9BA}"/>
                  </a:ext>
                </a:extLst>
              </p:cNvPr>
              <p:cNvSpPr/>
              <p:nvPr/>
            </p:nvSpPr>
            <p:spPr>
              <a:xfrm>
                <a:off x="11791226" y="6291790"/>
                <a:ext cx="13291" cy="12229"/>
              </a:xfrm>
              <a:custGeom>
                <a:avLst/>
                <a:gdLst>
                  <a:gd name="connsiteX0" fmla="*/ 5474 w 13291"/>
                  <a:gd name="connsiteY0" fmla="*/ 12004 h 12229"/>
                  <a:gd name="connsiteX1" fmla="*/ 13247 w 13291"/>
                  <a:gd name="connsiteY1" fmla="*/ 4920 h 12229"/>
                  <a:gd name="connsiteX2" fmla="*/ 8328 w 13291"/>
                  <a:gd name="connsiteY2" fmla="*/ 0 h 12229"/>
                  <a:gd name="connsiteX3" fmla="*/ 5671 w 13291"/>
                  <a:gd name="connsiteY3" fmla="*/ 0 h 12229"/>
                  <a:gd name="connsiteX4" fmla="*/ 5474 w 13291"/>
                  <a:gd name="connsiteY4" fmla="*/ 12004 h 12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1" h="12229">
                    <a:moveTo>
                      <a:pt x="5474" y="12004"/>
                    </a:moveTo>
                    <a:cubicBezTo>
                      <a:pt x="4490" y="12595"/>
                      <a:pt x="12559" y="10528"/>
                      <a:pt x="13247" y="4920"/>
                    </a:cubicBezTo>
                    <a:cubicBezTo>
                      <a:pt x="13641" y="2164"/>
                      <a:pt x="11378" y="0"/>
                      <a:pt x="8328" y="0"/>
                    </a:cubicBezTo>
                    <a:lnTo>
                      <a:pt x="5671" y="0"/>
                    </a:lnTo>
                    <a:cubicBezTo>
                      <a:pt x="-1807" y="0"/>
                      <a:pt x="-1906" y="14169"/>
                      <a:pt x="5474" y="12004"/>
                    </a:cubicBezTo>
                    <a:close/>
                  </a:path>
                </a:pathLst>
              </a:custGeom>
              <a:grpFill/>
              <a:ln w="9835" cap="flat">
                <a:noFill/>
                <a:prstDash val="solid"/>
                <a:miter/>
              </a:ln>
            </p:spPr>
            <p:txBody>
              <a:bodyPr rtlCol="0" anchor="ctr"/>
              <a:lstStyle/>
              <a:p>
                <a:endParaRPr lang="en-IN"/>
              </a:p>
            </p:txBody>
          </p:sp>
          <p:sp>
            <p:nvSpPr>
              <p:cNvPr id="570" name="Freeform: Shape 569">
                <a:extLst>
                  <a:ext uri="{FF2B5EF4-FFF2-40B4-BE49-F238E27FC236}">
                    <a16:creationId xmlns:a16="http://schemas.microsoft.com/office/drawing/2014/main" id="{54D71E2A-EBF5-7A48-C56C-BD04165A2896}"/>
                  </a:ext>
                </a:extLst>
              </p:cNvPr>
              <p:cNvSpPr/>
              <p:nvPr/>
            </p:nvSpPr>
            <p:spPr>
              <a:xfrm>
                <a:off x="12895739" y="5915013"/>
                <a:ext cx="19546" cy="51259"/>
              </a:xfrm>
              <a:custGeom>
                <a:avLst/>
                <a:gdLst>
                  <a:gd name="connsiteX0" fmla="*/ 18346 w 19546"/>
                  <a:gd name="connsiteY0" fmla="*/ 14482 h 51259"/>
                  <a:gd name="connsiteX1" fmla="*/ 16672 w 19546"/>
                  <a:gd name="connsiteY1" fmla="*/ 6315 h 51259"/>
                  <a:gd name="connsiteX2" fmla="*/ 7227 w 19546"/>
                  <a:gd name="connsiteY2" fmla="*/ 313 h 51259"/>
                  <a:gd name="connsiteX3" fmla="*/ 6538 w 19546"/>
                  <a:gd name="connsiteY3" fmla="*/ 15073 h 51259"/>
                  <a:gd name="connsiteX4" fmla="*/ 1421 w 19546"/>
                  <a:gd name="connsiteY4" fmla="*/ 29832 h 51259"/>
                  <a:gd name="connsiteX5" fmla="*/ 7423 w 19546"/>
                  <a:gd name="connsiteY5" fmla="*/ 48232 h 51259"/>
                  <a:gd name="connsiteX6" fmla="*/ 14803 w 19546"/>
                  <a:gd name="connsiteY6" fmla="*/ 44198 h 51259"/>
                  <a:gd name="connsiteX7" fmla="*/ 12442 w 19546"/>
                  <a:gd name="connsiteY7" fmla="*/ 40754 h 51259"/>
                  <a:gd name="connsiteX8" fmla="*/ 18346 w 19546"/>
                  <a:gd name="connsiteY8" fmla="*/ 14581 h 5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46" h="51259">
                    <a:moveTo>
                      <a:pt x="18346" y="14482"/>
                    </a:moveTo>
                    <a:cubicBezTo>
                      <a:pt x="18739" y="15467"/>
                      <a:pt x="15000" y="9169"/>
                      <a:pt x="16672" y="6315"/>
                    </a:cubicBezTo>
                    <a:cubicBezTo>
                      <a:pt x="18838" y="2675"/>
                      <a:pt x="8408" y="904"/>
                      <a:pt x="7227" y="313"/>
                    </a:cubicBezTo>
                    <a:cubicBezTo>
                      <a:pt x="-842" y="-2147"/>
                      <a:pt x="5849" y="10547"/>
                      <a:pt x="6538" y="15073"/>
                    </a:cubicBezTo>
                    <a:cubicBezTo>
                      <a:pt x="8604" y="22354"/>
                      <a:pt x="2307" y="28160"/>
                      <a:pt x="1421" y="29832"/>
                    </a:cubicBezTo>
                    <a:cubicBezTo>
                      <a:pt x="-3302" y="36621"/>
                      <a:pt x="5062" y="43312"/>
                      <a:pt x="7423" y="48232"/>
                    </a:cubicBezTo>
                    <a:cubicBezTo>
                      <a:pt x="11556" y="54333"/>
                      <a:pt x="18936" y="50299"/>
                      <a:pt x="14803" y="44198"/>
                    </a:cubicBezTo>
                    <a:lnTo>
                      <a:pt x="12442" y="40754"/>
                    </a:lnTo>
                    <a:cubicBezTo>
                      <a:pt x="6144" y="31505"/>
                      <a:pt x="24249" y="24420"/>
                      <a:pt x="18346" y="14581"/>
                    </a:cubicBezTo>
                    <a:close/>
                  </a:path>
                </a:pathLst>
              </a:custGeom>
              <a:grpFill/>
              <a:ln w="9835" cap="flat">
                <a:noFill/>
                <a:prstDash val="solid"/>
                <a:miter/>
              </a:ln>
            </p:spPr>
            <p:txBody>
              <a:bodyPr rtlCol="0" anchor="ctr"/>
              <a:lstStyle/>
              <a:p>
                <a:endParaRPr lang="en-IN"/>
              </a:p>
            </p:txBody>
          </p:sp>
          <p:sp>
            <p:nvSpPr>
              <p:cNvPr id="571" name="Freeform: Shape 570">
                <a:extLst>
                  <a:ext uri="{FF2B5EF4-FFF2-40B4-BE49-F238E27FC236}">
                    <a16:creationId xmlns:a16="http://schemas.microsoft.com/office/drawing/2014/main" id="{EFB9643A-4EF9-0A7B-69DB-32A51AF80737}"/>
                  </a:ext>
                </a:extLst>
              </p:cNvPr>
              <p:cNvSpPr/>
              <p:nvPr/>
            </p:nvSpPr>
            <p:spPr>
              <a:xfrm>
                <a:off x="12820021" y="5963762"/>
                <a:ext cx="19306" cy="25657"/>
              </a:xfrm>
              <a:custGeom>
                <a:avLst/>
                <a:gdLst>
                  <a:gd name="connsiteX0" fmla="*/ 15642 w 19306"/>
                  <a:gd name="connsiteY0" fmla="*/ 24673 h 25657"/>
                  <a:gd name="connsiteX1" fmla="*/ 14166 w 19306"/>
                  <a:gd name="connsiteY1" fmla="*/ 6470 h 25657"/>
                  <a:gd name="connsiteX2" fmla="*/ 3244 w 19306"/>
                  <a:gd name="connsiteY2" fmla="*/ 74 h 25657"/>
                  <a:gd name="connsiteX3" fmla="*/ 3048 w 19306"/>
                  <a:gd name="connsiteY3" fmla="*/ 8241 h 25657"/>
                  <a:gd name="connsiteX4" fmla="*/ 6098 w 19306"/>
                  <a:gd name="connsiteY4" fmla="*/ 21229 h 25657"/>
                  <a:gd name="connsiteX5" fmla="*/ 15544 w 19306"/>
                  <a:gd name="connsiteY5" fmla="*/ 24771 h 2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6" h="25657">
                    <a:moveTo>
                      <a:pt x="15642" y="24673"/>
                    </a:moveTo>
                    <a:cubicBezTo>
                      <a:pt x="24005" y="22803"/>
                      <a:pt x="15642" y="11980"/>
                      <a:pt x="14166" y="6470"/>
                    </a:cubicBezTo>
                    <a:cubicBezTo>
                      <a:pt x="11510" y="-25"/>
                      <a:pt x="4228" y="369"/>
                      <a:pt x="3244" y="74"/>
                    </a:cubicBezTo>
                    <a:cubicBezTo>
                      <a:pt x="-3939" y="-910"/>
                      <a:pt x="3048" y="8241"/>
                      <a:pt x="3048" y="8241"/>
                    </a:cubicBezTo>
                    <a:cubicBezTo>
                      <a:pt x="6590" y="14145"/>
                      <a:pt x="5999" y="20147"/>
                      <a:pt x="6098" y="21229"/>
                    </a:cubicBezTo>
                    <a:cubicBezTo>
                      <a:pt x="6294" y="28412"/>
                      <a:pt x="14560" y="24673"/>
                      <a:pt x="15544" y="24771"/>
                    </a:cubicBezTo>
                    <a:close/>
                  </a:path>
                </a:pathLst>
              </a:custGeom>
              <a:grpFill/>
              <a:ln w="9835" cap="flat">
                <a:noFill/>
                <a:prstDash val="solid"/>
                <a:miter/>
              </a:ln>
            </p:spPr>
            <p:txBody>
              <a:bodyPr rtlCol="0" anchor="ctr"/>
              <a:lstStyle/>
              <a:p>
                <a:endParaRPr lang="en-IN"/>
              </a:p>
            </p:txBody>
          </p:sp>
          <p:sp>
            <p:nvSpPr>
              <p:cNvPr id="572" name="Freeform: Shape 571">
                <a:extLst>
                  <a:ext uri="{FF2B5EF4-FFF2-40B4-BE49-F238E27FC236}">
                    <a16:creationId xmlns:a16="http://schemas.microsoft.com/office/drawing/2014/main" id="{D6D72B3E-C207-D58B-F245-3729AAD739FF}"/>
                  </a:ext>
                </a:extLst>
              </p:cNvPr>
              <p:cNvSpPr/>
              <p:nvPr/>
            </p:nvSpPr>
            <p:spPr>
              <a:xfrm>
                <a:off x="12819296" y="6021299"/>
                <a:ext cx="10167" cy="11146"/>
              </a:xfrm>
              <a:custGeom>
                <a:avLst/>
                <a:gdLst>
                  <a:gd name="connsiteX0" fmla="*/ 4067 w 10167"/>
                  <a:gd name="connsiteY0" fmla="*/ 11020 h 11146"/>
                  <a:gd name="connsiteX1" fmla="*/ 10168 w 10167"/>
                  <a:gd name="connsiteY1" fmla="*/ 5510 h 11146"/>
                  <a:gd name="connsiteX2" fmla="*/ 4559 w 10167"/>
                  <a:gd name="connsiteY2" fmla="*/ 0 h 11146"/>
                  <a:gd name="connsiteX3" fmla="*/ 4067 w 10167"/>
                  <a:gd name="connsiteY3" fmla="*/ 0 h 11146"/>
                  <a:gd name="connsiteX4" fmla="*/ 4067 w 10167"/>
                  <a:gd name="connsiteY4" fmla="*/ 11020 h 11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7" h="11146">
                    <a:moveTo>
                      <a:pt x="4067" y="11020"/>
                    </a:moveTo>
                    <a:cubicBezTo>
                      <a:pt x="3084" y="11414"/>
                      <a:pt x="10168" y="11217"/>
                      <a:pt x="10168" y="5510"/>
                    </a:cubicBezTo>
                    <a:cubicBezTo>
                      <a:pt x="10168" y="2460"/>
                      <a:pt x="7708" y="0"/>
                      <a:pt x="4559" y="0"/>
                    </a:cubicBezTo>
                    <a:lnTo>
                      <a:pt x="4067" y="0"/>
                    </a:lnTo>
                    <a:cubicBezTo>
                      <a:pt x="-3312" y="0"/>
                      <a:pt x="1017" y="11020"/>
                      <a:pt x="4067" y="11020"/>
                    </a:cubicBezTo>
                    <a:close/>
                  </a:path>
                </a:pathLst>
              </a:custGeom>
              <a:grpFill/>
              <a:ln w="9835" cap="flat">
                <a:noFill/>
                <a:prstDash val="solid"/>
                <a:miter/>
              </a:ln>
            </p:spPr>
            <p:txBody>
              <a:bodyPr rtlCol="0" anchor="ctr"/>
              <a:lstStyle/>
              <a:p>
                <a:endParaRPr lang="en-IN"/>
              </a:p>
            </p:txBody>
          </p:sp>
          <p:sp>
            <p:nvSpPr>
              <p:cNvPr id="573" name="Freeform: Shape 572">
                <a:extLst>
                  <a:ext uri="{FF2B5EF4-FFF2-40B4-BE49-F238E27FC236}">
                    <a16:creationId xmlns:a16="http://schemas.microsoft.com/office/drawing/2014/main" id="{1187685F-5C0A-D573-289F-C43F3B45AB29}"/>
                  </a:ext>
                </a:extLst>
              </p:cNvPr>
              <p:cNvSpPr/>
              <p:nvPr/>
            </p:nvSpPr>
            <p:spPr>
              <a:xfrm>
                <a:off x="12410124" y="6092211"/>
                <a:ext cx="398143" cy="460031"/>
              </a:xfrm>
              <a:custGeom>
                <a:avLst/>
                <a:gdLst>
                  <a:gd name="connsiteX0" fmla="*/ 396808 w 398143"/>
                  <a:gd name="connsiteY0" fmla="*/ 18137 h 460031"/>
                  <a:gd name="connsiteX1" fmla="*/ 390215 w 398143"/>
                  <a:gd name="connsiteY1" fmla="*/ 1901 h 460031"/>
                  <a:gd name="connsiteX2" fmla="*/ 382540 w 398143"/>
                  <a:gd name="connsiteY2" fmla="*/ 1508 h 460031"/>
                  <a:gd name="connsiteX3" fmla="*/ 334228 w 398143"/>
                  <a:gd name="connsiteY3" fmla="*/ 47754 h 460031"/>
                  <a:gd name="connsiteX4" fmla="*/ 269385 w 398143"/>
                  <a:gd name="connsiteY4" fmla="*/ 47065 h 460031"/>
                  <a:gd name="connsiteX5" fmla="*/ 256790 w 398143"/>
                  <a:gd name="connsiteY5" fmla="*/ 51886 h 460031"/>
                  <a:gd name="connsiteX6" fmla="*/ 239374 w 398143"/>
                  <a:gd name="connsiteY6" fmla="*/ 46770 h 460031"/>
                  <a:gd name="connsiteX7" fmla="*/ 179156 w 398143"/>
                  <a:gd name="connsiteY7" fmla="*/ 39292 h 460031"/>
                  <a:gd name="connsiteX8" fmla="*/ 145603 w 398143"/>
                  <a:gd name="connsiteY8" fmla="*/ 23155 h 460031"/>
                  <a:gd name="connsiteX9" fmla="*/ 131040 w 398143"/>
                  <a:gd name="connsiteY9" fmla="*/ 22368 h 460031"/>
                  <a:gd name="connsiteX10" fmla="*/ 125530 w 398143"/>
                  <a:gd name="connsiteY10" fmla="*/ 38997 h 460031"/>
                  <a:gd name="connsiteX11" fmla="*/ 114510 w 398143"/>
                  <a:gd name="connsiteY11" fmla="*/ 52083 h 460031"/>
                  <a:gd name="connsiteX12" fmla="*/ 89911 w 398143"/>
                  <a:gd name="connsiteY12" fmla="*/ 48836 h 460031"/>
                  <a:gd name="connsiteX13" fmla="*/ 79185 w 398143"/>
                  <a:gd name="connsiteY13" fmla="*/ 59365 h 460031"/>
                  <a:gd name="connsiteX14" fmla="*/ 78399 w 398143"/>
                  <a:gd name="connsiteY14" fmla="*/ 72943 h 460031"/>
                  <a:gd name="connsiteX15" fmla="*/ 71609 w 398143"/>
                  <a:gd name="connsiteY15" fmla="*/ 74813 h 460031"/>
                  <a:gd name="connsiteX16" fmla="*/ 60491 w 398143"/>
                  <a:gd name="connsiteY16" fmla="*/ 109153 h 460031"/>
                  <a:gd name="connsiteX17" fmla="*/ 56751 w 398143"/>
                  <a:gd name="connsiteY17" fmla="*/ 113089 h 460031"/>
                  <a:gd name="connsiteX18" fmla="*/ 66690 w 398143"/>
                  <a:gd name="connsiteY18" fmla="*/ 152250 h 460031"/>
                  <a:gd name="connsiteX19" fmla="*/ 63639 w 398143"/>
                  <a:gd name="connsiteY19" fmla="*/ 154317 h 460031"/>
                  <a:gd name="connsiteX20" fmla="*/ 60588 w 398143"/>
                  <a:gd name="connsiteY20" fmla="*/ 152053 h 460031"/>
                  <a:gd name="connsiteX21" fmla="*/ 52815 w 398143"/>
                  <a:gd name="connsiteY21" fmla="*/ 153136 h 460031"/>
                  <a:gd name="connsiteX22" fmla="*/ 33628 w 398143"/>
                  <a:gd name="connsiteY22" fmla="*/ 180588 h 460031"/>
                  <a:gd name="connsiteX23" fmla="*/ 35399 w 398143"/>
                  <a:gd name="connsiteY23" fmla="*/ 213551 h 460031"/>
                  <a:gd name="connsiteX24" fmla="*/ 29594 w 398143"/>
                  <a:gd name="connsiteY24" fmla="*/ 225752 h 460031"/>
                  <a:gd name="connsiteX25" fmla="*/ 23788 w 398143"/>
                  <a:gd name="connsiteY25" fmla="*/ 253303 h 460031"/>
                  <a:gd name="connsiteX26" fmla="*/ 14736 w 398143"/>
                  <a:gd name="connsiteY26" fmla="*/ 268259 h 460031"/>
                  <a:gd name="connsiteX27" fmla="*/ 5684 w 398143"/>
                  <a:gd name="connsiteY27" fmla="*/ 270719 h 460031"/>
                  <a:gd name="connsiteX28" fmla="*/ 4503 w 398143"/>
                  <a:gd name="connsiteY28" fmla="*/ 270326 h 460031"/>
                  <a:gd name="connsiteX29" fmla="*/ 75 w 398143"/>
                  <a:gd name="connsiteY29" fmla="*/ 274163 h 460031"/>
                  <a:gd name="connsiteX30" fmla="*/ 7357 w 398143"/>
                  <a:gd name="connsiteY30" fmla="*/ 320114 h 460031"/>
                  <a:gd name="connsiteX31" fmla="*/ 31267 w 398143"/>
                  <a:gd name="connsiteY31" fmla="*/ 316965 h 460031"/>
                  <a:gd name="connsiteX32" fmla="*/ 45239 w 398143"/>
                  <a:gd name="connsiteY32" fmla="*/ 329068 h 460031"/>
                  <a:gd name="connsiteX33" fmla="*/ 44452 w 398143"/>
                  <a:gd name="connsiteY33" fmla="*/ 330741 h 460031"/>
                  <a:gd name="connsiteX34" fmla="*/ 50356 w 398143"/>
                  <a:gd name="connsiteY34" fmla="*/ 373051 h 460031"/>
                  <a:gd name="connsiteX35" fmla="*/ 35399 w 398143"/>
                  <a:gd name="connsiteY35" fmla="*/ 435828 h 460031"/>
                  <a:gd name="connsiteX36" fmla="*/ 55374 w 398143"/>
                  <a:gd name="connsiteY36" fmla="*/ 458557 h 460031"/>
                  <a:gd name="connsiteX37" fmla="*/ 65804 w 398143"/>
                  <a:gd name="connsiteY37" fmla="*/ 455211 h 460031"/>
                  <a:gd name="connsiteX38" fmla="*/ 83220 w 398143"/>
                  <a:gd name="connsiteY38" fmla="*/ 449603 h 460031"/>
                  <a:gd name="connsiteX39" fmla="*/ 93846 w 398143"/>
                  <a:gd name="connsiteY39" fmla="*/ 425004 h 460031"/>
                  <a:gd name="connsiteX40" fmla="*/ 99947 w 398143"/>
                  <a:gd name="connsiteY40" fmla="*/ 400405 h 460031"/>
                  <a:gd name="connsiteX41" fmla="*/ 99259 w 398143"/>
                  <a:gd name="connsiteY41" fmla="*/ 314702 h 460031"/>
                  <a:gd name="connsiteX42" fmla="*/ 86565 w 398143"/>
                  <a:gd name="connsiteY42" fmla="*/ 288332 h 460031"/>
                  <a:gd name="connsiteX43" fmla="*/ 117757 w 398143"/>
                  <a:gd name="connsiteY43" fmla="*/ 268456 h 460031"/>
                  <a:gd name="connsiteX44" fmla="*/ 137436 w 398143"/>
                  <a:gd name="connsiteY44" fmla="*/ 270424 h 460031"/>
                  <a:gd name="connsiteX45" fmla="*/ 142749 w 398143"/>
                  <a:gd name="connsiteY45" fmla="*/ 298565 h 460031"/>
                  <a:gd name="connsiteX46" fmla="*/ 134385 w 398143"/>
                  <a:gd name="connsiteY46" fmla="*/ 325920 h 460031"/>
                  <a:gd name="connsiteX47" fmla="*/ 157804 w 398143"/>
                  <a:gd name="connsiteY47" fmla="*/ 348845 h 460031"/>
                  <a:gd name="connsiteX48" fmla="*/ 169316 w 398143"/>
                  <a:gd name="connsiteY48" fmla="*/ 354552 h 460031"/>
                  <a:gd name="connsiteX49" fmla="*/ 173744 w 398143"/>
                  <a:gd name="connsiteY49" fmla="*/ 361342 h 460031"/>
                  <a:gd name="connsiteX50" fmla="*/ 167840 w 398143"/>
                  <a:gd name="connsiteY50" fmla="*/ 392238 h 460031"/>
                  <a:gd name="connsiteX51" fmla="*/ 172170 w 398143"/>
                  <a:gd name="connsiteY51" fmla="*/ 399028 h 460031"/>
                  <a:gd name="connsiteX52" fmla="*/ 198245 w 398143"/>
                  <a:gd name="connsiteY52" fmla="*/ 405522 h 460031"/>
                  <a:gd name="connsiteX53" fmla="*/ 206707 w 398143"/>
                  <a:gd name="connsiteY53" fmla="*/ 384367 h 460031"/>
                  <a:gd name="connsiteX54" fmla="*/ 246164 w 398143"/>
                  <a:gd name="connsiteY54" fmla="*/ 377675 h 460031"/>
                  <a:gd name="connsiteX55" fmla="*/ 249214 w 398143"/>
                  <a:gd name="connsiteY55" fmla="*/ 365573 h 460031"/>
                  <a:gd name="connsiteX56" fmla="*/ 215562 w 398143"/>
                  <a:gd name="connsiteY56" fmla="*/ 335759 h 460031"/>
                  <a:gd name="connsiteX57" fmla="*/ 211528 w 398143"/>
                  <a:gd name="connsiteY57" fmla="*/ 319524 h 460031"/>
                  <a:gd name="connsiteX58" fmla="*/ 222351 w 398143"/>
                  <a:gd name="connsiteY58" fmla="*/ 304174 h 460031"/>
                  <a:gd name="connsiteX59" fmla="*/ 186339 w 398143"/>
                  <a:gd name="connsiteY59" fmla="*/ 250646 h 460031"/>
                  <a:gd name="connsiteX60" fmla="*/ 159280 w 398143"/>
                  <a:gd name="connsiteY60" fmla="*/ 231951 h 460031"/>
                  <a:gd name="connsiteX61" fmla="*/ 156919 w 398143"/>
                  <a:gd name="connsiteY61" fmla="*/ 219061 h 460031"/>
                  <a:gd name="connsiteX62" fmla="*/ 184765 w 398143"/>
                  <a:gd name="connsiteY62" fmla="*/ 216995 h 460031"/>
                  <a:gd name="connsiteX63" fmla="*/ 185748 w 398143"/>
                  <a:gd name="connsiteY63" fmla="*/ 214535 h 460031"/>
                  <a:gd name="connsiteX64" fmla="*/ 214874 w 398143"/>
                  <a:gd name="connsiteY64" fmla="*/ 203219 h 460031"/>
                  <a:gd name="connsiteX65" fmla="*/ 244589 w 398143"/>
                  <a:gd name="connsiteY65" fmla="*/ 170159 h 460031"/>
                  <a:gd name="connsiteX66" fmla="*/ 261119 w 398143"/>
                  <a:gd name="connsiteY66" fmla="*/ 161795 h 460031"/>
                  <a:gd name="connsiteX67" fmla="*/ 281979 w 398143"/>
                  <a:gd name="connsiteY67" fmla="*/ 169568 h 460031"/>
                  <a:gd name="connsiteX68" fmla="*/ 290737 w 398143"/>
                  <a:gd name="connsiteY68" fmla="*/ 158744 h 460031"/>
                  <a:gd name="connsiteX69" fmla="*/ 275092 w 398143"/>
                  <a:gd name="connsiteY69" fmla="*/ 139655 h 460031"/>
                  <a:gd name="connsiteX70" fmla="*/ 253838 w 398143"/>
                  <a:gd name="connsiteY70" fmla="*/ 147232 h 460031"/>
                  <a:gd name="connsiteX71" fmla="*/ 220286 w 398143"/>
                  <a:gd name="connsiteY71" fmla="*/ 151365 h 460031"/>
                  <a:gd name="connsiteX72" fmla="*/ 206510 w 398143"/>
                  <a:gd name="connsiteY72" fmla="*/ 161991 h 460031"/>
                  <a:gd name="connsiteX73" fmla="*/ 178861 w 398143"/>
                  <a:gd name="connsiteY73" fmla="*/ 159335 h 460031"/>
                  <a:gd name="connsiteX74" fmla="*/ 147079 w 398143"/>
                  <a:gd name="connsiteY74" fmla="*/ 187968 h 460031"/>
                  <a:gd name="connsiteX75" fmla="*/ 124349 w 398143"/>
                  <a:gd name="connsiteY75" fmla="*/ 192199 h 460031"/>
                  <a:gd name="connsiteX76" fmla="*/ 110869 w 398143"/>
                  <a:gd name="connsiteY76" fmla="*/ 170946 h 460031"/>
                  <a:gd name="connsiteX77" fmla="*/ 86762 w 398143"/>
                  <a:gd name="connsiteY77" fmla="*/ 155989 h 460031"/>
                  <a:gd name="connsiteX78" fmla="*/ 79481 w 398143"/>
                  <a:gd name="connsiteY78" fmla="*/ 125683 h 460031"/>
                  <a:gd name="connsiteX79" fmla="*/ 90501 w 398143"/>
                  <a:gd name="connsiteY79" fmla="*/ 84357 h 460031"/>
                  <a:gd name="connsiteX80" fmla="*/ 110279 w 398143"/>
                  <a:gd name="connsiteY80" fmla="*/ 74321 h 460031"/>
                  <a:gd name="connsiteX81" fmla="*/ 140880 w 398143"/>
                  <a:gd name="connsiteY81" fmla="*/ 79536 h 460031"/>
                  <a:gd name="connsiteX82" fmla="*/ 261907 w 398143"/>
                  <a:gd name="connsiteY82" fmla="*/ 77273 h 460031"/>
                  <a:gd name="connsiteX83" fmla="*/ 276273 w 398143"/>
                  <a:gd name="connsiteY83" fmla="*/ 85144 h 460031"/>
                  <a:gd name="connsiteX84" fmla="*/ 348102 w 398143"/>
                  <a:gd name="connsiteY84" fmla="*/ 77470 h 460031"/>
                  <a:gd name="connsiteX85" fmla="*/ 396414 w 398143"/>
                  <a:gd name="connsiteY85" fmla="*/ 17743 h 46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98143" h="460031">
                    <a:moveTo>
                      <a:pt x="396808" y="18137"/>
                    </a:moveTo>
                    <a:cubicBezTo>
                      <a:pt x="401531" y="11544"/>
                      <a:pt x="392380" y="5444"/>
                      <a:pt x="390215" y="1901"/>
                    </a:cubicBezTo>
                    <a:cubicBezTo>
                      <a:pt x="388248" y="-460"/>
                      <a:pt x="384803" y="-657"/>
                      <a:pt x="382540" y="1508"/>
                    </a:cubicBezTo>
                    <a:lnTo>
                      <a:pt x="334228" y="47754"/>
                    </a:lnTo>
                    <a:cubicBezTo>
                      <a:pt x="328816" y="52871"/>
                      <a:pt x="327635" y="51395"/>
                      <a:pt x="269385" y="47065"/>
                    </a:cubicBezTo>
                    <a:cubicBezTo>
                      <a:pt x="262300" y="46573"/>
                      <a:pt x="257873" y="51395"/>
                      <a:pt x="256790" y="51886"/>
                    </a:cubicBezTo>
                    <a:cubicBezTo>
                      <a:pt x="250001" y="57003"/>
                      <a:pt x="243015" y="48541"/>
                      <a:pt x="239374" y="46770"/>
                    </a:cubicBezTo>
                    <a:cubicBezTo>
                      <a:pt x="233274" y="42834"/>
                      <a:pt x="232290" y="43523"/>
                      <a:pt x="179156" y="39292"/>
                    </a:cubicBezTo>
                    <a:cubicBezTo>
                      <a:pt x="171776" y="38702"/>
                      <a:pt x="167742" y="35553"/>
                      <a:pt x="145603" y="23155"/>
                    </a:cubicBezTo>
                    <a:cubicBezTo>
                      <a:pt x="139404" y="19711"/>
                      <a:pt x="132024" y="22368"/>
                      <a:pt x="131040" y="22368"/>
                    </a:cubicBezTo>
                    <a:cubicBezTo>
                      <a:pt x="123070" y="23942"/>
                      <a:pt x="126219" y="34569"/>
                      <a:pt x="125530" y="38997"/>
                    </a:cubicBezTo>
                    <a:cubicBezTo>
                      <a:pt x="125530" y="46868"/>
                      <a:pt x="116674" y="50115"/>
                      <a:pt x="114510" y="52083"/>
                    </a:cubicBezTo>
                    <a:cubicBezTo>
                      <a:pt x="104867" y="58676"/>
                      <a:pt x="97291" y="40177"/>
                      <a:pt x="89911" y="48836"/>
                    </a:cubicBezTo>
                    <a:cubicBezTo>
                      <a:pt x="89911" y="48836"/>
                      <a:pt x="80859" y="59365"/>
                      <a:pt x="79185" y="59365"/>
                    </a:cubicBezTo>
                    <a:cubicBezTo>
                      <a:pt x="77513" y="59365"/>
                      <a:pt x="78399" y="71664"/>
                      <a:pt x="78399" y="72943"/>
                    </a:cubicBezTo>
                    <a:cubicBezTo>
                      <a:pt x="78399" y="74222"/>
                      <a:pt x="71609" y="74813"/>
                      <a:pt x="71609" y="74813"/>
                    </a:cubicBezTo>
                    <a:cubicBezTo>
                      <a:pt x="58523" y="76092"/>
                      <a:pt x="72888" y="112695"/>
                      <a:pt x="60491" y="109153"/>
                    </a:cubicBezTo>
                    <a:cubicBezTo>
                      <a:pt x="57637" y="108366"/>
                      <a:pt x="55964" y="110137"/>
                      <a:pt x="56751" y="113089"/>
                    </a:cubicBezTo>
                    <a:lnTo>
                      <a:pt x="66690" y="152250"/>
                    </a:lnTo>
                    <a:cubicBezTo>
                      <a:pt x="67476" y="155202"/>
                      <a:pt x="66099" y="156186"/>
                      <a:pt x="63639" y="154317"/>
                    </a:cubicBezTo>
                    <a:lnTo>
                      <a:pt x="60588" y="152053"/>
                    </a:lnTo>
                    <a:cubicBezTo>
                      <a:pt x="58129" y="150184"/>
                      <a:pt x="54685" y="150676"/>
                      <a:pt x="52815" y="153136"/>
                    </a:cubicBezTo>
                    <a:cubicBezTo>
                      <a:pt x="52815" y="153136"/>
                      <a:pt x="33628" y="179014"/>
                      <a:pt x="33628" y="180588"/>
                    </a:cubicBezTo>
                    <a:cubicBezTo>
                      <a:pt x="33628" y="182163"/>
                      <a:pt x="35399" y="213551"/>
                      <a:pt x="35399" y="213551"/>
                    </a:cubicBezTo>
                    <a:cubicBezTo>
                      <a:pt x="35793" y="220832"/>
                      <a:pt x="30479" y="224571"/>
                      <a:pt x="29594" y="225752"/>
                    </a:cubicBezTo>
                    <a:cubicBezTo>
                      <a:pt x="24773" y="230967"/>
                      <a:pt x="25265" y="236773"/>
                      <a:pt x="23788" y="253303"/>
                    </a:cubicBezTo>
                    <a:cubicBezTo>
                      <a:pt x="23100" y="260978"/>
                      <a:pt x="16507" y="265898"/>
                      <a:pt x="14736" y="268259"/>
                    </a:cubicBezTo>
                    <a:cubicBezTo>
                      <a:pt x="12670" y="270523"/>
                      <a:pt x="8636" y="271605"/>
                      <a:pt x="5684" y="270719"/>
                    </a:cubicBezTo>
                    <a:lnTo>
                      <a:pt x="4503" y="270326"/>
                    </a:lnTo>
                    <a:cubicBezTo>
                      <a:pt x="1551" y="269440"/>
                      <a:pt x="-417" y="271113"/>
                      <a:pt x="75" y="274163"/>
                    </a:cubicBezTo>
                    <a:lnTo>
                      <a:pt x="7357" y="320114"/>
                    </a:lnTo>
                    <a:cubicBezTo>
                      <a:pt x="8734" y="328871"/>
                      <a:pt x="20542" y="319818"/>
                      <a:pt x="31267" y="316965"/>
                    </a:cubicBezTo>
                    <a:cubicBezTo>
                      <a:pt x="38548" y="314210"/>
                      <a:pt x="48289" y="322278"/>
                      <a:pt x="45239" y="329068"/>
                    </a:cubicBezTo>
                    <a:lnTo>
                      <a:pt x="44452" y="330741"/>
                    </a:lnTo>
                    <a:cubicBezTo>
                      <a:pt x="41303" y="337727"/>
                      <a:pt x="43566" y="341466"/>
                      <a:pt x="50356" y="373051"/>
                    </a:cubicBezTo>
                    <a:cubicBezTo>
                      <a:pt x="52028" y="380824"/>
                      <a:pt x="49962" y="383874"/>
                      <a:pt x="35399" y="435828"/>
                    </a:cubicBezTo>
                    <a:cubicBezTo>
                      <a:pt x="33432" y="442715"/>
                      <a:pt x="38351" y="444781"/>
                      <a:pt x="55374" y="458557"/>
                    </a:cubicBezTo>
                    <a:cubicBezTo>
                      <a:pt x="60884" y="463084"/>
                      <a:pt x="64820" y="455802"/>
                      <a:pt x="65804" y="455211"/>
                    </a:cubicBezTo>
                    <a:cubicBezTo>
                      <a:pt x="71019" y="449308"/>
                      <a:pt x="79185" y="450489"/>
                      <a:pt x="83220" y="449603"/>
                    </a:cubicBezTo>
                    <a:cubicBezTo>
                      <a:pt x="103784" y="447438"/>
                      <a:pt x="112935" y="470463"/>
                      <a:pt x="93846" y="425004"/>
                    </a:cubicBezTo>
                    <a:cubicBezTo>
                      <a:pt x="91289" y="418805"/>
                      <a:pt x="93846" y="414574"/>
                      <a:pt x="99947" y="400405"/>
                    </a:cubicBezTo>
                    <a:cubicBezTo>
                      <a:pt x="102801" y="393615"/>
                      <a:pt x="102112" y="392140"/>
                      <a:pt x="99259" y="314702"/>
                    </a:cubicBezTo>
                    <a:cubicBezTo>
                      <a:pt x="98766" y="301321"/>
                      <a:pt x="76923" y="294433"/>
                      <a:pt x="86565" y="288332"/>
                    </a:cubicBezTo>
                    <a:lnTo>
                      <a:pt x="117757" y="268456"/>
                    </a:lnTo>
                    <a:cubicBezTo>
                      <a:pt x="124644" y="264028"/>
                      <a:pt x="132910" y="269538"/>
                      <a:pt x="137436" y="270424"/>
                    </a:cubicBezTo>
                    <a:cubicBezTo>
                      <a:pt x="146095" y="273277"/>
                      <a:pt x="141569" y="285282"/>
                      <a:pt x="142749" y="298565"/>
                    </a:cubicBezTo>
                    <a:cubicBezTo>
                      <a:pt x="142749" y="311356"/>
                      <a:pt x="127006" y="318638"/>
                      <a:pt x="134385" y="325920"/>
                    </a:cubicBezTo>
                    <a:lnTo>
                      <a:pt x="157804" y="348845"/>
                    </a:lnTo>
                    <a:cubicBezTo>
                      <a:pt x="162527" y="353470"/>
                      <a:pt x="168234" y="354159"/>
                      <a:pt x="169316" y="354552"/>
                    </a:cubicBezTo>
                    <a:cubicBezTo>
                      <a:pt x="172268" y="355241"/>
                      <a:pt x="174236" y="358292"/>
                      <a:pt x="173744" y="361342"/>
                    </a:cubicBezTo>
                    <a:lnTo>
                      <a:pt x="167840" y="392238"/>
                    </a:lnTo>
                    <a:cubicBezTo>
                      <a:pt x="167250" y="395289"/>
                      <a:pt x="169218" y="398339"/>
                      <a:pt x="172170" y="399028"/>
                    </a:cubicBezTo>
                    <a:lnTo>
                      <a:pt x="198245" y="405522"/>
                    </a:lnTo>
                    <a:cubicBezTo>
                      <a:pt x="209659" y="408375"/>
                      <a:pt x="195096" y="386433"/>
                      <a:pt x="206707" y="384367"/>
                    </a:cubicBezTo>
                    <a:lnTo>
                      <a:pt x="246164" y="377675"/>
                    </a:lnTo>
                    <a:cubicBezTo>
                      <a:pt x="253543" y="376396"/>
                      <a:pt x="249214" y="367245"/>
                      <a:pt x="249214" y="365573"/>
                    </a:cubicBezTo>
                    <a:cubicBezTo>
                      <a:pt x="247738" y="358685"/>
                      <a:pt x="245376" y="358095"/>
                      <a:pt x="215562" y="335759"/>
                    </a:cubicBezTo>
                    <a:cubicBezTo>
                      <a:pt x="209265" y="331036"/>
                      <a:pt x="211824" y="322180"/>
                      <a:pt x="211528" y="319524"/>
                    </a:cubicBezTo>
                    <a:cubicBezTo>
                      <a:pt x="211824" y="311356"/>
                      <a:pt x="219498" y="307519"/>
                      <a:pt x="222351" y="304174"/>
                    </a:cubicBezTo>
                    <a:cubicBezTo>
                      <a:pt x="227960" y="298959"/>
                      <a:pt x="224418" y="298073"/>
                      <a:pt x="186339" y="250646"/>
                    </a:cubicBezTo>
                    <a:cubicBezTo>
                      <a:pt x="181419" y="244447"/>
                      <a:pt x="172563" y="240019"/>
                      <a:pt x="159280" y="231951"/>
                    </a:cubicBezTo>
                    <a:cubicBezTo>
                      <a:pt x="153081" y="228212"/>
                      <a:pt x="156820" y="220242"/>
                      <a:pt x="156919" y="219061"/>
                    </a:cubicBezTo>
                    <a:cubicBezTo>
                      <a:pt x="159870" y="206959"/>
                      <a:pt x="180337" y="228704"/>
                      <a:pt x="184765" y="216995"/>
                    </a:cubicBezTo>
                    <a:lnTo>
                      <a:pt x="185748" y="214535"/>
                    </a:lnTo>
                    <a:cubicBezTo>
                      <a:pt x="188208" y="208238"/>
                      <a:pt x="192144" y="208336"/>
                      <a:pt x="214874" y="203219"/>
                    </a:cubicBezTo>
                    <a:cubicBezTo>
                      <a:pt x="222057" y="201547"/>
                      <a:pt x="223729" y="197512"/>
                      <a:pt x="244589" y="170159"/>
                    </a:cubicBezTo>
                    <a:cubicBezTo>
                      <a:pt x="249410" y="163861"/>
                      <a:pt x="258069" y="163074"/>
                      <a:pt x="261119" y="161795"/>
                    </a:cubicBezTo>
                    <a:cubicBezTo>
                      <a:pt x="269188" y="159335"/>
                      <a:pt x="275879" y="166616"/>
                      <a:pt x="281979" y="169568"/>
                    </a:cubicBezTo>
                    <a:cubicBezTo>
                      <a:pt x="288769" y="173701"/>
                      <a:pt x="289359" y="161500"/>
                      <a:pt x="290737" y="158744"/>
                    </a:cubicBezTo>
                    <a:cubicBezTo>
                      <a:pt x="293197" y="150282"/>
                      <a:pt x="281882" y="146248"/>
                      <a:pt x="275092" y="139655"/>
                    </a:cubicBezTo>
                    <a:cubicBezTo>
                      <a:pt x="268303" y="134244"/>
                      <a:pt x="260825" y="143690"/>
                      <a:pt x="253838" y="147232"/>
                    </a:cubicBezTo>
                    <a:cubicBezTo>
                      <a:pt x="247639" y="151267"/>
                      <a:pt x="242031" y="150479"/>
                      <a:pt x="220286" y="151365"/>
                    </a:cubicBezTo>
                    <a:cubicBezTo>
                      <a:pt x="212414" y="151660"/>
                      <a:pt x="208576" y="159925"/>
                      <a:pt x="206510" y="161991"/>
                    </a:cubicBezTo>
                    <a:cubicBezTo>
                      <a:pt x="200901" y="169076"/>
                      <a:pt x="190767" y="161697"/>
                      <a:pt x="178861" y="159335"/>
                    </a:cubicBezTo>
                    <a:cubicBezTo>
                      <a:pt x="171973" y="157269"/>
                      <a:pt x="170300" y="161401"/>
                      <a:pt x="147079" y="187968"/>
                    </a:cubicBezTo>
                    <a:cubicBezTo>
                      <a:pt x="141372" y="194462"/>
                      <a:pt x="131631" y="191510"/>
                      <a:pt x="124349" y="192199"/>
                    </a:cubicBezTo>
                    <a:cubicBezTo>
                      <a:pt x="115592" y="192199"/>
                      <a:pt x="115395" y="180097"/>
                      <a:pt x="110869" y="170946"/>
                    </a:cubicBezTo>
                    <a:cubicBezTo>
                      <a:pt x="106736" y="159729"/>
                      <a:pt x="89419" y="167403"/>
                      <a:pt x="86762" y="155989"/>
                    </a:cubicBezTo>
                    <a:lnTo>
                      <a:pt x="79481" y="125683"/>
                    </a:lnTo>
                    <a:cubicBezTo>
                      <a:pt x="77710" y="118009"/>
                      <a:pt x="81055" y="112006"/>
                      <a:pt x="90501" y="84357"/>
                    </a:cubicBezTo>
                    <a:cubicBezTo>
                      <a:pt x="93256" y="76288"/>
                      <a:pt x="104276" y="76584"/>
                      <a:pt x="110279" y="74321"/>
                    </a:cubicBezTo>
                    <a:cubicBezTo>
                      <a:pt x="120119" y="71763"/>
                      <a:pt x="128974" y="79733"/>
                      <a:pt x="140880" y="79536"/>
                    </a:cubicBezTo>
                    <a:lnTo>
                      <a:pt x="261907" y="77273"/>
                    </a:lnTo>
                    <a:cubicBezTo>
                      <a:pt x="269484" y="77174"/>
                      <a:pt x="274502" y="83865"/>
                      <a:pt x="276273" y="85144"/>
                    </a:cubicBezTo>
                    <a:cubicBezTo>
                      <a:pt x="281882" y="90261"/>
                      <a:pt x="282668" y="88490"/>
                      <a:pt x="348102" y="77470"/>
                    </a:cubicBezTo>
                    <a:cubicBezTo>
                      <a:pt x="355580" y="76191"/>
                      <a:pt x="354596" y="75206"/>
                      <a:pt x="396414" y="17743"/>
                    </a:cubicBezTo>
                    <a:close/>
                  </a:path>
                </a:pathLst>
              </a:custGeom>
              <a:grpFill/>
              <a:ln w="9835" cap="flat">
                <a:noFill/>
                <a:prstDash val="solid"/>
                <a:miter/>
              </a:ln>
            </p:spPr>
            <p:txBody>
              <a:bodyPr rtlCol="0" anchor="ctr"/>
              <a:lstStyle/>
              <a:p>
                <a:endParaRPr lang="en-IN"/>
              </a:p>
            </p:txBody>
          </p:sp>
          <p:sp>
            <p:nvSpPr>
              <p:cNvPr id="574" name="Freeform: Shape 573">
                <a:extLst>
                  <a:ext uri="{FF2B5EF4-FFF2-40B4-BE49-F238E27FC236}">
                    <a16:creationId xmlns:a16="http://schemas.microsoft.com/office/drawing/2014/main" id="{2BD8D9FC-D846-E78E-7968-EB96B2CA01E8}"/>
                  </a:ext>
                </a:extLst>
              </p:cNvPr>
              <p:cNvSpPr/>
              <p:nvPr/>
            </p:nvSpPr>
            <p:spPr>
              <a:xfrm>
                <a:off x="12588148" y="6214272"/>
                <a:ext cx="29648" cy="17045"/>
              </a:xfrm>
              <a:custGeom>
                <a:avLst/>
                <a:gdLst>
                  <a:gd name="connsiteX0" fmla="*/ 14514 w 29648"/>
                  <a:gd name="connsiteY0" fmla="*/ 2244 h 17045"/>
                  <a:gd name="connsiteX1" fmla="*/ 2706 w 29648"/>
                  <a:gd name="connsiteY1" fmla="*/ 16315 h 17045"/>
                  <a:gd name="connsiteX2" fmla="*/ 18646 w 29648"/>
                  <a:gd name="connsiteY2" fmla="*/ 14150 h 17045"/>
                  <a:gd name="connsiteX3" fmla="*/ 27010 w 29648"/>
                  <a:gd name="connsiteY3" fmla="*/ 1064 h 17045"/>
                  <a:gd name="connsiteX4" fmla="*/ 14415 w 29648"/>
                  <a:gd name="connsiteY4" fmla="*/ 2244 h 17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48" h="17045">
                    <a:moveTo>
                      <a:pt x="14514" y="2244"/>
                    </a:moveTo>
                    <a:cubicBezTo>
                      <a:pt x="9102" y="7263"/>
                      <a:pt x="-6149" y="15233"/>
                      <a:pt x="2706" y="16315"/>
                    </a:cubicBezTo>
                    <a:cubicBezTo>
                      <a:pt x="4773" y="16315"/>
                      <a:pt x="12841" y="18972"/>
                      <a:pt x="18646" y="14150"/>
                    </a:cubicBezTo>
                    <a:cubicBezTo>
                      <a:pt x="22091" y="10411"/>
                      <a:pt x="35177" y="3327"/>
                      <a:pt x="27010" y="1064"/>
                    </a:cubicBezTo>
                    <a:cubicBezTo>
                      <a:pt x="27010" y="1064"/>
                      <a:pt x="19925" y="-1987"/>
                      <a:pt x="14415" y="2244"/>
                    </a:cubicBezTo>
                    <a:close/>
                  </a:path>
                </a:pathLst>
              </a:custGeom>
              <a:grpFill/>
              <a:ln w="9835" cap="flat">
                <a:noFill/>
                <a:prstDash val="solid"/>
                <a:miter/>
              </a:ln>
            </p:spPr>
            <p:txBody>
              <a:bodyPr rtlCol="0" anchor="ctr"/>
              <a:lstStyle/>
              <a:p>
                <a:endParaRPr lang="en-IN"/>
              </a:p>
            </p:txBody>
          </p:sp>
          <p:sp>
            <p:nvSpPr>
              <p:cNvPr id="575" name="Freeform: Shape 574">
                <a:extLst>
                  <a:ext uri="{FF2B5EF4-FFF2-40B4-BE49-F238E27FC236}">
                    <a16:creationId xmlns:a16="http://schemas.microsoft.com/office/drawing/2014/main" id="{0673F42B-C5A1-96FF-4C9A-B77C272D0BF4}"/>
                  </a:ext>
                </a:extLst>
              </p:cNvPr>
              <p:cNvSpPr/>
              <p:nvPr/>
            </p:nvSpPr>
            <p:spPr>
              <a:xfrm>
                <a:off x="12660995" y="6274026"/>
                <a:ext cx="19825" cy="18835"/>
              </a:xfrm>
              <a:custGeom>
                <a:avLst/>
                <a:gdLst>
                  <a:gd name="connsiteX0" fmla="*/ 18514 w 19825"/>
                  <a:gd name="connsiteY0" fmla="*/ 5857 h 18835"/>
                  <a:gd name="connsiteX1" fmla="*/ 10150 w 19825"/>
                  <a:gd name="connsiteY1" fmla="*/ 52 h 18835"/>
                  <a:gd name="connsiteX2" fmla="*/ 2082 w 19825"/>
                  <a:gd name="connsiteY2" fmla="*/ 4283 h 18835"/>
                  <a:gd name="connsiteX3" fmla="*/ 1196 w 19825"/>
                  <a:gd name="connsiteY3" fmla="*/ 16386 h 18835"/>
                  <a:gd name="connsiteX4" fmla="*/ 1196 w 19825"/>
                  <a:gd name="connsiteY4" fmla="*/ 16583 h 18835"/>
                  <a:gd name="connsiteX5" fmla="*/ 18415 w 19825"/>
                  <a:gd name="connsiteY5" fmla="*/ 5857 h 1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25" h="18835">
                    <a:moveTo>
                      <a:pt x="18514" y="5857"/>
                    </a:moveTo>
                    <a:cubicBezTo>
                      <a:pt x="23728" y="151"/>
                      <a:pt x="11823" y="643"/>
                      <a:pt x="10150" y="52"/>
                    </a:cubicBezTo>
                    <a:cubicBezTo>
                      <a:pt x="7100" y="-342"/>
                      <a:pt x="3459" y="1528"/>
                      <a:pt x="2082" y="4283"/>
                    </a:cubicBezTo>
                    <a:cubicBezTo>
                      <a:pt x="2376" y="3300"/>
                      <a:pt x="-2051" y="10777"/>
                      <a:pt x="1196" y="16386"/>
                    </a:cubicBezTo>
                    <a:lnTo>
                      <a:pt x="1196" y="16583"/>
                    </a:lnTo>
                    <a:cubicBezTo>
                      <a:pt x="5722" y="24160"/>
                      <a:pt x="12806" y="10581"/>
                      <a:pt x="18415" y="5857"/>
                    </a:cubicBezTo>
                    <a:close/>
                  </a:path>
                </a:pathLst>
              </a:custGeom>
              <a:grpFill/>
              <a:ln w="9835" cap="flat">
                <a:noFill/>
                <a:prstDash val="solid"/>
                <a:miter/>
              </a:ln>
            </p:spPr>
            <p:txBody>
              <a:bodyPr rtlCol="0" anchor="ctr"/>
              <a:lstStyle/>
              <a:p>
                <a:endParaRPr lang="en-IN"/>
              </a:p>
            </p:txBody>
          </p:sp>
          <p:sp>
            <p:nvSpPr>
              <p:cNvPr id="576" name="Freeform: Shape 575">
                <a:extLst>
                  <a:ext uri="{FF2B5EF4-FFF2-40B4-BE49-F238E27FC236}">
                    <a16:creationId xmlns:a16="http://schemas.microsoft.com/office/drawing/2014/main" id="{A7ED2A4D-9EEE-096D-0A2E-F350FB65EAF3}"/>
                  </a:ext>
                </a:extLst>
              </p:cNvPr>
              <p:cNvSpPr/>
              <p:nvPr/>
            </p:nvSpPr>
            <p:spPr>
              <a:xfrm>
                <a:off x="12686062" y="6275890"/>
                <a:ext cx="24269" cy="20812"/>
              </a:xfrm>
              <a:custGeom>
                <a:avLst/>
                <a:gdLst>
                  <a:gd name="connsiteX0" fmla="*/ 15979 w 24269"/>
                  <a:gd name="connsiteY0" fmla="*/ 11570 h 20812"/>
                  <a:gd name="connsiteX1" fmla="*/ 18734 w 24269"/>
                  <a:gd name="connsiteY1" fmla="*/ 11570 h 20812"/>
                  <a:gd name="connsiteX2" fmla="*/ 18734 w 24269"/>
                  <a:gd name="connsiteY2" fmla="*/ 254 h 20812"/>
                  <a:gd name="connsiteX3" fmla="*/ 6533 w 24269"/>
                  <a:gd name="connsiteY3" fmla="*/ 3600 h 20812"/>
                  <a:gd name="connsiteX4" fmla="*/ 138 w 24269"/>
                  <a:gd name="connsiteY4" fmla="*/ 16883 h 20812"/>
                  <a:gd name="connsiteX5" fmla="*/ 334 w 24269"/>
                  <a:gd name="connsiteY5" fmla="*/ 18162 h 20812"/>
                  <a:gd name="connsiteX6" fmla="*/ 4565 w 24269"/>
                  <a:gd name="connsiteY6" fmla="*/ 19245 h 20812"/>
                  <a:gd name="connsiteX7" fmla="*/ 15881 w 24269"/>
                  <a:gd name="connsiteY7" fmla="*/ 11669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69" h="20812">
                    <a:moveTo>
                      <a:pt x="15979" y="11570"/>
                    </a:moveTo>
                    <a:lnTo>
                      <a:pt x="18734" y="11570"/>
                    </a:lnTo>
                    <a:cubicBezTo>
                      <a:pt x="26114" y="11570"/>
                      <a:pt x="26114" y="845"/>
                      <a:pt x="18734" y="254"/>
                    </a:cubicBezTo>
                    <a:cubicBezTo>
                      <a:pt x="17750" y="353"/>
                      <a:pt x="11256" y="-1517"/>
                      <a:pt x="6533" y="3600"/>
                    </a:cubicBezTo>
                    <a:cubicBezTo>
                      <a:pt x="5746" y="4682"/>
                      <a:pt x="-1043" y="9602"/>
                      <a:pt x="138" y="16883"/>
                    </a:cubicBezTo>
                    <a:lnTo>
                      <a:pt x="334" y="18162"/>
                    </a:lnTo>
                    <a:cubicBezTo>
                      <a:pt x="826" y="21213"/>
                      <a:pt x="2794" y="21705"/>
                      <a:pt x="4565" y="19245"/>
                    </a:cubicBezTo>
                    <a:cubicBezTo>
                      <a:pt x="5549" y="18359"/>
                      <a:pt x="8599" y="11669"/>
                      <a:pt x="15881" y="11669"/>
                    </a:cubicBezTo>
                    <a:close/>
                  </a:path>
                </a:pathLst>
              </a:custGeom>
              <a:grpFill/>
              <a:ln w="9835" cap="flat">
                <a:noFill/>
                <a:prstDash val="solid"/>
                <a:miter/>
              </a:ln>
            </p:spPr>
            <p:txBody>
              <a:bodyPr rtlCol="0" anchor="ctr"/>
              <a:lstStyle/>
              <a:p>
                <a:endParaRPr lang="en-IN"/>
              </a:p>
            </p:txBody>
          </p:sp>
          <p:sp>
            <p:nvSpPr>
              <p:cNvPr id="577" name="Freeform: Shape 576">
                <a:extLst>
                  <a:ext uri="{FF2B5EF4-FFF2-40B4-BE49-F238E27FC236}">
                    <a16:creationId xmlns:a16="http://schemas.microsoft.com/office/drawing/2014/main" id="{5699F57D-044E-075E-6E43-5189AD8AC673}"/>
                  </a:ext>
                </a:extLst>
              </p:cNvPr>
              <p:cNvSpPr/>
              <p:nvPr/>
            </p:nvSpPr>
            <p:spPr>
              <a:xfrm>
                <a:off x="12702005" y="6296249"/>
                <a:ext cx="11049" cy="10607"/>
              </a:xfrm>
              <a:custGeom>
                <a:avLst/>
                <a:gdLst>
                  <a:gd name="connsiteX0" fmla="*/ 135 w 11049"/>
                  <a:gd name="connsiteY0" fmla="*/ 4691 h 10607"/>
                  <a:gd name="connsiteX1" fmla="*/ 135 w 11049"/>
                  <a:gd name="connsiteY1" fmla="*/ 5183 h 10607"/>
                  <a:gd name="connsiteX2" fmla="*/ 10959 w 11049"/>
                  <a:gd name="connsiteY2" fmla="*/ 5773 h 10607"/>
                  <a:gd name="connsiteX3" fmla="*/ 135 w 11049"/>
                  <a:gd name="connsiteY3" fmla="*/ 4691 h 10607"/>
                </a:gdLst>
                <a:ahLst/>
                <a:cxnLst>
                  <a:cxn ang="0">
                    <a:pos x="connsiteX0" y="connsiteY0"/>
                  </a:cxn>
                  <a:cxn ang="0">
                    <a:pos x="connsiteX1" y="connsiteY1"/>
                  </a:cxn>
                  <a:cxn ang="0">
                    <a:pos x="connsiteX2" y="connsiteY2"/>
                  </a:cxn>
                  <a:cxn ang="0">
                    <a:pos x="connsiteX3" y="connsiteY3"/>
                  </a:cxn>
                </a:cxnLst>
                <a:rect l="l" t="t" r="r" b="b"/>
                <a:pathLst>
                  <a:path w="11049" h="10607">
                    <a:moveTo>
                      <a:pt x="135" y="4691"/>
                    </a:moveTo>
                    <a:lnTo>
                      <a:pt x="135" y="5183"/>
                    </a:lnTo>
                    <a:cubicBezTo>
                      <a:pt x="-1341" y="12464"/>
                      <a:pt x="9777" y="12169"/>
                      <a:pt x="10959" y="5773"/>
                    </a:cubicBezTo>
                    <a:cubicBezTo>
                      <a:pt x="12139" y="-622"/>
                      <a:pt x="1512" y="-2689"/>
                      <a:pt x="135" y="4691"/>
                    </a:cubicBezTo>
                    <a:close/>
                  </a:path>
                </a:pathLst>
              </a:custGeom>
              <a:grpFill/>
              <a:ln w="9835" cap="flat">
                <a:noFill/>
                <a:prstDash val="solid"/>
                <a:miter/>
              </a:ln>
            </p:spPr>
            <p:txBody>
              <a:bodyPr rtlCol="0" anchor="ctr"/>
              <a:lstStyle/>
              <a:p>
                <a:endParaRPr lang="en-IN"/>
              </a:p>
            </p:txBody>
          </p:sp>
          <p:sp>
            <p:nvSpPr>
              <p:cNvPr id="578" name="Freeform: Shape 577">
                <a:extLst>
                  <a:ext uri="{FF2B5EF4-FFF2-40B4-BE49-F238E27FC236}">
                    <a16:creationId xmlns:a16="http://schemas.microsoft.com/office/drawing/2014/main" id="{B702F2C2-57C7-B8D2-BD48-23208FBE6A9F}"/>
                  </a:ext>
                </a:extLst>
              </p:cNvPr>
              <p:cNvSpPr/>
              <p:nvPr/>
            </p:nvSpPr>
            <p:spPr>
              <a:xfrm>
                <a:off x="12713149" y="6314666"/>
                <a:ext cx="16851" cy="11608"/>
              </a:xfrm>
              <a:custGeom>
                <a:avLst/>
                <a:gdLst>
                  <a:gd name="connsiteX0" fmla="*/ 2373 w 16851"/>
                  <a:gd name="connsiteY0" fmla="*/ 6741 h 11608"/>
                  <a:gd name="connsiteX1" fmla="*/ 16247 w 16851"/>
                  <a:gd name="connsiteY1" fmla="*/ 8315 h 11608"/>
                  <a:gd name="connsiteX2" fmla="*/ 6407 w 16851"/>
                  <a:gd name="connsiteY2" fmla="*/ 542 h 11608"/>
                  <a:gd name="connsiteX3" fmla="*/ 2373 w 16851"/>
                  <a:gd name="connsiteY3" fmla="*/ 6741 h 11608"/>
                </a:gdLst>
                <a:ahLst/>
                <a:cxnLst>
                  <a:cxn ang="0">
                    <a:pos x="connsiteX0" y="connsiteY0"/>
                  </a:cxn>
                  <a:cxn ang="0">
                    <a:pos x="connsiteX1" y="connsiteY1"/>
                  </a:cxn>
                  <a:cxn ang="0">
                    <a:pos x="connsiteX2" y="connsiteY2"/>
                  </a:cxn>
                  <a:cxn ang="0">
                    <a:pos x="connsiteX3" y="connsiteY3"/>
                  </a:cxn>
                </a:cxnLst>
                <a:rect l="l" t="t" r="r" b="b"/>
                <a:pathLst>
                  <a:path w="16851" h="11608">
                    <a:moveTo>
                      <a:pt x="2373" y="6741"/>
                    </a:moveTo>
                    <a:cubicBezTo>
                      <a:pt x="6801" y="8020"/>
                      <a:pt x="19789" y="15990"/>
                      <a:pt x="16247" y="8315"/>
                    </a:cubicBezTo>
                    <a:cubicBezTo>
                      <a:pt x="16247" y="8315"/>
                      <a:pt x="13295" y="-2508"/>
                      <a:pt x="6407" y="542"/>
                    </a:cubicBezTo>
                    <a:cubicBezTo>
                      <a:pt x="5423" y="1231"/>
                      <a:pt x="-4417" y="3887"/>
                      <a:pt x="2373" y="6741"/>
                    </a:cubicBezTo>
                    <a:close/>
                  </a:path>
                </a:pathLst>
              </a:custGeom>
              <a:grpFill/>
              <a:ln w="9835" cap="flat">
                <a:noFill/>
                <a:prstDash val="solid"/>
                <a:miter/>
              </a:ln>
            </p:spPr>
            <p:txBody>
              <a:bodyPr rtlCol="0" anchor="ctr"/>
              <a:lstStyle/>
              <a:p>
                <a:endParaRPr lang="en-IN"/>
              </a:p>
            </p:txBody>
          </p:sp>
          <p:sp>
            <p:nvSpPr>
              <p:cNvPr id="579" name="Freeform: Shape 578">
                <a:extLst>
                  <a:ext uri="{FF2B5EF4-FFF2-40B4-BE49-F238E27FC236}">
                    <a16:creationId xmlns:a16="http://schemas.microsoft.com/office/drawing/2014/main" id="{021387CD-0AF9-8778-0389-D6FC76998E20}"/>
                  </a:ext>
                </a:extLst>
              </p:cNvPr>
              <p:cNvSpPr/>
              <p:nvPr/>
            </p:nvSpPr>
            <p:spPr>
              <a:xfrm>
                <a:off x="11575296" y="6565984"/>
                <a:ext cx="573710" cy="178792"/>
              </a:xfrm>
              <a:custGeom>
                <a:avLst/>
                <a:gdLst>
                  <a:gd name="connsiteX0" fmla="*/ 559788 w 573710"/>
                  <a:gd name="connsiteY0" fmla="*/ 147925 h 178792"/>
                  <a:gd name="connsiteX1" fmla="*/ 564019 w 573710"/>
                  <a:gd name="connsiteY1" fmla="*/ 116340 h 178792"/>
                  <a:gd name="connsiteX2" fmla="*/ 559197 w 573710"/>
                  <a:gd name="connsiteY2" fmla="*/ 110338 h 178792"/>
                  <a:gd name="connsiteX3" fmla="*/ 508622 w 573710"/>
                  <a:gd name="connsiteY3" fmla="*/ 108370 h 178792"/>
                  <a:gd name="connsiteX4" fmla="*/ 493272 w 573710"/>
                  <a:gd name="connsiteY4" fmla="*/ 113191 h 178792"/>
                  <a:gd name="connsiteX5" fmla="*/ 483039 w 573710"/>
                  <a:gd name="connsiteY5" fmla="*/ 112207 h 178792"/>
                  <a:gd name="connsiteX6" fmla="*/ 464245 w 573710"/>
                  <a:gd name="connsiteY6" fmla="*/ 98235 h 178792"/>
                  <a:gd name="connsiteX7" fmla="*/ 442008 w 573710"/>
                  <a:gd name="connsiteY7" fmla="*/ 58581 h 178792"/>
                  <a:gd name="connsiteX8" fmla="*/ 399894 w 573710"/>
                  <a:gd name="connsiteY8" fmla="*/ 51399 h 178792"/>
                  <a:gd name="connsiteX9" fmla="*/ 386315 w 573710"/>
                  <a:gd name="connsiteY9" fmla="*/ 45003 h 178792"/>
                  <a:gd name="connsiteX10" fmla="*/ 360044 w 573710"/>
                  <a:gd name="connsiteY10" fmla="*/ 42543 h 178792"/>
                  <a:gd name="connsiteX11" fmla="*/ 348630 w 573710"/>
                  <a:gd name="connsiteY11" fmla="*/ 30046 h 178792"/>
                  <a:gd name="connsiteX12" fmla="*/ 331804 w 573710"/>
                  <a:gd name="connsiteY12" fmla="*/ 36147 h 178792"/>
                  <a:gd name="connsiteX13" fmla="*/ 310944 w 573710"/>
                  <a:gd name="connsiteY13" fmla="*/ 63501 h 178792"/>
                  <a:gd name="connsiteX14" fmla="*/ 200249 w 573710"/>
                  <a:gd name="connsiteY14" fmla="*/ 48250 h 178792"/>
                  <a:gd name="connsiteX15" fmla="*/ 181357 w 573710"/>
                  <a:gd name="connsiteY15" fmla="*/ 18830 h 178792"/>
                  <a:gd name="connsiteX16" fmla="*/ 138260 w 573710"/>
                  <a:gd name="connsiteY16" fmla="*/ 13811 h 178792"/>
                  <a:gd name="connsiteX17" fmla="*/ 121434 w 573710"/>
                  <a:gd name="connsiteY17" fmla="*/ 134 h 178792"/>
                  <a:gd name="connsiteX18" fmla="*/ 104805 w 573710"/>
                  <a:gd name="connsiteY18" fmla="*/ 5644 h 178792"/>
                  <a:gd name="connsiteX19" fmla="*/ 104805 w 573710"/>
                  <a:gd name="connsiteY19" fmla="*/ 6038 h 178792"/>
                  <a:gd name="connsiteX20" fmla="*/ 100180 w 573710"/>
                  <a:gd name="connsiteY20" fmla="*/ 10564 h 178792"/>
                  <a:gd name="connsiteX21" fmla="*/ 49211 w 573710"/>
                  <a:gd name="connsiteY21" fmla="*/ 1118 h 178792"/>
                  <a:gd name="connsiteX22" fmla="*/ 41831 w 573710"/>
                  <a:gd name="connsiteY22" fmla="*/ 5349 h 178792"/>
                  <a:gd name="connsiteX23" fmla="*/ 25399 w 573710"/>
                  <a:gd name="connsiteY23" fmla="*/ 35360 h 178792"/>
                  <a:gd name="connsiteX24" fmla="*/ 10738 w 573710"/>
                  <a:gd name="connsiteY24" fmla="*/ 39493 h 178792"/>
                  <a:gd name="connsiteX25" fmla="*/ 2965 w 573710"/>
                  <a:gd name="connsiteY25" fmla="*/ 54252 h 178792"/>
                  <a:gd name="connsiteX26" fmla="*/ 68890 w 573710"/>
                  <a:gd name="connsiteY26" fmla="*/ 58680 h 178792"/>
                  <a:gd name="connsiteX27" fmla="*/ 74105 w 573710"/>
                  <a:gd name="connsiteY27" fmla="*/ 74128 h 178792"/>
                  <a:gd name="connsiteX28" fmla="*/ 67316 w 573710"/>
                  <a:gd name="connsiteY28" fmla="*/ 90659 h 178792"/>
                  <a:gd name="connsiteX29" fmla="*/ 79222 w 573710"/>
                  <a:gd name="connsiteY29" fmla="*/ 97940 h 178792"/>
                  <a:gd name="connsiteX30" fmla="*/ 127731 w 573710"/>
                  <a:gd name="connsiteY30" fmla="*/ 95480 h 178792"/>
                  <a:gd name="connsiteX31" fmla="*/ 166007 w 573710"/>
                  <a:gd name="connsiteY31" fmla="*/ 114273 h 178792"/>
                  <a:gd name="connsiteX32" fmla="*/ 192377 w 573710"/>
                  <a:gd name="connsiteY32" fmla="*/ 114372 h 178792"/>
                  <a:gd name="connsiteX33" fmla="*/ 211072 w 573710"/>
                  <a:gd name="connsiteY33" fmla="*/ 102860 h 178792"/>
                  <a:gd name="connsiteX34" fmla="*/ 298842 w 573710"/>
                  <a:gd name="connsiteY34" fmla="*/ 121260 h 178792"/>
                  <a:gd name="connsiteX35" fmla="*/ 343218 w 573710"/>
                  <a:gd name="connsiteY35" fmla="*/ 146153 h 178792"/>
                  <a:gd name="connsiteX36" fmla="*/ 406290 w 573710"/>
                  <a:gd name="connsiteY36" fmla="*/ 147335 h 178792"/>
                  <a:gd name="connsiteX37" fmla="*/ 463163 w 573710"/>
                  <a:gd name="connsiteY37" fmla="*/ 155895 h 178792"/>
                  <a:gd name="connsiteX38" fmla="*/ 493075 w 573710"/>
                  <a:gd name="connsiteY38" fmla="*/ 145268 h 178792"/>
                  <a:gd name="connsiteX39" fmla="*/ 563133 w 573710"/>
                  <a:gd name="connsiteY39" fmla="*/ 178231 h 178792"/>
                  <a:gd name="connsiteX40" fmla="*/ 571398 w 573710"/>
                  <a:gd name="connsiteY40" fmla="*/ 176066 h 178792"/>
                  <a:gd name="connsiteX41" fmla="*/ 572383 w 573710"/>
                  <a:gd name="connsiteY41" fmla="*/ 174590 h 178792"/>
                  <a:gd name="connsiteX42" fmla="*/ 559886 w 573710"/>
                  <a:gd name="connsiteY42" fmla="*/ 148121 h 17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73710" h="178792">
                    <a:moveTo>
                      <a:pt x="559788" y="147925"/>
                    </a:moveTo>
                    <a:lnTo>
                      <a:pt x="564019" y="116340"/>
                    </a:lnTo>
                    <a:cubicBezTo>
                      <a:pt x="564413" y="113290"/>
                      <a:pt x="562247" y="110633"/>
                      <a:pt x="559197" y="110338"/>
                    </a:cubicBezTo>
                    <a:cubicBezTo>
                      <a:pt x="522496" y="107386"/>
                      <a:pt x="516001" y="106008"/>
                      <a:pt x="508622" y="108370"/>
                    </a:cubicBezTo>
                    <a:lnTo>
                      <a:pt x="493272" y="113191"/>
                    </a:lnTo>
                    <a:cubicBezTo>
                      <a:pt x="490320" y="114077"/>
                      <a:pt x="485696" y="113683"/>
                      <a:pt x="483039" y="112207"/>
                    </a:cubicBezTo>
                    <a:cubicBezTo>
                      <a:pt x="471920" y="106205"/>
                      <a:pt x="466902" y="104434"/>
                      <a:pt x="464245" y="98235"/>
                    </a:cubicBezTo>
                    <a:cubicBezTo>
                      <a:pt x="449879" y="64485"/>
                      <a:pt x="449486" y="59270"/>
                      <a:pt x="442008" y="58581"/>
                    </a:cubicBezTo>
                    <a:cubicBezTo>
                      <a:pt x="414555" y="56023"/>
                      <a:pt x="405896" y="56613"/>
                      <a:pt x="399894" y="51399"/>
                    </a:cubicBezTo>
                    <a:cubicBezTo>
                      <a:pt x="398516" y="50513"/>
                      <a:pt x="393695" y="44215"/>
                      <a:pt x="386315" y="45003"/>
                    </a:cubicBezTo>
                    <a:cubicBezTo>
                      <a:pt x="375000" y="45200"/>
                      <a:pt x="363685" y="50710"/>
                      <a:pt x="360044" y="42543"/>
                    </a:cubicBezTo>
                    <a:cubicBezTo>
                      <a:pt x="358174" y="39690"/>
                      <a:pt x="356403" y="29456"/>
                      <a:pt x="348630" y="30046"/>
                    </a:cubicBezTo>
                    <a:cubicBezTo>
                      <a:pt x="344990" y="30834"/>
                      <a:pt x="335642" y="29161"/>
                      <a:pt x="331804" y="36147"/>
                    </a:cubicBezTo>
                    <a:cubicBezTo>
                      <a:pt x="319406" y="58778"/>
                      <a:pt x="318029" y="64190"/>
                      <a:pt x="310944" y="63501"/>
                    </a:cubicBezTo>
                    <a:cubicBezTo>
                      <a:pt x="204283" y="53465"/>
                      <a:pt x="203496" y="55531"/>
                      <a:pt x="200249" y="48250"/>
                    </a:cubicBezTo>
                    <a:cubicBezTo>
                      <a:pt x="189524" y="24438"/>
                      <a:pt x="188638" y="18928"/>
                      <a:pt x="181357" y="18830"/>
                    </a:cubicBezTo>
                    <a:cubicBezTo>
                      <a:pt x="147016" y="18141"/>
                      <a:pt x="142982" y="19518"/>
                      <a:pt x="138260" y="13811"/>
                    </a:cubicBezTo>
                    <a:cubicBezTo>
                      <a:pt x="133733" y="9285"/>
                      <a:pt x="129896" y="134"/>
                      <a:pt x="121434" y="134"/>
                    </a:cubicBezTo>
                    <a:cubicBezTo>
                      <a:pt x="116317" y="921"/>
                      <a:pt x="103624" y="-2719"/>
                      <a:pt x="104805" y="5644"/>
                    </a:cubicBezTo>
                    <a:lnTo>
                      <a:pt x="104805" y="6038"/>
                    </a:lnTo>
                    <a:cubicBezTo>
                      <a:pt x="105297" y="9088"/>
                      <a:pt x="103230" y="11056"/>
                      <a:pt x="100180" y="10564"/>
                    </a:cubicBezTo>
                    <a:lnTo>
                      <a:pt x="49211" y="1118"/>
                    </a:lnTo>
                    <a:cubicBezTo>
                      <a:pt x="46161" y="528"/>
                      <a:pt x="42914" y="2496"/>
                      <a:pt x="41831" y="5349"/>
                    </a:cubicBezTo>
                    <a:cubicBezTo>
                      <a:pt x="33173" y="29357"/>
                      <a:pt x="32779" y="35360"/>
                      <a:pt x="25399" y="35360"/>
                    </a:cubicBezTo>
                    <a:cubicBezTo>
                      <a:pt x="23825" y="35556"/>
                      <a:pt x="15658" y="33982"/>
                      <a:pt x="10738" y="39493"/>
                    </a:cubicBezTo>
                    <a:cubicBezTo>
                      <a:pt x="6999" y="44609"/>
                      <a:pt x="-5694" y="54252"/>
                      <a:pt x="2965" y="54252"/>
                    </a:cubicBezTo>
                    <a:cubicBezTo>
                      <a:pt x="53147" y="55826"/>
                      <a:pt x="62691" y="50808"/>
                      <a:pt x="68890" y="58680"/>
                    </a:cubicBezTo>
                    <a:cubicBezTo>
                      <a:pt x="70661" y="61829"/>
                      <a:pt x="79320" y="68028"/>
                      <a:pt x="74105" y="74128"/>
                    </a:cubicBezTo>
                    <a:cubicBezTo>
                      <a:pt x="71547" y="78359"/>
                      <a:pt x="62101" y="84263"/>
                      <a:pt x="67316" y="90659"/>
                    </a:cubicBezTo>
                    <a:cubicBezTo>
                      <a:pt x="68300" y="91544"/>
                      <a:pt x="71941" y="98825"/>
                      <a:pt x="79222" y="97940"/>
                    </a:cubicBezTo>
                    <a:cubicBezTo>
                      <a:pt x="117399" y="93512"/>
                      <a:pt x="121237" y="91938"/>
                      <a:pt x="127731" y="95480"/>
                    </a:cubicBezTo>
                    <a:cubicBezTo>
                      <a:pt x="151149" y="108173"/>
                      <a:pt x="158135" y="112896"/>
                      <a:pt x="166007" y="114273"/>
                    </a:cubicBezTo>
                    <a:cubicBezTo>
                      <a:pt x="182242" y="117127"/>
                      <a:pt x="187359" y="119193"/>
                      <a:pt x="192377" y="114372"/>
                    </a:cubicBezTo>
                    <a:cubicBezTo>
                      <a:pt x="197592" y="110338"/>
                      <a:pt x="202709" y="101285"/>
                      <a:pt x="211072" y="102860"/>
                    </a:cubicBezTo>
                    <a:cubicBezTo>
                      <a:pt x="291856" y="117816"/>
                      <a:pt x="292347" y="117127"/>
                      <a:pt x="298842" y="121260"/>
                    </a:cubicBezTo>
                    <a:cubicBezTo>
                      <a:pt x="331411" y="142021"/>
                      <a:pt x="335346" y="146153"/>
                      <a:pt x="343218" y="146153"/>
                    </a:cubicBezTo>
                    <a:cubicBezTo>
                      <a:pt x="389366" y="146547"/>
                      <a:pt x="396549" y="145268"/>
                      <a:pt x="406290" y="147335"/>
                    </a:cubicBezTo>
                    <a:cubicBezTo>
                      <a:pt x="453619" y="157469"/>
                      <a:pt x="456472" y="159437"/>
                      <a:pt x="463163" y="155895"/>
                    </a:cubicBezTo>
                    <a:cubicBezTo>
                      <a:pt x="483236" y="145367"/>
                      <a:pt x="486679" y="142316"/>
                      <a:pt x="493075" y="145268"/>
                    </a:cubicBezTo>
                    <a:lnTo>
                      <a:pt x="563133" y="178231"/>
                    </a:lnTo>
                    <a:cubicBezTo>
                      <a:pt x="565888" y="179510"/>
                      <a:pt x="569627" y="178526"/>
                      <a:pt x="571398" y="176066"/>
                    </a:cubicBezTo>
                    <a:lnTo>
                      <a:pt x="572383" y="174590"/>
                    </a:lnTo>
                    <a:cubicBezTo>
                      <a:pt x="579073" y="165046"/>
                      <a:pt x="558214" y="160519"/>
                      <a:pt x="559886" y="148121"/>
                    </a:cubicBezTo>
                    <a:close/>
                  </a:path>
                </a:pathLst>
              </a:custGeom>
              <a:grpFill/>
              <a:ln w="9835" cap="flat">
                <a:noFill/>
                <a:prstDash val="solid"/>
                <a:miter/>
              </a:ln>
            </p:spPr>
            <p:txBody>
              <a:bodyPr rtlCol="0" anchor="ctr"/>
              <a:lstStyle/>
              <a:p>
                <a:endParaRPr lang="en-IN"/>
              </a:p>
            </p:txBody>
          </p:sp>
          <p:sp>
            <p:nvSpPr>
              <p:cNvPr id="580" name="Freeform: Shape 579">
                <a:extLst>
                  <a:ext uri="{FF2B5EF4-FFF2-40B4-BE49-F238E27FC236}">
                    <a16:creationId xmlns:a16="http://schemas.microsoft.com/office/drawing/2014/main" id="{AAEF3972-2EA9-08A7-B486-3A4C6BC24280}"/>
                  </a:ext>
                </a:extLst>
              </p:cNvPr>
              <p:cNvSpPr/>
              <p:nvPr/>
            </p:nvSpPr>
            <p:spPr>
              <a:xfrm>
                <a:off x="12024192" y="6548701"/>
                <a:ext cx="14168" cy="12988"/>
              </a:xfrm>
              <a:custGeom>
                <a:avLst/>
                <a:gdLst>
                  <a:gd name="connsiteX0" fmla="*/ 5608 w 14168"/>
                  <a:gd name="connsiteY0" fmla="*/ 0 h 12988"/>
                  <a:gd name="connsiteX1" fmla="*/ 0 w 14168"/>
                  <a:gd name="connsiteY1" fmla="*/ 5609 h 12988"/>
                  <a:gd name="connsiteX2" fmla="*/ 0 w 14168"/>
                  <a:gd name="connsiteY2" fmla="*/ 7380 h 12988"/>
                  <a:gd name="connsiteX3" fmla="*/ 5608 w 14168"/>
                  <a:gd name="connsiteY3" fmla="*/ 12988 h 12988"/>
                  <a:gd name="connsiteX4" fmla="*/ 8560 w 14168"/>
                  <a:gd name="connsiteY4" fmla="*/ 12988 h 12988"/>
                  <a:gd name="connsiteX5" fmla="*/ 8560 w 14168"/>
                  <a:gd name="connsiteY5" fmla="*/ 98 h 12988"/>
                  <a:gd name="connsiteX6" fmla="*/ 5608 w 14168"/>
                  <a:gd name="connsiteY6" fmla="*/ 98 h 12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68" h="12988">
                    <a:moveTo>
                      <a:pt x="5608" y="0"/>
                    </a:moveTo>
                    <a:cubicBezTo>
                      <a:pt x="2558" y="0"/>
                      <a:pt x="0" y="2460"/>
                      <a:pt x="0" y="5609"/>
                    </a:cubicBezTo>
                    <a:lnTo>
                      <a:pt x="0" y="7380"/>
                    </a:lnTo>
                    <a:cubicBezTo>
                      <a:pt x="0" y="10430"/>
                      <a:pt x="2460" y="12988"/>
                      <a:pt x="5608" y="12988"/>
                    </a:cubicBezTo>
                    <a:lnTo>
                      <a:pt x="8560" y="12988"/>
                    </a:lnTo>
                    <a:cubicBezTo>
                      <a:pt x="16038" y="12988"/>
                      <a:pt x="16038" y="98"/>
                      <a:pt x="8560" y="98"/>
                    </a:cubicBezTo>
                    <a:lnTo>
                      <a:pt x="5608" y="98"/>
                    </a:lnTo>
                    <a:close/>
                  </a:path>
                </a:pathLst>
              </a:custGeom>
              <a:grpFill/>
              <a:ln w="9835" cap="flat">
                <a:noFill/>
                <a:prstDash val="solid"/>
                <a:miter/>
              </a:ln>
            </p:spPr>
            <p:txBody>
              <a:bodyPr rtlCol="0" anchor="ctr"/>
              <a:lstStyle/>
              <a:p>
                <a:endParaRPr lang="en-IN"/>
              </a:p>
            </p:txBody>
          </p:sp>
          <p:sp>
            <p:nvSpPr>
              <p:cNvPr id="581" name="Freeform: Shape 580">
                <a:extLst>
                  <a:ext uri="{FF2B5EF4-FFF2-40B4-BE49-F238E27FC236}">
                    <a16:creationId xmlns:a16="http://schemas.microsoft.com/office/drawing/2014/main" id="{F1831F02-41F4-5F47-B307-8E213F756F29}"/>
                  </a:ext>
                </a:extLst>
              </p:cNvPr>
              <p:cNvSpPr/>
              <p:nvPr/>
            </p:nvSpPr>
            <p:spPr>
              <a:xfrm>
                <a:off x="12038758" y="6621604"/>
                <a:ext cx="85134" cy="23640"/>
              </a:xfrm>
              <a:custGeom>
                <a:avLst/>
                <a:gdLst>
                  <a:gd name="connsiteX0" fmla="*/ 71531 w 85134"/>
                  <a:gd name="connsiteY0" fmla="*/ 205 h 23640"/>
                  <a:gd name="connsiteX1" fmla="*/ 4621 w 85134"/>
                  <a:gd name="connsiteY1" fmla="*/ 4732 h 23640"/>
                  <a:gd name="connsiteX2" fmla="*/ 882 w 85134"/>
                  <a:gd name="connsiteY2" fmla="*/ 10045 h 23640"/>
                  <a:gd name="connsiteX3" fmla="*/ 3047 w 85134"/>
                  <a:gd name="connsiteY3" fmla="*/ 15752 h 23640"/>
                  <a:gd name="connsiteX4" fmla="*/ 47817 w 85134"/>
                  <a:gd name="connsiteY4" fmla="*/ 20770 h 23640"/>
                  <a:gd name="connsiteX5" fmla="*/ 49490 w 85134"/>
                  <a:gd name="connsiteY5" fmla="*/ 18999 h 23640"/>
                  <a:gd name="connsiteX6" fmla="*/ 73498 w 85134"/>
                  <a:gd name="connsiteY6" fmla="*/ 16343 h 23640"/>
                  <a:gd name="connsiteX7" fmla="*/ 82944 w 85134"/>
                  <a:gd name="connsiteY7" fmla="*/ 3650 h 23640"/>
                  <a:gd name="connsiteX8" fmla="*/ 71531 w 85134"/>
                  <a:gd name="connsiteY8" fmla="*/ 304 h 2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134" h="23640">
                    <a:moveTo>
                      <a:pt x="71531" y="205"/>
                    </a:moveTo>
                    <a:cubicBezTo>
                      <a:pt x="71531" y="205"/>
                      <a:pt x="9049" y="-1467"/>
                      <a:pt x="4621" y="4732"/>
                    </a:cubicBezTo>
                    <a:lnTo>
                      <a:pt x="882" y="10045"/>
                    </a:lnTo>
                    <a:cubicBezTo>
                      <a:pt x="-889" y="12505"/>
                      <a:pt x="95" y="15162"/>
                      <a:pt x="3047" y="15752"/>
                    </a:cubicBezTo>
                    <a:cubicBezTo>
                      <a:pt x="38568" y="23624"/>
                      <a:pt x="42602" y="26182"/>
                      <a:pt x="47817" y="20770"/>
                    </a:cubicBezTo>
                    <a:lnTo>
                      <a:pt x="49490" y="18999"/>
                    </a:lnTo>
                    <a:cubicBezTo>
                      <a:pt x="56771" y="11423"/>
                      <a:pt x="64446" y="22640"/>
                      <a:pt x="73498" y="16343"/>
                    </a:cubicBezTo>
                    <a:cubicBezTo>
                      <a:pt x="77336" y="12800"/>
                      <a:pt x="90226" y="7782"/>
                      <a:pt x="82944" y="3650"/>
                    </a:cubicBezTo>
                    <a:cubicBezTo>
                      <a:pt x="81961" y="3256"/>
                      <a:pt x="77631" y="304"/>
                      <a:pt x="71531" y="304"/>
                    </a:cubicBezTo>
                    <a:close/>
                  </a:path>
                </a:pathLst>
              </a:custGeom>
              <a:grpFill/>
              <a:ln w="9835" cap="flat">
                <a:noFill/>
                <a:prstDash val="solid"/>
                <a:miter/>
              </a:ln>
            </p:spPr>
            <p:txBody>
              <a:bodyPr rtlCol="0" anchor="ctr"/>
              <a:lstStyle/>
              <a:p>
                <a:endParaRPr lang="en-IN"/>
              </a:p>
            </p:txBody>
          </p:sp>
          <p:sp>
            <p:nvSpPr>
              <p:cNvPr id="582" name="Freeform: Shape 581">
                <a:extLst>
                  <a:ext uri="{FF2B5EF4-FFF2-40B4-BE49-F238E27FC236}">
                    <a16:creationId xmlns:a16="http://schemas.microsoft.com/office/drawing/2014/main" id="{A0332C28-A486-5046-F5C7-8B8B776F0D7E}"/>
                  </a:ext>
                </a:extLst>
              </p:cNvPr>
              <p:cNvSpPr/>
              <p:nvPr/>
            </p:nvSpPr>
            <p:spPr>
              <a:xfrm>
                <a:off x="12129512" y="6635587"/>
                <a:ext cx="18317" cy="9309"/>
              </a:xfrm>
              <a:custGeom>
                <a:avLst/>
                <a:gdLst>
                  <a:gd name="connsiteX0" fmla="*/ 2522 w 18317"/>
                  <a:gd name="connsiteY0" fmla="*/ 1475 h 9309"/>
                  <a:gd name="connsiteX1" fmla="*/ 1833 w 18317"/>
                  <a:gd name="connsiteY1" fmla="*/ 1868 h 9309"/>
                  <a:gd name="connsiteX2" fmla="*/ 15412 w 18317"/>
                  <a:gd name="connsiteY2" fmla="*/ 8067 h 9309"/>
                  <a:gd name="connsiteX3" fmla="*/ 16396 w 18317"/>
                  <a:gd name="connsiteY3" fmla="*/ 7477 h 9309"/>
                  <a:gd name="connsiteX4" fmla="*/ 16101 w 18317"/>
                  <a:gd name="connsiteY4" fmla="*/ 2459 h 9309"/>
                  <a:gd name="connsiteX5" fmla="*/ 2522 w 18317"/>
                  <a:gd name="connsiteY5" fmla="*/ 1475 h 9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17" h="9309">
                    <a:moveTo>
                      <a:pt x="2522" y="1475"/>
                    </a:moveTo>
                    <a:lnTo>
                      <a:pt x="1833" y="1868"/>
                    </a:lnTo>
                    <a:cubicBezTo>
                      <a:pt x="-4956" y="6001"/>
                      <a:pt x="8819" y="11905"/>
                      <a:pt x="15412" y="8067"/>
                    </a:cubicBezTo>
                    <a:lnTo>
                      <a:pt x="16396" y="7477"/>
                    </a:lnTo>
                    <a:cubicBezTo>
                      <a:pt x="19052" y="5902"/>
                      <a:pt x="18954" y="3639"/>
                      <a:pt x="16101" y="2459"/>
                    </a:cubicBezTo>
                    <a:cubicBezTo>
                      <a:pt x="15117" y="2262"/>
                      <a:pt x="8622" y="-2264"/>
                      <a:pt x="2522" y="1475"/>
                    </a:cubicBezTo>
                    <a:close/>
                  </a:path>
                </a:pathLst>
              </a:custGeom>
              <a:grpFill/>
              <a:ln w="9835" cap="flat">
                <a:noFill/>
                <a:prstDash val="solid"/>
                <a:miter/>
              </a:ln>
            </p:spPr>
            <p:txBody>
              <a:bodyPr rtlCol="0" anchor="ctr"/>
              <a:lstStyle/>
              <a:p>
                <a:endParaRPr lang="en-IN"/>
              </a:p>
            </p:txBody>
          </p:sp>
          <p:sp>
            <p:nvSpPr>
              <p:cNvPr id="583" name="Freeform: Shape 582">
                <a:extLst>
                  <a:ext uri="{FF2B5EF4-FFF2-40B4-BE49-F238E27FC236}">
                    <a16:creationId xmlns:a16="http://schemas.microsoft.com/office/drawing/2014/main" id="{F4B51919-C470-2E5E-0AD1-7643EEAE07B8}"/>
                  </a:ext>
                </a:extLst>
              </p:cNvPr>
              <p:cNvSpPr/>
              <p:nvPr/>
            </p:nvSpPr>
            <p:spPr>
              <a:xfrm>
                <a:off x="12188372" y="6620157"/>
                <a:ext cx="39963" cy="24135"/>
              </a:xfrm>
              <a:custGeom>
                <a:avLst/>
                <a:gdLst>
                  <a:gd name="connsiteX0" fmla="*/ 36449 w 39963"/>
                  <a:gd name="connsiteY0" fmla="*/ 13263 h 24135"/>
                  <a:gd name="connsiteX1" fmla="*/ 14015 w 39963"/>
                  <a:gd name="connsiteY1" fmla="*/ 767 h 24135"/>
                  <a:gd name="connsiteX2" fmla="*/ 9686 w 39963"/>
                  <a:gd name="connsiteY2" fmla="*/ 79 h 24135"/>
                  <a:gd name="connsiteX3" fmla="*/ 1716 w 39963"/>
                  <a:gd name="connsiteY3" fmla="*/ 4211 h 24135"/>
                  <a:gd name="connsiteX4" fmla="*/ 535 w 39963"/>
                  <a:gd name="connsiteY4" fmla="*/ 6572 h 24135"/>
                  <a:gd name="connsiteX5" fmla="*/ 3585 w 39963"/>
                  <a:gd name="connsiteY5" fmla="*/ 11591 h 24135"/>
                  <a:gd name="connsiteX6" fmla="*/ 21493 w 39963"/>
                  <a:gd name="connsiteY6" fmla="*/ 14739 h 24135"/>
                  <a:gd name="connsiteX7" fmla="*/ 39795 w 39963"/>
                  <a:gd name="connsiteY7" fmla="*/ 21430 h 24135"/>
                  <a:gd name="connsiteX8" fmla="*/ 36449 w 39963"/>
                  <a:gd name="connsiteY8" fmla="*/ 13362 h 2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63" h="24135">
                    <a:moveTo>
                      <a:pt x="36449" y="13263"/>
                    </a:moveTo>
                    <a:cubicBezTo>
                      <a:pt x="27200" y="6966"/>
                      <a:pt x="21296" y="1948"/>
                      <a:pt x="14015" y="767"/>
                    </a:cubicBezTo>
                    <a:lnTo>
                      <a:pt x="9686" y="79"/>
                    </a:lnTo>
                    <a:cubicBezTo>
                      <a:pt x="6635" y="-413"/>
                      <a:pt x="3093" y="1456"/>
                      <a:pt x="1716" y="4211"/>
                    </a:cubicBezTo>
                    <a:lnTo>
                      <a:pt x="535" y="6572"/>
                    </a:lnTo>
                    <a:cubicBezTo>
                      <a:pt x="-843" y="9328"/>
                      <a:pt x="535" y="11591"/>
                      <a:pt x="3585" y="11591"/>
                    </a:cubicBezTo>
                    <a:cubicBezTo>
                      <a:pt x="6832" y="11886"/>
                      <a:pt x="14999" y="10312"/>
                      <a:pt x="21493" y="14739"/>
                    </a:cubicBezTo>
                    <a:cubicBezTo>
                      <a:pt x="28381" y="18380"/>
                      <a:pt x="37925" y="29106"/>
                      <a:pt x="39795" y="21430"/>
                    </a:cubicBezTo>
                    <a:cubicBezTo>
                      <a:pt x="40484" y="18676"/>
                      <a:pt x="39007" y="15133"/>
                      <a:pt x="36449" y="13362"/>
                    </a:cubicBezTo>
                    <a:close/>
                  </a:path>
                </a:pathLst>
              </a:custGeom>
              <a:grpFill/>
              <a:ln w="9835" cap="flat">
                <a:noFill/>
                <a:prstDash val="solid"/>
                <a:miter/>
              </a:ln>
            </p:spPr>
            <p:txBody>
              <a:bodyPr rtlCol="0" anchor="ctr"/>
              <a:lstStyle/>
              <a:p>
                <a:endParaRPr lang="en-IN"/>
              </a:p>
            </p:txBody>
          </p:sp>
          <p:sp>
            <p:nvSpPr>
              <p:cNvPr id="584" name="Freeform: Shape 583">
                <a:extLst>
                  <a:ext uri="{FF2B5EF4-FFF2-40B4-BE49-F238E27FC236}">
                    <a16:creationId xmlns:a16="http://schemas.microsoft.com/office/drawing/2014/main" id="{18D4309B-230F-1B57-1789-DCCA184E0372}"/>
                  </a:ext>
                </a:extLst>
              </p:cNvPr>
              <p:cNvSpPr/>
              <p:nvPr/>
            </p:nvSpPr>
            <p:spPr>
              <a:xfrm>
                <a:off x="12147046" y="6699960"/>
                <a:ext cx="68651" cy="41471"/>
              </a:xfrm>
              <a:custGeom>
                <a:avLst/>
                <a:gdLst>
                  <a:gd name="connsiteX0" fmla="*/ 66755 w 68651"/>
                  <a:gd name="connsiteY0" fmla="*/ 14047 h 41471"/>
                  <a:gd name="connsiteX1" fmla="*/ 38122 w 68651"/>
                  <a:gd name="connsiteY1" fmla="*/ 1157 h 41471"/>
                  <a:gd name="connsiteX2" fmla="*/ 24346 w 68651"/>
                  <a:gd name="connsiteY2" fmla="*/ 5093 h 41471"/>
                  <a:gd name="connsiteX3" fmla="*/ 239 w 68651"/>
                  <a:gd name="connsiteY3" fmla="*/ 8340 h 41471"/>
                  <a:gd name="connsiteX4" fmla="*/ 9193 w 68651"/>
                  <a:gd name="connsiteY4" fmla="*/ 18672 h 41471"/>
                  <a:gd name="connsiteX5" fmla="*/ 25625 w 68651"/>
                  <a:gd name="connsiteY5" fmla="*/ 25264 h 41471"/>
                  <a:gd name="connsiteX6" fmla="*/ 42451 w 68651"/>
                  <a:gd name="connsiteY6" fmla="*/ 40220 h 41471"/>
                  <a:gd name="connsiteX7" fmla="*/ 66952 w 68651"/>
                  <a:gd name="connsiteY7" fmla="*/ 20541 h 41471"/>
                  <a:gd name="connsiteX8" fmla="*/ 66656 w 68651"/>
                  <a:gd name="connsiteY8" fmla="*/ 13949 h 4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651" h="41471">
                    <a:moveTo>
                      <a:pt x="66755" y="14047"/>
                    </a:moveTo>
                    <a:cubicBezTo>
                      <a:pt x="46682" y="960"/>
                      <a:pt x="44124" y="-1991"/>
                      <a:pt x="38122" y="1157"/>
                    </a:cubicBezTo>
                    <a:cubicBezTo>
                      <a:pt x="36547" y="1747"/>
                      <a:pt x="31431" y="5585"/>
                      <a:pt x="24346" y="5093"/>
                    </a:cubicBezTo>
                    <a:cubicBezTo>
                      <a:pt x="24346" y="5093"/>
                      <a:pt x="-2811" y="-319"/>
                      <a:pt x="239" y="8340"/>
                    </a:cubicBezTo>
                    <a:cubicBezTo>
                      <a:pt x="928" y="9422"/>
                      <a:pt x="2011" y="17589"/>
                      <a:pt x="9193" y="18672"/>
                    </a:cubicBezTo>
                    <a:cubicBezTo>
                      <a:pt x="12244" y="19557"/>
                      <a:pt x="21296" y="18770"/>
                      <a:pt x="25625" y="25264"/>
                    </a:cubicBezTo>
                    <a:cubicBezTo>
                      <a:pt x="31529" y="32152"/>
                      <a:pt x="35662" y="45632"/>
                      <a:pt x="42451" y="40220"/>
                    </a:cubicBezTo>
                    <a:lnTo>
                      <a:pt x="66952" y="20541"/>
                    </a:lnTo>
                    <a:cubicBezTo>
                      <a:pt x="69313" y="18573"/>
                      <a:pt x="69215" y="15720"/>
                      <a:pt x="66656" y="13949"/>
                    </a:cubicBezTo>
                    <a:close/>
                  </a:path>
                </a:pathLst>
              </a:custGeom>
              <a:grpFill/>
              <a:ln w="9835" cap="flat">
                <a:noFill/>
                <a:prstDash val="solid"/>
                <a:miter/>
              </a:ln>
            </p:spPr>
            <p:txBody>
              <a:bodyPr rtlCol="0" anchor="ctr"/>
              <a:lstStyle/>
              <a:p>
                <a:endParaRPr lang="en-IN"/>
              </a:p>
            </p:txBody>
          </p:sp>
          <p:sp>
            <p:nvSpPr>
              <p:cNvPr id="585" name="Freeform: Shape 584">
                <a:extLst>
                  <a:ext uri="{FF2B5EF4-FFF2-40B4-BE49-F238E27FC236}">
                    <a16:creationId xmlns:a16="http://schemas.microsoft.com/office/drawing/2014/main" id="{8FDECB56-B36A-F081-8B7E-2C7B71490E93}"/>
                  </a:ext>
                </a:extLst>
              </p:cNvPr>
              <p:cNvSpPr/>
              <p:nvPr/>
            </p:nvSpPr>
            <p:spPr>
              <a:xfrm>
                <a:off x="12232210" y="6708565"/>
                <a:ext cx="46706" cy="42692"/>
              </a:xfrm>
              <a:custGeom>
                <a:avLst/>
                <a:gdLst>
                  <a:gd name="connsiteX0" fmla="*/ 33643 w 46706"/>
                  <a:gd name="connsiteY0" fmla="*/ 1210 h 42692"/>
                  <a:gd name="connsiteX1" fmla="*/ 13668 w 46706"/>
                  <a:gd name="connsiteY1" fmla="*/ 7114 h 42692"/>
                  <a:gd name="connsiteX2" fmla="*/ 10519 w 46706"/>
                  <a:gd name="connsiteY2" fmla="*/ 21283 h 42692"/>
                  <a:gd name="connsiteX3" fmla="*/ 1860 w 46706"/>
                  <a:gd name="connsiteY3" fmla="*/ 33484 h 42692"/>
                  <a:gd name="connsiteX4" fmla="*/ 23409 w 46706"/>
                  <a:gd name="connsiteY4" fmla="*/ 42537 h 42692"/>
                  <a:gd name="connsiteX5" fmla="*/ 31674 w 46706"/>
                  <a:gd name="connsiteY5" fmla="*/ 38995 h 42692"/>
                  <a:gd name="connsiteX6" fmla="*/ 46040 w 46706"/>
                  <a:gd name="connsiteY6" fmla="*/ 14789 h 42692"/>
                  <a:gd name="connsiteX7" fmla="*/ 33740 w 46706"/>
                  <a:gd name="connsiteY7" fmla="*/ 1407 h 42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06" h="42692">
                    <a:moveTo>
                      <a:pt x="33643" y="1210"/>
                    </a:moveTo>
                    <a:cubicBezTo>
                      <a:pt x="26361" y="-2922"/>
                      <a:pt x="19375" y="4655"/>
                      <a:pt x="13668" y="7114"/>
                    </a:cubicBezTo>
                    <a:cubicBezTo>
                      <a:pt x="7174" y="10755"/>
                      <a:pt x="10519" y="19118"/>
                      <a:pt x="10519" y="21283"/>
                    </a:cubicBezTo>
                    <a:cubicBezTo>
                      <a:pt x="11601" y="28860"/>
                      <a:pt x="3336" y="32008"/>
                      <a:pt x="1860" y="33484"/>
                    </a:cubicBezTo>
                    <a:cubicBezTo>
                      <a:pt x="-4240" y="37715"/>
                      <a:pt x="5107" y="38404"/>
                      <a:pt x="23409" y="42537"/>
                    </a:cubicBezTo>
                    <a:cubicBezTo>
                      <a:pt x="26361" y="43226"/>
                      <a:pt x="30100" y="41553"/>
                      <a:pt x="31674" y="38995"/>
                    </a:cubicBezTo>
                    <a:lnTo>
                      <a:pt x="46040" y="14789"/>
                    </a:lnTo>
                    <a:cubicBezTo>
                      <a:pt x="50173" y="7705"/>
                      <a:pt x="33740" y="1407"/>
                      <a:pt x="33740" y="1407"/>
                    </a:cubicBezTo>
                    <a:close/>
                  </a:path>
                </a:pathLst>
              </a:custGeom>
              <a:grpFill/>
              <a:ln w="9835" cap="flat">
                <a:noFill/>
                <a:prstDash val="solid"/>
                <a:miter/>
              </a:ln>
            </p:spPr>
            <p:txBody>
              <a:bodyPr rtlCol="0" anchor="ctr"/>
              <a:lstStyle/>
              <a:p>
                <a:endParaRPr lang="en-IN"/>
              </a:p>
            </p:txBody>
          </p:sp>
          <p:sp>
            <p:nvSpPr>
              <p:cNvPr id="586" name="Freeform: Shape 585">
                <a:extLst>
                  <a:ext uri="{FF2B5EF4-FFF2-40B4-BE49-F238E27FC236}">
                    <a16:creationId xmlns:a16="http://schemas.microsoft.com/office/drawing/2014/main" id="{301E23FC-835F-49CE-6700-F9755F6CE7B0}"/>
                  </a:ext>
                </a:extLst>
              </p:cNvPr>
              <p:cNvSpPr/>
              <p:nvPr/>
            </p:nvSpPr>
            <p:spPr>
              <a:xfrm>
                <a:off x="12202079" y="6740869"/>
                <a:ext cx="11867" cy="11413"/>
              </a:xfrm>
              <a:custGeom>
                <a:avLst/>
                <a:gdLst>
                  <a:gd name="connsiteX0" fmla="*/ 6900 w 11867"/>
                  <a:gd name="connsiteY0" fmla="*/ 0 h 11413"/>
                  <a:gd name="connsiteX1" fmla="*/ 5720 w 11867"/>
                  <a:gd name="connsiteY1" fmla="*/ 0 h 11413"/>
                  <a:gd name="connsiteX2" fmla="*/ 111 w 11867"/>
                  <a:gd name="connsiteY2" fmla="*/ 5609 h 11413"/>
                  <a:gd name="connsiteX3" fmla="*/ 5621 w 11867"/>
                  <a:gd name="connsiteY3" fmla="*/ 11414 h 11413"/>
                  <a:gd name="connsiteX4" fmla="*/ 11722 w 11867"/>
                  <a:gd name="connsiteY4" fmla="*/ 5904 h 11413"/>
                  <a:gd name="connsiteX5" fmla="*/ 6802 w 11867"/>
                  <a:gd name="connsiteY5" fmla="*/ 98 h 1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67" h="11413">
                    <a:moveTo>
                      <a:pt x="6900" y="0"/>
                    </a:moveTo>
                    <a:lnTo>
                      <a:pt x="5720" y="0"/>
                    </a:lnTo>
                    <a:cubicBezTo>
                      <a:pt x="2670" y="0"/>
                      <a:pt x="111" y="2460"/>
                      <a:pt x="111" y="5609"/>
                    </a:cubicBezTo>
                    <a:cubicBezTo>
                      <a:pt x="-282" y="4624"/>
                      <a:pt x="111" y="11414"/>
                      <a:pt x="5621" y="11414"/>
                    </a:cubicBezTo>
                    <a:cubicBezTo>
                      <a:pt x="8672" y="11414"/>
                      <a:pt x="11427" y="8954"/>
                      <a:pt x="11722" y="5904"/>
                    </a:cubicBezTo>
                    <a:cubicBezTo>
                      <a:pt x="12017" y="6888"/>
                      <a:pt x="12411" y="98"/>
                      <a:pt x="6802" y="98"/>
                    </a:cubicBezTo>
                    <a:close/>
                  </a:path>
                </a:pathLst>
              </a:custGeom>
              <a:grpFill/>
              <a:ln w="9835" cap="flat">
                <a:noFill/>
                <a:prstDash val="solid"/>
                <a:miter/>
              </a:ln>
            </p:spPr>
            <p:txBody>
              <a:bodyPr rtlCol="0" anchor="ctr"/>
              <a:lstStyle/>
              <a:p>
                <a:endParaRPr lang="en-IN"/>
              </a:p>
            </p:txBody>
          </p:sp>
          <p:sp>
            <p:nvSpPr>
              <p:cNvPr id="587" name="Freeform: Shape 586">
                <a:extLst>
                  <a:ext uri="{FF2B5EF4-FFF2-40B4-BE49-F238E27FC236}">
                    <a16:creationId xmlns:a16="http://schemas.microsoft.com/office/drawing/2014/main" id="{C5B6D6BC-4CE6-F58A-5213-607B1761D8A9}"/>
                  </a:ext>
                </a:extLst>
              </p:cNvPr>
              <p:cNvSpPr/>
              <p:nvPr/>
            </p:nvSpPr>
            <p:spPr>
              <a:xfrm>
                <a:off x="12283567" y="6701301"/>
                <a:ext cx="151772" cy="60612"/>
              </a:xfrm>
              <a:custGeom>
                <a:avLst/>
                <a:gdLst>
                  <a:gd name="connsiteX0" fmla="*/ 130273 w 151772"/>
                  <a:gd name="connsiteY0" fmla="*/ 36911 h 60612"/>
                  <a:gd name="connsiteX1" fmla="*/ 151329 w 151772"/>
                  <a:gd name="connsiteY1" fmla="*/ 34255 h 60612"/>
                  <a:gd name="connsiteX2" fmla="*/ 151723 w 151772"/>
                  <a:gd name="connsiteY2" fmla="*/ 31500 h 60612"/>
                  <a:gd name="connsiteX3" fmla="*/ 147196 w 151772"/>
                  <a:gd name="connsiteY3" fmla="*/ 27170 h 60612"/>
                  <a:gd name="connsiteX4" fmla="*/ 140900 w 151772"/>
                  <a:gd name="connsiteY4" fmla="*/ 22841 h 60612"/>
                  <a:gd name="connsiteX5" fmla="*/ 137652 w 151772"/>
                  <a:gd name="connsiteY5" fmla="*/ 10640 h 60612"/>
                  <a:gd name="connsiteX6" fmla="*/ 113053 w 151772"/>
                  <a:gd name="connsiteY6" fmla="*/ 9164 h 60612"/>
                  <a:gd name="connsiteX7" fmla="*/ 96129 w 151772"/>
                  <a:gd name="connsiteY7" fmla="*/ 14084 h 60612"/>
                  <a:gd name="connsiteX8" fmla="*/ 87962 w 151772"/>
                  <a:gd name="connsiteY8" fmla="*/ 4736 h 60612"/>
                  <a:gd name="connsiteX9" fmla="*/ 80189 w 151772"/>
                  <a:gd name="connsiteY9" fmla="*/ 13 h 60612"/>
                  <a:gd name="connsiteX10" fmla="*/ 66512 w 151772"/>
                  <a:gd name="connsiteY10" fmla="*/ 5720 h 60612"/>
                  <a:gd name="connsiteX11" fmla="*/ 73105 w 151772"/>
                  <a:gd name="connsiteY11" fmla="*/ 15264 h 60612"/>
                  <a:gd name="connsiteX12" fmla="*/ 86585 w 151772"/>
                  <a:gd name="connsiteY12" fmla="*/ 24612 h 60612"/>
                  <a:gd name="connsiteX13" fmla="*/ 87077 w 151772"/>
                  <a:gd name="connsiteY13" fmla="*/ 30122 h 60612"/>
                  <a:gd name="connsiteX14" fmla="*/ 69464 w 151772"/>
                  <a:gd name="connsiteY14" fmla="*/ 35731 h 60612"/>
                  <a:gd name="connsiteX15" fmla="*/ 56673 w 151772"/>
                  <a:gd name="connsiteY15" fmla="*/ 23628 h 60612"/>
                  <a:gd name="connsiteX16" fmla="*/ 45652 w 151772"/>
                  <a:gd name="connsiteY16" fmla="*/ 21955 h 60612"/>
                  <a:gd name="connsiteX17" fmla="*/ 35124 w 151772"/>
                  <a:gd name="connsiteY17" fmla="*/ 21660 h 60612"/>
                  <a:gd name="connsiteX18" fmla="*/ 20955 w 151772"/>
                  <a:gd name="connsiteY18" fmla="*/ 21168 h 60612"/>
                  <a:gd name="connsiteX19" fmla="*/ 5310 w 151772"/>
                  <a:gd name="connsiteY19" fmla="*/ 37403 h 60612"/>
                  <a:gd name="connsiteX20" fmla="*/ 980 w 151772"/>
                  <a:gd name="connsiteY20" fmla="*/ 49998 h 60612"/>
                  <a:gd name="connsiteX21" fmla="*/ 2948 w 151772"/>
                  <a:gd name="connsiteY21" fmla="*/ 56197 h 60612"/>
                  <a:gd name="connsiteX22" fmla="*/ 14756 w 151772"/>
                  <a:gd name="connsiteY22" fmla="*/ 60133 h 60612"/>
                  <a:gd name="connsiteX23" fmla="*/ 33549 w 151772"/>
                  <a:gd name="connsiteY23" fmla="*/ 55114 h 60612"/>
                  <a:gd name="connsiteX24" fmla="*/ 49096 w 151772"/>
                  <a:gd name="connsiteY24" fmla="*/ 53836 h 60612"/>
                  <a:gd name="connsiteX25" fmla="*/ 89832 w 151772"/>
                  <a:gd name="connsiteY25" fmla="*/ 45275 h 60612"/>
                  <a:gd name="connsiteX26" fmla="*/ 95736 w 151772"/>
                  <a:gd name="connsiteY26" fmla="*/ 39568 h 60612"/>
                  <a:gd name="connsiteX27" fmla="*/ 106264 w 151772"/>
                  <a:gd name="connsiteY27" fmla="*/ 40946 h 60612"/>
                  <a:gd name="connsiteX28" fmla="*/ 105477 w 151772"/>
                  <a:gd name="connsiteY28" fmla="*/ 43307 h 60612"/>
                  <a:gd name="connsiteX29" fmla="*/ 109216 w 151772"/>
                  <a:gd name="connsiteY29" fmla="*/ 47932 h 60612"/>
                  <a:gd name="connsiteX30" fmla="*/ 126927 w 151772"/>
                  <a:gd name="connsiteY30" fmla="*/ 40848 h 60612"/>
                  <a:gd name="connsiteX31" fmla="*/ 130470 w 151772"/>
                  <a:gd name="connsiteY31" fmla="*/ 37108 h 6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1772" h="60612">
                    <a:moveTo>
                      <a:pt x="130273" y="36911"/>
                    </a:moveTo>
                    <a:cubicBezTo>
                      <a:pt x="137947" y="37108"/>
                      <a:pt x="150149" y="42913"/>
                      <a:pt x="151329" y="34255"/>
                    </a:cubicBezTo>
                    <a:lnTo>
                      <a:pt x="151723" y="31500"/>
                    </a:lnTo>
                    <a:cubicBezTo>
                      <a:pt x="152116" y="28450"/>
                      <a:pt x="150149" y="26482"/>
                      <a:pt x="147196" y="27170"/>
                    </a:cubicBezTo>
                    <a:cubicBezTo>
                      <a:pt x="144343" y="27761"/>
                      <a:pt x="141490" y="25891"/>
                      <a:pt x="140900" y="22841"/>
                    </a:cubicBezTo>
                    <a:cubicBezTo>
                      <a:pt x="140900" y="22841"/>
                      <a:pt x="138538" y="10640"/>
                      <a:pt x="137652" y="10640"/>
                    </a:cubicBezTo>
                    <a:cubicBezTo>
                      <a:pt x="136766" y="10640"/>
                      <a:pt x="113053" y="9164"/>
                      <a:pt x="113053" y="9164"/>
                    </a:cubicBezTo>
                    <a:cubicBezTo>
                      <a:pt x="105575" y="8672"/>
                      <a:pt x="102328" y="15658"/>
                      <a:pt x="96129" y="14084"/>
                    </a:cubicBezTo>
                    <a:cubicBezTo>
                      <a:pt x="90521" y="12608"/>
                      <a:pt x="87274" y="3752"/>
                      <a:pt x="87962" y="4736"/>
                    </a:cubicBezTo>
                    <a:cubicBezTo>
                      <a:pt x="86683" y="1883"/>
                      <a:pt x="83239" y="-184"/>
                      <a:pt x="80189" y="13"/>
                    </a:cubicBezTo>
                    <a:cubicBezTo>
                      <a:pt x="75761" y="899"/>
                      <a:pt x="61690" y="-1168"/>
                      <a:pt x="66512" y="5720"/>
                    </a:cubicBezTo>
                    <a:lnTo>
                      <a:pt x="73105" y="15264"/>
                    </a:lnTo>
                    <a:cubicBezTo>
                      <a:pt x="77336" y="21365"/>
                      <a:pt x="87568" y="25202"/>
                      <a:pt x="86585" y="24612"/>
                    </a:cubicBezTo>
                    <a:cubicBezTo>
                      <a:pt x="89340" y="25891"/>
                      <a:pt x="89635" y="28351"/>
                      <a:pt x="87077" y="30122"/>
                    </a:cubicBezTo>
                    <a:cubicBezTo>
                      <a:pt x="82354" y="32484"/>
                      <a:pt x="75466" y="41438"/>
                      <a:pt x="69464" y="35731"/>
                    </a:cubicBezTo>
                    <a:lnTo>
                      <a:pt x="56673" y="23628"/>
                    </a:lnTo>
                    <a:cubicBezTo>
                      <a:pt x="52146" y="19397"/>
                      <a:pt x="44668" y="21955"/>
                      <a:pt x="45652" y="21955"/>
                    </a:cubicBezTo>
                    <a:cubicBezTo>
                      <a:pt x="42700" y="22841"/>
                      <a:pt x="37977" y="22742"/>
                      <a:pt x="35124" y="21660"/>
                    </a:cubicBezTo>
                    <a:cubicBezTo>
                      <a:pt x="33746" y="21365"/>
                      <a:pt x="27055" y="17134"/>
                      <a:pt x="20955" y="21168"/>
                    </a:cubicBezTo>
                    <a:cubicBezTo>
                      <a:pt x="14756" y="26285"/>
                      <a:pt x="3440" y="29433"/>
                      <a:pt x="5310" y="37403"/>
                    </a:cubicBezTo>
                    <a:cubicBezTo>
                      <a:pt x="6786" y="43701"/>
                      <a:pt x="488" y="50982"/>
                      <a:pt x="980" y="49998"/>
                    </a:cubicBezTo>
                    <a:cubicBezTo>
                      <a:pt x="-889" y="52458"/>
                      <a:pt x="-4" y="55213"/>
                      <a:pt x="2948" y="56197"/>
                    </a:cubicBezTo>
                    <a:lnTo>
                      <a:pt x="14756" y="60133"/>
                    </a:lnTo>
                    <a:cubicBezTo>
                      <a:pt x="22627" y="62691"/>
                      <a:pt x="25284" y="54131"/>
                      <a:pt x="33549" y="55114"/>
                    </a:cubicBezTo>
                    <a:cubicBezTo>
                      <a:pt x="35911" y="55114"/>
                      <a:pt x="44963" y="57673"/>
                      <a:pt x="49096" y="53836"/>
                    </a:cubicBezTo>
                    <a:cubicBezTo>
                      <a:pt x="56476" y="46850"/>
                      <a:pt x="80976" y="54032"/>
                      <a:pt x="89832" y="45275"/>
                    </a:cubicBezTo>
                    <a:lnTo>
                      <a:pt x="95736" y="39568"/>
                    </a:lnTo>
                    <a:cubicBezTo>
                      <a:pt x="100852" y="34550"/>
                      <a:pt x="108625" y="33861"/>
                      <a:pt x="106264" y="40946"/>
                    </a:cubicBezTo>
                    <a:lnTo>
                      <a:pt x="105477" y="43307"/>
                    </a:lnTo>
                    <a:cubicBezTo>
                      <a:pt x="104493" y="46259"/>
                      <a:pt x="106165" y="48326"/>
                      <a:pt x="109216" y="47932"/>
                    </a:cubicBezTo>
                    <a:cubicBezTo>
                      <a:pt x="116104" y="46259"/>
                      <a:pt x="129977" y="47932"/>
                      <a:pt x="126927" y="40848"/>
                    </a:cubicBezTo>
                    <a:cubicBezTo>
                      <a:pt x="125845" y="38388"/>
                      <a:pt x="127419" y="36714"/>
                      <a:pt x="130470" y="37108"/>
                    </a:cubicBezTo>
                    <a:close/>
                  </a:path>
                </a:pathLst>
              </a:custGeom>
              <a:grpFill/>
              <a:ln w="9835" cap="flat">
                <a:noFill/>
                <a:prstDash val="solid"/>
                <a:miter/>
              </a:ln>
            </p:spPr>
            <p:txBody>
              <a:bodyPr rtlCol="0" anchor="ctr"/>
              <a:lstStyle/>
              <a:p>
                <a:endParaRPr lang="en-IN"/>
              </a:p>
            </p:txBody>
          </p:sp>
          <p:sp>
            <p:nvSpPr>
              <p:cNvPr id="588" name="Freeform: Shape 587">
                <a:extLst>
                  <a:ext uri="{FF2B5EF4-FFF2-40B4-BE49-F238E27FC236}">
                    <a16:creationId xmlns:a16="http://schemas.microsoft.com/office/drawing/2014/main" id="{EFC79E35-F8BC-6172-A152-E8B83124A238}"/>
                  </a:ext>
                </a:extLst>
              </p:cNvPr>
              <p:cNvSpPr/>
              <p:nvPr/>
            </p:nvSpPr>
            <p:spPr>
              <a:xfrm>
                <a:off x="12323709" y="6697696"/>
                <a:ext cx="13464" cy="12681"/>
              </a:xfrm>
              <a:custGeom>
                <a:avLst/>
                <a:gdLst>
                  <a:gd name="connsiteX0" fmla="*/ 5313 w 13464"/>
                  <a:gd name="connsiteY0" fmla="*/ 273 h 12681"/>
                  <a:gd name="connsiteX1" fmla="*/ 0 w 13464"/>
                  <a:gd name="connsiteY1" fmla="*/ 4110 h 12681"/>
                  <a:gd name="connsiteX2" fmla="*/ 0 w 13464"/>
                  <a:gd name="connsiteY2" fmla="*/ 5586 h 12681"/>
                  <a:gd name="connsiteX3" fmla="*/ 5510 w 13464"/>
                  <a:gd name="connsiteY3" fmla="*/ 12277 h 12681"/>
                  <a:gd name="connsiteX4" fmla="*/ 7183 w 13464"/>
                  <a:gd name="connsiteY4" fmla="*/ 12572 h 12681"/>
                  <a:gd name="connsiteX5" fmla="*/ 13382 w 13464"/>
                  <a:gd name="connsiteY5" fmla="*/ 8439 h 12681"/>
                  <a:gd name="connsiteX6" fmla="*/ 5313 w 13464"/>
                  <a:gd name="connsiteY6" fmla="*/ 371 h 1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64" h="12681">
                    <a:moveTo>
                      <a:pt x="5313" y="273"/>
                    </a:moveTo>
                    <a:cubicBezTo>
                      <a:pt x="2361" y="-712"/>
                      <a:pt x="0" y="1060"/>
                      <a:pt x="0" y="4110"/>
                    </a:cubicBezTo>
                    <a:lnTo>
                      <a:pt x="0" y="5586"/>
                    </a:lnTo>
                    <a:cubicBezTo>
                      <a:pt x="0" y="8636"/>
                      <a:pt x="2460" y="11686"/>
                      <a:pt x="5510" y="12277"/>
                    </a:cubicBezTo>
                    <a:lnTo>
                      <a:pt x="7183" y="12572"/>
                    </a:lnTo>
                    <a:cubicBezTo>
                      <a:pt x="10233" y="13163"/>
                      <a:pt x="12988" y="11293"/>
                      <a:pt x="13382" y="8439"/>
                    </a:cubicBezTo>
                    <a:cubicBezTo>
                      <a:pt x="14365" y="1748"/>
                      <a:pt x="6297" y="961"/>
                      <a:pt x="5313" y="371"/>
                    </a:cubicBezTo>
                    <a:close/>
                  </a:path>
                </a:pathLst>
              </a:custGeom>
              <a:grpFill/>
              <a:ln w="9835" cap="flat">
                <a:noFill/>
                <a:prstDash val="solid"/>
                <a:miter/>
              </a:ln>
            </p:spPr>
            <p:txBody>
              <a:bodyPr rtlCol="0" anchor="ctr"/>
              <a:lstStyle/>
              <a:p>
                <a:endParaRPr lang="en-IN"/>
              </a:p>
            </p:txBody>
          </p:sp>
          <p:sp>
            <p:nvSpPr>
              <p:cNvPr id="589" name="Freeform: Shape 588">
                <a:extLst>
                  <a:ext uri="{FF2B5EF4-FFF2-40B4-BE49-F238E27FC236}">
                    <a16:creationId xmlns:a16="http://schemas.microsoft.com/office/drawing/2014/main" id="{DC2E5540-386A-C073-016A-7EAE98175A24}"/>
                  </a:ext>
                </a:extLst>
              </p:cNvPr>
              <p:cNvSpPr/>
              <p:nvPr/>
            </p:nvSpPr>
            <p:spPr>
              <a:xfrm>
                <a:off x="12448911" y="6722618"/>
                <a:ext cx="12933" cy="18546"/>
              </a:xfrm>
              <a:custGeom>
                <a:avLst/>
                <a:gdLst>
                  <a:gd name="connsiteX0" fmla="*/ 8715 w 12933"/>
                  <a:gd name="connsiteY0" fmla="*/ 245 h 18546"/>
                  <a:gd name="connsiteX1" fmla="*/ 155 w 12933"/>
                  <a:gd name="connsiteY1" fmla="*/ 13134 h 18546"/>
                  <a:gd name="connsiteX2" fmla="*/ 3894 w 12933"/>
                  <a:gd name="connsiteY2" fmla="*/ 18546 h 18546"/>
                  <a:gd name="connsiteX3" fmla="*/ 12651 w 12933"/>
                  <a:gd name="connsiteY3" fmla="*/ 6935 h 18546"/>
                  <a:gd name="connsiteX4" fmla="*/ 9010 w 12933"/>
                  <a:gd name="connsiteY4" fmla="*/ 245 h 18546"/>
                  <a:gd name="connsiteX5" fmla="*/ 8715 w 12933"/>
                  <a:gd name="connsiteY5" fmla="*/ 245 h 1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3" h="18546">
                    <a:moveTo>
                      <a:pt x="8715" y="245"/>
                    </a:moveTo>
                    <a:cubicBezTo>
                      <a:pt x="745" y="-1822"/>
                      <a:pt x="1532" y="9789"/>
                      <a:pt x="155" y="13134"/>
                    </a:cubicBezTo>
                    <a:cubicBezTo>
                      <a:pt x="-534" y="16086"/>
                      <a:pt x="1139" y="18546"/>
                      <a:pt x="3894" y="18546"/>
                    </a:cubicBezTo>
                    <a:cubicBezTo>
                      <a:pt x="10683" y="18546"/>
                      <a:pt x="11667" y="8805"/>
                      <a:pt x="12651" y="6935"/>
                    </a:cubicBezTo>
                    <a:cubicBezTo>
                      <a:pt x="13635" y="3984"/>
                      <a:pt x="11962" y="1032"/>
                      <a:pt x="9010" y="245"/>
                    </a:cubicBezTo>
                    <a:lnTo>
                      <a:pt x="8715" y="245"/>
                    </a:lnTo>
                    <a:close/>
                  </a:path>
                </a:pathLst>
              </a:custGeom>
              <a:grpFill/>
              <a:ln w="9835" cap="flat">
                <a:noFill/>
                <a:prstDash val="solid"/>
                <a:miter/>
              </a:ln>
            </p:spPr>
            <p:txBody>
              <a:bodyPr rtlCol="0" anchor="ctr"/>
              <a:lstStyle/>
              <a:p>
                <a:endParaRPr lang="en-IN"/>
              </a:p>
            </p:txBody>
          </p:sp>
          <p:sp>
            <p:nvSpPr>
              <p:cNvPr id="590" name="Freeform: Shape 589">
                <a:extLst>
                  <a:ext uri="{FF2B5EF4-FFF2-40B4-BE49-F238E27FC236}">
                    <a16:creationId xmlns:a16="http://schemas.microsoft.com/office/drawing/2014/main" id="{4B6800FB-F9DA-B154-09E7-30F60D4FB00E}"/>
                  </a:ext>
                </a:extLst>
              </p:cNvPr>
              <p:cNvSpPr/>
              <p:nvPr/>
            </p:nvSpPr>
            <p:spPr>
              <a:xfrm>
                <a:off x="12422078" y="6777518"/>
                <a:ext cx="112362" cy="56237"/>
              </a:xfrm>
              <a:custGeom>
                <a:avLst/>
                <a:gdLst>
                  <a:gd name="connsiteX0" fmla="*/ 87501 w 112362"/>
                  <a:gd name="connsiteY0" fmla="*/ 20028 h 56237"/>
                  <a:gd name="connsiteX1" fmla="*/ 54932 w 112362"/>
                  <a:gd name="connsiteY1" fmla="*/ 742 h 56237"/>
                  <a:gd name="connsiteX2" fmla="*/ 54243 w 112362"/>
                  <a:gd name="connsiteY2" fmla="*/ 1135 h 56237"/>
                  <a:gd name="connsiteX3" fmla="*/ 19411 w 112362"/>
                  <a:gd name="connsiteY3" fmla="*/ 2316 h 56237"/>
                  <a:gd name="connsiteX4" fmla="*/ 2684 w 112362"/>
                  <a:gd name="connsiteY4" fmla="*/ 8318 h 56237"/>
                  <a:gd name="connsiteX5" fmla="*/ 3865 w 112362"/>
                  <a:gd name="connsiteY5" fmla="*/ 19929 h 56237"/>
                  <a:gd name="connsiteX6" fmla="*/ 32793 w 112362"/>
                  <a:gd name="connsiteY6" fmla="*/ 25538 h 56237"/>
                  <a:gd name="connsiteX7" fmla="*/ 79630 w 112362"/>
                  <a:gd name="connsiteY7" fmla="*/ 56237 h 56237"/>
                  <a:gd name="connsiteX8" fmla="*/ 98620 w 112362"/>
                  <a:gd name="connsiteY8" fmla="*/ 56237 h 56237"/>
                  <a:gd name="connsiteX9" fmla="*/ 110919 w 112362"/>
                  <a:gd name="connsiteY9" fmla="*/ 47677 h 56237"/>
                  <a:gd name="connsiteX10" fmla="*/ 96554 w 112362"/>
                  <a:gd name="connsiteY10" fmla="*/ 22881 h 56237"/>
                  <a:gd name="connsiteX11" fmla="*/ 87501 w 112362"/>
                  <a:gd name="connsiteY11" fmla="*/ 20028 h 5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362" h="56237">
                    <a:moveTo>
                      <a:pt x="87501" y="20028"/>
                    </a:moveTo>
                    <a:cubicBezTo>
                      <a:pt x="74808" y="23274"/>
                      <a:pt x="66543" y="-4867"/>
                      <a:pt x="54932" y="742"/>
                    </a:cubicBezTo>
                    <a:lnTo>
                      <a:pt x="54243" y="1135"/>
                    </a:lnTo>
                    <a:cubicBezTo>
                      <a:pt x="47061" y="4579"/>
                      <a:pt x="37319" y="3103"/>
                      <a:pt x="19411" y="2316"/>
                    </a:cubicBezTo>
                    <a:cubicBezTo>
                      <a:pt x="11736" y="2021"/>
                      <a:pt x="5439" y="7039"/>
                      <a:pt x="2684" y="8318"/>
                    </a:cubicBezTo>
                    <a:cubicBezTo>
                      <a:pt x="-3810" y="11959"/>
                      <a:pt x="3471" y="18748"/>
                      <a:pt x="3865" y="19929"/>
                    </a:cubicBezTo>
                    <a:cubicBezTo>
                      <a:pt x="7899" y="25833"/>
                      <a:pt x="13508" y="24750"/>
                      <a:pt x="32793" y="25538"/>
                    </a:cubicBezTo>
                    <a:cubicBezTo>
                      <a:pt x="47159" y="26128"/>
                      <a:pt x="65166" y="56237"/>
                      <a:pt x="79630" y="56237"/>
                    </a:cubicBezTo>
                    <a:lnTo>
                      <a:pt x="98620" y="56237"/>
                    </a:lnTo>
                    <a:cubicBezTo>
                      <a:pt x="106000" y="56237"/>
                      <a:pt x="109739" y="48759"/>
                      <a:pt x="110919" y="47677"/>
                    </a:cubicBezTo>
                    <a:cubicBezTo>
                      <a:pt x="116528" y="40494"/>
                      <a:pt x="104524" y="33901"/>
                      <a:pt x="96554" y="22881"/>
                    </a:cubicBezTo>
                    <a:cubicBezTo>
                      <a:pt x="94586" y="20618"/>
                      <a:pt x="90453" y="19339"/>
                      <a:pt x="87501" y="20028"/>
                    </a:cubicBezTo>
                    <a:close/>
                  </a:path>
                </a:pathLst>
              </a:custGeom>
              <a:grpFill/>
              <a:ln w="9835" cap="flat">
                <a:noFill/>
                <a:prstDash val="solid"/>
                <a:miter/>
              </a:ln>
            </p:spPr>
            <p:txBody>
              <a:bodyPr rtlCol="0" anchor="ctr"/>
              <a:lstStyle/>
              <a:p>
                <a:endParaRPr lang="en-IN"/>
              </a:p>
            </p:txBody>
          </p:sp>
          <p:sp>
            <p:nvSpPr>
              <p:cNvPr id="591" name="Freeform: Shape 590">
                <a:extLst>
                  <a:ext uri="{FF2B5EF4-FFF2-40B4-BE49-F238E27FC236}">
                    <a16:creationId xmlns:a16="http://schemas.microsoft.com/office/drawing/2014/main" id="{BDA54C99-443C-39C0-11B1-78B6A75879C2}"/>
                  </a:ext>
                </a:extLst>
              </p:cNvPr>
              <p:cNvSpPr/>
              <p:nvPr/>
            </p:nvSpPr>
            <p:spPr>
              <a:xfrm>
                <a:off x="12471500" y="6698709"/>
                <a:ext cx="216702" cy="54982"/>
              </a:xfrm>
              <a:custGeom>
                <a:avLst/>
                <a:gdLst>
                  <a:gd name="connsiteX0" fmla="*/ 207911 w 216702"/>
                  <a:gd name="connsiteY0" fmla="*/ 23465 h 54982"/>
                  <a:gd name="connsiteX1" fmla="*/ 215290 w 216702"/>
                  <a:gd name="connsiteY1" fmla="*/ 17561 h 54982"/>
                  <a:gd name="connsiteX2" fmla="*/ 216373 w 216702"/>
                  <a:gd name="connsiteY2" fmla="*/ 14707 h 54982"/>
                  <a:gd name="connsiteX3" fmla="*/ 212634 w 216702"/>
                  <a:gd name="connsiteY3" fmla="*/ 9493 h 54982"/>
                  <a:gd name="connsiteX4" fmla="*/ 198661 w 216702"/>
                  <a:gd name="connsiteY4" fmla="*/ 4868 h 54982"/>
                  <a:gd name="connsiteX5" fmla="*/ 196989 w 216702"/>
                  <a:gd name="connsiteY5" fmla="*/ 2310 h 54982"/>
                  <a:gd name="connsiteX6" fmla="*/ 189511 w 216702"/>
                  <a:gd name="connsiteY6" fmla="*/ 1129 h 54982"/>
                  <a:gd name="connsiteX7" fmla="*/ 188723 w 216702"/>
                  <a:gd name="connsiteY7" fmla="*/ 1817 h 54982"/>
                  <a:gd name="connsiteX8" fmla="*/ 182033 w 216702"/>
                  <a:gd name="connsiteY8" fmla="*/ 15790 h 54982"/>
                  <a:gd name="connsiteX9" fmla="*/ 153104 w 216702"/>
                  <a:gd name="connsiteY9" fmla="*/ 29073 h 54982"/>
                  <a:gd name="connsiteX10" fmla="*/ 132835 w 216702"/>
                  <a:gd name="connsiteY10" fmla="*/ 22973 h 54982"/>
                  <a:gd name="connsiteX11" fmla="*/ 112467 w 216702"/>
                  <a:gd name="connsiteY11" fmla="*/ 27007 h 54982"/>
                  <a:gd name="connsiteX12" fmla="*/ 110695 w 216702"/>
                  <a:gd name="connsiteY12" fmla="*/ 28876 h 54982"/>
                  <a:gd name="connsiteX13" fmla="*/ 101545 w 216702"/>
                  <a:gd name="connsiteY13" fmla="*/ 30844 h 54982"/>
                  <a:gd name="connsiteX14" fmla="*/ 0 w 216702"/>
                  <a:gd name="connsiteY14" fmla="*/ 33501 h 54982"/>
                  <a:gd name="connsiteX15" fmla="*/ 0 w 216702"/>
                  <a:gd name="connsiteY15" fmla="*/ 35764 h 54982"/>
                  <a:gd name="connsiteX16" fmla="*/ 12398 w 216702"/>
                  <a:gd name="connsiteY16" fmla="*/ 48458 h 54982"/>
                  <a:gd name="connsiteX17" fmla="*/ 65434 w 216702"/>
                  <a:gd name="connsiteY17" fmla="*/ 49244 h 54982"/>
                  <a:gd name="connsiteX18" fmla="*/ 78323 w 216702"/>
                  <a:gd name="connsiteY18" fmla="*/ 54952 h 54982"/>
                  <a:gd name="connsiteX19" fmla="*/ 97609 w 216702"/>
                  <a:gd name="connsiteY19" fmla="*/ 49736 h 54982"/>
                  <a:gd name="connsiteX20" fmla="*/ 131851 w 216702"/>
                  <a:gd name="connsiteY20" fmla="*/ 50229 h 54982"/>
                  <a:gd name="connsiteX21" fmla="*/ 151038 w 216702"/>
                  <a:gd name="connsiteY21" fmla="*/ 43439 h 54982"/>
                  <a:gd name="connsiteX22" fmla="*/ 171504 w 216702"/>
                  <a:gd name="connsiteY22" fmla="*/ 42554 h 54982"/>
                  <a:gd name="connsiteX23" fmla="*/ 194726 w 216702"/>
                  <a:gd name="connsiteY23" fmla="*/ 27794 h 54982"/>
                  <a:gd name="connsiteX24" fmla="*/ 208009 w 216702"/>
                  <a:gd name="connsiteY24" fmla="*/ 23760 h 5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6702" h="54982">
                    <a:moveTo>
                      <a:pt x="207911" y="23465"/>
                    </a:moveTo>
                    <a:cubicBezTo>
                      <a:pt x="210961" y="23071"/>
                      <a:pt x="214307" y="20414"/>
                      <a:pt x="215290" y="17561"/>
                    </a:cubicBezTo>
                    <a:lnTo>
                      <a:pt x="216373" y="14707"/>
                    </a:lnTo>
                    <a:cubicBezTo>
                      <a:pt x="217455" y="11854"/>
                      <a:pt x="215782" y="9493"/>
                      <a:pt x="212634" y="9493"/>
                    </a:cubicBezTo>
                    <a:cubicBezTo>
                      <a:pt x="211059" y="9197"/>
                      <a:pt x="202794" y="11067"/>
                      <a:pt x="198661" y="4868"/>
                    </a:cubicBezTo>
                    <a:lnTo>
                      <a:pt x="196989" y="2310"/>
                    </a:lnTo>
                    <a:cubicBezTo>
                      <a:pt x="195316" y="-248"/>
                      <a:pt x="191872" y="-740"/>
                      <a:pt x="189511" y="1129"/>
                    </a:cubicBezTo>
                    <a:lnTo>
                      <a:pt x="188723" y="1817"/>
                    </a:lnTo>
                    <a:cubicBezTo>
                      <a:pt x="182033" y="7131"/>
                      <a:pt x="189117" y="11264"/>
                      <a:pt x="182033" y="15790"/>
                    </a:cubicBezTo>
                    <a:cubicBezTo>
                      <a:pt x="163141" y="27991"/>
                      <a:pt x="159697" y="31829"/>
                      <a:pt x="153104" y="29073"/>
                    </a:cubicBezTo>
                    <a:cubicBezTo>
                      <a:pt x="146118" y="26122"/>
                      <a:pt x="139821" y="22973"/>
                      <a:pt x="132835" y="22973"/>
                    </a:cubicBezTo>
                    <a:cubicBezTo>
                      <a:pt x="127423" y="23465"/>
                      <a:pt x="118272" y="21005"/>
                      <a:pt x="112467" y="27007"/>
                    </a:cubicBezTo>
                    <a:lnTo>
                      <a:pt x="110695" y="28876"/>
                    </a:lnTo>
                    <a:cubicBezTo>
                      <a:pt x="108531" y="31041"/>
                      <a:pt x="104496" y="31927"/>
                      <a:pt x="101545" y="30844"/>
                    </a:cubicBezTo>
                    <a:cubicBezTo>
                      <a:pt x="27453" y="2506"/>
                      <a:pt x="59136" y="6442"/>
                      <a:pt x="0" y="33501"/>
                    </a:cubicBezTo>
                    <a:lnTo>
                      <a:pt x="0" y="35764"/>
                    </a:lnTo>
                    <a:cubicBezTo>
                      <a:pt x="2361" y="39011"/>
                      <a:pt x="4329" y="48950"/>
                      <a:pt x="12398" y="48458"/>
                    </a:cubicBezTo>
                    <a:cubicBezTo>
                      <a:pt x="57562" y="45899"/>
                      <a:pt x="59825" y="44620"/>
                      <a:pt x="65434" y="49244"/>
                    </a:cubicBezTo>
                    <a:cubicBezTo>
                      <a:pt x="66417" y="49835"/>
                      <a:pt x="71141" y="55443"/>
                      <a:pt x="78323" y="54952"/>
                    </a:cubicBezTo>
                    <a:cubicBezTo>
                      <a:pt x="83834" y="54066"/>
                      <a:pt x="94263" y="56034"/>
                      <a:pt x="97609" y="49736"/>
                    </a:cubicBezTo>
                    <a:cubicBezTo>
                      <a:pt x="102431" y="40487"/>
                      <a:pt x="120240" y="56624"/>
                      <a:pt x="131851" y="50229"/>
                    </a:cubicBezTo>
                    <a:cubicBezTo>
                      <a:pt x="140706" y="45309"/>
                      <a:pt x="144642" y="42554"/>
                      <a:pt x="151038" y="43439"/>
                    </a:cubicBezTo>
                    <a:cubicBezTo>
                      <a:pt x="156351" y="43636"/>
                      <a:pt x="164617" y="46981"/>
                      <a:pt x="171504" y="42554"/>
                    </a:cubicBezTo>
                    <a:lnTo>
                      <a:pt x="194726" y="27794"/>
                    </a:lnTo>
                    <a:cubicBezTo>
                      <a:pt x="200334" y="24252"/>
                      <a:pt x="208993" y="23563"/>
                      <a:pt x="208009" y="23760"/>
                    </a:cubicBezTo>
                    <a:close/>
                  </a:path>
                </a:pathLst>
              </a:custGeom>
              <a:grpFill/>
              <a:ln w="9835" cap="flat">
                <a:noFill/>
                <a:prstDash val="solid"/>
                <a:miter/>
              </a:ln>
            </p:spPr>
            <p:txBody>
              <a:bodyPr rtlCol="0" anchor="ctr"/>
              <a:lstStyle/>
              <a:p>
                <a:endParaRPr lang="en-IN"/>
              </a:p>
            </p:txBody>
          </p:sp>
          <p:sp>
            <p:nvSpPr>
              <p:cNvPr id="592" name="Freeform: Shape 591">
                <a:extLst>
                  <a:ext uri="{FF2B5EF4-FFF2-40B4-BE49-F238E27FC236}">
                    <a16:creationId xmlns:a16="http://schemas.microsoft.com/office/drawing/2014/main" id="{BC0ACBF6-B8C3-0785-E437-5BFBA7E3F92B}"/>
                  </a:ext>
                </a:extLst>
              </p:cNvPr>
              <p:cNvSpPr/>
              <p:nvPr/>
            </p:nvSpPr>
            <p:spPr>
              <a:xfrm>
                <a:off x="12693695" y="6706150"/>
                <a:ext cx="32388" cy="22237"/>
              </a:xfrm>
              <a:custGeom>
                <a:avLst/>
                <a:gdLst>
                  <a:gd name="connsiteX0" fmla="*/ 7559 w 32388"/>
                  <a:gd name="connsiteY0" fmla="*/ 22124 h 22237"/>
                  <a:gd name="connsiteX1" fmla="*/ 30978 w 32388"/>
                  <a:gd name="connsiteY1" fmla="*/ 5101 h 22237"/>
                  <a:gd name="connsiteX2" fmla="*/ 20252 w 32388"/>
                  <a:gd name="connsiteY2" fmla="*/ 2936 h 22237"/>
                  <a:gd name="connsiteX3" fmla="*/ 9527 w 32388"/>
                  <a:gd name="connsiteY3" fmla="*/ 9923 h 22237"/>
                  <a:gd name="connsiteX4" fmla="*/ 868 w 32388"/>
                  <a:gd name="connsiteY4" fmla="*/ 17401 h 22237"/>
                  <a:gd name="connsiteX5" fmla="*/ 7657 w 32388"/>
                  <a:gd name="connsiteY5" fmla="*/ 22124 h 22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88" h="22237">
                    <a:moveTo>
                      <a:pt x="7559" y="22124"/>
                    </a:moveTo>
                    <a:cubicBezTo>
                      <a:pt x="15234" y="22124"/>
                      <a:pt x="20646" y="14941"/>
                      <a:pt x="30978" y="5101"/>
                    </a:cubicBezTo>
                    <a:cubicBezTo>
                      <a:pt x="36192" y="83"/>
                      <a:pt x="25664" y="-2278"/>
                      <a:pt x="20252" y="2936"/>
                    </a:cubicBezTo>
                    <a:cubicBezTo>
                      <a:pt x="21236" y="2150"/>
                      <a:pt x="14742" y="9037"/>
                      <a:pt x="9527" y="9923"/>
                    </a:cubicBezTo>
                    <a:cubicBezTo>
                      <a:pt x="4312" y="10906"/>
                      <a:pt x="1754" y="16417"/>
                      <a:pt x="868" y="17401"/>
                    </a:cubicBezTo>
                    <a:cubicBezTo>
                      <a:pt x="-3068" y="23403"/>
                      <a:pt x="7657" y="22124"/>
                      <a:pt x="7657" y="22124"/>
                    </a:cubicBezTo>
                    <a:close/>
                  </a:path>
                </a:pathLst>
              </a:custGeom>
              <a:grpFill/>
              <a:ln w="9835" cap="flat">
                <a:noFill/>
                <a:prstDash val="solid"/>
                <a:miter/>
              </a:ln>
            </p:spPr>
            <p:txBody>
              <a:bodyPr rtlCol="0" anchor="ctr"/>
              <a:lstStyle/>
              <a:p>
                <a:endParaRPr lang="en-IN"/>
              </a:p>
            </p:txBody>
          </p:sp>
          <p:sp>
            <p:nvSpPr>
              <p:cNvPr id="593" name="Freeform: Shape 592">
                <a:extLst>
                  <a:ext uri="{FF2B5EF4-FFF2-40B4-BE49-F238E27FC236}">
                    <a16:creationId xmlns:a16="http://schemas.microsoft.com/office/drawing/2014/main" id="{E65A7C79-A407-6A4C-1C8D-8772862C977F}"/>
                  </a:ext>
                </a:extLst>
              </p:cNvPr>
              <p:cNvSpPr/>
              <p:nvPr/>
            </p:nvSpPr>
            <p:spPr>
              <a:xfrm>
                <a:off x="12731220" y="6709983"/>
                <a:ext cx="19027" cy="15986"/>
              </a:xfrm>
              <a:custGeom>
                <a:avLst/>
                <a:gdLst>
                  <a:gd name="connsiteX0" fmla="*/ 13624 w 19027"/>
                  <a:gd name="connsiteY0" fmla="*/ 13765 h 15986"/>
                  <a:gd name="connsiteX1" fmla="*/ 17559 w 19027"/>
                  <a:gd name="connsiteY1" fmla="*/ 8353 h 15986"/>
                  <a:gd name="connsiteX2" fmla="*/ 9393 w 19027"/>
                  <a:gd name="connsiteY2" fmla="*/ 1071 h 15986"/>
                  <a:gd name="connsiteX3" fmla="*/ 1619 w 19027"/>
                  <a:gd name="connsiteY3" fmla="*/ 10518 h 15986"/>
                  <a:gd name="connsiteX4" fmla="*/ 13624 w 19027"/>
                  <a:gd name="connsiteY4" fmla="*/ 13765 h 15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27" h="15986">
                    <a:moveTo>
                      <a:pt x="13624" y="13765"/>
                    </a:moveTo>
                    <a:lnTo>
                      <a:pt x="17559" y="8353"/>
                    </a:lnTo>
                    <a:cubicBezTo>
                      <a:pt x="21889" y="2449"/>
                      <a:pt x="15887" y="-2175"/>
                      <a:pt x="9393" y="1071"/>
                    </a:cubicBezTo>
                    <a:cubicBezTo>
                      <a:pt x="7326" y="2548"/>
                      <a:pt x="-4186" y="5302"/>
                      <a:pt x="1619" y="10518"/>
                    </a:cubicBezTo>
                    <a:cubicBezTo>
                      <a:pt x="3095" y="11305"/>
                      <a:pt x="9196" y="19964"/>
                      <a:pt x="13624" y="13765"/>
                    </a:cubicBezTo>
                    <a:close/>
                  </a:path>
                </a:pathLst>
              </a:custGeom>
              <a:grpFill/>
              <a:ln w="9835" cap="flat">
                <a:noFill/>
                <a:prstDash val="solid"/>
                <a:miter/>
              </a:ln>
            </p:spPr>
            <p:txBody>
              <a:bodyPr rtlCol="0" anchor="ctr"/>
              <a:lstStyle/>
              <a:p>
                <a:endParaRPr lang="en-IN"/>
              </a:p>
            </p:txBody>
          </p:sp>
          <p:sp>
            <p:nvSpPr>
              <p:cNvPr id="594" name="Freeform: Shape 593">
                <a:extLst>
                  <a:ext uri="{FF2B5EF4-FFF2-40B4-BE49-F238E27FC236}">
                    <a16:creationId xmlns:a16="http://schemas.microsoft.com/office/drawing/2014/main" id="{5D3EE338-389E-F44C-DF5F-E9EF4FA0EF6F}"/>
                  </a:ext>
                </a:extLst>
              </p:cNvPr>
              <p:cNvSpPr/>
              <p:nvPr/>
            </p:nvSpPr>
            <p:spPr>
              <a:xfrm>
                <a:off x="12758336" y="6705053"/>
                <a:ext cx="45392" cy="15886"/>
              </a:xfrm>
              <a:custGeom>
                <a:avLst/>
                <a:gdLst>
                  <a:gd name="connsiteX0" fmla="*/ 38264 w 45392"/>
                  <a:gd name="connsiteY0" fmla="*/ 98 h 15886"/>
                  <a:gd name="connsiteX1" fmla="*/ 5104 w 45392"/>
                  <a:gd name="connsiteY1" fmla="*/ 4821 h 15886"/>
                  <a:gd name="connsiteX2" fmla="*/ 3236 w 45392"/>
                  <a:gd name="connsiteY2" fmla="*/ 15842 h 15886"/>
                  <a:gd name="connsiteX3" fmla="*/ 41019 w 45392"/>
                  <a:gd name="connsiteY3" fmla="*/ 12103 h 15886"/>
                  <a:gd name="connsiteX4" fmla="*/ 45250 w 45392"/>
                  <a:gd name="connsiteY4" fmla="*/ 6101 h 15886"/>
                  <a:gd name="connsiteX5" fmla="*/ 45054 w 45392"/>
                  <a:gd name="connsiteY5" fmla="*/ 5412 h 15886"/>
                  <a:gd name="connsiteX6" fmla="*/ 38166 w 45392"/>
                  <a:gd name="connsiteY6" fmla="*/ 0 h 1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92" h="15886">
                    <a:moveTo>
                      <a:pt x="38264" y="98"/>
                    </a:moveTo>
                    <a:cubicBezTo>
                      <a:pt x="13960" y="98"/>
                      <a:pt x="8942" y="-1082"/>
                      <a:pt x="5104" y="4821"/>
                    </a:cubicBezTo>
                    <a:cubicBezTo>
                      <a:pt x="4219" y="6888"/>
                      <a:pt x="-4637" y="16629"/>
                      <a:pt x="3236" y="15842"/>
                    </a:cubicBezTo>
                    <a:lnTo>
                      <a:pt x="41019" y="12103"/>
                    </a:lnTo>
                    <a:cubicBezTo>
                      <a:pt x="44069" y="11808"/>
                      <a:pt x="45939" y="9151"/>
                      <a:pt x="45250" y="6101"/>
                    </a:cubicBezTo>
                    <a:lnTo>
                      <a:pt x="45054" y="5412"/>
                    </a:lnTo>
                    <a:cubicBezTo>
                      <a:pt x="44365" y="2460"/>
                      <a:pt x="41216" y="0"/>
                      <a:pt x="38166" y="0"/>
                    </a:cubicBezTo>
                    <a:close/>
                  </a:path>
                </a:pathLst>
              </a:custGeom>
              <a:grpFill/>
              <a:ln w="9835" cap="flat">
                <a:noFill/>
                <a:prstDash val="solid"/>
                <a:miter/>
              </a:ln>
            </p:spPr>
            <p:txBody>
              <a:bodyPr rtlCol="0" anchor="ctr"/>
              <a:lstStyle/>
              <a:p>
                <a:endParaRPr lang="en-IN"/>
              </a:p>
            </p:txBody>
          </p:sp>
          <p:sp>
            <p:nvSpPr>
              <p:cNvPr id="595" name="Freeform: Shape 594">
                <a:extLst>
                  <a:ext uri="{FF2B5EF4-FFF2-40B4-BE49-F238E27FC236}">
                    <a16:creationId xmlns:a16="http://schemas.microsoft.com/office/drawing/2014/main" id="{40C386F1-CFE8-5395-61A0-A2B60644E724}"/>
                  </a:ext>
                </a:extLst>
              </p:cNvPr>
              <p:cNvSpPr/>
              <p:nvPr/>
            </p:nvSpPr>
            <p:spPr>
              <a:xfrm>
                <a:off x="12592406" y="6846645"/>
                <a:ext cx="18606" cy="14781"/>
              </a:xfrm>
              <a:custGeom>
                <a:avLst/>
                <a:gdLst>
                  <a:gd name="connsiteX0" fmla="*/ 14487 w 18606"/>
                  <a:gd name="connsiteY0" fmla="*/ 0 h 14781"/>
                  <a:gd name="connsiteX1" fmla="*/ 12420 w 18606"/>
                  <a:gd name="connsiteY1" fmla="*/ 0 h 14781"/>
                  <a:gd name="connsiteX2" fmla="*/ 809 w 18606"/>
                  <a:gd name="connsiteY2" fmla="*/ 13185 h 14781"/>
                  <a:gd name="connsiteX3" fmla="*/ 18324 w 18606"/>
                  <a:gd name="connsiteY3" fmla="*/ 5412 h 14781"/>
                  <a:gd name="connsiteX4" fmla="*/ 14487 w 18606"/>
                  <a:gd name="connsiteY4" fmla="*/ 0 h 14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6" h="14781">
                    <a:moveTo>
                      <a:pt x="14487" y="0"/>
                    </a:moveTo>
                    <a:lnTo>
                      <a:pt x="12420" y="0"/>
                    </a:lnTo>
                    <a:cubicBezTo>
                      <a:pt x="4155" y="0"/>
                      <a:pt x="-2339" y="9544"/>
                      <a:pt x="809" y="13185"/>
                    </a:cubicBezTo>
                    <a:cubicBezTo>
                      <a:pt x="4352" y="17416"/>
                      <a:pt x="16061" y="12693"/>
                      <a:pt x="18324" y="5412"/>
                    </a:cubicBezTo>
                    <a:cubicBezTo>
                      <a:pt x="18423" y="6395"/>
                      <a:pt x="19997" y="0"/>
                      <a:pt x="14487" y="0"/>
                    </a:cubicBezTo>
                    <a:close/>
                  </a:path>
                </a:pathLst>
              </a:custGeom>
              <a:grpFill/>
              <a:ln w="9835" cap="flat">
                <a:noFill/>
                <a:prstDash val="solid"/>
                <a:miter/>
              </a:ln>
            </p:spPr>
            <p:txBody>
              <a:bodyPr rtlCol="0" anchor="ctr"/>
              <a:lstStyle/>
              <a:p>
                <a:endParaRPr lang="en-IN"/>
              </a:p>
            </p:txBody>
          </p:sp>
          <p:sp>
            <p:nvSpPr>
              <p:cNvPr id="596" name="Freeform: Shape 595">
                <a:extLst>
                  <a:ext uri="{FF2B5EF4-FFF2-40B4-BE49-F238E27FC236}">
                    <a16:creationId xmlns:a16="http://schemas.microsoft.com/office/drawing/2014/main" id="{4B4A79D5-3DCB-01DD-50B6-18AD08CA9459}"/>
                  </a:ext>
                </a:extLst>
              </p:cNvPr>
              <p:cNvSpPr/>
              <p:nvPr/>
            </p:nvSpPr>
            <p:spPr>
              <a:xfrm>
                <a:off x="12660544" y="6852339"/>
                <a:ext cx="36046" cy="29197"/>
              </a:xfrm>
              <a:custGeom>
                <a:avLst/>
                <a:gdLst>
                  <a:gd name="connsiteX0" fmla="*/ 33331 w 36046"/>
                  <a:gd name="connsiteY0" fmla="*/ 701 h 29197"/>
                  <a:gd name="connsiteX1" fmla="*/ 31953 w 36046"/>
                  <a:gd name="connsiteY1" fmla="*/ 307 h 29197"/>
                  <a:gd name="connsiteX2" fmla="*/ 22998 w 36046"/>
                  <a:gd name="connsiteY2" fmla="*/ 2866 h 29197"/>
                  <a:gd name="connsiteX3" fmla="*/ 20047 w 36046"/>
                  <a:gd name="connsiteY3" fmla="*/ 6309 h 29197"/>
                  <a:gd name="connsiteX4" fmla="*/ 4598 w 36046"/>
                  <a:gd name="connsiteY4" fmla="*/ 14181 h 29197"/>
                  <a:gd name="connsiteX5" fmla="*/ 73 w 36046"/>
                  <a:gd name="connsiteY5" fmla="*/ 21364 h 29197"/>
                  <a:gd name="connsiteX6" fmla="*/ 663 w 36046"/>
                  <a:gd name="connsiteY6" fmla="*/ 25694 h 29197"/>
                  <a:gd name="connsiteX7" fmla="*/ 6370 w 36046"/>
                  <a:gd name="connsiteY7" fmla="*/ 28645 h 29197"/>
                  <a:gd name="connsiteX8" fmla="*/ 25262 w 36046"/>
                  <a:gd name="connsiteY8" fmla="*/ 16739 h 29197"/>
                  <a:gd name="connsiteX9" fmla="*/ 33331 w 36046"/>
                  <a:gd name="connsiteY9" fmla="*/ 799 h 2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46" h="29197">
                    <a:moveTo>
                      <a:pt x="33331" y="701"/>
                    </a:moveTo>
                    <a:lnTo>
                      <a:pt x="31953" y="307"/>
                    </a:lnTo>
                    <a:cubicBezTo>
                      <a:pt x="29001" y="-579"/>
                      <a:pt x="25065" y="504"/>
                      <a:pt x="22998" y="2866"/>
                    </a:cubicBezTo>
                    <a:lnTo>
                      <a:pt x="20047" y="6309"/>
                    </a:lnTo>
                    <a:cubicBezTo>
                      <a:pt x="15127" y="12115"/>
                      <a:pt x="3615" y="14575"/>
                      <a:pt x="4598" y="14181"/>
                    </a:cubicBezTo>
                    <a:cubicBezTo>
                      <a:pt x="1647" y="15067"/>
                      <a:pt x="-420" y="18314"/>
                      <a:pt x="73" y="21364"/>
                    </a:cubicBezTo>
                    <a:lnTo>
                      <a:pt x="663" y="25694"/>
                    </a:lnTo>
                    <a:cubicBezTo>
                      <a:pt x="1056" y="28744"/>
                      <a:pt x="3615" y="30023"/>
                      <a:pt x="6370" y="28645"/>
                    </a:cubicBezTo>
                    <a:cubicBezTo>
                      <a:pt x="13553" y="24906"/>
                      <a:pt x="20244" y="21955"/>
                      <a:pt x="25262" y="16739"/>
                    </a:cubicBezTo>
                    <a:cubicBezTo>
                      <a:pt x="29001" y="11623"/>
                      <a:pt x="41497" y="3456"/>
                      <a:pt x="33331" y="799"/>
                    </a:cubicBezTo>
                    <a:close/>
                  </a:path>
                </a:pathLst>
              </a:custGeom>
              <a:grpFill/>
              <a:ln w="9835" cap="flat">
                <a:noFill/>
                <a:prstDash val="solid"/>
                <a:miter/>
              </a:ln>
            </p:spPr>
            <p:txBody>
              <a:bodyPr rtlCol="0" anchor="ctr"/>
              <a:lstStyle/>
              <a:p>
                <a:endParaRPr lang="en-IN"/>
              </a:p>
            </p:txBody>
          </p:sp>
          <p:sp>
            <p:nvSpPr>
              <p:cNvPr id="597" name="Freeform: Shape 596">
                <a:extLst>
                  <a:ext uri="{FF2B5EF4-FFF2-40B4-BE49-F238E27FC236}">
                    <a16:creationId xmlns:a16="http://schemas.microsoft.com/office/drawing/2014/main" id="{16AB0E88-D01D-EEE1-9D10-9740FDA593E9}"/>
                  </a:ext>
                </a:extLst>
              </p:cNvPr>
              <p:cNvSpPr/>
              <p:nvPr/>
            </p:nvSpPr>
            <p:spPr>
              <a:xfrm>
                <a:off x="12837798" y="6667120"/>
                <a:ext cx="74450" cy="32033"/>
              </a:xfrm>
              <a:custGeom>
                <a:avLst/>
                <a:gdLst>
                  <a:gd name="connsiteX0" fmla="*/ 12231 w 74450"/>
                  <a:gd name="connsiteY0" fmla="*/ 9890 h 32033"/>
                  <a:gd name="connsiteX1" fmla="*/ 2785 w 74450"/>
                  <a:gd name="connsiteY1" fmla="*/ 31340 h 32033"/>
                  <a:gd name="connsiteX2" fmla="*/ 32796 w 74450"/>
                  <a:gd name="connsiteY2" fmla="*/ 21205 h 32033"/>
                  <a:gd name="connsiteX3" fmla="*/ 52573 w 74450"/>
                  <a:gd name="connsiteY3" fmla="*/ 22386 h 32033"/>
                  <a:gd name="connsiteX4" fmla="*/ 64381 w 74450"/>
                  <a:gd name="connsiteY4" fmla="*/ 13629 h 32033"/>
                  <a:gd name="connsiteX5" fmla="*/ 72646 w 74450"/>
                  <a:gd name="connsiteY5" fmla="*/ 8906 h 32033"/>
                  <a:gd name="connsiteX6" fmla="*/ 52672 w 74450"/>
                  <a:gd name="connsiteY6" fmla="*/ 837 h 32033"/>
                  <a:gd name="connsiteX7" fmla="*/ 31910 w 74450"/>
                  <a:gd name="connsiteY7" fmla="*/ 7036 h 32033"/>
                  <a:gd name="connsiteX8" fmla="*/ 12133 w 74450"/>
                  <a:gd name="connsiteY8" fmla="*/ 9792 h 3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450" h="32033">
                    <a:moveTo>
                      <a:pt x="12231" y="9890"/>
                    </a:moveTo>
                    <a:cubicBezTo>
                      <a:pt x="3080" y="25043"/>
                      <a:pt x="-4201" y="34784"/>
                      <a:pt x="2785" y="31340"/>
                    </a:cubicBezTo>
                    <a:cubicBezTo>
                      <a:pt x="19709" y="23173"/>
                      <a:pt x="25810" y="18844"/>
                      <a:pt x="32796" y="21205"/>
                    </a:cubicBezTo>
                    <a:cubicBezTo>
                      <a:pt x="38503" y="22386"/>
                      <a:pt x="47456" y="28979"/>
                      <a:pt x="52573" y="22386"/>
                    </a:cubicBezTo>
                    <a:cubicBezTo>
                      <a:pt x="53557" y="21402"/>
                      <a:pt x="57100" y="14514"/>
                      <a:pt x="64381" y="13629"/>
                    </a:cubicBezTo>
                    <a:cubicBezTo>
                      <a:pt x="66152" y="13137"/>
                      <a:pt x="79140" y="13432"/>
                      <a:pt x="72646" y="8906"/>
                    </a:cubicBezTo>
                    <a:cubicBezTo>
                      <a:pt x="67234" y="5954"/>
                      <a:pt x="60445" y="-2705"/>
                      <a:pt x="52672" y="837"/>
                    </a:cubicBezTo>
                    <a:cubicBezTo>
                      <a:pt x="44702" y="4478"/>
                      <a:pt x="38896" y="7922"/>
                      <a:pt x="31910" y="7036"/>
                    </a:cubicBezTo>
                    <a:cubicBezTo>
                      <a:pt x="31910" y="7036"/>
                      <a:pt x="16364" y="2608"/>
                      <a:pt x="12133" y="9792"/>
                    </a:cubicBezTo>
                    <a:close/>
                  </a:path>
                </a:pathLst>
              </a:custGeom>
              <a:grpFill/>
              <a:ln w="9835" cap="flat">
                <a:noFill/>
                <a:prstDash val="solid"/>
                <a:miter/>
              </a:ln>
            </p:spPr>
            <p:txBody>
              <a:bodyPr rtlCol="0" anchor="ctr"/>
              <a:lstStyle/>
              <a:p>
                <a:endParaRPr lang="en-IN"/>
              </a:p>
            </p:txBody>
          </p:sp>
          <p:sp>
            <p:nvSpPr>
              <p:cNvPr id="598" name="Freeform: Shape 597">
                <a:extLst>
                  <a:ext uri="{FF2B5EF4-FFF2-40B4-BE49-F238E27FC236}">
                    <a16:creationId xmlns:a16="http://schemas.microsoft.com/office/drawing/2014/main" id="{A8C80493-C2E6-8265-0835-E813E3148EEA}"/>
                  </a:ext>
                </a:extLst>
              </p:cNvPr>
              <p:cNvSpPr/>
              <p:nvPr/>
            </p:nvSpPr>
            <p:spPr>
              <a:xfrm>
                <a:off x="12511927" y="6557195"/>
                <a:ext cx="12271" cy="41522"/>
              </a:xfrm>
              <a:custGeom>
                <a:avLst/>
                <a:gdLst>
                  <a:gd name="connsiteX0" fmla="*/ 6409 w 12271"/>
                  <a:gd name="connsiteY0" fmla="*/ 1740 h 41522"/>
                  <a:gd name="connsiteX1" fmla="*/ 13 w 12271"/>
                  <a:gd name="connsiteY1" fmla="*/ 37359 h 41522"/>
                  <a:gd name="connsiteX2" fmla="*/ 4736 w 12271"/>
                  <a:gd name="connsiteY2" fmla="*/ 41294 h 41522"/>
                  <a:gd name="connsiteX3" fmla="*/ 12215 w 12271"/>
                  <a:gd name="connsiteY3" fmla="*/ 14826 h 41522"/>
                  <a:gd name="connsiteX4" fmla="*/ 6507 w 12271"/>
                  <a:gd name="connsiteY4" fmla="*/ 1641 h 41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1" h="41522">
                    <a:moveTo>
                      <a:pt x="6409" y="1740"/>
                    </a:moveTo>
                    <a:cubicBezTo>
                      <a:pt x="1588" y="-4165"/>
                      <a:pt x="2375" y="4297"/>
                      <a:pt x="13" y="37359"/>
                    </a:cubicBezTo>
                    <a:cubicBezTo>
                      <a:pt x="-183" y="40409"/>
                      <a:pt x="1882" y="42180"/>
                      <a:pt x="4736" y="41294"/>
                    </a:cubicBezTo>
                    <a:cubicBezTo>
                      <a:pt x="11230" y="39228"/>
                      <a:pt x="10541" y="33029"/>
                      <a:pt x="12215" y="14826"/>
                    </a:cubicBezTo>
                    <a:cubicBezTo>
                      <a:pt x="12903" y="7643"/>
                      <a:pt x="7098" y="2723"/>
                      <a:pt x="6507" y="1641"/>
                    </a:cubicBezTo>
                    <a:close/>
                  </a:path>
                </a:pathLst>
              </a:custGeom>
              <a:grpFill/>
              <a:ln w="9835" cap="flat">
                <a:noFill/>
                <a:prstDash val="solid"/>
                <a:miter/>
              </a:ln>
            </p:spPr>
            <p:txBody>
              <a:bodyPr rtlCol="0" anchor="ctr"/>
              <a:lstStyle/>
              <a:p>
                <a:endParaRPr lang="en-IN"/>
              </a:p>
            </p:txBody>
          </p:sp>
          <p:sp>
            <p:nvSpPr>
              <p:cNvPr id="599" name="Freeform: Shape 598">
                <a:extLst>
                  <a:ext uri="{FF2B5EF4-FFF2-40B4-BE49-F238E27FC236}">
                    <a16:creationId xmlns:a16="http://schemas.microsoft.com/office/drawing/2014/main" id="{84044A76-42E4-544F-CBD1-A9A53D65E599}"/>
                  </a:ext>
                </a:extLst>
              </p:cNvPr>
              <p:cNvSpPr/>
              <p:nvPr/>
            </p:nvSpPr>
            <p:spPr>
              <a:xfrm>
                <a:off x="12520592" y="6630066"/>
                <a:ext cx="13440" cy="11841"/>
              </a:xfrm>
              <a:custGeom>
                <a:avLst/>
                <a:gdLst>
                  <a:gd name="connsiteX0" fmla="*/ 3156 w 13440"/>
                  <a:gd name="connsiteY0" fmla="*/ 1682 h 11841"/>
                  <a:gd name="connsiteX1" fmla="*/ 1582 w 13440"/>
                  <a:gd name="connsiteY1" fmla="*/ 3158 h 11841"/>
                  <a:gd name="connsiteX2" fmla="*/ 1975 w 13440"/>
                  <a:gd name="connsiteY2" fmla="*/ 10144 h 11841"/>
                  <a:gd name="connsiteX3" fmla="*/ 2664 w 13440"/>
                  <a:gd name="connsiteY3" fmla="*/ 10636 h 11841"/>
                  <a:gd name="connsiteX4" fmla="*/ 11716 w 13440"/>
                  <a:gd name="connsiteY4" fmla="*/ 9652 h 11841"/>
                  <a:gd name="connsiteX5" fmla="*/ 3057 w 13440"/>
                  <a:gd name="connsiteY5" fmla="*/ 1584 h 1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40" h="11841">
                    <a:moveTo>
                      <a:pt x="3156" y="1682"/>
                    </a:moveTo>
                    <a:lnTo>
                      <a:pt x="1582" y="3158"/>
                    </a:lnTo>
                    <a:cubicBezTo>
                      <a:pt x="-682" y="5224"/>
                      <a:pt x="-485" y="8373"/>
                      <a:pt x="1975" y="10144"/>
                    </a:cubicBezTo>
                    <a:lnTo>
                      <a:pt x="2664" y="10636"/>
                    </a:lnTo>
                    <a:cubicBezTo>
                      <a:pt x="7387" y="13982"/>
                      <a:pt x="12700" y="9259"/>
                      <a:pt x="11716" y="9652"/>
                    </a:cubicBezTo>
                    <a:cubicBezTo>
                      <a:pt x="17128" y="4634"/>
                      <a:pt x="8567" y="-3434"/>
                      <a:pt x="3057" y="1584"/>
                    </a:cubicBezTo>
                    <a:close/>
                  </a:path>
                </a:pathLst>
              </a:custGeom>
              <a:grpFill/>
              <a:ln w="9835" cap="flat">
                <a:noFill/>
                <a:prstDash val="solid"/>
                <a:miter/>
              </a:ln>
            </p:spPr>
            <p:txBody>
              <a:bodyPr rtlCol="0" anchor="ctr"/>
              <a:lstStyle/>
              <a:p>
                <a:endParaRPr lang="en-IN"/>
              </a:p>
            </p:txBody>
          </p:sp>
          <p:sp>
            <p:nvSpPr>
              <p:cNvPr id="600" name="Freeform: Shape 599">
                <a:extLst>
                  <a:ext uri="{FF2B5EF4-FFF2-40B4-BE49-F238E27FC236}">
                    <a16:creationId xmlns:a16="http://schemas.microsoft.com/office/drawing/2014/main" id="{85472579-7287-D822-1606-01A67D3C8209}"/>
                  </a:ext>
                </a:extLst>
              </p:cNvPr>
              <p:cNvSpPr/>
              <p:nvPr/>
            </p:nvSpPr>
            <p:spPr>
              <a:xfrm>
                <a:off x="12591406" y="6645987"/>
                <a:ext cx="12441" cy="16059"/>
              </a:xfrm>
              <a:custGeom>
                <a:avLst/>
                <a:gdLst>
                  <a:gd name="connsiteX0" fmla="*/ 9583 w 12441"/>
                  <a:gd name="connsiteY0" fmla="*/ 1603 h 16059"/>
                  <a:gd name="connsiteX1" fmla="*/ 924 w 12441"/>
                  <a:gd name="connsiteY1" fmla="*/ 10262 h 16059"/>
                  <a:gd name="connsiteX2" fmla="*/ 2794 w 12441"/>
                  <a:gd name="connsiteY2" fmla="*/ 13902 h 16059"/>
                  <a:gd name="connsiteX3" fmla="*/ 8500 w 12441"/>
                  <a:gd name="connsiteY3" fmla="*/ 14296 h 16059"/>
                  <a:gd name="connsiteX4" fmla="*/ 10174 w 12441"/>
                  <a:gd name="connsiteY4" fmla="*/ 2095 h 16059"/>
                  <a:gd name="connsiteX5" fmla="*/ 9583 w 12441"/>
                  <a:gd name="connsiteY5" fmla="*/ 1603 h 1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1" h="16059">
                    <a:moveTo>
                      <a:pt x="9583" y="1603"/>
                    </a:moveTo>
                    <a:cubicBezTo>
                      <a:pt x="3975" y="-3219"/>
                      <a:pt x="-2421" y="3768"/>
                      <a:pt x="924" y="10262"/>
                    </a:cubicBezTo>
                    <a:lnTo>
                      <a:pt x="2794" y="13902"/>
                    </a:lnTo>
                    <a:cubicBezTo>
                      <a:pt x="4171" y="16657"/>
                      <a:pt x="6729" y="16756"/>
                      <a:pt x="8500" y="14296"/>
                    </a:cubicBezTo>
                    <a:cubicBezTo>
                      <a:pt x="9091" y="12820"/>
                      <a:pt x="15880" y="7015"/>
                      <a:pt x="10174" y="2095"/>
                    </a:cubicBezTo>
                    <a:lnTo>
                      <a:pt x="9583" y="1603"/>
                    </a:lnTo>
                    <a:close/>
                  </a:path>
                </a:pathLst>
              </a:custGeom>
              <a:grpFill/>
              <a:ln w="9835" cap="flat">
                <a:noFill/>
                <a:prstDash val="solid"/>
                <a:miter/>
              </a:ln>
            </p:spPr>
            <p:txBody>
              <a:bodyPr rtlCol="0" anchor="ctr"/>
              <a:lstStyle/>
              <a:p>
                <a:endParaRPr lang="en-IN"/>
              </a:p>
            </p:txBody>
          </p:sp>
          <p:sp>
            <p:nvSpPr>
              <p:cNvPr id="601" name="Freeform: Shape 600">
                <a:extLst>
                  <a:ext uri="{FF2B5EF4-FFF2-40B4-BE49-F238E27FC236}">
                    <a16:creationId xmlns:a16="http://schemas.microsoft.com/office/drawing/2014/main" id="{B4CA294B-7E9E-6AC7-710F-232FACB17A01}"/>
                  </a:ext>
                </a:extLst>
              </p:cNvPr>
              <p:cNvSpPr/>
              <p:nvPr/>
            </p:nvSpPr>
            <p:spPr>
              <a:xfrm>
                <a:off x="12539168" y="6648082"/>
                <a:ext cx="21233" cy="12120"/>
              </a:xfrm>
              <a:custGeom>
                <a:avLst/>
                <a:gdLst>
                  <a:gd name="connsiteX0" fmla="*/ 1504 w 21233"/>
                  <a:gd name="connsiteY0" fmla="*/ 2263 h 12120"/>
                  <a:gd name="connsiteX1" fmla="*/ 1307 w 21233"/>
                  <a:gd name="connsiteY1" fmla="*/ 2460 h 12120"/>
                  <a:gd name="connsiteX2" fmla="*/ 2586 w 21233"/>
                  <a:gd name="connsiteY2" fmla="*/ 8068 h 12120"/>
                  <a:gd name="connsiteX3" fmla="*/ 21085 w 21233"/>
                  <a:gd name="connsiteY3" fmla="*/ 9741 h 12120"/>
                  <a:gd name="connsiteX4" fmla="*/ 17247 w 21233"/>
                  <a:gd name="connsiteY4" fmla="*/ 3640 h 12120"/>
                  <a:gd name="connsiteX5" fmla="*/ 1504 w 21233"/>
                  <a:gd name="connsiteY5" fmla="*/ 2263 h 1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33" h="12120">
                    <a:moveTo>
                      <a:pt x="1504" y="2263"/>
                    </a:moveTo>
                    <a:lnTo>
                      <a:pt x="1307" y="2460"/>
                    </a:lnTo>
                    <a:cubicBezTo>
                      <a:pt x="-857" y="4624"/>
                      <a:pt x="-267" y="7084"/>
                      <a:pt x="2586" y="8068"/>
                    </a:cubicBezTo>
                    <a:cubicBezTo>
                      <a:pt x="8195" y="9249"/>
                      <a:pt x="19215" y="15448"/>
                      <a:pt x="21085" y="9741"/>
                    </a:cubicBezTo>
                    <a:cubicBezTo>
                      <a:pt x="21773" y="7674"/>
                      <a:pt x="20002" y="4920"/>
                      <a:pt x="17247" y="3640"/>
                    </a:cubicBezTo>
                    <a:cubicBezTo>
                      <a:pt x="14787" y="2952"/>
                      <a:pt x="7113" y="-3247"/>
                      <a:pt x="1504" y="2263"/>
                    </a:cubicBezTo>
                    <a:close/>
                  </a:path>
                </a:pathLst>
              </a:custGeom>
              <a:grpFill/>
              <a:ln w="9835" cap="flat">
                <a:noFill/>
                <a:prstDash val="solid"/>
                <a:miter/>
              </a:ln>
            </p:spPr>
            <p:txBody>
              <a:bodyPr rtlCol="0" anchor="ctr"/>
              <a:lstStyle/>
              <a:p>
                <a:endParaRPr lang="en-IN"/>
              </a:p>
            </p:txBody>
          </p:sp>
          <p:sp>
            <p:nvSpPr>
              <p:cNvPr id="602" name="Freeform: Shape 601">
                <a:extLst>
                  <a:ext uri="{FF2B5EF4-FFF2-40B4-BE49-F238E27FC236}">
                    <a16:creationId xmlns:a16="http://schemas.microsoft.com/office/drawing/2014/main" id="{5EC451E2-C69F-AC50-0AE2-9FCA5F056F08}"/>
                  </a:ext>
                </a:extLst>
              </p:cNvPr>
              <p:cNvSpPr/>
              <p:nvPr/>
            </p:nvSpPr>
            <p:spPr>
              <a:xfrm>
                <a:off x="12755646" y="6297879"/>
                <a:ext cx="125043" cy="26475"/>
              </a:xfrm>
              <a:custGeom>
                <a:avLst/>
                <a:gdLst>
                  <a:gd name="connsiteX0" fmla="*/ 123016 w 125043"/>
                  <a:gd name="connsiteY0" fmla="*/ 12213 h 26475"/>
                  <a:gd name="connsiteX1" fmla="*/ 112389 w 125043"/>
                  <a:gd name="connsiteY1" fmla="*/ 9064 h 26475"/>
                  <a:gd name="connsiteX2" fmla="*/ 60043 w 125043"/>
                  <a:gd name="connsiteY2" fmla="*/ 7785 h 26475"/>
                  <a:gd name="connsiteX3" fmla="*/ 20979 w 125043"/>
                  <a:gd name="connsiteY3" fmla="*/ 110 h 26475"/>
                  <a:gd name="connsiteX4" fmla="*/ 21 w 125043"/>
                  <a:gd name="connsiteY4" fmla="*/ 7293 h 26475"/>
                  <a:gd name="connsiteX5" fmla="*/ 7401 w 125043"/>
                  <a:gd name="connsiteY5" fmla="*/ 26283 h 26475"/>
                  <a:gd name="connsiteX6" fmla="*/ 43610 w 125043"/>
                  <a:gd name="connsiteY6" fmla="*/ 19789 h 26475"/>
                  <a:gd name="connsiteX7" fmla="*/ 80115 w 125043"/>
                  <a:gd name="connsiteY7" fmla="*/ 21856 h 26475"/>
                  <a:gd name="connsiteX8" fmla="*/ 123114 w 125043"/>
                  <a:gd name="connsiteY8" fmla="*/ 12213 h 26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43" h="26475">
                    <a:moveTo>
                      <a:pt x="123016" y="12213"/>
                    </a:moveTo>
                    <a:cubicBezTo>
                      <a:pt x="120851" y="11327"/>
                      <a:pt x="117801" y="9064"/>
                      <a:pt x="112389" y="9064"/>
                    </a:cubicBezTo>
                    <a:cubicBezTo>
                      <a:pt x="70965" y="9064"/>
                      <a:pt x="67127" y="9458"/>
                      <a:pt x="60043" y="7785"/>
                    </a:cubicBezTo>
                    <a:cubicBezTo>
                      <a:pt x="38100" y="2373"/>
                      <a:pt x="28851" y="-480"/>
                      <a:pt x="20979" y="110"/>
                    </a:cubicBezTo>
                    <a:cubicBezTo>
                      <a:pt x="20979" y="110"/>
                      <a:pt x="-766" y="-1465"/>
                      <a:pt x="21" y="7293"/>
                    </a:cubicBezTo>
                    <a:cubicBezTo>
                      <a:pt x="1693" y="14673"/>
                      <a:pt x="-1061" y="28251"/>
                      <a:pt x="7401" y="26283"/>
                    </a:cubicBezTo>
                    <a:cubicBezTo>
                      <a:pt x="26588" y="21856"/>
                      <a:pt x="35739" y="19101"/>
                      <a:pt x="43610" y="19789"/>
                    </a:cubicBezTo>
                    <a:cubicBezTo>
                      <a:pt x="63289" y="21560"/>
                      <a:pt x="72145" y="22938"/>
                      <a:pt x="80115" y="21856"/>
                    </a:cubicBezTo>
                    <a:cubicBezTo>
                      <a:pt x="120359" y="16247"/>
                      <a:pt x="129707" y="16247"/>
                      <a:pt x="123114" y="12213"/>
                    </a:cubicBezTo>
                    <a:close/>
                  </a:path>
                </a:pathLst>
              </a:custGeom>
              <a:grpFill/>
              <a:ln w="9835" cap="flat">
                <a:noFill/>
                <a:prstDash val="solid"/>
                <a:miter/>
              </a:ln>
            </p:spPr>
            <p:txBody>
              <a:bodyPr rtlCol="0" anchor="ctr"/>
              <a:lstStyle/>
              <a:p>
                <a:endParaRPr lang="en-IN"/>
              </a:p>
            </p:txBody>
          </p:sp>
          <p:sp>
            <p:nvSpPr>
              <p:cNvPr id="603" name="Freeform: Shape 602">
                <a:extLst>
                  <a:ext uri="{FF2B5EF4-FFF2-40B4-BE49-F238E27FC236}">
                    <a16:creationId xmlns:a16="http://schemas.microsoft.com/office/drawing/2014/main" id="{CDCDFB1C-A611-F281-5539-10A207277548}"/>
                  </a:ext>
                </a:extLst>
              </p:cNvPr>
              <p:cNvSpPr/>
              <p:nvPr/>
            </p:nvSpPr>
            <p:spPr>
              <a:xfrm>
                <a:off x="12849443" y="6328213"/>
                <a:ext cx="16537" cy="24388"/>
              </a:xfrm>
              <a:custGeom>
                <a:avLst/>
                <a:gdLst>
                  <a:gd name="connsiteX0" fmla="*/ 16329 w 16537"/>
                  <a:gd name="connsiteY0" fmla="*/ 21434 h 24388"/>
                  <a:gd name="connsiteX1" fmla="*/ 13968 w 16537"/>
                  <a:gd name="connsiteY1" fmla="*/ 11791 h 24388"/>
                  <a:gd name="connsiteX2" fmla="*/ 1078 w 16537"/>
                  <a:gd name="connsiteY2" fmla="*/ 2738 h 24388"/>
                  <a:gd name="connsiteX3" fmla="*/ 3538 w 16537"/>
                  <a:gd name="connsiteY3" fmla="*/ 18187 h 24388"/>
                  <a:gd name="connsiteX4" fmla="*/ 16231 w 16537"/>
                  <a:gd name="connsiteY4" fmla="*/ 21434 h 24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37" h="24388">
                    <a:moveTo>
                      <a:pt x="16329" y="21434"/>
                    </a:moveTo>
                    <a:cubicBezTo>
                      <a:pt x="17018" y="18482"/>
                      <a:pt x="15936" y="14153"/>
                      <a:pt x="13968" y="11791"/>
                    </a:cubicBezTo>
                    <a:cubicBezTo>
                      <a:pt x="9835" y="7757"/>
                      <a:pt x="2456" y="-5723"/>
                      <a:pt x="1078" y="2738"/>
                    </a:cubicBezTo>
                    <a:cubicBezTo>
                      <a:pt x="1078" y="5198"/>
                      <a:pt x="-2563" y="13661"/>
                      <a:pt x="3538" y="18187"/>
                    </a:cubicBezTo>
                    <a:cubicBezTo>
                      <a:pt x="6293" y="19564"/>
                      <a:pt x="14558" y="29108"/>
                      <a:pt x="16231" y="21434"/>
                    </a:cubicBezTo>
                    <a:close/>
                  </a:path>
                </a:pathLst>
              </a:custGeom>
              <a:grpFill/>
              <a:ln w="9835" cap="flat">
                <a:noFill/>
                <a:prstDash val="solid"/>
                <a:miter/>
              </a:ln>
            </p:spPr>
            <p:txBody>
              <a:bodyPr rtlCol="0" anchor="ctr"/>
              <a:lstStyle/>
              <a:p>
                <a:endParaRPr lang="en-IN"/>
              </a:p>
            </p:txBody>
          </p:sp>
          <p:sp>
            <p:nvSpPr>
              <p:cNvPr id="604" name="Freeform: Shape 603">
                <a:extLst>
                  <a:ext uri="{FF2B5EF4-FFF2-40B4-BE49-F238E27FC236}">
                    <a16:creationId xmlns:a16="http://schemas.microsoft.com/office/drawing/2014/main" id="{01C7DF93-350F-097E-B246-DB108C3467D1}"/>
                  </a:ext>
                </a:extLst>
              </p:cNvPr>
              <p:cNvSpPr/>
              <p:nvPr/>
            </p:nvSpPr>
            <p:spPr>
              <a:xfrm>
                <a:off x="12862055" y="6388596"/>
                <a:ext cx="73873" cy="45302"/>
              </a:xfrm>
              <a:custGeom>
                <a:avLst/>
                <a:gdLst>
                  <a:gd name="connsiteX0" fmla="*/ 64133 w 73873"/>
                  <a:gd name="connsiteY0" fmla="*/ 17923 h 45302"/>
                  <a:gd name="connsiteX1" fmla="*/ 61476 w 73873"/>
                  <a:gd name="connsiteY1" fmla="*/ 12905 h 45302"/>
                  <a:gd name="connsiteX2" fmla="*/ 53604 w 73873"/>
                  <a:gd name="connsiteY2" fmla="*/ 2377 h 45302"/>
                  <a:gd name="connsiteX3" fmla="*/ 8440 w 73873"/>
                  <a:gd name="connsiteY3" fmla="*/ 2081 h 45302"/>
                  <a:gd name="connsiteX4" fmla="*/ 175 w 73873"/>
                  <a:gd name="connsiteY4" fmla="*/ 17628 h 45302"/>
                  <a:gd name="connsiteX5" fmla="*/ 35795 w 73873"/>
                  <a:gd name="connsiteY5" fmla="*/ 43899 h 45302"/>
                  <a:gd name="connsiteX6" fmla="*/ 68659 w 73873"/>
                  <a:gd name="connsiteY6" fmla="*/ 35241 h 45302"/>
                  <a:gd name="connsiteX7" fmla="*/ 73874 w 73873"/>
                  <a:gd name="connsiteY7" fmla="*/ 27566 h 45302"/>
                  <a:gd name="connsiteX8" fmla="*/ 73874 w 73873"/>
                  <a:gd name="connsiteY8" fmla="*/ 24811 h 45302"/>
                  <a:gd name="connsiteX9" fmla="*/ 64231 w 73873"/>
                  <a:gd name="connsiteY9" fmla="*/ 17923 h 4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873" h="45302">
                    <a:moveTo>
                      <a:pt x="64133" y="17923"/>
                    </a:moveTo>
                    <a:cubicBezTo>
                      <a:pt x="61082" y="17529"/>
                      <a:pt x="59902" y="15266"/>
                      <a:pt x="61476" y="12905"/>
                    </a:cubicBezTo>
                    <a:cubicBezTo>
                      <a:pt x="65510" y="6902"/>
                      <a:pt x="55178" y="3754"/>
                      <a:pt x="53604" y="2377"/>
                    </a:cubicBezTo>
                    <a:cubicBezTo>
                      <a:pt x="47208" y="-1362"/>
                      <a:pt x="43076" y="-83"/>
                      <a:pt x="8440" y="2081"/>
                    </a:cubicBezTo>
                    <a:cubicBezTo>
                      <a:pt x="274" y="2573"/>
                      <a:pt x="1553" y="13495"/>
                      <a:pt x="175" y="17628"/>
                    </a:cubicBezTo>
                    <a:cubicBezTo>
                      <a:pt x="-1104" y="24909"/>
                      <a:pt x="4013" y="25893"/>
                      <a:pt x="35795" y="43899"/>
                    </a:cubicBezTo>
                    <a:cubicBezTo>
                      <a:pt x="42288" y="47540"/>
                      <a:pt x="47208" y="43899"/>
                      <a:pt x="68659" y="35241"/>
                    </a:cubicBezTo>
                    <a:cubicBezTo>
                      <a:pt x="71512" y="34060"/>
                      <a:pt x="73874" y="30616"/>
                      <a:pt x="73874" y="27566"/>
                    </a:cubicBezTo>
                    <a:lnTo>
                      <a:pt x="73874" y="24811"/>
                    </a:lnTo>
                    <a:cubicBezTo>
                      <a:pt x="73874" y="17628"/>
                      <a:pt x="65215" y="18317"/>
                      <a:pt x="64231" y="17923"/>
                    </a:cubicBezTo>
                    <a:close/>
                  </a:path>
                </a:pathLst>
              </a:custGeom>
              <a:grpFill/>
              <a:ln w="9835" cap="flat">
                <a:noFill/>
                <a:prstDash val="solid"/>
                <a:miter/>
              </a:ln>
            </p:spPr>
            <p:txBody>
              <a:bodyPr rtlCol="0" anchor="ctr"/>
              <a:lstStyle/>
              <a:p>
                <a:endParaRPr lang="en-IN"/>
              </a:p>
            </p:txBody>
          </p:sp>
          <p:sp>
            <p:nvSpPr>
              <p:cNvPr id="605" name="Freeform: Shape 604">
                <a:extLst>
                  <a:ext uri="{FF2B5EF4-FFF2-40B4-BE49-F238E27FC236}">
                    <a16:creationId xmlns:a16="http://schemas.microsoft.com/office/drawing/2014/main" id="{8C907C33-06AC-0356-4CDB-A763C7D3B61C}"/>
                  </a:ext>
                </a:extLst>
              </p:cNvPr>
              <p:cNvSpPr/>
              <p:nvPr/>
            </p:nvSpPr>
            <p:spPr>
              <a:xfrm>
                <a:off x="12669871" y="6446661"/>
                <a:ext cx="19871" cy="13783"/>
              </a:xfrm>
              <a:custGeom>
                <a:avLst/>
                <a:gdLst>
                  <a:gd name="connsiteX0" fmla="*/ 14361 w 19871"/>
                  <a:gd name="connsiteY0" fmla="*/ 4 h 13783"/>
                  <a:gd name="connsiteX1" fmla="*/ 881 w 19871"/>
                  <a:gd name="connsiteY1" fmla="*/ 5613 h 13783"/>
                  <a:gd name="connsiteX2" fmla="*/ 12098 w 19871"/>
                  <a:gd name="connsiteY2" fmla="*/ 12894 h 13783"/>
                  <a:gd name="connsiteX3" fmla="*/ 19871 w 19871"/>
                  <a:gd name="connsiteY3" fmla="*/ 4038 h 13783"/>
                  <a:gd name="connsiteX4" fmla="*/ 14263 w 19871"/>
                  <a:gd name="connsiteY4" fmla="*/ 4 h 137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1" h="13783">
                    <a:moveTo>
                      <a:pt x="14361" y="4"/>
                    </a:moveTo>
                    <a:cubicBezTo>
                      <a:pt x="9933" y="890"/>
                      <a:pt x="-3547" y="-1374"/>
                      <a:pt x="881" y="5613"/>
                    </a:cubicBezTo>
                    <a:cubicBezTo>
                      <a:pt x="2160" y="6990"/>
                      <a:pt x="5506" y="16731"/>
                      <a:pt x="12098" y="12894"/>
                    </a:cubicBezTo>
                    <a:cubicBezTo>
                      <a:pt x="13082" y="12106"/>
                      <a:pt x="19871" y="9549"/>
                      <a:pt x="19871" y="4038"/>
                    </a:cubicBezTo>
                    <a:cubicBezTo>
                      <a:pt x="19871" y="1676"/>
                      <a:pt x="17411" y="-95"/>
                      <a:pt x="14263" y="4"/>
                    </a:cubicBezTo>
                    <a:close/>
                  </a:path>
                </a:pathLst>
              </a:custGeom>
              <a:grpFill/>
              <a:ln w="9835" cap="flat">
                <a:noFill/>
                <a:prstDash val="solid"/>
                <a:miter/>
              </a:ln>
            </p:spPr>
            <p:txBody>
              <a:bodyPr rtlCol="0" anchor="ctr"/>
              <a:lstStyle/>
              <a:p>
                <a:endParaRPr lang="en-IN"/>
              </a:p>
            </p:txBody>
          </p:sp>
          <p:sp>
            <p:nvSpPr>
              <p:cNvPr id="606" name="Freeform: Shape 605">
                <a:extLst>
                  <a:ext uri="{FF2B5EF4-FFF2-40B4-BE49-F238E27FC236}">
                    <a16:creationId xmlns:a16="http://schemas.microsoft.com/office/drawing/2014/main" id="{63B50244-F30D-E6B2-45A4-73213C196FE3}"/>
                  </a:ext>
                </a:extLst>
              </p:cNvPr>
              <p:cNvSpPr/>
              <p:nvPr/>
            </p:nvSpPr>
            <p:spPr>
              <a:xfrm>
                <a:off x="12628283" y="6472970"/>
                <a:ext cx="59443" cy="77664"/>
              </a:xfrm>
              <a:custGeom>
                <a:avLst/>
                <a:gdLst>
                  <a:gd name="connsiteX0" fmla="*/ 56343 w 59443"/>
                  <a:gd name="connsiteY0" fmla="*/ 20236 h 77664"/>
                  <a:gd name="connsiteX1" fmla="*/ 53095 w 59443"/>
                  <a:gd name="connsiteY1" fmla="*/ 2427 h 77664"/>
                  <a:gd name="connsiteX2" fmla="*/ 41485 w 59443"/>
                  <a:gd name="connsiteY2" fmla="*/ 5970 h 77664"/>
                  <a:gd name="connsiteX3" fmla="*/ 31744 w 59443"/>
                  <a:gd name="connsiteY3" fmla="*/ 44049 h 77664"/>
                  <a:gd name="connsiteX4" fmla="*/ 22297 w 59443"/>
                  <a:gd name="connsiteY4" fmla="*/ 45426 h 77664"/>
                  <a:gd name="connsiteX5" fmla="*/ 20526 w 59443"/>
                  <a:gd name="connsiteY5" fmla="*/ 34701 h 77664"/>
                  <a:gd name="connsiteX6" fmla="*/ 22593 w 59443"/>
                  <a:gd name="connsiteY6" fmla="*/ 20335 h 77664"/>
                  <a:gd name="connsiteX7" fmla="*/ 8325 w 59443"/>
                  <a:gd name="connsiteY7" fmla="*/ 22008 h 77664"/>
                  <a:gd name="connsiteX8" fmla="*/ 3897 w 59443"/>
                  <a:gd name="connsiteY8" fmla="*/ 35390 h 77664"/>
                  <a:gd name="connsiteX9" fmla="*/ 454 w 59443"/>
                  <a:gd name="connsiteY9" fmla="*/ 50937 h 77664"/>
                  <a:gd name="connsiteX10" fmla="*/ 9998 w 59443"/>
                  <a:gd name="connsiteY10" fmla="*/ 60087 h 77664"/>
                  <a:gd name="connsiteX11" fmla="*/ 17476 w 59443"/>
                  <a:gd name="connsiteY11" fmla="*/ 72780 h 77664"/>
                  <a:gd name="connsiteX12" fmla="*/ 33908 w 59443"/>
                  <a:gd name="connsiteY12" fmla="*/ 76716 h 77664"/>
                  <a:gd name="connsiteX13" fmla="*/ 39418 w 59443"/>
                  <a:gd name="connsiteY13" fmla="*/ 70616 h 77664"/>
                  <a:gd name="connsiteX14" fmla="*/ 39418 w 59443"/>
                  <a:gd name="connsiteY14" fmla="*/ 69041 h 77664"/>
                  <a:gd name="connsiteX15" fmla="*/ 53883 w 59443"/>
                  <a:gd name="connsiteY15" fmla="*/ 54872 h 77664"/>
                  <a:gd name="connsiteX16" fmla="*/ 50635 w 59443"/>
                  <a:gd name="connsiteY16" fmla="*/ 45032 h 77664"/>
                  <a:gd name="connsiteX17" fmla="*/ 47880 w 59443"/>
                  <a:gd name="connsiteY17" fmla="*/ 29092 h 77664"/>
                  <a:gd name="connsiteX18" fmla="*/ 56440 w 59443"/>
                  <a:gd name="connsiteY18" fmla="*/ 20236 h 7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9443" h="77664">
                    <a:moveTo>
                      <a:pt x="56343" y="20236"/>
                    </a:moveTo>
                    <a:cubicBezTo>
                      <a:pt x="64116" y="16891"/>
                      <a:pt x="55063" y="7741"/>
                      <a:pt x="53095" y="2427"/>
                    </a:cubicBezTo>
                    <a:cubicBezTo>
                      <a:pt x="49455" y="-4264"/>
                      <a:pt x="43256" y="4887"/>
                      <a:pt x="41485" y="5970"/>
                    </a:cubicBezTo>
                    <a:cubicBezTo>
                      <a:pt x="36171" y="10988"/>
                      <a:pt x="36565" y="14923"/>
                      <a:pt x="31744" y="44049"/>
                    </a:cubicBezTo>
                    <a:cubicBezTo>
                      <a:pt x="30563" y="51133"/>
                      <a:pt x="23281" y="45623"/>
                      <a:pt x="22297" y="45426"/>
                    </a:cubicBezTo>
                    <a:cubicBezTo>
                      <a:pt x="16000" y="42376"/>
                      <a:pt x="20428" y="35587"/>
                      <a:pt x="20526" y="34701"/>
                    </a:cubicBezTo>
                    <a:cubicBezTo>
                      <a:pt x="22691" y="29092"/>
                      <a:pt x="22593" y="24173"/>
                      <a:pt x="22593" y="20335"/>
                    </a:cubicBezTo>
                    <a:cubicBezTo>
                      <a:pt x="22593" y="12070"/>
                      <a:pt x="12261" y="20729"/>
                      <a:pt x="8325" y="22008"/>
                    </a:cubicBezTo>
                    <a:cubicBezTo>
                      <a:pt x="1732" y="25353"/>
                      <a:pt x="3897" y="35390"/>
                      <a:pt x="3897" y="35390"/>
                    </a:cubicBezTo>
                    <a:cubicBezTo>
                      <a:pt x="4192" y="41589"/>
                      <a:pt x="2126" y="46509"/>
                      <a:pt x="454" y="50937"/>
                    </a:cubicBezTo>
                    <a:cubicBezTo>
                      <a:pt x="-2302" y="58119"/>
                      <a:pt x="8325" y="59103"/>
                      <a:pt x="9998" y="60087"/>
                    </a:cubicBezTo>
                    <a:cubicBezTo>
                      <a:pt x="17082" y="62449"/>
                      <a:pt x="16886" y="71304"/>
                      <a:pt x="17476" y="72780"/>
                    </a:cubicBezTo>
                    <a:cubicBezTo>
                      <a:pt x="19050" y="80750"/>
                      <a:pt x="29579" y="76519"/>
                      <a:pt x="33908" y="76716"/>
                    </a:cubicBezTo>
                    <a:cubicBezTo>
                      <a:pt x="36958" y="76421"/>
                      <a:pt x="39418" y="73666"/>
                      <a:pt x="39418" y="70616"/>
                    </a:cubicBezTo>
                    <a:lnTo>
                      <a:pt x="39418" y="69041"/>
                    </a:lnTo>
                    <a:cubicBezTo>
                      <a:pt x="39418" y="60776"/>
                      <a:pt x="49356" y="58316"/>
                      <a:pt x="53883" y="54872"/>
                    </a:cubicBezTo>
                    <a:cubicBezTo>
                      <a:pt x="60278" y="51133"/>
                      <a:pt x="51324" y="46017"/>
                      <a:pt x="50635" y="45032"/>
                    </a:cubicBezTo>
                    <a:cubicBezTo>
                      <a:pt x="44830" y="40014"/>
                      <a:pt x="47880" y="31454"/>
                      <a:pt x="47880" y="29092"/>
                    </a:cubicBezTo>
                    <a:cubicBezTo>
                      <a:pt x="48667" y="22106"/>
                      <a:pt x="55457" y="20925"/>
                      <a:pt x="56440" y="20236"/>
                    </a:cubicBezTo>
                    <a:close/>
                  </a:path>
                </a:pathLst>
              </a:custGeom>
              <a:grpFill/>
              <a:ln w="9835" cap="flat">
                <a:noFill/>
                <a:prstDash val="solid"/>
                <a:miter/>
              </a:ln>
            </p:spPr>
            <p:txBody>
              <a:bodyPr rtlCol="0" anchor="ctr"/>
              <a:lstStyle/>
              <a:p>
                <a:endParaRPr lang="en-IN"/>
              </a:p>
            </p:txBody>
          </p:sp>
          <p:sp>
            <p:nvSpPr>
              <p:cNvPr id="607" name="Freeform: Shape 606">
                <a:extLst>
                  <a:ext uri="{FF2B5EF4-FFF2-40B4-BE49-F238E27FC236}">
                    <a16:creationId xmlns:a16="http://schemas.microsoft.com/office/drawing/2014/main" id="{80B94BE2-2E8F-BA0F-56A3-8B995FBAAA2F}"/>
                  </a:ext>
                </a:extLst>
              </p:cNvPr>
              <p:cNvSpPr/>
              <p:nvPr/>
            </p:nvSpPr>
            <p:spPr>
              <a:xfrm>
                <a:off x="12599617" y="6513275"/>
                <a:ext cx="16110" cy="24593"/>
              </a:xfrm>
              <a:custGeom>
                <a:avLst/>
                <a:gdLst>
                  <a:gd name="connsiteX0" fmla="*/ 16033 w 16110"/>
                  <a:gd name="connsiteY0" fmla="*/ 11221 h 24593"/>
                  <a:gd name="connsiteX1" fmla="*/ 11704 w 16110"/>
                  <a:gd name="connsiteY1" fmla="*/ 2168 h 24593"/>
                  <a:gd name="connsiteX2" fmla="*/ 10523 w 16110"/>
                  <a:gd name="connsiteY2" fmla="*/ 1185 h 24593"/>
                  <a:gd name="connsiteX3" fmla="*/ 880 w 16110"/>
                  <a:gd name="connsiteY3" fmla="*/ 7384 h 24593"/>
                  <a:gd name="connsiteX4" fmla="*/ 11704 w 16110"/>
                  <a:gd name="connsiteY4" fmla="*/ 23422 h 24593"/>
                  <a:gd name="connsiteX5" fmla="*/ 16033 w 16110"/>
                  <a:gd name="connsiteY5" fmla="*/ 11221 h 2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10" h="24593">
                    <a:moveTo>
                      <a:pt x="16033" y="11221"/>
                    </a:moveTo>
                    <a:cubicBezTo>
                      <a:pt x="16033" y="8171"/>
                      <a:pt x="14065" y="4038"/>
                      <a:pt x="11704" y="2168"/>
                    </a:cubicBezTo>
                    <a:lnTo>
                      <a:pt x="10523" y="1185"/>
                    </a:lnTo>
                    <a:cubicBezTo>
                      <a:pt x="4718" y="-3538"/>
                      <a:pt x="880" y="7384"/>
                      <a:pt x="880" y="7384"/>
                    </a:cubicBezTo>
                    <a:cubicBezTo>
                      <a:pt x="-3154" y="14763"/>
                      <a:pt x="7768" y="19093"/>
                      <a:pt x="11704" y="23422"/>
                    </a:cubicBezTo>
                    <a:cubicBezTo>
                      <a:pt x="18001" y="28637"/>
                      <a:pt x="15541" y="14960"/>
                      <a:pt x="16033" y="11221"/>
                    </a:cubicBezTo>
                    <a:close/>
                  </a:path>
                </a:pathLst>
              </a:custGeom>
              <a:grpFill/>
              <a:ln w="9835" cap="flat">
                <a:noFill/>
                <a:prstDash val="solid"/>
                <a:miter/>
              </a:ln>
            </p:spPr>
            <p:txBody>
              <a:bodyPr rtlCol="0" anchor="ctr"/>
              <a:lstStyle/>
              <a:p>
                <a:endParaRPr lang="en-IN"/>
              </a:p>
            </p:txBody>
          </p:sp>
          <p:sp>
            <p:nvSpPr>
              <p:cNvPr id="608" name="Freeform: Shape 607">
                <a:extLst>
                  <a:ext uri="{FF2B5EF4-FFF2-40B4-BE49-F238E27FC236}">
                    <a16:creationId xmlns:a16="http://schemas.microsoft.com/office/drawing/2014/main" id="{90325E2E-7D47-290A-0925-D975F10E7B0D}"/>
                  </a:ext>
                </a:extLst>
              </p:cNvPr>
              <p:cNvSpPr/>
              <p:nvPr/>
            </p:nvSpPr>
            <p:spPr>
              <a:xfrm>
                <a:off x="12704009" y="6521643"/>
                <a:ext cx="10762" cy="11610"/>
              </a:xfrm>
              <a:custGeom>
                <a:avLst/>
                <a:gdLst>
                  <a:gd name="connsiteX0" fmla="*/ 0 w 10762"/>
                  <a:gd name="connsiteY0" fmla="*/ 0 h 11610"/>
                  <a:gd name="connsiteX1" fmla="*/ 0 w 10762"/>
                  <a:gd name="connsiteY1" fmla="*/ 984 h 11610"/>
                  <a:gd name="connsiteX2" fmla="*/ 5412 w 10762"/>
                  <a:gd name="connsiteY2" fmla="*/ 11611 h 11610"/>
                  <a:gd name="connsiteX3" fmla="*/ 5412 w 10762"/>
                  <a:gd name="connsiteY3" fmla="*/ 492 h 11610"/>
                  <a:gd name="connsiteX4" fmla="*/ 0 w 10762"/>
                  <a:gd name="connsiteY4" fmla="*/ 0 h 11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2" h="11610">
                    <a:moveTo>
                      <a:pt x="0" y="0"/>
                    </a:moveTo>
                    <a:lnTo>
                      <a:pt x="0" y="984"/>
                    </a:lnTo>
                    <a:cubicBezTo>
                      <a:pt x="393" y="2657"/>
                      <a:pt x="-1673" y="11611"/>
                      <a:pt x="5412" y="11611"/>
                    </a:cubicBezTo>
                    <a:cubicBezTo>
                      <a:pt x="12496" y="11611"/>
                      <a:pt x="12595" y="1082"/>
                      <a:pt x="5412" y="492"/>
                    </a:cubicBezTo>
                    <a:cubicBezTo>
                      <a:pt x="2460" y="197"/>
                      <a:pt x="0" y="0"/>
                      <a:pt x="0" y="0"/>
                    </a:cubicBezTo>
                    <a:close/>
                  </a:path>
                </a:pathLst>
              </a:custGeom>
              <a:grpFill/>
              <a:ln w="9835" cap="flat">
                <a:noFill/>
                <a:prstDash val="solid"/>
                <a:miter/>
              </a:ln>
            </p:spPr>
            <p:txBody>
              <a:bodyPr rtlCol="0" anchor="ctr"/>
              <a:lstStyle/>
              <a:p>
                <a:endParaRPr lang="en-IN"/>
              </a:p>
            </p:txBody>
          </p:sp>
          <p:sp>
            <p:nvSpPr>
              <p:cNvPr id="609" name="Freeform: Shape 608">
                <a:extLst>
                  <a:ext uri="{FF2B5EF4-FFF2-40B4-BE49-F238E27FC236}">
                    <a16:creationId xmlns:a16="http://schemas.microsoft.com/office/drawing/2014/main" id="{0E7BEB08-0399-B2EA-4F36-9B71C958C881}"/>
                  </a:ext>
                </a:extLst>
              </p:cNvPr>
              <p:cNvSpPr/>
              <p:nvPr/>
            </p:nvSpPr>
            <p:spPr>
              <a:xfrm>
                <a:off x="12718217" y="6538357"/>
                <a:ext cx="12657" cy="10820"/>
              </a:xfrm>
              <a:custGeom>
                <a:avLst/>
                <a:gdLst>
                  <a:gd name="connsiteX0" fmla="*/ 9801 w 12657"/>
                  <a:gd name="connsiteY0" fmla="*/ 10443 h 10820"/>
                  <a:gd name="connsiteX1" fmla="*/ 11473 w 12657"/>
                  <a:gd name="connsiteY1" fmla="*/ 5326 h 10820"/>
                  <a:gd name="connsiteX2" fmla="*/ 9210 w 12657"/>
                  <a:gd name="connsiteY2" fmla="*/ 2866 h 10820"/>
                  <a:gd name="connsiteX3" fmla="*/ 748 w 12657"/>
                  <a:gd name="connsiteY3" fmla="*/ 6802 h 10820"/>
                  <a:gd name="connsiteX4" fmla="*/ 8521 w 12657"/>
                  <a:gd name="connsiteY4" fmla="*/ 10738 h 10820"/>
                  <a:gd name="connsiteX5" fmla="*/ 9801 w 12657"/>
                  <a:gd name="connsiteY5" fmla="*/ 10443 h 10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57" h="10820">
                    <a:moveTo>
                      <a:pt x="9801" y="10443"/>
                    </a:moveTo>
                    <a:cubicBezTo>
                      <a:pt x="12851" y="9852"/>
                      <a:pt x="13540" y="7589"/>
                      <a:pt x="11473" y="5326"/>
                    </a:cubicBezTo>
                    <a:lnTo>
                      <a:pt x="9210" y="2866"/>
                    </a:lnTo>
                    <a:cubicBezTo>
                      <a:pt x="4192" y="-2644"/>
                      <a:pt x="-2203" y="406"/>
                      <a:pt x="748" y="6802"/>
                    </a:cubicBezTo>
                    <a:cubicBezTo>
                      <a:pt x="1929" y="9459"/>
                      <a:pt x="5471" y="11230"/>
                      <a:pt x="8521" y="10738"/>
                    </a:cubicBezTo>
                    <a:lnTo>
                      <a:pt x="9801" y="10443"/>
                    </a:lnTo>
                    <a:close/>
                  </a:path>
                </a:pathLst>
              </a:custGeom>
              <a:grpFill/>
              <a:ln w="9835" cap="flat">
                <a:noFill/>
                <a:prstDash val="solid"/>
                <a:miter/>
              </a:ln>
            </p:spPr>
            <p:txBody>
              <a:bodyPr rtlCol="0" anchor="ctr"/>
              <a:lstStyle/>
              <a:p>
                <a:endParaRPr lang="en-IN"/>
              </a:p>
            </p:txBody>
          </p:sp>
          <p:sp>
            <p:nvSpPr>
              <p:cNvPr id="610" name="Freeform: Shape 609">
                <a:extLst>
                  <a:ext uri="{FF2B5EF4-FFF2-40B4-BE49-F238E27FC236}">
                    <a16:creationId xmlns:a16="http://schemas.microsoft.com/office/drawing/2014/main" id="{D3FDEDEC-5F55-8382-F35D-20BBEF26852B}"/>
                  </a:ext>
                </a:extLst>
              </p:cNvPr>
              <p:cNvSpPr/>
              <p:nvPr/>
            </p:nvSpPr>
            <p:spPr>
              <a:xfrm>
                <a:off x="12731113" y="6561961"/>
                <a:ext cx="10650" cy="10794"/>
              </a:xfrm>
              <a:custGeom>
                <a:avLst/>
                <a:gdLst>
                  <a:gd name="connsiteX0" fmla="*/ 3005 w 10650"/>
                  <a:gd name="connsiteY0" fmla="*/ 8683 h 10794"/>
                  <a:gd name="connsiteX1" fmla="*/ 4678 w 10650"/>
                  <a:gd name="connsiteY1" fmla="*/ 9667 h 10794"/>
                  <a:gd name="connsiteX2" fmla="*/ 7334 w 10650"/>
                  <a:gd name="connsiteY2" fmla="*/ 1795 h 10794"/>
                  <a:gd name="connsiteX3" fmla="*/ 6843 w 10650"/>
                  <a:gd name="connsiteY3" fmla="*/ 1401 h 10794"/>
                  <a:gd name="connsiteX4" fmla="*/ 3104 w 10650"/>
                  <a:gd name="connsiteY4" fmla="*/ 8683 h 10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0" h="10794">
                    <a:moveTo>
                      <a:pt x="3005" y="8683"/>
                    </a:moveTo>
                    <a:lnTo>
                      <a:pt x="4678" y="9667"/>
                    </a:lnTo>
                    <a:cubicBezTo>
                      <a:pt x="10877" y="13603"/>
                      <a:pt x="13042" y="6321"/>
                      <a:pt x="7334" y="1795"/>
                    </a:cubicBezTo>
                    <a:lnTo>
                      <a:pt x="6843" y="1401"/>
                    </a:lnTo>
                    <a:cubicBezTo>
                      <a:pt x="1135" y="-3223"/>
                      <a:pt x="-3194" y="4747"/>
                      <a:pt x="3104" y="8683"/>
                    </a:cubicBezTo>
                    <a:close/>
                  </a:path>
                </a:pathLst>
              </a:custGeom>
              <a:grpFill/>
              <a:ln w="9835" cap="flat">
                <a:noFill/>
                <a:prstDash val="solid"/>
                <a:miter/>
              </a:ln>
            </p:spPr>
            <p:txBody>
              <a:bodyPr rtlCol="0" anchor="ctr"/>
              <a:lstStyle/>
              <a:p>
                <a:endParaRPr lang="en-IN"/>
              </a:p>
            </p:txBody>
          </p:sp>
          <p:sp>
            <p:nvSpPr>
              <p:cNvPr id="611" name="Freeform: Shape 610">
                <a:extLst>
                  <a:ext uri="{FF2B5EF4-FFF2-40B4-BE49-F238E27FC236}">
                    <a16:creationId xmlns:a16="http://schemas.microsoft.com/office/drawing/2014/main" id="{C3016639-123D-8C95-E493-1616CDD636E6}"/>
                  </a:ext>
                </a:extLst>
              </p:cNvPr>
              <p:cNvSpPr/>
              <p:nvPr/>
            </p:nvSpPr>
            <p:spPr>
              <a:xfrm>
                <a:off x="12999317" y="6034828"/>
                <a:ext cx="22794" cy="33898"/>
              </a:xfrm>
              <a:custGeom>
                <a:avLst/>
                <a:gdLst>
                  <a:gd name="connsiteX0" fmla="*/ 7752 w 22794"/>
                  <a:gd name="connsiteY0" fmla="*/ 33898 h 33898"/>
                  <a:gd name="connsiteX1" fmla="*/ 9327 w 22794"/>
                  <a:gd name="connsiteY1" fmla="*/ 33898 h 33898"/>
                  <a:gd name="connsiteX2" fmla="*/ 16805 w 22794"/>
                  <a:gd name="connsiteY2" fmla="*/ 28683 h 33898"/>
                  <a:gd name="connsiteX3" fmla="*/ 20642 w 22794"/>
                  <a:gd name="connsiteY3" fmla="*/ 4281 h 33898"/>
                  <a:gd name="connsiteX4" fmla="*/ 18477 w 22794"/>
                  <a:gd name="connsiteY4" fmla="*/ 1723 h 33898"/>
                  <a:gd name="connsiteX5" fmla="*/ 11393 w 22794"/>
                  <a:gd name="connsiteY5" fmla="*/ 1821 h 33898"/>
                  <a:gd name="connsiteX6" fmla="*/ 176 w 22794"/>
                  <a:gd name="connsiteY6" fmla="*/ 22582 h 33898"/>
                  <a:gd name="connsiteX7" fmla="*/ 7654 w 22794"/>
                  <a:gd name="connsiteY7" fmla="*/ 33898 h 3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94" h="33898">
                    <a:moveTo>
                      <a:pt x="7752" y="33898"/>
                    </a:moveTo>
                    <a:lnTo>
                      <a:pt x="9327" y="33898"/>
                    </a:lnTo>
                    <a:cubicBezTo>
                      <a:pt x="12377" y="33898"/>
                      <a:pt x="15821" y="31537"/>
                      <a:pt x="16805" y="28683"/>
                    </a:cubicBezTo>
                    <a:cubicBezTo>
                      <a:pt x="19166" y="19926"/>
                      <a:pt x="26349" y="10873"/>
                      <a:pt x="20642" y="4281"/>
                    </a:cubicBezTo>
                    <a:lnTo>
                      <a:pt x="18477" y="1723"/>
                    </a:lnTo>
                    <a:cubicBezTo>
                      <a:pt x="16509" y="-639"/>
                      <a:pt x="13262" y="-540"/>
                      <a:pt x="11393" y="1821"/>
                    </a:cubicBezTo>
                    <a:cubicBezTo>
                      <a:pt x="6867" y="8610"/>
                      <a:pt x="-1300" y="14022"/>
                      <a:pt x="176" y="22582"/>
                    </a:cubicBezTo>
                    <a:cubicBezTo>
                      <a:pt x="865" y="24255"/>
                      <a:pt x="176" y="33898"/>
                      <a:pt x="7654" y="33898"/>
                    </a:cubicBezTo>
                    <a:close/>
                  </a:path>
                </a:pathLst>
              </a:custGeom>
              <a:grpFill/>
              <a:ln w="9835" cap="flat">
                <a:noFill/>
                <a:prstDash val="solid"/>
                <a:miter/>
              </a:ln>
            </p:spPr>
            <p:txBody>
              <a:bodyPr rtlCol="0" anchor="ctr"/>
              <a:lstStyle/>
              <a:p>
                <a:endParaRPr lang="en-IN"/>
              </a:p>
            </p:txBody>
          </p:sp>
          <p:sp>
            <p:nvSpPr>
              <p:cNvPr id="612" name="Freeform: Shape 611">
                <a:extLst>
                  <a:ext uri="{FF2B5EF4-FFF2-40B4-BE49-F238E27FC236}">
                    <a16:creationId xmlns:a16="http://schemas.microsoft.com/office/drawing/2014/main" id="{41B12D91-908C-D5A5-B7AC-11B0E1355D35}"/>
                  </a:ext>
                </a:extLst>
              </p:cNvPr>
              <p:cNvSpPr/>
              <p:nvPr/>
            </p:nvSpPr>
            <p:spPr>
              <a:xfrm>
                <a:off x="12944799" y="6061921"/>
                <a:ext cx="83363" cy="189933"/>
              </a:xfrm>
              <a:custGeom>
                <a:avLst/>
                <a:gdLst>
                  <a:gd name="connsiteX0" fmla="*/ 42296 w 83363"/>
                  <a:gd name="connsiteY0" fmla="*/ 107170 h 189933"/>
                  <a:gd name="connsiteX1" fmla="*/ 79096 w 83363"/>
                  <a:gd name="connsiteY1" fmla="*/ 117600 h 189933"/>
                  <a:gd name="connsiteX2" fmla="*/ 81851 w 83363"/>
                  <a:gd name="connsiteY2" fmla="*/ 105694 h 189933"/>
                  <a:gd name="connsiteX3" fmla="*/ 53710 w 83363"/>
                  <a:gd name="connsiteY3" fmla="*/ 85031 h 189933"/>
                  <a:gd name="connsiteX4" fmla="*/ 74176 w 83363"/>
                  <a:gd name="connsiteY4" fmla="*/ 70271 h 189933"/>
                  <a:gd name="connsiteX5" fmla="*/ 78703 w 83363"/>
                  <a:gd name="connsiteY5" fmla="*/ 42621 h 189933"/>
                  <a:gd name="connsiteX6" fmla="*/ 73881 w 83363"/>
                  <a:gd name="connsiteY6" fmla="*/ 39768 h 189933"/>
                  <a:gd name="connsiteX7" fmla="*/ 54104 w 83363"/>
                  <a:gd name="connsiteY7" fmla="*/ 50887 h 189933"/>
                  <a:gd name="connsiteX8" fmla="*/ 50463 w 83363"/>
                  <a:gd name="connsiteY8" fmla="*/ 59054 h 189933"/>
                  <a:gd name="connsiteX9" fmla="*/ 46625 w 83363"/>
                  <a:gd name="connsiteY9" fmla="*/ 67220 h 189933"/>
                  <a:gd name="connsiteX10" fmla="*/ 41607 w 83363"/>
                  <a:gd name="connsiteY10" fmla="*/ 69484 h 189933"/>
                  <a:gd name="connsiteX11" fmla="*/ 33834 w 83363"/>
                  <a:gd name="connsiteY11" fmla="*/ 82767 h 189933"/>
                  <a:gd name="connsiteX12" fmla="*/ 16811 w 83363"/>
                  <a:gd name="connsiteY12" fmla="*/ 75978 h 189933"/>
                  <a:gd name="connsiteX13" fmla="*/ 32161 w 83363"/>
                  <a:gd name="connsiteY13" fmla="*/ 56987 h 189933"/>
                  <a:gd name="connsiteX14" fmla="*/ 36589 w 83363"/>
                  <a:gd name="connsiteY14" fmla="*/ 33274 h 189933"/>
                  <a:gd name="connsiteX15" fmla="*/ 32062 w 83363"/>
                  <a:gd name="connsiteY15" fmla="*/ 24714 h 189933"/>
                  <a:gd name="connsiteX16" fmla="*/ 38655 w 83363"/>
                  <a:gd name="connsiteY16" fmla="*/ 4641 h 189933"/>
                  <a:gd name="connsiteX17" fmla="*/ 27143 w 83363"/>
                  <a:gd name="connsiteY17" fmla="*/ 4149 h 189933"/>
                  <a:gd name="connsiteX18" fmla="*/ 14351 w 83363"/>
                  <a:gd name="connsiteY18" fmla="*/ 18711 h 189933"/>
                  <a:gd name="connsiteX19" fmla="*/ 10809 w 83363"/>
                  <a:gd name="connsiteY19" fmla="*/ 28453 h 189933"/>
                  <a:gd name="connsiteX20" fmla="*/ 8841 w 83363"/>
                  <a:gd name="connsiteY20" fmla="*/ 42326 h 189933"/>
                  <a:gd name="connsiteX21" fmla="*/ 1068 w 83363"/>
                  <a:gd name="connsiteY21" fmla="*/ 60038 h 189933"/>
                  <a:gd name="connsiteX22" fmla="*/ 7267 w 83363"/>
                  <a:gd name="connsiteY22" fmla="*/ 84637 h 189933"/>
                  <a:gd name="connsiteX23" fmla="*/ 14450 w 83363"/>
                  <a:gd name="connsiteY23" fmla="*/ 111302 h 189933"/>
                  <a:gd name="connsiteX24" fmla="*/ 22912 w 83363"/>
                  <a:gd name="connsiteY24" fmla="*/ 153711 h 189933"/>
                  <a:gd name="connsiteX25" fmla="*/ 31965 w 83363"/>
                  <a:gd name="connsiteY25" fmla="*/ 162862 h 189933"/>
                  <a:gd name="connsiteX26" fmla="*/ 36687 w 83363"/>
                  <a:gd name="connsiteY26" fmla="*/ 172898 h 189933"/>
                  <a:gd name="connsiteX27" fmla="*/ 49479 w 83363"/>
                  <a:gd name="connsiteY27" fmla="*/ 186378 h 189933"/>
                  <a:gd name="connsiteX28" fmla="*/ 62467 w 83363"/>
                  <a:gd name="connsiteY28" fmla="*/ 185886 h 189933"/>
                  <a:gd name="connsiteX29" fmla="*/ 51447 w 83363"/>
                  <a:gd name="connsiteY29" fmla="*/ 171717 h 189933"/>
                  <a:gd name="connsiteX30" fmla="*/ 33342 w 83363"/>
                  <a:gd name="connsiteY30" fmla="*/ 136983 h 189933"/>
                  <a:gd name="connsiteX31" fmla="*/ 36196 w 83363"/>
                  <a:gd name="connsiteY31" fmla="*/ 110908 h 189933"/>
                  <a:gd name="connsiteX32" fmla="*/ 42394 w 83363"/>
                  <a:gd name="connsiteY32" fmla="*/ 106874 h 189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363" h="189933">
                    <a:moveTo>
                      <a:pt x="42296" y="107170"/>
                    </a:moveTo>
                    <a:lnTo>
                      <a:pt x="79096" y="117600"/>
                    </a:lnTo>
                    <a:cubicBezTo>
                      <a:pt x="86673" y="119764"/>
                      <a:pt x="81851" y="108350"/>
                      <a:pt x="81851" y="105694"/>
                    </a:cubicBezTo>
                    <a:cubicBezTo>
                      <a:pt x="79391" y="93197"/>
                      <a:pt x="43477" y="92508"/>
                      <a:pt x="53710" y="85031"/>
                    </a:cubicBezTo>
                    <a:lnTo>
                      <a:pt x="74176" y="70271"/>
                    </a:lnTo>
                    <a:cubicBezTo>
                      <a:pt x="79883" y="66138"/>
                      <a:pt x="78703" y="60628"/>
                      <a:pt x="78703" y="42621"/>
                    </a:cubicBezTo>
                    <a:cubicBezTo>
                      <a:pt x="78703" y="39571"/>
                      <a:pt x="76538" y="38293"/>
                      <a:pt x="73881" y="39768"/>
                    </a:cubicBezTo>
                    <a:lnTo>
                      <a:pt x="54104" y="50887"/>
                    </a:lnTo>
                    <a:cubicBezTo>
                      <a:pt x="51447" y="52363"/>
                      <a:pt x="49774" y="56102"/>
                      <a:pt x="50463" y="59054"/>
                    </a:cubicBezTo>
                    <a:cubicBezTo>
                      <a:pt x="50561" y="58070"/>
                      <a:pt x="51742" y="64859"/>
                      <a:pt x="46625" y="67220"/>
                    </a:cubicBezTo>
                    <a:lnTo>
                      <a:pt x="41607" y="69484"/>
                    </a:lnTo>
                    <a:cubicBezTo>
                      <a:pt x="34719" y="72633"/>
                      <a:pt x="34522" y="81095"/>
                      <a:pt x="33834" y="82767"/>
                    </a:cubicBezTo>
                    <a:cubicBezTo>
                      <a:pt x="31768" y="91131"/>
                      <a:pt x="22617" y="79520"/>
                      <a:pt x="16811" y="75978"/>
                    </a:cubicBezTo>
                    <a:cubicBezTo>
                      <a:pt x="9727" y="70468"/>
                      <a:pt x="23601" y="65253"/>
                      <a:pt x="32161" y="56987"/>
                    </a:cubicBezTo>
                    <a:cubicBezTo>
                      <a:pt x="38950" y="51576"/>
                      <a:pt x="35802" y="41441"/>
                      <a:pt x="36589" y="33274"/>
                    </a:cubicBezTo>
                    <a:cubicBezTo>
                      <a:pt x="36589" y="30224"/>
                      <a:pt x="34522" y="26386"/>
                      <a:pt x="32062" y="24714"/>
                    </a:cubicBezTo>
                    <a:cubicBezTo>
                      <a:pt x="25077" y="20089"/>
                      <a:pt x="35211" y="11725"/>
                      <a:pt x="38655" y="4641"/>
                    </a:cubicBezTo>
                    <a:cubicBezTo>
                      <a:pt x="42591" y="-1361"/>
                      <a:pt x="32161" y="-1558"/>
                      <a:pt x="27143" y="4149"/>
                    </a:cubicBezTo>
                    <a:lnTo>
                      <a:pt x="14351" y="18711"/>
                    </a:lnTo>
                    <a:cubicBezTo>
                      <a:pt x="12383" y="20975"/>
                      <a:pt x="10711" y="25402"/>
                      <a:pt x="10809" y="28453"/>
                    </a:cubicBezTo>
                    <a:cubicBezTo>
                      <a:pt x="10809" y="27469"/>
                      <a:pt x="11498" y="36226"/>
                      <a:pt x="8841" y="42326"/>
                    </a:cubicBezTo>
                    <a:lnTo>
                      <a:pt x="1068" y="60038"/>
                    </a:lnTo>
                    <a:cubicBezTo>
                      <a:pt x="-1687" y="66138"/>
                      <a:pt x="1068" y="70566"/>
                      <a:pt x="7267" y="84637"/>
                    </a:cubicBezTo>
                    <a:cubicBezTo>
                      <a:pt x="12482" y="96739"/>
                      <a:pt x="5594" y="108744"/>
                      <a:pt x="14450" y="111302"/>
                    </a:cubicBezTo>
                    <a:cubicBezTo>
                      <a:pt x="26454" y="114844"/>
                      <a:pt x="11006" y="146626"/>
                      <a:pt x="22912" y="153711"/>
                    </a:cubicBezTo>
                    <a:cubicBezTo>
                      <a:pt x="21928" y="152923"/>
                      <a:pt x="29308" y="157056"/>
                      <a:pt x="31965" y="162862"/>
                    </a:cubicBezTo>
                    <a:lnTo>
                      <a:pt x="36687" y="172898"/>
                    </a:lnTo>
                    <a:cubicBezTo>
                      <a:pt x="39541" y="178900"/>
                      <a:pt x="44559" y="182344"/>
                      <a:pt x="49479" y="186378"/>
                    </a:cubicBezTo>
                    <a:cubicBezTo>
                      <a:pt x="55383" y="191101"/>
                      <a:pt x="67682" y="191298"/>
                      <a:pt x="62467" y="185886"/>
                    </a:cubicBezTo>
                    <a:cubicBezTo>
                      <a:pt x="63353" y="186870"/>
                      <a:pt x="54792" y="178999"/>
                      <a:pt x="51447" y="171717"/>
                    </a:cubicBezTo>
                    <a:cubicBezTo>
                      <a:pt x="51447" y="171717"/>
                      <a:pt x="34621" y="136196"/>
                      <a:pt x="33342" y="136983"/>
                    </a:cubicBezTo>
                    <a:cubicBezTo>
                      <a:pt x="32062" y="137771"/>
                      <a:pt x="36196" y="110908"/>
                      <a:pt x="36196" y="110908"/>
                    </a:cubicBezTo>
                    <a:cubicBezTo>
                      <a:pt x="36687" y="107858"/>
                      <a:pt x="39442" y="106087"/>
                      <a:pt x="42394" y="106874"/>
                    </a:cubicBezTo>
                    <a:close/>
                  </a:path>
                </a:pathLst>
              </a:custGeom>
              <a:grpFill/>
              <a:ln w="9835" cap="flat">
                <a:noFill/>
                <a:prstDash val="solid"/>
                <a:miter/>
              </a:ln>
            </p:spPr>
            <p:txBody>
              <a:bodyPr rtlCol="0" anchor="ctr"/>
              <a:lstStyle/>
              <a:p>
                <a:endParaRPr lang="en-IN"/>
              </a:p>
            </p:txBody>
          </p:sp>
          <p:sp>
            <p:nvSpPr>
              <p:cNvPr id="613" name="Freeform: Shape 612">
                <a:extLst>
                  <a:ext uri="{FF2B5EF4-FFF2-40B4-BE49-F238E27FC236}">
                    <a16:creationId xmlns:a16="http://schemas.microsoft.com/office/drawing/2014/main" id="{984BC6C2-D494-D062-75D8-7B0B69F0E2C6}"/>
                  </a:ext>
                </a:extLst>
              </p:cNvPr>
              <p:cNvSpPr/>
              <p:nvPr/>
            </p:nvSpPr>
            <p:spPr>
              <a:xfrm>
                <a:off x="12933947" y="6143541"/>
                <a:ext cx="11717" cy="16102"/>
              </a:xfrm>
              <a:custGeom>
                <a:avLst/>
                <a:gdLst>
                  <a:gd name="connsiteX0" fmla="*/ 10444 w 11717"/>
                  <a:gd name="connsiteY0" fmla="*/ 6067 h 16102"/>
                  <a:gd name="connsiteX1" fmla="*/ 8574 w 11717"/>
                  <a:gd name="connsiteY1" fmla="*/ 2623 h 16102"/>
                  <a:gd name="connsiteX2" fmla="*/ 1884 w 11717"/>
                  <a:gd name="connsiteY2" fmla="*/ 951 h 16102"/>
                  <a:gd name="connsiteX3" fmla="*/ 4442 w 11717"/>
                  <a:gd name="connsiteY3" fmla="*/ 13841 h 16102"/>
                  <a:gd name="connsiteX4" fmla="*/ 10542 w 11717"/>
                  <a:gd name="connsiteY4" fmla="*/ 6067 h 1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 h="16102">
                    <a:moveTo>
                      <a:pt x="10444" y="6067"/>
                    </a:moveTo>
                    <a:lnTo>
                      <a:pt x="8574" y="2623"/>
                    </a:lnTo>
                    <a:cubicBezTo>
                      <a:pt x="7099" y="-34"/>
                      <a:pt x="4049" y="-821"/>
                      <a:pt x="1884" y="951"/>
                    </a:cubicBezTo>
                    <a:cubicBezTo>
                      <a:pt x="-3528" y="5280"/>
                      <a:pt x="4442" y="13841"/>
                      <a:pt x="4442" y="13841"/>
                    </a:cubicBezTo>
                    <a:cubicBezTo>
                      <a:pt x="8574" y="19941"/>
                      <a:pt x="14183" y="12463"/>
                      <a:pt x="10542" y="6067"/>
                    </a:cubicBezTo>
                    <a:close/>
                  </a:path>
                </a:pathLst>
              </a:custGeom>
              <a:grpFill/>
              <a:ln w="9835" cap="flat">
                <a:noFill/>
                <a:prstDash val="solid"/>
                <a:miter/>
              </a:ln>
            </p:spPr>
            <p:txBody>
              <a:bodyPr rtlCol="0" anchor="ctr"/>
              <a:lstStyle/>
              <a:p>
                <a:endParaRPr lang="en-IN"/>
              </a:p>
            </p:txBody>
          </p:sp>
          <p:sp>
            <p:nvSpPr>
              <p:cNvPr id="614" name="Freeform: Shape 613">
                <a:extLst>
                  <a:ext uri="{FF2B5EF4-FFF2-40B4-BE49-F238E27FC236}">
                    <a16:creationId xmlns:a16="http://schemas.microsoft.com/office/drawing/2014/main" id="{163F582A-DC45-333B-6DD7-42CD5C40FE1A}"/>
                  </a:ext>
                </a:extLst>
              </p:cNvPr>
              <p:cNvSpPr/>
              <p:nvPr/>
            </p:nvSpPr>
            <p:spPr>
              <a:xfrm>
                <a:off x="12948327" y="6282079"/>
                <a:ext cx="42341" cy="22207"/>
              </a:xfrm>
              <a:custGeom>
                <a:avLst/>
                <a:gdLst>
                  <a:gd name="connsiteX0" fmla="*/ 7380 w 42341"/>
                  <a:gd name="connsiteY0" fmla="*/ 22109 h 22207"/>
                  <a:gd name="connsiteX1" fmla="*/ 35324 w 42341"/>
                  <a:gd name="connsiteY1" fmla="*/ 22109 h 22207"/>
                  <a:gd name="connsiteX2" fmla="*/ 42113 w 42341"/>
                  <a:gd name="connsiteY2" fmla="*/ 17780 h 22207"/>
                  <a:gd name="connsiteX3" fmla="*/ 19679 w 42341"/>
                  <a:gd name="connsiteY3" fmla="*/ 1052 h 22207"/>
                  <a:gd name="connsiteX4" fmla="*/ 3641 w 42341"/>
                  <a:gd name="connsiteY4" fmla="*/ 5382 h 22207"/>
                  <a:gd name="connsiteX5" fmla="*/ 7478 w 42341"/>
                  <a:gd name="connsiteY5" fmla="*/ 22208 h 2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341" h="22207">
                    <a:moveTo>
                      <a:pt x="7380" y="22109"/>
                    </a:moveTo>
                    <a:lnTo>
                      <a:pt x="35324" y="22109"/>
                    </a:lnTo>
                    <a:cubicBezTo>
                      <a:pt x="38374" y="22109"/>
                      <a:pt x="41424" y="20141"/>
                      <a:pt x="42113" y="17780"/>
                    </a:cubicBezTo>
                    <a:cubicBezTo>
                      <a:pt x="43688" y="12171"/>
                      <a:pt x="37193" y="10203"/>
                      <a:pt x="19679" y="1052"/>
                    </a:cubicBezTo>
                    <a:cubicBezTo>
                      <a:pt x="12693" y="-2588"/>
                      <a:pt x="6101" y="4300"/>
                      <a:pt x="3641" y="5382"/>
                    </a:cubicBezTo>
                    <a:cubicBezTo>
                      <a:pt x="-2854" y="9416"/>
                      <a:pt x="-98" y="22208"/>
                      <a:pt x="7478" y="22208"/>
                    </a:cubicBezTo>
                    <a:close/>
                  </a:path>
                </a:pathLst>
              </a:custGeom>
              <a:grpFill/>
              <a:ln w="9835" cap="flat">
                <a:noFill/>
                <a:prstDash val="solid"/>
                <a:miter/>
              </a:ln>
            </p:spPr>
            <p:txBody>
              <a:bodyPr rtlCol="0" anchor="ctr"/>
              <a:lstStyle/>
              <a:p>
                <a:endParaRPr lang="en-IN"/>
              </a:p>
            </p:txBody>
          </p:sp>
          <p:sp>
            <p:nvSpPr>
              <p:cNvPr id="615" name="Freeform: Shape 614">
                <a:extLst>
                  <a:ext uri="{FF2B5EF4-FFF2-40B4-BE49-F238E27FC236}">
                    <a16:creationId xmlns:a16="http://schemas.microsoft.com/office/drawing/2014/main" id="{60F3C539-BCBF-492C-F326-E56DDF0F3AD2}"/>
                  </a:ext>
                </a:extLst>
              </p:cNvPr>
              <p:cNvSpPr/>
              <p:nvPr/>
            </p:nvSpPr>
            <p:spPr>
              <a:xfrm>
                <a:off x="12941854" y="6219322"/>
                <a:ext cx="30723" cy="33080"/>
              </a:xfrm>
              <a:custGeom>
                <a:avLst/>
                <a:gdLst>
                  <a:gd name="connsiteX0" fmla="*/ 16313 w 30723"/>
                  <a:gd name="connsiteY0" fmla="*/ 3788 h 33080"/>
                  <a:gd name="connsiteX1" fmla="*/ 14935 w 30723"/>
                  <a:gd name="connsiteY1" fmla="*/ 2114 h 33080"/>
                  <a:gd name="connsiteX2" fmla="*/ 2045 w 30723"/>
                  <a:gd name="connsiteY2" fmla="*/ 4673 h 33080"/>
                  <a:gd name="connsiteX3" fmla="*/ 1455 w 30723"/>
                  <a:gd name="connsiteY3" fmla="*/ 12052 h 33080"/>
                  <a:gd name="connsiteX4" fmla="*/ 3816 w 30723"/>
                  <a:gd name="connsiteY4" fmla="*/ 14414 h 33080"/>
                  <a:gd name="connsiteX5" fmla="*/ 12771 w 30723"/>
                  <a:gd name="connsiteY5" fmla="*/ 29075 h 33080"/>
                  <a:gd name="connsiteX6" fmla="*/ 20445 w 30723"/>
                  <a:gd name="connsiteY6" fmla="*/ 32519 h 33080"/>
                  <a:gd name="connsiteX7" fmla="*/ 28907 w 30723"/>
                  <a:gd name="connsiteY7" fmla="*/ 30354 h 33080"/>
                  <a:gd name="connsiteX8" fmla="*/ 29596 w 30723"/>
                  <a:gd name="connsiteY8" fmla="*/ 29469 h 33080"/>
                  <a:gd name="connsiteX9" fmla="*/ 20839 w 30723"/>
                  <a:gd name="connsiteY9" fmla="*/ 19629 h 33080"/>
                  <a:gd name="connsiteX10" fmla="*/ 16411 w 30723"/>
                  <a:gd name="connsiteY10" fmla="*/ 3886 h 3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23" h="33080">
                    <a:moveTo>
                      <a:pt x="16313" y="3788"/>
                    </a:moveTo>
                    <a:lnTo>
                      <a:pt x="14935" y="2114"/>
                    </a:lnTo>
                    <a:cubicBezTo>
                      <a:pt x="10015" y="-3592"/>
                      <a:pt x="3619" y="3984"/>
                      <a:pt x="2045" y="4673"/>
                    </a:cubicBezTo>
                    <a:cubicBezTo>
                      <a:pt x="-415" y="6542"/>
                      <a:pt x="-710" y="9790"/>
                      <a:pt x="1455" y="12052"/>
                    </a:cubicBezTo>
                    <a:lnTo>
                      <a:pt x="3816" y="14414"/>
                    </a:lnTo>
                    <a:cubicBezTo>
                      <a:pt x="9622" y="20514"/>
                      <a:pt x="5489" y="25730"/>
                      <a:pt x="12771" y="29075"/>
                    </a:cubicBezTo>
                    <a:lnTo>
                      <a:pt x="20445" y="32519"/>
                    </a:lnTo>
                    <a:cubicBezTo>
                      <a:pt x="23298" y="33798"/>
                      <a:pt x="27038" y="32814"/>
                      <a:pt x="28907" y="30354"/>
                    </a:cubicBezTo>
                    <a:lnTo>
                      <a:pt x="29596" y="29469"/>
                    </a:lnTo>
                    <a:cubicBezTo>
                      <a:pt x="34319" y="23171"/>
                      <a:pt x="22807" y="21007"/>
                      <a:pt x="20839" y="19629"/>
                    </a:cubicBezTo>
                    <a:cubicBezTo>
                      <a:pt x="13262" y="16283"/>
                      <a:pt x="21921" y="10281"/>
                      <a:pt x="16411" y="3886"/>
                    </a:cubicBezTo>
                    <a:close/>
                  </a:path>
                </a:pathLst>
              </a:custGeom>
              <a:grpFill/>
              <a:ln w="9835" cap="flat">
                <a:noFill/>
                <a:prstDash val="solid"/>
                <a:miter/>
              </a:ln>
            </p:spPr>
            <p:txBody>
              <a:bodyPr rtlCol="0" anchor="ctr"/>
              <a:lstStyle/>
              <a:p>
                <a:endParaRPr lang="en-IN"/>
              </a:p>
            </p:txBody>
          </p:sp>
          <p:sp>
            <p:nvSpPr>
              <p:cNvPr id="616" name="Freeform: Shape 615">
                <a:extLst>
                  <a:ext uri="{FF2B5EF4-FFF2-40B4-BE49-F238E27FC236}">
                    <a16:creationId xmlns:a16="http://schemas.microsoft.com/office/drawing/2014/main" id="{8E974FF1-3ACC-1E06-87CB-59AD97B7460A}"/>
                  </a:ext>
                </a:extLst>
              </p:cNvPr>
              <p:cNvSpPr/>
              <p:nvPr/>
            </p:nvSpPr>
            <p:spPr>
              <a:xfrm>
                <a:off x="12921278" y="6207320"/>
                <a:ext cx="11992" cy="17868"/>
              </a:xfrm>
              <a:custGeom>
                <a:avLst/>
                <a:gdLst>
                  <a:gd name="connsiteX0" fmla="*/ 88 w 11992"/>
                  <a:gd name="connsiteY0" fmla="*/ 13034 h 17868"/>
                  <a:gd name="connsiteX1" fmla="*/ 11895 w 11992"/>
                  <a:gd name="connsiteY1" fmla="*/ 11362 h 17868"/>
                  <a:gd name="connsiteX2" fmla="*/ 7369 w 11992"/>
                  <a:gd name="connsiteY2" fmla="*/ 833 h 17868"/>
                  <a:gd name="connsiteX3" fmla="*/ 88 w 11992"/>
                  <a:gd name="connsiteY3" fmla="*/ 13034 h 17868"/>
                </a:gdLst>
                <a:ahLst/>
                <a:cxnLst>
                  <a:cxn ang="0">
                    <a:pos x="connsiteX0" y="connsiteY0"/>
                  </a:cxn>
                  <a:cxn ang="0">
                    <a:pos x="connsiteX1" y="connsiteY1"/>
                  </a:cxn>
                  <a:cxn ang="0">
                    <a:pos x="connsiteX2" y="connsiteY2"/>
                  </a:cxn>
                  <a:cxn ang="0">
                    <a:pos x="connsiteX3" y="connsiteY3"/>
                  </a:cxn>
                </a:cxnLst>
                <a:rect l="l" t="t" r="r" b="b"/>
                <a:pathLst>
                  <a:path w="11992" h="17868">
                    <a:moveTo>
                      <a:pt x="88" y="13034"/>
                    </a:moveTo>
                    <a:cubicBezTo>
                      <a:pt x="-1191" y="20414"/>
                      <a:pt x="11895" y="18939"/>
                      <a:pt x="11895" y="11362"/>
                    </a:cubicBezTo>
                    <a:cubicBezTo>
                      <a:pt x="12092" y="12346"/>
                      <a:pt x="12486" y="4081"/>
                      <a:pt x="7369" y="833"/>
                    </a:cubicBezTo>
                    <a:cubicBezTo>
                      <a:pt x="678" y="-3398"/>
                      <a:pt x="1269" y="9689"/>
                      <a:pt x="88" y="13034"/>
                    </a:cubicBezTo>
                    <a:close/>
                  </a:path>
                </a:pathLst>
              </a:custGeom>
              <a:grpFill/>
              <a:ln w="9835" cap="flat">
                <a:noFill/>
                <a:prstDash val="solid"/>
                <a:miter/>
              </a:ln>
            </p:spPr>
            <p:txBody>
              <a:bodyPr rtlCol="0" anchor="ctr"/>
              <a:lstStyle/>
              <a:p>
                <a:endParaRPr lang="en-IN"/>
              </a:p>
            </p:txBody>
          </p:sp>
          <p:sp>
            <p:nvSpPr>
              <p:cNvPr id="617" name="Freeform: Shape 616">
                <a:extLst>
                  <a:ext uri="{FF2B5EF4-FFF2-40B4-BE49-F238E27FC236}">
                    <a16:creationId xmlns:a16="http://schemas.microsoft.com/office/drawing/2014/main" id="{99DED6E7-9CCC-2A17-7C6B-BD7430DBA7A3}"/>
                  </a:ext>
                </a:extLst>
              </p:cNvPr>
              <p:cNvSpPr/>
              <p:nvPr/>
            </p:nvSpPr>
            <p:spPr>
              <a:xfrm>
                <a:off x="12925498" y="6239864"/>
                <a:ext cx="11930" cy="10705"/>
              </a:xfrm>
              <a:custGeom>
                <a:avLst/>
                <a:gdLst>
                  <a:gd name="connsiteX0" fmla="*/ 9447 w 11930"/>
                  <a:gd name="connsiteY0" fmla="*/ 2138 h 10705"/>
                  <a:gd name="connsiteX1" fmla="*/ 2067 w 11930"/>
                  <a:gd name="connsiteY1" fmla="*/ 1252 h 10705"/>
                  <a:gd name="connsiteX2" fmla="*/ 1673 w 11930"/>
                  <a:gd name="connsiteY2" fmla="*/ 1547 h 10705"/>
                  <a:gd name="connsiteX3" fmla="*/ 1870 w 11930"/>
                  <a:gd name="connsiteY3" fmla="*/ 8632 h 10705"/>
                  <a:gd name="connsiteX4" fmla="*/ 10628 w 11930"/>
                  <a:gd name="connsiteY4" fmla="*/ 3712 h 10705"/>
                  <a:gd name="connsiteX5" fmla="*/ 9447 w 11930"/>
                  <a:gd name="connsiteY5" fmla="*/ 2039 h 1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0" h="10705">
                    <a:moveTo>
                      <a:pt x="9447" y="2138"/>
                    </a:moveTo>
                    <a:cubicBezTo>
                      <a:pt x="7675" y="-322"/>
                      <a:pt x="4330" y="-716"/>
                      <a:pt x="2067" y="1252"/>
                    </a:cubicBezTo>
                    <a:lnTo>
                      <a:pt x="1673" y="1547"/>
                    </a:lnTo>
                    <a:cubicBezTo>
                      <a:pt x="-590" y="3614"/>
                      <a:pt x="-590" y="6762"/>
                      <a:pt x="1870" y="8632"/>
                    </a:cubicBezTo>
                    <a:cubicBezTo>
                      <a:pt x="7577" y="13158"/>
                      <a:pt x="14957" y="9714"/>
                      <a:pt x="10628" y="3712"/>
                    </a:cubicBezTo>
                    <a:lnTo>
                      <a:pt x="9447" y="2039"/>
                    </a:lnTo>
                    <a:close/>
                  </a:path>
                </a:pathLst>
              </a:custGeom>
              <a:grpFill/>
              <a:ln w="9835" cap="flat">
                <a:noFill/>
                <a:prstDash val="solid"/>
                <a:miter/>
              </a:ln>
            </p:spPr>
            <p:txBody>
              <a:bodyPr rtlCol="0" anchor="ctr"/>
              <a:lstStyle/>
              <a:p>
                <a:endParaRPr lang="en-IN"/>
              </a:p>
            </p:txBody>
          </p:sp>
          <p:sp>
            <p:nvSpPr>
              <p:cNvPr id="618" name="Freeform: Shape 617">
                <a:extLst>
                  <a:ext uri="{FF2B5EF4-FFF2-40B4-BE49-F238E27FC236}">
                    <a16:creationId xmlns:a16="http://schemas.microsoft.com/office/drawing/2014/main" id="{A047F9DF-0B49-EF14-896D-ED0A08BFE1E3}"/>
                  </a:ext>
                </a:extLst>
              </p:cNvPr>
              <p:cNvSpPr/>
              <p:nvPr/>
            </p:nvSpPr>
            <p:spPr>
              <a:xfrm>
                <a:off x="12974372" y="6370180"/>
                <a:ext cx="184718" cy="65181"/>
              </a:xfrm>
              <a:custGeom>
                <a:avLst/>
                <a:gdLst>
                  <a:gd name="connsiteX0" fmla="*/ 184719 w 184718"/>
                  <a:gd name="connsiteY0" fmla="*/ 61627 h 65181"/>
                  <a:gd name="connsiteX1" fmla="*/ 182948 w 184718"/>
                  <a:gd name="connsiteY1" fmla="*/ 47064 h 65181"/>
                  <a:gd name="connsiteX2" fmla="*/ 170747 w 184718"/>
                  <a:gd name="connsiteY2" fmla="*/ 33387 h 65181"/>
                  <a:gd name="connsiteX3" fmla="*/ 163859 w 184718"/>
                  <a:gd name="connsiteY3" fmla="*/ 18529 h 65181"/>
                  <a:gd name="connsiteX4" fmla="*/ 147623 w 184718"/>
                  <a:gd name="connsiteY4" fmla="*/ 12035 h 65181"/>
                  <a:gd name="connsiteX5" fmla="*/ 127059 w 184718"/>
                  <a:gd name="connsiteY5" fmla="*/ 12035 h 65181"/>
                  <a:gd name="connsiteX6" fmla="*/ 92915 w 184718"/>
                  <a:gd name="connsiteY6" fmla="*/ 2687 h 65181"/>
                  <a:gd name="connsiteX7" fmla="*/ 77664 w 184718"/>
                  <a:gd name="connsiteY7" fmla="*/ 6722 h 65181"/>
                  <a:gd name="connsiteX8" fmla="*/ 76090 w 184718"/>
                  <a:gd name="connsiteY8" fmla="*/ 4262 h 65181"/>
                  <a:gd name="connsiteX9" fmla="*/ 67628 w 184718"/>
                  <a:gd name="connsiteY9" fmla="*/ 31 h 65181"/>
                  <a:gd name="connsiteX10" fmla="*/ 13116 w 184718"/>
                  <a:gd name="connsiteY10" fmla="*/ 8788 h 65181"/>
                  <a:gd name="connsiteX11" fmla="*/ 423 w 184718"/>
                  <a:gd name="connsiteY11" fmla="*/ 27483 h 65181"/>
                  <a:gd name="connsiteX12" fmla="*/ 7606 w 184718"/>
                  <a:gd name="connsiteY12" fmla="*/ 34962 h 65181"/>
                  <a:gd name="connsiteX13" fmla="*/ 22562 w 184718"/>
                  <a:gd name="connsiteY13" fmla="*/ 24236 h 65181"/>
                  <a:gd name="connsiteX14" fmla="*/ 38994 w 184718"/>
                  <a:gd name="connsiteY14" fmla="*/ 37323 h 65181"/>
                  <a:gd name="connsiteX15" fmla="*/ 50999 w 184718"/>
                  <a:gd name="connsiteY15" fmla="*/ 33682 h 65181"/>
                  <a:gd name="connsiteX16" fmla="*/ 66742 w 184718"/>
                  <a:gd name="connsiteY16" fmla="*/ 23843 h 65181"/>
                  <a:gd name="connsiteX17" fmla="*/ 67529 w 184718"/>
                  <a:gd name="connsiteY17" fmla="*/ 24138 h 65181"/>
                  <a:gd name="connsiteX18" fmla="*/ 70186 w 184718"/>
                  <a:gd name="connsiteY18" fmla="*/ 30140 h 65181"/>
                  <a:gd name="connsiteX19" fmla="*/ 73040 w 184718"/>
                  <a:gd name="connsiteY19" fmla="*/ 35748 h 65181"/>
                  <a:gd name="connsiteX20" fmla="*/ 98130 w 184718"/>
                  <a:gd name="connsiteY20" fmla="*/ 41751 h 65181"/>
                  <a:gd name="connsiteX21" fmla="*/ 102558 w 184718"/>
                  <a:gd name="connsiteY21" fmla="*/ 37520 h 65181"/>
                  <a:gd name="connsiteX22" fmla="*/ 102558 w 184718"/>
                  <a:gd name="connsiteY22" fmla="*/ 36831 h 65181"/>
                  <a:gd name="connsiteX23" fmla="*/ 106986 w 184718"/>
                  <a:gd name="connsiteY23" fmla="*/ 31813 h 65181"/>
                  <a:gd name="connsiteX24" fmla="*/ 122631 w 184718"/>
                  <a:gd name="connsiteY24" fmla="*/ 33288 h 65181"/>
                  <a:gd name="connsiteX25" fmla="*/ 130994 w 184718"/>
                  <a:gd name="connsiteY25" fmla="*/ 39783 h 65181"/>
                  <a:gd name="connsiteX26" fmla="*/ 138473 w 184718"/>
                  <a:gd name="connsiteY26" fmla="*/ 47064 h 65181"/>
                  <a:gd name="connsiteX27" fmla="*/ 180192 w 184718"/>
                  <a:gd name="connsiteY27" fmla="*/ 64775 h 65181"/>
                  <a:gd name="connsiteX28" fmla="*/ 184620 w 184718"/>
                  <a:gd name="connsiteY28" fmla="*/ 61430 h 6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4718" h="65181">
                    <a:moveTo>
                      <a:pt x="184719" y="61627"/>
                    </a:moveTo>
                    <a:lnTo>
                      <a:pt x="182948" y="47064"/>
                    </a:lnTo>
                    <a:cubicBezTo>
                      <a:pt x="181964" y="38799"/>
                      <a:pt x="172419" y="41554"/>
                      <a:pt x="170747" y="33387"/>
                    </a:cubicBezTo>
                    <a:cubicBezTo>
                      <a:pt x="170058" y="31321"/>
                      <a:pt x="170058" y="22761"/>
                      <a:pt x="163859" y="18529"/>
                    </a:cubicBezTo>
                    <a:cubicBezTo>
                      <a:pt x="161399" y="17250"/>
                      <a:pt x="155298" y="10854"/>
                      <a:pt x="147623" y="12035"/>
                    </a:cubicBezTo>
                    <a:cubicBezTo>
                      <a:pt x="139949" y="13117"/>
                      <a:pt x="133651" y="14888"/>
                      <a:pt x="127059" y="12035"/>
                    </a:cubicBezTo>
                    <a:cubicBezTo>
                      <a:pt x="103739" y="2097"/>
                      <a:pt x="98918" y="-1543"/>
                      <a:pt x="92915" y="2687"/>
                    </a:cubicBezTo>
                    <a:cubicBezTo>
                      <a:pt x="89373" y="4360"/>
                      <a:pt x="81895" y="13609"/>
                      <a:pt x="77664" y="6722"/>
                    </a:cubicBezTo>
                    <a:lnTo>
                      <a:pt x="76090" y="4262"/>
                    </a:lnTo>
                    <a:cubicBezTo>
                      <a:pt x="74515" y="1605"/>
                      <a:pt x="70678" y="-264"/>
                      <a:pt x="67628" y="31"/>
                    </a:cubicBezTo>
                    <a:cubicBezTo>
                      <a:pt x="21480" y="4557"/>
                      <a:pt x="18528" y="3770"/>
                      <a:pt x="13116" y="8788"/>
                    </a:cubicBezTo>
                    <a:cubicBezTo>
                      <a:pt x="8295" y="14397"/>
                      <a:pt x="-2234" y="19316"/>
                      <a:pt x="423" y="27483"/>
                    </a:cubicBezTo>
                    <a:cubicBezTo>
                      <a:pt x="1211" y="29058"/>
                      <a:pt x="2883" y="41161"/>
                      <a:pt x="7606" y="34962"/>
                    </a:cubicBezTo>
                    <a:cubicBezTo>
                      <a:pt x="11837" y="30731"/>
                      <a:pt x="17052" y="17742"/>
                      <a:pt x="22562" y="24236"/>
                    </a:cubicBezTo>
                    <a:cubicBezTo>
                      <a:pt x="26695" y="28271"/>
                      <a:pt x="30631" y="36733"/>
                      <a:pt x="38994" y="37323"/>
                    </a:cubicBezTo>
                    <a:cubicBezTo>
                      <a:pt x="39978" y="37225"/>
                      <a:pt x="46374" y="38897"/>
                      <a:pt x="50999" y="33682"/>
                    </a:cubicBezTo>
                    <a:cubicBezTo>
                      <a:pt x="54443" y="30731"/>
                      <a:pt x="58969" y="21383"/>
                      <a:pt x="66742" y="23843"/>
                    </a:cubicBezTo>
                    <a:lnTo>
                      <a:pt x="67529" y="24138"/>
                    </a:lnTo>
                    <a:cubicBezTo>
                      <a:pt x="70481" y="25122"/>
                      <a:pt x="71662" y="27778"/>
                      <a:pt x="70186" y="30140"/>
                    </a:cubicBezTo>
                    <a:cubicBezTo>
                      <a:pt x="68710" y="32502"/>
                      <a:pt x="69989" y="35060"/>
                      <a:pt x="73040" y="35748"/>
                    </a:cubicBezTo>
                    <a:lnTo>
                      <a:pt x="98130" y="41751"/>
                    </a:lnTo>
                    <a:cubicBezTo>
                      <a:pt x="101082" y="42440"/>
                      <a:pt x="103149" y="40570"/>
                      <a:pt x="102558" y="37520"/>
                    </a:cubicBezTo>
                    <a:lnTo>
                      <a:pt x="102558" y="36831"/>
                    </a:lnTo>
                    <a:cubicBezTo>
                      <a:pt x="101870" y="33781"/>
                      <a:pt x="103935" y="31616"/>
                      <a:pt x="106986" y="31813"/>
                    </a:cubicBezTo>
                    <a:lnTo>
                      <a:pt x="122631" y="33288"/>
                    </a:lnTo>
                    <a:cubicBezTo>
                      <a:pt x="128633" y="33879"/>
                      <a:pt x="131880" y="40767"/>
                      <a:pt x="130994" y="39783"/>
                    </a:cubicBezTo>
                    <a:cubicBezTo>
                      <a:pt x="132274" y="42538"/>
                      <a:pt x="135718" y="45785"/>
                      <a:pt x="138473" y="47064"/>
                    </a:cubicBezTo>
                    <a:lnTo>
                      <a:pt x="180192" y="64775"/>
                    </a:lnTo>
                    <a:cubicBezTo>
                      <a:pt x="183046" y="65956"/>
                      <a:pt x="185014" y="64480"/>
                      <a:pt x="184620" y="61430"/>
                    </a:cubicBezTo>
                    <a:close/>
                  </a:path>
                </a:pathLst>
              </a:custGeom>
              <a:grpFill/>
              <a:ln w="9835" cap="flat">
                <a:noFill/>
                <a:prstDash val="solid"/>
                <a:miter/>
              </a:ln>
            </p:spPr>
            <p:txBody>
              <a:bodyPr rtlCol="0" anchor="ctr"/>
              <a:lstStyle/>
              <a:p>
                <a:endParaRPr lang="en-IN"/>
              </a:p>
            </p:txBody>
          </p:sp>
          <p:sp>
            <p:nvSpPr>
              <p:cNvPr id="619" name="Freeform: Shape 618">
                <a:extLst>
                  <a:ext uri="{FF2B5EF4-FFF2-40B4-BE49-F238E27FC236}">
                    <a16:creationId xmlns:a16="http://schemas.microsoft.com/office/drawing/2014/main" id="{931EDA3D-2A44-2DAE-DC0D-F554C0D2685B}"/>
                  </a:ext>
                </a:extLst>
              </p:cNvPr>
              <p:cNvSpPr/>
              <p:nvPr/>
            </p:nvSpPr>
            <p:spPr>
              <a:xfrm>
                <a:off x="12978140" y="6418696"/>
                <a:ext cx="22139" cy="16883"/>
              </a:xfrm>
              <a:custGeom>
                <a:avLst/>
                <a:gdLst>
                  <a:gd name="connsiteX0" fmla="*/ 5018 w 22139"/>
                  <a:gd name="connsiteY0" fmla="*/ 6027 h 16883"/>
                  <a:gd name="connsiteX1" fmla="*/ 0 w 22139"/>
                  <a:gd name="connsiteY1" fmla="*/ 13505 h 16883"/>
                  <a:gd name="connsiteX2" fmla="*/ 16924 w 22139"/>
                  <a:gd name="connsiteY2" fmla="*/ 11832 h 16883"/>
                  <a:gd name="connsiteX3" fmla="*/ 22139 w 22139"/>
                  <a:gd name="connsiteY3" fmla="*/ 4158 h 16883"/>
                  <a:gd name="connsiteX4" fmla="*/ 22139 w 22139"/>
                  <a:gd name="connsiteY4" fmla="*/ 3666 h 16883"/>
                  <a:gd name="connsiteX5" fmla="*/ 5018 w 22139"/>
                  <a:gd name="connsiteY5" fmla="*/ 6027 h 1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39" h="16883">
                    <a:moveTo>
                      <a:pt x="5018" y="6027"/>
                    </a:moveTo>
                    <a:cubicBezTo>
                      <a:pt x="2264" y="7306"/>
                      <a:pt x="0" y="10652"/>
                      <a:pt x="0" y="13505"/>
                    </a:cubicBezTo>
                    <a:cubicBezTo>
                      <a:pt x="0" y="21377"/>
                      <a:pt x="11709" y="13210"/>
                      <a:pt x="16924" y="11832"/>
                    </a:cubicBezTo>
                    <a:cubicBezTo>
                      <a:pt x="19778" y="10652"/>
                      <a:pt x="22139" y="7208"/>
                      <a:pt x="22139" y="4158"/>
                    </a:cubicBezTo>
                    <a:lnTo>
                      <a:pt x="22139" y="3666"/>
                    </a:lnTo>
                    <a:cubicBezTo>
                      <a:pt x="22139" y="-4993"/>
                      <a:pt x="10922" y="4158"/>
                      <a:pt x="5018" y="6027"/>
                    </a:cubicBezTo>
                    <a:close/>
                  </a:path>
                </a:pathLst>
              </a:custGeom>
              <a:grpFill/>
              <a:ln w="9835" cap="flat">
                <a:noFill/>
                <a:prstDash val="solid"/>
                <a:miter/>
              </a:ln>
            </p:spPr>
            <p:txBody>
              <a:bodyPr rtlCol="0" anchor="ctr"/>
              <a:lstStyle/>
              <a:p>
                <a:endParaRPr lang="en-IN"/>
              </a:p>
            </p:txBody>
          </p:sp>
          <p:sp>
            <p:nvSpPr>
              <p:cNvPr id="620" name="Freeform: Shape 619">
                <a:extLst>
                  <a:ext uri="{FF2B5EF4-FFF2-40B4-BE49-F238E27FC236}">
                    <a16:creationId xmlns:a16="http://schemas.microsoft.com/office/drawing/2014/main" id="{7CF25DB7-6234-D732-4948-31F6F6AC05B7}"/>
                  </a:ext>
                </a:extLst>
              </p:cNvPr>
              <p:cNvSpPr/>
              <p:nvPr/>
            </p:nvSpPr>
            <p:spPr>
              <a:xfrm>
                <a:off x="13011300" y="6416674"/>
                <a:ext cx="18838" cy="10904"/>
              </a:xfrm>
              <a:custGeom>
                <a:avLst/>
                <a:gdLst>
                  <a:gd name="connsiteX0" fmla="*/ 18498 w 18838"/>
                  <a:gd name="connsiteY0" fmla="*/ 6377 h 10904"/>
                  <a:gd name="connsiteX1" fmla="*/ 18302 w 18838"/>
                  <a:gd name="connsiteY1" fmla="*/ 5491 h 10904"/>
                  <a:gd name="connsiteX2" fmla="*/ 11316 w 18838"/>
                  <a:gd name="connsiteY2" fmla="*/ 79 h 10904"/>
                  <a:gd name="connsiteX3" fmla="*/ 0 w 18838"/>
                  <a:gd name="connsiteY3" fmla="*/ 4507 h 10904"/>
                  <a:gd name="connsiteX4" fmla="*/ 5510 w 18838"/>
                  <a:gd name="connsiteY4" fmla="*/ 9722 h 10904"/>
                  <a:gd name="connsiteX5" fmla="*/ 18597 w 18838"/>
                  <a:gd name="connsiteY5" fmla="*/ 6377 h 1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38" h="10904">
                    <a:moveTo>
                      <a:pt x="18498" y="6377"/>
                    </a:moveTo>
                    <a:lnTo>
                      <a:pt x="18302" y="5491"/>
                    </a:lnTo>
                    <a:cubicBezTo>
                      <a:pt x="17515" y="2539"/>
                      <a:pt x="14366" y="79"/>
                      <a:pt x="11316" y="79"/>
                    </a:cubicBezTo>
                    <a:cubicBezTo>
                      <a:pt x="9643" y="374"/>
                      <a:pt x="0" y="-1593"/>
                      <a:pt x="0" y="4507"/>
                    </a:cubicBezTo>
                    <a:cubicBezTo>
                      <a:pt x="0" y="6967"/>
                      <a:pt x="2460" y="9328"/>
                      <a:pt x="5510" y="9722"/>
                    </a:cubicBezTo>
                    <a:cubicBezTo>
                      <a:pt x="8856" y="9623"/>
                      <a:pt x="20664" y="14051"/>
                      <a:pt x="18597" y="6377"/>
                    </a:cubicBezTo>
                    <a:close/>
                  </a:path>
                </a:pathLst>
              </a:custGeom>
              <a:grpFill/>
              <a:ln w="9835" cap="flat">
                <a:noFill/>
                <a:prstDash val="solid"/>
                <a:miter/>
              </a:ln>
            </p:spPr>
            <p:txBody>
              <a:bodyPr rtlCol="0" anchor="ctr"/>
              <a:lstStyle/>
              <a:p>
                <a:endParaRPr lang="en-IN"/>
              </a:p>
            </p:txBody>
          </p:sp>
          <p:sp>
            <p:nvSpPr>
              <p:cNvPr id="621" name="Freeform: Shape 620">
                <a:extLst>
                  <a:ext uri="{FF2B5EF4-FFF2-40B4-BE49-F238E27FC236}">
                    <a16:creationId xmlns:a16="http://schemas.microsoft.com/office/drawing/2014/main" id="{C3D0B023-AA5B-5B82-D2C9-A6E4C259E928}"/>
                  </a:ext>
                </a:extLst>
              </p:cNvPr>
              <p:cNvSpPr/>
              <p:nvPr/>
            </p:nvSpPr>
            <p:spPr>
              <a:xfrm>
                <a:off x="12954165" y="6396538"/>
                <a:ext cx="10410" cy="11026"/>
              </a:xfrm>
              <a:custGeom>
                <a:avLst/>
                <a:gdLst>
                  <a:gd name="connsiteX0" fmla="*/ 9610 w 10410"/>
                  <a:gd name="connsiteY0" fmla="*/ 2208 h 11026"/>
                  <a:gd name="connsiteX1" fmla="*/ 3214 w 10410"/>
                  <a:gd name="connsiteY1" fmla="*/ 1519 h 11026"/>
                  <a:gd name="connsiteX2" fmla="*/ 1934 w 10410"/>
                  <a:gd name="connsiteY2" fmla="*/ 2897 h 11026"/>
                  <a:gd name="connsiteX3" fmla="*/ 852 w 10410"/>
                  <a:gd name="connsiteY3" fmla="*/ 9784 h 11026"/>
                  <a:gd name="connsiteX4" fmla="*/ 9610 w 10410"/>
                  <a:gd name="connsiteY4" fmla="*/ 2208 h 11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 h="11026">
                    <a:moveTo>
                      <a:pt x="9610" y="2208"/>
                    </a:moveTo>
                    <a:cubicBezTo>
                      <a:pt x="8133" y="-449"/>
                      <a:pt x="5280" y="-744"/>
                      <a:pt x="3214" y="1519"/>
                    </a:cubicBezTo>
                    <a:lnTo>
                      <a:pt x="1934" y="2897"/>
                    </a:lnTo>
                    <a:cubicBezTo>
                      <a:pt x="-131" y="5160"/>
                      <a:pt x="-624" y="8210"/>
                      <a:pt x="852" y="9784"/>
                    </a:cubicBezTo>
                    <a:cubicBezTo>
                      <a:pt x="4493" y="13425"/>
                      <a:pt x="13053" y="8505"/>
                      <a:pt x="9610" y="2208"/>
                    </a:cubicBezTo>
                    <a:close/>
                  </a:path>
                </a:pathLst>
              </a:custGeom>
              <a:grpFill/>
              <a:ln w="9835" cap="flat">
                <a:noFill/>
                <a:prstDash val="solid"/>
                <a:miter/>
              </a:ln>
            </p:spPr>
            <p:txBody>
              <a:bodyPr rtlCol="0" anchor="ctr"/>
              <a:lstStyle/>
              <a:p>
                <a:endParaRPr lang="en-IN"/>
              </a:p>
            </p:txBody>
          </p:sp>
          <p:sp>
            <p:nvSpPr>
              <p:cNvPr id="622" name="Freeform: Shape 621">
                <a:extLst>
                  <a:ext uri="{FF2B5EF4-FFF2-40B4-BE49-F238E27FC236}">
                    <a16:creationId xmlns:a16="http://schemas.microsoft.com/office/drawing/2014/main" id="{773E54C6-3A3C-7B2F-79FD-3FF4050324F2}"/>
                  </a:ext>
                </a:extLst>
              </p:cNvPr>
              <p:cNvSpPr/>
              <p:nvPr/>
            </p:nvSpPr>
            <p:spPr>
              <a:xfrm>
                <a:off x="13269080" y="6541956"/>
                <a:ext cx="10493" cy="26308"/>
              </a:xfrm>
              <a:custGeom>
                <a:avLst/>
                <a:gdLst>
                  <a:gd name="connsiteX0" fmla="*/ 116 w 10493"/>
                  <a:gd name="connsiteY0" fmla="*/ 10484 h 26308"/>
                  <a:gd name="connsiteX1" fmla="*/ 5626 w 10493"/>
                  <a:gd name="connsiteY1" fmla="*/ 26228 h 26308"/>
                  <a:gd name="connsiteX2" fmla="*/ 5626 w 10493"/>
                  <a:gd name="connsiteY2" fmla="*/ 26228 h 26308"/>
                  <a:gd name="connsiteX3" fmla="*/ 10447 w 10493"/>
                  <a:gd name="connsiteY3" fmla="*/ 19832 h 26308"/>
                  <a:gd name="connsiteX4" fmla="*/ 8479 w 10493"/>
                  <a:gd name="connsiteY4" fmla="*/ 3006 h 26308"/>
                  <a:gd name="connsiteX5" fmla="*/ 17 w 10493"/>
                  <a:gd name="connsiteY5" fmla="*/ 10386 h 2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93" h="26308">
                    <a:moveTo>
                      <a:pt x="116" y="10484"/>
                    </a:moveTo>
                    <a:cubicBezTo>
                      <a:pt x="805" y="15207"/>
                      <a:pt x="-2541" y="27409"/>
                      <a:pt x="5626" y="26228"/>
                    </a:cubicBezTo>
                    <a:lnTo>
                      <a:pt x="5626" y="26228"/>
                    </a:lnTo>
                    <a:cubicBezTo>
                      <a:pt x="8676" y="25736"/>
                      <a:pt x="10841" y="22882"/>
                      <a:pt x="10447" y="19832"/>
                    </a:cubicBezTo>
                    <a:lnTo>
                      <a:pt x="8479" y="3006"/>
                    </a:lnTo>
                    <a:cubicBezTo>
                      <a:pt x="7594" y="-4177"/>
                      <a:pt x="17" y="2810"/>
                      <a:pt x="17" y="10386"/>
                    </a:cubicBezTo>
                    <a:close/>
                  </a:path>
                </a:pathLst>
              </a:custGeom>
              <a:grpFill/>
              <a:ln w="9835" cap="flat">
                <a:noFill/>
                <a:prstDash val="solid"/>
                <a:miter/>
              </a:ln>
            </p:spPr>
            <p:txBody>
              <a:bodyPr rtlCol="0" anchor="ctr"/>
              <a:lstStyle/>
              <a:p>
                <a:endParaRPr lang="en-IN"/>
              </a:p>
            </p:txBody>
          </p:sp>
          <p:sp>
            <p:nvSpPr>
              <p:cNvPr id="623" name="Freeform: Shape 622">
                <a:extLst>
                  <a:ext uri="{FF2B5EF4-FFF2-40B4-BE49-F238E27FC236}">
                    <a16:creationId xmlns:a16="http://schemas.microsoft.com/office/drawing/2014/main" id="{80D3CB2B-DEF9-E51A-BA60-0291E92305BF}"/>
                  </a:ext>
                </a:extLst>
              </p:cNvPr>
              <p:cNvSpPr/>
              <p:nvPr/>
            </p:nvSpPr>
            <p:spPr>
              <a:xfrm>
                <a:off x="13289076" y="6520954"/>
                <a:ext cx="22006" cy="41351"/>
              </a:xfrm>
              <a:custGeom>
                <a:avLst/>
                <a:gdLst>
                  <a:gd name="connsiteX0" fmla="*/ 18396 w 22006"/>
                  <a:gd name="connsiteY0" fmla="*/ 0 h 41351"/>
                  <a:gd name="connsiteX1" fmla="*/ 17215 w 22006"/>
                  <a:gd name="connsiteY1" fmla="*/ 0 h 41351"/>
                  <a:gd name="connsiteX2" fmla="*/ 9540 w 22006"/>
                  <a:gd name="connsiteY2" fmla="*/ 5215 h 41351"/>
                  <a:gd name="connsiteX3" fmla="*/ 881 w 22006"/>
                  <a:gd name="connsiteY3" fmla="*/ 36801 h 41351"/>
                  <a:gd name="connsiteX4" fmla="*/ 1767 w 22006"/>
                  <a:gd name="connsiteY4" fmla="*/ 39162 h 41351"/>
                  <a:gd name="connsiteX5" fmla="*/ 6096 w 22006"/>
                  <a:gd name="connsiteY5" fmla="*/ 39260 h 41351"/>
                  <a:gd name="connsiteX6" fmla="*/ 21545 w 22006"/>
                  <a:gd name="connsiteY6" fmla="*/ 5117 h 41351"/>
                  <a:gd name="connsiteX7" fmla="*/ 18297 w 22006"/>
                  <a:gd name="connsiteY7" fmla="*/ 0 h 4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6" h="41351">
                    <a:moveTo>
                      <a:pt x="18396" y="0"/>
                    </a:moveTo>
                    <a:lnTo>
                      <a:pt x="17215" y="0"/>
                    </a:lnTo>
                    <a:cubicBezTo>
                      <a:pt x="14165" y="0"/>
                      <a:pt x="10721" y="2362"/>
                      <a:pt x="9540" y="5215"/>
                    </a:cubicBezTo>
                    <a:cubicBezTo>
                      <a:pt x="1374" y="25485"/>
                      <a:pt x="-1677" y="30011"/>
                      <a:pt x="881" y="36801"/>
                    </a:cubicBezTo>
                    <a:lnTo>
                      <a:pt x="1767" y="39162"/>
                    </a:lnTo>
                    <a:cubicBezTo>
                      <a:pt x="2849" y="42015"/>
                      <a:pt x="4817" y="42114"/>
                      <a:pt x="6096" y="39260"/>
                    </a:cubicBezTo>
                    <a:lnTo>
                      <a:pt x="21545" y="5117"/>
                    </a:lnTo>
                    <a:cubicBezTo>
                      <a:pt x="22824" y="2362"/>
                      <a:pt x="21348" y="0"/>
                      <a:pt x="18297" y="0"/>
                    </a:cubicBezTo>
                    <a:close/>
                  </a:path>
                </a:pathLst>
              </a:custGeom>
              <a:grpFill/>
              <a:ln w="9835" cap="flat">
                <a:noFill/>
                <a:prstDash val="solid"/>
                <a:miter/>
              </a:ln>
            </p:spPr>
            <p:txBody>
              <a:bodyPr rtlCol="0" anchor="ctr"/>
              <a:lstStyle/>
              <a:p>
                <a:endParaRPr lang="en-IN"/>
              </a:p>
            </p:txBody>
          </p:sp>
          <p:sp>
            <p:nvSpPr>
              <p:cNvPr id="624" name="Freeform: Shape 623">
                <a:extLst>
                  <a:ext uri="{FF2B5EF4-FFF2-40B4-BE49-F238E27FC236}">
                    <a16:creationId xmlns:a16="http://schemas.microsoft.com/office/drawing/2014/main" id="{F1E62152-0A22-635E-D3A4-E4EDE87F1BC4}"/>
                  </a:ext>
                </a:extLst>
              </p:cNvPr>
              <p:cNvSpPr/>
              <p:nvPr/>
            </p:nvSpPr>
            <p:spPr>
              <a:xfrm>
                <a:off x="13013672" y="6634481"/>
                <a:ext cx="12904" cy="14186"/>
              </a:xfrm>
              <a:custGeom>
                <a:avLst/>
                <a:gdLst>
                  <a:gd name="connsiteX0" fmla="*/ 11010 w 12904"/>
                  <a:gd name="connsiteY0" fmla="*/ 1990 h 14186"/>
                  <a:gd name="connsiteX1" fmla="*/ 3630 w 12904"/>
                  <a:gd name="connsiteY1" fmla="*/ 1498 h 14186"/>
                  <a:gd name="connsiteX2" fmla="*/ 1564 w 12904"/>
                  <a:gd name="connsiteY2" fmla="*/ 3564 h 14186"/>
                  <a:gd name="connsiteX3" fmla="*/ 1761 w 12904"/>
                  <a:gd name="connsiteY3" fmla="*/ 11239 h 14186"/>
                  <a:gd name="connsiteX4" fmla="*/ 3433 w 12904"/>
                  <a:gd name="connsiteY4" fmla="*/ 12813 h 14186"/>
                  <a:gd name="connsiteX5" fmla="*/ 11010 w 12904"/>
                  <a:gd name="connsiteY5" fmla="*/ 12124 h 14186"/>
                  <a:gd name="connsiteX6" fmla="*/ 11502 w 12904"/>
                  <a:gd name="connsiteY6" fmla="*/ 11534 h 14186"/>
                  <a:gd name="connsiteX7" fmla="*/ 11502 w 12904"/>
                  <a:gd name="connsiteY7" fmla="*/ 2678 h 14186"/>
                  <a:gd name="connsiteX8" fmla="*/ 11010 w 12904"/>
                  <a:gd name="connsiteY8" fmla="*/ 2088 h 1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04" h="14186">
                    <a:moveTo>
                      <a:pt x="11010" y="1990"/>
                    </a:moveTo>
                    <a:cubicBezTo>
                      <a:pt x="9141" y="-470"/>
                      <a:pt x="5795" y="-667"/>
                      <a:pt x="3630" y="1498"/>
                    </a:cubicBezTo>
                    <a:lnTo>
                      <a:pt x="1564" y="3564"/>
                    </a:lnTo>
                    <a:cubicBezTo>
                      <a:pt x="-601" y="5728"/>
                      <a:pt x="-503" y="9173"/>
                      <a:pt x="1761" y="11239"/>
                    </a:cubicBezTo>
                    <a:lnTo>
                      <a:pt x="3433" y="12813"/>
                    </a:lnTo>
                    <a:cubicBezTo>
                      <a:pt x="5696" y="14880"/>
                      <a:pt x="9141" y="14584"/>
                      <a:pt x="11010" y="12124"/>
                    </a:cubicBezTo>
                    <a:lnTo>
                      <a:pt x="11502" y="11534"/>
                    </a:lnTo>
                    <a:cubicBezTo>
                      <a:pt x="13371" y="9074"/>
                      <a:pt x="13371" y="5138"/>
                      <a:pt x="11502" y="2678"/>
                    </a:cubicBezTo>
                    <a:lnTo>
                      <a:pt x="11010" y="2088"/>
                    </a:lnTo>
                    <a:close/>
                  </a:path>
                </a:pathLst>
              </a:custGeom>
              <a:grpFill/>
              <a:ln w="9835" cap="flat">
                <a:noFill/>
                <a:prstDash val="solid"/>
                <a:miter/>
              </a:ln>
            </p:spPr>
            <p:txBody>
              <a:bodyPr rtlCol="0" anchor="ctr"/>
              <a:lstStyle/>
              <a:p>
                <a:endParaRPr lang="en-IN"/>
              </a:p>
            </p:txBody>
          </p:sp>
          <p:sp>
            <p:nvSpPr>
              <p:cNvPr id="625" name="Freeform: Shape 624">
                <a:extLst>
                  <a:ext uri="{FF2B5EF4-FFF2-40B4-BE49-F238E27FC236}">
                    <a16:creationId xmlns:a16="http://schemas.microsoft.com/office/drawing/2014/main" id="{982C6623-9469-E149-F04B-BD088D1B873A}"/>
                  </a:ext>
                </a:extLst>
              </p:cNvPr>
              <p:cNvSpPr/>
              <p:nvPr/>
            </p:nvSpPr>
            <p:spPr>
              <a:xfrm>
                <a:off x="13078083" y="6680740"/>
                <a:ext cx="19297" cy="17808"/>
              </a:xfrm>
              <a:custGeom>
                <a:avLst/>
                <a:gdLst>
                  <a:gd name="connsiteX0" fmla="*/ 15968 w 19297"/>
                  <a:gd name="connsiteY0" fmla="*/ 2961 h 17808"/>
                  <a:gd name="connsiteX1" fmla="*/ 2684 w 19297"/>
                  <a:gd name="connsiteY1" fmla="*/ 2173 h 17808"/>
                  <a:gd name="connsiteX2" fmla="*/ 1406 w 19297"/>
                  <a:gd name="connsiteY2" fmla="*/ 3551 h 17808"/>
                  <a:gd name="connsiteX3" fmla="*/ 2094 w 19297"/>
                  <a:gd name="connsiteY3" fmla="*/ 10832 h 17808"/>
                  <a:gd name="connsiteX4" fmla="*/ 16952 w 19297"/>
                  <a:gd name="connsiteY4" fmla="*/ 14965 h 17808"/>
                  <a:gd name="connsiteX5" fmla="*/ 15968 w 19297"/>
                  <a:gd name="connsiteY5" fmla="*/ 2862 h 1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97" h="17808">
                    <a:moveTo>
                      <a:pt x="15968" y="2961"/>
                    </a:moveTo>
                    <a:cubicBezTo>
                      <a:pt x="15968" y="2961"/>
                      <a:pt x="7801" y="-3140"/>
                      <a:pt x="2684" y="2173"/>
                    </a:cubicBezTo>
                    <a:lnTo>
                      <a:pt x="1406" y="3551"/>
                    </a:lnTo>
                    <a:cubicBezTo>
                      <a:pt x="-661" y="5715"/>
                      <a:pt x="-464" y="9061"/>
                      <a:pt x="2094" y="10832"/>
                    </a:cubicBezTo>
                    <a:cubicBezTo>
                      <a:pt x="5932" y="12800"/>
                      <a:pt x="13803" y="22541"/>
                      <a:pt x="16952" y="14965"/>
                    </a:cubicBezTo>
                    <a:cubicBezTo>
                      <a:pt x="17248" y="13391"/>
                      <a:pt x="22659" y="6306"/>
                      <a:pt x="15968" y="2862"/>
                    </a:cubicBezTo>
                    <a:close/>
                  </a:path>
                </a:pathLst>
              </a:custGeom>
              <a:grpFill/>
              <a:ln w="9835" cap="flat">
                <a:noFill/>
                <a:prstDash val="solid"/>
                <a:miter/>
              </a:ln>
            </p:spPr>
            <p:txBody>
              <a:bodyPr rtlCol="0" anchor="ctr"/>
              <a:lstStyle/>
              <a:p>
                <a:endParaRPr lang="en-IN"/>
              </a:p>
            </p:txBody>
          </p:sp>
          <p:sp>
            <p:nvSpPr>
              <p:cNvPr id="626" name="Freeform: Shape 625">
                <a:extLst>
                  <a:ext uri="{FF2B5EF4-FFF2-40B4-BE49-F238E27FC236}">
                    <a16:creationId xmlns:a16="http://schemas.microsoft.com/office/drawing/2014/main" id="{468FDC27-00C6-1442-8919-E04FAE95BBC7}"/>
                  </a:ext>
                </a:extLst>
              </p:cNvPr>
              <p:cNvSpPr/>
              <p:nvPr/>
            </p:nvSpPr>
            <p:spPr>
              <a:xfrm>
                <a:off x="12961771" y="6701765"/>
                <a:ext cx="34671" cy="13468"/>
              </a:xfrm>
              <a:custGeom>
                <a:avLst/>
                <a:gdLst>
                  <a:gd name="connsiteX0" fmla="*/ 29259 w 34671"/>
                  <a:gd name="connsiteY0" fmla="*/ 2599 h 13468"/>
                  <a:gd name="connsiteX1" fmla="*/ 1708 w 34671"/>
                  <a:gd name="connsiteY1" fmla="*/ 3484 h 13468"/>
                  <a:gd name="connsiteX2" fmla="*/ 1019 w 34671"/>
                  <a:gd name="connsiteY2" fmla="*/ 4370 h 13468"/>
                  <a:gd name="connsiteX3" fmla="*/ 3086 w 34671"/>
                  <a:gd name="connsiteY3" fmla="*/ 8699 h 13468"/>
                  <a:gd name="connsiteX4" fmla="*/ 19715 w 34671"/>
                  <a:gd name="connsiteY4" fmla="*/ 10372 h 13468"/>
                  <a:gd name="connsiteX5" fmla="*/ 34671 w 34671"/>
                  <a:gd name="connsiteY5" fmla="*/ 9486 h 13468"/>
                  <a:gd name="connsiteX6" fmla="*/ 34671 w 34671"/>
                  <a:gd name="connsiteY6" fmla="*/ 9093 h 13468"/>
                  <a:gd name="connsiteX7" fmla="*/ 29161 w 34671"/>
                  <a:gd name="connsiteY7" fmla="*/ 2697 h 1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71" h="13468">
                    <a:moveTo>
                      <a:pt x="29259" y="2599"/>
                    </a:moveTo>
                    <a:cubicBezTo>
                      <a:pt x="11548" y="40"/>
                      <a:pt x="6136" y="-2026"/>
                      <a:pt x="1708" y="3484"/>
                    </a:cubicBezTo>
                    <a:lnTo>
                      <a:pt x="1019" y="4370"/>
                    </a:lnTo>
                    <a:cubicBezTo>
                      <a:pt x="-948" y="6731"/>
                      <a:pt x="35" y="8699"/>
                      <a:pt x="3086" y="8699"/>
                    </a:cubicBezTo>
                    <a:cubicBezTo>
                      <a:pt x="4758" y="8699"/>
                      <a:pt x="12532" y="8109"/>
                      <a:pt x="19715" y="10372"/>
                    </a:cubicBezTo>
                    <a:cubicBezTo>
                      <a:pt x="23946" y="10963"/>
                      <a:pt x="34671" y="17555"/>
                      <a:pt x="34671" y="9486"/>
                    </a:cubicBezTo>
                    <a:lnTo>
                      <a:pt x="34671" y="9093"/>
                    </a:lnTo>
                    <a:cubicBezTo>
                      <a:pt x="34671" y="6043"/>
                      <a:pt x="32211" y="3189"/>
                      <a:pt x="29161" y="2697"/>
                    </a:cubicBezTo>
                    <a:close/>
                  </a:path>
                </a:pathLst>
              </a:custGeom>
              <a:grpFill/>
              <a:ln w="9835" cap="flat">
                <a:noFill/>
                <a:prstDash val="solid"/>
                <a:miter/>
              </a:ln>
            </p:spPr>
            <p:txBody>
              <a:bodyPr rtlCol="0" anchor="ctr"/>
              <a:lstStyle/>
              <a:p>
                <a:endParaRPr lang="en-IN"/>
              </a:p>
            </p:txBody>
          </p:sp>
          <p:sp>
            <p:nvSpPr>
              <p:cNvPr id="627" name="Freeform: Shape 626">
                <a:extLst>
                  <a:ext uri="{FF2B5EF4-FFF2-40B4-BE49-F238E27FC236}">
                    <a16:creationId xmlns:a16="http://schemas.microsoft.com/office/drawing/2014/main" id="{DF4F4553-51B2-1DE4-BF69-7DED4F843D82}"/>
                  </a:ext>
                </a:extLst>
              </p:cNvPr>
              <p:cNvSpPr/>
              <p:nvPr/>
            </p:nvSpPr>
            <p:spPr>
              <a:xfrm>
                <a:off x="12939714" y="6661181"/>
                <a:ext cx="13760" cy="14146"/>
              </a:xfrm>
              <a:custGeom>
                <a:avLst/>
                <a:gdLst>
                  <a:gd name="connsiteX0" fmla="*/ 10876 w 13760"/>
                  <a:gd name="connsiteY0" fmla="*/ 1365 h 14146"/>
                  <a:gd name="connsiteX1" fmla="*/ 7628 w 13760"/>
                  <a:gd name="connsiteY1" fmla="*/ 283 h 14146"/>
                  <a:gd name="connsiteX2" fmla="*/ 839 w 13760"/>
                  <a:gd name="connsiteY2" fmla="*/ 3924 h 14146"/>
                  <a:gd name="connsiteX3" fmla="*/ 347 w 13760"/>
                  <a:gd name="connsiteY3" fmla="*/ 5793 h 14146"/>
                  <a:gd name="connsiteX4" fmla="*/ 2118 w 13760"/>
                  <a:gd name="connsiteY4" fmla="*/ 13468 h 14146"/>
                  <a:gd name="connsiteX5" fmla="*/ 12647 w 13760"/>
                  <a:gd name="connsiteY5" fmla="*/ 7367 h 14146"/>
                  <a:gd name="connsiteX6" fmla="*/ 10974 w 13760"/>
                  <a:gd name="connsiteY6" fmla="*/ 1365 h 14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60" h="14146">
                    <a:moveTo>
                      <a:pt x="10876" y="1365"/>
                    </a:moveTo>
                    <a:lnTo>
                      <a:pt x="7628" y="283"/>
                    </a:lnTo>
                    <a:cubicBezTo>
                      <a:pt x="4677" y="-701"/>
                      <a:pt x="1626" y="972"/>
                      <a:pt x="839" y="3924"/>
                    </a:cubicBezTo>
                    <a:lnTo>
                      <a:pt x="347" y="5793"/>
                    </a:lnTo>
                    <a:cubicBezTo>
                      <a:pt x="-538" y="8745"/>
                      <a:pt x="347" y="12189"/>
                      <a:pt x="2118" y="13468"/>
                    </a:cubicBezTo>
                    <a:cubicBezTo>
                      <a:pt x="6546" y="16518"/>
                      <a:pt x="11565" y="8351"/>
                      <a:pt x="12647" y="7367"/>
                    </a:cubicBezTo>
                    <a:cubicBezTo>
                      <a:pt x="14615" y="5006"/>
                      <a:pt x="13926" y="2349"/>
                      <a:pt x="10974" y="1365"/>
                    </a:cubicBezTo>
                    <a:close/>
                  </a:path>
                </a:pathLst>
              </a:custGeom>
              <a:grpFill/>
              <a:ln w="9835" cap="flat">
                <a:noFill/>
                <a:prstDash val="solid"/>
                <a:miter/>
              </a:ln>
            </p:spPr>
            <p:txBody>
              <a:bodyPr rtlCol="0" anchor="ctr"/>
              <a:lstStyle/>
              <a:p>
                <a:endParaRPr lang="en-IN"/>
              </a:p>
            </p:txBody>
          </p:sp>
          <p:sp>
            <p:nvSpPr>
              <p:cNvPr id="628" name="Freeform: Shape 627">
                <a:extLst>
                  <a:ext uri="{FF2B5EF4-FFF2-40B4-BE49-F238E27FC236}">
                    <a16:creationId xmlns:a16="http://schemas.microsoft.com/office/drawing/2014/main" id="{89D5795D-5AC3-42E7-A9D3-9553B61E1AAB}"/>
                  </a:ext>
                </a:extLst>
              </p:cNvPr>
              <p:cNvSpPr/>
              <p:nvPr/>
            </p:nvSpPr>
            <p:spPr>
              <a:xfrm>
                <a:off x="13094225" y="6304131"/>
                <a:ext cx="37738" cy="19192"/>
              </a:xfrm>
              <a:custGeom>
                <a:avLst/>
                <a:gdLst>
                  <a:gd name="connsiteX0" fmla="*/ 20686 w 37738"/>
                  <a:gd name="connsiteY0" fmla="*/ 18556 h 19192"/>
                  <a:gd name="connsiteX1" fmla="*/ 35839 w 37738"/>
                  <a:gd name="connsiteY1" fmla="*/ 11471 h 19192"/>
                  <a:gd name="connsiteX2" fmla="*/ 36429 w 37738"/>
                  <a:gd name="connsiteY2" fmla="*/ 3402 h 19192"/>
                  <a:gd name="connsiteX3" fmla="*/ 34954 w 37738"/>
                  <a:gd name="connsiteY3" fmla="*/ 1533 h 19192"/>
                  <a:gd name="connsiteX4" fmla="*/ 2286 w 37738"/>
                  <a:gd name="connsiteY4" fmla="*/ 7141 h 19192"/>
                  <a:gd name="connsiteX5" fmla="*/ 20785 w 37738"/>
                  <a:gd name="connsiteY5" fmla="*/ 18556 h 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38" h="19192">
                    <a:moveTo>
                      <a:pt x="20686" y="18556"/>
                    </a:moveTo>
                    <a:cubicBezTo>
                      <a:pt x="28066" y="21507"/>
                      <a:pt x="33084" y="13340"/>
                      <a:pt x="35839" y="11471"/>
                    </a:cubicBezTo>
                    <a:cubicBezTo>
                      <a:pt x="38102" y="9405"/>
                      <a:pt x="38397" y="5764"/>
                      <a:pt x="36429" y="3402"/>
                    </a:cubicBezTo>
                    <a:lnTo>
                      <a:pt x="34954" y="1533"/>
                    </a:lnTo>
                    <a:cubicBezTo>
                      <a:pt x="30427" y="-3977"/>
                      <a:pt x="2286" y="7141"/>
                      <a:pt x="2286" y="7141"/>
                    </a:cubicBezTo>
                    <a:cubicBezTo>
                      <a:pt x="-4897" y="9601"/>
                      <a:pt x="5828" y="12455"/>
                      <a:pt x="20785" y="18556"/>
                    </a:cubicBezTo>
                    <a:close/>
                  </a:path>
                </a:pathLst>
              </a:custGeom>
              <a:grpFill/>
              <a:ln w="9835" cap="flat">
                <a:noFill/>
                <a:prstDash val="solid"/>
                <a:miter/>
              </a:ln>
            </p:spPr>
            <p:txBody>
              <a:bodyPr rtlCol="0" anchor="ctr"/>
              <a:lstStyle/>
              <a:p>
                <a:endParaRPr lang="en-IN"/>
              </a:p>
            </p:txBody>
          </p:sp>
          <p:sp>
            <p:nvSpPr>
              <p:cNvPr id="629" name="Freeform: Shape 628">
                <a:extLst>
                  <a:ext uri="{FF2B5EF4-FFF2-40B4-BE49-F238E27FC236}">
                    <a16:creationId xmlns:a16="http://schemas.microsoft.com/office/drawing/2014/main" id="{25A12DC4-9684-361E-C87B-05BDF275419F}"/>
                  </a:ext>
                </a:extLst>
              </p:cNvPr>
              <p:cNvSpPr/>
              <p:nvPr/>
            </p:nvSpPr>
            <p:spPr>
              <a:xfrm>
                <a:off x="13401956" y="6254865"/>
                <a:ext cx="14639" cy="15930"/>
              </a:xfrm>
              <a:custGeom>
                <a:avLst/>
                <a:gdLst>
                  <a:gd name="connsiteX0" fmla="*/ 960 w 14639"/>
                  <a:gd name="connsiteY0" fmla="*/ 3076 h 15930"/>
                  <a:gd name="connsiteX1" fmla="*/ 2140 w 14639"/>
                  <a:gd name="connsiteY1" fmla="*/ 11440 h 15930"/>
                  <a:gd name="connsiteX2" fmla="*/ 12964 w 14639"/>
                  <a:gd name="connsiteY2" fmla="*/ 13605 h 15930"/>
                  <a:gd name="connsiteX3" fmla="*/ 13653 w 14639"/>
                  <a:gd name="connsiteY3" fmla="*/ 12621 h 15930"/>
                  <a:gd name="connsiteX4" fmla="*/ 12472 w 14639"/>
                  <a:gd name="connsiteY4" fmla="*/ 4454 h 15930"/>
                  <a:gd name="connsiteX5" fmla="*/ 1353 w 14639"/>
                  <a:gd name="connsiteY5" fmla="*/ 2388 h 15930"/>
                  <a:gd name="connsiteX6" fmla="*/ 960 w 14639"/>
                  <a:gd name="connsiteY6" fmla="*/ 3076 h 1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9" h="15930">
                    <a:moveTo>
                      <a:pt x="960" y="3076"/>
                    </a:moveTo>
                    <a:cubicBezTo>
                      <a:pt x="-713" y="5635"/>
                      <a:pt x="-123" y="9472"/>
                      <a:pt x="2140" y="11440"/>
                    </a:cubicBezTo>
                    <a:cubicBezTo>
                      <a:pt x="3124" y="11932"/>
                      <a:pt x="8930" y="19705"/>
                      <a:pt x="12964" y="13605"/>
                    </a:cubicBezTo>
                    <a:lnTo>
                      <a:pt x="13653" y="12621"/>
                    </a:lnTo>
                    <a:cubicBezTo>
                      <a:pt x="15325" y="10063"/>
                      <a:pt x="14833" y="6422"/>
                      <a:pt x="12472" y="4454"/>
                    </a:cubicBezTo>
                    <a:cubicBezTo>
                      <a:pt x="11488" y="3962"/>
                      <a:pt x="5387" y="-3811"/>
                      <a:pt x="1353" y="2388"/>
                    </a:cubicBezTo>
                    <a:lnTo>
                      <a:pt x="960" y="3076"/>
                    </a:lnTo>
                    <a:close/>
                  </a:path>
                </a:pathLst>
              </a:custGeom>
              <a:grpFill/>
              <a:ln w="9835" cap="flat">
                <a:noFill/>
                <a:prstDash val="solid"/>
                <a:miter/>
              </a:ln>
            </p:spPr>
            <p:txBody>
              <a:bodyPr rtlCol="0" anchor="ctr"/>
              <a:lstStyle/>
              <a:p>
                <a:endParaRPr lang="en-IN"/>
              </a:p>
            </p:txBody>
          </p:sp>
          <p:sp>
            <p:nvSpPr>
              <p:cNvPr id="630" name="Freeform: Shape 629">
                <a:extLst>
                  <a:ext uri="{FF2B5EF4-FFF2-40B4-BE49-F238E27FC236}">
                    <a16:creationId xmlns:a16="http://schemas.microsoft.com/office/drawing/2014/main" id="{4FBA7C32-AAEA-4E58-2029-C2BC0E5635A6}"/>
                  </a:ext>
                </a:extLst>
              </p:cNvPr>
              <p:cNvSpPr/>
              <p:nvPr/>
            </p:nvSpPr>
            <p:spPr>
              <a:xfrm>
                <a:off x="13440527" y="6237987"/>
                <a:ext cx="60180" cy="31734"/>
              </a:xfrm>
              <a:custGeom>
                <a:avLst/>
                <a:gdLst>
                  <a:gd name="connsiteX0" fmla="*/ 13457 w 60180"/>
                  <a:gd name="connsiteY0" fmla="*/ 14641 h 31734"/>
                  <a:gd name="connsiteX1" fmla="*/ 26150 w 60180"/>
                  <a:gd name="connsiteY1" fmla="*/ 20152 h 31734"/>
                  <a:gd name="connsiteX2" fmla="*/ 33628 w 60180"/>
                  <a:gd name="connsiteY2" fmla="*/ 31565 h 31734"/>
                  <a:gd name="connsiteX3" fmla="*/ 58719 w 60180"/>
                  <a:gd name="connsiteY3" fmla="*/ 27826 h 31734"/>
                  <a:gd name="connsiteX4" fmla="*/ 26641 w 60180"/>
                  <a:gd name="connsiteY4" fmla="*/ 2440 h 31734"/>
                  <a:gd name="connsiteX5" fmla="*/ 370 w 60180"/>
                  <a:gd name="connsiteY5" fmla="*/ 2932 h 31734"/>
                  <a:gd name="connsiteX6" fmla="*/ 13457 w 60180"/>
                  <a:gd name="connsiteY6" fmla="*/ 14740 h 3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180" h="31734">
                    <a:moveTo>
                      <a:pt x="13457" y="14641"/>
                    </a:moveTo>
                    <a:cubicBezTo>
                      <a:pt x="15523" y="15035"/>
                      <a:pt x="24969" y="12673"/>
                      <a:pt x="26150" y="20152"/>
                    </a:cubicBezTo>
                    <a:cubicBezTo>
                      <a:pt x="26740" y="21824"/>
                      <a:pt x="26051" y="31565"/>
                      <a:pt x="33628" y="31565"/>
                    </a:cubicBezTo>
                    <a:cubicBezTo>
                      <a:pt x="53799" y="31565"/>
                      <a:pt x="64229" y="32943"/>
                      <a:pt x="58719" y="27826"/>
                    </a:cubicBezTo>
                    <a:cubicBezTo>
                      <a:pt x="39925" y="10411"/>
                      <a:pt x="34513" y="3621"/>
                      <a:pt x="26641" y="2440"/>
                    </a:cubicBezTo>
                    <a:cubicBezTo>
                      <a:pt x="26641" y="2440"/>
                      <a:pt x="-3665" y="-3365"/>
                      <a:pt x="370" y="2932"/>
                    </a:cubicBezTo>
                    <a:cubicBezTo>
                      <a:pt x="2633" y="5589"/>
                      <a:pt x="5487" y="14740"/>
                      <a:pt x="13457" y="14740"/>
                    </a:cubicBezTo>
                    <a:close/>
                  </a:path>
                </a:pathLst>
              </a:custGeom>
              <a:grpFill/>
              <a:ln w="9835" cap="flat">
                <a:noFill/>
                <a:prstDash val="solid"/>
                <a:miter/>
              </a:ln>
            </p:spPr>
            <p:txBody>
              <a:bodyPr rtlCol="0" anchor="ctr"/>
              <a:lstStyle/>
              <a:p>
                <a:endParaRPr lang="en-IN"/>
              </a:p>
            </p:txBody>
          </p:sp>
          <p:sp>
            <p:nvSpPr>
              <p:cNvPr id="631" name="Freeform: Shape 630">
                <a:extLst>
                  <a:ext uri="{FF2B5EF4-FFF2-40B4-BE49-F238E27FC236}">
                    <a16:creationId xmlns:a16="http://schemas.microsoft.com/office/drawing/2014/main" id="{D2721764-1E20-296A-CE3B-E627223345BB}"/>
                  </a:ext>
                </a:extLst>
              </p:cNvPr>
              <p:cNvSpPr/>
              <p:nvPr/>
            </p:nvSpPr>
            <p:spPr>
              <a:xfrm>
                <a:off x="13445411" y="6295206"/>
                <a:ext cx="84665" cy="21213"/>
              </a:xfrm>
              <a:custGeom>
                <a:avLst/>
                <a:gdLst>
                  <a:gd name="connsiteX0" fmla="*/ 8867 w 84665"/>
                  <a:gd name="connsiteY0" fmla="*/ 10555 h 21213"/>
                  <a:gd name="connsiteX1" fmla="*/ 56491 w 84665"/>
                  <a:gd name="connsiteY1" fmla="*/ 20691 h 21213"/>
                  <a:gd name="connsiteX2" fmla="*/ 81287 w 84665"/>
                  <a:gd name="connsiteY2" fmla="*/ 14983 h 21213"/>
                  <a:gd name="connsiteX3" fmla="*/ 75678 w 84665"/>
                  <a:gd name="connsiteY3" fmla="*/ 5833 h 21213"/>
                  <a:gd name="connsiteX4" fmla="*/ 3456 w 84665"/>
                  <a:gd name="connsiteY4" fmla="*/ 27 h 21213"/>
                  <a:gd name="connsiteX5" fmla="*/ 8769 w 84665"/>
                  <a:gd name="connsiteY5" fmla="*/ 10654 h 21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665" h="21213">
                    <a:moveTo>
                      <a:pt x="8867" y="10555"/>
                    </a:moveTo>
                    <a:cubicBezTo>
                      <a:pt x="45077" y="20297"/>
                      <a:pt x="49111" y="22363"/>
                      <a:pt x="56491" y="20691"/>
                    </a:cubicBezTo>
                    <a:lnTo>
                      <a:pt x="81287" y="14983"/>
                    </a:lnTo>
                    <a:cubicBezTo>
                      <a:pt x="88470" y="13311"/>
                      <a:pt x="83058" y="6423"/>
                      <a:pt x="75678" y="5833"/>
                    </a:cubicBezTo>
                    <a:lnTo>
                      <a:pt x="3456" y="27"/>
                    </a:lnTo>
                    <a:cubicBezTo>
                      <a:pt x="-3727" y="-563"/>
                      <a:pt x="1389" y="8686"/>
                      <a:pt x="8769" y="10654"/>
                    </a:cubicBezTo>
                    <a:close/>
                  </a:path>
                </a:pathLst>
              </a:custGeom>
              <a:grpFill/>
              <a:ln w="9835" cap="flat">
                <a:noFill/>
                <a:prstDash val="solid"/>
                <a:miter/>
              </a:ln>
            </p:spPr>
            <p:txBody>
              <a:bodyPr rtlCol="0" anchor="ctr"/>
              <a:lstStyle/>
              <a:p>
                <a:endParaRPr lang="en-IN"/>
              </a:p>
            </p:txBody>
          </p:sp>
          <p:sp>
            <p:nvSpPr>
              <p:cNvPr id="632" name="Freeform: Shape 631">
                <a:extLst>
                  <a:ext uri="{FF2B5EF4-FFF2-40B4-BE49-F238E27FC236}">
                    <a16:creationId xmlns:a16="http://schemas.microsoft.com/office/drawing/2014/main" id="{DF7DAC6E-DA60-2CED-A328-9C8D7BCEBABA}"/>
                  </a:ext>
                </a:extLst>
              </p:cNvPr>
              <p:cNvSpPr/>
              <p:nvPr/>
            </p:nvSpPr>
            <p:spPr>
              <a:xfrm>
                <a:off x="13084031" y="6267381"/>
                <a:ext cx="18998" cy="9585"/>
              </a:xfrm>
              <a:custGeom>
                <a:avLst/>
                <a:gdLst>
                  <a:gd name="connsiteX0" fmla="*/ 13562 w 18998"/>
                  <a:gd name="connsiteY0" fmla="*/ 203 h 9585"/>
                  <a:gd name="connsiteX1" fmla="*/ 180 w 18998"/>
                  <a:gd name="connsiteY1" fmla="*/ 4238 h 9585"/>
                  <a:gd name="connsiteX2" fmla="*/ 4313 w 18998"/>
                  <a:gd name="connsiteY2" fmla="*/ 8764 h 9585"/>
                  <a:gd name="connsiteX3" fmla="*/ 13463 w 18998"/>
                  <a:gd name="connsiteY3" fmla="*/ 9551 h 9585"/>
                  <a:gd name="connsiteX4" fmla="*/ 13463 w 18998"/>
                  <a:gd name="connsiteY4" fmla="*/ 203 h 9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8" h="9585">
                    <a:moveTo>
                      <a:pt x="13562" y="203"/>
                    </a:moveTo>
                    <a:cubicBezTo>
                      <a:pt x="13562" y="203"/>
                      <a:pt x="2148" y="-1371"/>
                      <a:pt x="180" y="4238"/>
                    </a:cubicBezTo>
                    <a:cubicBezTo>
                      <a:pt x="-607" y="6402"/>
                      <a:pt x="1262" y="8469"/>
                      <a:pt x="4313" y="8764"/>
                    </a:cubicBezTo>
                    <a:lnTo>
                      <a:pt x="13463" y="9551"/>
                    </a:lnTo>
                    <a:cubicBezTo>
                      <a:pt x="20843" y="10240"/>
                      <a:pt x="20843" y="203"/>
                      <a:pt x="13463" y="203"/>
                    </a:cubicBezTo>
                    <a:close/>
                  </a:path>
                </a:pathLst>
              </a:custGeom>
              <a:grpFill/>
              <a:ln w="9835" cap="flat">
                <a:noFill/>
                <a:prstDash val="solid"/>
                <a:miter/>
              </a:ln>
            </p:spPr>
            <p:txBody>
              <a:bodyPr rtlCol="0" anchor="ctr"/>
              <a:lstStyle/>
              <a:p>
                <a:endParaRPr lang="en-IN"/>
              </a:p>
            </p:txBody>
          </p:sp>
          <p:sp>
            <p:nvSpPr>
              <p:cNvPr id="633" name="Freeform: Shape 632">
                <a:extLst>
                  <a:ext uri="{FF2B5EF4-FFF2-40B4-BE49-F238E27FC236}">
                    <a16:creationId xmlns:a16="http://schemas.microsoft.com/office/drawing/2014/main" id="{07FC42AD-7CC7-EE71-2275-F90B974B8E3E}"/>
                  </a:ext>
                </a:extLst>
              </p:cNvPr>
              <p:cNvSpPr/>
              <p:nvPr/>
            </p:nvSpPr>
            <p:spPr>
              <a:xfrm>
                <a:off x="13125604" y="6200173"/>
                <a:ext cx="60386" cy="28495"/>
              </a:xfrm>
              <a:custGeom>
                <a:avLst/>
                <a:gdLst>
                  <a:gd name="connsiteX0" fmla="*/ 54838 w 60386"/>
                  <a:gd name="connsiteY0" fmla="*/ 19886 h 28495"/>
                  <a:gd name="connsiteX1" fmla="*/ 60349 w 60386"/>
                  <a:gd name="connsiteY1" fmla="*/ 10834 h 28495"/>
                  <a:gd name="connsiteX2" fmla="*/ 35947 w 60386"/>
                  <a:gd name="connsiteY2" fmla="*/ 109 h 28495"/>
                  <a:gd name="connsiteX3" fmla="*/ 28960 w 60386"/>
                  <a:gd name="connsiteY3" fmla="*/ 4340 h 28495"/>
                  <a:gd name="connsiteX4" fmla="*/ 28370 w 60386"/>
                  <a:gd name="connsiteY4" fmla="*/ 6209 h 28495"/>
                  <a:gd name="connsiteX5" fmla="*/ 16267 w 60386"/>
                  <a:gd name="connsiteY5" fmla="*/ 4044 h 28495"/>
                  <a:gd name="connsiteX6" fmla="*/ 2295 w 60386"/>
                  <a:gd name="connsiteY6" fmla="*/ 3552 h 28495"/>
                  <a:gd name="connsiteX7" fmla="*/ 8986 w 60386"/>
                  <a:gd name="connsiteY7" fmla="*/ 13884 h 28495"/>
                  <a:gd name="connsiteX8" fmla="*/ 16759 w 60386"/>
                  <a:gd name="connsiteY8" fmla="*/ 25495 h 28495"/>
                  <a:gd name="connsiteX9" fmla="*/ 35258 w 60386"/>
                  <a:gd name="connsiteY9" fmla="*/ 20181 h 28495"/>
                  <a:gd name="connsiteX10" fmla="*/ 54741 w 60386"/>
                  <a:gd name="connsiteY10" fmla="*/ 19984 h 2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86" h="28495">
                    <a:moveTo>
                      <a:pt x="54838" y="19886"/>
                    </a:moveTo>
                    <a:cubicBezTo>
                      <a:pt x="62022" y="21264"/>
                      <a:pt x="60054" y="11818"/>
                      <a:pt x="60349" y="10834"/>
                    </a:cubicBezTo>
                    <a:cubicBezTo>
                      <a:pt x="60349" y="1880"/>
                      <a:pt x="47164" y="3651"/>
                      <a:pt x="35947" y="109"/>
                    </a:cubicBezTo>
                    <a:cubicBezTo>
                      <a:pt x="32995" y="-482"/>
                      <a:pt x="29748" y="1388"/>
                      <a:pt x="28960" y="4340"/>
                    </a:cubicBezTo>
                    <a:lnTo>
                      <a:pt x="28370" y="6209"/>
                    </a:lnTo>
                    <a:cubicBezTo>
                      <a:pt x="26205" y="13687"/>
                      <a:pt x="18432" y="5029"/>
                      <a:pt x="16267" y="4044"/>
                    </a:cubicBezTo>
                    <a:cubicBezTo>
                      <a:pt x="10462" y="-88"/>
                      <a:pt x="3476" y="3454"/>
                      <a:pt x="2295" y="3552"/>
                    </a:cubicBezTo>
                    <a:cubicBezTo>
                      <a:pt x="-5478" y="5816"/>
                      <a:pt x="8986" y="13884"/>
                      <a:pt x="8986" y="13884"/>
                    </a:cubicBezTo>
                    <a:cubicBezTo>
                      <a:pt x="14792" y="18115"/>
                      <a:pt x="16070" y="24216"/>
                      <a:pt x="16759" y="25495"/>
                    </a:cubicBezTo>
                    <a:cubicBezTo>
                      <a:pt x="19908" y="33563"/>
                      <a:pt x="29059" y="23133"/>
                      <a:pt x="35258" y="20181"/>
                    </a:cubicBezTo>
                    <a:cubicBezTo>
                      <a:pt x="42146" y="15852"/>
                      <a:pt x="50214" y="19591"/>
                      <a:pt x="54741" y="19984"/>
                    </a:cubicBezTo>
                    <a:close/>
                  </a:path>
                </a:pathLst>
              </a:custGeom>
              <a:grpFill/>
              <a:ln w="9835" cap="flat">
                <a:noFill/>
                <a:prstDash val="solid"/>
                <a:miter/>
              </a:ln>
            </p:spPr>
            <p:txBody>
              <a:bodyPr rtlCol="0" anchor="ctr"/>
              <a:lstStyle/>
              <a:p>
                <a:endParaRPr lang="en-IN"/>
              </a:p>
            </p:txBody>
          </p:sp>
          <p:sp>
            <p:nvSpPr>
              <p:cNvPr id="634" name="Freeform: Shape 633">
                <a:extLst>
                  <a:ext uri="{FF2B5EF4-FFF2-40B4-BE49-F238E27FC236}">
                    <a16:creationId xmlns:a16="http://schemas.microsoft.com/office/drawing/2014/main" id="{2FA2CCC1-569D-5944-E19A-BCF5429DA6FC}"/>
                  </a:ext>
                </a:extLst>
              </p:cNvPr>
              <p:cNvSpPr/>
              <p:nvPr/>
            </p:nvSpPr>
            <p:spPr>
              <a:xfrm>
                <a:off x="13128408" y="6243234"/>
                <a:ext cx="24559" cy="9696"/>
              </a:xfrm>
              <a:custGeom>
                <a:avLst/>
                <a:gdLst>
                  <a:gd name="connsiteX0" fmla="*/ 10020 w 24559"/>
                  <a:gd name="connsiteY0" fmla="*/ 9493 h 9696"/>
                  <a:gd name="connsiteX1" fmla="*/ 24288 w 24559"/>
                  <a:gd name="connsiteY1" fmla="*/ 2801 h 9696"/>
                  <a:gd name="connsiteX2" fmla="*/ 17203 w 24559"/>
                  <a:gd name="connsiteY2" fmla="*/ 145 h 9696"/>
                  <a:gd name="connsiteX3" fmla="*/ 869 w 24559"/>
                  <a:gd name="connsiteY3" fmla="*/ 4868 h 9696"/>
                  <a:gd name="connsiteX4" fmla="*/ 1656 w 24559"/>
                  <a:gd name="connsiteY4" fmla="*/ 6147 h 9696"/>
                  <a:gd name="connsiteX5" fmla="*/ 10020 w 24559"/>
                  <a:gd name="connsiteY5" fmla="*/ 9493 h 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59" h="9696">
                    <a:moveTo>
                      <a:pt x="10020" y="9493"/>
                    </a:moveTo>
                    <a:cubicBezTo>
                      <a:pt x="15136" y="8213"/>
                      <a:pt x="26452" y="6540"/>
                      <a:pt x="24288" y="2801"/>
                    </a:cubicBezTo>
                    <a:cubicBezTo>
                      <a:pt x="23402" y="1326"/>
                      <a:pt x="20253" y="145"/>
                      <a:pt x="17203" y="145"/>
                    </a:cubicBezTo>
                    <a:cubicBezTo>
                      <a:pt x="11299" y="834"/>
                      <a:pt x="-3756" y="-2414"/>
                      <a:pt x="869" y="4868"/>
                    </a:cubicBezTo>
                    <a:lnTo>
                      <a:pt x="1656" y="6147"/>
                    </a:lnTo>
                    <a:cubicBezTo>
                      <a:pt x="3329" y="8705"/>
                      <a:pt x="7068" y="10279"/>
                      <a:pt x="10020" y="9493"/>
                    </a:cubicBezTo>
                    <a:close/>
                  </a:path>
                </a:pathLst>
              </a:custGeom>
              <a:grpFill/>
              <a:ln w="9835" cap="flat">
                <a:noFill/>
                <a:prstDash val="solid"/>
                <a:miter/>
              </a:ln>
            </p:spPr>
            <p:txBody>
              <a:bodyPr rtlCol="0" anchor="ctr"/>
              <a:lstStyle/>
              <a:p>
                <a:endParaRPr lang="en-IN"/>
              </a:p>
            </p:txBody>
          </p:sp>
          <p:sp>
            <p:nvSpPr>
              <p:cNvPr id="635" name="Freeform: Shape 634">
                <a:extLst>
                  <a:ext uri="{FF2B5EF4-FFF2-40B4-BE49-F238E27FC236}">
                    <a16:creationId xmlns:a16="http://schemas.microsoft.com/office/drawing/2014/main" id="{853AD9C5-2492-9A1D-80E3-96FE35CB2BF5}"/>
                  </a:ext>
                </a:extLst>
              </p:cNvPr>
              <p:cNvSpPr/>
              <p:nvPr/>
            </p:nvSpPr>
            <p:spPr>
              <a:xfrm>
                <a:off x="13186113" y="6445572"/>
                <a:ext cx="8943" cy="11459"/>
              </a:xfrm>
              <a:custGeom>
                <a:avLst/>
                <a:gdLst>
                  <a:gd name="connsiteX0" fmla="*/ 7318 w 8943"/>
                  <a:gd name="connsiteY0" fmla="*/ 9653 h 11459"/>
                  <a:gd name="connsiteX1" fmla="*/ 2398 w 8943"/>
                  <a:gd name="connsiteY1" fmla="*/ 1880 h 11459"/>
                  <a:gd name="connsiteX2" fmla="*/ 1612 w 8943"/>
                  <a:gd name="connsiteY2" fmla="*/ 2962 h 11459"/>
                  <a:gd name="connsiteX3" fmla="*/ 7417 w 8943"/>
                  <a:gd name="connsiteY3" fmla="*/ 9751 h 11459"/>
                </a:gdLst>
                <a:ahLst/>
                <a:cxnLst>
                  <a:cxn ang="0">
                    <a:pos x="connsiteX0" y="connsiteY0"/>
                  </a:cxn>
                  <a:cxn ang="0">
                    <a:pos x="connsiteX1" y="connsiteY1"/>
                  </a:cxn>
                  <a:cxn ang="0">
                    <a:pos x="connsiteX2" y="connsiteY2"/>
                  </a:cxn>
                  <a:cxn ang="0">
                    <a:pos x="connsiteX3" y="connsiteY3"/>
                  </a:cxn>
                </a:cxnLst>
                <a:rect l="l" t="t" r="r" b="b"/>
                <a:pathLst>
                  <a:path w="8943" h="11459">
                    <a:moveTo>
                      <a:pt x="7318" y="9653"/>
                    </a:moveTo>
                    <a:cubicBezTo>
                      <a:pt x="11451" y="4832"/>
                      <a:pt x="6925" y="-3827"/>
                      <a:pt x="2398" y="1880"/>
                    </a:cubicBezTo>
                    <a:lnTo>
                      <a:pt x="1612" y="2962"/>
                    </a:lnTo>
                    <a:cubicBezTo>
                      <a:pt x="-3013" y="8768"/>
                      <a:pt x="3383" y="14376"/>
                      <a:pt x="7417" y="9751"/>
                    </a:cubicBezTo>
                    <a:close/>
                  </a:path>
                </a:pathLst>
              </a:custGeom>
              <a:grpFill/>
              <a:ln w="9835" cap="flat">
                <a:noFill/>
                <a:prstDash val="solid"/>
                <a:miter/>
              </a:ln>
            </p:spPr>
            <p:txBody>
              <a:bodyPr rtlCol="0" anchor="ctr"/>
              <a:lstStyle/>
              <a:p>
                <a:endParaRPr lang="en-IN"/>
              </a:p>
            </p:txBody>
          </p:sp>
          <p:sp>
            <p:nvSpPr>
              <p:cNvPr id="636" name="Freeform: Shape 635">
                <a:extLst>
                  <a:ext uri="{FF2B5EF4-FFF2-40B4-BE49-F238E27FC236}">
                    <a16:creationId xmlns:a16="http://schemas.microsoft.com/office/drawing/2014/main" id="{A9026B1D-F8BF-4C0B-C963-0E7298A0ECE2}"/>
                  </a:ext>
                </a:extLst>
              </p:cNvPr>
              <p:cNvSpPr/>
              <p:nvPr/>
            </p:nvSpPr>
            <p:spPr>
              <a:xfrm>
                <a:off x="13071886" y="6200079"/>
                <a:ext cx="10580" cy="12221"/>
              </a:xfrm>
              <a:custGeom>
                <a:avLst/>
                <a:gdLst>
                  <a:gd name="connsiteX0" fmla="*/ 2683 w 10580"/>
                  <a:gd name="connsiteY0" fmla="*/ 596 h 12221"/>
                  <a:gd name="connsiteX1" fmla="*/ 5733 w 10580"/>
                  <a:gd name="connsiteY1" fmla="*/ 10731 h 12221"/>
                  <a:gd name="connsiteX2" fmla="*/ 10554 w 10580"/>
                  <a:gd name="connsiteY2" fmla="*/ 4532 h 12221"/>
                  <a:gd name="connsiteX3" fmla="*/ 5635 w 10580"/>
                  <a:gd name="connsiteY3" fmla="*/ 105 h 12221"/>
                  <a:gd name="connsiteX4" fmla="*/ 2781 w 10580"/>
                  <a:gd name="connsiteY4" fmla="*/ 695 h 12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0" h="12221">
                    <a:moveTo>
                      <a:pt x="2683" y="596"/>
                    </a:moveTo>
                    <a:cubicBezTo>
                      <a:pt x="-4795" y="2073"/>
                      <a:pt x="5733" y="10731"/>
                      <a:pt x="5733" y="10731"/>
                    </a:cubicBezTo>
                    <a:cubicBezTo>
                      <a:pt x="10751" y="16045"/>
                      <a:pt x="10259" y="5516"/>
                      <a:pt x="10554" y="4532"/>
                    </a:cubicBezTo>
                    <a:cubicBezTo>
                      <a:pt x="10849" y="1482"/>
                      <a:pt x="8586" y="-486"/>
                      <a:pt x="5635" y="105"/>
                    </a:cubicBezTo>
                    <a:lnTo>
                      <a:pt x="2781" y="695"/>
                    </a:lnTo>
                    <a:close/>
                  </a:path>
                </a:pathLst>
              </a:custGeom>
              <a:grpFill/>
              <a:ln w="9835" cap="flat">
                <a:noFill/>
                <a:prstDash val="solid"/>
                <a:miter/>
              </a:ln>
            </p:spPr>
            <p:txBody>
              <a:bodyPr rtlCol="0" anchor="ctr"/>
              <a:lstStyle/>
              <a:p>
                <a:endParaRPr lang="en-IN"/>
              </a:p>
            </p:txBody>
          </p:sp>
          <p:sp>
            <p:nvSpPr>
              <p:cNvPr id="637" name="Freeform: Shape 636">
                <a:extLst>
                  <a:ext uri="{FF2B5EF4-FFF2-40B4-BE49-F238E27FC236}">
                    <a16:creationId xmlns:a16="http://schemas.microsoft.com/office/drawing/2014/main" id="{6B1463E8-F894-A014-0168-1E697D4196FE}"/>
                  </a:ext>
                </a:extLst>
              </p:cNvPr>
              <p:cNvSpPr/>
              <p:nvPr/>
            </p:nvSpPr>
            <p:spPr>
              <a:xfrm>
                <a:off x="13359708" y="6531162"/>
                <a:ext cx="40140" cy="92728"/>
              </a:xfrm>
              <a:custGeom>
                <a:avLst/>
                <a:gdLst>
                  <a:gd name="connsiteX0" fmla="*/ 37304 w 40140"/>
                  <a:gd name="connsiteY0" fmla="*/ 41154 h 92728"/>
                  <a:gd name="connsiteX1" fmla="*/ 39173 w 40140"/>
                  <a:gd name="connsiteY1" fmla="*/ 24132 h 92728"/>
                  <a:gd name="connsiteX2" fmla="*/ 33663 w 40140"/>
                  <a:gd name="connsiteY2" fmla="*/ 2288 h 92728"/>
                  <a:gd name="connsiteX3" fmla="*/ 23529 w 40140"/>
                  <a:gd name="connsiteY3" fmla="*/ 9766 h 92728"/>
                  <a:gd name="connsiteX4" fmla="*/ 15460 w 40140"/>
                  <a:gd name="connsiteY4" fmla="*/ 13898 h 92728"/>
                  <a:gd name="connsiteX5" fmla="*/ 11820 w 40140"/>
                  <a:gd name="connsiteY5" fmla="*/ 24525 h 92728"/>
                  <a:gd name="connsiteX6" fmla="*/ 13689 w 40140"/>
                  <a:gd name="connsiteY6" fmla="*/ 25017 h 92728"/>
                  <a:gd name="connsiteX7" fmla="*/ 15362 w 40140"/>
                  <a:gd name="connsiteY7" fmla="*/ 40170 h 92728"/>
                  <a:gd name="connsiteX8" fmla="*/ 8277 w 40140"/>
                  <a:gd name="connsiteY8" fmla="*/ 45582 h 92728"/>
                  <a:gd name="connsiteX9" fmla="*/ 1881 w 40140"/>
                  <a:gd name="connsiteY9" fmla="*/ 51191 h 92728"/>
                  <a:gd name="connsiteX10" fmla="*/ 12 w 40140"/>
                  <a:gd name="connsiteY10" fmla="*/ 84645 h 92728"/>
                  <a:gd name="connsiteX11" fmla="*/ 5129 w 40140"/>
                  <a:gd name="connsiteY11" fmla="*/ 91730 h 92728"/>
                  <a:gd name="connsiteX12" fmla="*/ 7883 w 40140"/>
                  <a:gd name="connsiteY12" fmla="*/ 92517 h 92728"/>
                  <a:gd name="connsiteX13" fmla="*/ 16051 w 40140"/>
                  <a:gd name="connsiteY13" fmla="*/ 89172 h 92728"/>
                  <a:gd name="connsiteX14" fmla="*/ 38780 w 40140"/>
                  <a:gd name="connsiteY14" fmla="*/ 49616 h 92728"/>
                  <a:gd name="connsiteX15" fmla="*/ 37402 w 40140"/>
                  <a:gd name="connsiteY15" fmla="*/ 41449 h 9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140" h="92728">
                    <a:moveTo>
                      <a:pt x="37304" y="41154"/>
                    </a:moveTo>
                    <a:cubicBezTo>
                      <a:pt x="31302" y="36234"/>
                      <a:pt x="38190" y="27773"/>
                      <a:pt x="39173" y="24132"/>
                    </a:cubicBezTo>
                    <a:cubicBezTo>
                      <a:pt x="42618" y="16358"/>
                      <a:pt x="35926" y="8684"/>
                      <a:pt x="33663" y="2288"/>
                    </a:cubicBezTo>
                    <a:cubicBezTo>
                      <a:pt x="30220" y="-4993"/>
                      <a:pt x="25693" y="7208"/>
                      <a:pt x="23529" y="9766"/>
                    </a:cubicBezTo>
                    <a:cubicBezTo>
                      <a:pt x="21856" y="12324"/>
                      <a:pt x="18313" y="14194"/>
                      <a:pt x="15460" y="13898"/>
                    </a:cubicBezTo>
                    <a:cubicBezTo>
                      <a:pt x="8671" y="13111"/>
                      <a:pt x="4735" y="22656"/>
                      <a:pt x="11820" y="24525"/>
                    </a:cubicBezTo>
                    <a:lnTo>
                      <a:pt x="13689" y="25017"/>
                    </a:lnTo>
                    <a:cubicBezTo>
                      <a:pt x="21364" y="27084"/>
                      <a:pt x="15657" y="36825"/>
                      <a:pt x="15362" y="40170"/>
                    </a:cubicBezTo>
                    <a:cubicBezTo>
                      <a:pt x="14574" y="43122"/>
                      <a:pt x="11327" y="45582"/>
                      <a:pt x="8277" y="45582"/>
                    </a:cubicBezTo>
                    <a:cubicBezTo>
                      <a:pt x="9261" y="45188"/>
                      <a:pt x="2176" y="45484"/>
                      <a:pt x="1881" y="51191"/>
                    </a:cubicBezTo>
                    <a:lnTo>
                      <a:pt x="12" y="84645"/>
                    </a:lnTo>
                    <a:cubicBezTo>
                      <a:pt x="-185" y="87695"/>
                      <a:pt x="2078" y="90844"/>
                      <a:pt x="5129" y="91730"/>
                    </a:cubicBezTo>
                    <a:lnTo>
                      <a:pt x="7883" y="92517"/>
                    </a:lnTo>
                    <a:cubicBezTo>
                      <a:pt x="10835" y="93304"/>
                      <a:pt x="14476" y="91828"/>
                      <a:pt x="16051" y="89172"/>
                    </a:cubicBezTo>
                    <a:lnTo>
                      <a:pt x="38780" y="49616"/>
                    </a:lnTo>
                    <a:cubicBezTo>
                      <a:pt x="40354" y="46959"/>
                      <a:pt x="39665" y="43220"/>
                      <a:pt x="37402" y="41449"/>
                    </a:cubicBezTo>
                    <a:close/>
                  </a:path>
                </a:pathLst>
              </a:custGeom>
              <a:grpFill/>
              <a:ln w="9835" cap="flat">
                <a:noFill/>
                <a:prstDash val="solid"/>
                <a:miter/>
              </a:ln>
            </p:spPr>
            <p:txBody>
              <a:bodyPr rtlCol="0" anchor="ctr"/>
              <a:lstStyle/>
              <a:p>
                <a:endParaRPr lang="en-IN"/>
              </a:p>
            </p:txBody>
          </p:sp>
          <p:sp>
            <p:nvSpPr>
              <p:cNvPr id="638" name="Freeform: Shape 637">
                <a:extLst>
                  <a:ext uri="{FF2B5EF4-FFF2-40B4-BE49-F238E27FC236}">
                    <a16:creationId xmlns:a16="http://schemas.microsoft.com/office/drawing/2014/main" id="{85F6B1CF-EBD9-C407-1827-938F324F5D13}"/>
                  </a:ext>
                </a:extLst>
              </p:cNvPr>
              <p:cNvSpPr/>
              <p:nvPr/>
            </p:nvSpPr>
            <p:spPr>
              <a:xfrm>
                <a:off x="13391381" y="6589560"/>
                <a:ext cx="18461" cy="29082"/>
              </a:xfrm>
              <a:custGeom>
                <a:avLst/>
                <a:gdLst>
                  <a:gd name="connsiteX0" fmla="*/ 9567 w 18461"/>
                  <a:gd name="connsiteY0" fmla="*/ 4896 h 29082"/>
                  <a:gd name="connsiteX1" fmla="*/ 810 w 18461"/>
                  <a:gd name="connsiteY1" fmla="*/ 20934 h 29082"/>
                  <a:gd name="connsiteX2" fmla="*/ 9173 w 18461"/>
                  <a:gd name="connsiteY2" fmla="*/ 25854 h 29082"/>
                  <a:gd name="connsiteX3" fmla="*/ 17832 w 18461"/>
                  <a:gd name="connsiteY3" fmla="*/ 5093 h 29082"/>
                  <a:gd name="connsiteX4" fmla="*/ 9567 w 18461"/>
                  <a:gd name="connsiteY4" fmla="*/ 4797 h 29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1" h="29082">
                    <a:moveTo>
                      <a:pt x="9567" y="4896"/>
                    </a:moveTo>
                    <a:lnTo>
                      <a:pt x="810" y="20934"/>
                    </a:lnTo>
                    <a:cubicBezTo>
                      <a:pt x="-2732" y="27428"/>
                      <a:pt x="6320" y="32742"/>
                      <a:pt x="9173" y="25854"/>
                    </a:cubicBezTo>
                    <a:lnTo>
                      <a:pt x="17832" y="5093"/>
                    </a:lnTo>
                    <a:cubicBezTo>
                      <a:pt x="20686" y="-1697"/>
                      <a:pt x="13109" y="-1599"/>
                      <a:pt x="9567" y="4797"/>
                    </a:cubicBezTo>
                    <a:close/>
                  </a:path>
                </a:pathLst>
              </a:custGeom>
              <a:grpFill/>
              <a:ln w="9835" cap="flat">
                <a:noFill/>
                <a:prstDash val="solid"/>
                <a:miter/>
              </a:ln>
            </p:spPr>
            <p:txBody>
              <a:bodyPr rtlCol="0" anchor="ctr"/>
              <a:lstStyle/>
              <a:p>
                <a:endParaRPr lang="en-IN"/>
              </a:p>
            </p:txBody>
          </p:sp>
          <p:sp>
            <p:nvSpPr>
              <p:cNvPr id="639" name="Freeform: Shape 638">
                <a:extLst>
                  <a:ext uri="{FF2B5EF4-FFF2-40B4-BE49-F238E27FC236}">
                    <a16:creationId xmlns:a16="http://schemas.microsoft.com/office/drawing/2014/main" id="{B699A4E3-591B-AB9C-CBD4-DF15738B949A}"/>
                  </a:ext>
                </a:extLst>
              </p:cNvPr>
              <p:cNvSpPr/>
              <p:nvPr/>
            </p:nvSpPr>
            <p:spPr>
              <a:xfrm>
                <a:off x="13155543" y="6699266"/>
                <a:ext cx="21879" cy="15890"/>
              </a:xfrm>
              <a:custGeom>
                <a:avLst/>
                <a:gdLst>
                  <a:gd name="connsiteX0" fmla="*/ 19684 w 21879"/>
                  <a:gd name="connsiteY0" fmla="*/ 1260 h 15890"/>
                  <a:gd name="connsiteX1" fmla="*/ 18307 w 21879"/>
                  <a:gd name="connsiteY1" fmla="*/ 670 h 15890"/>
                  <a:gd name="connsiteX2" fmla="*/ 2465 w 21879"/>
                  <a:gd name="connsiteY2" fmla="*/ 8542 h 15890"/>
                  <a:gd name="connsiteX3" fmla="*/ 7385 w 21879"/>
                  <a:gd name="connsiteY3" fmla="*/ 14445 h 15890"/>
                  <a:gd name="connsiteX4" fmla="*/ 20078 w 21879"/>
                  <a:gd name="connsiteY4" fmla="*/ 6377 h 15890"/>
                  <a:gd name="connsiteX5" fmla="*/ 19684 w 21879"/>
                  <a:gd name="connsiteY5" fmla="*/ 1260 h 1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79" h="15890">
                    <a:moveTo>
                      <a:pt x="19684" y="1260"/>
                    </a:moveTo>
                    <a:lnTo>
                      <a:pt x="18307" y="670"/>
                    </a:lnTo>
                    <a:cubicBezTo>
                      <a:pt x="10927" y="-2479"/>
                      <a:pt x="5614" y="6377"/>
                      <a:pt x="2465" y="8542"/>
                    </a:cubicBezTo>
                    <a:cubicBezTo>
                      <a:pt x="-2848" y="13560"/>
                      <a:pt x="1186" y="18382"/>
                      <a:pt x="7385" y="14445"/>
                    </a:cubicBezTo>
                    <a:lnTo>
                      <a:pt x="20078" y="6377"/>
                    </a:lnTo>
                    <a:cubicBezTo>
                      <a:pt x="22636" y="4704"/>
                      <a:pt x="22439" y="2441"/>
                      <a:pt x="19684" y="1260"/>
                    </a:cubicBezTo>
                    <a:close/>
                  </a:path>
                </a:pathLst>
              </a:custGeom>
              <a:grpFill/>
              <a:ln w="9835" cap="flat">
                <a:noFill/>
                <a:prstDash val="solid"/>
                <a:miter/>
              </a:ln>
            </p:spPr>
            <p:txBody>
              <a:bodyPr rtlCol="0" anchor="ctr"/>
              <a:lstStyle/>
              <a:p>
                <a:endParaRPr lang="en-IN"/>
              </a:p>
            </p:txBody>
          </p:sp>
          <p:sp>
            <p:nvSpPr>
              <p:cNvPr id="640" name="Freeform: Shape 639">
                <a:extLst>
                  <a:ext uri="{FF2B5EF4-FFF2-40B4-BE49-F238E27FC236}">
                    <a16:creationId xmlns:a16="http://schemas.microsoft.com/office/drawing/2014/main" id="{8071345C-0D1B-DD0A-E945-2F4B450EE892}"/>
                  </a:ext>
                </a:extLst>
              </p:cNvPr>
              <p:cNvSpPr/>
              <p:nvPr/>
            </p:nvSpPr>
            <p:spPr>
              <a:xfrm>
                <a:off x="13172901" y="6638045"/>
                <a:ext cx="51699" cy="53789"/>
              </a:xfrm>
              <a:custGeom>
                <a:avLst/>
                <a:gdLst>
                  <a:gd name="connsiteX0" fmla="*/ 44637 w 51699"/>
                  <a:gd name="connsiteY0" fmla="*/ 98 h 53789"/>
                  <a:gd name="connsiteX1" fmla="*/ 27910 w 51699"/>
                  <a:gd name="connsiteY1" fmla="*/ 4132 h 53789"/>
                  <a:gd name="connsiteX2" fmla="*/ 2524 w 51699"/>
                  <a:gd name="connsiteY2" fmla="*/ 37784 h 53789"/>
                  <a:gd name="connsiteX3" fmla="*/ 6164 w 51699"/>
                  <a:gd name="connsiteY3" fmla="*/ 44573 h 53789"/>
                  <a:gd name="connsiteX4" fmla="*/ 5279 w 51699"/>
                  <a:gd name="connsiteY4" fmla="*/ 48411 h 53789"/>
                  <a:gd name="connsiteX5" fmla="*/ 18267 w 51699"/>
                  <a:gd name="connsiteY5" fmla="*/ 49788 h 53789"/>
                  <a:gd name="connsiteX6" fmla="*/ 36372 w 51699"/>
                  <a:gd name="connsiteY6" fmla="*/ 25189 h 53789"/>
                  <a:gd name="connsiteX7" fmla="*/ 37060 w 51699"/>
                  <a:gd name="connsiteY7" fmla="*/ 15054 h 53789"/>
                  <a:gd name="connsiteX8" fmla="*/ 51426 w 51699"/>
                  <a:gd name="connsiteY8" fmla="*/ 4723 h 53789"/>
                  <a:gd name="connsiteX9" fmla="*/ 44440 w 51699"/>
                  <a:gd name="connsiteY9" fmla="*/ 0 h 5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699" h="53789">
                    <a:moveTo>
                      <a:pt x="44637" y="98"/>
                    </a:moveTo>
                    <a:cubicBezTo>
                      <a:pt x="41685" y="492"/>
                      <a:pt x="33223" y="-1476"/>
                      <a:pt x="27910" y="4132"/>
                    </a:cubicBezTo>
                    <a:cubicBezTo>
                      <a:pt x="1835" y="31880"/>
                      <a:pt x="-4168" y="35915"/>
                      <a:pt x="2524" y="37784"/>
                    </a:cubicBezTo>
                    <a:cubicBezTo>
                      <a:pt x="5279" y="38571"/>
                      <a:pt x="6853" y="41621"/>
                      <a:pt x="6164" y="44573"/>
                    </a:cubicBezTo>
                    <a:lnTo>
                      <a:pt x="5279" y="48411"/>
                    </a:lnTo>
                    <a:cubicBezTo>
                      <a:pt x="3606" y="55692"/>
                      <a:pt x="13347" y="55004"/>
                      <a:pt x="18267" y="49788"/>
                    </a:cubicBezTo>
                    <a:cubicBezTo>
                      <a:pt x="30763" y="36407"/>
                      <a:pt x="35880" y="32569"/>
                      <a:pt x="36372" y="25189"/>
                    </a:cubicBezTo>
                    <a:lnTo>
                      <a:pt x="37060" y="15054"/>
                    </a:lnTo>
                    <a:cubicBezTo>
                      <a:pt x="37749" y="4920"/>
                      <a:pt x="53985" y="13480"/>
                      <a:pt x="51426" y="4723"/>
                    </a:cubicBezTo>
                    <a:cubicBezTo>
                      <a:pt x="50639" y="2067"/>
                      <a:pt x="47490" y="0"/>
                      <a:pt x="44440" y="0"/>
                    </a:cubicBezTo>
                    <a:close/>
                  </a:path>
                </a:pathLst>
              </a:custGeom>
              <a:grpFill/>
              <a:ln w="9835" cap="flat">
                <a:noFill/>
                <a:prstDash val="solid"/>
                <a:miter/>
              </a:ln>
            </p:spPr>
            <p:txBody>
              <a:bodyPr rtlCol="0" anchor="ctr"/>
              <a:lstStyle/>
              <a:p>
                <a:endParaRPr lang="en-IN"/>
              </a:p>
            </p:txBody>
          </p:sp>
          <p:sp>
            <p:nvSpPr>
              <p:cNvPr id="641" name="Freeform: Shape 640">
                <a:extLst>
                  <a:ext uri="{FF2B5EF4-FFF2-40B4-BE49-F238E27FC236}">
                    <a16:creationId xmlns:a16="http://schemas.microsoft.com/office/drawing/2014/main" id="{35A063D5-D2C9-0BDD-1D15-774D2A650612}"/>
                  </a:ext>
                </a:extLst>
              </p:cNvPr>
              <p:cNvSpPr/>
              <p:nvPr/>
            </p:nvSpPr>
            <p:spPr>
              <a:xfrm>
                <a:off x="13153986" y="6654863"/>
                <a:ext cx="18404" cy="9372"/>
              </a:xfrm>
              <a:custGeom>
                <a:avLst/>
                <a:gdLst>
                  <a:gd name="connsiteX0" fmla="*/ 17699 w 18404"/>
                  <a:gd name="connsiteY0" fmla="*/ 5124 h 9372"/>
                  <a:gd name="connsiteX1" fmla="*/ 17699 w 18404"/>
                  <a:gd name="connsiteY1" fmla="*/ 4928 h 9372"/>
                  <a:gd name="connsiteX2" fmla="*/ 2350 w 18404"/>
                  <a:gd name="connsiteY2" fmla="*/ 8174 h 9372"/>
                  <a:gd name="connsiteX3" fmla="*/ 17699 w 18404"/>
                  <a:gd name="connsiteY3" fmla="*/ 5223 h 9372"/>
                </a:gdLst>
                <a:ahLst/>
                <a:cxnLst>
                  <a:cxn ang="0">
                    <a:pos x="connsiteX0" y="connsiteY0"/>
                  </a:cxn>
                  <a:cxn ang="0">
                    <a:pos x="connsiteX1" y="connsiteY1"/>
                  </a:cxn>
                  <a:cxn ang="0">
                    <a:pos x="connsiteX2" y="connsiteY2"/>
                  </a:cxn>
                  <a:cxn ang="0">
                    <a:pos x="connsiteX3" y="connsiteY3"/>
                  </a:cxn>
                </a:cxnLst>
                <a:rect l="l" t="t" r="r" b="b"/>
                <a:pathLst>
                  <a:path w="18404" h="9372">
                    <a:moveTo>
                      <a:pt x="17699" y="5124"/>
                    </a:moveTo>
                    <a:lnTo>
                      <a:pt x="17699" y="4928"/>
                    </a:lnTo>
                    <a:cubicBezTo>
                      <a:pt x="23504" y="-7077"/>
                      <a:pt x="-8769" y="6403"/>
                      <a:pt x="2350" y="8174"/>
                    </a:cubicBezTo>
                    <a:cubicBezTo>
                      <a:pt x="5006" y="8174"/>
                      <a:pt x="14255" y="12307"/>
                      <a:pt x="17699" y="5223"/>
                    </a:cubicBezTo>
                    <a:close/>
                  </a:path>
                </a:pathLst>
              </a:custGeom>
              <a:grpFill/>
              <a:ln w="9835" cap="flat">
                <a:noFill/>
                <a:prstDash val="solid"/>
                <a:miter/>
              </a:ln>
            </p:spPr>
            <p:txBody>
              <a:bodyPr rtlCol="0" anchor="ctr"/>
              <a:lstStyle/>
              <a:p>
                <a:endParaRPr lang="en-IN"/>
              </a:p>
            </p:txBody>
          </p:sp>
          <p:sp>
            <p:nvSpPr>
              <p:cNvPr id="642" name="Freeform: Shape 641">
                <a:extLst>
                  <a:ext uri="{FF2B5EF4-FFF2-40B4-BE49-F238E27FC236}">
                    <a16:creationId xmlns:a16="http://schemas.microsoft.com/office/drawing/2014/main" id="{0AFFC6FA-716E-B9C0-8EE8-24BED821B542}"/>
                  </a:ext>
                </a:extLst>
              </p:cNvPr>
              <p:cNvSpPr/>
              <p:nvPr/>
            </p:nvSpPr>
            <p:spPr>
              <a:xfrm>
                <a:off x="13314106" y="6455331"/>
                <a:ext cx="15126" cy="11276"/>
              </a:xfrm>
              <a:custGeom>
                <a:avLst/>
                <a:gdLst>
                  <a:gd name="connsiteX0" fmla="*/ 10880 w 15126"/>
                  <a:gd name="connsiteY0" fmla="*/ 1764 h 11276"/>
                  <a:gd name="connsiteX1" fmla="*/ 155 w 15126"/>
                  <a:gd name="connsiteY1" fmla="*/ 1863 h 11276"/>
                  <a:gd name="connsiteX2" fmla="*/ 3894 w 15126"/>
                  <a:gd name="connsiteY2" fmla="*/ 7766 h 11276"/>
                  <a:gd name="connsiteX3" fmla="*/ 8912 w 15126"/>
                  <a:gd name="connsiteY3" fmla="*/ 10521 h 11276"/>
                  <a:gd name="connsiteX4" fmla="*/ 10880 w 15126"/>
                  <a:gd name="connsiteY4" fmla="*/ 1764 h 1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6" h="11276">
                    <a:moveTo>
                      <a:pt x="10880" y="1764"/>
                    </a:moveTo>
                    <a:cubicBezTo>
                      <a:pt x="10880" y="1764"/>
                      <a:pt x="1729" y="-2270"/>
                      <a:pt x="155" y="1863"/>
                    </a:cubicBezTo>
                    <a:cubicBezTo>
                      <a:pt x="-534" y="3634"/>
                      <a:pt x="1139" y="6290"/>
                      <a:pt x="3894" y="7766"/>
                    </a:cubicBezTo>
                    <a:lnTo>
                      <a:pt x="8912" y="10521"/>
                    </a:lnTo>
                    <a:cubicBezTo>
                      <a:pt x="15406" y="14064"/>
                      <a:pt x="17965" y="4125"/>
                      <a:pt x="10880" y="1764"/>
                    </a:cubicBezTo>
                    <a:close/>
                  </a:path>
                </a:pathLst>
              </a:custGeom>
              <a:grpFill/>
              <a:ln w="9835" cap="flat">
                <a:noFill/>
                <a:prstDash val="solid"/>
                <a:miter/>
              </a:ln>
            </p:spPr>
            <p:txBody>
              <a:bodyPr rtlCol="0" anchor="ctr"/>
              <a:lstStyle/>
              <a:p>
                <a:endParaRPr lang="en-IN"/>
              </a:p>
            </p:txBody>
          </p:sp>
          <p:sp>
            <p:nvSpPr>
              <p:cNvPr id="643" name="Freeform: Shape 642">
                <a:extLst>
                  <a:ext uri="{FF2B5EF4-FFF2-40B4-BE49-F238E27FC236}">
                    <a16:creationId xmlns:a16="http://schemas.microsoft.com/office/drawing/2014/main" id="{7FE46CE1-3B6C-8619-232A-22A564E8D62B}"/>
                  </a:ext>
                </a:extLst>
              </p:cNvPr>
              <p:cNvSpPr/>
              <p:nvPr/>
            </p:nvSpPr>
            <p:spPr>
              <a:xfrm>
                <a:off x="13026610" y="6702453"/>
                <a:ext cx="17873" cy="10502"/>
              </a:xfrm>
              <a:custGeom>
                <a:avLst/>
                <a:gdLst>
                  <a:gd name="connsiteX0" fmla="*/ 12339 w 17873"/>
                  <a:gd name="connsiteY0" fmla="*/ 139 h 10502"/>
                  <a:gd name="connsiteX1" fmla="*/ 236 w 17873"/>
                  <a:gd name="connsiteY1" fmla="*/ 4666 h 10502"/>
                  <a:gd name="connsiteX2" fmla="*/ 4074 w 17873"/>
                  <a:gd name="connsiteY2" fmla="*/ 9684 h 10502"/>
                  <a:gd name="connsiteX3" fmla="*/ 12339 w 17873"/>
                  <a:gd name="connsiteY3" fmla="*/ 10471 h 10502"/>
                  <a:gd name="connsiteX4" fmla="*/ 12339 w 17873"/>
                  <a:gd name="connsiteY4" fmla="*/ 238 h 1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73" h="10502">
                    <a:moveTo>
                      <a:pt x="12339" y="139"/>
                    </a:moveTo>
                    <a:cubicBezTo>
                      <a:pt x="12339" y="139"/>
                      <a:pt x="2499" y="-1238"/>
                      <a:pt x="236" y="4666"/>
                    </a:cubicBezTo>
                    <a:cubicBezTo>
                      <a:pt x="-649" y="7126"/>
                      <a:pt x="1024" y="9389"/>
                      <a:pt x="4074" y="9684"/>
                    </a:cubicBezTo>
                    <a:lnTo>
                      <a:pt x="12339" y="10471"/>
                    </a:lnTo>
                    <a:cubicBezTo>
                      <a:pt x="19718" y="11160"/>
                      <a:pt x="19718" y="238"/>
                      <a:pt x="12339" y="238"/>
                    </a:cubicBezTo>
                    <a:close/>
                  </a:path>
                </a:pathLst>
              </a:custGeom>
              <a:grpFill/>
              <a:ln w="9835" cap="flat">
                <a:noFill/>
                <a:prstDash val="solid"/>
                <a:miter/>
              </a:ln>
            </p:spPr>
            <p:txBody>
              <a:bodyPr rtlCol="0" anchor="ctr"/>
              <a:lstStyle/>
              <a:p>
                <a:endParaRPr lang="en-IN"/>
              </a:p>
            </p:txBody>
          </p:sp>
          <p:sp>
            <p:nvSpPr>
              <p:cNvPr id="644" name="Freeform: Shape 643">
                <a:extLst>
                  <a:ext uri="{FF2B5EF4-FFF2-40B4-BE49-F238E27FC236}">
                    <a16:creationId xmlns:a16="http://schemas.microsoft.com/office/drawing/2014/main" id="{2B226D51-31D3-EBA3-133A-20584EFEBE99}"/>
                  </a:ext>
                </a:extLst>
              </p:cNvPr>
              <p:cNvSpPr/>
              <p:nvPr/>
            </p:nvSpPr>
            <p:spPr>
              <a:xfrm>
                <a:off x="13144478" y="6221014"/>
                <a:ext cx="644937" cy="543666"/>
              </a:xfrm>
              <a:custGeom>
                <a:avLst/>
                <a:gdLst>
                  <a:gd name="connsiteX0" fmla="*/ 631851 w 644937"/>
                  <a:gd name="connsiteY0" fmla="*/ 393121 h 543666"/>
                  <a:gd name="connsiteX1" fmla="*/ 644937 w 644937"/>
                  <a:gd name="connsiteY1" fmla="*/ 370490 h 543666"/>
                  <a:gd name="connsiteX2" fmla="*/ 644937 w 644937"/>
                  <a:gd name="connsiteY2" fmla="*/ 138866 h 543666"/>
                  <a:gd name="connsiteX3" fmla="*/ 627521 w 644937"/>
                  <a:gd name="connsiteY3" fmla="*/ 134044 h 543666"/>
                  <a:gd name="connsiteX4" fmla="*/ 616895 w 644937"/>
                  <a:gd name="connsiteY4" fmla="*/ 124598 h 543666"/>
                  <a:gd name="connsiteX5" fmla="*/ 561006 w 644937"/>
                  <a:gd name="connsiteY5" fmla="*/ 120367 h 543666"/>
                  <a:gd name="connsiteX6" fmla="*/ 442931 w 644937"/>
                  <a:gd name="connsiteY6" fmla="*/ 69792 h 543666"/>
                  <a:gd name="connsiteX7" fmla="*/ 408098 w 644937"/>
                  <a:gd name="connsiteY7" fmla="*/ 86519 h 543666"/>
                  <a:gd name="connsiteX8" fmla="*/ 404852 w 644937"/>
                  <a:gd name="connsiteY8" fmla="*/ 106297 h 543666"/>
                  <a:gd name="connsiteX9" fmla="*/ 380843 w 644937"/>
                  <a:gd name="connsiteY9" fmla="*/ 116333 h 543666"/>
                  <a:gd name="connsiteX10" fmla="*/ 352898 w 644937"/>
                  <a:gd name="connsiteY10" fmla="*/ 123320 h 543666"/>
                  <a:gd name="connsiteX11" fmla="*/ 345420 w 644937"/>
                  <a:gd name="connsiteY11" fmla="*/ 141916 h 543666"/>
                  <a:gd name="connsiteX12" fmla="*/ 331152 w 644937"/>
                  <a:gd name="connsiteY12" fmla="*/ 152936 h 543666"/>
                  <a:gd name="connsiteX13" fmla="*/ 297304 w 644937"/>
                  <a:gd name="connsiteY13" fmla="*/ 185702 h 543666"/>
                  <a:gd name="connsiteX14" fmla="*/ 263260 w 644937"/>
                  <a:gd name="connsiteY14" fmla="*/ 173895 h 543666"/>
                  <a:gd name="connsiteX15" fmla="*/ 256569 w 644937"/>
                  <a:gd name="connsiteY15" fmla="*/ 159824 h 543666"/>
                  <a:gd name="connsiteX16" fmla="*/ 247320 w 644937"/>
                  <a:gd name="connsiteY16" fmla="*/ 131486 h 543666"/>
                  <a:gd name="connsiteX17" fmla="*/ 239644 w 644937"/>
                  <a:gd name="connsiteY17" fmla="*/ 131191 h 543666"/>
                  <a:gd name="connsiteX18" fmla="*/ 237972 w 644937"/>
                  <a:gd name="connsiteY18" fmla="*/ 151854 h 543666"/>
                  <a:gd name="connsiteX19" fmla="*/ 217801 w 644937"/>
                  <a:gd name="connsiteY19" fmla="*/ 106395 h 543666"/>
                  <a:gd name="connsiteX20" fmla="*/ 218391 w 644937"/>
                  <a:gd name="connsiteY20" fmla="*/ 86224 h 543666"/>
                  <a:gd name="connsiteX21" fmla="*/ 222032 w 644937"/>
                  <a:gd name="connsiteY21" fmla="*/ 54836 h 543666"/>
                  <a:gd name="connsiteX22" fmla="*/ 212881 w 644937"/>
                  <a:gd name="connsiteY22" fmla="*/ 35845 h 543666"/>
                  <a:gd name="connsiteX23" fmla="*/ 213963 w 644937"/>
                  <a:gd name="connsiteY23" fmla="*/ 34665 h 543666"/>
                  <a:gd name="connsiteX24" fmla="*/ 202254 w 644937"/>
                  <a:gd name="connsiteY24" fmla="*/ 21676 h 543666"/>
                  <a:gd name="connsiteX25" fmla="*/ 168996 w 644937"/>
                  <a:gd name="connsiteY25" fmla="*/ 20496 h 543666"/>
                  <a:gd name="connsiteX26" fmla="*/ 127670 w 644937"/>
                  <a:gd name="connsiteY26" fmla="*/ 128 h 543666"/>
                  <a:gd name="connsiteX27" fmla="*/ 97364 w 644937"/>
                  <a:gd name="connsiteY27" fmla="*/ 3768 h 543666"/>
                  <a:gd name="connsiteX28" fmla="*/ 71584 w 644937"/>
                  <a:gd name="connsiteY28" fmla="*/ 22267 h 543666"/>
                  <a:gd name="connsiteX29" fmla="*/ 44230 w 644937"/>
                  <a:gd name="connsiteY29" fmla="*/ 31909 h 543666"/>
                  <a:gd name="connsiteX30" fmla="*/ 34489 w 644937"/>
                  <a:gd name="connsiteY30" fmla="*/ 52376 h 543666"/>
                  <a:gd name="connsiteX31" fmla="*/ 33407 w 644937"/>
                  <a:gd name="connsiteY31" fmla="*/ 52573 h 543666"/>
                  <a:gd name="connsiteX32" fmla="*/ 18549 w 644937"/>
                  <a:gd name="connsiteY32" fmla="*/ 34665 h 543666"/>
                  <a:gd name="connsiteX33" fmla="*/ 1231 w 644937"/>
                  <a:gd name="connsiteY33" fmla="*/ 42339 h 543666"/>
                  <a:gd name="connsiteX34" fmla="*/ 28979 w 644937"/>
                  <a:gd name="connsiteY34" fmla="*/ 69497 h 543666"/>
                  <a:gd name="connsiteX35" fmla="*/ 79751 w 644937"/>
                  <a:gd name="connsiteY35" fmla="*/ 80418 h 543666"/>
                  <a:gd name="connsiteX36" fmla="*/ 105925 w 644937"/>
                  <a:gd name="connsiteY36" fmla="*/ 116136 h 543666"/>
                  <a:gd name="connsiteX37" fmla="*/ 191923 w 644937"/>
                  <a:gd name="connsiteY37" fmla="*/ 116136 h 543666"/>
                  <a:gd name="connsiteX38" fmla="*/ 196350 w 644937"/>
                  <a:gd name="connsiteY38" fmla="*/ 121548 h 543666"/>
                  <a:gd name="connsiteX39" fmla="*/ 187199 w 644937"/>
                  <a:gd name="connsiteY39" fmla="*/ 137685 h 543666"/>
                  <a:gd name="connsiteX40" fmla="*/ 158074 w 644937"/>
                  <a:gd name="connsiteY40" fmla="*/ 130404 h 543666"/>
                  <a:gd name="connsiteX41" fmla="*/ 125210 w 644937"/>
                  <a:gd name="connsiteY41" fmla="*/ 148607 h 543666"/>
                  <a:gd name="connsiteX42" fmla="*/ 102185 w 644937"/>
                  <a:gd name="connsiteY42" fmla="*/ 141621 h 543666"/>
                  <a:gd name="connsiteX43" fmla="*/ 86639 w 644937"/>
                  <a:gd name="connsiteY43" fmla="*/ 155986 h 543666"/>
                  <a:gd name="connsiteX44" fmla="*/ 87131 w 644937"/>
                  <a:gd name="connsiteY44" fmla="*/ 156872 h 543666"/>
                  <a:gd name="connsiteX45" fmla="*/ 113599 w 644937"/>
                  <a:gd name="connsiteY45" fmla="*/ 165630 h 543666"/>
                  <a:gd name="connsiteX46" fmla="*/ 139576 w 644937"/>
                  <a:gd name="connsiteY46" fmla="*/ 191803 h 543666"/>
                  <a:gd name="connsiteX47" fmla="*/ 138592 w 644937"/>
                  <a:gd name="connsiteY47" fmla="*/ 198395 h 543666"/>
                  <a:gd name="connsiteX48" fmla="*/ 137411 w 644937"/>
                  <a:gd name="connsiteY48" fmla="*/ 198986 h 543666"/>
                  <a:gd name="connsiteX49" fmla="*/ 134361 w 644937"/>
                  <a:gd name="connsiteY49" fmla="*/ 206858 h 543666"/>
                  <a:gd name="connsiteX50" fmla="*/ 148825 w 644937"/>
                  <a:gd name="connsiteY50" fmla="*/ 229980 h 543666"/>
                  <a:gd name="connsiteX51" fmla="*/ 173227 w 644937"/>
                  <a:gd name="connsiteY51" fmla="*/ 216303 h 543666"/>
                  <a:gd name="connsiteX52" fmla="*/ 175982 w 644937"/>
                  <a:gd name="connsiteY52" fmla="*/ 203119 h 543666"/>
                  <a:gd name="connsiteX53" fmla="*/ 191332 w 644937"/>
                  <a:gd name="connsiteY53" fmla="*/ 193082 h 543666"/>
                  <a:gd name="connsiteX54" fmla="*/ 229608 w 644937"/>
                  <a:gd name="connsiteY54" fmla="*/ 222502 h 543666"/>
                  <a:gd name="connsiteX55" fmla="*/ 249878 w 644937"/>
                  <a:gd name="connsiteY55" fmla="*/ 225651 h 543666"/>
                  <a:gd name="connsiteX56" fmla="*/ 254798 w 644937"/>
                  <a:gd name="connsiteY56" fmla="*/ 237557 h 543666"/>
                  <a:gd name="connsiteX57" fmla="*/ 288055 w 644937"/>
                  <a:gd name="connsiteY57" fmla="*/ 253104 h 543666"/>
                  <a:gd name="connsiteX58" fmla="*/ 338631 w 644937"/>
                  <a:gd name="connsiteY58" fmla="*/ 258614 h 543666"/>
                  <a:gd name="connsiteX59" fmla="*/ 451294 w 644937"/>
                  <a:gd name="connsiteY59" fmla="*/ 310567 h 543666"/>
                  <a:gd name="connsiteX60" fmla="*/ 482485 w 644937"/>
                  <a:gd name="connsiteY60" fmla="*/ 355534 h 543666"/>
                  <a:gd name="connsiteX61" fmla="*/ 487701 w 644937"/>
                  <a:gd name="connsiteY61" fmla="*/ 373540 h 543666"/>
                  <a:gd name="connsiteX62" fmla="*/ 504231 w 644937"/>
                  <a:gd name="connsiteY62" fmla="*/ 396171 h 543666"/>
                  <a:gd name="connsiteX63" fmla="*/ 496950 w 644937"/>
                  <a:gd name="connsiteY63" fmla="*/ 409652 h 543666"/>
                  <a:gd name="connsiteX64" fmla="*/ 517514 w 644937"/>
                  <a:gd name="connsiteY64" fmla="*/ 428249 h 543666"/>
                  <a:gd name="connsiteX65" fmla="*/ 473729 w 644937"/>
                  <a:gd name="connsiteY65" fmla="*/ 441630 h 543666"/>
                  <a:gd name="connsiteX66" fmla="*/ 439978 w 644937"/>
                  <a:gd name="connsiteY66" fmla="*/ 496535 h 543666"/>
                  <a:gd name="connsiteX67" fmla="*/ 506888 w 644937"/>
                  <a:gd name="connsiteY67" fmla="*/ 498208 h 543666"/>
                  <a:gd name="connsiteX68" fmla="*/ 512890 w 644937"/>
                  <a:gd name="connsiteY68" fmla="*/ 492796 h 543666"/>
                  <a:gd name="connsiteX69" fmla="*/ 512890 w 644937"/>
                  <a:gd name="connsiteY69" fmla="*/ 491320 h 543666"/>
                  <a:gd name="connsiteX70" fmla="*/ 518400 w 644937"/>
                  <a:gd name="connsiteY70" fmla="*/ 483153 h 543666"/>
                  <a:gd name="connsiteX71" fmla="*/ 538571 w 644937"/>
                  <a:gd name="connsiteY71" fmla="*/ 478627 h 543666"/>
                  <a:gd name="connsiteX72" fmla="*/ 549592 w 644937"/>
                  <a:gd name="connsiteY72" fmla="*/ 482858 h 543666"/>
                  <a:gd name="connsiteX73" fmla="*/ 575765 w 644937"/>
                  <a:gd name="connsiteY73" fmla="*/ 478922 h 543666"/>
                  <a:gd name="connsiteX74" fmla="*/ 644839 w 644937"/>
                  <a:gd name="connsiteY74" fmla="*/ 543667 h 543666"/>
                  <a:gd name="connsiteX75" fmla="*/ 644839 w 644937"/>
                  <a:gd name="connsiteY75" fmla="*/ 409652 h 543666"/>
                  <a:gd name="connsiteX76" fmla="*/ 631753 w 644937"/>
                  <a:gd name="connsiteY76" fmla="*/ 393121 h 5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44937" h="543666">
                    <a:moveTo>
                      <a:pt x="631851" y="393121"/>
                    </a:moveTo>
                    <a:lnTo>
                      <a:pt x="644937" y="370490"/>
                    </a:lnTo>
                    <a:lnTo>
                      <a:pt x="644937" y="138866"/>
                    </a:lnTo>
                    <a:cubicBezTo>
                      <a:pt x="639329" y="138866"/>
                      <a:pt x="631064" y="140539"/>
                      <a:pt x="627521" y="134044"/>
                    </a:cubicBezTo>
                    <a:cubicBezTo>
                      <a:pt x="626636" y="133061"/>
                      <a:pt x="624176" y="124894"/>
                      <a:pt x="616895" y="124598"/>
                    </a:cubicBezTo>
                    <a:cubicBezTo>
                      <a:pt x="569369" y="122926"/>
                      <a:pt x="567500" y="123417"/>
                      <a:pt x="561006" y="120367"/>
                    </a:cubicBezTo>
                    <a:cubicBezTo>
                      <a:pt x="447555" y="67627"/>
                      <a:pt x="450507" y="66152"/>
                      <a:pt x="442931" y="69792"/>
                    </a:cubicBezTo>
                    <a:lnTo>
                      <a:pt x="408098" y="86519"/>
                    </a:lnTo>
                    <a:cubicBezTo>
                      <a:pt x="398259" y="91242"/>
                      <a:pt x="414593" y="101278"/>
                      <a:pt x="404852" y="106297"/>
                    </a:cubicBezTo>
                    <a:cubicBezTo>
                      <a:pt x="395307" y="111315"/>
                      <a:pt x="388419" y="115940"/>
                      <a:pt x="380843" y="116333"/>
                    </a:cubicBezTo>
                    <a:cubicBezTo>
                      <a:pt x="366772" y="118400"/>
                      <a:pt x="354374" y="114464"/>
                      <a:pt x="352898" y="123320"/>
                    </a:cubicBezTo>
                    <a:cubicBezTo>
                      <a:pt x="351422" y="128337"/>
                      <a:pt x="352406" y="137489"/>
                      <a:pt x="345420" y="141916"/>
                    </a:cubicBezTo>
                    <a:cubicBezTo>
                      <a:pt x="340894" y="144770"/>
                      <a:pt x="335384" y="147820"/>
                      <a:pt x="331152" y="152936"/>
                    </a:cubicBezTo>
                    <a:cubicBezTo>
                      <a:pt x="306062" y="182947"/>
                      <a:pt x="304488" y="187080"/>
                      <a:pt x="297304" y="185702"/>
                    </a:cubicBezTo>
                    <a:cubicBezTo>
                      <a:pt x="270344" y="180488"/>
                      <a:pt x="264342" y="181274"/>
                      <a:pt x="263260" y="173895"/>
                    </a:cubicBezTo>
                    <a:cubicBezTo>
                      <a:pt x="262079" y="169762"/>
                      <a:pt x="263063" y="157856"/>
                      <a:pt x="256569" y="159824"/>
                    </a:cubicBezTo>
                    <a:cubicBezTo>
                      <a:pt x="247221" y="162678"/>
                      <a:pt x="256667" y="138472"/>
                      <a:pt x="247320" y="131486"/>
                    </a:cubicBezTo>
                    <a:cubicBezTo>
                      <a:pt x="246335" y="131093"/>
                      <a:pt x="239349" y="124008"/>
                      <a:pt x="239644" y="131191"/>
                    </a:cubicBezTo>
                    <a:cubicBezTo>
                      <a:pt x="240235" y="146147"/>
                      <a:pt x="241809" y="158643"/>
                      <a:pt x="237972" y="151854"/>
                    </a:cubicBezTo>
                    <a:cubicBezTo>
                      <a:pt x="218391" y="116038"/>
                      <a:pt x="215734" y="113283"/>
                      <a:pt x="217801" y="106395"/>
                    </a:cubicBezTo>
                    <a:cubicBezTo>
                      <a:pt x="218784" y="100688"/>
                      <a:pt x="225180" y="90751"/>
                      <a:pt x="218391" y="86224"/>
                    </a:cubicBezTo>
                    <a:cubicBezTo>
                      <a:pt x="208453" y="79435"/>
                      <a:pt x="230297" y="64478"/>
                      <a:pt x="222032" y="54836"/>
                    </a:cubicBezTo>
                    <a:cubicBezTo>
                      <a:pt x="218096" y="48932"/>
                      <a:pt x="207174" y="42339"/>
                      <a:pt x="212881" y="35845"/>
                    </a:cubicBezTo>
                    <a:lnTo>
                      <a:pt x="213963" y="34665"/>
                    </a:lnTo>
                    <a:cubicBezTo>
                      <a:pt x="219080" y="28958"/>
                      <a:pt x="209831" y="21184"/>
                      <a:pt x="202254" y="21676"/>
                    </a:cubicBezTo>
                    <a:cubicBezTo>
                      <a:pt x="185822" y="22562"/>
                      <a:pt x="175884" y="24431"/>
                      <a:pt x="168996" y="20496"/>
                    </a:cubicBezTo>
                    <a:cubicBezTo>
                      <a:pt x="138198" y="2784"/>
                      <a:pt x="134853" y="128"/>
                      <a:pt x="127670" y="128"/>
                    </a:cubicBezTo>
                    <a:cubicBezTo>
                      <a:pt x="110156" y="128"/>
                      <a:pt x="102874" y="-1053"/>
                      <a:pt x="97364" y="3768"/>
                    </a:cubicBezTo>
                    <a:cubicBezTo>
                      <a:pt x="85458" y="14100"/>
                      <a:pt x="79456" y="20988"/>
                      <a:pt x="71584" y="22267"/>
                    </a:cubicBezTo>
                    <a:cubicBezTo>
                      <a:pt x="51019" y="25612"/>
                      <a:pt x="45706" y="24924"/>
                      <a:pt x="44230" y="31909"/>
                    </a:cubicBezTo>
                    <a:cubicBezTo>
                      <a:pt x="41770" y="39388"/>
                      <a:pt x="43049" y="51097"/>
                      <a:pt x="34489" y="52376"/>
                    </a:cubicBezTo>
                    <a:lnTo>
                      <a:pt x="33407" y="52573"/>
                    </a:lnTo>
                    <a:cubicBezTo>
                      <a:pt x="21894" y="54442"/>
                      <a:pt x="29963" y="32795"/>
                      <a:pt x="18549" y="34665"/>
                    </a:cubicBezTo>
                    <a:cubicBezTo>
                      <a:pt x="11661" y="36534"/>
                      <a:pt x="-4575" y="35550"/>
                      <a:pt x="1231" y="42339"/>
                    </a:cubicBezTo>
                    <a:cubicBezTo>
                      <a:pt x="20812" y="65659"/>
                      <a:pt x="21993" y="68611"/>
                      <a:pt x="28979" y="69497"/>
                    </a:cubicBezTo>
                    <a:cubicBezTo>
                      <a:pt x="72273" y="75007"/>
                      <a:pt x="76012" y="73925"/>
                      <a:pt x="79751" y="80418"/>
                    </a:cubicBezTo>
                    <a:cubicBezTo>
                      <a:pt x="95986" y="108462"/>
                      <a:pt x="98052" y="116136"/>
                      <a:pt x="105925" y="116136"/>
                    </a:cubicBezTo>
                    <a:lnTo>
                      <a:pt x="191923" y="116136"/>
                    </a:lnTo>
                    <a:cubicBezTo>
                      <a:pt x="194973" y="116136"/>
                      <a:pt x="196941" y="118596"/>
                      <a:pt x="196350" y="121548"/>
                    </a:cubicBezTo>
                    <a:cubicBezTo>
                      <a:pt x="194284" y="127157"/>
                      <a:pt x="195366" y="139653"/>
                      <a:pt x="187199" y="137685"/>
                    </a:cubicBezTo>
                    <a:lnTo>
                      <a:pt x="158074" y="130404"/>
                    </a:lnTo>
                    <a:cubicBezTo>
                      <a:pt x="145086" y="127157"/>
                      <a:pt x="136427" y="154511"/>
                      <a:pt x="125210" y="148607"/>
                    </a:cubicBezTo>
                    <a:cubicBezTo>
                      <a:pt x="117535" y="145459"/>
                      <a:pt x="109860" y="137586"/>
                      <a:pt x="102185" y="141621"/>
                    </a:cubicBezTo>
                    <a:cubicBezTo>
                      <a:pt x="95691" y="146049"/>
                      <a:pt x="82309" y="148509"/>
                      <a:pt x="86639" y="155986"/>
                    </a:cubicBezTo>
                    <a:lnTo>
                      <a:pt x="87131" y="156872"/>
                    </a:lnTo>
                    <a:cubicBezTo>
                      <a:pt x="92838" y="166613"/>
                      <a:pt x="105039" y="157069"/>
                      <a:pt x="113599" y="165630"/>
                    </a:cubicBezTo>
                    <a:lnTo>
                      <a:pt x="139576" y="191803"/>
                    </a:lnTo>
                    <a:cubicBezTo>
                      <a:pt x="141740" y="193968"/>
                      <a:pt x="141248" y="196920"/>
                      <a:pt x="138592" y="198395"/>
                    </a:cubicBezTo>
                    <a:lnTo>
                      <a:pt x="137411" y="198986"/>
                    </a:lnTo>
                    <a:cubicBezTo>
                      <a:pt x="134656" y="200462"/>
                      <a:pt x="133377" y="203906"/>
                      <a:pt x="134361" y="206858"/>
                    </a:cubicBezTo>
                    <a:cubicBezTo>
                      <a:pt x="139969" y="218567"/>
                      <a:pt x="140166" y="232834"/>
                      <a:pt x="148825" y="229980"/>
                    </a:cubicBezTo>
                    <a:cubicBezTo>
                      <a:pt x="161026" y="224667"/>
                      <a:pt x="173916" y="225258"/>
                      <a:pt x="173227" y="216303"/>
                    </a:cubicBezTo>
                    <a:cubicBezTo>
                      <a:pt x="173227" y="215024"/>
                      <a:pt x="171456" y="208727"/>
                      <a:pt x="175982" y="203119"/>
                    </a:cubicBezTo>
                    <a:cubicBezTo>
                      <a:pt x="180312" y="199084"/>
                      <a:pt x="185133" y="187375"/>
                      <a:pt x="191332" y="193082"/>
                    </a:cubicBezTo>
                    <a:cubicBezTo>
                      <a:pt x="219867" y="219256"/>
                      <a:pt x="222130" y="223388"/>
                      <a:pt x="229608" y="222502"/>
                    </a:cubicBezTo>
                    <a:cubicBezTo>
                      <a:pt x="237184" y="222502"/>
                      <a:pt x="249878" y="216992"/>
                      <a:pt x="249878" y="225651"/>
                    </a:cubicBezTo>
                    <a:cubicBezTo>
                      <a:pt x="250074" y="226635"/>
                      <a:pt x="248599" y="234113"/>
                      <a:pt x="254798" y="237557"/>
                    </a:cubicBezTo>
                    <a:cubicBezTo>
                      <a:pt x="272115" y="247101"/>
                      <a:pt x="280183" y="252513"/>
                      <a:pt x="288055" y="253104"/>
                    </a:cubicBezTo>
                    <a:cubicBezTo>
                      <a:pt x="325347" y="255760"/>
                      <a:pt x="331546" y="255465"/>
                      <a:pt x="338631" y="258614"/>
                    </a:cubicBezTo>
                    <a:cubicBezTo>
                      <a:pt x="440569" y="303286"/>
                      <a:pt x="445784" y="303483"/>
                      <a:pt x="451294" y="310567"/>
                    </a:cubicBezTo>
                    <a:cubicBezTo>
                      <a:pt x="477271" y="343825"/>
                      <a:pt x="481797" y="347662"/>
                      <a:pt x="482485" y="355534"/>
                    </a:cubicBezTo>
                    <a:cubicBezTo>
                      <a:pt x="483174" y="359470"/>
                      <a:pt x="481699" y="368030"/>
                      <a:pt x="487701" y="373540"/>
                    </a:cubicBezTo>
                    <a:cubicBezTo>
                      <a:pt x="502755" y="387315"/>
                      <a:pt x="509840" y="391252"/>
                      <a:pt x="504231" y="396171"/>
                    </a:cubicBezTo>
                    <a:cubicBezTo>
                      <a:pt x="501574" y="399419"/>
                      <a:pt x="489964" y="405421"/>
                      <a:pt x="496950" y="409652"/>
                    </a:cubicBezTo>
                    <a:cubicBezTo>
                      <a:pt x="508167" y="417819"/>
                      <a:pt x="522533" y="421262"/>
                      <a:pt x="517514" y="428249"/>
                    </a:cubicBezTo>
                    <a:cubicBezTo>
                      <a:pt x="510037" y="438777"/>
                      <a:pt x="481403" y="430905"/>
                      <a:pt x="473729" y="441630"/>
                    </a:cubicBezTo>
                    <a:cubicBezTo>
                      <a:pt x="438503" y="490927"/>
                      <a:pt x="431910" y="496338"/>
                      <a:pt x="439978" y="496535"/>
                    </a:cubicBezTo>
                    <a:lnTo>
                      <a:pt x="506888" y="498208"/>
                    </a:lnTo>
                    <a:cubicBezTo>
                      <a:pt x="509938" y="498208"/>
                      <a:pt x="512693" y="495847"/>
                      <a:pt x="512890" y="492796"/>
                    </a:cubicBezTo>
                    <a:lnTo>
                      <a:pt x="512890" y="491320"/>
                    </a:lnTo>
                    <a:cubicBezTo>
                      <a:pt x="513283" y="488270"/>
                      <a:pt x="515645" y="484629"/>
                      <a:pt x="518400" y="483153"/>
                    </a:cubicBezTo>
                    <a:cubicBezTo>
                      <a:pt x="524501" y="480890"/>
                      <a:pt x="532766" y="472428"/>
                      <a:pt x="538571" y="478627"/>
                    </a:cubicBezTo>
                    <a:cubicBezTo>
                      <a:pt x="539556" y="479218"/>
                      <a:pt x="542999" y="485220"/>
                      <a:pt x="549592" y="482858"/>
                    </a:cubicBezTo>
                    <a:cubicBezTo>
                      <a:pt x="560120" y="480201"/>
                      <a:pt x="569271" y="472822"/>
                      <a:pt x="575765" y="478922"/>
                    </a:cubicBezTo>
                    <a:cubicBezTo>
                      <a:pt x="619945" y="520446"/>
                      <a:pt x="636672" y="537074"/>
                      <a:pt x="644839" y="543667"/>
                    </a:cubicBezTo>
                    <a:lnTo>
                      <a:pt x="644839" y="409652"/>
                    </a:lnTo>
                    <a:lnTo>
                      <a:pt x="631753" y="393121"/>
                    </a:lnTo>
                    <a:close/>
                  </a:path>
                </a:pathLst>
              </a:custGeom>
              <a:grpFill/>
              <a:ln w="9835" cap="flat">
                <a:noFill/>
                <a:prstDash val="solid"/>
                <a:miter/>
              </a:ln>
            </p:spPr>
            <p:txBody>
              <a:bodyPr rtlCol="0" anchor="ctr"/>
              <a:lstStyle/>
              <a:p>
                <a:endParaRPr lang="en-IN"/>
              </a:p>
            </p:txBody>
          </p:sp>
          <p:sp>
            <p:nvSpPr>
              <p:cNvPr id="645" name="Freeform: Shape 644">
                <a:extLst>
                  <a:ext uri="{FF2B5EF4-FFF2-40B4-BE49-F238E27FC236}">
                    <a16:creationId xmlns:a16="http://schemas.microsoft.com/office/drawing/2014/main" id="{01E0CFEA-06F3-D8FD-BFCE-DA1DF44331F6}"/>
                  </a:ext>
                </a:extLst>
              </p:cNvPr>
              <p:cNvSpPr/>
              <p:nvPr/>
            </p:nvSpPr>
            <p:spPr>
              <a:xfrm>
                <a:off x="11797565" y="5927725"/>
                <a:ext cx="626208" cy="526529"/>
              </a:xfrm>
              <a:custGeom>
                <a:avLst/>
                <a:gdLst>
                  <a:gd name="connsiteX0" fmla="*/ 34755 w 626208"/>
                  <a:gd name="connsiteY0" fmla="*/ 144839 h 526529"/>
                  <a:gd name="connsiteX1" fmla="*/ 34755 w 626208"/>
                  <a:gd name="connsiteY1" fmla="*/ 144839 h 526529"/>
                  <a:gd name="connsiteX2" fmla="*/ 26883 w 626208"/>
                  <a:gd name="connsiteY2" fmla="*/ 150743 h 526529"/>
                  <a:gd name="connsiteX3" fmla="*/ 120 w 626208"/>
                  <a:gd name="connsiteY3" fmla="*/ 213618 h 526529"/>
                  <a:gd name="connsiteX4" fmla="*/ 5334 w 626208"/>
                  <a:gd name="connsiteY4" fmla="*/ 249139 h 526529"/>
                  <a:gd name="connsiteX5" fmla="*/ 17929 w 626208"/>
                  <a:gd name="connsiteY5" fmla="*/ 259273 h 526529"/>
                  <a:gd name="connsiteX6" fmla="*/ 16650 w 626208"/>
                  <a:gd name="connsiteY6" fmla="*/ 282691 h 526529"/>
                  <a:gd name="connsiteX7" fmla="*/ 12518 w 626208"/>
                  <a:gd name="connsiteY7" fmla="*/ 296074 h 526529"/>
                  <a:gd name="connsiteX8" fmla="*/ 26194 w 626208"/>
                  <a:gd name="connsiteY8" fmla="*/ 319885 h 526529"/>
                  <a:gd name="connsiteX9" fmla="*/ 29540 w 626208"/>
                  <a:gd name="connsiteY9" fmla="*/ 319885 h 526529"/>
                  <a:gd name="connsiteX10" fmla="*/ 38297 w 626208"/>
                  <a:gd name="connsiteY10" fmla="*/ 330610 h 526529"/>
                  <a:gd name="connsiteX11" fmla="*/ 31607 w 626208"/>
                  <a:gd name="connsiteY11" fmla="*/ 340844 h 526529"/>
                  <a:gd name="connsiteX12" fmla="*/ 36625 w 626208"/>
                  <a:gd name="connsiteY12" fmla="*/ 349601 h 526529"/>
                  <a:gd name="connsiteX13" fmla="*/ 61617 w 626208"/>
                  <a:gd name="connsiteY13" fmla="*/ 340844 h 526529"/>
                  <a:gd name="connsiteX14" fmla="*/ 71457 w 626208"/>
                  <a:gd name="connsiteY14" fmla="*/ 359244 h 526529"/>
                  <a:gd name="connsiteX15" fmla="*/ 65947 w 626208"/>
                  <a:gd name="connsiteY15" fmla="*/ 376365 h 526529"/>
                  <a:gd name="connsiteX16" fmla="*/ 64372 w 626208"/>
                  <a:gd name="connsiteY16" fmla="*/ 377841 h 526529"/>
                  <a:gd name="connsiteX17" fmla="*/ 61322 w 626208"/>
                  <a:gd name="connsiteY17" fmla="*/ 385515 h 526529"/>
                  <a:gd name="connsiteX18" fmla="*/ 69194 w 626208"/>
                  <a:gd name="connsiteY18" fmla="*/ 390731 h 526529"/>
                  <a:gd name="connsiteX19" fmla="*/ 75589 w 626208"/>
                  <a:gd name="connsiteY19" fmla="*/ 397323 h 526529"/>
                  <a:gd name="connsiteX20" fmla="*/ 84347 w 626208"/>
                  <a:gd name="connsiteY20" fmla="*/ 447800 h 526529"/>
                  <a:gd name="connsiteX21" fmla="*/ 90250 w 626208"/>
                  <a:gd name="connsiteY21" fmla="*/ 450752 h 526529"/>
                  <a:gd name="connsiteX22" fmla="*/ 105797 w 626208"/>
                  <a:gd name="connsiteY22" fmla="*/ 444258 h 526529"/>
                  <a:gd name="connsiteX23" fmla="*/ 108355 w 626208"/>
                  <a:gd name="connsiteY23" fmla="*/ 450063 h 526529"/>
                  <a:gd name="connsiteX24" fmla="*/ 116620 w 626208"/>
                  <a:gd name="connsiteY24" fmla="*/ 455377 h 526529"/>
                  <a:gd name="connsiteX25" fmla="*/ 130494 w 626208"/>
                  <a:gd name="connsiteY25" fmla="*/ 456558 h 526529"/>
                  <a:gd name="connsiteX26" fmla="*/ 145647 w 626208"/>
                  <a:gd name="connsiteY26" fmla="*/ 450949 h 526529"/>
                  <a:gd name="connsiteX27" fmla="*/ 155093 w 626208"/>
                  <a:gd name="connsiteY27" fmla="*/ 450949 h 526529"/>
                  <a:gd name="connsiteX28" fmla="*/ 159521 w 626208"/>
                  <a:gd name="connsiteY28" fmla="*/ 453704 h 526529"/>
                  <a:gd name="connsiteX29" fmla="*/ 168868 w 626208"/>
                  <a:gd name="connsiteY29" fmla="*/ 452326 h 526529"/>
                  <a:gd name="connsiteX30" fmla="*/ 178216 w 626208"/>
                  <a:gd name="connsiteY30" fmla="*/ 452326 h 526529"/>
                  <a:gd name="connsiteX31" fmla="*/ 182152 w 626208"/>
                  <a:gd name="connsiteY31" fmla="*/ 461083 h 526529"/>
                  <a:gd name="connsiteX32" fmla="*/ 179594 w 626208"/>
                  <a:gd name="connsiteY32" fmla="*/ 485289 h 526529"/>
                  <a:gd name="connsiteX33" fmla="*/ 192681 w 626208"/>
                  <a:gd name="connsiteY33" fmla="*/ 487159 h 526529"/>
                  <a:gd name="connsiteX34" fmla="*/ 212064 w 626208"/>
                  <a:gd name="connsiteY34" fmla="*/ 476827 h 526529"/>
                  <a:gd name="connsiteX35" fmla="*/ 232334 w 626208"/>
                  <a:gd name="connsiteY35" fmla="*/ 480664 h 526529"/>
                  <a:gd name="connsiteX36" fmla="*/ 249357 w 626208"/>
                  <a:gd name="connsiteY36" fmla="*/ 463839 h 526529"/>
                  <a:gd name="connsiteX37" fmla="*/ 265100 w 626208"/>
                  <a:gd name="connsiteY37" fmla="*/ 460887 h 526529"/>
                  <a:gd name="connsiteX38" fmla="*/ 281926 w 626208"/>
                  <a:gd name="connsiteY38" fmla="*/ 469053 h 526529"/>
                  <a:gd name="connsiteX39" fmla="*/ 283008 w 626208"/>
                  <a:gd name="connsiteY39" fmla="*/ 467774 h 526529"/>
                  <a:gd name="connsiteX40" fmla="*/ 293537 w 626208"/>
                  <a:gd name="connsiteY40" fmla="*/ 474859 h 526529"/>
                  <a:gd name="connsiteX41" fmla="*/ 295898 w 626208"/>
                  <a:gd name="connsiteY41" fmla="*/ 484993 h 526529"/>
                  <a:gd name="connsiteX42" fmla="*/ 309870 w 626208"/>
                  <a:gd name="connsiteY42" fmla="*/ 481943 h 526529"/>
                  <a:gd name="connsiteX43" fmla="*/ 322858 w 626208"/>
                  <a:gd name="connsiteY43" fmla="*/ 477811 h 526529"/>
                  <a:gd name="connsiteX44" fmla="*/ 353755 w 626208"/>
                  <a:gd name="connsiteY44" fmla="*/ 496408 h 526529"/>
                  <a:gd name="connsiteX45" fmla="*/ 355624 w 626208"/>
                  <a:gd name="connsiteY45" fmla="*/ 522778 h 526529"/>
                  <a:gd name="connsiteX46" fmla="*/ 361135 w 626208"/>
                  <a:gd name="connsiteY46" fmla="*/ 526123 h 526529"/>
                  <a:gd name="connsiteX47" fmla="*/ 444574 w 626208"/>
                  <a:gd name="connsiteY47" fmla="*/ 473973 h 526529"/>
                  <a:gd name="connsiteX48" fmla="*/ 463368 w 626208"/>
                  <a:gd name="connsiteY48" fmla="*/ 442191 h 526529"/>
                  <a:gd name="connsiteX49" fmla="*/ 466418 w 626208"/>
                  <a:gd name="connsiteY49" fmla="*/ 425267 h 526529"/>
                  <a:gd name="connsiteX50" fmla="*/ 475077 w 626208"/>
                  <a:gd name="connsiteY50" fmla="*/ 405982 h 526529"/>
                  <a:gd name="connsiteX51" fmla="*/ 462679 w 626208"/>
                  <a:gd name="connsiteY51" fmla="*/ 382170 h 526529"/>
                  <a:gd name="connsiteX52" fmla="*/ 459629 w 626208"/>
                  <a:gd name="connsiteY52" fmla="*/ 380399 h 526529"/>
                  <a:gd name="connsiteX53" fmla="*/ 459825 w 626208"/>
                  <a:gd name="connsiteY53" fmla="*/ 375184 h 526529"/>
                  <a:gd name="connsiteX54" fmla="*/ 474093 w 626208"/>
                  <a:gd name="connsiteY54" fmla="*/ 362589 h 526529"/>
                  <a:gd name="connsiteX55" fmla="*/ 474093 w 626208"/>
                  <a:gd name="connsiteY55" fmla="*/ 362294 h 526529"/>
                  <a:gd name="connsiteX56" fmla="*/ 500561 w 626208"/>
                  <a:gd name="connsiteY56" fmla="*/ 344976 h 526529"/>
                  <a:gd name="connsiteX57" fmla="*/ 524669 w 626208"/>
                  <a:gd name="connsiteY57" fmla="*/ 320771 h 526529"/>
                  <a:gd name="connsiteX58" fmla="*/ 539231 w 626208"/>
                  <a:gd name="connsiteY58" fmla="*/ 312014 h 526529"/>
                  <a:gd name="connsiteX59" fmla="*/ 536378 w 626208"/>
                  <a:gd name="connsiteY59" fmla="*/ 292925 h 526529"/>
                  <a:gd name="connsiteX60" fmla="*/ 528900 w 626208"/>
                  <a:gd name="connsiteY60" fmla="*/ 280330 h 526529"/>
                  <a:gd name="connsiteX61" fmla="*/ 531556 w 626208"/>
                  <a:gd name="connsiteY61" fmla="*/ 273442 h 526529"/>
                  <a:gd name="connsiteX62" fmla="*/ 537067 w 626208"/>
                  <a:gd name="connsiteY62" fmla="*/ 243137 h 526529"/>
                  <a:gd name="connsiteX63" fmla="*/ 567077 w 626208"/>
                  <a:gd name="connsiteY63" fmla="*/ 214011 h 526529"/>
                  <a:gd name="connsiteX64" fmla="*/ 621392 w 626208"/>
                  <a:gd name="connsiteY64" fmla="*/ 214995 h 526529"/>
                  <a:gd name="connsiteX65" fmla="*/ 623163 w 626208"/>
                  <a:gd name="connsiteY65" fmla="*/ 204860 h 526529"/>
                  <a:gd name="connsiteX66" fmla="*/ 611060 w 626208"/>
                  <a:gd name="connsiteY66" fmla="*/ 197973 h 526529"/>
                  <a:gd name="connsiteX67" fmla="*/ 602893 w 626208"/>
                  <a:gd name="connsiteY67" fmla="*/ 186657 h 526529"/>
                  <a:gd name="connsiteX68" fmla="*/ 556942 w 626208"/>
                  <a:gd name="connsiteY68" fmla="*/ 153891 h 526529"/>
                  <a:gd name="connsiteX69" fmla="*/ 566093 w 626208"/>
                  <a:gd name="connsiteY69" fmla="*/ 121716 h 526529"/>
                  <a:gd name="connsiteX70" fmla="*/ 548382 w 626208"/>
                  <a:gd name="connsiteY70" fmla="*/ 97018 h 526529"/>
                  <a:gd name="connsiteX71" fmla="*/ 535689 w 626208"/>
                  <a:gd name="connsiteY71" fmla="*/ 78028 h 526529"/>
                  <a:gd name="connsiteX72" fmla="*/ 523980 w 626208"/>
                  <a:gd name="connsiteY72" fmla="*/ 73895 h 526529"/>
                  <a:gd name="connsiteX73" fmla="*/ 523685 w 626208"/>
                  <a:gd name="connsiteY73" fmla="*/ 73600 h 526529"/>
                  <a:gd name="connsiteX74" fmla="*/ 542085 w 626208"/>
                  <a:gd name="connsiteY74" fmla="*/ 59038 h 526529"/>
                  <a:gd name="connsiteX75" fmla="*/ 543856 w 626208"/>
                  <a:gd name="connsiteY75" fmla="*/ 46738 h 526529"/>
                  <a:gd name="connsiteX76" fmla="*/ 547890 w 626208"/>
                  <a:gd name="connsiteY76" fmla="*/ 30011 h 526529"/>
                  <a:gd name="connsiteX77" fmla="*/ 534311 w 626208"/>
                  <a:gd name="connsiteY77" fmla="*/ 18203 h 526529"/>
                  <a:gd name="connsiteX78" fmla="*/ 512172 w 626208"/>
                  <a:gd name="connsiteY78" fmla="*/ 1574 h 526529"/>
                  <a:gd name="connsiteX79" fmla="*/ 435719 w 626208"/>
                  <a:gd name="connsiteY79" fmla="*/ 0 h 526529"/>
                  <a:gd name="connsiteX80" fmla="*/ 417417 w 626208"/>
                  <a:gd name="connsiteY80" fmla="*/ 24009 h 526529"/>
                  <a:gd name="connsiteX81" fmla="*/ 412301 w 626208"/>
                  <a:gd name="connsiteY81" fmla="*/ 76749 h 526529"/>
                  <a:gd name="connsiteX82" fmla="*/ 392031 w 626208"/>
                  <a:gd name="connsiteY82" fmla="*/ 80881 h 526529"/>
                  <a:gd name="connsiteX83" fmla="*/ 385733 w 626208"/>
                  <a:gd name="connsiteY83" fmla="*/ 109023 h 526529"/>
                  <a:gd name="connsiteX84" fmla="*/ 395475 w 626208"/>
                  <a:gd name="connsiteY84" fmla="*/ 119551 h 526529"/>
                  <a:gd name="connsiteX85" fmla="*/ 365759 w 626208"/>
                  <a:gd name="connsiteY85" fmla="*/ 139231 h 526529"/>
                  <a:gd name="connsiteX86" fmla="*/ 356805 w 626208"/>
                  <a:gd name="connsiteY86" fmla="*/ 181344 h 526529"/>
                  <a:gd name="connsiteX87" fmla="*/ 312822 w 626208"/>
                  <a:gd name="connsiteY87" fmla="*/ 179081 h 526529"/>
                  <a:gd name="connsiteX88" fmla="*/ 295012 w 626208"/>
                  <a:gd name="connsiteY88" fmla="*/ 195119 h 526529"/>
                  <a:gd name="connsiteX89" fmla="*/ 254572 w 626208"/>
                  <a:gd name="connsiteY89" fmla="*/ 172488 h 526529"/>
                  <a:gd name="connsiteX90" fmla="*/ 209998 w 626208"/>
                  <a:gd name="connsiteY90" fmla="*/ 178589 h 526529"/>
                  <a:gd name="connsiteX91" fmla="*/ 196124 w 626208"/>
                  <a:gd name="connsiteY91" fmla="*/ 207025 h 526529"/>
                  <a:gd name="connsiteX92" fmla="*/ 139645 w 626208"/>
                  <a:gd name="connsiteY92" fmla="*/ 202794 h 526529"/>
                  <a:gd name="connsiteX93" fmla="*/ 90152 w 626208"/>
                  <a:gd name="connsiteY93" fmla="*/ 221194 h 526529"/>
                  <a:gd name="connsiteX94" fmla="*/ 37018 w 626208"/>
                  <a:gd name="connsiteY94" fmla="*/ 171701 h 526529"/>
                  <a:gd name="connsiteX95" fmla="*/ 37018 w 626208"/>
                  <a:gd name="connsiteY95" fmla="*/ 144741 h 526529"/>
                  <a:gd name="connsiteX96" fmla="*/ 34657 w 626208"/>
                  <a:gd name="connsiteY96" fmla="*/ 145036 h 526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626208" h="526529">
                    <a:moveTo>
                      <a:pt x="34755" y="144839"/>
                    </a:moveTo>
                    <a:lnTo>
                      <a:pt x="34755" y="144839"/>
                    </a:lnTo>
                    <a:cubicBezTo>
                      <a:pt x="31705" y="145331"/>
                      <a:pt x="28162" y="147987"/>
                      <a:pt x="26883" y="150743"/>
                    </a:cubicBezTo>
                    <a:cubicBezTo>
                      <a:pt x="1792" y="204663"/>
                      <a:pt x="120" y="205746"/>
                      <a:pt x="120" y="213618"/>
                    </a:cubicBezTo>
                    <a:cubicBezTo>
                      <a:pt x="120" y="242546"/>
                      <a:pt x="-1258" y="246580"/>
                      <a:pt x="5334" y="249139"/>
                    </a:cubicBezTo>
                    <a:cubicBezTo>
                      <a:pt x="7598" y="250418"/>
                      <a:pt x="17142" y="251500"/>
                      <a:pt x="17929" y="259273"/>
                    </a:cubicBezTo>
                    <a:cubicBezTo>
                      <a:pt x="19012" y="269211"/>
                      <a:pt x="21078" y="276788"/>
                      <a:pt x="16650" y="282691"/>
                    </a:cubicBezTo>
                    <a:cubicBezTo>
                      <a:pt x="16060" y="283971"/>
                      <a:pt x="10156" y="289186"/>
                      <a:pt x="12518" y="296074"/>
                    </a:cubicBezTo>
                    <a:cubicBezTo>
                      <a:pt x="17536" y="307290"/>
                      <a:pt x="17241" y="319984"/>
                      <a:pt x="26194" y="319885"/>
                    </a:cubicBezTo>
                    <a:lnTo>
                      <a:pt x="29540" y="319885"/>
                    </a:lnTo>
                    <a:cubicBezTo>
                      <a:pt x="36821" y="319688"/>
                      <a:pt x="44398" y="326478"/>
                      <a:pt x="38297" y="330610"/>
                    </a:cubicBezTo>
                    <a:cubicBezTo>
                      <a:pt x="37313" y="331595"/>
                      <a:pt x="31410" y="333857"/>
                      <a:pt x="31607" y="340844"/>
                    </a:cubicBezTo>
                    <a:cubicBezTo>
                      <a:pt x="31901" y="342319"/>
                      <a:pt x="30229" y="353537"/>
                      <a:pt x="36625" y="349601"/>
                    </a:cubicBezTo>
                    <a:cubicBezTo>
                      <a:pt x="47251" y="344484"/>
                      <a:pt x="56009" y="333857"/>
                      <a:pt x="61617" y="340844"/>
                    </a:cubicBezTo>
                    <a:cubicBezTo>
                      <a:pt x="64766" y="345567"/>
                      <a:pt x="72342" y="351077"/>
                      <a:pt x="71457" y="359244"/>
                    </a:cubicBezTo>
                    <a:cubicBezTo>
                      <a:pt x="70768" y="362393"/>
                      <a:pt x="71752" y="370953"/>
                      <a:pt x="65947" y="376365"/>
                    </a:cubicBezTo>
                    <a:lnTo>
                      <a:pt x="64372" y="377841"/>
                    </a:lnTo>
                    <a:cubicBezTo>
                      <a:pt x="62109" y="379907"/>
                      <a:pt x="60731" y="383351"/>
                      <a:pt x="61322" y="385515"/>
                    </a:cubicBezTo>
                    <a:cubicBezTo>
                      <a:pt x="62405" y="389746"/>
                      <a:pt x="70178" y="391222"/>
                      <a:pt x="69194" y="390731"/>
                    </a:cubicBezTo>
                    <a:cubicBezTo>
                      <a:pt x="72244" y="391321"/>
                      <a:pt x="75097" y="394273"/>
                      <a:pt x="75589" y="397323"/>
                    </a:cubicBezTo>
                    <a:lnTo>
                      <a:pt x="84347" y="447800"/>
                    </a:lnTo>
                    <a:cubicBezTo>
                      <a:pt x="84838" y="450850"/>
                      <a:pt x="87594" y="452130"/>
                      <a:pt x="90250" y="450752"/>
                    </a:cubicBezTo>
                    <a:cubicBezTo>
                      <a:pt x="90250" y="450752"/>
                      <a:pt x="105797" y="442979"/>
                      <a:pt x="105797" y="444258"/>
                    </a:cubicBezTo>
                    <a:cubicBezTo>
                      <a:pt x="105797" y="445537"/>
                      <a:pt x="108355" y="450063"/>
                      <a:pt x="108355" y="450063"/>
                    </a:cubicBezTo>
                    <a:cubicBezTo>
                      <a:pt x="109831" y="452720"/>
                      <a:pt x="113570" y="455081"/>
                      <a:pt x="116620" y="455377"/>
                    </a:cubicBezTo>
                    <a:lnTo>
                      <a:pt x="130494" y="456558"/>
                    </a:lnTo>
                    <a:cubicBezTo>
                      <a:pt x="137874" y="457148"/>
                      <a:pt x="146631" y="450457"/>
                      <a:pt x="145647" y="450949"/>
                    </a:cubicBezTo>
                    <a:cubicBezTo>
                      <a:pt x="148206" y="449276"/>
                      <a:pt x="152535" y="449276"/>
                      <a:pt x="155093" y="450949"/>
                    </a:cubicBezTo>
                    <a:lnTo>
                      <a:pt x="159521" y="453704"/>
                    </a:lnTo>
                    <a:cubicBezTo>
                      <a:pt x="164441" y="456754"/>
                      <a:pt x="169853" y="451834"/>
                      <a:pt x="168868" y="452326"/>
                    </a:cubicBezTo>
                    <a:cubicBezTo>
                      <a:pt x="173198" y="448193"/>
                      <a:pt x="179200" y="452523"/>
                      <a:pt x="178216" y="452326"/>
                    </a:cubicBezTo>
                    <a:cubicBezTo>
                      <a:pt x="180676" y="454098"/>
                      <a:pt x="182546" y="458033"/>
                      <a:pt x="182152" y="461083"/>
                    </a:cubicBezTo>
                    <a:lnTo>
                      <a:pt x="179594" y="485289"/>
                    </a:lnTo>
                    <a:cubicBezTo>
                      <a:pt x="178807" y="492669"/>
                      <a:pt x="187269" y="491881"/>
                      <a:pt x="192681" y="487159"/>
                    </a:cubicBezTo>
                    <a:cubicBezTo>
                      <a:pt x="198387" y="483222"/>
                      <a:pt x="204193" y="473383"/>
                      <a:pt x="212064" y="476827"/>
                    </a:cubicBezTo>
                    <a:cubicBezTo>
                      <a:pt x="217870" y="478697"/>
                      <a:pt x="225446" y="485387"/>
                      <a:pt x="232334" y="480664"/>
                    </a:cubicBezTo>
                    <a:cubicBezTo>
                      <a:pt x="242469" y="473777"/>
                      <a:pt x="250832" y="469841"/>
                      <a:pt x="249357" y="463839"/>
                    </a:cubicBezTo>
                    <a:cubicBezTo>
                      <a:pt x="247782" y="457837"/>
                      <a:pt x="259688" y="455672"/>
                      <a:pt x="265100" y="460887"/>
                    </a:cubicBezTo>
                    <a:cubicBezTo>
                      <a:pt x="269921" y="464232"/>
                      <a:pt x="276317" y="475351"/>
                      <a:pt x="281926" y="469053"/>
                    </a:cubicBezTo>
                    <a:lnTo>
                      <a:pt x="283008" y="467774"/>
                    </a:lnTo>
                    <a:cubicBezTo>
                      <a:pt x="287928" y="462264"/>
                      <a:pt x="295799" y="467971"/>
                      <a:pt x="293537" y="474859"/>
                    </a:cubicBezTo>
                    <a:cubicBezTo>
                      <a:pt x="293537" y="475843"/>
                      <a:pt x="288617" y="484600"/>
                      <a:pt x="295898" y="484993"/>
                    </a:cubicBezTo>
                    <a:cubicBezTo>
                      <a:pt x="297079" y="484896"/>
                      <a:pt x="304261" y="486470"/>
                      <a:pt x="309870" y="481943"/>
                    </a:cubicBezTo>
                    <a:cubicBezTo>
                      <a:pt x="311051" y="481254"/>
                      <a:pt x="316167" y="474859"/>
                      <a:pt x="322858" y="477811"/>
                    </a:cubicBezTo>
                    <a:cubicBezTo>
                      <a:pt x="348343" y="488733"/>
                      <a:pt x="353263" y="489323"/>
                      <a:pt x="353755" y="496408"/>
                    </a:cubicBezTo>
                    <a:lnTo>
                      <a:pt x="355624" y="522778"/>
                    </a:lnTo>
                    <a:cubicBezTo>
                      <a:pt x="355821" y="525828"/>
                      <a:pt x="358281" y="527304"/>
                      <a:pt x="361135" y="526123"/>
                    </a:cubicBezTo>
                    <a:cubicBezTo>
                      <a:pt x="466910" y="480271"/>
                      <a:pt x="425682" y="500343"/>
                      <a:pt x="444574" y="473973"/>
                    </a:cubicBezTo>
                    <a:cubicBezTo>
                      <a:pt x="460121" y="452228"/>
                      <a:pt x="463466" y="449473"/>
                      <a:pt x="463368" y="442191"/>
                    </a:cubicBezTo>
                    <a:cubicBezTo>
                      <a:pt x="463564" y="439830"/>
                      <a:pt x="461793" y="431466"/>
                      <a:pt x="466418" y="425267"/>
                    </a:cubicBezTo>
                    <a:cubicBezTo>
                      <a:pt x="469665" y="419855"/>
                      <a:pt x="477930" y="413952"/>
                      <a:pt x="475077" y="405982"/>
                    </a:cubicBezTo>
                    <a:cubicBezTo>
                      <a:pt x="470354" y="392895"/>
                      <a:pt x="469075" y="385909"/>
                      <a:pt x="462679" y="382170"/>
                    </a:cubicBezTo>
                    <a:lnTo>
                      <a:pt x="459629" y="380399"/>
                    </a:lnTo>
                    <a:cubicBezTo>
                      <a:pt x="456972" y="378824"/>
                      <a:pt x="457071" y="376463"/>
                      <a:pt x="459825" y="375184"/>
                    </a:cubicBezTo>
                    <a:cubicBezTo>
                      <a:pt x="464056" y="372331"/>
                      <a:pt x="474093" y="370854"/>
                      <a:pt x="474093" y="362589"/>
                    </a:cubicBezTo>
                    <a:lnTo>
                      <a:pt x="474093" y="362294"/>
                    </a:lnTo>
                    <a:cubicBezTo>
                      <a:pt x="474093" y="351569"/>
                      <a:pt x="492198" y="355308"/>
                      <a:pt x="500561" y="344976"/>
                    </a:cubicBezTo>
                    <a:cubicBezTo>
                      <a:pt x="514533" y="327855"/>
                      <a:pt x="517289" y="322444"/>
                      <a:pt x="524669" y="320771"/>
                    </a:cubicBezTo>
                    <a:cubicBezTo>
                      <a:pt x="528014" y="319394"/>
                      <a:pt x="538444" y="319787"/>
                      <a:pt x="539231" y="312014"/>
                    </a:cubicBezTo>
                    <a:cubicBezTo>
                      <a:pt x="539132" y="306996"/>
                      <a:pt x="542872" y="298041"/>
                      <a:pt x="536378" y="292925"/>
                    </a:cubicBezTo>
                    <a:cubicBezTo>
                      <a:pt x="535098" y="291449"/>
                      <a:pt x="526145" y="287513"/>
                      <a:pt x="528900" y="280330"/>
                    </a:cubicBezTo>
                    <a:lnTo>
                      <a:pt x="531556" y="273442"/>
                    </a:lnTo>
                    <a:cubicBezTo>
                      <a:pt x="536082" y="261537"/>
                      <a:pt x="530474" y="251107"/>
                      <a:pt x="537067" y="243137"/>
                    </a:cubicBezTo>
                    <a:cubicBezTo>
                      <a:pt x="557631" y="218242"/>
                      <a:pt x="559796" y="213224"/>
                      <a:pt x="567077" y="214011"/>
                    </a:cubicBezTo>
                    <a:cubicBezTo>
                      <a:pt x="613126" y="218833"/>
                      <a:pt x="616767" y="220801"/>
                      <a:pt x="621392" y="214995"/>
                    </a:cubicBezTo>
                    <a:cubicBezTo>
                      <a:pt x="622081" y="213618"/>
                      <a:pt x="630641" y="206140"/>
                      <a:pt x="623163" y="204860"/>
                    </a:cubicBezTo>
                    <a:cubicBezTo>
                      <a:pt x="621884" y="204369"/>
                      <a:pt x="614012" y="204565"/>
                      <a:pt x="611060" y="197973"/>
                    </a:cubicBezTo>
                    <a:cubicBezTo>
                      <a:pt x="610372" y="196890"/>
                      <a:pt x="608797" y="190790"/>
                      <a:pt x="602893" y="186657"/>
                    </a:cubicBezTo>
                    <a:lnTo>
                      <a:pt x="556942" y="153891"/>
                    </a:lnTo>
                    <a:cubicBezTo>
                      <a:pt x="546512" y="146413"/>
                      <a:pt x="574260" y="131851"/>
                      <a:pt x="566093" y="121716"/>
                    </a:cubicBezTo>
                    <a:cubicBezTo>
                      <a:pt x="558123" y="111876"/>
                      <a:pt x="551137" y="104398"/>
                      <a:pt x="548382" y="97018"/>
                    </a:cubicBezTo>
                    <a:cubicBezTo>
                      <a:pt x="544840" y="89934"/>
                      <a:pt x="544446" y="78028"/>
                      <a:pt x="535689" y="78028"/>
                    </a:cubicBezTo>
                    <a:cubicBezTo>
                      <a:pt x="534705" y="77831"/>
                      <a:pt x="528605" y="78914"/>
                      <a:pt x="523980" y="73895"/>
                    </a:cubicBezTo>
                    <a:lnTo>
                      <a:pt x="523685" y="73600"/>
                    </a:lnTo>
                    <a:cubicBezTo>
                      <a:pt x="515419" y="64449"/>
                      <a:pt x="543856" y="70747"/>
                      <a:pt x="542085" y="59038"/>
                    </a:cubicBezTo>
                    <a:cubicBezTo>
                      <a:pt x="542085" y="58054"/>
                      <a:pt x="540313" y="52347"/>
                      <a:pt x="543856" y="46738"/>
                    </a:cubicBezTo>
                    <a:cubicBezTo>
                      <a:pt x="545528" y="42900"/>
                      <a:pt x="554482" y="35029"/>
                      <a:pt x="547890" y="30011"/>
                    </a:cubicBezTo>
                    <a:cubicBezTo>
                      <a:pt x="537263" y="21844"/>
                      <a:pt x="533819" y="18990"/>
                      <a:pt x="534311" y="18203"/>
                    </a:cubicBezTo>
                    <a:lnTo>
                      <a:pt x="512172" y="1574"/>
                    </a:lnTo>
                    <a:lnTo>
                      <a:pt x="435719" y="0"/>
                    </a:lnTo>
                    <a:lnTo>
                      <a:pt x="417417" y="24009"/>
                    </a:lnTo>
                    <a:lnTo>
                      <a:pt x="412301" y="76749"/>
                    </a:lnTo>
                    <a:lnTo>
                      <a:pt x="392031" y="80881"/>
                    </a:lnTo>
                    <a:lnTo>
                      <a:pt x="385733" y="109023"/>
                    </a:lnTo>
                    <a:lnTo>
                      <a:pt x="395475" y="119551"/>
                    </a:lnTo>
                    <a:lnTo>
                      <a:pt x="365759" y="139231"/>
                    </a:lnTo>
                    <a:lnTo>
                      <a:pt x="356805" y="181344"/>
                    </a:lnTo>
                    <a:lnTo>
                      <a:pt x="312822" y="179081"/>
                    </a:lnTo>
                    <a:lnTo>
                      <a:pt x="295012" y="195119"/>
                    </a:lnTo>
                    <a:lnTo>
                      <a:pt x="254572" y="172488"/>
                    </a:lnTo>
                    <a:lnTo>
                      <a:pt x="209998" y="178589"/>
                    </a:lnTo>
                    <a:lnTo>
                      <a:pt x="196124" y="207025"/>
                    </a:lnTo>
                    <a:lnTo>
                      <a:pt x="139645" y="202794"/>
                    </a:lnTo>
                    <a:lnTo>
                      <a:pt x="90152" y="221194"/>
                    </a:lnTo>
                    <a:lnTo>
                      <a:pt x="37018" y="171701"/>
                    </a:lnTo>
                    <a:lnTo>
                      <a:pt x="37018" y="144741"/>
                    </a:lnTo>
                    <a:cubicBezTo>
                      <a:pt x="35936" y="144741"/>
                      <a:pt x="34952" y="144937"/>
                      <a:pt x="34657" y="145036"/>
                    </a:cubicBezTo>
                    <a:close/>
                  </a:path>
                </a:pathLst>
              </a:custGeom>
              <a:grpFill/>
              <a:ln w="9835" cap="flat">
                <a:noFill/>
                <a:prstDash val="solid"/>
                <a:miter/>
              </a:ln>
            </p:spPr>
            <p:txBody>
              <a:bodyPr rtlCol="0" anchor="ctr"/>
              <a:lstStyle/>
              <a:p>
                <a:endParaRPr lang="en-IN"/>
              </a:p>
            </p:txBody>
          </p:sp>
          <p:sp>
            <p:nvSpPr>
              <p:cNvPr id="646" name="Freeform: Shape 645">
                <a:extLst>
                  <a:ext uri="{FF2B5EF4-FFF2-40B4-BE49-F238E27FC236}">
                    <a16:creationId xmlns:a16="http://schemas.microsoft.com/office/drawing/2014/main" id="{6297CE32-254B-B298-8F6C-0B18EE3263B7}"/>
                  </a:ext>
                </a:extLst>
              </p:cNvPr>
              <p:cNvSpPr/>
              <p:nvPr/>
            </p:nvSpPr>
            <p:spPr>
              <a:xfrm>
                <a:off x="12693899" y="6754644"/>
                <a:ext cx="110080" cy="87106"/>
              </a:xfrm>
              <a:custGeom>
                <a:avLst/>
                <a:gdLst>
                  <a:gd name="connsiteX0" fmla="*/ 109884 w 110080"/>
                  <a:gd name="connsiteY0" fmla="*/ 9053 h 87106"/>
                  <a:gd name="connsiteX1" fmla="*/ 96108 w 110080"/>
                  <a:gd name="connsiteY1" fmla="*/ 0 h 87106"/>
                  <a:gd name="connsiteX2" fmla="*/ 81054 w 110080"/>
                  <a:gd name="connsiteY2" fmla="*/ 10135 h 87106"/>
                  <a:gd name="connsiteX3" fmla="*/ 65900 w 110080"/>
                  <a:gd name="connsiteY3" fmla="*/ 9545 h 87106"/>
                  <a:gd name="connsiteX4" fmla="*/ 28314 w 110080"/>
                  <a:gd name="connsiteY4" fmla="*/ 32963 h 87106"/>
                  <a:gd name="connsiteX5" fmla="*/ 17981 w 110080"/>
                  <a:gd name="connsiteY5" fmla="*/ 54020 h 87106"/>
                  <a:gd name="connsiteX6" fmla="*/ 21721 w 110080"/>
                  <a:gd name="connsiteY6" fmla="*/ 60711 h 87106"/>
                  <a:gd name="connsiteX7" fmla="*/ 23295 w 110080"/>
                  <a:gd name="connsiteY7" fmla="*/ 61104 h 87106"/>
                  <a:gd name="connsiteX8" fmla="*/ 27920 w 110080"/>
                  <a:gd name="connsiteY8" fmla="*/ 68090 h 87106"/>
                  <a:gd name="connsiteX9" fmla="*/ 27723 w 110080"/>
                  <a:gd name="connsiteY9" fmla="*/ 69468 h 87106"/>
                  <a:gd name="connsiteX10" fmla="*/ 21426 w 110080"/>
                  <a:gd name="connsiteY10" fmla="*/ 74584 h 87106"/>
                  <a:gd name="connsiteX11" fmla="*/ 10996 w 110080"/>
                  <a:gd name="connsiteY11" fmla="*/ 73797 h 87106"/>
                  <a:gd name="connsiteX12" fmla="*/ 762 w 110080"/>
                  <a:gd name="connsiteY12" fmla="*/ 80586 h 87106"/>
                  <a:gd name="connsiteX13" fmla="*/ 3321 w 110080"/>
                  <a:gd name="connsiteY13" fmla="*/ 85605 h 87106"/>
                  <a:gd name="connsiteX14" fmla="*/ 26936 w 110080"/>
                  <a:gd name="connsiteY14" fmla="*/ 87081 h 87106"/>
                  <a:gd name="connsiteX15" fmla="*/ 42286 w 110080"/>
                  <a:gd name="connsiteY15" fmla="*/ 79504 h 87106"/>
                  <a:gd name="connsiteX16" fmla="*/ 66491 w 110080"/>
                  <a:gd name="connsiteY16" fmla="*/ 72223 h 87106"/>
                  <a:gd name="connsiteX17" fmla="*/ 104767 w 110080"/>
                  <a:gd name="connsiteY17" fmla="*/ 30602 h 87106"/>
                  <a:gd name="connsiteX18" fmla="*/ 108604 w 110080"/>
                  <a:gd name="connsiteY18" fmla="*/ 27748 h 87106"/>
                  <a:gd name="connsiteX19" fmla="*/ 108604 w 110080"/>
                  <a:gd name="connsiteY19" fmla="*/ 27748 h 87106"/>
                  <a:gd name="connsiteX20" fmla="*/ 110081 w 110080"/>
                  <a:gd name="connsiteY20" fmla="*/ 8954 h 8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080" h="87106">
                    <a:moveTo>
                      <a:pt x="109884" y="9053"/>
                    </a:moveTo>
                    <a:lnTo>
                      <a:pt x="96108" y="0"/>
                    </a:lnTo>
                    <a:cubicBezTo>
                      <a:pt x="91188" y="5707"/>
                      <a:pt x="86170" y="10135"/>
                      <a:pt x="81054" y="10135"/>
                    </a:cubicBezTo>
                    <a:cubicBezTo>
                      <a:pt x="81054" y="10135"/>
                      <a:pt x="68065" y="10135"/>
                      <a:pt x="65900" y="9545"/>
                    </a:cubicBezTo>
                    <a:cubicBezTo>
                      <a:pt x="63736" y="8954"/>
                      <a:pt x="28314" y="32963"/>
                      <a:pt x="28314" y="32963"/>
                    </a:cubicBezTo>
                    <a:cubicBezTo>
                      <a:pt x="22803" y="36702"/>
                      <a:pt x="21819" y="41818"/>
                      <a:pt x="17981" y="54020"/>
                    </a:cubicBezTo>
                    <a:cubicBezTo>
                      <a:pt x="17096" y="56972"/>
                      <a:pt x="18670" y="60022"/>
                      <a:pt x="21721" y="60711"/>
                    </a:cubicBezTo>
                    <a:lnTo>
                      <a:pt x="23295" y="61104"/>
                    </a:lnTo>
                    <a:cubicBezTo>
                      <a:pt x="26247" y="61891"/>
                      <a:pt x="28314" y="65040"/>
                      <a:pt x="27920" y="68090"/>
                    </a:cubicBezTo>
                    <a:lnTo>
                      <a:pt x="27723" y="69468"/>
                    </a:lnTo>
                    <a:cubicBezTo>
                      <a:pt x="27329" y="72518"/>
                      <a:pt x="24476" y="74781"/>
                      <a:pt x="21426" y="74584"/>
                    </a:cubicBezTo>
                    <a:lnTo>
                      <a:pt x="10996" y="73797"/>
                    </a:lnTo>
                    <a:cubicBezTo>
                      <a:pt x="3911" y="73305"/>
                      <a:pt x="1747" y="79603"/>
                      <a:pt x="762" y="80586"/>
                    </a:cubicBezTo>
                    <a:cubicBezTo>
                      <a:pt x="-910" y="83145"/>
                      <a:pt x="270" y="85408"/>
                      <a:pt x="3321" y="85605"/>
                    </a:cubicBezTo>
                    <a:lnTo>
                      <a:pt x="26936" y="87081"/>
                    </a:lnTo>
                    <a:cubicBezTo>
                      <a:pt x="34610" y="87573"/>
                      <a:pt x="40121" y="80980"/>
                      <a:pt x="42286" y="79504"/>
                    </a:cubicBezTo>
                    <a:cubicBezTo>
                      <a:pt x="48189" y="74781"/>
                      <a:pt x="55864" y="74289"/>
                      <a:pt x="66491" y="72223"/>
                    </a:cubicBezTo>
                    <a:cubicBezTo>
                      <a:pt x="73772" y="70845"/>
                      <a:pt x="74166" y="68484"/>
                      <a:pt x="104767" y="30602"/>
                    </a:cubicBezTo>
                    <a:cubicBezTo>
                      <a:pt x="105456" y="29716"/>
                      <a:pt x="106932" y="28732"/>
                      <a:pt x="108604" y="27748"/>
                    </a:cubicBezTo>
                    <a:lnTo>
                      <a:pt x="108604" y="27748"/>
                    </a:lnTo>
                    <a:cubicBezTo>
                      <a:pt x="108604" y="27748"/>
                      <a:pt x="110081" y="8954"/>
                      <a:pt x="110081" y="8954"/>
                    </a:cubicBezTo>
                    <a:close/>
                  </a:path>
                </a:pathLst>
              </a:custGeom>
              <a:grpFill/>
              <a:ln w="9835" cap="flat">
                <a:noFill/>
                <a:prstDash val="solid"/>
                <a:miter/>
              </a:ln>
            </p:spPr>
            <p:txBody>
              <a:bodyPr rtlCol="0" anchor="ctr"/>
              <a:lstStyle/>
              <a:p>
                <a:endParaRPr lang="en-IN"/>
              </a:p>
            </p:txBody>
          </p:sp>
        </p:grpSp>
        <p:grpSp>
          <p:nvGrpSpPr>
            <p:cNvPr id="499" name="Graphic 470">
              <a:extLst>
                <a:ext uri="{FF2B5EF4-FFF2-40B4-BE49-F238E27FC236}">
                  <a16:creationId xmlns:a16="http://schemas.microsoft.com/office/drawing/2014/main" id="{812B6084-8D34-E43D-0668-46DEC8517D72}"/>
                </a:ext>
              </a:extLst>
            </p:cNvPr>
            <p:cNvGrpSpPr/>
            <p:nvPr/>
          </p:nvGrpSpPr>
          <p:grpSpPr>
            <a:xfrm>
              <a:off x="9519038" y="5351304"/>
              <a:ext cx="1348410" cy="424065"/>
              <a:chOff x="9519038" y="5351304"/>
              <a:chExt cx="1348410" cy="424065"/>
            </a:xfrm>
            <a:grpFill/>
          </p:grpSpPr>
          <p:sp>
            <p:nvSpPr>
              <p:cNvPr id="531" name="Freeform: Shape 530">
                <a:extLst>
                  <a:ext uri="{FF2B5EF4-FFF2-40B4-BE49-F238E27FC236}">
                    <a16:creationId xmlns:a16="http://schemas.microsoft.com/office/drawing/2014/main" id="{8794277E-BB62-A0FC-E2B4-797C189A068A}"/>
                  </a:ext>
                </a:extLst>
              </p:cNvPr>
              <p:cNvSpPr/>
              <p:nvPr/>
            </p:nvSpPr>
            <p:spPr>
              <a:xfrm>
                <a:off x="10780052" y="5351304"/>
                <a:ext cx="36335" cy="145963"/>
              </a:xfrm>
              <a:custGeom>
                <a:avLst/>
                <a:gdLst>
                  <a:gd name="connsiteX0" fmla="*/ 23538 w 36335"/>
                  <a:gd name="connsiteY0" fmla="*/ 4642 h 145963"/>
                  <a:gd name="connsiteX1" fmla="*/ 9959 w 36335"/>
                  <a:gd name="connsiteY1" fmla="*/ 71453 h 145963"/>
                  <a:gd name="connsiteX2" fmla="*/ 2284 w 36335"/>
                  <a:gd name="connsiteY2" fmla="*/ 93297 h 145963"/>
                  <a:gd name="connsiteX3" fmla="*/ 119 w 36335"/>
                  <a:gd name="connsiteY3" fmla="*/ 126457 h 145963"/>
                  <a:gd name="connsiteX4" fmla="*/ 13993 w 36335"/>
                  <a:gd name="connsiteY4" fmla="*/ 144660 h 145963"/>
                  <a:gd name="connsiteX5" fmla="*/ 15273 w 36335"/>
                  <a:gd name="connsiteY5" fmla="*/ 108843 h 145963"/>
                  <a:gd name="connsiteX6" fmla="*/ 27867 w 36335"/>
                  <a:gd name="connsiteY6" fmla="*/ 86803 h 145963"/>
                  <a:gd name="connsiteX7" fmla="*/ 29245 w 36335"/>
                  <a:gd name="connsiteY7" fmla="*/ 54726 h 145963"/>
                  <a:gd name="connsiteX8" fmla="*/ 33082 w 36335"/>
                  <a:gd name="connsiteY8" fmla="*/ 42721 h 145963"/>
                  <a:gd name="connsiteX9" fmla="*/ 36132 w 36335"/>
                  <a:gd name="connsiteY9" fmla="*/ 3462 h 145963"/>
                  <a:gd name="connsiteX10" fmla="*/ 23538 w 36335"/>
                  <a:gd name="connsiteY10" fmla="*/ 4544 h 14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335" h="145963">
                    <a:moveTo>
                      <a:pt x="23538" y="4642"/>
                    </a:moveTo>
                    <a:cubicBezTo>
                      <a:pt x="16847" y="8184"/>
                      <a:pt x="9959" y="71453"/>
                      <a:pt x="9959" y="71453"/>
                    </a:cubicBezTo>
                    <a:cubicBezTo>
                      <a:pt x="8975" y="78734"/>
                      <a:pt x="5630" y="85523"/>
                      <a:pt x="2284" y="93297"/>
                    </a:cubicBezTo>
                    <a:cubicBezTo>
                      <a:pt x="-766" y="100677"/>
                      <a:pt x="119" y="110614"/>
                      <a:pt x="119" y="126457"/>
                    </a:cubicBezTo>
                    <a:cubicBezTo>
                      <a:pt x="119" y="135115"/>
                      <a:pt x="9074" y="139346"/>
                      <a:pt x="13993" y="144660"/>
                    </a:cubicBezTo>
                    <a:cubicBezTo>
                      <a:pt x="19700" y="149875"/>
                      <a:pt x="17437" y="139740"/>
                      <a:pt x="15273" y="108843"/>
                    </a:cubicBezTo>
                    <a:cubicBezTo>
                      <a:pt x="14780" y="101464"/>
                      <a:pt x="20291" y="96347"/>
                      <a:pt x="27867" y="86803"/>
                    </a:cubicBezTo>
                    <a:cubicBezTo>
                      <a:pt x="32393" y="81096"/>
                      <a:pt x="30720" y="74110"/>
                      <a:pt x="29245" y="54726"/>
                    </a:cubicBezTo>
                    <a:cubicBezTo>
                      <a:pt x="28753" y="48035"/>
                      <a:pt x="32689" y="43705"/>
                      <a:pt x="33082" y="42721"/>
                    </a:cubicBezTo>
                    <a:cubicBezTo>
                      <a:pt x="37510" y="36031"/>
                      <a:pt x="36132" y="26781"/>
                      <a:pt x="36132" y="3462"/>
                    </a:cubicBezTo>
                    <a:cubicBezTo>
                      <a:pt x="36132" y="-4508"/>
                      <a:pt x="26194" y="3658"/>
                      <a:pt x="23538" y="4544"/>
                    </a:cubicBezTo>
                    <a:close/>
                  </a:path>
                </a:pathLst>
              </a:custGeom>
              <a:grpFill/>
              <a:ln w="9835" cap="flat">
                <a:noFill/>
                <a:prstDash val="solid"/>
                <a:miter/>
              </a:ln>
            </p:spPr>
            <p:txBody>
              <a:bodyPr rtlCol="0" anchor="ctr"/>
              <a:lstStyle/>
              <a:p>
                <a:endParaRPr lang="en-IN"/>
              </a:p>
            </p:txBody>
          </p:sp>
          <p:sp>
            <p:nvSpPr>
              <p:cNvPr id="532" name="Freeform: Shape 531">
                <a:extLst>
                  <a:ext uri="{FF2B5EF4-FFF2-40B4-BE49-F238E27FC236}">
                    <a16:creationId xmlns:a16="http://schemas.microsoft.com/office/drawing/2014/main" id="{BAF531B1-A90F-0B33-20D9-48B5C947F63D}"/>
                  </a:ext>
                </a:extLst>
              </p:cNvPr>
              <p:cNvSpPr/>
              <p:nvPr/>
            </p:nvSpPr>
            <p:spPr>
              <a:xfrm>
                <a:off x="10770614" y="5521240"/>
                <a:ext cx="15493" cy="24412"/>
              </a:xfrm>
              <a:custGeom>
                <a:avLst/>
                <a:gdLst>
                  <a:gd name="connsiteX0" fmla="*/ 5720 w 15493"/>
                  <a:gd name="connsiteY0" fmla="*/ 1389 h 24412"/>
                  <a:gd name="connsiteX1" fmla="*/ 3949 w 15493"/>
                  <a:gd name="connsiteY1" fmla="*/ 3160 h 24412"/>
                  <a:gd name="connsiteX2" fmla="*/ 4834 w 15493"/>
                  <a:gd name="connsiteY2" fmla="*/ 23823 h 24412"/>
                  <a:gd name="connsiteX3" fmla="*/ 14379 w 15493"/>
                  <a:gd name="connsiteY3" fmla="*/ 16739 h 24412"/>
                  <a:gd name="connsiteX4" fmla="*/ 12116 w 15493"/>
                  <a:gd name="connsiteY4" fmla="*/ 2373 h 24412"/>
                  <a:gd name="connsiteX5" fmla="*/ 5720 w 15493"/>
                  <a:gd name="connsiteY5" fmla="*/ 1389 h 2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93" h="24412">
                    <a:moveTo>
                      <a:pt x="5720" y="1389"/>
                    </a:moveTo>
                    <a:lnTo>
                      <a:pt x="3949" y="3160"/>
                    </a:lnTo>
                    <a:cubicBezTo>
                      <a:pt x="-1168" y="8473"/>
                      <a:pt x="-1758" y="20674"/>
                      <a:pt x="4834" y="23823"/>
                    </a:cubicBezTo>
                    <a:cubicBezTo>
                      <a:pt x="11132" y="26775"/>
                      <a:pt x="13592" y="17723"/>
                      <a:pt x="14379" y="16739"/>
                    </a:cubicBezTo>
                    <a:cubicBezTo>
                      <a:pt x="17724" y="10146"/>
                      <a:pt x="12509" y="3554"/>
                      <a:pt x="12116" y="2373"/>
                    </a:cubicBezTo>
                    <a:cubicBezTo>
                      <a:pt x="10738" y="-382"/>
                      <a:pt x="7885" y="-776"/>
                      <a:pt x="5720" y="1389"/>
                    </a:cubicBezTo>
                    <a:close/>
                  </a:path>
                </a:pathLst>
              </a:custGeom>
              <a:grpFill/>
              <a:ln w="9835" cap="flat">
                <a:noFill/>
                <a:prstDash val="solid"/>
                <a:miter/>
              </a:ln>
            </p:spPr>
            <p:txBody>
              <a:bodyPr rtlCol="0" anchor="ctr"/>
              <a:lstStyle/>
              <a:p>
                <a:endParaRPr lang="en-IN"/>
              </a:p>
            </p:txBody>
          </p:sp>
          <p:sp>
            <p:nvSpPr>
              <p:cNvPr id="533" name="Freeform: Shape 532">
                <a:extLst>
                  <a:ext uri="{FF2B5EF4-FFF2-40B4-BE49-F238E27FC236}">
                    <a16:creationId xmlns:a16="http://schemas.microsoft.com/office/drawing/2014/main" id="{DE707D53-7625-472D-E7A7-78524A6BD5BE}"/>
                  </a:ext>
                </a:extLst>
              </p:cNvPr>
              <p:cNvSpPr/>
              <p:nvPr/>
            </p:nvSpPr>
            <p:spPr>
              <a:xfrm>
                <a:off x="10851295" y="5748904"/>
                <a:ext cx="16153" cy="26465"/>
              </a:xfrm>
              <a:custGeom>
                <a:avLst/>
                <a:gdLst>
                  <a:gd name="connsiteX0" fmla="*/ 10939 w 16153"/>
                  <a:gd name="connsiteY0" fmla="*/ 330 h 26465"/>
                  <a:gd name="connsiteX1" fmla="*/ 706 w 16153"/>
                  <a:gd name="connsiteY1" fmla="*/ 9973 h 26465"/>
                  <a:gd name="connsiteX2" fmla="*/ 13104 w 16153"/>
                  <a:gd name="connsiteY2" fmla="*/ 25913 h 26465"/>
                  <a:gd name="connsiteX3" fmla="*/ 16154 w 16153"/>
                  <a:gd name="connsiteY3" fmla="*/ 18238 h 26465"/>
                  <a:gd name="connsiteX4" fmla="*/ 16154 w 16153"/>
                  <a:gd name="connsiteY4" fmla="*/ 3971 h 26465"/>
                  <a:gd name="connsiteX5" fmla="*/ 10939 w 16153"/>
                  <a:gd name="connsiteY5" fmla="*/ 330 h 2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53" h="26465">
                    <a:moveTo>
                      <a:pt x="10939" y="330"/>
                    </a:moveTo>
                    <a:cubicBezTo>
                      <a:pt x="8578" y="1708"/>
                      <a:pt x="-2935" y="2889"/>
                      <a:pt x="706" y="9973"/>
                    </a:cubicBezTo>
                    <a:cubicBezTo>
                      <a:pt x="6610" y="21387"/>
                      <a:pt x="9266" y="28570"/>
                      <a:pt x="13104" y="25913"/>
                    </a:cubicBezTo>
                    <a:cubicBezTo>
                      <a:pt x="14777" y="24831"/>
                      <a:pt x="16154" y="21387"/>
                      <a:pt x="16154" y="18238"/>
                    </a:cubicBezTo>
                    <a:lnTo>
                      <a:pt x="16154" y="3971"/>
                    </a:lnTo>
                    <a:cubicBezTo>
                      <a:pt x="16154" y="921"/>
                      <a:pt x="13793" y="-752"/>
                      <a:pt x="10939" y="330"/>
                    </a:cubicBezTo>
                    <a:close/>
                  </a:path>
                </a:pathLst>
              </a:custGeom>
              <a:grpFill/>
              <a:ln w="9835" cap="flat">
                <a:noFill/>
                <a:prstDash val="solid"/>
                <a:miter/>
              </a:ln>
            </p:spPr>
            <p:txBody>
              <a:bodyPr rtlCol="0" anchor="ctr"/>
              <a:lstStyle/>
              <a:p>
                <a:endParaRPr lang="en-IN"/>
              </a:p>
            </p:txBody>
          </p:sp>
          <p:sp>
            <p:nvSpPr>
              <p:cNvPr id="534" name="Freeform: Shape 533">
                <a:extLst>
                  <a:ext uri="{FF2B5EF4-FFF2-40B4-BE49-F238E27FC236}">
                    <a16:creationId xmlns:a16="http://schemas.microsoft.com/office/drawing/2014/main" id="{812F2158-A9B4-5747-2EDB-359FC097CE37}"/>
                  </a:ext>
                </a:extLst>
              </p:cNvPr>
              <p:cNvSpPr/>
              <p:nvPr/>
            </p:nvSpPr>
            <p:spPr>
              <a:xfrm>
                <a:off x="10826765" y="5695408"/>
                <a:ext cx="15994" cy="14802"/>
              </a:xfrm>
              <a:custGeom>
                <a:avLst/>
                <a:gdLst>
                  <a:gd name="connsiteX0" fmla="*/ 11952 w 15994"/>
                  <a:gd name="connsiteY0" fmla="*/ 2759 h 14802"/>
                  <a:gd name="connsiteX1" fmla="*/ 243 w 15994"/>
                  <a:gd name="connsiteY1" fmla="*/ 8663 h 14802"/>
                  <a:gd name="connsiteX2" fmla="*/ 46 w 15994"/>
                  <a:gd name="connsiteY2" fmla="*/ 10335 h 14802"/>
                  <a:gd name="connsiteX3" fmla="*/ 4769 w 15994"/>
                  <a:gd name="connsiteY3" fmla="*/ 14665 h 14802"/>
                  <a:gd name="connsiteX4" fmla="*/ 15003 w 15994"/>
                  <a:gd name="connsiteY4" fmla="*/ 7186 h 14802"/>
                  <a:gd name="connsiteX5" fmla="*/ 11952 w 15994"/>
                  <a:gd name="connsiteY5" fmla="*/ 2759 h 1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4" h="14802">
                    <a:moveTo>
                      <a:pt x="11952" y="2759"/>
                    </a:moveTo>
                    <a:cubicBezTo>
                      <a:pt x="7721" y="-3243"/>
                      <a:pt x="1227" y="1381"/>
                      <a:pt x="243" y="8663"/>
                    </a:cubicBezTo>
                    <a:lnTo>
                      <a:pt x="46" y="10335"/>
                    </a:lnTo>
                    <a:cubicBezTo>
                      <a:pt x="-347" y="13385"/>
                      <a:pt x="1817" y="15354"/>
                      <a:pt x="4769" y="14665"/>
                    </a:cubicBezTo>
                    <a:cubicBezTo>
                      <a:pt x="7229" y="13582"/>
                      <a:pt x="19529" y="13681"/>
                      <a:pt x="15003" y="7186"/>
                    </a:cubicBezTo>
                    <a:lnTo>
                      <a:pt x="11952" y="2759"/>
                    </a:lnTo>
                    <a:close/>
                  </a:path>
                </a:pathLst>
              </a:custGeom>
              <a:grpFill/>
              <a:ln w="9835" cap="flat">
                <a:noFill/>
                <a:prstDash val="solid"/>
                <a:miter/>
              </a:ln>
            </p:spPr>
            <p:txBody>
              <a:bodyPr rtlCol="0" anchor="ctr"/>
              <a:lstStyle/>
              <a:p>
                <a:endParaRPr lang="en-IN"/>
              </a:p>
            </p:txBody>
          </p:sp>
          <p:sp>
            <p:nvSpPr>
              <p:cNvPr id="535" name="Freeform: Shape 534">
                <a:extLst>
                  <a:ext uri="{FF2B5EF4-FFF2-40B4-BE49-F238E27FC236}">
                    <a16:creationId xmlns:a16="http://schemas.microsoft.com/office/drawing/2014/main" id="{3A15D2BA-6824-F619-7C95-4ED7F72431C9}"/>
                  </a:ext>
                </a:extLst>
              </p:cNvPr>
              <p:cNvSpPr/>
              <p:nvPr/>
            </p:nvSpPr>
            <p:spPr>
              <a:xfrm>
                <a:off x="10843303" y="5665017"/>
                <a:ext cx="10525" cy="11739"/>
              </a:xfrm>
              <a:custGeom>
                <a:avLst/>
                <a:gdLst>
                  <a:gd name="connsiteX0" fmla="*/ 10469 w 10525"/>
                  <a:gd name="connsiteY0" fmla="*/ 6780 h 11739"/>
                  <a:gd name="connsiteX1" fmla="*/ 10469 w 10525"/>
                  <a:gd name="connsiteY1" fmla="*/ 6091 h 11739"/>
                  <a:gd name="connsiteX2" fmla="*/ 137 w 10525"/>
                  <a:gd name="connsiteY2" fmla="*/ 5206 h 11739"/>
                  <a:gd name="connsiteX3" fmla="*/ 10469 w 10525"/>
                  <a:gd name="connsiteY3" fmla="*/ 6681 h 11739"/>
                </a:gdLst>
                <a:ahLst/>
                <a:cxnLst>
                  <a:cxn ang="0">
                    <a:pos x="connsiteX0" y="connsiteY0"/>
                  </a:cxn>
                  <a:cxn ang="0">
                    <a:pos x="connsiteX1" y="connsiteY1"/>
                  </a:cxn>
                  <a:cxn ang="0">
                    <a:pos x="connsiteX2" y="connsiteY2"/>
                  </a:cxn>
                  <a:cxn ang="0">
                    <a:pos x="connsiteX3" y="connsiteY3"/>
                  </a:cxn>
                </a:cxnLst>
                <a:rect l="l" t="t" r="r" b="b"/>
                <a:pathLst>
                  <a:path w="10525" h="11739">
                    <a:moveTo>
                      <a:pt x="10469" y="6780"/>
                    </a:moveTo>
                    <a:lnTo>
                      <a:pt x="10469" y="6091"/>
                    </a:lnTo>
                    <a:cubicBezTo>
                      <a:pt x="11354" y="-1977"/>
                      <a:pt x="1613" y="-1780"/>
                      <a:pt x="137" y="5206"/>
                    </a:cubicBezTo>
                    <a:cubicBezTo>
                      <a:pt x="-1339" y="12094"/>
                      <a:pt x="9583" y="14947"/>
                      <a:pt x="10469" y="6681"/>
                    </a:cubicBezTo>
                    <a:close/>
                  </a:path>
                </a:pathLst>
              </a:custGeom>
              <a:grpFill/>
              <a:ln w="9835" cap="flat">
                <a:noFill/>
                <a:prstDash val="solid"/>
                <a:miter/>
              </a:ln>
            </p:spPr>
            <p:txBody>
              <a:bodyPr rtlCol="0" anchor="ctr"/>
              <a:lstStyle/>
              <a:p>
                <a:endParaRPr lang="en-IN"/>
              </a:p>
            </p:txBody>
          </p:sp>
          <p:sp>
            <p:nvSpPr>
              <p:cNvPr id="536" name="Freeform: Shape 535">
                <a:extLst>
                  <a:ext uri="{FF2B5EF4-FFF2-40B4-BE49-F238E27FC236}">
                    <a16:creationId xmlns:a16="http://schemas.microsoft.com/office/drawing/2014/main" id="{12DC148F-1BB6-B77B-1C67-15E58C5ABA85}"/>
                  </a:ext>
                </a:extLst>
              </p:cNvPr>
              <p:cNvSpPr/>
              <p:nvPr/>
            </p:nvSpPr>
            <p:spPr>
              <a:xfrm>
                <a:off x="10789913" y="5620631"/>
                <a:ext cx="12397" cy="12397"/>
              </a:xfrm>
              <a:custGeom>
                <a:avLst/>
                <a:gdLst>
                  <a:gd name="connsiteX0" fmla="*/ 5609 w 12397"/>
                  <a:gd name="connsiteY0" fmla="*/ 0 h 12397"/>
                  <a:gd name="connsiteX1" fmla="*/ 6789 w 12397"/>
                  <a:gd name="connsiteY1" fmla="*/ 0 h 12397"/>
                  <a:gd name="connsiteX2" fmla="*/ 12398 w 12397"/>
                  <a:gd name="connsiteY2" fmla="*/ 5609 h 12397"/>
                  <a:gd name="connsiteX3" fmla="*/ 12398 w 12397"/>
                  <a:gd name="connsiteY3" fmla="*/ 6789 h 12397"/>
                  <a:gd name="connsiteX4" fmla="*/ 6789 w 12397"/>
                  <a:gd name="connsiteY4" fmla="*/ 12398 h 12397"/>
                  <a:gd name="connsiteX5" fmla="*/ 5609 w 12397"/>
                  <a:gd name="connsiteY5" fmla="*/ 12398 h 12397"/>
                  <a:gd name="connsiteX6" fmla="*/ 0 w 12397"/>
                  <a:gd name="connsiteY6" fmla="*/ 6789 h 12397"/>
                  <a:gd name="connsiteX7" fmla="*/ 0 w 12397"/>
                  <a:gd name="connsiteY7" fmla="*/ 5609 h 12397"/>
                  <a:gd name="connsiteX8" fmla="*/ 5609 w 12397"/>
                  <a:gd name="connsiteY8" fmla="*/ 0 h 12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97" h="12397">
                    <a:moveTo>
                      <a:pt x="5609" y="0"/>
                    </a:moveTo>
                    <a:lnTo>
                      <a:pt x="6789" y="0"/>
                    </a:lnTo>
                    <a:cubicBezTo>
                      <a:pt x="9840" y="0"/>
                      <a:pt x="12398" y="2460"/>
                      <a:pt x="12398" y="5609"/>
                    </a:cubicBezTo>
                    <a:lnTo>
                      <a:pt x="12398" y="6789"/>
                    </a:lnTo>
                    <a:cubicBezTo>
                      <a:pt x="12398" y="9840"/>
                      <a:pt x="9938" y="12398"/>
                      <a:pt x="6789" y="12398"/>
                    </a:cubicBezTo>
                    <a:lnTo>
                      <a:pt x="5609" y="12398"/>
                    </a:lnTo>
                    <a:cubicBezTo>
                      <a:pt x="2558" y="12398"/>
                      <a:pt x="0" y="9938"/>
                      <a:pt x="0" y="6789"/>
                    </a:cubicBezTo>
                    <a:lnTo>
                      <a:pt x="0" y="5609"/>
                    </a:lnTo>
                    <a:cubicBezTo>
                      <a:pt x="0" y="2558"/>
                      <a:pt x="2460" y="0"/>
                      <a:pt x="5609" y="0"/>
                    </a:cubicBezTo>
                    <a:close/>
                  </a:path>
                </a:pathLst>
              </a:custGeom>
              <a:grpFill/>
              <a:ln w="9835" cap="flat">
                <a:noFill/>
                <a:prstDash val="solid"/>
                <a:miter/>
              </a:ln>
            </p:spPr>
            <p:txBody>
              <a:bodyPr rtlCol="0" anchor="ctr"/>
              <a:lstStyle/>
              <a:p>
                <a:endParaRPr lang="en-IN"/>
              </a:p>
            </p:txBody>
          </p:sp>
          <p:grpSp>
            <p:nvGrpSpPr>
              <p:cNvPr id="537" name="Graphic 470">
                <a:extLst>
                  <a:ext uri="{FF2B5EF4-FFF2-40B4-BE49-F238E27FC236}">
                    <a16:creationId xmlns:a16="http://schemas.microsoft.com/office/drawing/2014/main" id="{4852013E-DBDD-329C-D8A7-187B296076A5}"/>
                  </a:ext>
                </a:extLst>
              </p:cNvPr>
              <p:cNvGrpSpPr/>
              <p:nvPr/>
            </p:nvGrpSpPr>
            <p:grpSpPr>
              <a:xfrm>
                <a:off x="9519038" y="5469609"/>
                <a:ext cx="98478" cy="108999"/>
                <a:chOff x="9519038" y="5469609"/>
                <a:chExt cx="98478" cy="108999"/>
              </a:xfrm>
              <a:grpFill/>
            </p:grpSpPr>
            <p:sp>
              <p:nvSpPr>
                <p:cNvPr id="538" name="Freeform: Shape 537">
                  <a:extLst>
                    <a:ext uri="{FF2B5EF4-FFF2-40B4-BE49-F238E27FC236}">
                      <a16:creationId xmlns:a16="http://schemas.microsoft.com/office/drawing/2014/main" id="{069791EF-3796-0920-AAA8-518178491674}"/>
                    </a:ext>
                  </a:extLst>
                </p:cNvPr>
                <p:cNvSpPr/>
                <p:nvPr/>
              </p:nvSpPr>
              <p:spPr>
                <a:xfrm>
                  <a:off x="9519038" y="5469609"/>
                  <a:ext cx="9499" cy="10544"/>
                </a:xfrm>
                <a:custGeom>
                  <a:avLst/>
                  <a:gdLst>
                    <a:gd name="connsiteX0" fmla="*/ 3535 w 9499"/>
                    <a:gd name="connsiteY0" fmla="*/ 575 h 10544"/>
                    <a:gd name="connsiteX1" fmla="*/ 5601 w 9499"/>
                    <a:gd name="connsiteY1" fmla="*/ 9627 h 10544"/>
                    <a:gd name="connsiteX2" fmla="*/ 6093 w 9499"/>
                    <a:gd name="connsiteY2" fmla="*/ 9234 h 10544"/>
                    <a:gd name="connsiteX3" fmla="*/ 3436 w 9499"/>
                    <a:gd name="connsiteY3" fmla="*/ 575 h 10544"/>
                  </a:gdLst>
                  <a:ahLst/>
                  <a:cxnLst>
                    <a:cxn ang="0">
                      <a:pos x="connsiteX0" y="connsiteY0"/>
                    </a:cxn>
                    <a:cxn ang="0">
                      <a:pos x="connsiteX1" y="connsiteY1"/>
                    </a:cxn>
                    <a:cxn ang="0">
                      <a:pos x="connsiteX2" y="connsiteY2"/>
                    </a:cxn>
                    <a:cxn ang="0">
                      <a:pos x="connsiteX3" y="connsiteY3"/>
                    </a:cxn>
                  </a:cxnLst>
                  <a:rect l="l" t="t" r="r" b="b"/>
                  <a:pathLst>
                    <a:path w="9499" h="10544">
                      <a:moveTo>
                        <a:pt x="3535" y="575"/>
                      </a:moveTo>
                      <a:cubicBezTo>
                        <a:pt x="-2172" y="3232"/>
                        <a:pt x="-598" y="13662"/>
                        <a:pt x="5601" y="9627"/>
                      </a:cubicBezTo>
                      <a:lnTo>
                        <a:pt x="6093" y="9234"/>
                      </a:lnTo>
                      <a:cubicBezTo>
                        <a:pt x="12390" y="5101"/>
                        <a:pt x="9045" y="-2082"/>
                        <a:pt x="3436" y="575"/>
                      </a:cubicBezTo>
                      <a:close/>
                    </a:path>
                  </a:pathLst>
                </a:custGeom>
                <a:grpFill/>
                <a:ln w="9835" cap="flat">
                  <a:noFill/>
                  <a:prstDash val="solid"/>
                  <a:miter/>
                </a:ln>
              </p:spPr>
              <p:txBody>
                <a:bodyPr rtlCol="0" anchor="ctr"/>
                <a:lstStyle/>
                <a:p>
                  <a:endParaRPr lang="en-IN"/>
                </a:p>
              </p:txBody>
            </p:sp>
            <p:sp>
              <p:nvSpPr>
                <p:cNvPr id="539" name="Freeform: Shape 538">
                  <a:extLst>
                    <a:ext uri="{FF2B5EF4-FFF2-40B4-BE49-F238E27FC236}">
                      <a16:creationId xmlns:a16="http://schemas.microsoft.com/office/drawing/2014/main" id="{3CA98187-7666-EDC4-F1E5-AF0981BA8FA1}"/>
                    </a:ext>
                  </a:extLst>
                </p:cNvPr>
                <p:cNvSpPr/>
                <p:nvPr/>
              </p:nvSpPr>
              <p:spPr>
                <a:xfrm>
                  <a:off x="9519934" y="5516841"/>
                  <a:ext cx="8141" cy="10607"/>
                </a:xfrm>
                <a:custGeom>
                  <a:avLst/>
                  <a:gdLst>
                    <a:gd name="connsiteX0" fmla="*/ 2737 w 8141"/>
                    <a:gd name="connsiteY0" fmla="*/ 474 h 10607"/>
                    <a:gd name="connsiteX1" fmla="*/ 4410 w 8141"/>
                    <a:gd name="connsiteY1" fmla="*/ 10510 h 10607"/>
                    <a:gd name="connsiteX2" fmla="*/ 2737 w 8141"/>
                    <a:gd name="connsiteY2" fmla="*/ 474 h 10607"/>
                  </a:gdLst>
                  <a:ahLst/>
                  <a:cxnLst>
                    <a:cxn ang="0">
                      <a:pos x="connsiteX0" y="connsiteY0"/>
                    </a:cxn>
                    <a:cxn ang="0">
                      <a:pos x="connsiteX1" y="connsiteY1"/>
                    </a:cxn>
                    <a:cxn ang="0">
                      <a:pos x="connsiteX2" y="connsiteY2"/>
                    </a:cxn>
                  </a:cxnLst>
                  <a:rect l="l" t="t" r="r" b="b"/>
                  <a:pathLst>
                    <a:path w="8141" h="10607">
                      <a:moveTo>
                        <a:pt x="2737" y="474"/>
                      </a:moveTo>
                      <a:cubicBezTo>
                        <a:pt x="-3166" y="3328"/>
                        <a:pt x="1950" y="11593"/>
                        <a:pt x="4410" y="10510"/>
                      </a:cubicBezTo>
                      <a:cubicBezTo>
                        <a:pt x="10511" y="7756"/>
                        <a:pt x="8543" y="-2281"/>
                        <a:pt x="2737" y="474"/>
                      </a:cubicBezTo>
                      <a:close/>
                    </a:path>
                  </a:pathLst>
                </a:custGeom>
                <a:grpFill/>
                <a:ln w="9835" cap="flat">
                  <a:noFill/>
                  <a:prstDash val="solid"/>
                  <a:miter/>
                </a:ln>
              </p:spPr>
              <p:txBody>
                <a:bodyPr rtlCol="0" anchor="ctr"/>
                <a:lstStyle/>
                <a:p>
                  <a:endParaRPr lang="en-IN"/>
                </a:p>
              </p:txBody>
            </p:sp>
            <p:sp>
              <p:nvSpPr>
                <p:cNvPr id="540" name="Freeform: Shape 539">
                  <a:extLst>
                    <a:ext uri="{FF2B5EF4-FFF2-40B4-BE49-F238E27FC236}">
                      <a16:creationId xmlns:a16="http://schemas.microsoft.com/office/drawing/2014/main" id="{49A55A86-DD5D-74E4-3773-B336941E7B9C}"/>
                    </a:ext>
                  </a:extLst>
                </p:cNvPr>
                <p:cNvSpPr/>
                <p:nvPr/>
              </p:nvSpPr>
              <p:spPr>
                <a:xfrm>
                  <a:off x="9608508" y="5569914"/>
                  <a:ext cx="9007" cy="8694"/>
                </a:xfrm>
                <a:custGeom>
                  <a:avLst/>
                  <a:gdLst>
                    <a:gd name="connsiteX0" fmla="*/ 358 w 9007"/>
                    <a:gd name="connsiteY0" fmla="*/ 2110 h 8694"/>
                    <a:gd name="connsiteX1" fmla="*/ 8918 w 9007"/>
                    <a:gd name="connsiteY1" fmla="*/ 5947 h 8694"/>
                    <a:gd name="connsiteX2" fmla="*/ 358 w 9007"/>
                    <a:gd name="connsiteY2" fmla="*/ 2110 h 8694"/>
                  </a:gdLst>
                  <a:ahLst/>
                  <a:cxnLst>
                    <a:cxn ang="0">
                      <a:pos x="connsiteX0" y="connsiteY0"/>
                    </a:cxn>
                    <a:cxn ang="0">
                      <a:pos x="connsiteX1" y="connsiteY1"/>
                    </a:cxn>
                    <a:cxn ang="0">
                      <a:pos x="connsiteX2" y="connsiteY2"/>
                    </a:cxn>
                  </a:cxnLst>
                  <a:rect l="l" t="t" r="r" b="b"/>
                  <a:pathLst>
                    <a:path w="9007" h="8694">
                      <a:moveTo>
                        <a:pt x="358" y="2110"/>
                      </a:moveTo>
                      <a:cubicBezTo>
                        <a:pt x="-1807" y="7718"/>
                        <a:pt x="6458" y="11556"/>
                        <a:pt x="8918" y="5947"/>
                      </a:cubicBezTo>
                      <a:cubicBezTo>
                        <a:pt x="9902" y="3586"/>
                        <a:pt x="2522" y="-3498"/>
                        <a:pt x="358" y="2110"/>
                      </a:cubicBezTo>
                      <a:close/>
                    </a:path>
                  </a:pathLst>
                </a:custGeom>
                <a:grpFill/>
                <a:ln w="9835" cap="flat">
                  <a:noFill/>
                  <a:prstDash val="solid"/>
                  <a:miter/>
                </a:ln>
              </p:spPr>
              <p:txBody>
                <a:bodyPr rtlCol="0" anchor="ctr"/>
                <a:lstStyle/>
                <a:p>
                  <a:endParaRPr lang="en-IN"/>
                </a:p>
              </p:txBody>
            </p:sp>
            <p:sp>
              <p:nvSpPr>
                <p:cNvPr id="541" name="Freeform: Shape 540">
                  <a:extLst>
                    <a:ext uri="{FF2B5EF4-FFF2-40B4-BE49-F238E27FC236}">
                      <a16:creationId xmlns:a16="http://schemas.microsoft.com/office/drawing/2014/main" id="{BE5B0790-0A4E-2E99-26CD-8DCEEDA58564}"/>
                    </a:ext>
                  </a:extLst>
                </p:cNvPr>
                <p:cNvSpPr/>
                <p:nvPr/>
              </p:nvSpPr>
              <p:spPr>
                <a:xfrm>
                  <a:off x="9543876" y="5538273"/>
                  <a:ext cx="10885" cy="9567"/>
                </a:xfrm>
                <a:custGeom>
                  <a:avLst/>
                  <a:gdLst>
                    <a:gd name="connsiteX0" fmla="*/ 5461 w 10885"/>
                    <a:gd name="connsiteY0" fmla="*/ 0 h 9567"/>
                    <a:gd name="connsiteX1" fmla="*/ 5461 w 10885"/>
                    <a:gd name="connsiteY1" fmla="*/ 9446 h 9567"/>
                    <a:gd name="connsiteX2" fmla="*/ 5461 w 10885"/>
                    <a:gd name="connsiteY2" fmla="*/ 9446 h 9567"/>
                    <a:gd name="connsiteX3" fmla="*/ 5461 w 10885"/>
                    <a:gd name="connsiteY3" fmla="*/ 0 h 9567"/>
                  </a:gdLst>
                  <a:ahLst/>
                  <a:cxnLst>
                    <a:cxn ang="0">
                      <a:pos x="connsiteX0" y="connsiteY0"/>
                    </a:cxn>
                    <a:cxn ang="0">
                      <a:pos x="connsiteX1" y="connsiteY1"/>
                    </a:cxn>
                    <a:cxn ang="0">
                      <a:pos x="connsiteX2" y="connsiteY2"/>
                    </a:cxn>
                    <a:cxn ang="0">
                      <a:pos x="connsiteX3" y="connsiteY3"/>
                    </a:cxn>
                  </a:cxnLst>
                  <a:rect l="l" t="t" r="r" b="b"/>
                  <a:pathLst>
                    <a:path w="10885" h="9567">
                      <a:moveTo>
                        <a:pt x="5461" y="0"/>
                      </a:moveTo>
                      <a:cubicBezTo>
                        <a:pt x="-1820" y="0"/>
                        <a:pt x="-1820" y="10824"/>
                        <a:pt x="5461" y="9446"/>
                      </a:cubicBezTo>
                      <a:lnTo>
                        <a:pt x="5461" y="9446"/>
                      </a:lnTo>
                      <a:cubicBezTo>
                        <a:pt x="12742" y="8167"/>
                        <a:pt x="12644" y="0"/>
                        <a:pt x="5461" y="0"/>
                      </a:cubicBezTo>
                      <a:close/>
                    </a:path>
                  </a:pathLst>
                </a:custGeom>
                <a:grpFill/>
                <a:ln w="9835" cap="flat">
                  <a:noFill/>
                  <a:prstDash val="solid"/>
                  <a:miter/>
                </a:ln>
              </p:spPr>
              <p:txBody>
                <a:bodyPr rtlCol="0" anchor="ctr"/>
                <a:lstStyle/>
                <a:p>
                  <a:endParaRPr lang="en-IN"/>
                </a:p>
              </p:txBody>
            </p:sp>
            <p:sp>
              <p:nvSpPr>
                <p:cNvPr id="542" name="Freeform: Shape 541">
                  <a:extLst>
                    <a:ext uri="{FF2B5EF4-FFF2-40B4-BE49-F238E27FC236}">
                      <a16:creationId xmlns:a16="http://schemas.microsoft.com/office/drawing/2014/main" id="{E2BBADA9-A28D-432F-166F-3DDE3AA0944B}"/>
                    </a:ext>
                  </a:extLst>
                </p:cNvPr>
                <p:cNvSpPr/>
                <p:nvPr/>
              </p:nvSpPr>
              <p:spPr>
                <a:xfrm>
                  <a:off x="9606423" y="5522510"/>
                  <a:ext cx="9896" cy="9637"/>
                </a:xfrm>
                <a:custGeom>
                  <a:avLst/>
                  <a:gdLst>
                    <a:gd name="connsiteX0" fmla="*/ 9626 w 9896"/>
                    <a:gd name="connsiteY0" fmla="*/ 7990 h 9637"/>
                    <a:gd name="connsiteX1" fmla="*/ 1361 w 9896"/>
                    <a:gd name="connsiteY1" fmla="*/ 1004 h 9637"/>
                    <a:gd name="connsiteX2" fmla="*/ 9626 w 9896"/>
                    <a:gd name="connsiteY2" fmla="*/ 7990 h 9637"/>
                  </a:gdLst>
                  <a:ahLst/>
                  <a:cxnLst>
                    <a:cxn ang="0">
                      <a:pos x="connsiteX0" y="connsiteY0"/>
                    </a:cxn>
                    <a:cxn ang="0">
                      <a:pos x="connsiteX1" y="connsiteY1"/>
                    </a:cxn>
                    <a:cxn ang="0">
                      <a:pos x="connsiteX2" y="connsiteY2"/>
                    </a:cxn>
                  </a:cxnLst>
                  <a:rect l="l" t="t" r="r" b="b"/>
                  <a:pathLst>
                    <a:path w="9896" h="9637">
                      <a:moveTo>
                        <a:pt x="9626" y="7990"/>
                      </a:moveTo>
                      <a:cubicBezTo>
                        <a:pt x="11102" y="5825"/>
                        <a:pt x="6281" y="-2932"/>
                        <a:pt x="1361" y="1004"/>
                      </a:cubicBezTo>
                      <a:cubicBezTo>
                        <a:pt x="-3559" y="5039"/>
                        <a:pt x="6182" y="13107"/>
                        <a:pt x="9626" y="7990"/>
                      </a:cubicBezTo>
                      <a:close/>
                    </a:path>
                  </a:pathLst>
                </a:custGeom>
                <a:grpFill/>
                <a:ln w="9835" cap="flat">
                  <a:noFill/>
                  <a:prstDash val="solid"/>
                  <a:miter/>
                </a:ln>
              </p:spPr>
              <p:txBody>
                <a:bodyPr rtlCol="0" anchor="ctr"/>
                <a:lstStyle/>
                <a:p>
                  <a:endParaRPr lang="en-IN"/>
                </a:p>
              </p:txBody>
            </p:sp>
            <p:sp>
              <p:nvSpPr>
                <p:cNvPr id="543" name="Freeform: Shape 542">
                  <a:extLst>
                    <a:ext uri="{FF2B5EF4-FFF2-40B4-BE49-F238E27FC236}">
                      <a16:creationId xmlns:a16="http://schemas.microsoft.com/office/drawing/2014/main" id="{20CC2ED9-3F49-50A4-BCB3-4BE40F709284}"/>
                    </a:ext>
                  </a:extLst>
                </p:cNvPr>
                <p:cNvSpPr/>
                <p:nvPr/>
              </p:nvSpPr>
              <p:spPr>
                <a:xfrm>
                  <a:off x="9553174" y="5494706"/>
                  <a:ext cx="9666" cy="12639"/>
                </a:xfrm>
                <a:custGeom>
                  <a:avLst/>
                  <a:gdLst>
                    <a:gd name="connsiteX0" fmla="*/ 5018 w 9666"/>
                    <a:gd name="connsiteY0" fmla="*/ 1060 h 12639"/>
                    <a:gd name="connsiteX1" fmla="*/ 4428 w 9666"/>
                    <a:gd name="connsiteY1" fmla="*/ 1552 h 12639"/>
                    <a:gd name="connsiteX2" fmla="*/ 0 w 9666"/>
                    <a:gd name="connsiteY2" fmla="*/ 8834 h 12639"/>
                    <a:gd name="connsiteX3" fmla="*/ 9544 w 9666"/>
                    <a:gd name="connsiteY3" fmla="*/ 7063 h 12639"/>
                    <a:gd name="connsiteX4" fmla="*/ 5117 w 9666"/>
                    <a:gd name="connsiteY4" fmla="*/ 1060 h 12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6" h="12639">
                      <a:moveTo>
                        <a:pt x="5018" y="1060"/>
                      </a:moveTo>
                      <a:lnTo>
                        <a:pt x="4428" y="1552"/>
                      </a:lnTo>
                      <a:cubicBezTo>
                        <a:pt x="1968" y="3422"/>
                        <a:pt x="0" y="6669"/>
                        <a:pt x="0" y="8834"/>
                      </a:cubicBezTo>
                      <a:cubicBezTo>
                        <a:pt x="0" y="13753"/>
                        <a:pt x="9544" y="14639"/>
                        <a:pt x="9544" y="7063"/>
                      </a:cubicBezTo>
                      <a:cubicBezTo>
                        <a:pt x="9544" y="7063"/>
                        <a:pt x="10824" y="-3269"/>
                        <a:pt x="5117" y="1060"/>
                      </a:cubicBezTo>
                      <a:close/>
                    </a:path>
                  </a:pathLst>
                </a:custGeom>
                <a:grpFill/>
                <a:ln w="9835" cap="flat">
                  <a:noFill/>
                  <a:prstDash val="solid"/>
                  <a:miter/>
                </a:ln>
              </p:spPr>
              <p:txBody>
                <a:bodyPr rtlCol="0" anchor="ctr"/>
                <a:lstStyle/>
                <a:p>
                  <a:endParaRPr lang="en-IN"/>
                </a:p>
              </p:txBody>
            </p:sp>
          </p:grpSp>
        </p:grpSp>
        <p:sp>
          <p:nvSpPr>
            <p:cNvPr id="500" name="Freeform: Shape 499">
              <a:extLst>
                <a:ext uri="{FF2B5EF4-FFF2-40B4-BE49-F238E27FC236}">
                  <a16:creationId xmlns:a16="http://schemas.microsoft.com/office/drawing/2014/main" id="{F0C49041-A97F-F047-72F9-B31420AD425A}"/>
                </a:ext>
              </a:extLst>
            </p:cNvPr>
            <p:cNvSpPr/>
            <p:nvPr/>
          </p:nvSpPr>
          <p:spPr>
            <a:xfrm>
              <a:off x="7925508" y="4278805"/>
              <a:ext cx="129193" cy="99970"/>
            </a:xfrm>
            <a:custGeom>
              <a:avLst/>
              <a:gdLst>
                <a:gd name="connsiteX0" fmla="*/ 72518 w 129193"/>
                <a:gd name="connsiteY0" fmla="*/ 99970 h 99970"/>
                <a:gd name="connsiteX1" fmla="*/ 129194 w 129193"/>
                <a:gd name="connsiteY1" fmla="*/ 99970 h 99970"/>
                <a:gd name="connsiteX2" fmla="*/ 95838 w 129193"/>
                <a:gd name="connsiteY2" fmla="*/ 39358 h 99970"/>
                <a:gd name="connsiteX3" fmla="*/ 81669 w 129193"/>
                <a:gd name="connsiteY3" fmla="*/ 36210 h 99970"/>
                <a:gd name="connsiteX4" fmla="*/ 94067 w 129193"/>
                <a:gd name="connsiteY4" fmla="*/ 21942 h 99970"/>
                <a:gd name="connsiteX5" fmla="*/ 104497 w 129193"/>
                <a:gd name="connsiteY5" fmla="*/ 21155 h 99970"/>
                <a:gd name="connsiteX6" fmla="*/ 90524 w 129193"/>
                <a:gd name="connsiteY6" fmla="*/ 1673 h 99970"/>
                <a:gd name="connsiteX7" fmla="*/ 36898 w 129193"/>
                <a:gd name="connsiteY7" fmla="*/ 0 h 99970"/>
                <a:gd name="connsiteX8" fmla="*/ 0 w 129193"/>
                <a:gd name="connsiteY8" fmla="*/ 65138 h 99970"/>
                <a:gd name="connsiteX9" fmla="*/ 0 w 129193"/>
                <a:gd name="connsiteY9" fmla="*/ 65138 h 99970"/>
                <a:gd name="connsiteX10" fmla="*/ 58546 w 129193"/>
                <a:gd name="connsiteY10" fmla="*/ 68188 h 99970"/>
                <a:gd name="connsiteX11" fmla="*/ 72518 w 129193"/>
                <a:gd name="connsiteY11" fmla="*/ 99970 h 9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193" h="99970">
                  <a:moveTo>
                    <a:pt x="72518" y="99970"/>
                  </a:moveTo>
                  <a:lnTo>
                    <a:pt x="129194" y="99970"/>
                  </a:lnTo>
                  <a:cubicBezTo>
                    <a:pt x="100561" y="35816"/>
                    <a:pt x="102135" y="38571"/>
                    <a:pt x="95838" y="39358"/>
                  </a:cubicBezTo>
                  <a:cubicBezTo>
                    <a:pt x="91213" y="39260"/>
                    <a:pt x="78028" y="43688"/>
                    <a:pt x="81669" y="36210"/>
                  </a:cubicBezTo>
                  <a:cubicBezTo>
                    <a:pt x="84227" y="32372"/>
                    <a:pt x="85900" y="22237"/>
                    <a:pt x="94067" y="21942"/>
                  </a:cubicBezTo>
                  <a:cubicBezTo>
                    <a:pt x="96035" y="21647"/>
                    <a:pt x="100167" y="22139"/>
                    <a:pt x="104497" y="21155"/>
                  </a:cubicBezTo>
                  <a:lnTo>
                    <a:pt x="90524" y="1673"/>
                  </a:lnTo>
                  <a:lnTo>
                    <a:pt x="36898" y="0"/>
                  </a:lnTo>
                  <a:lnTo>
                    <a:pt x="0" y="65138"/>
                  </a:lnTo>
                  <a:lnTo>
                    <a:pt x="0" y="65138"/>
                  </a:lnTo>
                  <a:lnTo>
                    <a:pt x="58546" y="68188"/>
                  </a:lnTo>
                  <a:lnTo>
                    <a:pt x="72518" y="99970"/>
                  </a:lnTo>
                  <a:close/>
                </a:path>
              </a:pathLst>
            </a:custGeom>
            <a:grpFill/>
            <a:ln w="9835" cap="flat">
              <a:noFill/>
              <a:prstDash val="solid"/>
              <a:miter/>
            </a:ln>
          </p:spPr>
          <p:txBody>
            <a:bodyPr rtlCol="0" anchor="ctr"/>
            <a:lstStyle/>
            <a:p>
              <a:endParaRPr lang="en-IN"/>
            </a:p>
          </p:txBody>
        </p:sp>
        <p:sp>
          <p:nvSpPr>
            <p:cNvPr id="501" name="Freeform: Shape 500">
              <a:extLst>
                <a:ext uri="{FF2B5EF4-FFF2-40B4-BE49-F238E27FC236}">
                  <a16:creationId xmlns:a16="http://schemas.microsoft.com/office/drawing/2014/main" id="{627AB68A-F90A-92CC-9585-F8B296C17823}"/>
                </a:ext>
              </a:extLst>
            </p:cNvPr>
            <p:cNvSpPr/>
            <p:nvPr/>
          </p:nvSpPr>
          <p:spPr>
            <a:xfrm>
              <a:off x="7528579" y="3303406"/>
              <a:ext cx="412869" cy="197578"/>
            </a:xfrm>
            <a:custGeom>
              <a:avLst/>
              <a:gdLst>
                <a:gd name="connsiteX0" fmla="*/ 321755 w 412869"/>
                <a:gd name="connsiteY0" fmla="*/ 164223 h 197578"/>
                <a:gd name="connsiteX1" fmla="*/ 398405 w 412869"/>
                <a:gd name="connsiteY1" fmla="*/ 197579 h 197578"/>
                <a:gd name="connsiteX2" fmla="*/ 412870 w 412869"/>
                <a:gd name="connsiteY2" fmla="*/ 180852 h 197578"/>
                <a:gd name="connsiteX3" fmla="*/ 376857 w 412869"/>
                <a:gd name="connsiteY3" fmla="*/ 152219 h 197578"/>
                <a:gd name="connsiteX4" fmla="*/ 401751 w 412869"/>
                <a:gd name="connsiteY4" fmla="*/ 131162 h 197578"/>
                <a:gd name="connsiteX5" fmla="*/ 350093 w 412869"/>
                <a:gd name="connsiteY5" fmla="*/ 109515 h 197578"/>
                <a:gd name="connsiteX6" fmla="*/ 352553 w 412869"/>
                <a:gd name="connsiteY6" fmla="*/ 86096 h 197578"/>
                <a:gd name="connsiteX7" fmla="*/ 294696 w 412869"/>
                <a:gd name="connsiteY7" fmla="*/ 66417 h 197578"/>
                <a:gd name="connsiteX8" fmla="*/ 240578 w 412869"/>
                <a:gd name="connsiteY8" fmla="*/ 79996 h 197578"/>
                <a:gd name="connsiteX9" fmla="*/ 171701 w 412869"/>
                <a:gd name="connsiteY9" fmla="*/ 30798 h 197578"/>
                <a:gd name="connsiteX10" fmla="*/ 113844 w 412869"/>
                <a:gd name="connsiteY10" fmla="*/ 33258 h 197578"/>
                <a:gd name="connsiteX11" fmla="*/ 14267 w 412869"/>
                <a:gd name="connsiteY11" fmla="*/ 0 h 197578"/>
                <a:gd name="connsiteX12" fmla="*/ 0 w 412869"/>
                <a:gd name="connsiteY12" fmla="*/ 15842 h 197578"/>
                <a:gd name="connsiteX13" fmla="*/ 0 w 412869"/>
                <a:gd name="connsiteY13" fmla="*/ 15842 h 197578"/>
                <a:gd name="connsiteX14" fmla="*/ 14858 w 412869"/>
                <a:gd name="connsiteY14" fmla="*/ 26272 h 197578"/>
                <a:gd name="connsiteX15" fmla="*/ 23025 w 412869"/>
                <a:gd name="connsiteY15" fmla="*/ 35226 h 197578"/>
                <a:gd name="connsiteX16" fmla="*/ 52347 w 412869"/>
                <a:gd name="connsiteY16" fmla="*/ 43491 h 197578"/>
                <a:gd name="connsiteX17" fmla="*/ 67500 w 412869"/>
                <a:gd name="connsiteY17" fmla="*/ 54511 h 197578"/>
                <a:gd name="connsiteX18" fmla="*/ 76060 w 412869"/>
                <a:gd name="connsiteY18" fmla="*/ 64646 h 197578"/>
                <a:gd name="connsiteX19" fmla="*/ 89147 w 412869"/>
                <a:gd name="connsiteY19" fmla="*/ 72124 h 197578"/>
                <a:gd name="connsiteX20" fmla="*/ 107350 w 412869"/>
                <a:gd name="connsiteY20" fmla="*/ 127127 h 197578"/>
                <a:gd name="connsiteX21" fmla="*/ 104201 w 412869"/>
                <a:gd name="connsiteY21" fmla="*/ 144839 h 197578"/>
                <a:gd name="connsiteX22" fmla="*/ 92394 w 412869"/>
                <a:gd name="connsiteY22" fmla="*/ 156351 h 197578"/>
                <a:gd name="connsiteX23" fmla="*/ 88950 w 412869"/>
                <a:gd name="connsiteY23" fmla="*/ 160582 h 197578"/>
                <a:gd name="connsiteX24" fmla="*/ 148971 w 412869"/>
                <a:gd name="connsiteY24" fmla="*/ 167863 h 197578"/>
                <a:gd name="connsiteX25" fmla="*/ 158221 w 412869"/>
                <a:gd name="connsiteY25" fmla="*/ 153793 h 197578"/>
                <a:gd name="connsiteX26" fmla="*/ 175440 w 412869"/>
                <a:gd name="connsiteY26" fmla="*/ 153793 h 197578"/>
                <a:gd name="connsiteX27" fmla="*/ 213618 w 412869"/>
                <a:gd name="connsiteY27" fmla="*/ 191577 h 197578"/>
                <a:gd name="connsiteX28" fmla="*/ 305224 w 412869"/>
                <a:gd name="connsiteY28" fmla="*/ 179474 h 197578"/>
                <a:gd name="connsiteX29" fmla="*/ 321656 w 412869"/>
                <a:gd name="connsiteY29" fmla="*/ 164223 h 19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12869" h="197578">
                  <a:moveTo>
                    <a:pt x="321755" y="164223"/>
                  </a:moveTo>
                  <a:lnTo>
                    <a:pt x="398405" y="197579"/>
                  </a:lnTo>
                  <a:lnTo>
                    <a:pt x="412870" y="180852"/>
                  </a:lnTo>
                  <a:lnTo>
                    <a:pt x="376857" y="152219"/>
                  </a:lnTo>
                  <a:lnTo>
                    <a:pt x="401751" y="131162"/>
                  </a:lnTo>
                  <a:lnTo>
                    <a:pt x="350093" y="109515"/>
                  </a:lnTo>
                  <a:lnTo>
                    <a:pt x="352553" y="86096"/>
                  </a:lnTo>
                  <a:lnTo>
                    <a:pt x="294696" y="66417"/>
                  </a:lnTo>
                  <a:lnTo>
                    <a:pt x="240578" y="79996"/>
                  </a:lnTo>
                  <a:lnTo>
                    <a:pt x="171701" y="30798"/>
                  </a:lnTo>
                  <a:lnTo>
                    <a:pt x="113844" y="33258"/>
                  </a:lnTo>
                  <a:lnTo>
                    <a:pt x="14267" y="0"/>
                  </a:lnTo>
                  <a:lnTo>
                    <a:pt x="0" y="15842"/>
                  </a:lnTo>
                  <a:lnTo>
                    <a:pt x="0" y="15842"/>
                  </a:lnTo>
                  <a:cubicBezTo>
                    <a:pt x="6691" y="18498"/>
                    <a:pt x="12792" y="19876"/>
                    <a:pt x="14858" y="26272"/>
                  </a:cubicBezTo>
                  <a:cubicBezTo>
                    <a:pt x="15448" y="27256"/>
                    <a:pt x="16039" y="34242"/>
                    <a:pt x="23025" y="35226"/>
                  </a:cubicBezTo>
                  <a:cubicBezTo>
                    <a:pt x="44672" y="38276"/>
                    <a:pt x="49001" y="37883"/>
                    <a:pt x="52347" y="43491"/>
                  </a:cubicBezTo>
                  <a:cubicBezTo>
                    <a:pt x="56479" y="50477"/>
                    <a:pt x="64745" y="46640"/>
                    <a:pt x="67500" y="54511"/>
                  </a:cubicBezTo>
                  <a:cubicBezTo>
                    <a:pt x="68090" y="55495"/>
                    <a:pt x="69074" y="63269"/>
                    <a:pt x="76060" y="64646"/>
                  </a:cubicBezTo>
                  <a:cubicBezTo>
                    <a:pt x="78028" y="65335"/>
                    <a:pt x="86687" y="64843"/>
                    <a:pt x="89147" y="72124"/>
                  </a:cubicBezTo>
                  <a:lnTo>
                    <a:pt x="107350" y="127127"/>
                  </a:lnTo>
                  <a:cubicBezTo>
                    <a:pt x="109810" y="134507"/>
                    <a:pt x="103906" y="145823"/>
                    <a:pt x="104201" y="144839"/>
                  </a:cubicBezTo>
                  <a:cubicBezTo>
                    <a:pt x="101348" y="152120"/>
                    <a:pt x="97904" y="149759"/>
                    <a:pt x="92394" y="156351"/>
                  </a:cubicBezTo>
                  <a:cubicBezTo>
                    <a:pt x="91115" y="157827"/>
                    <a:pt x="90131" y="159205"/>
                    <a:pt x="88950" y="160582"/>
                  </a:cubicBezTo>
                  <a:lnTo>
                    <a:pt x="148971" y="167863"/>
                  </a:lnTo>
                  <a:lnTo>
                    <a:pt x="158221" y="153793"/>
                  </a:lnTo>
                  <a:lnTo>
                    <a:pt x="175440" y="153793"/>
                  </a:lnTo>
                  <a:lnTo>
                    <a:pt x="213618" y="191577"/>
                  </a:lnTo>
                  <a:lnTo>
                    <a:pt x="305224" y="179474"/>
                  </a:lnTo>
                  <a:lnTo>
                    <a:pt x="321656" y="164223"/>
                  </a:lnTo>
                  <a:close/>
                </a:path>
              </a:pathLst>
            </a:custGeom>
            <a:grpFill/>
            <a:ln w="9835" cap="flat">
              <a:noFill/>
              <a:prstDash val="solid"/>
              <a:miter/>
            </a:ln>
          </p:spPr>
          <p:txBody>
            <a:bodyPr rtlCol="0" anchor="ctr"/>
            <a:lstStyle/>
            <a:p>
              <a:endParaRPr lang="en-IN"/>
            </a:p>
          </p:txBody>
        </p:sp>
        <p:sp>
          <p:nvSpPr>
            <p:cNvPr id="502" name="Freeform: Shape 501">
              <a:extLst>
                <a:ext uri="{FF2B5EF4-FFF2-40B4-BE49-F238E27FC236}">
                  <a16:creationId xmlns:a16="http://schemas.microsoft.com/office/drawing/2014/main" id="{5F3C2812-DAAB-C8CB-635E-13C2C8F4A2C7}"/>
                </a:ext>
              </a:extLst>
            </p:cNvPr>
            <p:cNvSpPr/>
            <p:nvPr/>
          </p:nvSpPr>
          <p:spPr>
            <a:xfrm>
              <a:off x="9532463" y="6645572"/>
              <a:ext cx="10076" cy="14126"/>
            </a:xfrm>
            <a:custGeom>
              <a:avLst/>
              <a:gdLst>
                <a:gd name="connsiteX0" fmla="*/ 8314 w 10076"/>
                <a:gd name="connsiteY0" fmla="*/ 3691 h 14126"/>
                <a:gd name="connsiteX1" fmla="*/ 540 w 10076"/>
                <a:gd name="connsiteY1" fmla="*/ 10185 h 14126"/>
                <a:gd name="connsiteX2" fmla="*/ 8314 w 10076"/>
                <a:gd name="connsiteY2" fmla="*/ 3691 h 14126"/>
              </a:gdLst>
              <a:ahLst/>
              <a:cxnLst>
                <a:cxn ang="0">
                  <a:pos x="connsiteX0" y="connsiteY0"/>
                </a:cxn>
                <a:cxn ang="0">
                  <a:pos x="connsiteX1" y="connsiteY1"/>
                </a:cxn>
                <a:cxn ang="0">
                  <a:pos x="connsiteX2" y="connsiteY2"/>
                </a:cxn>
              </a:cxnLst>
              <a:rect l="l" t="t" r="r" b="b"/>
              <a:pathLst>
                <a:path w="10076" h="14126">
                  <a:moveTo>
                    <a:pt x="8314" y="3691"/>
                  </a:moveTo>
                  <a:cubicBezTo>
                    <a:pt x="2606" y="-6247"/>
                    <a:pt x="-1526" y="6643"/>
                    <a:pt x="540" y="10185"/>
                  </a:cubicBezTo>
                  <a:cubicBezTo>
                    <a:pt x="5066" y="18056"/>
                    <a:pt x="13824" y="13235"/>
                    <a:pt x="8314" y="3691"/>
                  </a:cubicBezTo>
                  <a:close/>
                </a:path>
              </a:pathLst>
            </a:custGeom>
            <a:grpFill/>
            <a:ln w="9835" cap="flat">
              <a:noFill/>
              <a:prstDash val="solid"/>
              <a:miter/>
            </a:ln>
          </p:spPr>
          <p:txBody>
            <a:bodyPr rtlCol="0" anchor="ctr"/>
            <a:lstStyle/>
            <a:p>
              <a:endParaRPr lang="en-IN"/>
            </a:p>
          </p:txBody>
        </p:sp>
        <p:grpSp>
          <p:nvGrpSpPr>
            <p:cNvPr id="503" name="Graphic 470">
              <a:extLst>
                <a:ext uri="{FF2B5EF4-FFF2-40B4-BE49-F238E27FC236}">
                  <a16:creationId xmlns:a16="http://schemas.microsoft.com/office/drawing/2014/main" id="{D96B3F20-DD21-F119-9669-983EC13E641B}"/>
                </a:ext>
              </a:extLst>
            </p:cNvPr>
            <p:cNvGrpSpPr/>
            <p:nvPr/>
          </p:nvGrpSpPr>
          <p:grpSpPr>
            <a:xfrm>
              <a:off x="9612802" y="2514664"/>
              <a:ext cx="3790409" cy="2536622"/>
              <a:chOff x="9612802" y="2514664"/>
              <a:chExt cx="3790409" cy="2536622"/>
            </a:xfrm>
            <a:grpFill/>
          </p:grpSpPr>
          <p:sp>
            <p:nvSpPr>
              <p:cNvPr id="524" name="Freeform: Shape 523">
                <a:extLst>
                  <a:ext uri="{FF2B5EF4-FFF2-40B4-BE49-F238E27FC236}">
                    <a16:creationId xmlns:a16="http://schemas.microsoft.com/office/drawing/2014/main" id="{C5E4890B-3C24-D46D-CBAE-C94530C23B2D}"/>
                  </a:ext>
                </a:extLst>
              </p:cNvPr>
              <p:cNvSpPr/>
              <p:nvPr/>
            </p:nvSpPr>
            <p:spPr>
              <a:xfrm>
                <a:off x="12609815" y="4259988"/>
                <a:ext cx="19810" cy="14852"/>
              </a:xfrm>
              <a:custGeom>
                <a:avLst/>
                <a:gdLst>
                  <a:gd name="connsiteX0" fmla="*/ 29 w 19810"/>
                  <a:gd name="connsiteY0" fmla="*/ 2975 h 14852"/>
                  <a:gd name="connsiteX1" fmla="*/ 4556 w 19810"/>
                  <a:gd name="connsiteY1" fmla="*/ 10158 h 14852"/>
                  <a:gd name="connsiteX2" fmla="*/ 19807 w 19810"/>
                  <a:gd name="connsiteY2" fmla="*/ 11929 h 14852"/>
                  <a:gd name="connsiteX3" fmla="*/ 14986 w 19810"/>
                  <a:gd name="connsiteY3" fmla="*/ 4845 h 14852"/>
                  <a:gd name="connsiteX4" fmla="*/ 29 w 19810"/>
                  <a:gd name="connsiteY4" fmla="*/ 3073 h 14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10" h="14852">
                    <a:moveTo>
                      <a:pt x="29" y="2975"/>
                    </a:moveTo>
                    <a:cubicBezTo>
                      <a:pt x="-266" y="5730"/>
                      <a:pt x="1702" y="8879"/>
                      <a:pt x="4556" y="10158"/>
                    </a:cubicBezTo>
                    <a:cubicBezTo>
                      <a:pt x="8590" y="11339"/>
                      <a:pt x="19512" y="18915"/>
                      <a:pt x="19807" y="11929"/>
                    </a:cubicBezTo>
                    <a:cubicBezTo>
                      <a:pt x="19905" y="9272"/>
                      <a:pt x="17740" y="6124"/>
                      <a:pt x="14986" y="4845"/>
                    </a:cubicBezTo>
                    <a:cubicBezTo>
                      <a:pt x="10951" y="3565"/>
                      <a:pt x="915" y="-4208"/>
                      <a:pt x="29" y="3073"/>
                    </a:cubicBezTo>
                    <a:close/>
                  </a:path>
                </a:pathLst>
              </a:custGeom>
              <a:grpFill/>
              <a:ln w="9835" cap="flat">
                <a:noFill/>
                <a:prstDash val="solid"/>
                <a:miter/>
              </a:ln>
            </p:spPr>
            <p:txBody>
              <a:bodyPr rtlCol="0" anchor="ctr"/>
              <a:lstStyle/>
              <a:p>
                <a:endParaRPr lang="en-IN"/>
              </a:p>
            </p:txBody>
          </p:sp>
          <p:sp>
            <p:nvSpPr>
              <p:cNvPr id="525" name="Freeform: Shape 524">
                <a:extLst>
                  <a:ext uri="{FF2B5EF4-FFF2-40B4-BE49-F238E27FC236}">
                    <a16:creationId xmlns:a16="http://schemas.microsoft.com/office/drawing/2014/main" id="{B7C27238-FEF6-134B-FAB2-16FFD8FB3850}"/>
                  </a:ext>
                </a:extLst>
              </p:cNvPr>
              <p:cNvSpPr/>
              <p:nvPr/>
            </p:nvSpPr>
            <p:spPr>
              <a:xfrm>
                <a:off x="12619997" y="4246157"/>
                <a:ext cx="15375" cy="8886"/>
              </a:xfrm>
              <a:custGeom>
                <a:avLst/>
                <a:gdLst>
                  <a:gd name="connsiteX0" fmla="*/ 376 w 15375"/>
                  <a:gd name="connsiteY0" fmla="*/ 4408 h 8886"/>
                  <a:gd name="connsiteX1" fmla="*/ 7854 w 15375"/>
                  <a:gd name="connsiteY1" fmla="*/ 8836 h 8886"/>
                  <a:gd name="connsiteX2" fmla="*/ 11101 w 15375"/>
                  <a:gd name="connsiteY2" fmla="*/ 8344 h 8886"/>
                  <a:gd name="connsiteX3" fmla="*/ 8346 w 15375"/>
                  <a:gd name="connsiteY3" fmla="*/ 571 h 8886"/>
                  <a:gd name="connsiteX4" fmla="*/ 376 w 15375"/>
                  <a:gd name="connsiteY4" fmla="*/ 4408 h 8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5" h="8886">
                    <a:moveTo>
                      <a:pt x="376" y="4408"/>
                    </a:moveTo>
                    <a:cubicBezTo>
                      <a:pt x="1458" y="7262"/>
                      <a:pt x="4902" y="9230"/>
                      <a:pt x="7854" y="8836"/>
                    </a:cubicBezTo>
                    <a:lnTo>
                      <a:pt x="11101" y="8344"/>
                    </a:lnTo>
                    <a:cubicBezTo>
                      <a:pt x="18382" y="7360"/>
                      <a:pt x="15627" y="1457"/>
                      <a:pt x="8346" y="571"/>
                    </a:cubicBezTo>
                    <a:cubicBezTo>
                      <a:pt x="8346" y="571"/>
                      <a:pt x="-2084" y="-2184"/>
                      <a:pt x="376" y="4408"/>
                    </a:cubicBezTo>
                    <a:close/>
                  </a:path>
                </a:pathLst>
              </a:custGeom>
              <a:grpFill/>
              <a:ln w="9835" cap="flat">
                <a:noFill/>
                <a:prstDash val="solid"/>
                <a:miter/>
              </a:ln>
            </p:spPr>
            <p:txBody>
              <a:bodyPr rtlCol="0" anchor="ctr"/>
              <a:lstStyle/>
              <a:p>
                <a:endParaRPr lang="en-IN"/>
              </a:p>
            </p:txBody>
          </p:sp>
          <p:sp>
            <p:nvSpPr>
              <p:cNvPr id="526" name="Freeform: Shape 525">
                <a:extLst>
                  <a:ext uri="{FF2B5EF4-FFF2-40B4-BE49-F238E27FC236}">
                    <a16:creationId xmlns:a16="http://schemas.microsoft.com/office/drawing/2014/main" id="{45EC5293-36F8-1A3E-F0B1-F5A67D021C64}"/>
                  </a:ext>
                </a:extLst>
              </p:cNvPr>
              <p:cNvSpPr/>
              <p:nvPr/>
            </p:nvSpPr>
            <p:spPr>
              <a:xfrm>
                <a:off x="12631356" y="4232356"/>
                <a:ext cx="9038" cy="7814"/>
              </a:xfrm>
              <a:custGeom>
                <a:avLst/>
                <a:gdLst>
                  <a:gd name="connsiteX0" fmla="*/ 8401 w 9038"/>
                  <a:gd name="connsiteY0" fmla="*/ 6697 h 7814"/>
                  <a:gd name="connsiteX1" fmla="*/ 1808 w 9038"/>
                  <a:gd name="connsiteY1" fmla="*/ 793 h 7814"/>
                  <a:gd name="connsiteX2" fmla="*/ 8401 w 9038"/>
                  <a:gd name="connsiteY2" fmla="*/ 6697 h 7814"/>
                </a:gdLst>
                <a:ahLst/>
                <a:cxnLst>
                  <a:cxn ang="0">
                    <a:pos x="connsiteX0" y="connsiteY0"/>
                  </a:cxn>
                  <a:cxn ang="0">
                    <a:pos x="connsiteX1" y="connsiteY1"/>
                  </a:cxn>
                  <a:cxn ang="0">
                    <a:pos x="connsiteX2" y="connsiteY2"/>
                  </a:cxn>
                </a:cxnLst>
                <a:rect l="l" t="t" r="r" b="b"/>
                <a:pathLst>
                  <a:path w="9038" h="7814">
                    <a:moveTo>
                      <a:pt x="8401" y="6697"/>
                    </a:moveTo>
                    <a:cubicBezTo>
                      <a:pt x="10566" y="5221"/>
                      <a:pt x="6925" y="-2454"/>
                      <a:pt x="1808" y="793"/>
                    </a:cubicBezTo>
                    <a:cubicBezTo>
                      <a:pt x="-3111" y="3843"/>
                      <a:pt x="2989" y="10436"/>
                      <a:pt x="8401" y="6697"/>
                    </a:cubicBezTo>
                    <a:close/>
                  </a:path>
                </a:pathLst>
              </a:custGeom>
              <a:grpFill/>
              <a:ln w="9835" cap="flat">
                <a:noFill/>
                <a:prstDash val="solid"/>
                <a:miter/>
              </a:ln>
            </p:spPr>
            <p:txBody>
              <a:bodyPr rtlCol="0" anchor="ctr"/>
              <a:lstStyle/>
              <a:p>
                <a:endParaRPr lang="en-IN"/>
              </a:p>
            </p:txBody>
          </p:sp>
          <p:sp>
            <p:nvSpPr>
              <p:cNvPr id="527" name="Freeform: Shape 526">
                <a:extLst>
                  <a:ext uri="{FF2B5EF4-FFF2-40B4-BE49-F238E27FC236}">
                    <a16:creationId xmlns:a16="http://schemas.microsoft.com/office/drawing/2014/main" id="{81D9ECAA-B540-FB59-5487-5904892C6412}"/>
                  </a:ext>
                </a:extLst>
              </p:cNvPr>
              <p:cNvSpPr/>
              <p:nvPr/>
            </p:nvSpPr>
            <p:spPr>
              <a:xfrm>
                <a:off x="11782724" y="4926007"/>
                <a:ext cx="142753" cy="125279"/>
              </a:xfrm>
              <a:custGeom>
                <a:avLst/>
                <a:gdLst>
                  <a:gd name="connsiteX0" fmla="*/ 114831 w 142753"/>
                  <a:gd name="connsiteY0" fmla="*/ 342 h 125279"/>
                  <a:gd name="connsiteX1" fmla="*/ 56975 w 142753"/>
                  <a:gd name="connsiteY1" fmla="*/ 11854 h 125279"/>
                  <a:gd name="connsiteX2" fmla="*/ 35032 w 142753"/>
                  <a:gd name="connsiteY2" fmla="*/ 17462 h 125279"/>
                  <a:gd name="connsiteX3" fmla="*/ 25783 w 142753"/>
                  <a:gd name="connsiteY3" fmla="*/ 30746 h 125279"/>
                  <a:gd name="connsiteX4" fmla="*/ 200 w 142753"/>
                  <a:gd name="connsiteY4" fmla="*/ 57018 h 125279"/>
                  <a:gd name="connsiteX5" fmla="*/ 5415 w 142753"/>
                  <a:gd name="connsiteY5" fmla="*/ 105133 h 125279"/>
                  <a:gd name="connsiteX6" fmla="*/ 57369 w 142753"/>
                  <a:gd name="connsiteY6" fmla="*/ 124911 h 125279"/>
                  <a:gd name="connsiteX7" fmla="*/ 64748 w 142753"/>
                  <a:gd name="connsiteY7" fmla="*/ 121762 h 125279"/>
                  <a:gd name="connsiteX8" fmla="*/ 67897 w 142753"/>
                  <a:gd name="connsiteY8" fmla="*/ 113301 h 125279"/>
                  <a:gd name="connsiteX9" fmla="*/ 102729 w 142753"/>
                  <a:gd name="connsiteY9" fmla="*/ 94507 h 125279"/>
                  <a:gd name="connsiteX10" fmla="*/ 109420 w 142753"/>
                  <a:gd name="connsiteY10" fmla="*/ 86635 h 125279"/>
                  <a:gd name="connsiteX11" fmla="*/ 127426 w 142753"/>
                  <a:gd name="connsiteY11" fmla="*/ 41668 h 125279"/>
                  <a:gd name="connsiteX12" fmla="*/ 142678 w 142753"/>
                  <a:gd name="connsiteY12" fmla="*/ 24842 h 125279"/>
                  <a:gd name="connsiteX13" fmla="*/ 135298 w 142753"/>
                  <a:gd name="connsiteY13" fmla="*/ 5360 h 125279"/>
                  <a:gd name="connsiteX14" fmla="*/ 114930 w 142753"/>
                  <a:gd name="connsiteY14" fmla="*/ 145 h 12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753" h="125279">
                    <a:moveTo>
                      <a:pt x="114831" y="342"/>
                    </a:moveTo>
                    <a:cubicBezTo>
                      <a:pt x="62780" y="7032"/>
                      <a:pt x="58943" y="5950"/>
                      <a:pt x="56975" y="11854"/>
                    </a:cubicBezTo>
                    <a:cubicBezTo>
                      <a:pt x="54121" y="20611"/>
                      <a:pt x="39854" y="7820"/>
                      <a:pt x="35032" y="17462"/>
                    </a:cubicBezTo>
                    <a:cubicBezTo>
                      <a:pt x="33064" y="21398"/>
                      <a:pt x="30900" y="26614"/>
                      <a:pt x="25783" y="30746"/>
                    </a:cubicBezTo>
                    <a:cubicBezTo>
                      <a:pt x="4136" y="48260"/>
                      <a:pt x="200" y="50032"/>
                      <a:pt x="200" y="57018"/>
                    </a:cubicBezTo>
                    <a:cubicBezTo>
                      <a:pt x="200" y="97852"/>
                      <a:pt x="-1571" y="102378"/>
                      <a:pt x="5415" y="105133"/>
                    </a:cubicBezTo>
                    <a:lnTo>
                      <a:pt x="57369" y="124911"/>
                    </a:lnTo>
                    <a:cubicBezTo>
                      <a:pt x="60222" y="125993"/>
                      <a:pt x="63568" y="124616"/>
                      <a:pt x="64748" y="121762"/>
                    </a:cubicBezTo>
                    <a:cubicBezTo>
                      <a:pt x="64748" y="121762"/>
                      <a:pt x="67897" y="114580"/>
                      <a:pt x="67897" y="113301"/>
                    </a:cubicBezTo>
                    <a:cubicBezTo>
                      <a:pt x="67897" y="112021"/>
                      <a:pt x="102729" y="94507"/>
                      <a:pt x="102729" y="94507"/>
                    </a:cubicBezTo>
                    <a:cubicBezTo>
                      <a:pt x="105484" y="93129"/>
                      <a:pt x="108436" y="89587"/>
                      <a:pt x="109420" y="86635"/>
                    </a:cubicBezTo>
                    <a:cubicBezTo>
                      <a:pt x="121621" y="48654"/>
                      <a:pt x="121621" y="45800"/>
                      <a:pt x="127426" y="41668"/>
                    </a:cubicBezTo>
                    <a:cubicBezTo>
                      <a:pt x="132937" y="36748"/>
                      <a:pt x="143760" y="33403"/>
                      <a:pt x="142678" y="24842"/>
                    </a:cubicBezTo>
                    <a:cubicBezTo>
                      <a:pt x="141202" y="18840"/>
                      <a:pt x="143072" y="8410"/>
                      <a:pt x="135298" y="5360"/>
                    </a:cubicBezTo>
                    <a:cubicBezTo>
                      <a:pt x="128410" y="2605"/>
                      <a:pt x="121916" y="-741"/>
                      <a:pt x="114930" y="145"/>
                    </a:cubicBezTo>
                    <a:close/>
                  </a:path>
                </a:pathLst>
              </a:custGeom>
              <a:grpFill/>
              <a:ln w="9835" cap="flat">
                <a:noFill/>
                <a:prstDash val="solid"/>
                <a:miter/>
              </a:ln>
            </p:spPr>
            <p:txBody>
              <a:bodyPr rtlCol="0" anchor="ctr"/>
              <a:lstStyle/>
              <a:p>
                <a:endParaRPr lang="en-IN"/>
              </a:p>
            </p:txBody>
          </p:sp>
          <p:sp>
            <p:nvSpPr>
              <p:cNvPr id="528" name="Freeform: Shape 527">
                <a:extLst>
                  <a:ext uri="{FF2B5EF4-FFF2-40B4-BE49-F238E27FC236}">
                    <a16:creationId xmlns:a16="http://schemas.microsoft.com/office/drawing/2014/main" id="{ECCA03EE-1BB8-0977-29C2-95B3E74B25AF}"/>
                  </a:ext>
                </a:extLst>
              </p:cNvPr>
              <p:cNvSpPr/>
              <p:nvPr/>
            </p:nvSpPr>
            <p:spPr>
              <a:xfrm>
                <a:off x="12374705" y="4636642"/>
                <a:ext cx="15197" cy="13275"/>
              </a:xfrm>
              <a:custGeom>
                <a:avLst/>
                <a:gdLst>
                  <a:gd name="connsiteX0" fmla="*/ 8927 w 15197"/>
                  <a:gd name="connsiteY0" fmla="*/ 12034 h 13275"/>
                  <a:gd name="connsiteX1" fmla="*/ 13355 w 15197"/>
                  <a:gd name="connsiteY1" fmla="*/ 8196 h 13275"/>
                  <a:gd name="connsiteX2" fmla="*/ 4204 w 15197"/>
                  <a:gd name="connsiteY2" fmla="*/ 915 h 13275"/>
                  <a:gd name="connsiteX3" fmla="*/ 3023 w 15197"/>
                  <a:gd name="connsiteY3" fmla="*/ 1407 h 13275"/>
                  <a:gd name="connsiteX4" fmla="*/ 662 w 15197"/>
                  <a:gd name="connsiteY4" fmla="*/ 8589 h 13275"/>
                  <a:gd name="connsiteX5" fmla="*/ 1940 w 15197"/>
                  <a:gd name="connsiteY5" fmla="*/ 10853 h 13275"/>
                  <a:gd name="connsiteX6" fmla="*/ 8927 w 15197"/>
                  <a:gd name="connsiteY6" fmla="*/ 12034 h 1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7" h="13275">
                    <a:moveTo>
                      <a:pt x="8927" y="12034"/>
                    </a:moveTo>
                    <a:lnTo>
                      <a:pt x="13355" y="8196"/>
                    </a:lnTo>
                    <a:cubicBezTo>
                      <a:pt x="18865" y="3375"/>
                      <a:pt x="10895" y="-2234"/>
                      <a:pt x="4204" y="915"/>
                    </a:cubicBezTo>
                    <a:lnTo>
                      <a:pt x="3023" y="1407"/>
                    </a:lnTo>
                    <a:cubicBezTo>
                      <a:pt x="268" y="2686"/>
                      <a:pt x="-814" y="5933"/>
                      <a:pt x="662" y="8589"/>
                    </a:cubicBezTo>
                    <a:lnTo>
                      <a:pt x="1940" y="10853"/>
                    </a:lnTo>
                    <a:cubicBezTo>
                      <a:pt x="3417" y="13509"/>
                      <a:pt x="6565" y="14100"/>
                      <a:pt x="8927" y="12034"/>
                    </a:cubicBezTo>
                    <a:close/>
                  </a:path>
                </a:pathLst>
              </a:custGeom>
              <a:grpFill/>
              <a:ln w="9835" cap="flat">
                <a:noFill/>
                <a:prstDash val="solid"/>
                <a:miter/>
              </a:ln>
            </p:spPr>
            <p:txBody>
              <a:bodyPr rtlCol="0" anchor="ctr"/>
              <a:lstStyle/>
              <a:p>
                <a:endParaRPr lang="en-IN"/>
              </a:p>
            </p:txBody>
          </p:sp>
          <p:sp>
            <p:nvSpPr>
              <p:cNvPr id="529" name="Freeform: Shape 528">
                <a:extLst>
                  <a:ext uri="{FF2B5EF4-FFF2-40B4-BE49-F238E27FC236}">
                    <a16:creationId xmlns:a16="http://schemas.microsoft.com/office/drawing/2014/main" id="{D984A3B3-9887-A1BB-CA63-669AC94DC2D4}"/>
                  </a:ext>
                </a:extLst>
              </p:cNvPr>
              <p:cNvSpPr/>
              <p:nvPr/>
            </p:nvSpPr>
            <p:spPr>
              <a:xfrm>
                <a:off x="12467919" y="4555185"/>
                <a:ext cx="13105" cy="15870"/>
              </a:xfrm>
              <a:custGeom>
                <a:avLst/>
                <a:gdLst>
                  <a:gd name="connsiteX0" fmla="*/ 7419 w 13105"/>
                  <a:gd name="connsiteY0" fmla="*/ 1490 h 15870"/>
                  <a:gd name="connsiteX1" fmla="*/ 925 w 13105"/>
                  <a:gd name="connsiteY1" fmla="*/ 10444 h 15870"/>
                  <a:gd name="connsiteX2" fmla="*/ 2007 w 13105"/>
                  <a:gd name="connsiteY2" fmla="*/ 13199 h 15870"/>
                  <a:gd name="connsiteX3" fmla="*/ 8108 w 13105"/>
                  <a:gd name="connsiteY3" fmla="*/ 14675 h 15870"/>
                  <a:gd name="connsiteX4" fmla="*/ 11059 w 13105"/>
                  <a:gd name="connsiteY4" fmla="*/ 4540 h 15870"/>
                  <a:gd name="connsiteX5" fmla="*/ 7320 w 13105"/>
                  <a:gd name="connsiteY5" fmla="*/ 1589 h 1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05" h="15870">
                    <a:moveTo>
                      <a:pt x="7419" y="1490"/>
                    </a:moveTo>
                    <a:cubicBezTo>
                      <a:pt x="1613" y="-3036"/>
                      <a:pt x="-1732" y="3557"/>
                      <a:pt x="925" y="10444"/>
                    </a:cubicBezTo>
                    <a:lnTo>
                      <a:pt x="2007" y="13199"/>
                    </a:lnTo>
                    <a:cubicBezTo>
                      <a:pt x="3089" y="16053"/>
                      <a:pt x="5845" y="16742"/>
                      <a:pt x="8108" y="14675"/>
                    </a:cubicBezTo>
                    <a:cubicBezTo>
                      <a:pt x="8796" y="13692"/>
                      <a:pt x="16766" y="8968"/>
                      <a:pt x="11059" y="4540"/>
                    </a:cubicBezTo>
                    <a:lnTo>
                      <a:pt x="7320" y="1589"/>
                    </a:lnTo>
                    <a:close/>
                  </a:path>
                </a:pathLst>
              </a:custGeom>
              <a:grpFill/>
              <a:ln w="9835" cap="flat">
                <a:noFill/>
                <a:prstDash val="solid"/>
                <a:miter/>
              </a:ln>
            </p:spPr>
            <p:txBody>
              <a:bodyPr rtlCol="0" anchor="ctr"/>
              <a:lstStyle/>
              <a:p>
                <a:endParaRPr lang="en-IN"/>
              </a:p>
            </p:txBody>
          </p:sp>
          <p:sp>
            <p:nvSpPr>
              <p:cNvPr id="530" name="Freeform: Shape 529">
                <a:extLst>
                  <a:ext uri="{FF2B5EF4-FFF2-40B4-BE49-F238E27FC236}">
                    <a16:creationId xmlns:a16="http://schemas.microsoft.com/office/drawing/2014/main" id="{4FE47D02-0346-B44D-CCFB-4D495CE97028}"/>
                  </a:ext>
                </a:extLst>
              </p:cNvPr>
              <p:cNvSpPr/>
              <p:nvPr/>
            </p:nvSpPr>
            <p:spPr>
              <a:xfrm>
                <a:off x="9612802" y="2514664"/>
                <a:ext cx="3790409" cy="2397458"/>
              </a:xfrm>
              <a:custGeom>
                <a:avLst/>
                <a:gdLst>
                  <a:gd name="connsiteX0" fmla="*/ 57070 w 3790409"/>
                  <a:gd name="connsiteY0" fmla="*/ 1279148 h 2397458"/>
                  <a:gd name="connsiteX1" fmla="*/ 105480 w 3790409"/>
                  <a:gd name="connsiteY1" fmla="*/ 1284559 h 2397458"/>
                  <a:gd name="connsiteX2" fmla="*/ 111581 w 3790409"/>
                  <a:gd name="connsiteY2" fmla="*/ 1298728 h 2397458"/>
                  <a:gd name="connsiteX3" fmla="*/ 139132 w 3790409"/>
                  <a:gd name="connsiteY3" fmla="*/ 1307977 h 2397458"/>
                  <a:gd name="connsiteX4" fmla="*/ 145331 w 3790409"/>
                  <a:gd name="connsiteY4" fmla="*/ 1350780 h 2397458"/>
                  <a:gd name="connsiteX5" fmla="*/ 268326 w 3790409"/>
                  <a:gd name="connsiteY5" fmla="*/ 1383546 h 2397458"/>
                  <a:gd name="connsiteX6" fmla="*/ 286529 w 3790409"/>
                  <a:gd name="connsiteY6" fmla="*/ 1441895 h 2397458"/>
                  <a:gd name="connsiteX7" fmla="*/ 331398 w 3790409"/>
                  <a:gd name="connsiteY7" fmla="*/ 1459507 h 2397458"/>
                  <a:gd name="connsiteX8" fmla="*/ 331398 w 3790409"/>
                  <a:gd name="connsiteY8" fmla="*/ 1479974 h 2397458"/>
                  <a:gd name="connsiteX9" fmla="*/ 315457 w 3790409"/>
                  <a:gd name="connsiteY9" fmla="*/ 1485090 h 2397458"/>
                  <a:gd name="connsiteX10" fmla="*/ 326183 w 3790409"/>
                  <a:gd name="connsiteY10" fmla="*/ 1532320 h 2397458"/>
                  <a:gd name="connsiteX11" fmla="*/ 353340 w 3790409"/>
                  <a:gd name="connsiteY11" fmla="*/ 1546489 h 2397458"/>
                  <a:gd name="connsiteX12" fmla="*/ 369083 w 3790409"/>
                  <a:gd name="connsiteY12" fmla="*/ 1583289 h 2397458"/>
                  <a:gd name="connsiteX13" fmla="*/ 330315 w 3790409"/>
                  <a:gd name="connsiteY13" fmla="*/ 1603657 h 2397458"/>
                  <a:gd name="connsiteX14" fmla="*/ 316343 w 3790409"/>
                  <a:gd name="connsiteY14" fmla="*/ 1586045 h 2397458"/>
                  <a:gd name="connsiteX15" fmla="*/ 293122 w 3790409"/>
                  <a:gd name="connsiteY15" fmla="*/ 1592637 h 2397458"/>
                  <a:gd name="connsiteX16" fmla="*/ 317032 w 3790409"/>
                  <a:gd name="connsiteY16" fmla="*/ 1675782 h 2397458"/>
                  <a:gd name="connsiteX17" fmla="*/ 342713 w 3790409"/>
                  <a:gd name="connsiteY17" fmla="*/ 1674109 h 2397458"/>
                  <a:gd name="connsiteX18" fmla="*/ 470234 w 3790409"/>
                  <a:gd name="connsiteY18" fmla="*/ 1762665 h 2397458"/>
                  <a:gd name="connsiteX19" fmla="*/ 481452 w 3790409"/>
                  <a:gd name="connsiteY19" fmla="*/ 1737279 h 2397458"/>
                  <a:gd name="connsiteX20" fmla="*/ 521105 w 3790409"/>
                  <a:gd name="connsiteY20" fmla="*/ 1742100 h 2397458"/>
                  <a:gd name="connsiteX21" fmla="*/ 529862 w 3790409"/>
                  <a:gd name="connsiteY21" fmla="*/ 1760599 h 2397458"/>
                  <a:gd name="connsiteX22" fmla="*/ 590081 w 3790409"/>
                  <a:gd name="connsiteY22" fmla="*/ 1791594 h 2397458"/>
                  <a:gd name="connsiteX23" fmla="*/ 619009 w 3790409"/>
                  <a:gd name="connsiteY23" fmla="*/ 1822293 h 2397458"/>
                  <a:gd name="connsiteX24" fmla="*/ 639082 w 3790409"/>
                  <a:gd name="connsiteY24" fmla="*/ 1813339 h 2397458"/>
                  <a:gd name="connsiteX25" fmla="*/ 652070 w 3790409"/>
                  <a:gd name="connsiteY25" fmla="*/ 1819341 h 2397458"/>
                  <a:gd name="connsiteX26" fmla="*/ 656695 w 3790409"/>
                  <a:gd name="connsiteY26" fmla="*/ 1839316 h 2397458"/>
                  <a:gd name="connsiteX27" fmla="*/ 688674 w 3790409"/>
                  <a:gd name="connsiteY27" fmla="*/ 1860668 h 2397458"/>
                  <a:gd name="connsiteX28" fmla="*/ 707369 w 3790409"/>
                  <a:gd name="connsiteY28" fmla="*/ 1852107 h 2397458"/>
                  <a:gd name="connsiteX29" fmla="*/ 717799 w 3790409"/>
                  <a:gd name="connsiteY29" fmla="*/ 1860668 h 2397458"/>
                  <a:gd name="connsiteX30" fmla="*/ 708746 w 3790409"/>
                  <a:gd name="connsiteY30" fmla="*/ 1879560 h 2397458"/>
                  <a:gd name="connsiteX31" fmla="*/ 748203 w 3790409"/>
                  <a:gd name="connsiteY31" fmla="*/ 1881921 h 2397458"/>
                  <a:gd name="connsiteX32" fmla="*/ 764242 w 3790409"/>
                  <a:gd name="connsiteY32" fmla="*/ 1907898 h 2397458"/>
                  <a:gd name="connsiteX33" fmla="*/ 794941 w 3790409"/>
                  <a:gd name="connsiteY33" fmla="*/ 1905536 h 2397458"/>
                  <a:gd name="connsiteX34" fmla="*/ 803895 w 3790409"/>
                  <a:gd name="connsiteY34" fmla="*/ 1890285 h 2397458"/>
                  <a:gd name="connsiteX35" fmla="*/ 863425 w 3790409"/>
                  <a:gd name="connsiteY35" fmla="*/ 1912621 h 2397458"/>
                  <a:gd name="connsiteX36" fmla="*/ 928366 w 3790409"/>
                  <a:gd name="connsiteY36" fmla="*/ 1892548 h 2397458"/>
                  <a:gd name="connsiteX37" fmla="*/ 943125 w 3790409"/>
                  <a:gd name="connsiteY37" fmla="*/ 1908488 h 2397458"/>
                  <a:gd name="connsiteX38" fmla="*/ 935746 w 3790409"/>
                  <a:gd name="connsiteY38" fmla="*/ 1931513 h 2397458"/>
                  <a:gd name="connsiteX39" fmla="*/ 946373 w 3790409"/>
                  <a:gd name="connsiteY39" fmla="*/ 1941451 h 2397458"/>
                  <a:gd name="connsiteX40" fmla="*/ 989076 w 3790409"/>
                  <a:gd name="connsiteY40" fmla="*/ 1891269 h 2397458"/>
                  <a:gd name="connsiteX41" fmla="*/ 1038077 w 3790409"/>
                  <a:gd name="connsiteY41" fmla="*/ 1879658 h 2397458"/>
                  <a:gd name="connsiteX42" fmla="*/ 1036798 w 3790409"/>
                  <a:gd name="connsiteY42" fmla="*/ 1895303 h 2397458"/>
                  <a:gd name="connsiteX43" fmla="*/ 1114531 w 3790409"/>
                  <a:gd name="connsiteY43" fmla="*/ 1898353 h 2397458"/>
                  <a:gd name="connsiteX44" fmla="*/ 1115909 w 3790409"/>
                  <a:gd name="connsiteY44" fmla="*/ 1916261 h 2397458"/>
                  <a:gd name="connsiteX45" fmla="*/ 1180555 w 3790409"/>
                  <a:gd name="connsiteY45" fmla="*/ 1904946 h 2397458"/>
                  <a:gd name="connsiteX46" fmla="*/ 1180555 w 3790409"/>
                  <a:gd name="connsiteY46" fmla="*/ 1885168 h 2397458"/>
                  <a:gd name="connsiteX47" fmla="*/ 1219028 w 3790409"/>
                  <a:gd name="connsiteY47" fmla="*/ 1855945 h 2397458"/>
                  <a:gd name="connsiteX48" fmla="*/ 1246972 w 3790409"/>
                  <a:gd name="connsiteY48" fmla="*/ 1852403 h 2397458"/>
                  <a:gd name="connsiteX49" fmla="*/ 1292529 w 3790409"/>
                  <a:gd name="connsiteY49" fmla="*/ 1811371 h 2397458"/>
                  <a:gd name="connsiteX50" fmla="*/ 1346746 w 3790409"/>
                  <a:gd name="connsiteY50" fmla="*/ 1829968 h 2397458"/>
                  <a:gd name="connsiteX51" fmla="*/ 1354814 w 3790409"/>
                  <a:gd name="connsiteY51" fmla="*/ 1813831 h 2397458"/>
                  <a:gd name="connsiteX52" fmla="*/ 1387088 w 3790409"/>
                  <a:gd name="connsiteY52" fmla="*/ 1802712 h 2397458"/>
                  <a:gd name="connsiteX53" fmla="*/ 1407062 w 3790409"/>
                  <a:gd name="connsiteY53" fmla="*/ 1812650 h 2397458"/>
                  <a:gd name="connsiteX54" fmla="*/ 1387678 w 3790409"/>
                  <a:gd name="connsiteY54" fmla="*/ 1824458 h 2397458"/>
                  <a:gd name="connsiteX55" fmla="*/ 1396632 w 3790409"/>
                  <a:gd name="connsiteY55" fmla="*/ 1842858 h 2397458"/>
                  <a:gd name="connsiteX56" fmla="*/ 1417492 w 3790409"/>
                  <a:gd name="connsiteY56" fmla="*/ 1835281 h 2397458"/>
                  <a:gd name="connsiteX57" fmla="*/ 1423691 w 3790409"/>
                  <a:gd name="connsiteY57" fmla="*/ 1848368 h 2397458"/>
                  <a:gd name="connsiteX58" fmla="*/ 1407850 w 3790409"/>
                  <a:gd name="connsiteY58" fmla="*/ 1875820 h 2397458"/>
                  <a:gd name="connsiteX59" fmla="*/ 1454686 w 3790409"/>
                  <a:gd name="connsiteY59" fmla="*/ 1870507 h 2397458"/>
                  <a:gd name="connsiteX60" fmla="*/ 1468757 w 3790409"/>
                  <a:gd name="connsiteY60" fmla="*/ 1889990 h 2397458"/>
                  <a:gd name="connsiteX61" fmla="*/ 1482237 w 3790409"/>
                  <a:gd name="connsiteY61" fmla="*/ 1864111 h 2397458"/>
                  <a:gd name="connsiteX62" fmla="*/ 1518545 w 3790409"/>
                  <a:gd name="connsiteY62" fmla="*/ 1883988 h 2397458"/>
                  <a:gd name="connsiteX63" fmla="*/ 1528286 w 3790409"/>
                  <a:gd name="connsiteY63" fmla="*/ 1930233 h 2397458"/>
                  <a:gd name="connsiteX64" fmla="*/ 1551213 w 3790409"/>
                  <a:gd name="connsiteY64" fmla="*/ 1926396 h 2397458"/>
                  <a:gd name="connsiteX65" fmla="*/ 1552393 w 3790409"/>
                  <a:gd name="connsiteY65" fmla="*/ 2040044 h 2397458"/>
                  <a:gd name="connsiteX66" fmla="*/ 1502211 w 3790409"/>
                  <a:gd name="connsiteY66" fmla="*/ 2083731 h 2397458"/>
                  <a:gd name="connsiteX67" fmla="*/ 1496111 w 3790409"/>
                  <a:gd name="connsiteY67" fmla="*/ 2109806 h 2397458"/>
                  <a:gd name="connsiteX68" fmla="*/ 1482138 w 3790409"/>
                  <a:gd name="connsiteY68" fmla="*/ 2120630 h 2397458"/>
                  <a:gd name="connsiteX69" fmla="*/ 1483319 w 3790409"/>
                  <a:gd name="connsiteY69" fmla="*/ 2171501 h 2397458"/>
                  <a:gd name="connsiteX70" fmla="*/ 1519529 w 3790409"/>
                  <a:gd name="connsiteY70" fmla="*/ 2150739 h 2397458"/>
                  <a:gd name="connsiteX71" fmla="*/ 1568727 w 3790409"/>
                  <a:gd name="connsiteY71" fmla="*/ 2150739 h 2397458"/>
                  <a:gd name="connsiteX72" fmla="*/ 1552984 w 3790409"/>
                  <a:gd name="connsiteY72" fmla="*/ 2175240 h 2397458"/>
                  <a:gd name="connsiteX73" fmla="*/ 1568727 w 3790409"/>
                  <a:gd name="connsiteY73" fmla="*/ 2220403 h 2397458"/>
                  <a:gd name="connsiteX74" fmla="*/ 1601493 w 3790409"/>
                  <a:gd name="connsiteY74" fmla="*/ 2220403 h 2397458"/>
                  <a:gd name="connsiteX75" fmla="*/ 1608872 w 3790409"/>
                  <a:gd name="connsiteY75" fmla="*/ 2238902 h 2397458"/>
                  <a:gd name="connsiteX76" fmla="*/ 1591653 w 3790409"/>
                  <a:gd name="connsiteY76" fmla="*/ 2243231 h 2397458"/>
                  <a:gd name="connsiteX77" fmla="*/ 1585749 w 3790409"/>
                  <a:gd name="connsiteY77" fmla="*/ 2289379 h 2397458"/>
                  <a:gd name="connsiteX78" fmla="*/ 1630913 w 3790409"/>
                  <a:gd name="connsiteY78" fmla="*/ 2293905 h 2397458"/>
                  <a:gd name="connsiteX79" fmla="*/ 1646460 w 3790409"/>
                  <a:gd name="connsiteY79" fmla="*/ 2327753 h 2397458"/>
                  <a:gd name="connsiteX80" fmla="*/ 1698708 w 3790409"/>
                  <a:gd name="connsiteY80" fmla="*/ 2304040 h 2397458"/>
                  <a:gd name="connsiteX81" fmla="*/ 1715829 w 3790409"/>
                  <a:gd name="connsiteY81" fmla="*/ 2349893 h 2397458"/>
                  <a:gd name="connsiteX82" fmla="*/ 1746922 w 3790409"/>
                  <a:gd name="connsiteY82" fmla="*/ 2348121 h 2397458"/>
                  <a:gd name="connsiteX83" fmla="*/ 1730687 w 3790409"/>
                  <a:gd name="connsiteY83" fmla="*/ 2283180 h 2397458"/>
                  <a:gd name="connsiteX84" fmla="*/ 1765519 w 3790409"/>
                  <a:gd name="connsiteY84" fmla="*/ 2271372 h 2397458"/>
                  <a:gd name="connsiteX85" fmla="*/ 1785788 w 3790409"/>
                  <a:gd name="connsiteY85" fmla="*/ 2247856 h 2397458"/>
                  <a:gd name="connsiteX86" fmla="*/ 1823769 w 3790409"/>
                  <a:gd name="connsiteY86" fmla="*/ 2265666 h 2397458"/>
                  <a:gd name="connsiteX87" fmla="*/ 1844728 w 3790409"/>
                  <a:gd name="connsiteY87" fmla="*/ 2246577 h 2397458"/>
                  <a:gd name="connsiteX88" fmla="*/ 1857716 w 3790409"/>
                  <a:gd name="connsiteY88" fmla="*/ 2245986 h 2397458"/>
                  <a:gd name="connsiteX89" fmla="*/ 1878969 w 3790409"/>
                  <a:gd name="connsiteY89" fmla="*/ 2264386 h 2397458"/>
                  <a:gd name="connsiteX90" fmla="*/ 1885070 w 3790409"/>
                  <a:gd name="connsiteY90" fmla="*/ 2242444 h 2397458"/>
                  <a:gd name="connsiteX91" fmla="*/ 1898649 w 3790409"/>
                  <a:gd name="connsiteY91" fmla="*/ 2239393 h 2397458"/>
                  <a:gd name="connsiteX92" fmla="*/ 1904946 w 3790409"/>
                  <a:gd name="connsiteY92" fmla="*/ 2252480 h 2397458"/>
                  <a:gd name="connsiteX93" fmla="*/ 1933382 w 3790409"/>
                  <a:gd name="connsiteY93" fmla="*/ 2236639 h 2397458"/>
                  <a:gd name="connsiteX94" fmla="*/ 1938007 w 3790409"/>
                  <a:gd name="connsiteY94" fmla="*/ 2219419 h 2397458"/>
                  <a:gd name="connsiteX95" fmla="*/ 1964967 w 3790409"/>
                  <a:gd name="connsiteY95" fmla="*/ 2208596 h 2397458"/>
                  <a:gd name="connsiteX96" fmla="*/ 1982974 w 3790409"/>
                  <a:gd name="connsiteY96" fmla="*/ 2228472 h 2397458"/>
                  <a:gd name="connsiteX97" fmla="*/ 2057853 w 3790409"/>
                  <a:gd name="connsiteY97" fmla="*/ 2239393 h 2397458"/>
                  <a:gd name="connsiteX98" fmla="*/ 2054803 w 3790409"/>
                  <a:gd name="connsiteY98" fmla="*/ 2260254 h 2397458"/>
                  <a:gd name="connsiteX99" fmla="*/ 2041421 w 3790409"/>
                  <a:gd name="connsiteY99" fmla="*/ 2260746 h 2397458"/>
                  <a:gd name="connsiteX100" fmla="*/ 2048801 w 3790409"/>
                  <a:gd name="connsiteY100" fmla="*/ 2291248 h 2397458"/>
                  <a:gd name="connsiteX101" fmla="*/ 2070251 w 3790409"/>
                  <a:gd name="connsiteY101" fmla="*/ 2294102 h 2397458"/>
                  <a:gd name="connsiteX102" fmla="*/ 2085502 w 3790409"/>
                  <a:gd name="connsiteY102" fmla="*/ 2311321 h 2397458"/>
                  <a:gd name="connsiteX103" fmla="*/ 2116005 w 3790409"/>
                  <a:gd name="connsiteY103" fmla="*/ 2308271 h 2397458"/>
                  <a:gd name="connsiteX104" fmla="*/ 2124959 w 3790409"/>
                  <a:gd name="connsiteY104" fmla="*/ 2326671 h 2397458"/>
                  <a:gd name="connsiteX105" fmla="*/ 2182226 w 3790409"/>
                  <a:gd name="connsiteY105" fmla="*/ 2311616 h 2397458"/>
                  <a:gd name="connsiteX106" fmla="*/ 2205545 w 3790409"/>
                  <a:gd name="connsiteY106" fmla="*/ 2324998 h 2397458"/>
                  <a:gd name="connsiteX107" fmla="*/ 2220600 w 3790409"/>
                  <a:gd name="connsiteY107" fmla="*/ 2316438 h 2397458"/>
                  <a:gd name="connsiteX108" fmla="*/ 2225323 w 3790409"/>
                  <a:gd name="connsiteY108" fmla="*/ 2305220 h 2397458"/>
                  <a:gd name="connsiteX109" fmla="*/ 2244019 w 3790409"/>
                  <a:gd name="connsiteY109" fmla="*/ 2323129 h 2397458"/>
                  <a:gd name="connsiteX110" fmla="*/ 2234375 w 3790409"/>
                  <a:gd name="connsiteY110" fmla="*/ 2359142 h 2397458"/>
                  <a:gd name="connsiteX111" fmla="*/ 2255629 w 3790409"/>
                  <a:gd name="connsiteY111" fmla="*/ 2394958 h 2397458"/>
                  <a:gd name="connsiteX112" fmla="*/ 2282098 w 3790409"/>
                  <a:gd name="connsiteY112" fmla="*/ 2393285 h 2397458"/>
                  <a:gd name="connsiteX113" fmla="*/ 2282885 w 3790409"/>
                  <a:gd name="connsiteY113" fmla="*/ 2380690 h 2397458"/>
                  <a:gd name="connsiteX114" fmla="*/ 2271766 w 3790409"/>
                  <a:gd name="connsiteY114" fmla="*/ 2356190 h 2397458"/>
                  <a:gd name="connsiteX115" fmla="*/ 2284951 w 3790409"/>
                  <a:gd name="connsiteY115" fmla="*/ 2347531 h 2397458"/>
                  <a:gd name="connsiteX116" fmla="*/ 2301481 w 3790409"/>
                  <a:gd name="connsiteY116" fmla="*/ 2327163 h 2397458"/>
                  <a:gd name="connsiteX117" fmla="*/ 2421033 w 3790409"/>
                  <a:gd name="connsiteY117" fmla="*/ 2296168 h 2397458"/>
                  <a:gd name="connsiteX118" fmla="*/ 2436580 w 3790409"/>
                  <a:gd name="connsiteY118" fmla="*/ 2278358 h 2397458"/>
                  <a:gd name="connsiteX119" fmla="*/ 2461670 w 3790409"/>
                  <a:gd name="connsiteY119" fmla="*/ 2284754 h 2397458"/>
                  <a:gd name="connsiteX120" fmla="*/ 2466590 w 3790409"/>
                  <a:gd name="connsiteY120" fmla="*/ 2278161 h 2397458"/>
                  <a:gd name="connsiteX121" fmla="*/ 2475445 w 3790409"/>
                  <a:gd name="connsiteY121" fmla="*/ 2236737 h 2397458"/>
                  <a:gd name="connsiteX122" fmla="*/ 2488040 w 3790409"/>
                  <a:gd name="connsiteY122" fmla="*/ 2241657 h 2397458"/>
                  <a:gd name="connsiteX123" fmla="*/ 2506539 w 3790409"/>
                  <a:gd name="connsiteY123" fmla="*/ 2265764 h 2397458"/>
                  <a:gd name="connsiteX124" fmla="*/ 2530548 w 3790409"/>
                  <a:gd name="connsiteY124" fmla="*/ 2255039 h 2397458"/>
                  <a:gd name="connsiteX125" fmla="*/ 2537140 w 3790409"/>
                  <a:gd name="connsiteY125" fmla="*/ 2241755 h 2397458"/>
                  <a:gd name="connsiteX126" fmla="*/ 2548554 w 3790409"/>
                  <a:gd name="connsiteY126" fmla="*/ 2239689 h 2397458"/>
                  <a:gd name="connsiteX127" fmla="*/ 2554851 w 3790409"/>
                  <a:gd name="connsiteY127" fmla="*/ 2249922 h 2397458"/>
                  <a:gd name="connsiteX128" fmla="*/ 2652066 w 3790409"/>
                  <a:gd name="connsiteY128" fmla="*/ 2220699 h 2397458"/>
                  <a:gd name="connsiteX129" fmla="*/ 2677453 w 3790409"/>
                  <a:gd name="connsiteY129" fmla="*/ 2198953 h 2397458"/>
                  <a:gd name="connsiteX130" fmla="*/ 2681487 w 3790409"/>
                  <a:gd name="connsiteY130" fmla="*/ 2180356 h 2397458"/>
                  <a:gd name="connsiteX131" fmla="*/ 2711891 w 3790409"/>
                  <a:gd name="connsiteY131" fmla="*/ 2178683 h 2397458"/>
                  <a:gd name="connsiteX132" fmla="*/ 2750069 w 3790409"/>
                  <a:gd name="connsiteY132" fmla="*/ 2140703 h 2397458"/>
                  <a:gd name="connsiteX133" fmla="*/ 2750364 w 3790409"/>
                  <a:gd name="connsiteY133" fmla="*/ 2132536 h 2397458"/>
                  <a:gd name="connsiteX134" fmla="*/ 2748494 w 3790409"/>
                  <a:gd name="connsiteY134" fmla="*/ 2121811 h 2397458"/>
                  <a:gd name="connsiteX135" fmla="*/ 2765222 w 3790409"/>
                  <a:gd name="connsiteY135" fmla="*/ 2112168 h 2397458"/>
                  <a:gd name="connsiteX136" fmla="*/ 2790706 w 3790409"/>
                  <a:gd name="connsiteY136" fmla="*/ 2114234 h 2397458"/>
                  <a:gd name="connsiteX137" fmla="*/ 2806351 w 3790409"/>
                  <a:gd name="connsiteY137" fmla="*/ 2087864 h 2397458"/>
                  <a:gd name="connsiteX138" fmla="*/ 2810090 w 3790409"/>
                  <a:gd name="connsiteY138" fmla="*/ 2076253 h 2397458"/>
                  <a:gd name="connsiteX139" fmla="*/ 2825735 w 3790409"/>
                  <a:gd name="connsiteY139" fmla="*/ 2076253 h 2397458"/>
                  <a:gd name="connsiteX140" fmla="*/ 2822095 w 3790409"/>
                  <a:gd name="connsiteY140" fmla="*/ 2059034 h 2397458"/>
                  <a:gd name="connsiteX141" fmla="*/ 2822193 w 3790409"/>
                  <a:gd name="connsiteY141" fmla="*/ 2059034 h 2397458"/>
                  <a:gd name="connsiteX142" fmla="*/ 2841774 w 3790409"/>
                  <a:gd name="connsiteY142" fmla="*/ 2064544 h 2397458"/>
                  <a:gd name="connsiteX143" fmla="*/ 2850433 w 3790409"/>
                  <a:gd name="connsiteY143" fmla="*/ 2058247 h 2397458"/>
                  <a:gd name="connsiteX144" fmla="*/ 2846202 w 3790409"/>
                  <a:gd name="connsiteY144" fmla="*/ 2040536 h 2397458"/>
                  <a:gd name="connsiteX145" fmla="*/ 2851908 w 3790409"/>
                  <a:gd name="connsiteY145" fmla="*/ 2021053 h 2397458"/>
                  <a:gd name="connsiteX146" fmla="*/ 2849055 w 3790409"/>
                  <a:gd name="connsiteY146" fmla="*/ 2019774 h 2397458"/>
                  <a:gd name="connsiteX147" fmla="*/ 2862142 w 3790409"/>
                  <a:gd name="connsiteY147" fmla="*/ 1993994 h 2397458"/>
                  <a:gd name="connsiteX148" fmla="*/ 2858304 w 3790409"/>
                  <a:gd name="connsiteY148" fmla="*/ 1979136 h 2397458"/>
                  <a:gd name="connsiteX149" fmla="*/ 2859977 w 3790409"/>
                  <a:gd name="connsiteY149" fmla="*/ 1976381 h 2397458"/>
                  <a:gd name="connsiteX150" fmla="*/ 2867062 w 3790409"/>
                  <a:gd name="connsiteY150" fmla="*/ 1975200 h 2397458"/>
                  <a:gd name="connsiteX151" fmla="*/ 2869226 w 3790409"/>
                  <a:gd name="connsiteY151" fmla="*/ 1976972 h 2397458"/>
                  <a:gd name="connsiteX152" fmla="*/ 2876606 w 3790409"/>
                  <a:gd name="connsiteY152" fmla="*/ 1975988 h 2397458"/>
                  <a:gd name="connsiteX153" fmla="*/ 2889496 w 3790409"/>
                  <a:gd name="connsiteY153" fmla="*/ 1949716 h 2397458"/>
                  <a:gd name="connsiteX154" fmla="*/ 2892743 w 3790409"/>
                  <a:gd name="connsiteY154" fmla="*/ 1941057 h 2397458"/>
                  <a:gd name="connsiteX155" fmla="*/ 2896777 w 3790409"/>
                  <a:gd name="connsiteY155" fmla="*/ 1942140 h 2397458"/>
                  <a:gd name="connsiteX156" fmla="*/ 2912521 w 3790409"/>
                  <a:gd name="connsiteY156" fmla="*/ 1924231 h 2397458"/>
                  <a:gd name="connsiteX157" fmla="*/ 2914193 w 3790409"/>
                  <a:gd name="connsiteY157" fmla="*/ 1913900 h 2397458"/>
                  <a:gd name="connsiteX158" fmla="*/ 2946467 w 3790409"/>
                  <a:gd name="connsiteY158" fmla="*/ 1868244 h 2397458"/>
                  <a:gd name="connsiteX159" fmla="*/ 2949813 w 3790409"/>
                  <a:gd name="connsiteY159" fmla="*/ 1879855 h 2397458"/>
                  <a:gd name="connsiteX160" fmla="*/ 2960636 w 3790409"/>
                  <a:gd name="connsiteY160" fmla="*/ 1881823 h 2397458"/>
                  <a:gd name="connsiteX161" fmla="*/ 2970869 w 3790409"/>
                  <a:gd name="connsiteY161" fmla="*/ 1872770 h 2397458"/>
                  <a:gd name="connsiteX162" fmla="*/ 2973526 w 3790409"/>
                  <a:gd name="connsiteY162" fmla="*/ 1873262 h 2397458"/>
                  <a:gd name="connsiteX163" fmla="*/ 2972542 w 3790409"/>
                  <a:gd name="connsiteY163" fmla="*/ 1841382 h 2397458"/>
                  <a:gd name="connsiteX164" fmla="*/ 2977068 w 3790409"/>
                  <a:gd name="connsiteY164" fmla="*/ 1824556 h 2397458"/>
                  <a:gd name="connsiteX165" fmla="*/ 2966638 w 3790409"/>
                  <a:gd name="connsiteY165" fmla="*/ 1810978 h 2397458"/>
                  <a:gd name="connsiteX166" fmla="*/ 2989564 w 3790409"/>
                  <a:gd name="connsiteY166" fmla="*/ 1815602 h 2397458"/>
                  <a:gd name="connsiteX167" fmla="*/ 2994288 w 3790409"/>
                  <a:gd name="connsiteY167" fmla="*/ 1794053 h 2397458"/>
                  <a:gd name="connsiteX168" fmla="*/ 2988679 w 3790409"/>
                  <a:gd name="connsiteY168" fmla="*/ 1787658 h 2397458"/>
                  <a:gd name="connsiteX169" fmla="*/ 2984645 w 3790409"/>
                  <a:gd name="connsiteY169" fmla="*/ 1787067 h 2397458"/>
                  <a:gd name="connsiteX170" fmla="*/ 3001176 w 3790409"/>
                  <a:gd name="connsiteY170" fmla="*/ 1766995 h 2397458"/>
                  <a:gd name="connsiteX171" fmla="*/ 2981398 w 3790409"/>
                  <a:gd name="connsiteY171" fmla="*/ 1760009 h 2397458"/>
                  <a:gd name="connsiteX172" fmla="*/ 2962702 w 3790409"/>
                  <a:gd name="connsiteY172" fmla="*/ 1740821 h 2397458"/>
                  <a:gd name="connsiteX173" fmla="*/ 2948533 w 3790409"/>
                  <a:gd name="connsiteY173" fmla="*/ 1734623 h 2397458"/>
                  <a:gd name="connsiteX174" fmla="*/ 2934364 w 3790409"/>
                  <a:gd name="connsiteY174" fmla="*/ 1743576 h 2397458"/>
                  <a:gd name="connsiteX175" fmla="*/ 2919015 w 3790409"/>
                  <a:gd name="connsiteY175" fmla="*/ 1748299 h 2397458"/>
                  <a:gd name="connsiteX176" fmla="*/ 2916161 w 3790409"/>
                  <a:gd name="connsiteY176" fmla="*/ 1736787 h 2397458"/>
                  <a:gd name="connsiteX177" fmla="*/ 2930232 w 3790409"/>
                  <a:gd name="connsiteY177" fmla="*/ 1727046 h 2397458"/>
                  <a:gd name="connsiteX178" fmla="*/ 2937513 w 3790409"/>
                  <a:gd name="connsiteY178" fmla="*/ 1716616 h 2397458"/>
                  <a:gd name="connsiteX179" fmla="*/ 2964867 w 3790409"/>
                  <a:gd name="connsiteY179" fmla="*/ 1699692 h 2397458"/>
                  <a:gd name="connsiteX180" fmla="*/ 2990450 w 3790409"/>
                  <a:gd name="connsiteY180" fmla="*/ 1691623 h 2397458"/>
                  <a:gd name="connsiteX181" fmla="*/ 2978151 w 3790409"/>
                  <a:gd name="connsiteY181" fmla="*/ 1668303 h 2397458"/>
                  <a:gd name="connsiteX182" fmla="*/ 2957291 w 3790409"/>
                  <a:gd name="connsiteY182" fmla="*/ 1652363 h 2397458"/>
                  <a:gd name="connsiteX183" fmla="*/ 2956110 w 3790409"/>
                  <a:gd name="connsiteY183" fmla="*/ 1649313 h 2397458"/>
                  <a:gd name="connsiteX184" fmla="*/ 2983267 w 3790409"/>
                  <a:gd name="connsiteY184" fmla="*/ 1660038 h 2397458"/>
                  <a:gd name="connsiteX185" fmla="*/ 2989171 w 3790409"/>
                  <a:gd name="connsiteY185" fmla="*/ 1657283 h 2397458"/>
                  <a:gd name="connsiteX186" fmla="*/ 2969885 w 3790409"/>
                  <a:gd name="connsiteY186" fmla="*/ 1641933 h 2397458"/>
                  <a:gd name="connsiteX187" fmla="*/ 2969197 w 3790409"/>
                  <a:gd name="connsiteY187" fmla="*/ 1633668 h 2397458"/>
                  <a:gd name="connsiteX188" fmla="*/ 2988089 w 3790409"/>
                  <a:gd name="connsiteY188" fmla="*/ 1634554 h 2397458"/>
                  <a:gd name="connsiteX189" fmla="*/ 2974018 w 3790409"/>
                  <a:gd name="connsiteY189" fmla="*/ 1616154 h 2397458"/>
                  <a:gd name="connsiteX190" fmla="*/ 2958766 w 3790409"/>
                  <a:gd name="connsiteY190" fmla="*/ 1606019 h 2397458"/>
                  <a:gd name="connsiteX191" fmla="*/ 2952469 w 3790409"/>
                  <a:gd name="connsiteY191" fmla="*/ 1590374 h 2397458"/>
                  <a:gd name="connsiteX192" fmla="*/ 2928264 w 3790409"/>
                  <a:gd name="connsiteY192" fmla="*/ 1575024 h 2397458"/>
                  <a:gd name="connsiteX193" fmla="*/ 2924328 w 3790409"/>
                  <a:gd name="connsiteY193" fmla="*/ 1548851 h 2397458"/>
                  <a:gd name="connsiteX194" fmla="*/ 2907207 w 3790409"/>
                  <a:gd name="connsiteY194" fmla="*/ 1519332 h 2397458"/>
                  <a:gd name="connsiteX195" fmla="*/ 2889693 w 3790409"/>
                  <a:gd name="connsiteY195" fmla="*/ 1464132 h 2397458"/>
                  <a:gd name="connsiteX196" fmla="*/ 2827408 w 3790409"/>
                  <a:gd name="connsiteY196" fmla="*/ 1435597 h 2397458"/>
                  <a:gd name="connsiteX197" fmla="*/ 2820816 w 3790409"/>
                  <a:gd name="connsiteY197" fmla="*/ 1417000 h 2397458"/>
                  <a:gd name="connsiteX198" fmla="*/ 2829278 w 3790409"/>
                  <a:gd name="connsiteY198" fmla="*/ 1408341 h 2397458"/>
                  <a:gd name="connsiteX199" fmla="*/ 2857910 w 3790409"/>
                  <a:gd name="connsiteY199" fmla="*/ 1370754 h 2397458"/>
                  <a:gd name="connsiteX200" fmla="*/ 2870407 w 3790409"/>
                  <a:gd name="connsiteY200" fmla="*/ 1365146 h 2397458"/>
                  <a:gd name="connsiteX201" fmla="*/ 2882116 w 3790409"/>
                  <a:gd name="connsiteY201" fmla="*/ 1340055 h 2397458"/>
                  <a:gd name="connsiteX202" fmla="*/ 2881624 w 3790409"/>
                  <a:gd name="connsiteY202" fmla="*/ 1330904 h 2397458"/>
                  <a:gd name="connsiteX203" fmla="*/ 2894416 w 3790409"/>
                  <a:gd name="connsiteY203" fmla="*/ 1332183 h 2397458"/>
                  <a:gd name="connsiteX204" fmla="*/ 2900221 w 3790409"/>
                  <a:gd name="connsiteY204" fmla="*/ 1340251 h 2397458"/>
                  <a:gd name="connsiteX205" fmla="*/ 2914292 w 3790409"/>
                  <a:gd name="connsiteY205" fmla="*/ 1331691 h 2397458"/>
                  <a:gd name="connsiteX206" fmla="*/ 2915079 w 3790409"/>
                  <a:gd name="connsiteY206" fmla="*/ 1318309 h 2397458"/>
                  <a:gd name="connsiteX207" fmla="*/ 2923640 w 3790409"/>
                  <a:gd name="connsiteY207" fmla="*/ 1315357 h 2397458"/>
                  <a:gd name="connsiteX208" fmla="*/ 2925607 w 3790409"/>
                  <a:gd name="connsiteY208" fmla="*/ 1315751 h 2397458"/>
                  <a:gd name="connsiteX209" fmla="*/ 2931610 w 3790409"/>
                  <a:gd name="connsiteY209" fmla="*/ 1300598 h 2397458"/>
                  <a:gd name="connsiteX210" fmla="*/ 3000093 w 3790409"/>
                  <a:gd name="connsiteY210" fmla="*/ 1275212 h 2397458"/>
                  <a:gd name="connsiteX211" fmla="*/ 3015246 w 3790409"/>
                  <a:gd name="connsiteY211" fmla="*/ 1288102 h 2397458"/>
                  <a:gd name="connsiteX212" fmla="*/ 3025184 w 3790409"/>
                  <a:gd name="connsiteY212" fmla="*/ 1279344 h 2397458"/>
                  <a:gd name="connsiteX213" fmla="*/ 3035319 w 3790409"/>
                  <a:gd name="connsiteY213" fmla="*/ 1251301 h 2397458"/>
                  <a:gd name="connsiteX214" fmla="*/ 3005210 w 3790409"/>
                  <a:gd name="connsiteY214" fmla="*/ 1239494 h 2397458"/>
                  <a:gd name="connsiteX215" fmla="*/ 2969689 w 3790409"/>
                  <a:gd name="connsiteY215" fmla="*/ 1242446 h 2397458"/>
                  <a:gd name="connsiteX216" fmla="*/ 2924328 w 3790409"/>
                  <a:gd name="connsiteY216" fmla="*/ 1217453 h 2397458"/>
                  <a:gd name="connsiteX217" fmla="*/ 2896876 w 3790409"/>
                  <a:gd name="connsiteY217" fmla="*/ 1225817 h 2397458"/>
                  <a:gd name="connsiteX218" fmla="*/ 2880444 w 3790409"/>
                  <a:gd name="connsiteY218" fmla="*/ 1242544 h 2397458"/>
                  <a:gd name="connsiteX219" fmla="*/ 2866078 w 3790409"/>
                  <a:gd name="connsiteY219" fmla="*/ 1254056 h 2397458"/>
                  <a:gd name="connsiteX220" fmla="*/ 2859485 w 3790409"/>
                  <a:gd name="connsiteY220" fmla="*/ 1263896 h 2397458"/>
                  <a:gd name="connsiteX221" fmla="*/ 2815502 w 3790409"/>
                  <a:gd name="connsiteY221" fmla="*/ 1257599 h 2397458"/>
                  <a:gd name="connsiteX222" fmla="*/ 2806941 w 3790409"/>
                  <a:gd name="connsiteY222" fmla="*/ 1233689 h 2397458"/>
                  <a:gd name="connsiteX223" fmla="*/ 2811665 w 3790409"/>
                  <a:gd name="connsiteY223" fmla="*/ 1214797 h 2397458"/>
                  <a:gd name="connsiteX224" fmla="*/ 2799365 w 3790409"/>
                  <a:gd name="connsiteY224" fmla="*/ 1187836 h 2397458"/>
                  <a:gd name="connsiteX225" fmla="*/ 2786082 w 3790409"/>
                  <a:gd name="connsiteY225" fmla="*/ 1193838 h 2397458"/>
                  <a:gd name="connsiteX226" fmla="*/ 2749085 w 3790409"/>
                  <a:gd name="connsiteY226" fmla="*/ 1190493 h 2397458"/>
                  <a:gd name="connsiteX227" fmla="*/ 2720550 w 3790409"/>
                  <a:gd name="connsiteY227" fmla="*/ 1156251 h 2397458"/>
                  <a:gd name="connsiteX228" fmla="*/ 2743673 w 3790409"/>
                  <a:gd name="connsiteY228" fmla="*/ 1113645 h 2397458"/>
                  <a:gd name="connsiteX229" fmla="*/ 2761089 w 3790409"/>
                  <a:gd name="connsiteY229" fmla="*/ 1124666 h 2397458"/>
                  <a:gd name="connsiteX230" fmla="*/ 2779588 w 3790409"/>
                  <a:gd name="connsiteY230" fmla="*/ 1120730 h 2397458"/>
                  <a:gd name="connsiteX231" fmla="*/ 2802711 w 3790409"/>
                  <a:gd name="connsiteY231" fmla="*/ 1119353 h 2397458"/>
                  <a:gd name="connsiteX232" fmla="*/ 2821898 w 3790409"/>
                  <a:gd name="connsiteY232" fmla="*/ 1103511 h 2397458"/>
                  <a:gd name="connsiteX233" fmla="*/ 2837248 w 3790409"/>
                  <a:gd name="connsiteY233" fmla="*/ 1071532 h 2397458"/>
                  <a:gd name="connsiteX234" fmla="*/ 2903468 w 3790409"/>
                  <a:gd name="connsiteY234" fmla="*/ 1038963 h 2397458"/>
                  <a:gd name="connsiteX235" fmla="*/ 2946664 w 3790409"/>
                  <a:gd name="connsiteY235" fmla="*/ 989962 h 2397458"/>
                  <a:gd name="connsiteX236" fmla="*/ 2993107 w 3790409"/>
                  <a:gd name="connsiteY236" fmla="*/ 999309 h 2397458"/>
                  <a:gd name="connsiteX237" fmla="*/ 3010818 w 3790409"/>
                  <a:gd name="connsiteY237" fmla="*/ 1028336 h 2397458"/>
                  <a:gd name="connsiteX238" fmla="*/ 2982677 w 3790409"/>
                  <a:gd name="connsiteY238" fmla="*/ 1062972 h 2397458"/>
                  <a:gd name="connsiteX239" fmla="*/ 2966638 w 3790409"/>
                  <a:gd name="connsiteY239" fmla="*/ 1075271 h 2397458"/>
                  <a:gd name="connsiteX240" fmla="*/ 2966343 w 3790409"/>
                  <a:gd name="connsiteY240" fmla="*/ 1078125 h 2397458"/>
                  <a:gd name="connsiteX241" fmla="*/ 2960440 w 3790409"/>
                  <a:gd name="connsiteY241" fmla="*/ 1085603 h 2397458"/>
                  <a:gd name="connsiteX242" fmla="*/ 2952863 w 3790409"/>
                  <a:gd name="connsiteY242" fmla="*/ 1093671 h 2397458"/>
                  <a:gd name="connsiteX243" fmla="*/ 2969689 w 3790409"/>
                  <a:gd name="connsiteY243" fmla="*/ 1102330 h 2397458"/>
                  <a:gd name="connsiteX244" fmla="*/ 2981791 w 3790409"/>
                  <a:gd name="connsiteY244" fmla="*/ 1106561 h 2397458"/>
                  <a:gd name="connsiteX245" fmla="*/ 2967032 w 3790409"/>
                  <a:gd name="connsiteY245" fmla="*/ 1124863 h 2397458"/>
                  <a:gd name="connsiteX246" fmla="*/ 2942138 w 3790409"/>
                  <a:gd name="connsiteY246" fmla="*/ 1139228 h 2397458"/>
                  <a:gd name="connsiteX247" fmla="*/ 2949518 w 3790409"/>
                  <a:gd name="connsiteY247" fmla="*/ 1149462 h 2397458"/>
                  <a:gd name="connsiteX248" fmla="*/ 2996452 w 3790409"/>
                  <a:gd name="connsiteY248" fmla="*/ 1125355 h 2397458"/>
                  <a:gd name="connsiteX249" fmla="*/ 3020953 w 3790409"/>
                  <a:gd name="connsiteY249" fmla="*/ 1100362 h 2397458"/>
                  <a:gd name="connsiteX250" fmla="*/ 3091896 w 3790409"/>
                  <a:gd name="connsiteY250" fmla="*/ 1070253 h 2397458"/>
                  <a:gd name="connsiteX251" fmla="*/ 3128401 w 3790409"/>
                  <a:gd name="connsiteY251" fmla="*/ 1069171 h 2397458"/>
                  <a:gd name="connsiteX252" fmla="*/ 3263794 w 3790409"/>
                  <a:gd name="connsiteY252" fmla="*/ 980909 h 2397458"/>
                  <a:gd name="connsiteX253" fmla="*/ 3278947 w 3790409"/>
                  <a:gd name="connsiteY253" fmla="*/ 938501 h 2397458"/>
                  <a:gd name="connsiteX254" fmla="*/ 3307285 w 3790409"/>
                  <a:gd name="connsiteY254" fmla="*/ 927480 h 2397458"/>
                  <a:gd name="connsiteX255" fmla="*/ 3326669 w 3790409"/>
                  <a:gd name="connsiteY255" fmla="*/ 953949 h 2397458"/>
                  <a:gd name="connsiteX256" fmla="*/ 3386592 w 3790409"/>
                  <a:gd name="connsiteY256" fmla="*/ 956409 h 2397458"/>
                  <a:gd name="connsiteX257" fmla="*/ 3373506 w 3790409"/>
                  <a:gd name="connsiteY257" fmla="*/ 914590 h 2397458"/>
                  <a:gd name="connsiteX258" fmla="*/ 3429001 w 3790409"/>
                  <a:gd name="connsiteY258" fmla="*/ 911048 h 2397458"/>
                  <a:gd name="connsiteX259" fmla="*/ 3442580 w 3790409"/>
                  <a:gd name="connsiteY259" fmla="*/ 881529 h 2397458"/>
                  <a:gd name="connsiteX260" fmla="*/ 3467965 w 3790409"/>
                  <a:gd name="connsiteY260" fmla="*/ 881529 h 2397458"/>
                  <a:gd name="connsiteX261" fmla="*/ 3478297 w 3790409"/>
                  <a:gd name="connsiteY261" fmla="*/ 830757 h 2397458"/>
                  <a:gd name="connsiteX262" fmla="*/ 3505258 w 3790409"/>
                  <a:gd name="connsiteY262" fmla="*/ 836169 h 2397458"/>
                  <a:gd name="connsiteX263" fmla="*/ 3505258 w 3790409"/>
                  <a:gd name="connsiteY263" fmla="*/ 856439 h 2397458"/>
                  <a:gd name="connsiteX264" fmla="*/ 3560556 w 3790409"/>
                  <a:gd name="connsiteY264" fmla="*/ 830265 h 2397458"/>
                  <a:gd name="connsiteX265" fmla="*/ 3573348 w 3790409"/>
                  <a:gd name="connsiteY265" fmla="*/ 756566 h 2397458"/>
                  <a:gd name="connsiteX266" fmla="*/ 3556128 w 3790409"/>
                  <a:gd name="connsiteY266" fmla="*/ 698611 h 2397458"/>
                  <a:gd name="connsiteX267" fmla="*/ 3595093 w 3790409"/>
                  <a:gd name="connsiteY267" fmla="*/ 684639 h 2397458"/>
                  <a:gd name="connsiteX268" fmla="*/ 3598734 w 3790409"/>
                  <a:gd name="connsiteY268" fmla="*/ 671355 h 2397458"/>
                  <a:gd name="connsiteX269" fmla="*/ 3620676 w 3790409"/>
                  <a:gd name="connsiteY269" fmla="*/ 668797 h 2397458"/>
                  <a:gd name="connsiteX270" fmla="*/ 3620676 w 3790409"/>
                  <a:gd name="connsiteY270" fmla="*/ 668797 h 2397458"/>
                  <a:gd name="connsiteX271" fmla="*/ 3619987 w 3790409"/>
                  <a:gd name="connsiteY271" fmla="*/ 666731 h 2397458"/>
                  <a:gd name="connsiteX272" fmla="*/ 3623628 w 3790409"/>
                  <a:gd name="connsiteY272" fmla="*/ 659843 h 2397458"/>
                  <a:gd name="connsiteX273" fmla="*/ 3637404 w 3790409"/>
                  <a:gd name="connsiteY273" fmla="*/ 655711 h 2397458"/>
                  <a:gd name="connsiteX274" fmla="*/ 3647342 w 3790409"/>
                  <a:gd name="connsiteY274" fmla="*/ 657285 h 2397458"/>
                  <a:gd name="connsiteX275" fmla="*/ 3668792 w 3790409"/>
                  <a:gd name="connsiteY275" fmla="*/ 672339 h 2397458"/>
                  <a:gd name="connsiteX276" fmla="*/ 3670563 w 3790409"/>
                  <a:gd name="connsiteY276" fmla="*/ 680310 h 2397458"/>
                  <a:gd name="connsiteX277" fmla="*/ 3668103 w 3790409"/>
                  <a:gd name="connsiteY277" fmla="*/ 684541 h 2397458"/>
                  <a:gd name="connsiteX278" fmla="*/ 3687389 w 3790409"/>
                  <a:gd name="connsiteY278" fmla="*/ 684541 h 2397458"/>
                  <a:gd name="connsiteX279" fmla="*/ 3692309 w 3790409"/>
                  <a:gd name="connsiteY279" fmla="*/ 648233 h 2397458"/>
                  <a:gd name="connsiteX280" fmla="*/ 3709528 w 3790409"/>
                  <a:gd name="connsiteY280" fmla="*/ 641443 h 2397458"/>
                  <a:gd name="connsiteX281" fmla="*/ 3752625 w 3790409"/>
                  <a:gd name="connsiteY281" fmla="*/ 506149 h 2397458"/>
                  <a:gd name="connsiteX282" fmla="*/ 3777224 w 3790409"/>
                  <a:gd name="connsiteY282" fmla="*/ 499360 h 2397458"/>
                  <a:gd name="connsiteX283" fmla="*/ 3790409 w 3790409"/>
                  <a:gd name="connsiteY283" fmla="*/ 477811 h 2397458"/>
                  <a:gd name="connsiteX284" fmla="*/ 3776536 w 3790409"/>
                  <a:gd name="connsiteY284" fmla="*/ 455081 h 2397458"/>
                  <a:gd name="connsiteX285" fmla="*/ 3786966 w 3790409"/>
                  <a:gd name="connsiteY285" fmla="*/ 427432 h 2397458"/>
                  <a:gd name="connsiteX286" fmla="*/ 3741507 w 3790409"/>
                  <a:gd name="connsiteY286" fmla="*/ 426842 h 2397458"/>
                  <a:gd name="connsiteX287" fmla="*/ 3712578 w 3790409"/>
                  <a:gd name="connsiteY287" fmla="*/ 447111 h 2397458"/>
                  <a:gd name="connsiteX288" fmla="*/ 3661511 w 3790409"/>
                  <a:gd name="connsiteY288" fmla="*/ 456951 h 2397458"/>
                  <a:gd name="connsiteX289" fmla="*/ 3651671 w 3790409"/>
                  <a:gd name="connsiteY289" fmla="*/ 477220 h 2397458"/>
                  <a:gd name="connsiteX290" fmla="*/ 3556325 w 3790409"/>
                  <a:gd name="connsiteY290" fmla="*/ 480271 h 2397458"/>
                  <a:gd name="connsiteX291" fmla="*/ 3535465 w 3790409"/>
                  <a:gd name="connsiteY291" fmla="*/ 450752 h 2397458"/>
                  <a:gd name="connsiteX292" fmla="*/ 3545305 w 3790409"/>
                  <a:gd name="connsiteY292" fmla="*/ 428613 h 2397458"/>
                  <a:gd name="connsiteX293" fmla="*/ 3528086 w 3790409"/>
                  <a:gd name="connsiteY293" fmla="*/ 408343 h 2397458"/>
                  <a:gd name="connsiteX294" fmla="*/ 3536056 w 3790409"/>
                  <a:gd name="connsiteY294" fmla="*/ 383744 h 2397458"/>
                  <a:gd name="connsiteX295" fmla="*/ 3505356 w 3790409"/>
                  <a:gd name="connsiteY295" fmla="*/ 381875 h 2397458"/>
                  <a:gd name="connsiteX296" fmla="*/ 3470327 w 3790409"/>
                  <a:gd name="connsiteY296" fmla="*/ 348026 h 2397458"/>
                  <a:gd name="connsiteX297" fmla="*/ 3440218 w 3790409"/>
                  <a:gd name="connsiteY297" fmla="*/ 347436 h 2397458"/>
                  <a:gd name="connsiteX298" fmla="*/ 3413750 w 3790409"/>
                  <a:gd name="connsiteY298" fmla="*/ 325297 h 2397458"/>
                  <a:gd name="connsiteX299" fmla="*/ 3372522 w 3790409"/>
                  <a:gd name="connsiteY299" fmla="*/ 332480 h 2397458"/>
                  <a:gd name="connsiteX300" fmla="*/ 3335623 w 3790409"/>
                  <a:gd name="connsiteY300" fmla="*/ 311128 h 2397458"/>
                  <a:gd name="connsiteX301" fmla="*/ 3340248 w 3790409"/>
                  <a:gd name="connsiteY301" fmla="*/ 269310 h 2397458"/>
                  <a:gd name="connsiteX302" fmla="*/ 3250314 w 3790409"/>
                  <a:gd name="connsiteY302" fmla="*/ 66811 h 2397458"/>
                  <a:gd name="connsiteX303" fmla="*/ 3193736 w 3790409"/>
                  <a:gd name="connsiteY303" fmla="*/ 29125 h 2397458"/>
                  <a:gd name="connsiteX304" fmla="*/ 3163430 w 3790409"/>
                  <a:gd name="connsiteY304" fmla="*/ 34045 h 2397458"/>
                  <a:gd name="connsiteX305" fmla="*/ 3105770 w 3790409"/>
                  <a:gd name="connsiteY305" fmla="*/ 0 h 2397458"/>
                  <a:gd name="connsiteX306" fmla="*/ 2921573 w 3790409"/>
                  <a:gd name="connsiteY306" fmla="*/ 20073 h 2397458"/>
                  <a:gd name="connsiteX307" fmla="*/ 2873162 w 3790409"/>
                  <a:gd name="connsiteY307" fmla="*/ 63564 h 2397458"/>
                  <a:gd name="connsiteX308" fmla="*/ 2873949 w 3790409"/>
                  <a:gd name="connsiteY308" fmla="*/ 88163 h 2397458"/>
                  <a:gd name="connsiteX309" fmla="*/ 2902681 w 3790409"/>
                  <a:gd name="connsiteY309" fmla="*/ 77536 h 2397458"/>
                  <a:gd name="connsiteX310" fmla="*/ 2918227 w 3790409"/>
                  <a:gd name="connsiteY310" fmla="*/ 82456 h 2397458"/>
                  <a:gd name="connsiteX311" fmla="*/ 2921474 w 3790409"/>
                  <a:gd name="connsiteY311" fmla="*/ 131654 h 2397458"/>
                  <a:gd name="connsiteX312" fmla="*/ 2883789 w 3790409"/>
                  <a:gd name="connsiteY312" fmla="*/ 151333 h 2397458"/>
                  <a:gd name="connsiteX313" fmla="*/ 2821504 w 3790409"/>
                  <a:gd name="connsiteY313" fmla="*/ 258781 h 2397458"/>
                  <a:gd name="connsiteX314" fmla="*/ 2843644 w 3790409"/>
                  <a:gd name="connsiteY314" fmla="*/ 266161 h 2397458"/>
                  <a:gd name="connsiteX315" fmla="*/ 2837936 w 3790409"/>
                  <a:gd name="connsiteY315" fmla="*/ 285053 h 2397458"/>
                  <a:gd name="connsiteX316" fmla="*/ 2787951 w 3790409"/>
                  <a:gd name="connsiteY316" fmla="*/ 295680 h 2397458"/>
                  <a:gd name="connsiteX317" fmla="*/ 2742000 w 3790409"/>
                  <a:gd name="connsiteY317" fmla="*/ 334251 h 2397458"/>
                  <a:gd name="connsiteX318" fmla="*/ 2668991 w 3790409"/>
                  <a:gd name="connsiteY318" fmla="*/ 303158 h 2397458"/>
                  <a:gd name="connsiteX319" fmla="*/ 2591947 w 3790409"/>
                  <a:gd name="connsiteY319" fmla="*/ 446521 h 2397458"/>
                  <a:gd name="connsiteX320" fmla="*/ 2630518 w 3790409"/>
                  <a:gd name="connsiteY320" fmla="*/ 483419 h 2397458"/>
                  <a:gd name="connsiteX321" fmla="*/ 2664169 w 3790409"/>
                  <a:gd name="connsiteY321" fmla="*/ 458820 h 2397458"/>
                  <a:gd name="connsiteX322" fmla="*/ 2711596 w 3790409"/>
                  <a:gd name="connsiteY322" fmla="*/ 477712 h 2397458"/>
                  <a:gd name="connsiteX323" fmla="*/ 2738950 w 3790409"/>
                  <a:gd name="connsiteY323" fmla="*/ 448981 h 2397458"/>
                  <a:gd name="connsiteX324" fmla="*/ 2784606 w 3790409"/>
                  <a:gd name="connsiteY324" fmla="*/ 454196 h 2397458"/>
                  <a:gd name="connsiteX325" fmla="*/ 2869128 w 3790409"/>
                  <a:gd name="connsiteY325" fmla="*/ 531437 h 2397458"/>
                  <a:gd name="connsiteX326" fmla="*/ 2869128 w 3790409"/>
                  <a:gd name="connsiteY326" fmla="*/ 563809 h 2397458"/>
                  <a:gd name="connsiteX327" fmla="*/ 2730587 w 3790409"/>
                  <a:gd name="connsiteY327" fmla="*/ 554757 h 2397458"/>
                  <a:gd name="connsiteX328" fmla="*/ 2711596 w 3790409"/>
                  <a:gd name="connsiteY328" fmla="*/ 584275 h 2397458"/>
                  <a:gd name="connsiteX329" fmla="*/ 2654330 w 3790409"/>
                  <a:gd name="connsiteY329" fmla="*/ 584275 h 2397458"/>
                  <a:gd name="connsiteX330" fmla="*/ 2641932 w 3790409"/>
                  <a:gd name="connsiteY330" fmla="*/ 626782 h 2397458"/>
                  <a:gd name="connsiteX331" fmla="*/ 2593423 w 3790409"/>
                  <a:gd name="connsiteY331" fmla="*/ 655809 h 2397458"/>
                  <a:gd name="connsiteX332" fmla="*/ 2537140 w 3790409"/>
                  <a:gd name="connsiteY332" fmla="*/ 655809 h 2397458"/>
                  <a:gd name="connsiteX333" fmla="*/ 2479283 w 3790409"/>
                  <a:gd name="connsiteY333" fmla="*/ 706778 h 2397458"/>
                  <a:gd name="connsiteX334" fmla="*/ 2380592 w 3790409"/>
                  <a:gd name="connsiteY334" fmla="*/ 679719 h 2397458"/>
                  <a:gd name="connsiteX335" fmla="*/ 2341824 w 3790409"/>
                  <a:gd name="connsiteY335" fmla="*/ 733247 h 2397458"/>
                  <a:gd name="connsiteX336" fmla="*/ 2375869 w 3790409"/>
                  <a:gd name="connsiteY336" fmla="*/ 779690 h 2397458"/>
                  <a:gd name="connsiteX337" fmla="*/ 2246970 w 3790409"/>
                  <a:gd name="connsiteY337" fmla="*/ 871985 h 2397458"/>
                  <a:gd name="connsiteX338" fmla="*/ 2097408 w 3790409"/>
                  <a:gd name="connsiteY338" fmla="*/ 880152 h 2397458"/>
                  <a:gd name="connsiteX339" fmla="*/ 1944993 w 3790409"/>
                  <a:gd name="connsiteY339" fmla="*/ 944109 h 2397458"/>
                  <a:gd name="connsiteX340" fmla="*/ 1911834 w 3790409"/>
                  <a:gd name="connsiteY340" fmla="*/ 920101 h 2397458"/>
                  <a:gd name="connsiteX341" fmla="*/ 1861553 w 3790409"/>
                  <a:gd name="connsiteY341" fmla="*/ 926496 h 2397458"/>
                  <a:gd name="connsiteX342" fmla="*/ 1720552 w 3790409"/>
                  <a:gd name="connsiteY342" fmla="*/ 863228 h 2397458"/>
                  <a:gd name="connsiteX343" fmla="*/ 1413852 w 3790409"/>
                  <a:gd name="connsiteY343" fmla="*/ 863228 h 2397458"/>
                  <a:gd name="connsiteX344" fmla="*/ 1345860 w 3790409"/>
                  <a:gd name="connsiteY344" fmla="*/ 742004 h 2397458"/>
                  <a:gd name="connsiteX345" fmla="*/ 1228572 w 3790409"/>
                  <a:gd name="connsiteY345" fmla="*/ 689952 h 2397458"/>
                  <a:gd name="connsiteX346" fmla="*/ 1070843 w 3790409"/>
                  <a:gd name="connsiteY346" fmla="*/ 675783 h 2397458"/>
                  <a:gd name="connsiteX347" fmla="*/ 1051164 w 3790409"/>
                  <a:gd name="connsiteY347" fmla="*/ 639475 h 2397458"/>
                  <a:gd name="connsiteX348" fmla="*/ 1076058 w 3790409"/>
                  <a:gd name="connsiteY348" fmla="*/ 610842 h 2397458"/>
                  <a:gd name="connsiteX349" fmla="*/ 1075173 w 3790409"/>
                  <a:gd name="connsiteY349" fmla="*/ 537931 h 2397458"/>
                  <a:gd name="connsiteX350" fmla="*/ 1050672 w 3790409"/>
                  <a:gd name="connsiteY350" fmla="*/ 524647 h 2397458"/>
                  <a:gd name="connsiteX351" fmla="*/ 1031485 w 3790409"/>
                  <a:gd name="connsiteY351" fmla="*/ 474465 h 2397458"/>
                  <a:gd name="connsiteX352" fmla="*/ 986912 w 3790409"/>
                  <a:gd name="connsiteY352" fmla="*/ 450949 h 2397458"/>
                  <a:gd name="connsiteX353" fmla="*/ 955523 w 3790409"/>
                  <a:gd name="connsiteY353" fmla="*/ 453802 h 2397458"/>
                  <a:gd name="connsiteX354" fmla="*/ 924430 w 3790409"/>
                  <a:gd name="connsiteY354" fmla="*/ 440223 h 2397458"/>
                  <a:gd name="connsiteX355" fmla="*/ 921675 w 3790409"/>
                  <a:gd name="connsiteY355" fmla="*/ 422315 h 2397458"/>
                  <a:gd name="connsiteX356" fmla="*/ 891467 w 3790409"/>
                  <a:gd name="connsiteY356" fmla="*/ 409721 h 2397458"/>
                  <a:gd name="connsiteX357" fmla="*/ 896092 w 3790409"/>
                  <a:gd name="connsiteY357" fmla="*/ 395355 h 2397458"/>
                  <a:gd name="connsiteX358" fmla="*/ 877594 w 3790409"/>
                  <a:gd name="connsiteY358" fmla="*/ 387188 h 2397458"/>
                  <a:gd name="connsiteX359" fmla="*/ 880644 w 3790409"/>
                  <a:gd name="connsiteY359" fmla="*/ 361212 h 2397458"/>
                  <a:gd name="connsiteX360" fmla="*/ 851224 w 3790409"/>
                  <a:gd name="connsiteY360" fmla="*/ 366722 h 2397458"/>
                  <a:gd name="connsiteX361" fmla="*/ 810586 w 3790409"/>
                  <a:gd name="connsiteY361" fmla="*/ 375085 h 2397458"/>
                  <a:gd name="connsiteX362" fmla="*/ 812554 w 3790409"/>
                  <a:gd name="connsiteY362" fmla="*/ 398504 h 2397458"/>
                  <a:gd name="connsiteX363" fmla="*/ 781067 w 3790409"/>
                  <a:gd name="connsiteY363" fmla="*/ 418773 h 2397458"/>
                  <a:gd name="connsiteX364" fmla="*/ 751155 w 3790409"/>
                  <a:gd name="connsiteY364" fmla="*/ 418773 h 2397458"/>
                  <a:gd name="connsiteX365" fmla="*/ 733148 w 3790409"/>
                  <a:gd name="connsiteY365" fmla="*/ 453605 h 2397458"/>
                  <a:gd name="connsiteX366" fmla="*/ 746530 w 3790409"/>
                  <a:gd name="connsiteY366" fmla="*/ 515398 h 2397458"/>
                  <a:gd name="connsiteX367" fmla="*/ 691330 w 3790409"/>
                  <a:gd name="connsiteY367" fmla="*/ 545015 h 2397458"/>
                  <a:gd name="connsiteX368" fmla="*/ 582701 w 3790409"/>
                  <a:gd name="connsiteY368" fmla="*/ 515890 h 2397458"/>
                  <a:gd name="connsiteX369" fmla="*/ 537931 w 3790409"/>
                  <a:gd name="connsiteY369" fmla="*/ 638295 h 2397458"/>
                  <a:gd name="connsiteX370" fmla="*/ 561841 w 3790409"/>
                  <a:gd name="connsiteY370" fmla="*/ 649807 h 2397458"/>
                  <a:gd name="connsiteX371" fmla="*/ 551608 w 3790409"/>
                  <a:gd name="connsiteY371" fmla="*/ 677653 h 2397458"/>
                  <a:gd name="connsiteX372" fmla="*/ 489127 w 3790409"/>
                  <a:gd name="connsiteY372" fmla="*/ 665157 h 2397458"/>
                  <a:gd name="connsiteX373" fmla="*/ 390534 w 3790409"/>
                  <a:gd name="connsiteY373" fmla="*/ 684442 h 2397458"/>
                  <a:gd name="connsiteX374" fmla="*/ 383941 w 3790409"/>
                  <a:gd name="connsiteY374" fmla="*/ 708057 h 2397458"/>
                  <a:gd name="connsiteX375" fmla="*/ 420249 w 3790409"/>
                  <a:gd name="connsiteY375" fmla="*/ 711206 h 2397458"/>
                  <a:gd name="connsiteX376" fmla="*/ 442782 w 3790409"/>
                  <a:gd name="connsiteY376" fmla="*/ 824558 h 2397458"/>
                  <a:gd name="connsiteX377" fmla="*/ 410705 w 3790409"/>
                  <a:gd name="connsiteY377" fmla="*/ 852502 h 2397458"/>
                  <a:gd name="connsiteX378" fmla="*/ 409426 w 3790409"/>
                  <a:gd name="connsiteY378" fmla="*/ 906817 h 2397458"/>
                  <a:gd name="connsiteX379" fmla="*/ 282987 w 3790409"/>
                  <a:gd name="connsiteY379" fmla="*/ 985042 h 2397458"/>
                  <a:gd name="connsiteX380" fmla="*/ 192758 w 3790409"/>
                  <a:gd name="connsiteY380" fmla="*/ 993012 h 2397458"/>
                  <a:gd name="connsiteX381" fmla="*/ 171800 w 3790409"/>
                  <a:gd name="connsiteY381" fmla="*/ 1032272 h 2397458"/>
                  <a:gd name="connsiteX382" fmla="*/ 133032 w 3790409"/>
                  <a:gd name="connsiteY382" fmla="*/ 1045457 h 2397458"/>
                  <a:gd name="connsiteX383" fmla="*/ 122011 w 3790409"/>
                  <a:gd name="connsiteY383" fmla="*/ 1020268 h 2397458"/>
                  <a:gd name="connsiteX384" fmla="*/ 19286 w 3790409"/>
                  <a:gd name="connsiteY384" fmla="*/ 1062086 h 2397458"/>
                  <a:gd name="connsiteX385" fmla="*/ 11021 w 3790409"/>
                  <a:gd name="connsiteY385" fmla="*/ 1075960 h 2397458"/>
                  <a:gd name="connsiteX386" fmla="*/ 17416 w 3790409"/>
                  <a:gd name="connsiteY386" fmla="*/ 1094655 h 2397458"/>
                  <a:gd name="connsiteX387" fmla="*/ 0 w 3790409"/>
                  <a:gd name="connsiteY387" fmla="*/ 1103216 h 2397458"/>
                  <a:gd name="connsiteX388" fmla="*/ 5510 w 3790409"/>
                  <a:gd name="connsiteY388" fmla="*/ 1162352 h 2397458"/>
                  <a:gd name="connsiteX389" fmla="*/ 24402 w 3790409"/>
                  <a:gd name="connsiteY389" fmla="*/ 1171306 h 2397458"/>
                  <a:gd name="connsiteX390" fmla="*/ 31585 w 3790409"/>
                  <a:gd name="connsiteY390" fmla="*/ 1157333 h 2397458"/>
                  <a:gd name="connsiteX391" fmla="*/ 71042 w 3790409"/>
                  <a:gd name="connsiteY391" fmla="*/ 1168354 h 2397458"/>
                  <a:gd name="connsiteX392" fmla="*/ 98101 w 3790409"/>
                  <a:gd name="connsiteY392" fmla="*/ 1246382 h 2397458"/>
                  <a:gd name="connsiteX393" fmla="*/ 72518 w 3790409"/>
                  <a:gd name="connsiteY393" fmla="*/ 1256320 h 2397458"/>
                  <a:gd name="connsiteX394" fmla="*/ 47328 w 3790409"/>
                  <a:gd name="connsiteY394" fmla="*/ 1265766 h 2397458"/>
                  <a:gd name="connsiteX395" fmla="*/ 57168 w 3790409"/>
                  <a:gd name="connsiteY395" fmla="*/ 1278852 h 2397458"/>
                  <a:gd name="connsiteX396" fmla="*/ 2737278 w 3790409"/>
                  <a:gd name="connsiteY396" fmla="*/ 368198 h 2397458"/>
                  <a:gd name="connsiteX397" fmla="*/ 2707266 w 3790409"/>
                  <a:gd name="connsiteY397" fmla="*/ 402735 h 2397458"/>
                  <a:gd name="connsiteX398" fmla="*/ 2699985 w 3790409"/>
                  <a:gd name="connsiteY398" fmla="*/ 402735 h 2397458"/>
                  <a:gd name="connsiteX399" fmla="*/ 2685620 w 3790409"/>
                  <a:gd name="connsiteY399" fmla="*/ 386106 h 2397458"/>
                  <a:gd name="connsiteX400" fmla="*/ 2686702 w 3790409"/>
                  <a:gd name="connsiteY400" fmla="*/ 378824 h 2397458"/>
                  <a:gd name="connsiteX401" fmla="*/ 2703528 w 3790409"/>
                  <a:gd name="connsiteY401" fmla="*/ 368001 h 2397458"/>
                  <a:gd name="connsiteX402" fmla="*/ 2710908 w 3790409"/>
                  <a:gd name="connsiteY402" fmla="*/ 360129 h 2397458"/>
                  <a:gd name="connsiteX403" fmla="*/ 2717401 w 3790409"/>
                  <a:gd name="connsiteY403" fmla="*/ 348518 h 2397458"/>
                  <a:gd name="connsiteX404" fmla="*/ 2724092 w 3790409"/>
                  <a:gd name="connsiteY404" fmla="*/ 343697 h 2397458"/>
                  <a:gd name="connsiteX405" fmla="*/ 2731079 w 3790409"/>
                  <a:gd name="connsiteY405" fmla="*/ 348420 h 2397458"/>
                  <a:gd name="connsiteX406" fmla="*/ 2738064 w 3790409"/>
                  <a:gd name="connsiteY406" fmla="*/ 359244 h 2397458"/>
                  <a:gd name="connsiteX407" fmla="*/ 2737474 w 3790409"/>
                  <a:gd name="connsiteY407" fmla="*/ 368099 h 2397458"/>
                  <a:gd name="connsiteX408" fmla="*/ 1611332 w 3790409"/>
                  <a:gd name="connsiteY408" fmla="*/ 1267832 h 2397458"/>
                  <a:gd name="connsiteX409" fmla="*/ 1616941 w 3790409"/>
                  <a:gd name="connsiteY409" fmla="*/ 1262223 h 2397458"/>
                  <a:gd name="connsiteX410" fmla="*/ 1645181 w 3790409"/>
                  <a:gd name="connsiteY410" fmla="*/ 1262223 h 2397458"/>
                  <a:gd name="connsiteX411" fmla="*/ 1654528 w 3790409"/>
                  <a:gd name="connsiteY411" fmla="*/ 1266258 h 2397458"/>
                  <a:gd name="connsiteX412" fmla="*/ 1675585 w 3790409"/>
                  <a:gd name="connsiteY412" fmla="*/ 1288889 h 2397458"/>
                  <a:gd name="connsiteX413" fmla="*/ 1678340 w 3790409"/>
                  <a:gd name="connsiteY413" fmla="*/ 1298433 h 2397458"/>
                  <a:gd name="connsiteX414" fmla="*/ 1676470 w 3790409"/>
                  <a:gd name="connsiteY414" fmla="*/ 1307977 h 2397458"/>
                  <a:gd name="connsiteX415" fmla="*/ 1670370 w 3790409"/>
                  <a:gd name="connsiteY415" fmla="*/ 1310929 h 2397458"/>
                  <a:gd name="connsiteX416" fmla="*/ 1657382 w 3790409"/>
                  <a:gd name="connsiteY416" fmla="*/ 1304435 h 2397458"/>
                  <a:gd name="connsiteX417" fmla="*/ 1646853 w 3790409"/>
                  <a:gd name="connsiteY417" fmla="*/ 1301090 h 2397458"/>
                  <a:gd name="connsiteX418" fmla="*/ 1616842 w 3790409"/>
                  <a:gd name="connsiteY418" fmla="*/ 1296268 h 2397458"/>
                  <a:gd name="connsiteX419" fmla="*/ 1611332 w 3790409"/>
                  <a:gd name="connsiteY419" fmla="*/ 1289774 h 2397458"/>
                  <a:gd name="connsiteX420" fmla="*/ 1611332 w 3790409"/>
                  <a:gd name="connsiteY420" fmla="*/ 1267734 h 2397458"/>
                  <a:gd name="connsiteX421" fmla="*/ 1027746 w 3790409"/>
                  <a:gd name="connsiteY421" fmla="*/ 1696838 h 2397458"/>
                  <a:gd name="connsiteX422" fmla="*/ 1045359 w 3790409"/>
                  <a:gd name="connsiteY422" fmla="*/ 1699593 h 2397458"/>
                  <a:gd name="connsiteX423" fmla="*/ 1055592 w 3790409"/>
                  <a:gd name="connsiteY423" fmla="*/ 1697527 h 2397458"/>
                  <a:gd name="connsiteX424" fmla="*/ 1063759 w 3790409"/>
                  <a:gd name="connsiteY424" fmla="*/ 1692411 h 2397458"/>
                  <a:gd name="connsiteX425" fmla="*/ 1073303 w 3790409"/>
                  <a:gd name="connsiteY425" fmla="*/ 1692411 h 2397458"/>
                  <a:gd name="connsiteX426" fmla="*/ 1074779 w 3790409"/>
                  <a:gd name="connsiteY426" fmla="*/ 1693296 h 2397458"/>
                  <a:gd name="connsiteX427" fmla="*/ 1076550 w 3790409"/>
                  <a:gd name="connsiteY427" fmla="*/ 1700872 h 2397458"/>
                  <a:gd name="connsiteX428" fmla="*/ 1072221 w 3790409"/>
                  <a:gd name="connsiteY428" fmla="*/ 1707662 h 2397458"/>
                  <a:gd name="connsiteX429" fmla="*/ 1064054 w 3790409"/>
                  <a:gd name="connsiteY429" fmla="*/ 1714451 h 2397458"/>
                  <a:gd name="connsiteX430" fmla="*/ 1034732 w 3790409"/>
                  <a:gd name="connsiteY430" fmla="*/ 1726455 h 2397458"/>
                  <a:gd name="connsiteX431" fmla="*/ 1028336 w 3790409"/>
                  <a:gd name="connsiteY431" fmla="*/ 1723110 h 2397458"/>
                  <a:gd name="connsiteX432" fmla="*/ 1023416 w 3790409"/>
                  <a:gd name="connsiteY432" fmla="*/ 1701660 h 2397458"/>
                  <a:gd name="connsiteX433" fmla="*/ 1027647 w 3790409"/>
                  <a:gd name="connsiteY433" fmla="*/ 1697035 h 2397458"/>
                  <a:gd name="connsiteX434" fmla="*/ 925611 w 3790409"/>
                  <a:gd name="connsiteY434" fmla="*/ 1627272 h 2397458"/>
                  <a:gd name="connsiteX435" fmla="*/ 937812 w 3790409"/>
                  <a:gd name="connsiteY435" fmla="*/ 1624517 h 2397458"/>
                  <a:gd name="connsiteX436" fmla="*/ 948439 w 3790409"/>
                  <a:gd name="connsiteY436" fmla="*/ 1625304 h 2397458"/>
                  <a:gd name="connsiteX437" fmla="*/ 962017 w 3790409"/>
                  <a:gd name="connsiteY437" fmla="*/ 1630716 h 2397458"/>
                  <a:gd name="connsiteX438" fmla="*/ 964182 w 3790409"/>
                  <a:gd name="connsiteY438" fmla="*/ 1637407 h 2397458"/>
                  <a:gd name="connsiteX439" fmla="*/ 956310 w 3790409"/>
                  <a:gd name="connsiteY439" fmla="*/ 1649412 h 2397458"/>
                  <a:gd name="connsiteX440" fmla="*/ 947848 w 3790409"/>
                  <a:gd name="connsiteY440" fmla="*/ 1652659 h 2397458"/>
                  <a:gd name="connsiteX441" fmla="*/ 928464 w 3790409"/>
                  <a:gd name="connsiteY441" fmla="*/ 1647444 h 2397458"/>
                  <a:gd name="connsiteX442" fmla="*/ 922167 w 3790409"/>
                  <a:gd name="connsiteY442" fmla="*/ 1640458 h 2397458"/>
                  <a:gd name="connsiteX443" fmla="*/ 921085 w 3790409"/>
                  <a:gd name="connsiteY443" fmla="*/ 1633963 h 2397458"/>
                  <a:gd name="connsiteX444" fmla="*/ 925611 w 3790409"/>
                  <a:gd name="connsiteY444" fmla="*/ 1627174 h 239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Lst>
                <a:rect l="l" t="t" r="r" b="b"/>
                <a:pathLst>
                  <a:path w="3790409" h="2397458">
                    <a:moveTo>
                      <a:pt x="57070" y="1279148"/>
                    </a:moveTo>
                    <a:lnTo>
                      <a:pt x="105480" y="1284559"/>
                    </a:lnTo>
                    <a:lnTo>
                      <a:pt x="111581" y="1298728"/>
                    </a:lnTo>
                    <a:lnTo>
                      <a:pt x="139132" y="1307977"/>
                    </a:lnTo>
                    <a:lnTo>
                      <a:pt x="145331" y="1350780"/>
                    </a:lnTo>
                    <a:lnTo>
                      <a:pt x="268326" y="1383546"/>
                    </a:lnTo>
                    <a:lnTo>
                      <a:pt x="286529" y="1441895"/>
                    </a:lnTo>
                    <a:lnTo>
                      <a:pt x="331398" y="1459507"/>
                    </a:lnTo>
                    <a:lnTo>
                      <a:pt x="331398" y="1479974"/>
                    </a:lnTo>
                    <a:lnTo>
                      <a:pt x="315457" y="1485090"/>
                    </a:lnTo>
                    <a:lnTo>
                      <a:pt x="326183" y="1532320"/>
                    </a:lnTo>
                    <a:lnTo>
                      <a:pt x="353340" y="1546489"/>
                    </a:lnTo>
                    <a:lnTo>
                      <a:pt x="369083" y="1583289"/>
                    </a:lnTo>
                    <a:lnTo>
                      <a:pt x="330315" y="1603657"/>
                    </a:lnTo>
                    <a:lnTo>
                      <a:pt x="316343" y="1586045"/>
                    </a:lnTo>
                    <a:lnTo>
                      <a:pt x="293122" y="1592637"/>
                    </a:lnTo>
                    <a:lnTo>
                      <a:pt x="317032" y="1675782"/>
                    </a:lnTo>
                    <a:lnTo>
                      <a:pt x="342713" y="1674109"/>
                    </a:lnTo>
                    <a:lnTo>
                      <a:pt x="470234" y="1762665"/>
                    </a:lnTo>
                    <a:lnTo>
                      <a:pt x="481452" y="1737279"/>
                    </a:lnTo>
                    <a:lnTo>
                      <a:pt x="521105" y="1742100"/>
                    </a:lnTo>
                    <a:lnTo>
                      <a:pt x="529862" y="1760599"/>
                    </a:lnTo>
                    <a:lnTo>
                      <a:pt x="590081" y="1791594"/>
                    </a:lnTo>
                    <a:lnTo>
                      <a:pt x="619009" y="1822293"/>
                    </a:lnTo>
                    <a:lnTo>
                      <a:pt x="639082" y="1813339"/>
                    </a:lnTo>
                    <a:lnTo>
                      <a:pt x="652070" y="1819341"/>
                    </a:lnTo>
                    <a:lnTo>
                      <a:pt x="656695" y="1839316"/>
                    </a:lnTo>
                    <a:lnTo>
                      <a:pt x="688674" y="1860668"/>
                    </a:lnTo>
                    <a:lnTo>
                      <a:pt x="707369" y="1852107"/>
                    </a:lnTo>
                    <a:lnTo>
                      <a:pt x="717799" y="1860668"/>
                    </a:lnTo>
                    <a:lnTo>
                      <a:pt x="708746" y="1879560"/>
                    </a:lnTo>
                    <a:lnTo>
                      <a:pt x="748203" y="1881921"/>
                    </a:lnTo>
                    <a:lnTo>
                      <a:pt x="764242" y="1907898"/>
                    </a:lnTo>
                    <a:lnTo>
                      <a:pt x="794941" y="1905536"/>
                    </a:lnTo>
                    <a:lnTo>
                      <a:pt x="803895" y="1890285"/>
                    </a:lnTo>
                    <a:lnTo>
                      <a:pt x="863425" y="1912621"/>
                    </a:lnTo>
                    <a:lnTo>
                      <a:pt x="928366" y="1892548"/>
                    </a:lnTo>
                    <a:lnTo>
                      <a:pt x="943125" y="1908488"/>
                    </a:lnTo>
                    <a:lnTo>
                      <a:pt x="935746" y="1931513"/>
                    </a:lnTo>
                    <a:lnTo>
                      <a:pt x="946373" y="1941451"/>
                    </a:lnTo>
                    <a:lnTo>
                      <a:pt x="989076" y="1891269"/>
                    </a:lnTo>
                    <a:lnTo>
                      <a:pt x="1038077" y="1879658"/>
                    </a:lnTo>
                    <a:lnTo>
                      <a:pt x="1036798" y="1895303"/>
                    </a:lnTo>
                    <a:lnTo>
                      <a:pt x="1114531" y="1898353"/>
                    </a:lnTo>
                    <a:lnTo>
                      <a:pt x="1115909" y="1916261"/>
                    </a:lnTo>
                    <a:lnTo>
                      <a:pt x="1180555" y="1904946"/>
                    </a:lnTo>
                    <a:lnTo>
                      <a:pt x="1180555" y="1885168"/>
                    </a:lnTo>
                    <a:lnTo>
                      <a:pt x="1219028" y="1855945"/>
                    </a:lnTo>
                    <a:lnTo>
                      <a:pt x="1246972" y="1852403"/>
                    </a:lnTo>
                    <a:lnTo>
                      <a:pt x="1292529" y="1811371"/>
                    </a:lnTo>
                    <a:lnTo>
                      <a:pt x="1346746" y="1829968"/>
                    </a:lnTo>
                    <a:lnTo>
                      <a:pt x="1354814" y="1813831"/>
                    </a:lnTo>
                    <a:lnTo>
                      <a:pt x="1387088" y="1802712"/>
                    </a:lnTo>
                    <a:lnTo>
                      <a:pt x="1407062" y="1812650"/>
                    </a:lnTo>
                    <a:lnTo>
                      <a:pt x="1387678" y="1824458"/>
                    </a:lnTo>
                    <a:lnTo>
                      <a:pt x="1396632" y="1842858"/>
                    </a:lnTo>
                    <a:lnTo>
                      <a:pt x="1417492" y="1835281"/>
                    </a:lnTo>
                    <a:lnTo>
                      <a:pt x="1423691" y="1848368"/>
                    </a:lnTo>
                    <a:lnTo>
                      <a:pt x="1407850" y="1875820"/>
                    </a:lnTo>
                    <a:lnTo>
                      <a:pt x="1454686" y="1870507"/>
                    </a:lnTo>
                    <a:lnTo>
                      <a:pt x="1468757" y="1889990"/>
                    </a:lnTo>
                    <a:lnTo>
                      <a:pt x="1482237" y="1864111"/>
                    </a:lnTo>
                    <a:lnTo>
                      <a:pt x="1518545" y="1883988"/>
                    </a:lnTo>
                    <a:lnTo>
                      <a:pt x="1528286" y="1930233"/>
                    </a:lnTo>
                    <a:lnTo>
                      <a:pt x="1551213" y="1926396"/>
                    </a:lnTo>
                    <a:lnTo>
                      <a:pt x="1552393" y="2040044"/>
                    </a:lnTo>
                    <a:lnTo>
                      <a:pt x="1502211" y="2083731"/>
                    </a:lnTo>
                    <a:lnTo>
                      <a:pt x="1496111" y="2109806"/>
                    </a:lnTo>
                    <a:lnTo>
                      <a:pt x="1482138" y="2120630"/>
                    </a:lnTo>
                    <a:lnTo>
                      <a:pt x="1483319" y="2171501"/>
                    </a:lnTo>
                    <a:lnTo>
                      <a:pt x="1519529" y="2150739"/>
                    </a:lnTo>
                    <a:lnTo>
                      <a:pt x="1568727" y="2150739"/>
                    </a:lnTo>
                    <a:lnTo>
                      <a:pt x="1552984" y="2175240"/>
                    </a:lnTo>
                    <a:lnTo>
                      <a:pt x="1568727" y="2220403"/>
                    </a:lnTo>
                    <a:lnTo>
                      <a:pt x="1601493" y="2220403"/>
                    </a:lnTo>
                    <a:lnTo>
                      <a:pt x="1608872" y="2238902"/>
                    </a:lnTo>
                    <a:lnTo>
                      <a:pt x="1591653" y="2243231"/>
                    </a:lnTo>
                    <a:lnTo>
                      <a:pt x="1585749" y="2289379"/>
                    </a:lnTo>
                    <a:lnTo>
                      <a:pt x="1630913" y="2293905"/>
                    </a:lnTo>
                    <a:lnTo>
                      <a:pt x="1646460" y="2327753"/>
                    </a:lnTo>
                    <a:lnTo>
                      <a:pt x="1698708" y="2304040"/>
                    </a:lnTo>
                    <a:lnTo>
                      <a:pt x="1715829" y="2349893"/>
                    </a:lnTo>
                    <a:lnTo>
                      <a:pt x="1746922" y="2348121"/>
                    </a:lnTo>
                    <a:lnTo>
                      <a:pt x="1730687" y="2283180"/>
                    </a:lnTo>
                    <a:lnTo>
                      <a:pt x="1765519" y="2271372"/>
                    </a:lnTo>
                    <a:lnTo>
                      <a:pt x="1785788" y="2247856"/>
                    </a:lnTo>
                    <a:lnTo>
                      <a:pt x="1823769" y="2265666"/>
                    </a:lnTo>
                    <a:lnTo>
                      <a:pt x="1844728" y="2246577"/>
                    </a:lnTo>
                    <a:lnTo>
                      <a:pt x="1857716" y="2245986"/>
                    </a:lnTo>
                    <a:lnTo>
                      <a:pt x="1878969" y="2264386"/>
                    </a:lnTo>
                    <a:lnTo>
                      <a:pt x="1885070" y="2242444"/>
                    </a:lnTo>
                    <a:lnTo>
                      <a:pt x="1898649" y="2239393"/>
                    </a:lnTo>
                    <a:lnTo>
                      <a:pt x="1904946" y="2252480"/>
                    </a:lnTo>
                    <a:lnTo>
                      <a:pt x="1933382" y="2236639"/>
                    </a:lnTo>
                    <a:lnTo>
                      <a:pt x="1938007" y="2219419"/>
                    </a:lnTo>
                    <a:lnTo>
                      <a:pt x="1964967" y="2208596"/>
                    </a:lnTo>
                    <a:lnTo>
                      <a:pt x="1982974" y="2228472"/>
                    </a:lnTo>
                    <a:lnTo>
                      <a:pt x="2057853" y="2239393"/>
                    </a:lnTo>
                    <a:lnTo>
                      <a:pt x="2054803" y="2260254"/>
                    </a:lnTo>
                    <a:lnTo>
                      <a:pt x="2041421" y="2260746"/>
                    </a:lnTo>
                    <a:lnTo>
                      <a:pt x="2048801" y="2291248"/>
                    </a:lnTo>
                    <a:lnTo>
                      <a:pt x="2070251" y="2294102"/>
                    </a:lnTo>
                    <a:lnTo>
                      <a:pt x="2085502" y="2311321"/>
                    </a:lnTo>
                    <a:lnTo>
                      <a:pt x="2116005" y="2308271"/>
                    </a:lnTo>
                    <a:lnTo>
                      <a:pt x="2124959" y="2326671"/>
                    </a:lnTo>
                    <a:cubicBezTo>
                      <a:pt x="2168352" y="2312207"/>
                      <a:pt x="2175240" y="2305909"/>
                      <a:pt x="2182226" y="2311616"/>
                    </a:cubicBezTo>
                    <a:cubicBezTo>
                      <a:pt x="2190983" y="2317618"/>
                      <a:pt x="2196887" y="2326769"/>
                      <a:pt x="2205545" y="2324998"/>
                    </a:cubicBezTo>
                    <a:cubicBezTo>
                      <a:pt x="2209580" y="2323522"/>
                      <a:pt x="2220600" y="2324506"/>
                      <a:pt x="2220600" y="2316438"/>
                    </a:cubicBezTo>
                    <a:cubicBezTo>
                      <a:pt x="2221092" y="2313584"/>
                      <a:pt x="2218534" y="2301088"/>
                      <a:pt x="2225323" y="2305220"/>
                    </a:cubicBezTo>
                    <a:cubicBezTo>
                      <a:pt x="2234277" y="2312010"/>
                      <a:pt x="2247167" y="2314765"/>
                      <a:pt x="2244019" y="2323129"/>
                    </a:cubicBezTo>
                    <a:cubicBezTo>
                      <a:pt x="2237918" y="2341725"/>
                      <a:pt x="2230440" y="2350483"/>
                      <a:pt x="2234375" y="2359142"/>
                    </a:cubicBezTo>
                    <a:cubicBezTo>
                      <a:pt x="2245888" y="2381477"/>
                      <a:pt x="2246085" y="2393679"/>
                      <a:pt x="2255629" y="2394958"/>
                    </a:cubicBezTo>
                    <a:cubicBezTo>
                      <a:pt x="2267043" y="2395450"/>
                      <a:pt x="2278162" y="2401255"/>
                      <a:pt x="2282098" y="2393285"/>
                    </a:cubicBezTo>
                    <a:cubicBezTo>
                      <a:pt x="2282393" y="2392301"/>
                      <a:pt x="2287018" y="2386397"/>
                      <a:pt x="2282885" y="2380690"/>
                    </a:cubicBezTo>
                    <a:cubicBezTo>
                      <a:pt x="2275997" y="2369178"/>
                      <a:pt x="2263009" y="2359437"/>
                      <a:pt x="2271766" y="2356190"/>
                    </a:cubicBezTo>
                    <a:cubicBezTo>
                      <a:pt x="2273046" y="2355501"/>
                      <a:pt x="2281212" y="2353926"/>
                      <a:pt x="2284951" y="2347531"/>
                    </a:cubicBezTo>
                    <a:cubicBezTo>
                      <a:pt x="2290658" y="2339364"/>
                      <a:pt x="2292823" y="2329426"/>
                      <a:pt x="2301481" y="2327163"/>
                    </a:cubicBezTo>
                    <a:lnTo>
                      <a:pt x="2421033" y="2296168"/>
                    </a:lnTo>
                    <a:cubicBezTo>
                      <a:pt x="2429298" y="2294004"/>
                      <a:pt x="2432152" y="2284459"/>
                      <a:pt x="2436580" y="2278358"/>
                    </a:cubicBezTo>
                    <a:cubicBezTo>
                      <a:pt x="2443073" y="2267929"/>
                      <a:pt x="2454389" y="2294594"/>
                      <a:pt x="2461670" y="2284754"/>
                    </a:cubicBezTo>
                    <a:lnTo>
                      <a:pt x="2466590" y="2278161"/>
                    </a:lnTo>
                    <a:cubicBezTo>
                      <a:pt x="2475544" y="2265960"/>
                      <a:pt x="2463244" y="2236737"/>
                      <a:pt x="2475445" y="2236737"/>
                    </a:cubicBezTo>
                    <a:cubicBezTo>
                      <a:pt x="2476823" y="2237032"/>
                      <a:pt x="2484695" y="2235261"/>
                      <a:pt x="2488040" y="2241657"/>
                    </a:cubicBezTo>
                    <a:cubicBezTo>
                      <a:pt x="2496207" y="2254744"/>
                      <a:pt x="2497585" y="2267830"/>
                      <a:pt x="2506539" y="2265764"/>
                    </a:cubicBezTo>
                    <a:cubicBezTo>
                      <a:pt x="2516870" y="2262418"/>
                      <a:pt x="2528776" y="2263796"/>
                      <a:pt x="2530548" y="2255039"/>
                    </a:cubicBezTo>
                    <a:cubicBezTo>
                      <a:pt x="2531039" y="2253661"/>
                      <a:pt x="2531138" y="2245986"/>
                      <a:pt x="2537140" y="2241755"/>
                    </a:cubicBezTo>
                    <a:cubicBezTo>
                      <a:pt x="2539305" y="2240771"/>
                      <a:pt x="2547865" y="2231916"/>
                      <a:pt x="2548554" y="2239689"/>
                    </a:cubicBezTo>
                    <a:cubicBezTo>
                      <a:pt x="2549046" y="2241361"/>
                      <a:pt x="2547471" y="2251890"/>
                      <a:pt x="2554851" y="2249922"/>
                    </a:cubicBezTo>
                    <a:cubicBezTo>
                      <a:pt x="2637602" y="2226209"/>
                      <a:pt x="2644195" y="2227389"/>
                      <a:pt x="2652066" y="2220699"/>
                    </a:cubicBezTo>
                    <a:lnTo>
                      <a:pt x="2677453" y="2198953"/>
                    </a:lnTo>
                    <a:cubicBezTo>
                      <a:pt x="2678240" y="2190983"/>
                      <a:pt x="2673123" y="2179668"/>
                      <a:pt x="2681487" y="2180356"/>
                    </a:cubicBezTo>
                    <a:cubicBezTo>
                      <a:pt x="2694770" y="2180553"/>
                      <a:pt x="2705397" y="2185178"/>
                      <a:pt x="2711891" y="2178683"/>
                    </a:cubicBezTo>
                    <a:lnTo>
                      <a:pt x="2750069" y="2140703"/>
                    </a:lnTo>
                    <a:cubicBezTo>
                      <a:pt x="2752233" y="2138538"/>
                      <a:pt x="2752430" y="2134897"/>
                      <a:pt x="2750364" y="2132536"/>
                    </a:cubicBezTo>
                    <a:cubicBezTo>
                      <a:pt x="2749872" y="2131552"/>
                      <a:pt x="2743378" y="2126731"/>
                      <a:pt x="2748494" y="2121811"/>
                    </a:cubicBezTo>
                    <a:cubicBezTo>
                      <a:pt x="2752430" y="2118858"/>
                      <a:pt x="2757350" y="2109905"/>
                      <a:pt x="2765222" y="2112168"/>
                    </a:cubicBezTo>
                    <a:cubicBezTo>
                      <a:pt x="2775455" y="2114136"/>
                      <a:pt x="2785196" y="2121122"/>
                      <a:pt x="2790706" y="2114234"/>
                    </a:cubicBezTo>
                    <a:cubicBezTo>
                      <a:pt x="2798677" y="2102623"/>
                      <a:pt x="2807434" y="2096818"/>
                      <a:pt x="2806351" y="2087864"/>
                    </a:cubicBezTo>
                    <a:cubicBezTo>
                      <a:pt x="2806548" y="2085404"/>
                      <a:pt x="2802612" y="2073892"/>
                      <a:pt x="2810090" y="2076253"/>
                    </a:cubicBezTo>
                    <a:cubicBezTo>
                      <a:pt x="2812550" y="2076647"/>
                      <a:pt x="2820816" y="2081566"/>
                      <a:pt x="2825735" y="2076253"/>
                    </a:cubicBezTo>
                    <a:cubicBezTo>
                      <a:pt x="2832426" y="2069168"/>
                      <a:pt x="2814321" y="2065626"/>
                      <a:pt x="2822095" y="2059034"/>
                    </a:cubicBezTo>
                    <a:lnTo>
                      <a:pt x="2822193" y="2059034"/>
                    </a:lnTo>
                    <a:cubicBezTo>
                      <a:pt x="2828589" y="2053425"/>
                      <a:pt x="2836067" y="2061986"/>
                      <a:pt x="2841774" y="2064544"/>
                    </a:cubicBezTo>
                    <a:cubicBezTo>
                      <a:pt x="2848071" y="2068382"/>
                      <a:pt x="2853975" y="2064544"/>
                      <a:pt x="2850433" y="2058247"/>
                    </a:cubicBezTo>
                    <a:cubicBezTo>
                      <a:pt x="2848957" y="2054508"/>
                      <a:pt x="2841970" y="2047423"/>
                      <a:pt x="2846202" y="2040536"/>
                    </a:cubicBezTo>
                    <a:cubicBezTo>
                      <a:pt x="2849350" y="2033746"/>
                      <a:pt x="2859780" y="2024595"/>
                      <a:pt x="2851908" y="2021053"/>
                    </a:cubicBezTo>
                    <a:lnTo>
                      <a:pt x="2849055" y="2019774"/>
                    </a:lnTo>
                    <a:cubicBezTo>
                      <a:pt x="2837346" y="2014657"/>
                      <a:pt x="2869029" y="2004424"/>
                      <a:pt x="2862142" y="1993994"/>
                    </a:cubicBezTo>
                    <a:cubicBezTo>
                      <a:pt x="2861158" y="1991829"/>
                      <a:pt x="2854368" y="1985630"/>
                      <a:pt x="2858304" y="1979136"/>
                    </a:cubicBezTo>
                    <a:lnTo>
                      <a:pt x="2859977" y="1976381"/>
                    </a:lnTo>
                    <a:cubicBezTo>
                      <a:pt x="2861552" y="1973725"/>
                      <a:pt x="2864798" y="1973233"/>
                      <a:pt x="2867062" y="1975200"/>
                    </a:cubicBezTo>
                    <a:lnTo>
                      <a:pt x="2869226" y="1976972"/>
                    </a:lnTo>
                    <a:cubicBezTo>
                      <a:pt x="2871588" y="1978940"/>
                      <a:pt x="2874933" y="1978546"/>
                      <a:pt x="2876606" y="1975988"/>
                    </a:cubicBezTo>
                    <a:cubicBezTo>
                      <a:pt x="2883002" y="1964967"/>
                      <a:pt x="2891365" y="1958572"/>
                      <a:pt x="2889496" y="1949716"/>
                    </a:cubicBezTo>
                    <a:cubicBezTo>
                      <a:pt x="2889496" y="1948732"/>
                      <a:pt x="2885757" y="1939089"/>
                      <a:pt x="2892743" y="1941057"/>
                    </a:cubicBezTo>
                    <a:lnTo>
                      <a:pt x="2896777" y="1942140"/>
                    </a:lnTo>
                    <a:cubicBezTo>
                      <a:pt x="2904354" y="1944206"/>
                      <a:pt x="2914095" y="1931906"/>
                      <a:pt x="2912521" y="1924231"/>
                    </a:cubicBezTo>
                    <a:cubicBezTo>
                      <a:pt x="2912521" y="1922657"/>
                      <a:pt x="2911438" y="1918623"/>
                      <a:pt x="2914193" y="1913900"/>
                    </a:cubicBezTo>
                    <a:cubicBezTo>
                      <a:pt x="2936627" y="1878674"/>
                      <a:pt x="2938891" y="1863718"/>
                      <a:pt x="2946467" y="1868244"/>
                    </a:cubicBezTo>
                    <a:cubicBezTo>
                      <a:pt x="2951879" y="1871393"/>
                      <a:pt x="2949714" y="1878871"/>
                      <a:pt x="2949813" y="1879855"/>
                    </a:cubicBezTo>
                    <a:cubicBezTo>
                      <a:pt x="2949025" y="1887234"/>
                      <a:pt x="2957586" y="1888514"/>
                      <a:pt x="2960636" y="1881823"/>
                    </a:cubicBezTo>
                    <a:cubicBezTo>
                      <a:pt x="2961719" y="1880347"/>
                      <a:pt x="2963490" y="1871393"/>
                      <a:pt x="2970869" y="1872770"/>
                    </a:cubicBezTo>
                    <a:lnTo>
                      <a:pt x="2973526" y="1873262"/>
                    </a:lnTo>
                    <a:cubicBezTo>
                      <a:pt x="2985432" y="1875427"/>
                      <a:pt x="2965556" y="1851714"/>
                      <a:pt x="2972542" y="1841382"/>
                    </a:cubicBezTo>
                    <a:cubicBezTo>
                      <a:pt x="2974510" y="1837151"/>
                      <a:pt x="2983858" y="1829575"/>
                      <a:pt x="2977068" y="1824556"/>
                    </a:cubicBezTo>
                    <a:cubicBezTo>
                      <a:pt x="2973624" y="1821309"/>
                      <a:pt x="2962505" y="1816586"/>
                      <a:pt x="2966638" y="1810978"/>
                    </a:cubicBezTo>
                    <a:cubicBezTo>
                      <a:pt x="2971066" y="1805074"/>
                      <a:pt x="2980905" y="1812946"/>
                      <a:pt x="2989564" y="1815602"/>
                    </a:cubicBezTo>
                    <a:cubicBezTo>
                      <a:pt x="2997830" y="1819046"/>
                      <a:pt x="2993500" y="1803696"/>
                      <a:pt x="2994288" y="1794053"/>
                    </a:cubicBezTo>
                    <a:cubicBezTo>
                      <a:pt x="2994288" y="1791003"/>
                      <a:pt x="2991729" y="1788150"/>
                      <a:pt x="2988679" y="1787658"/>
                    </a:cubicBezTo>
                    <a:lnTo>
                      <a:pt x="2984645" y="1787067"/>
                    </a:lnTo>
                    <a:cubicBezTo>
                      <a:pt x="2975592" y="1785788"/>
                      <a:pt x="2990647" y="1777523"/>
                      <a:pt x="3001176" y="1766995"/>
                    </a:cubicBezTo>
                    <a:cubicBezTo>
                      <a:pt x="3007964" y="1761091"/>
                      <a:pt x="2990844" y="1762173"/>
                      <a:pt x="2981398" y="1760009"/>
                    </a:cubicBezTo>
                    <a:cubicBezTo>
                      <a:pt x="2972641" y="1758828"/>
                      <a:pt x="2969492" y="1748988"/>
                      <a:pt x="2962702" y="1740821"/>
                    </a:cubicBezTo>
                    <a:cubicBezTo>
                      <a:pt x="2958373" y="1734721"/>
                      <a:pt x="2950206" y="1735114"/>
                      <a:pt x="2948533" y="1734623"/>
                    </a:cubicBezTo>
                    <a:cubicBezTo>
                      <a:pt x="2940859" y="1733442"/>
                      <a:pt x="2936529" y="1741707"/>
                      <a:pt x="2934364" y="1743576"/>
                    </a:cubicBezTo>
                    <a:cubicBezTo>
                      <a:pt x="2929346" y="1749283"/>
                      <a:pt x="2921081" y="1747906"/>
                      <a:pt x="2919015" y="1748299"/>
                    </a:cubicBezTo>
                    <a:cubicBezTo>
                      <a:pt x="2911635" y="1748693"/>
                      <a:pt x="2909372" y="1739345"/>
                      <a:pt x="2916161" y="1736787"/>
                    </a:cubicBezTo>
                    <a:cubicBezTo>
                      <a:pt x="2918523" y="1735508"/>
                      <a:pt x="2927379" y="1734229"/>
                      <a:pt x="2930232" y="1727046"/>
                    </a:cubicBezTo>
                    <a:cubicBezTo>
                      <a:pt x="2930822" y="1726062"/>
                      <a:pt x="2932200" y="1720650"/>
                      <a:pt x="2937513" y="1716616"/>
                    </a:cubicBezTo>
                    <a:cubicBezTo>
                      <a:pt x="2949616" y="1708351"/>
                      <a:pt x="2955815" y="1700676"/>
                      <a:pt x="2964867" y="1699692"/>
                    </a:cubicBezTo>
                    <a:cubicBezTo>
                      <a:pt x="2977855" y="1697133"/>
                      <a:pt x="2993500" y="1700282"/>
                      <a:pt x="2990450" y="1691623"/>
                    </a:cubicBezTo>
                    <a:cubicBezTo>
                      <a:pt x="2986514" y="1682669"/>
                      <a:pt x="2985825" y="1672633"/>
                      <a:pt x="2978151" y="1668303"/>
                    </a:cubicBezTo>
                    <a:cubicBezTo>
                      <a:pt x="2970082" y="1662990"/>
                      <a:pt x="2960341" y="1660629"/>
                      <a:pt x="2957291" y="1652363"/>
                    </a:cubicBezTo>
                    <a:lnTo>
                      <a:pt x="2956110" y="1649313"/>
                    </a:lnTo>
                    <a:cubicBezTo>
                      <a:pt x="2952764" y="1640556"/>
                      <a:pt x="2966540" y="1651970"/>
                      <a:pt x="2983267" y="1660038"/>
                    </a:cubicBezTo>
                    <a:cubicBezTo>
                      <a:pt x="2985924" y="1661514"/>
                      <a:pt x="2988581" y="1660235"/>
                      <a:pt x="2989171" y="1657283"/>
                    </a:cubicBezTo>
                    <a:cubicBezTo>
                      <a:pt x="2990844" y="1648821"/>
                      <a:pt x="2978249" y="1647148"/>
                      <a:pt x="2969885" y="1641933"/>
                    </a:cubicBezTo>
                    <a:cubicBezTo>
                      <a:pt x="2963293" y="1638686"/>
                      <a:pt x="2962112" y="1631799"/>
                      <a:pt x="2969197" y="1633668"/>
                    </a:cubicBezTo>
                    <a:cubicBezTo>
                      <a:pt x="2977167" y="1635046"/>
                      <a:pt x="2992123" y="1642327"/>
                      <a:pt x="2988089" y="1634554"/>
                    </a:cubicBezTo>
                    <a:cubicBezTo>
                      <a:pt x="2984153" y="1628453"/>
                      <a:pt x="2982087" y="1618614"/>
                      <a:pt x="2974018" y="1616154"/>
                    </a:cubicBezTo>
                    <a:cubicBezTo>
                      <a:pt x="2970378" y="1614481"/>
                      <a:pt x="2959455" y="1614481"/>
                      <a:pt x="2958766" y="1606019"/>
                    </a:cubicBezTo>
                    <a:cubicBezTo>
                      <a:pt x="2957980" y="1602870"/>
                      <a:pt x="2959849" y="1593326"/>
                      <a:pt x="2952469" y="1590374"/>
                    </a:cubicBezTo>
                    <a:cubicBezTo>
                      <a:pt x="2940957" y="1584470"/>
                      <a:pt x="2928657" y="1583978"/>
                      <a:pt x="2928264" y="1575024"/>
                    </a:cubicBezTo>
                    <a:cubicBezTo>
                      <a:pt x="2927280" y="1565480"/>
                      <a:pt x="2928953" y="1556231"/>
                      <a:pt x="2924328" y="1548851"/>
                    </a:cubicBezTo>
                    <a:cubicBezTo>
                      <a:pt x="2915866" y="1534879"/>
                      <a:pt x="2909962" y="1528089"/>
                      <a:pt x="2907207" y="1519332"/>
                    </a:cubicBezTo>
                    <a:lnTo>
                      <a:pt x="2889693" y="1464132"/>
                    </a:lnTo>
                    <a:cubicBezTo>
                      <a:pt x="2886643" y="1454587"/>
                      <a:pt x="2876016" y="1455867"/>
                      <a:pt x="2827408" y="1435597"/>
                    </a:cubicBezTo>
                    <a:cubicBezTo>
                      <a:pt x="2819635" y="1432645"/>
                      <a:pt x="2821996" y="1422511"/>
                      <a:pt x="2820816" y="1417000"/>
                    </a:cubicBezTo>
                    <a:cubicBezTo>
                      <a:pt x="2820225" y="1409817"/>
                      <a:pt x="2828195" y="1409030"/>
                      <a:pt x="2829278" y="1408341"/>
                    </a:cubicBezTo>
                    <a:cubicBezTo>
                      <a:pt x="2842856" y="1403618"/>
                      <a:pt x="2844923" y="1372427"/>
                      <a:pt x="2857910" y="1370754"/>
                    </a:cubicBezTo>
                    <a:cubicBezTo>
                      <a:pt x="2858895" y="1370459"/>
                      <a:pt x="2866275" y="1370754"/>
                      <a:pt x="2870407" y="1365146"/>
                    </a:cubicBezTo>
                    <a:cubicBezTo>
                      <a:pt x="2876901" y="1354420"/>
                      <a:pt x="2887725" y="1347139"/>
                      <a:pt x="2882116" y="1340055"/>
                    </a:cubicBezTo>
                    <a:cubicBezTo>
                      <a:pt x="2881723" y="1339071"/>
                      <a:pt x="2874933" y="1333265"/>
                      <a:pt x="2881624" y="1330904"/>
                    </a:cubicBezTo>
                    <a:cubicBezTo>
                      <a:pt x="2883986" y="1330608"/>
                      <a:pt x="2894121" y="1324311"/>
                      <a:pt x="2894416" y="1332183"/>
                    </a:cubicBezTo>
                    <a:cubicBezTo>
                      <a:pt x="2894711" y="1333167"/>
                      <a:pt x="2893333" y="1341727"/>
                      <a:pt x="2900221" y="1340251"/>
                    </a:cubicBezTo>
                    <a:cubicBezTo>
                      <a:pt x="2904452" y="1338677"/>
                      <a:pt x="2916358" y="1339661"/>
                      <a:pt x="2914292" y="1331691"/>
                    </a:cubicBezTo>
                    <a:cubicBezTo>
                      <a:pt x="2914193" y="1330313"/>
                      <a:pt x="2911045" y="1323524"/>
                      <a:pt x="2915079" y="1318309"/>
                    </a:cubicBezTo>
                    <a:cubicBezTo>
                      <a:pt x="2916752" y="1316145"/>
                      <a:pt x="2920589" y="1314767"/>
                      <a:pt x="2923640" y="1315357"/>
                    </a:cubicBezTo>
                    <a:lnTo>
                      <a:pt x="2925607" y="1315751"/>
                    </a:lnTo>
                    <a:cubicBezTo>
                      <a:pt x="2935939" y="1317719"/>
                      <a:pt x="2922163" y="1299811"/>
                      <a:pt x="2931610" y="1300598"/>
                    </a:cubicBezTo>
                    <a:cubicBezTo>
                      <a:pt x="2940268" y="1301287"/>
                      <a:pt x="2946959" y="1295875"/>
                      <a:pt x="3000093" y="1275212"/>
                    </a:cubicBezTo>
                    <a:cubicBezTo>
                      <a:pt x="3010326" y="1271079"/>
                      <a:pt x="3005210" y="1292529"/>
                      <a:pt x="3015246" y="1288102"/>
                    </a:cubicBezTo>
                    <a:cubicBezTo>
                      <a:pt x="3016230" y="1287413"/>
                      <a:pt x="3022724" y="1286035"/>
                      <a:pt x="3025184" y="1279344"/>
                    </a:cubicBezTo>
                    <a:lnTo>
                      <a:pt x="3035319" y="1251301"/>
                    </a:lnTo>
                    <a:cubicBezTo>
                      <a:pt x="3039550" y="1239592"/>
                      <a:pt x="3009342" y="1249727"/>
                      <a:pt x="3005210" y="1239494"/>
                    </a:cubicBezTo>
                    <a:cubicBezTo>
                      <a:pt x="3002454" y="1232508"/>
                      <a:pt x="2989958" y="1239494"/>
                      <a:pt x="2969689" y="1242446"/>
                    </a:cubicBezTo>
                    <a:cubicBezTo>
                      <a:pt x="2956405" y="1245201"/>
                      <a:pt x="2938399" y="1215092"/>
                      <a:pt x="2924328" y="1217453"/>
                    </a:cubicBezTo>
                    <a:cubicBezTo>
                      <a:pt x="2912914" y="1220110"/>
                      <a:pt x="2902386" y="1218732"/>
                      <a:pt x="2896876" y="1225817"/>
                    </a:cubicBezTo>
                    <a:cubicBezTo>
                      <a:pt x="2892153" y="1231229"/>
                      <a:pt x="2888217" y="1239100"/>
                      <a:pt x="2880444" y="1242544"/>
                    </a:cubicBezTo>
                    <a:cubicBezTo>
                      <a:pt x="2876901" y="1244709"/>
                      <a:pt x="2866963" y="1245988"/>
                      <a:pt x="2866078" y="1254056"/>
                    </a:cubicBezTo>
                    <a:cubicBezTo>
                      <a:pt x="2865586" y="1255533"/>
                      <a:pt x="2866569" y="1264191"/>
                      <a:pt x="2859485" y="1263896"/>
                    </a:cubicBezTo>
                    <a:cubicBezTo>
                      <a:pt x="2831737" y="1261535"/>
                      <a:pt x="2820422" y="1265963"/>
                      <a:pt x="2815502" y="1257599"/>
                    </a:cubicBezTo>
                    <a:cubicBezTo>
                      <a:pt x="2811468" y="1248940"/>
                      <a:pt x="2802907" y="1241462"/>
                      <a:pt x="2806941" y="1233689"/>
                    </a:cubicBezTo>
                    <a:cubicBezTo>
                      <a:pt x="2808713" y="1229064"/>
                      <a:pt x="2815404" y="1222176"/>
                      <a:pt x="2811665" y="1214797"/>
                    </a:cubicBezTo>
                    <a:cubicBezTo>
                      <a:pt x="2811665" y="1214797"/>
                      <a:pt x="2799365" y="1190296"/>
                      <a:pt x="2799365" y="1187836"/>
                    </a:cubicBezTo>
                    <a:cubicBezTo>
                      <a:pt x="2799365" y="1185376"/>
                      <a:pt x="2786082" y="1193838"/>
                      <a:pt x="2786082" y="1193838"/>
                    </a:cubicBezTo>
                    <a:cubicBezTo>
                      <a:pt x="2778210" y="1198856"/>
                      <a:pt x="2769158" y="1193445"/>
                      <a:pt x="2749085" y="1190493"/>
                    </a:cubicBezTo>
                    <a:cubicBezTo>
                      <a:pt x="2739639" y="1188623"/>
                      <a:pt x="2737179" y="1178193"/>
                      <a:pt x="2720550" y="1156251"/>
                    </a:cubicBezTo>
                    <a:cubicBezTo>
                      <a:pt x="2715040" y="1148281"/>
                      <a:pt x="2726355" y="1141590"/>
                      <a:pt x="2743673" y="1113645"/>
                    </a:cubicBezTo>
                    <a:cubicBezTo>
                      <a:pt x="2748593" y="1106462"/>
                      <a:pt x="2754989" y="1119353"/>
                      <a:pt x="2761089" y="1124666"/>
                    </a:cubicBezTo>
                    <a:cubicBezTo>
                      <a:pt x="2766698" y="1130865"/>
                      <a:pt x="2774865" y="1122600"/>
                      <a:pt x="2779588" y="1120730"/>
                    </a:cubicBezTo>
                    <a:cubicBezTo>
                      <a:pt x="2786967" y="1116696"/>
                      <a:pt x="2795725" y="1119353"/>
                      <a:pt x="2802711" y="1119353"/>
                    </a:cubicBezTo>
                    <a:cubicBezTo>
                      <a:pt x="2811369" y="1119943"/>
                      <a:pt x="2815502" y="1109906"/>
                      <a:pt x="2821898" y="1103511"/>
                    </a:cubicBezTo>
                    <a:cubicBezTo>
                      <a:pt x="2827801" y="1096426"/>
                      <a:pt x="2829868" y="1087866"/>
                      <a:pt x="2837248" y="1071532"/>
                    </a:cubicBezTo>
                    <a:cubicBezTo>
                      <a:pt x="2842561" y="1058937"/>
                      <a:pt x="2893530" y="1052148"/>
                      <a:pt x="2903468" y="1038963"/>
                    </a:cubicBezTo>
                    <a:cubicBezTo>
                      <a:pt x="2934758" y="1000392"/>
                      <a:pt x="2936824" y="988781"/>
                      <a:pt x="2946664" y="989962"/>
                    </a:cubicBezTo>
                    <a:cubicBezTo>
                      <a:pt x="2976871" y="994685"/>
                      <a:pt x="2986810" y="991930"/>
                      <a:pt x="2993107" y="999309"/>
                    </a:cubicBezTo>
                    <a:cubicBezTo>
                      <a:pt x="3003832" y="1013872"/>
                      <a:pt x="3016328" y="1020661"/>
                      <a:pt x="3010818" y="1028336"/>
                    </a:cubicBezTo>
                    <a:cubicBezTo>
                      <a:pt x="2994288" y="1050082"/>
                      <a:pt x="2991434" y="1059036"/>
                      <a:pt x="2982677" y="1062972"/>
                    </a:cubicBezTo>
                    <a:cubicBezTo>
                      <a:pt x="2977855" y="1065825"/>
                      <a:pt x="2967622" y="1067006"/>
                      <a:pt x="2966638" y="1075271"/>
                    </a:cubicBezTo>
                    <a:lnTo>
                      <a:pt x="2966343" y="1078125"/>
                    </a:lnTo>
                    <a:cubicBezTo>
                      <a:pt x="2965950" y="1081175"/>
                      <a:pt x="2963391" y="1084520"/>
                      <a:pt x="2960440" y="1085603"/>
                    </a:cubicBezTo>
                    <a:cubicBezTo>
                      <a:pt x="2958766" y="1086685"/>
                      <a:pt x="2946664" y="1088751"/>
                      <a:pt x="2952863" y="1093671"/>
                    </a:cubicBezTo>
                    <a:cubicBezTo>
                      <a:pt x="2956306" y="1095934"/>
                      <a:pt x="2961620" y="1102625"/>
                      <a:pt x="2969689" y="1102330"/>
                    </a:cubicBezTo>
                    <a:cubicBezTo>
                      <a:pt x="2973132" y="1102724"/>
                      <a:pt x="2985924" y="1099575"/>
                      <a:pt x="2981791" y="1106561"/>
                    </a:cubicBezTo>
                    <a:cubicBezTo>
                      <a:pt x="2977659" y="1112563"/>
                      <a:pt x="2975100" y="1122108"/>
                      <a:pt x="2967032" y="1124863"/>
                    </a:cubicBezTo>
                    <a:cubicBezTo>
                      <a:pt x="2954437" y="1130471"/>
                      <a:pt x="2940465" y="1130176"/>
                      <a:pt x="2942138" y="1139228"/>
                    </a:cubicBezTo>
                    <a:cubicBezTo>
                      <a:pt x="2942925" y="1141196"/>
                      <a:pt x="2942433" y="1152709"/>
                      <a:pt x="2949518" y="1149462"/>
                    </a:cubicBezTo>
                    <a:cubicBezTo>
                      <a:pt x="2981004" y="1134210"/>
                      <a:pt x="2990155" y="1132833"/>
                      <a:pt x="2996452" y="1125355"/>
                    </a:cubicBezTo>
                    <a:cubicBezTo>
                      <a:pt x="3008555" y="1112071"/>
                      <a:pt x="3012491" y="1103904"/>
                      <a:pt x="3020953" y="1100362"/>
                    </a:cubicBezTo>
                    <a:lnTo>
                      <a:pt x="3091896" y="1070253"/>
                    </a:lnTo>
                    <a:cubicBezTo>
                      <a:pt x="3099276" y="1067104"/>
                      <a:pt x="3106360" y="1068383"/>
                      <a:pt x="3128401" y="1069171"/>
                    </a:cubicBezTo>
                    <a:lnTo>
                      <a:pt x="3263794" y="980909"/>
                    </a:lnTo>
                    <a:lnTo>
                      <a:pt x="3278947" y="938501"/>
                    </a:lnTo>
                    <a:lnTo>
                      <a:pt x="3307285" y="927480"/>
                    </a:lnTo>
                    <a:lnTo>
                      <a:pt x="3326669" y="953949"/>
                    </a:lnTo>
                    <a:lnTo>
                      <a:pt x="3386592" y="956409"/>
                    </a:lnTo>
                    <a:lnTo>
                      <a:pt x="3373506" y="914590"/>
                    </a:lnTo>
                    <a:lnTo>
                      <a:pt x="3429001" y="911048"/>
                    </a:lnTo>
                    <a:lnTo>
                      <a:pt x="3442580" y="881529"/>
                    </a:lnTo>
                    <a:lnTo>
                      <a:pt x="3467965" y="881529"/>
                    </a:lnTo>
                    <a:lnTo>
                      <a:pt x="3478297" y="830757"/>
                    </a:lnTo>
                    <a:lnTo>
                      <a:pt x="3505258" y="836169"/>
                    </a:lnTo>
                    <a:lnTo>
                      <a:pt x="3505258" y="856439"/>
                    </a:lnTo>
                    <a:lnTo>
                      <a:pt x="3560556" y="830265"/>
                    </a:lnTo>
                    <a:lnTo>
                      <a:pt x="3573348" y="756566"/>
                    </a:lnTo>
                    <a:lnTo>
                      <a:pt x="3556128" y="698611"/>
                    </a:lnTo>
                    <a:lnTo>
                      <a:pt x="3595093" y="684639"/>
                    </a:lnTo>
                    <a:lnTo>
                      <a:pt x="3598734" y="671355"/>
                    </a:lnTo>
                    <a:lnTo>
                      <a:pt x="3620676" y="668797"/>
                    </a:lnTo>
                    <a:lnTo>
                      <a:pt x="3620676" y="668797"/>
                    </a:lnTo>
                    <a:lnTo>
                      <a:pt x="3619987" y="666731"/>
                    </a:lnTo>
                    <a:cubicBezTo>
                      <a:pt x="3619004" y="663779"/>
                      <a:pt x="3620676" y="660729"/>
                      <a:pt x="3623628" y="659843"/>
                    </a:cubicBezTo>
                    <a:lnTo>
                      <a:pt x="3637404" y="655711"/>
                    </a:lnTo>
                    <a:cubicBezTo>
                      <a:pt x="3640355" y="654825"/>
                      <a:pt x="3644783" y="655514"/>
                      <a:pt x="3647342" y="657285"/>
                    </a:cubicBezTo>
                    <a:lnTo>
                      <a:pt x="3668792" y="672339"/>
                    </a:lnTo>
                    <a:cubicBezTo>
                      <a:pt x="3671350" y="674111"/>
                      <a:pt x="3672137" y="677751"/>
                      <a:pt x="3670563" y="680310"/>
                    </a:cubicBezTo>
                    <a:lnTo>
                      <a:pt x="3668103" y="684541"/>
                    </a:lnTo>
                    <a:lnTo>
                      <a:pt x="3687389" y="684541"/>
                    </a:lnTo>
                    <a:lnTo>
                      <a:pt x="3692309" y="648233"/>
                    </a:lnTo>
                    <a:lnTo>
                      <a:pt x="3709528" y="641443"/>
                    </a:lnTo>
                    <a:lnTo>
                      <a:pt x="3752625" y="506149"/>
                    </a:lnTo>
                    <a:lnTo>
                      <a:pt x="3777224" y="499360"/>
                    </a:lnTo>
                    <a:lnTo>
                      <a:pt x="3790409" y="477811"/>
                    </a:lnTo>
                    <a:lnTo>
                      <a:pt x="3776536" y="455081"/>
                    </a:lnTo>
                    <a:lnTo>
                      <a:pt x="3786966" y="427432"/>
                    </a:lnTo>
                    <a:lnTo>
                      <a:pt x="3741507" y="426842"/>
                    </a:lnTo>
                    <a:lnTo>
                      <a:pt x="3712578" y="447111"/>
                    </a:lnTo>
                    <a:lnTo>
                      <a:pt x="3661511" y="456951"/>
                    </a:lnTo>
                    <a:lnTo>
                      <a:pt x="3651671" y="477220"/>
                    </a:lnTo>
                    <a:lnTo>
                      <a:pt x="3556325" y="480271"/>
                    </a:lnTo>
                    <a:lnTo>
                      <a:pt x="3535465" y="450752"/>
                    </a:lnTo>
                    <a:lnTo>
                      <a:pt x="3545305" y="428613"/>
                    </a:lnTo>
                    <a:lnTo>
                      <a:pt x="3528086" y="408343"/>
                    </a:lnTo>
                    <a:lnTo>
                      <a:pt x="3536056" y="383744"/>
                    </a:lnTo>
                    <a:lnTo>
                      <a:pt x="3505356" y="381875"/>
                    </a:lnTo>
                    <a:lnTo>
                      <a:pt x="3470327" y="348026"/>
                    </a:lnTo>
                    <a:lnTo>
                      <a:pt x="3440218" y="347436"/>
                    </a:lnTo>
                    <a:lnTo>
                      <a:pt x="3413750" y="325297"/>
                    </a:lnTo>
                    <a:lnTo>
                      <a:pt x="3372522" y="332480"/>
                    </a:lnTo>
                    <a:lnTo>
                      <a:pt x="3335623" y="311128"/>
                    </a:lnTo>
                    <a:lnTo>
                      <a:pt x="3340248" y="269310"/>
                    </a:lnTo>
                    <a:lnTo>
                      <a:pt x="3250314" y="66811"/>
                    </a:lnTo>
                    <a:lnTo>
                      <a:pt x="3193736" y="29125"/>
                    </a:lnTo>
                    <a:lnTo>
                      <a:pt x="3163430" y="34045"/>
                    </a:lnTo>
                    <a:lnTo>
                      <a:pt x="3105770" y="0"/>
                    </a:lnTo>
                    <a:lnTo>
                      <a:pt x="2921573" y="20073"/>
                    </a:lnTo>
                    <a:lnTo>
                      <a:pt x="2873162" y="63564"/>
                    </a:lnTo>
                    <a:lnTo>
                      <a:pt x="2873949" y="88163"/>
                    </a:lnTo>
                    <a:lnTo>
                      <a:pt x="2902681" y="77536"/>
                    </a:lnTo>
                    <a:lnTo>
                      <a:pt x="2918227" y="82456"/>
                    </a:lnTo>
                    <a:lnTo>
                      <a:pt x="2921474" y="131654"/>
                    </a:lnTo>
                    <a:lnTo>
                      <a:pt x="2883789" y="151333"/>
                    </a:lnTo>
                    <a:lnTo>
                      <a:pt x="2821504" y="258781"/>
                    </a:lnTo>
                    <a:lnTo>
                      <a:pt x="2843644" y="266161"/>
                    </a:lnTo>
                    <a:lnTo>
                      <a:pt x="2837936" y="285053"/>
                    </a:lnTo>
                    <a:lnTo>
                      <a:pt x="2787951" y="295680"/>
                    </a:lnTo>
                    <a:lnTo>
                      <a:pt x="2742000" y="334251"/>
                    </a:lnTo>
                    <a:lnTo>
                      <a:pt x="2668991" y="303158"/>
                    </a:lnTo>
                    <a:lnTo>
                      <a:pt x="2591947" y="446521"/>
                    </a:lnTo>
                    <a:lnTo>
                      <a:pt x="2630518" y="483419"/>
                    </a:lnTo>
                    <a:lnTo>
                      <a:pt x="2664169" y="458820"/>
                    </a:lnTo>
                    <a:lnTo>
                      <a:pt x="2711596" y="477712"/>
                    </a:lnTo>
                    <a:lnTo>
                      <a:pt x="2738950" y="448981"/>
                    </a:lnTo>
                    <a:lnTo>
                      <a:pt x="2784606" y="454196"/>
                    </a:lnTo>
                    <a:lnTo>
                      <a:pt x="2869128" y="531437"/>
                    </a:lnTo>
                    <a:lnTo>
                      <a:pt x="2869128" y="563809"/>
                    </a:lnTo>
                    <a:lnTo>
                      <a:pt x="2730587" y="554757"/>
                    </a:lnTo>
                    <a:lnTo>
                      <a:pt x="2711596" y="584275"/>
                    </a:lnTo>
                    <a:lnTo>
                      <a:pt x="2654330" y="584275"/>
                    </a:lnTo>
                    <a:lnTo>
                      <a:pt x="2641932" y="626782"/>
                    </a:lnTo>
                    <a:lnTo>
                      <a:pt x="2593423" y="655809"/>
                    </a:lnTo>
                    <a:lnTo>
                      <a:pt x="2537140" y="655809"/>
                    </a:lnTo>
                    <a:lnTo>
                      <a:pt x="2479283" y="706778"/>
                    </a:lnTo>
                    <a:lnTo>
                      <a:pt x="2380592" y="679719"/>
                    </a:lnTo>
                    <a:lnTo>
                      <a:pt x="2341824" y="733247"/>
                    </a:lnTo>
                    <a:lnTo>
                      <a:pt x="2375869" y="779690"/>
                    </a:lnTo>
                    <a:lnTo>
                      <a:pt x="2246970" y="871985"/>
                    </a:lnTo>
                    <a:lnTo>
                      <a:pt x="2097408" y="880152"/>
                    </a:lnTo>
                    <a:lnTo>
                      <a:pt x="1944993" y="944109"/>
                    </a:lnTo>
                    <a:lnTo>
                      <a:pt x="1911834" y="920101"/>
                    </a:lnTo>
                    <a:lnTo>
                      <a:pt x="1861553" y="926496"/>
                    </a:lnTo>
                    <a:lnTo>
                      <a:pt x="1720552" y="863228"/>
                    </a:lnTo>
                    <a:lnTo>
                      <a:pt x="1413852" y="863228"/>
                    </a:lnTo>
                    <a:lnTo>
                      <a:pt x="1345860" y="742004"/>
                    </a:lnTo>
                    <a:lnTo>
                      <a:pt x="1228572" y="689952"/>
                    </a:lnTo>
                    <a:lnTo>
                      <a:pt x="1070843" y="675783"/>
                    </a:lnTo>
                    <a:lnTo>
                      <a:pt x="1051164" y="639475"/>
                    </a:lnTo>
                    <a:lnTo>
                      <a:pt x="1076058" y="610842"/>
                    </a:lnTo>
                    <a:lnTo>
                      <a:pt x="1075173" y="537931"/>
                    </a:lnTo>
                    <a:lnTo>
                      <a:pt x="1050672" y="524647"/>
                    </a:lnTo>
                    <a:lnTo>
                      <a:pt x="1031485" y="474465"/>
                    </a:lnTo>
                    <a:lnTo>
                      <a:pt x="986912" y="450949"/>
                    </a:lnTo>
                    <a:lnTo>
                      <a:pt x="955523" y="453802"/>
                    </a:lnTo>
                    <a:lnTo>
                      <a:pt x="924430" y="440223"/>
                    </a:lnTo>
                    <a:lnTo>
                      <a:pt x="921675" y="422315"/>
                    </a:lnTo>
                    <a:lnTo>
                      <a:pt x="891467" y="409721"/>
                    </a:lnTo>
                    <a:lnTo>
                      <a:pt x="896092" y="395355"/>
                    </a:lnTo>
                    <a:lnTo>
                      <a:pt x="877594" y="387188"/>
                    </a:lnTo>
                    <a:lnTo>
                      <a:pt x="880644" y="361212"/>
                    </a:lnTo>
                    <a:lnTo>
                      <a:pt x="851224" y="366722"/>
                    </a:lnTo>
                    <a:lnTo>
                      <a:pt x="810586" y="375085"/>
                    </a:lnTo>
                    <a:lnTo>
                      <a:pt x="812554" y="398504"/>
                    </a:lnTo>
                    <a:lnTo>
                      <a:pt x="781067" y="418773"/>
                    </a:lnTo>
                    <a:lnTo>
                      <a:pt x="751155" y="418773"/>
                    </a:lnTo>
                    <a:lnTo>
                      <a:pt x="733148" y="453605"/>
                    </a:lnTo>
                    <a:lnTo>
                      <a:pt x="746530" y="515398"/>
                    </a:lnTo>
                    <a:lnTo>
                      <a:pt x="691330" y="545015"/>
                    </a:lnTo>
                    <a:lnTo>
                      <a:pt x="582701" y="515890"/>
                    </a:lnTo>
                    <a:lnTo>
                      <a:pt x="537931" y="638295"/>
                    </a:lnTo>
                    <a:lnTo>
                      <a:pt x="561841" y="649807"/>
                    </a:lnTo>
                    <a:lnTo>
                      <a:pt x="551608" y="677653"/>
                    </a:lnTo>
                    <a:lnTo>
                      <a:pt x="489127" y="665157"/>
                    </a:lnTo>
                    <a:lnTo>
                      <a:pt x="390534" y="684442"/>
                    </a:lnTo>
                    <a:lnTo>
                      <a:pt x="383941" y="708057"/>
                    </a:lnTo>
                    <a:lnTo>
                      <a:pt x="420249" y="711206"/>
                    </a:lnTo>
                    <a:lnTo>
                      <a:pt x="442782" y="824558"/>
                    </a:lnTo>
                    <a:lnTo>
                      <a:pt x="410705" y="852502"/>
                    </a:lnTo>
                    <a:lnTo>
                      <a:pt x="409426" y="906817"/>
                    </a:lnTo>
                    <a:lnTo>
                      <a:pt x="282987" y="985042"/>
                    </a:lnTo>
                    <a:lnTo>
                      <a:pt x="192758" y="993012"/>
                    </a:lnTo>
                    <a:lnTo>
                      <a:pt x="171800" y="1032272"/>
                    </a:lnTo>
                    <a:lnTo>
                      <a:pt x="133032" y="1045457"/>
                    </a:lnTo>
                    <a:lnTo>
                      <a:pt x="122011" y="1020268"/>
                    </a:lnTo>
                    <a:lnTo>
                      <a:pt x="19286" y="1062086"/>
                    </a:lnTo>
                    <a:lnTo>
                      <a:pt x="11021" y="1075960"/>
                    </a:lnTo>
                    <a:lnTo>
                      <a:pt x="17416" y="1094655"/>
                    </a:lnTo>
                    <a:lnTo>
                      <a:pt x="0" y="1103216"/>
                    </a:lnTo>
                    <a:lnTo>
                      <a:pt x="5510" y="1162352"/>
                    </a:lnTo>
                    <a:lnTo>
                      <a:pt x="24402" y="1171306"/>
                    </a:lnTo>
                    <a:lnTo>
                      <a:pt x="31585" y="1157333"/>
                    </a:lnTo>
                    <a:lnTo>
                      <a:pt x="71042" y="1168354"/>
                    </a:lnTo>
                    <a:lnTo>
                      <a:pt x="98101" y="1246382"/>
                    </a:lnTo>
                    <a:lnTo>
                      <a:pt x="72518" y="1256320"/>
                    </a:lnTo>
                    <a:lnTo>
                      <a:pt x="47328" y="1265766"/>
                    </a:lnTo>
                    <a:lnTo>
                      <a:pt x="57168" y="1278852"/>
                    </a:lnTo>
                    <a:close/>
                    <a:moveTo>
                      <a:pt x="2737278" y="368198"/>
                    </a:moveTo>
                    <a:lnTo>
                      <a:pt x="2707266" y="402735"/>
                    </a:lnTo>
                    <a:cubicBezTo>
                      <a:pt x="2705200" y="405096"/>
                      <a:pt x="2701953" y="404998"/>
                      <a:pt x="2699985" y="402735"/>
                    </a:cubicBezTo>
                    <a:lnTo>
                      <a:pt x="2685620" y="386106"/>
                    </a:lnTo>
                    <a:cubicBezTo>
                      <a:pt x="2683652" y="383744"/>
                      <a:pt x="2684045" y="380497"/>
                      <a:pt x="2686702" y="378824"/>
                    </a:cubicBezTo>
                    <a:lnTo>
                      <a:pt x="2703528" y="368001"/>
                    </a:lnTo>
                    <a:cubicBezTo>
                      <a:pt x="2706086" y="366328"/>
                      <a:pt x="2709431" y="362786"/>
                      <a:pt x="2710908" y="360129"/>
                    </a:cubicBezTo>
                    <a:lnTo>
                      <a:pt x="2717401" y="348518"/>
                    </a:lnTo>
                    <a:cubicBezTo>
                      <a:pt x="2718878" y="345862"/>
                      <a:pt x="2721928" y="343697"/>
                      <a:pt x="2724092" y="343697"/>
                    </a:cubicBezTo>
                    <a:cubicBezTo>
                      <a:pt x="2726257" y="343697"/>
                      <a:pt x="2729405" y="345763"/>
                      <a:pt x="2731079" y="348420"/>
                    </a:cubicBezTo>
                    <a:lnTo>
                      <a:pt x="2738064" y="359244"/>
                    </a:lnTo>
                    <a:cubicBezTo>
                      <a:pt x="2739737" y="361802"/>
                      <a:pt x="2739442" y="365836"/>
                      <a:pt x="2737474" y="368099"/>
                    </a:cubicBezTo>
                    <a:close/>
                    <a:moveTo>
                      <a:pt x="1611332" y="1267832"/>
                    </a:moveTo>
                    <a:cubicBezTo>
                      <a:pt x="1611332" y="1264782"/>
                      <a:pt x="1613792" y="1262223"/>
                      <a:pt x="1616941" y="1262223"/>
                    </a:cubicBezTo>
                    <a:lnTo>
                      <a:pt x="1645181" y="1262223"/>
                    </a:lnTo>
                    <a:cubicBezTo>
                      <a:pt x="1648231" y="1262223"/>
                      <a:pt x="1652462" y="1264093"/>
                      <a:pt x="1654528" y="1266258"/>
                    </a:cubicBezTo>
                    <a:lnTo>
                      <a:pt x="1675585" y="1288889"/>
                    </a:lnTo>
                    <a:cubicBezTo>
                      <a:pt x="1677651" y="1291152"/>
                      <a:pt x="1678930" y="1295383"/>
                      <a:pt x="1678340" y="1298433"/>
                    </a:cubicBezTo>
                    <a:lnTo>
                      <a:pt x="1676470" y="1307977"/>
                    </a:lnTo>
                    <a:cubicBezTo>
                      <a:pt x="1675880" y="1311028"/>
                      <a:pt x="1673125" y="1312307"/>
                      <a:pt x="1670370" y="1310929"/>
                    </a:cubicBezTo>
                    <a:lnTo>
                      <a:pt x="1657382" y="1304435"/>
                    </a:lnTo>
                    <a:cubicBezTo>
                      <a:pt x="1654626" y="1303058"/>
                      <a:pt x="1649904" y="1301582"/>
                      <a:pt x="1646853" y="1301090"/>
                    </a:cubicBezTo>
                    <a:lnTo>
                      <a:pt x="1616842" y="1296268"/>
                    </a:lnTo>
                    <a:cubicBezTo>
                      <a:pt x="1613792" y="1295776"/>
                      <a:pt x="1611332" y="1292923"/>
                      <a:pt x="1611332" y="1289774"/>
                    </a:cubicBezTo>
                    <a:lnTo>
                      <a:pt x="1611332" y="1267734"/>
                    </a:lnTo>
                    <a:close/>
                    <a:moveTo>
                      <a:pt x="1027746" y="1696838"/>
                    </a:moveTo>
                    <a:lnTo>
                      <a:pt x="1045359" y="1699593"/>
                    </a:lnTo>
                    <a:cubicBezTo>
                      <a:pt x="1048409" y="1700085"/>
                      <a:pt x="1053034" y="1699101"/>
                      <a:pt x="1055592" y="1697527"/>
                    </a:cubicBezTo>
                    <a:lnTo>
                      <a:pt x="1063759" y="1692411"/>
                    </a:lnTo>
                    <a:cubicBezTo>
                      <a:pt x="1066317" y="1690836"/>
                      <a:pt x="1070646" y="1690738"/>
                      <a:pt x="1073303" y="1692411"/>
                    </a:cubicBezTo>
                    <a:lnTo>
                      <a:pt x="1074779" y="1693296"/>
                    </a:lnTo>
                    <a:cubicBezTo>
                      <a:pt x="1077436" y="1694870"/>
                      <a:pt x="1078223" y="1698314"/>
                      <a:pt x="1076550" y="1700872"/>
                    </a:cubicBezTo>
                    <a:lnTo>
                      <a:pt x="1072221" y="1707662"/>
                    </a:lnTo>
                    <a:cubicBezTo>
                      <a:pt x="1070548" y="1710220"/>
                      <a:pt x="1066908" y="1713270"/>
                      <a:pt x="1064054" y="1714451"/>
                    </a:cubicBezTo>
                    <a:lnTo>
                      <a:pt x="1034732" y="1726455"/>
                    </a:lnTo>
                    <a:cubicBezTo>
                      <a:pt x="1031879" y="1727636"/>
                      <a:pt x="1029025" y="1726062"/>
                      <a:pt x="1028336" y="1723110"/>
                    </a:cubicBezTo>
                    <a:lnTo>
                      <a:pt x="1023416" y="1701660"/>
                    </a:lnTo>
                    <a:cubicBezTo>
                      <a:pt x="1022728" y="1698708"/>
                      <a:pt x="1024696" y="1696642"/>
                      <a:pt x="1027647" y="1697035"/>
                    </a:cubicBezTo>
                    <a:close/>
                    <a:moveTo>
                      <a:pt x="925611" y="1627272"/>
                    </a:moveTo>
                    <a:lnTo>
                      <a:pt x="937812" y="1624517"/>
                    </a:lnTo>
                    <a:cubicBezTo>
                      <a:pt x="940764" y="1623829"/>
                      <a:pt x="945585" y="1624222"/>
                      <a:pt x="948439" y="1625304"/>
                    </a:cubicBezTo>
                    <a:lnTo>
                      <a:pt x="962017" y="1630716"/>
                    </a:lnTo>
                    <a:cubicBezTo>
                      <a:pt x="964871" y="1631897"/>
                      <a:pt x="965855" y="1634849"/>
                      <a:pt x="964182" y="1637407"/>
                    </a:cubicBezTo>
                    <a:lnTo>
                      <a:pt x="956310" y="1649412"/>
                    </a:lnTo>
                    <a:cubicBezTo>
                      <a:pt x="954638" y="1651970"/>
                      <a:pt x="950800" y="1653446"/>
                      <a:pt x="947848" y="1652659"/>
                    </a:cubicBezTo>
                    <a:lnTo>
                      <a:pt x="928464" y="1647444"/>
                    </a:lnTo>
                    <a:cubicBezTo>
                      <a:pt x="925512" y="1646657"/>
                      <a:pt x="922659" y="1643508"/>
                      <a:pt x="922167" y="1640458"/>
                    </a:cubicBezTo>
                    <a:lnTo>
                      <a:pt x="921085" y="1633963"/>
                    </a:lnTo>
                    <a:cubicBezTo>
                      <a:pt x="920593" y="1630913"/>
                      <a:pt x="922659" y="1627863"/>
                      <a:pt x="925611" y="1627174"/>
                    </a:cubicBezTo>
                    <a:close/>
                  </a:path>
                </a:pathLst>
              </a:custGeom>
              <a:grpFill/>
              <a:ln w="9835" cap="flat">
                <a:noFill/>
                <a:prstDash val="solid"/>
                <a:miter/>
              </a:ln>
            </p:spPr>
            <p:txBody>
              <a:bodyPr rtlCol="0" anchor="ctr"/>
              <a:lstStyle/>
              <a:p>
                <a:endParaRPr lang="en-IN"/>
              </a:p>
            </p:txBody>
          </p:sp>
        </p:grpSp>
        <p:grpSp>
          <p:nvGrpSpPr>
            <p:cNvPr id="504" name="Graphic 470">
              <a:extLst>
                <a:ext uri="{FF2B5EF4-FFF2-40B4-BE49-F238E27FC236}">
                  <a16:creationId xmlns:a16="http://schemas.microsoft.com/office/drawing/2014/main" id="{9B1F6840-A955-AD0F-148E-E39521B4761B}"/>
                </a:ext>
              </a:extLst>
            </p:cNvPr>
            <p:cNvGrpSpPr/>
            <p:nvPr/>
          </p:nvGrpSpPr>
          <p:grpSpPr>
            <a:xfrm>
              <a:off x="11392096" y="5283034"/>
              <a:ext cx="331200" cy="288744"/>
              <a:chOff x="11392096" y="5283034"/>
              <a:chExt cx="331200" cy="288744"/>
            </a:xfrm>
            <a:grpFill/>
          </p:grpSpPr>
          <p:sp>
            <p:nvSpPr>
              <p:cNvPr id="522" name="Freeform: Shape 521">
                <a:extLst>
                  <a:ext uri="{FF2B5EF4-FFF2-40B4-BE49-F238E27FC236}">
                    <a16:creationId xmlns:a16="http://schemas.microsoft.com/office/drawing/2014/main" id="{48A5E577-CF3C-6CA6-EA1D-9999DFA32D94}"/>
                  </a:ext>
                </a:extLst>
              </p:cNvPr>
              <p:cNvSpPr/>
              <p:nvPr/>
            </p:nvSpPr>
            <p:spPr>
              <a:xfrm>
                <a:off x="11486172" y="5548856"/>
                <a:ext cx="12396" cy="22922"/>
              </a:xfrm>
              <a:custGeom>
                <a:avLst/>
                <a:gdLst>
                  <a:gd name="connsiteX0" fmla="*/ 877 w 12396"/>
                  <a:gd name="connsiteY0" fmla="*/ 10081 h 22922"/>
                  <a:gd name="connsiteX1" fmla="*/ 6190 w 12396"/>
                  <a:gd name="connsiteY1" fmla="*/ 20904 h 22922"/>
                  <a:gd name="connsiteX2" fmla="*/ 12192 w 12396"/>
                  <a:gd name="connsiteY2" fmla="*/ 7424 h 22922"/>
                  <a:gd name="connsiteX3" fmla="*/ 975 w 12396"/>
                  <a:gd name="connsiteY3" fmla="*/ 10081 h 22922"/>
                </a:gdLst>
                <a:ahLst/>
                <a:cxnLst>
                  <a:cxn ang="0">
                    <a:pos x="connsiteX0" y="connsiteY0"/>
                  </a:cxn>
                  <a:cxn ang="0">
                    <a:pos x="connsiteX1" y="connsiteY1"/>
                  </a:cxn>
                  <a:cxn ang="0">
                    <a:pos x="connsiteX2" y="connsiteY2"/>
                  </a:cxn>
                  <a:cxn ang="0">
                    <a:pos x="connsiteX3" y="connsiteY3"/>
                  </a:cxn>
                </a:cxnLst>
                <a:rect l="l" t="t" r="r" b="b"/>
                <a:pathLst>
                  <a:path w="12396" h="22922">
                    <a:moveTo>
                      <a:pt x="877" y="10081"/>
                    </a:moveTo>
                    <a:lnTo>
                      <a:pt x="6190" y="20904"/>
                    </a:lnTo>
                    <a:cubicBezTo>
                      <a:pt x="9535" y="27792"/>
                      <a:pt x="10618" y="15492"/>
                      <a:pt x="12192" y="7424"/>
                    </a:cubicBezTo>
                    <a:cubicBezTo>
                      <a:pt x="14554" y="-4482"/>
                      <a:pt x="-4437" y="-940"/>
                      <a:pt x="975" y="10081"/>
                    </a:cubicBezTo>
                    <a:close/>
                  </a:path>
                </a:pathLst>
              </a:custGeom>
              <a:grpFill/>
              <a:ln w="9835" cap="flat">
                <a:noFill/>
                <a:prstDash val="solid"/>
                <a:miter/>
              </a:ln>
            </p:spPr>
            <p:txBody>
              <a:bodyPr rtlCol="0" anchor="ctr"/>
              <a:lstStyle/>
              <a:p>
                <a:endParaRPr lang="en-IN"/>
              </a:p>
            </p:txBody>
          </p:sp>
          <p:sp>
            <p:nvSpPr>
              <p:cNvPr id="523" name="Freeform: Shape 522">
                <a:extLst>
                  <a:ext uri="{FF2B5EF4-FFF2-40B4-BE49-F238E27FC236}">
                    <a16:creationId xmlns:a16="http://schemas.microsoft.com/office/drawing/2014/main" id="{080B41BA-CA19-5F76-EFDC-E89C5CB0881D}"/>
                  </a:ext>
                </a:extLst>
              </p:cNvPr>
              <p:cNvSpPr/>
              <p:nvPr/>
            </p:nvSpPr>
            <p:spPr>
              <a:xfrm>
                <a:off x="11392096" y="5283034"/>
                <a:ext cx="331200" cy="267243"/>
              </a:xfrm>
              <a:custGeom>
                <a:avLst/>
                <a:gdLst>
                  <a:gd name="connsiteX0" fmla="*/ 44967 w 331200"/>
                  <a:gd name="connsiteY0" fmla="*/ 233396 h 267243"/>
                  <a:gd name="connsiteX1" fmla="*/ 55889 w 331200"/>
                  <a:gd name="connsiteY1" fmla="*/ 238118 h 267243"/>
                  <a:gd name="connsiteX2" fmla="*/ 66909 w 331200"/>
                  <a:gd name="connsiteY2" fmla="*/ 224934 h 267243"/>
                  <a:gd name="connsiteX3" fmla="*/ 80783 w 331200"/>
                  <a:gd name="connsiteY3" fmla="*/ 234773 h 267243"/>
                  <a:gd name="connsiteX4" fmla="*/ 74387 w 331200"/>
                  <a:gd name="connsiteY4" fmla="*/ 257995 h 267243"/>
                  <a:gd name="connsiteX5" fmla="*/ 85801 w 331200"/>
                  <a:gd name="connsiteY5" fmla="*/ 264980 h 267243"/>
                  <a:gd name="connsiteX6" fmla="*/ 91607 w 331200"/>
                  <a:gd name="connsiteY6" fmla="*/ 256125 h 267243"/>
                  <a:gd name="connsiteX7" fmla="*/ 100462 w 331200"/>
                  <a:gd name="connsiteY7" fmla="*/ 253075 h 267243"/>
                  <a:gd name="connsiteX8" fmla="*/ 123389 w 331200"/>
                  <a:gd name="connsiteY8" fmla="*/ 262520 h 267243"/>
                  <a:gd name="connsiteX9" fmla="*/ 127324 w 331200"/>
                  <a:gd name="connsiteY9" fmla="*/ 267244 h 267243"/>
                  <a:gd name="connsiteX10" fmla="*/ 127324 w 331200"/>
                  <a:gd name="connsiteY10" fmla="*/ 266948 h 267243"/>
                  <a:gd name="connsiteX11" fmla="*/ 169438 w 331200"/>
                  <a:gd name="connsiteY11" fmla="*/ 251599 h 267243"/>
                  <a:gd name="connsiteX12" fmla="*/ 168159 w 331200"/>
                  <a:gd name="connsiteY12" fmla="*/ 234675 h 267243"/>
                  <a:gd name="connsiteX13" fmla="*/ 207714 w 331200"/>
                  <a:gd name="connsiteY13" fmla="*/ 229656 h 267243"/>
                  <a:gd name="connsiteX14" fmla="*/ 206336 w 331200"/>
                  <a:gd name="connsiteY14" fmla="*/ 231821 h 267243"/>
                  <a:gd name="connsiteX15" fmla="*/ 234871 w 331200"/>
                  <a:gd name="connsiteY15" fmla="*/ 247958 h 267243"/>
                  <a:gd name="connsiteX16" fmla="*/ 236248 w 331200"/>
                  <a:gd name="connsiteY16" fmla="*/ 224540 h 267243"/>
                  <a:gd name="connsiteX17" fmla="*/ 218341 w 331200"/>
                  <a:gd name="connsiteY17" fmla="*/ 208305 h 267243"/>
                  <a:gd name="connsiteX18" fmla="*/ 224933 w 331200"/>
                  <a:gd name="connsiteY18" fmla="*/ 181049 h 267243"/>
                  <a:gd name="connsiteX19" fmla="*/ 256814 w 331200"/>
                  <a:gd name="connsiteY19" fmla="*/ 187149 h 267243"/>
                  <a:gd name="connsiteX20" fmla="*/ 257010 w 331200"/>
                  <a:gd name="connsiteY20" fmla="*/ 169143 h 267243"/>
                  <a:gd name="connsiteX21" fmla="*/ 327560 w 331200"/>
                  <a:gd name="connsiteY21" fmla="*/ 139722 h 267243"/>
                  <a:gd name="connsiteX22" fmla="*/ 317425 w 331200"/>
                  <a:gd name="connsiteY22" fmla="*/ 96920 h 267243"/>
                  <a:gd name="connsiteX23" fmla="*/ 331201 w 331200"/>
                  <a:gd name="connsiteY23" fmla="*/ 68681 h 267243"/>
                  <a:gd name="connsiteX24" fmla="*/ 310833 w 331200"/>
                  <a:gd name="connsiteY24" fmla="*/ 30602 h 267243"/>
                  <a:gd name="connsiteX25" fmla="*/ 318704 w 331200"/>
                  <a:gd name="connsiteY25" fmla="*/ 0 h 267243"/>
                  <a:gd name="connsiteX26" fmla="*/ 279543 w 331200"/>
                  <a:gd name="connsiteY26" fmla="*/ 20762 h 267243"/>
                  <a:gd name="connsiteX27" fmla="*/ 260847 w 331200"/>
                  <a:gd name="connsiteY27" fmla="*/ 4428 h 267243"/>
                  <a:gd name="connsiteX28" fmla="*/ 228278 w 331200"/>
                  <a:gd name="connsiteY28" fmla="*/ 20762 h 267243"/>
                  <a:gd name="connsiteX29" fmla="*/ 240578 w 331200"/>
                  <a:gd name="connsiteY29" fmla="*/ 38079 h 267243"/>
                  <a:gd name="connsiteX30" fmla="*/ 222965 w 331200"/>
                  <a:gd name="connsiteY30" fmla="*/ 48313 h 267243"/>
                  <a:gd name="connsiteX31" fmla="*/ 208403 w 331200"/>
                  <a:gd name="connsiteY31" fmla="*/ 35423 h 267243"/>
                  <a:gd name="connsiteX32" fmla="*/ 188133 w 331200"/>
                  <a:gd name="connsiteY32" fmla="*/ 37686 h 267243"/>
                  <a:gd name="connsiteX33" fmla="*/ 175637 w 331200"/>
                  <a:gd name="connsiteY33" fmla="*/ 20467 h 267243"/>
                  <a:gd name="connsiteX34" fmla="*/ 49198 w 331200"/>
                  <a:gd name="connsiteY34" fmla="*/ 18498 h 267243"/>
                  <a:gd name="connsiteX35" fmla="*/ 24599 w 331200"/>
                  <a:gd name="connsiteY35" fmla="*/ 61990 h 267243"/>
                  <a:gd name="connsiteX36" fmla="*/ 0 w 331200"/>
                  <a:gd name="connsiteY36" fmla="*/ 68877 h 267243"/>
                  <a:gd name="connsiteX37" fmla="*/ 10528 w 331200"/>
                  <a:gd name="connsiteY37" fmla="*/ 119059 h 267243"/>
                  <a:gd name="connsiteX38" fmla="*/ 32766 w 331200"/>
                  <a:gd name="connsiteY38" fmla="*/ 134901 h 267243"/>
                  <a:gd name="connsiteX39" fmla="*/ 42015 w 331200"/>
                  <a:gd name="connsiteY39" fmla="*/ 176129 h 267243"/>
                  <a:gd name="connsiteX40" fmla="*/ 36111 w 331200"/>
                  <a:gd name="connsiteY40" fmla="*/ 190790 h 267243"/>
                  <a:gd name="connsiteX41" fmla="*/ 38079 w 331200"/>
                  <a:gd name="connsiteY41" fmla="*/ 194529 h 267243"/>
                  <a:gd name="connsiteX42" fmla="*/ 45262 w 331200"/>
                  <a:gd name="connsiteY42" fmla="*/ 233396 h 267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1200" h="267243">
                    <a:moveTo>
                      <a:pt x="44967" y="233396"/>
                    </a:moveTo>
                    <a:cubicBezTo>
                      <a:pt x="45951" y="240578"/>
                      <a:pt x="54905" y="237921"/>
                      <a:pt x="55889" y="238118"/>
                    </a:cubicBezTo>
                    <a:cubicBezTo>
                      <a:pt x="63859" y="237528"/>
                      <a:pt x="65138" y="227787"/>
                      <a:pt x="66909" y="224934"/>
                    </a:cubicBezTo>
                    <a:cubicBezTo>
                      <a:pt x="70353" y="217061"/>
                      <a:pt x="76749" y="230739"/>
                      <a:pt x="80783" y="234773"/>
                    </a:cubicBezTo>
                    <a:cubicBezTo>
                      <a:pt x="88163" y="244219"/>
                      <a:pt x="64449" y="251304"/>
                      <a:pt x="74387" y="257995"/>
                    </a:cubicBezTo>
                    <a:cubicBezTo>
                      <a:pt x="74387" y="257995"/>
                      <a:pt x="86096" y="265965"/>
                      <a:pt x="85801" y="264980"/>
                    </a:cubicBezTo>
                    <a:cubicBezTo>
                      <a:pt x="85506" y="264095"/>
                      <a:pt x="91607" y="256125"/>
                      <a:pt x="91607" y="256125"/>
                    </a:cubicBezTo>
                    <a:cubicBezTo>
                      <a:pt x="93476" y="253665"/>
                      <a:pt x="97412" y="252386"/>
                      <a:pt x="100462" y="253075"/>
                    </a:cubicBezTo>
                    <a:cubicBezTo>
                      <a:pt x="108334" y="255731"/>
                      <a:pt x="118075" y="255731"/>
                      <a:pt x="123389" y="262520"/>
                    </a:cubicBezTo>
                    <a:cubicBezTo>
                      <a:pt x="124864" y="264095"/>
                      <a:pt x="126144" y="265669"/>
                      <a:pt x="127324" y="267244"/>
                    </a:cubicBezTo>
                    <a:lnTo>
                      <a:pt x="127324" y="266948"/>
                    </a:lnTo>
                    <a:cubicBezTo>
                      <a:pt x="127324" y="266948"/>
                      <a:pt x="169438" y="251599"/>
                      <a:pt x="169438" y="251599"/>
                    </a:cubicBezTo>
                    <a:lnTo>
                      <a:pt x="168159" y="234675"/>
                    </a:lnTo>
                    <a:lnTo>
                      <a:pt x="207714" y="229656"/>
                    </a:lnTo>
                    <a:lnTo>
                      <a:pt x="206336" y="231821"/>
                    </a:lnTo>
                    <a:lnTo>
                      <a:pt x="234871" y="247958"/>
                    </a:lnTo>
                    <a:lnTo>
                      <a:pt x="236248" y="224540"/>
                    </a:lnTo>
                    <a:lnTo>
                      <a:pt x="218341" y="208305"/>
                    </a:lnTo>
                    <a:lnTo>
                      <a:pt x="224933" y="181049"/>
                    </a:lnTo>
                    <a:lnTo>
                      <a:pt x="256814" y="187149"/>
                    </a:lnTo>
                    <a:lnTo>
                      <a:pt x="257010" y="169143"/>
                    </a:lnTo>
                    <a:lnTo>
                      <a:pt x="327560" y="139722"/>
                    </a:lnTo>
                    <a:lnTo>
                      <a:pt x="317425" y="96920"/>
                    </a:lnTo>
                    <a:lnTo>
                      <a:pt x="331201" y="68681"/>
                    </a:lnTo>
                    <a:lnTo>
                      <a:pt x="310833" y="30602"/>
                    </a:lnTo>
                    <a:lnTo>
                      <a:pt x="318704" y="0"/>
                    </a:lnTo>
                    <a:lnTo>
                      <a:pt x="279543" y="20762"/>
                    </a:lnTo>
                    <a:lnTo>
                      <a:pt x="260847" y="4428"/>
                    </a:lnTo>
                    <a:lnTo>
                      <a:pt x="228278" y="20762"/>
                    </a:lnTo>
                    <a:lnTo>
                      <a:pt x="240578" y="38079"/>
                    </a:lnTo>
                    <a:lnTo>
                      <a:pt x="222965" y="48313"/>
                    </a:lnTo>
                    <a:lnTo>
                      <a:pt x="208403" y="35423"/>
                    </a:lnTo>
                    <a:lnTo>
                      <a:pt x="188133" y="37686"/>
                    </a:lnTo>
                    <a:lnTo>
                      <a:pt x="175637" y="20467"/>
                    </a:lnTo>
                    <a:lnTo>
                      <a:pt x="49198" y="18498"/>
                    </a:lnTo>
                    <a:lnTo>
                      <a:pt x="24599" y="61990"/>
                    </a:lnTo>
                    <a:lnTo>
                      <a:pt x="0" y="68877"/>
                    </a:lnTo>
                    <a:lnTo>
                      <a:pt x="10528" y="119059"/>
                    </a:lnTo>
                    <a:lnTo>
                      <a:pt x="32766" y="134901"/>
                    </a:lnTo>
                    <a:lnTo>
                      <a:pt x="42015" y="176129"/>
                    </a:lnTo>
                    <a:lnTo>
                      <a:pt x="36111" y="190790"/>
                    </a:lnTo>
                    <a:cubicBezTo>
                      <a:pt x="36800" y="192069"/>
                      <a:pt x="37292" y="193151"/>
                      <a:pt x="38079" y="194529"/>
                    </a:cubicBezTo>
                    <a:cubicBezTo>
                      <a:pt x="42310" y="202991"/>
                      <a:pt x="41818" y="212240"/>
                      <a:pt x="45262" y="233396"/>
                    </a:cubicBezTo>
                    <a:close/>
                  </a:path>
                </a:pathLst>
              </a:custGeom>
              <a:grpFill/>
              <a:ln w="9835" cap="flat">
                <a:noFill/>
                <a:prstDash val="solid"/>
                <a:miter/>
              </a:ln>
            </p:spPr>
            <p:txBody>
              <a:bodyPr rtlCol="0" anchor="ctr"/>
              <a:lstStyle/>
              <a:p>
                <a:endParaRPr lang="en-IN"/>
              </a:p>
            </p:txBody>
          </p:sp>
        </p:grpSp>
        <p:sp>
          <p:nvSpPr>
            <p:cNvPr id="505" name="Freeform: Shape 504">
              <a:extLst>
                <a:ext uri="{FF2B5EF4-FFF2-40B4-BE49-F238E27FC236}">
                  <a16:creationId xmlns:a16="http://schemas.microsoft.com/office/drawing/2014/main" id="{3331D174-D9BF-C19D-FCCF-A714695B00CD}"/>
                </a:ext>
              </a:extLst>
            </p:cNvPr>
            <p:cNvSpPr/>
            <p:nvPr/>
          </p:nvSpPr>
          <p:spPr>
            <a:xfrm>
              <a:off x="12123670" y="5886217"/>
              <a:ext cx="80782" cy="67681"/>
            </a:xfrm>
            <a:custGeom>
              <a:avLst/>
              <a:gdLst>
                <a:gd name="connsiteX0" fmla="*/ 42015 w 80782"/>
                <a:gd name="connsiteY0" fmla="*/ 53020 h 67681"/>
                <a:gd name="connsiteX1" fmla="*/ 39457 w 80782"/>
                <a:gd name="connsiteY1" fmla="*/ 24289 h 67681"/>
                <a:gd name="connsiteX2" fmla="*/ 52248 w 80782"/>
                <a:gd name="connsiteY2" fmla="*/ 13170 h 67681"/>
                <a:gd name="connsiteX3" fmla="*/ 59628 w 80782"/>
                <a:gd name="connsiteY3" fmla="*/ 43279 h 67681"/>
                <a:gd name="connsiteX4" fmla="*/ 80783 w 80782"/>
                <a:gd name="connsiteY4" fmla="*/ 42098 h 67681"/>
                <a:gd name="connsiteX5" fmla="*/ 74781 w 80782"/>
                <a:gd name="connsiteY5" fmla="*/ 6872 h 67681"/>
                <a:gd name="connsiteX6" fmla="*/ 74781 w 80782"/>
                <a:gd name="connsiteY6" fmla="*/ 6872 h 67681"/>
                <a:gd name="connsiteX7" fmla="*/ 70156 w 80782"/>
                <a:gd name="connsiteY7" fmla="*/ 6381 h 67681"/>
                <a:gd name="connsiteX8" fmla="*/ 47919 w 80782"/>
                <a:gd name="connsiteY8" fmla="*/ 1658 h 67681"/>
                <a:gd name="connsiteX9" fmla="*/ 15940 w 80782"/>
                <a:gd name="connsiteY9" fmla="*/ 21533 h 67681"/>
                <a:gd name="connsiteX10" fmla="*/ 0 w 80782"/>
                <a:gd name="connsiteY10" fmla="*/ 25174 h 67681"/>
                <a:gd name="connsiteX11" fmla="*/ 23221 w 80782"/>
                <a:gd name="connsiteY11" fmla="*/ 67681 h 67681"/>
                <a:gd name="connsiteX12" fmla="*/ 42015 w 80782"/>
                <a:gd name="connsiteY12" fmla="*/ 52922 h 67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782" h="67681">
                  <a:moveTo>
                    <a:pt x="42015" y="53020"/>
                  </a:moveTo>
                  <a:lnTo>
                    <a:pt x="39457" y="24289"/>
                  </a:lnTo>
                  <a:lnTo>
                    <a:pt x="52248" y="13170"/>
                  </a:lnTo>
                  <a:lnTo>
                    <a:pt x="59628" y="43279"/>
                  </a:lnTo>
                  <a:lnTo>
                    <a:pt x="80783" y="42098"/>
                  </a:lnTo>
                  <a:lnTo>
                    <a:pt x="74781" y="6872"/>
                  </a:lnTo>
                  <a:lnTo>
                    <a:pt x="74781" y="6872"/>
                  </a:lnTo>
                  <a:cubicBezTo>
                    <a:pt x="73403" y="7168"/>
                    <a:pt x="71927" y="7168"/>
                    <a:pt x="70156" y="6381"/>
                  </a:cubicBezTo>
                  <a:cubicBezTo>
                    <a:pt x="63170" y="4118"/>
                    <a:pt x="54905" y="-3262"/>
                    <a:pt x="47919" y="1658"/>
                  </a:cubicBezTo>
                  <a:cubicBezTo>
                    <a:pt x="27059" y="16319"/>
                    <a:pt x="23024" y="19861"/>
                    <a:pt x="15940" y="21533"/>
                  </a:cubicBezTo>
                  <a:cubicBezTo>
                    <a:pt x="8659" y="23206"/>
                    <a:pt x="3739" y="24190"/>
                    <a:pt x="0" y="25174"/>
                  </a:cubicBezTo>
                  <a:lnTo>
                    <a:pt x="23221" y="67681"/>
                  </a:lnTo>
                  <a:lnTo>
                    <a:pt x="42015" y="52922"/>
                  </a:lnTo>
                  <a:close/>
                </a:path>
              </a:pathLst>
            </a:custGeom>
            <a:grpFill/>
            <a:ln w="9835" cap="flat">
              <a:noFill/>
              <a:prstDash val="solid"/>
              <a:miter/>
            </a:ln>
          </p:spPr>
          <p:txBody>
            <a:bodyPr rtlCol="0" anchor="ctr"/>
            <a:lstStyle/>
            <a:p>
              <a:endParaRPr lang="en-IN"/>
            </a:p>
          </p:txBody>
        </p:sp>
        <p:grpSp>
          <p:nvGrpSpPr>
            <p:cNvPr id="506" name="Graphic 470">
              <a:extLst>
                <a:ext uri="{FF2B5EF4-FFF2-40B4-BE49-F238E27FC236}">
                  <a16:creationId xmlns:a16="http://schemas.microsoft.com/office/drawing/2014/main" id="{1FC73EB5-D655-22DB-533B-5B33EE21918A}"/>
                </a:ext>
              </a:extLst>
            </p:cNvPr>
            <p:cNvGrpSpPr/>
            <p:nvPr/>
          </p:nvGrpSpPr>
          <p:grpSpPr>
            <a:xfrm>
              <a:off x="9465415" y="6548734"/>
              <a:ext cx="69163" cy="67291"/>
              <a:chOff x="9465415" y="6548734"/>
              <a:chExt cx="69163" cy="67291"/>
            </a:xfrm>
            <a:grpFill/>
          </p:grpSpPr>
          <p:sp>
            <p:nvSpPr>
              <p:cNvPr id="519" name="Freeform: Shape 518">
                <a:extLst>
                  <a:ext uri="{FF2B5EF4-FFF2-40B4-BE49-F238E27FC236}">
                    <a16:creationId xmlns:a16="http://schemas.microsoft.com/office/drawing/2014/main" id="{B2D12D47-F5E0-6CC2-EEDC-927A382EE44C}"/>
                  </a:ext>
                </a:extLst>
              </p:cNvPr>
              <p:cNvSpPr/>
              <p:nvPr/>
            </p:nvSpPr>
            <p:spPr>
              <a:xfrm>
                <a:off x="9465415" y="6606954"/>
                <a:ext cx="9928" cy="9072"/>
              </a:xfrm>
              <a:custGeom>
                <a:avLst/>
                <a:gdLst>
                  <a:gd name="connsiteX0" fmla="*/ 89 w 9928"/>
                  <a:gd name="connsiteY0" fmla="*/ 4131 h 9072"/>
                  <a:gd name="connsiteX1" fmla="*/ 9928 w 9928"/>
                  <a:gd name="connsiteY1" fmla="*/ 3639 h 9072"/>
                  <a:gd name="connsiteX2" fmla="*/ 89 w 9928"/>
                  <a:gd name="connsiteY2" fmla="*/ 4131 h 9072"/>
                </a:gdLst>
                <a:ahLst/>
                <a:cxnLst>
                  <a:cxn ang="0">
                    <a:pos x="connsiteX0" y="connsiteY0"/>
                  </a:cxn>
                  <a:cxn ang="0">
                    <a:pos x="connsiteX1" y="connsiteY1"/>
                  </a:cxn>
                  <a:cxn ang="0">
                    <a:pos x="connsiteX2" y="connsiteY2"/>
                  </a:cxn>
                </a:cxnLst>
                <a:rect l="l" t="t" r="r" b="b"/>
                <a:pathLst>
                  <a:path w="9928" h="9072">
                    <a:moveTo>
                      <a:pt x="89" y="4131"/>
                    </a:moveTo>
                    <a:cubicBezTo>
                      <a:pt x="-1092" y="11412"/>
                      <a:pt x="9928" y="10133"/>
                      <a:pt x="9928" y="3639"/>
                    </a:cubicBezTo>
                    <a:cubicBezTo>
                      <a:pt x="9928" y="982"/>
                      <a:pt x="1270" y="-3249"/>
                      <a:pt x="89" y="4131"/>
                    </a:cubicBezTo>
                    <a:close/>
                  </a:path>
                </a:pathLst>
              </a:custGeom>
              <a:grpFill/>
              <a:ln w="9835" cap="flat">
                <a:noFill/>
                <a:prstDash val="solid"/>
                <a:miter/>
              </a:ln>
            </p:spPr>
            <p:txBody>
              <a:bodyPr rtlCol="0" anchor="ctr"/>
              <a:lstStyle/>
              <a:p>
                <a:endParaRPr lang="en-IN"/>
              </a:p>
            </p:txBody>
          </p:sp>
          <p:sp>
            <p:nvSpPr>
              <p:cNvPr id="520" name="Freeform: Shape 519">
                <a:extLst>
                  <a:ext uri="{FF2B5EF4-FFF2-40B4-BE49-F238E27FC236}">
                    <a16:creationId xmlns:a16="http://schemas.microsoft.com/office/drawing/2014/main" id="{F5351966-D578-D511-9B99-E80C3D38708C}"/>
                  </a:ext>
                </a:extLst>
              </p:cNvPr>
              <p:cNvSpPr/>
              <p:nvPr/>
            </p:nvSpPr>
            <p:spPr>
              <a:xfrm>
                <a:off x="9526191" y="6548734"/>
                <a:ext cx="8386" cy="10408"/>
              </a:xfrm>
              <a:custGeom>
                <a:avLst/>
                <a:gdLst>
                  <a:gd name="connsiteX0" fmla="*/ 1105 w 8386"/>
                  <a:gd name="connsiteY0" fmla="*/ 557 h 10408"/>
                  <a:gd name="connsiteX1" fmla="*/ 6615 w 8386"/>
                  <a:gd name="connsiteY1" fmla="*/ 9512 h 10408"/>
                  <a:gd name="connsiteX2" fmla="*/ 1105 w 8386"/>
                  <a:gd name="connsiteY2" fmla="*/ 557 h 10408"/>
                </a:gdLst>
                <a:ahLst/>
                <a:cxnLst>
                  <a:cxn ang="0">
                    <a:pos x="connsiteX0" y="connsiteY0"/>
                  </a:cxn>
                  <a:cxn ang="0">
                    <a:pos x="connsiteX1" y="connsiteY1"/>
                  </a:cxn>
                  <a:cxn ang="0">
                    <a:pos x="connsiteX2" y="connsiteY2"/>
                  </a:cxn>
                </a:cxnLst>
                <a:rect l="l" t="t" r="r" b="b"/>
                <a:pathLst>
                  <a:path w="8386" h="10408">
                    <a:moveTo>
                      <a:pt x="1105" y="557"/>
                    </a:moveTo>
                    <a:cubicBezTo>
                      <a:pt x="-1847" y="3313"/>
                      <a:pt x="1499" y="13447"/>
                      <a:pt x="6615" y="9512"/>
                    </a:cubicBezTo>
                    <a:cubicBezTo>
                      <a:pt x="11929" y="5379"/>
                      <a:pt x="3860" y="-2099"/>
                      <a:pt x="1105" y="557"/>
                    </a:cubicBezTo>
                    <a:close/>
                  </a:path>
                </a:pathLst>
              </a:custGeom>
              <a:grpFill/>
              <a:ln w="9835" cap="flat">
                <a:noFill/>
                <a:prstDash val="solid"/>
                <a:miter/>
              </a:ln>
            </p:spPr>
            <p:txBody>
              <a:bodyPr rtlCol="0" anchor="ctr"/>
              <a:lstStyle/>
              <a:p>
                <a:endParaRPr lang="en-IN"/>
              </a:p>
            </p:txBody>
          </p:sp>
          <p:sp>
            <p:nvSpPr>
              <p:cNvPr id="521" name="Freeform: Shape 520">
                <a:extLst>
                  <a:ext uri="{FF2B5EF4-FFF2-40B4-BE49-F238E27FC236}">
                    <a16:creationId xmlns:a16="http://schemas.microsoft.com/office/drawing/2014/main" id="{256054C0-5C66-AD46-513E-9D4F3746D147}"/>
                  </a:ext>
                </a:extLst>
              </p:cNvPr>
              <p:cNvSpPr/>
              <p:nvPr/>
            </p:nvSpPr>
            <p:spPr>
              <a:xfrm>
                <a:off x="9466169" y="6575597"/>
                <a:ext cx="8386" cy="10407"/>
              </a:xfrm>
              <a:custGeom>
                <a:avLst/>
                <a:gdLst>
                  <a:gd name="connsiteX0" fmla="*/ 1105 w 8386"/>
                  <a:gd name="connsiteY0" fmla="*/ 558 h 10407"/>
                  <a:gd name="connsiteX1" fmla="*/ 6615 w 8386"/>
                  <a:gd name="connsiteY1" fmla="*/ 9511 h 10407"/>
                  <a:gd name="connsiteX2" fmla="*/ 1105 w 8386"/>
                  <a:gd name="connsiteY2" fmla="*/ 558 h 10407"/>
                </a:gdLst>
                <a:ahLst/>
                <a:cxnLst>
                  <a:cxn ang="0">
                    <a:pos x="connsiteX0" y="connsiteY0"/>
                  </a:cxn>
                  <a:cxn ang="0">
                    <a:pos x="connsiteX1" y="connsiteY1"/>
                  </a:cxn>
                  <a:cxn ang="0">
                    <a:pos x="connsiteX2" y="connsiteY2"/>
                  </a:cxn>
                </a:cxnLst>
                <a:rect l="l" t="t" r="r" b="b"/>
                <a:pathLst>
                  <a:path w="8386" h="10407">
                    <a:moveTo>
                      <a:pt x="1105" y="558"/>
                    </a:moveTo>
                    <a:cubicBezTo>
                      <a:pt x="-1847" y="3312"/>
                      <a:pt x="1498" y="13447"/>
                      <a:pt x="6615" y="9511"/>
                    </a:cubicBezTo>
                    <a:cubicBezTo>
                      <a:pt x="11928" y="5379"/>
                      <a:pt x="3860" y="-2099"/>
                      <a:pt x="1105" y="558"/>
                    </a:cubicBezTo>
                    <a:close/>
                  </a:path>
                </a:pathLst>
              </a:custGeom>
              <a:grpFill/>
              <a:ln w="9835" cap="flat">
                <a:noFill/>
                <a:prstDash val="solid"/>
                <a:miter/>
              </a:ln>
            </p:spPr>
            <p:txBody>
              <a:bodyPr rtlCol="0" anchor="ctr"/>
              <a:lstStyle/>
              <a:p>
                <a:endParaRPr lang="en-IN"/>
              </a:p>
            </p:txBody>
          </p:sp>
        </p:grpSp>
        <p:sp>
          <p:nvSpPr>
            <p:cNvPr id="507" name="Freeform: Shape 506">
              <a:extLst>
                <a:ext uri="{FF2B5EF4-FFF2-40B4-BE49-F238E27FC236}">
                  <a16:creationId xmlns:a16="http://schemas.microsoft.com/office/drawing/2014/main" id="{6BC2C51B-BE34-AACC-F3FD-D0FFBE5E4815}"/>
                </a:ext>
              </a:extLst>
            </p:cNvPr>
            <p:cNvSpPr/>
            <p:nvPr/>
          </p:nvSpPr>
          <p:spPr>
            <a:xfrm>
              <a:off x="10548548" y="4394125"/>
              <a:ext cx="217258" cy="108628"/>
            </a:xfrm>
            <a:custGeom>
              <a:avLst/>
              <a:gdLst>
                <a:gd name="connsiteX0" fmla="*/ 19483 w 217258"/>
                <a:gd name="connsiteY0" fmla="*/ 98100 h 108628"/>
                <a:gd name="connsiteX1" fmla="*/ 42802 w 217258"/>
                <a:gd name="connsiteY1" fmla="*/ 93771 h 108628"/>
                <a:gd name="connsiteX2" fmla="*/ 61596 w 217258"/>
                <a:gd name="connsiteY2" fmla="*/ 107153 h 108628"/>
                <a:gd name="connsiteX3" fmla="*/ 99183 w 217258"/>
                <a:gd name="connsiteY3" fmla="*/ 91902 h 108628"/>
                <a:gd name="connsiteX4" fmla="*/ 126242 w 217258"/>
                <a:gd name="connsiteY4" fmla="*/ 108629 h 108628"/>
                <a:gd name="connsiteX5" fmla="*/ 217258 w 217258"/>
                <a:gd name="connsiteY5" fmla="*/ 100757 h 108628"/>
                <a:gd name="connsiteX6" fmla="*/ 206730 w 217258"/>
                <a:gd name="connsiteY6" fmla="*/ 66024 h 108628"/>
                <a:gd name="connsiteX7" fmla="*/ 181147 w 217258"/>
                <a:gd name="connsiteY7" fmla="*/ 65433 h 108628"/>
                <a:gd name="connsiteX8" fmla="*/ 180065 w 217258"/>
                <a:gd name="connsiteY8" fmla="*/ 36603 h 108628"/>
                <a:gd name="connsiteX9" fmla="*/ 178687 w 217258"/>
                <a:gd name="connsiteY9" fmla="*/ 18695 h 108628"/>
                <a:gd name="connsiteX10" fmla="*/ 100954 w 217258"/>
                <a:gd name="connsiteY10" fmla="*/ 15645 h 108628"/>
                <a:gd name="connsiteX11" fmla="*/ 102332 w 217258"/>
                <a:gd name="connsiteY11" fmla="*/ 0 h 108628"/>
                <a:gd name="connsiteX12" fmla="*/ 53331 w 217258"/>
                <a:gd name="connsiteY12" fmla="*/ 11709 h 108628"/>
                <a:gd name="connsiteX13" fmla="*/ 10627 w 217258"/>
                <a:gd name="connsiteY13" fmla="*/ 61793 h 108628"/>
                <a:gd name="connsiteX14" fmla="*/ 0 w 217258"/>
                <a:gd name="connsiteY14" fmla="*/ 77339 h 108628"/>
                <a:gd name="connsiteX15" fmla="*/ 19483 w 217258"/>
                <a:gd name="connsiteY15" fmla="*/ 98100 h 10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258" h="108628">
                  <a:moveTo>
                    <a:pt x="19483" y="98100"/>
                  </a:moveTo>
                  <a:lnTo>
                    <a:pt x="42802" y="93771"/>
                  </a:lnTo>
                  <a:lnTo>
                    <a:pt x="61596" y="107153"/>
                  </a:lnTo>
                  <a:lnTo>
                    <a:pt x="99183" y="91902"/>
                  </a:lnTo>
                  <a:lnTo>
                    <a:pt x="126242" y="108629"/>
                  </a:lnTo>
                  <a:lnTo>
                    <a:pt x="217258" y="100757"/>
                  </a:lnTo>
                  <a:lnTo>
                    <a:pt x="206730" y="66024"/>
                  </a:lnTo>
                  <a:lnTo>
                    <a:pt x="181147" y="65433"/>
                  </a:lnTo>
                  <a:lnTo>
                    <a:pt x="180065" y="36603"/>
                  </a:lnTo>
                  <a:lnTo>
                    <a:pt x="178687" y="18695"/>
                  </a:lnTo>
                  <a:lnTo>
                    <a:pt x="100954" y="15645"/>
                  </a:lnTo>
                  <a:lnTo>
                    <a:pt x="102332" y="0"/>
                  </a:lnTo>
                  <a:lnTo>
                    <a:pt x="53331" y="11709"/>
                  </a:lnTo>
                  <a:lnTo>
                    <a:pt x="10627" y="61793"/>
                  </a:lnTo>
                  <a:lnTo>
                    <a:pt x="0" y="77339"/>
                  </a:lnTo>
                  <a:lnTo>
                    <a:pt x="19483" y="98100"/>
                  </a:lnTo>
                  <a:close/>
                </a:path>
              </a:pathLst>
            </a:custGeom>
            <a:grpFill/>
            <a:ln w="9835" cap="flat">
              <a:noFill/>
              <a:prstDash val="solid"/>
              <a:miter/>
            </a:ln>
          </p:spPr>
          <p:txBody>
            <a:bodyPr rtlCol="0" anchor="ctr"/>
            <a:lstStyle/>
            <a:p>
              <a:endParaRPr lang="en-IN"/>
            </a:p>
          </p:txBody>
        </p:sp>
        <p:grpSp>
          <p:nvGrpSpPr>
            <p:cNvPr id="508" name="Graphic 470">
              <a:extLst>
                <a:ext uri="{FF2B5EF4-FFF2-40B4-BE49-F238E27FC236}">
                  <a16:creationId xmlns:a16="http://schemas.microsoft.com/office/drawing/2014/main" id="{E95C482B-121D-BDAE-1E22-82B5D3C9DB7B}"/>
                </a:ext>
              </a:extLst>
            </p:cNvPr>
            <p:cNvGrpSpPr/>
            <p:nvPr/>
          </p:nvGrpSpPr>
          <p:grpSpPr>
            <a:xfrm>
              <a:off x="10505155" y="4514857"/>
              <a:ext cx="292236" cy="351667"/>
              <a:chOff x="10505155" y="4514857"/>
              <a:chExt cx="292236" cy="351667"/>
            </a:xfrm>
            <a:grpFill/>
          </p:grpSpPr>
          <p:sp>
            <p:nvSpPr>
              <p:cNvPr id="516" name="Freeform: Shape 515">
                <a:extLst>
                  <a:ext uri="{FF2B5EF4-FFF2-40B4-BE49-F238E27FC236}">
                    <a16:creationId xmlns:a16="http://schemas.microsoft.com/office/drawing/2014/main" id="{364449C7-1EB6-5785-DCAA-14E79453F2CD}"/>
                  </a:ext>
                </a:extLst>
              </p:cNvPr>
              <p:cNvSpPr/>
              <p:nvPr/>
            </p:nvSpPr>
            <p:spPr>
              <a:xfrm>
                <a:off x="10709659" y="4765200"/>
                <a:ext cx="11909" cy="18290"/>
              </a:xfrm>
              <a:custGeom>
                <a:avLst/>
                <a:gdLst>
                  <a:gd name="connsiteX0" fmla="*/ 3210 w 11909"/>
                  <a:gd name="connsiteY0" fmla="*/ 1649 h 18290"/>
                  <a:gd name="connsiteX1" fmla="*/ 1635 w 11909"/>
                  <a:gd name="connsiteY1" fmla="*/ 3617 h 18290"/>
                  <a:gd name="connsiteX2" fmla="*/ 4194 w 11909"/>
                  <a:gd name="connsiteY2" fmla="*/ 16408 h 18290"/>
                  <a:gd name="connsiteX3" fmla="*/ 10392 w 11909"/>
                  <a:gd name="connsiteY3" fmla="*/ 16408 h 18290"/>
                  <a:gd name="connsiteX4" fmla="*/ 9015 w 11909"/>
                  <a:gd name="connsiteY4" fmla="*/ 2338 h 18290"/>
                  <a:gd name="connsiteX5" fmla="*/ 3210 w 11909"/>
                  <a:gd name="connsiteY5" fmla="*/ 1551 h 18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09" h="18290">
                    <a:moveTo>
                      <a:pt x="3210" y="1649"/>
                    </a:moveTo>
                    <a:lnTo>
                      <a:pt x="1635" y="3617"/>
                    </a:lnTo>
                    <a:cubicBezTo>
                      <a:pt x="-2989" y="9324"/>
                      <a:pt x="3603" y="15129"/>
                      <a:pt x="4194" y="16408"/>
                    </a:cubicBezTo>
                    <a:cubicBezTo>
                      <a:pt x="5965" y="18868"/>
                      <a:pt x="8818" y="18967"/>
                      <a:pt x="10392" y="16408"/>
                    </a:cubicBezTo>
                    <a:cubicBezTo>
                      <a:pt x="14328" y="10603"/>
                      <a:pt x="9409" y="4010"/>
                      <a:pt x="9015" y="2338"/>
                    </a:cubicBezTo>
                    <a:cubicBezTo>
                      <a:pt x="7736" y="-417"/>
                      <a:pt x="5079" y="-811"/>
                      <a:pt x="3210" y="1551"/>
                    </a:cubicBezTo>
                    <a:close/>
                  </a:path>
                </a:pathLst>
              </a:custGeom>
              <a:grpFill/>
              <a:ln w="9835" cap="flat">
                <a:noFill/>
                <a:prstDash val="solid"/>
                <a:miter/>
              </a:ln>
            </p:spPr>
            <p:txBody>
              <a:bodyPr rtlCol="0" anchor="ctr"/>
              <a:lstStyle/>
              <a:p>
                <a:endParaRPr lang="en-IN"/>
              </a:p>
            </p:txBody>
          </p:sp>
          <p:sp>
            <p:nvSpPr>
              <p:cNvPr id="517" name="Freeform: Shape 516">
                <a:extLst>
                  <a:ext uri="{FF2B5EF4-FFF2-40B4-BE49-F238E27FC236}">
                    <a16:creationId xmlns:a16="http://schemas.microsoft.com/office/drawing/2014/main" id="{E84689E3-3084-65E6-7B8C-963D50EF7A74}"/>
                  </a:ext>
                </a:extLst>
              </p:cNvPr>
              <p:cNvSpPr/>
              <p:nvPr/>
            </p:nvSpPr>
            <p:spPr>
              <a:xfrm>
                <a:off x="10682283" y="4773749"/>
                <a:ext cx="15247" cy="29469"/>
              </a:xfrm>
              <a:custGeom>
                <a:avLst/>
                <a:gdLst>
                  <a:gd name="connsiteX0" fmla="*/ 6676 w 15247"/>
                  <a:gd name="connsiteY0" fmla="*/ 578 h 29469"/>
                  <a:gd name="connsiteX1" fmla="*/ 3232 w 15247"/>
                  <a:gd name="connsiteY1" fmla="*/ 10516 h 29469"/>
                  <a:gd name="connsiteX2" fmla="*/ 12678 w 15247"/>
                  <a:gd name="connsiteY2" fmla="*/ 18978 h 29469"/>
                  <a:gd name="connsiteX3" fmla="*/ 12383 w 15247"/>
                  <a:gd name="connsiteY3" fmla="*/ 3432 h 29469"/>
                  <a:gd name="connsiteX4" fmla="*/ 6577 w 15247"/>
                  <a:gd name="connsiteY4" fmla="*/ 480 h 29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 h="29469">
                    <a:moveTo>
                      <a:pt x="6676" y="578"/>
                    </a:moveTo>
                    <a:cubicBezTo>
                      <a:pt x="2149" y="3333"/>
                      <a:pt x="3429" y="9532"/>
                      <a:pt x="3232" y="10516"/>
                    </a:cubicBezTo>
                    <a:cubicBezTo>
                      <a:pt x="4019" y="26161"/>
                      <a:pt x="-9166" y="39543"/>
                      <a:pt x="12678" y="18978"/>
                    </a:cubicBezTo>
                    <a:cubicBezTo>
                      <a:pt x="18385" y="13566"/>
                      <a:pt x="12874" y="6186"/>
                      <a:pt x="12383" y="3432"/>
                    </a:cubicBezTo>
                    <a:cubicBezTo>
                      <a:pt x="11300" y="578"/>
                      <a:pt x="8742" y="-799"/>
                      <a:pt x="6577" y="480"/>
                    </a:cubicBezTo>
                    <a:close/>
                  </a:path>
                </a:pathLst>
              </a:custGeom>
              <a:grpFill/>
              <a:ln w="9835" cap="flat">
                <a:noFill/>
                <a:prstDash val="solid"/>
                <a:miter/>
              </a:ln>
            </p:spPr>
            <p:txBody>
              <a:bodyPr rtlCol="0" anchor="ctr"/>
              <a:lstStyle/>
              <a:p>
                <a:endParaRPr lang="en-IN"/>
              </a:p>
            </p:txBody>
          </p:sp>
          <p:sp>
            <p:nvSpPr>
              <p:cNvPr id="518" name="Freeform: Shape 517">
                <a:extLst>
                  <a:ext uri="{FF2B5EF4-FFF2-40B4-BE49-F238E27FC236}">
                    <a16:creationId xmlns:a16="http://schemas.microsoft.com/office/drawing/2014/main" id="{20E53AA0-223F-6E67-C8A9-65D8844B75C8}"/>
                  </a:ext>
                </a:extLst>
              </p:cNvPr>
              <p:cNvSpPr/>
              <p:nvPr/>
            </p:nvSpPr>
            <p:spPr>
              <a:xfrm>
                <a:off x="10505155" y="4514857"/>
                <a:ext cx="292236" cy="351667"/>
              </a:xfrm>
              <a:custGeom>
                <a:avLst/>
                <a:gdLst>
                  <a:gd name="connsiteX0" fmla="*/ 265571 w 292236"/>
                  <a:gd name="connsiteY0" fmla="*/ 332185 h 351667"/>
                  <a:gd name="connsiteX1" fmla="*/ 292236 w 292236"/>
                  <a:gd name="connsiteY1" fmla="*/ 346354 h 351667"/>
                  <a:gd name="connsiteX2" fmla="*/ 262717 w 292236"/>
                  <a:gd name="connsiteY2" fmla="*/ 186362 h 351667"/>
                  <a:gd name="connsiteX3" fmla="*/ 237823 w 292236"/>
                  <a:gd name="connsiteY3" fmla="*/ 187641 h 351667"/>
                  <a:gd name="connsiteX4" fmla="*/ 232608 w 292236"/>
                  <a:gd name="connsiteY4" fmla="*/ 225819 h 351667"/>
                  <a:gd name="connsiteX5" fmla="*/ 202499 w 292236"/>
                  <a:gd name="connsiteY5" fmla="*/ 207517 h 351667"/>
                  <a:gd name="connsiteX6" fmla="*/ 198760 w 292236"/>
                  <a:gd name="connsiteY6" fmla="*/ 163042 h 351667"/>
                  <a:gd name="connsiteX7" fmla="*/ 242841 w 292236"/>
                  <a:gd name="connsiteY7" fmla="*/ 145036 h 351667"/>
                  <a:gd name="connsiteX8" fmla="*/ 273738 w 292236"/>
                  <a:gd name="connsiteY8" fmla="*/ 104201 h 351667"/>
                  <a:gd name="connsiteX9" fmla="*/ 252189 w 292236"/>
                  <a:gd name="connsiteY9" fmla="*/ 85014 h 351667"/>
                  <a:gd name="connsiteX10" fmla="*/ 145724 w 292236"/>
                  <a:gd name="connsiteY10" fmla="*/ 90229 h 351667"/>
                  <a:gd name="connsiteX11" fmla="*/ 110499 w 292236"/>
                  <a:gd name="connsiteY11" fmla="*/ 78619 h 351667"/>
                  <a:gd name="connsiteX12" fmla="*/ 112073 w 292236"/>
                  <a:gd name="connsiteY12" fmla="*/ 33652 h 351667"/>
                  <a:gd name="connsiteX13" fmla="*/ 91213 w 292236"/>
                  <a:gd name="connsiteY13" fmla="*/ 16137 h 351667"/>
                  <a:gd name="connsiteX14" fmla="*/ 81669 w 292236"/>
                  <a:gd name="connsiteY14" fmla="*/ 37489 h 351667"/>
                  <a:gd name="connsiteX15" fmla="*/ 28732 w 292236"/>
                  <a:gd name="connsiteY15" fmla="*/ 0 h 351667"/>
                  <a:gd name="connsiteX16" fmla="*/ 8856 w 292236"/>
                  <a:gd name="connsiteY16" fmla="*/ 48706 h 351667"/>
                  <a:gd name="connsiteX17" fmla="*/ 55003 w 292236"/>
                  <a:gd name="connsiteY17" fmla="*/ 89540 h 351667"/>
                  <a:gd name="connsiteX18" fmla="*/ 21057 w 292236"/>
                  <a:gd name="connsiteY18" fmla="*/ 94263 h 351667"/>
                  <a:gd name="connsiteX19" fmla="*/ 0 w 292236"/>
                  <a:gd name="connsiteY19" fmla="*/ 123192 h 351667"/>
                  <a:gd name="connsiteX20" fmla="*/ 46246 w 292236"/>
                  <a:gd name="connsiteY20" fmla="*/ 150251 h 351667"/>
                  <a:gd name="connsiteX21" fmla="*/ 49296 w 292236"/>
                  <a:gd name="connsiteY21" fmla="*/ 174850 h 351667"/>
                  <a:gd name="connsiteX22" fmla="*/ 36013 w 292236"/>
                  <a:gd name="connsiteY22" fmla="*/ 192266 h 351667"/>
                  <a:gd name="connsiteX23" fmla="*/ 68779 w 292236"/>
                  <a:gd name="connsiteY23" fmla="*/ 288202 h 351667"/>
                  <a:gd name="connsiteX24" fmla="*/ 68779 w 292236"/>
                  <a:gd name="connsiteY24" fmla="*/ 288202 h 351667"/>
                  <a:gd name="connsiteX25" fmla="*/ 72715 w 292236"/>
                  <a:gd name="connsiteY25" fmla="*/ 283282 h 351667"/>
                  <a:gd name="connsiteX26" fmla="*/ 82850 w 292236"/>
                  <a:gd name="connsiteY26" fmla="*/ 309652 h 351667"/>
                  <a:gd name="connsiteX27" fmla="*/ 108236 w 292236"/>
                  <a:gd name="connsiteY27" fmla="*/ 290760 h 351667"/>
                  <a:gd name="connsiteX28" fmla="*/ 112171 w 292236"/>
                  <a:gd name="connsiteY28" fmla="*/ 271179 h 351667"/>
                  <a:gd name="connsiteX29" fmla="*/ 118174 w 292236"/>
                  <a:gd name="connsiteY29" fmla="*/ 289677 h 351667"/>
                  <a:gd name="connsiteX30" fmla="*/ 147201 w 292236"/>
                  <a:gd name="connsiteY30" fmla="*/ 294105 h 351667"/>
                  <a:gd name="connsiteX31" fmla="*/ 166289 w 292236"/>
                  <a:gd name="connsiteY31" fmla="*/ 279641 h 351667"/>
                  <a:gd name="connsiteX32" fmla="*/ 169143 w 292236"/>
                  <a:gd name="connsiteY32" fmla="*/ 262717 h 351667"/>
                  <a:gd name="connsiteX33" fmla="*/ 159992 w 292236"/>
                  <a:gd name="connsiteY33" fmla="*/ 239889 h 351667"/>
                  <a:gd name="connsiteX34" fmla="*/ 164813 w 292236"/>
                  <a:gd name="connsiteY34" fmla="*/ 229361 h 351667"/>
                  <a:gd name="connsiteX35" fmla="*/ 185575 w 292236"/>
                  <a:gd name="connsiteY35" fmla="*/ 246875 h 351667"/>
                  <a:gd name="connsiteX36" fmla="*/ 196595 w 292236"/>
                  <a:gd name="connsiteY36" fmla="*/ 241857 h 351667"/>
                  <a:gd name="connsiteX37" fmla="*/ 197481 w 292236"/>
                  <a:gd name="connsiteY37" fmla="*/ 240185 h 351667"/>
                  <a:gd name="connsiteX38" fmla="*/ 205746 w 292236"/>
                  <a:gd name="connsiteY38" fmla="*/ 235462 h 351667"/>
                  <a:gd name="connsiteX39" fmla="*/ 206238 w 292236"/>
                  <a:gd name="connsiteY39" fmla="*/ 235462 h 351667"/>
                  <a:gd name="connsiteX40" fmla="*/ 214995 w 292236"/>
                  <a:gd name="connsiteY40" fmla="*/ 240185 h 351667"/>
                  <a:gd name="connsiteX41" fmla="*/ 229853 w 292236"/>
                  <a:gd name="connsiteY41" fmla="*/ 265767 h 351667"/>
                  <a:gd name="connsiteX42" fmla="*/ 240382 w 292236"/>
                  <a:gd name="connsiteY42" fmla="*/ 324313 h 351667"/>
                  <a:gd name="connsiteX43" fmla="*/ 253074 w 292236"/>
                  <a:gd name="connsiteY43" fmla="*/ 351667 h 351667"/>
                  <a:gd name="connsiteX44" fmla="*/ 253074 w 292236"/>
                  <a:gd name="connsiteY44" fmla="*/ 351667 h 351667"/>
                  <a:gd name="connsiteX45" fmla="*/ 265472 w 292236"/>
                  <a:gd name="connsiteY45" fmla="*/ 332185 h 35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92236" h="351667">
                    <a:moveTo>
                      <a:pt x="265571" y="332185"/>
                    </a:moveTo>
                    <a:lnTo>
                      <a:pt x="292236" y="346354"/>
                    </a:lnTo>
                    <a:lnTo>
                      <a:pt x="262717" y="186362"/>
                    </a:lnTo>
                    <a:lnTo>
                      <a:pt x="237823" y="187641"/>
                    </a:lnTo>
                    <a:lnTo>
                      <a:pt x="232608" y="225819"/>
                    </a:lnTo>
                    <a:lnTo>
                      <a:pt x="202499" y="207517"/>
                    </a:lnTo>
                    <a:lnTo>
                      <a:pt x="198760" y="163042"/>
                    </a:lnTo>
                    <a:lnTo>
                      <a:pt x="242841" y="145036"/>
                    </a:lnTo>
                    <a:lnTo>
                      <a:pt x="273738" y="104201"/>
                    </a:lnTo>
                    <a:lnTo>
                      <a:pt x="252189" y="85014"/>
                    </a:lnTo>
                    <a:lnTo>
                      <a:pt x="145724" y="90229"/>
                    </a:lnTo>
                    <a:lnTo>
                      <a:pt x="110499" y="78619"/>
                    </a:lnTo>
                    <a:lnTo>
                      <a:pt x="112073" y="33652"/>
                    </a:lnTo>
                    <a:lnTo>
                      <a:pt x="91213" y="16137"/>
                    </a:lnTo>
                    <a:lnTo>
                      <a:pt x="81669" y="37489"/>
                    </a:lnTo>
                    <a:lnTo>
                      <a:pt x="28732" y="0"/>
                    </a:lnTo>
                    <a:lnTo>
                      <a:pt x="8856" y="48706"/>
                    </a:lnTo>
                    <a:lnTo>
                      <a:pt x="55003" y="89540"/>
                    </a:lnTo>
                    <a:lnTo>
                      <a:pt x="21057" y="94263"/>
                    </a:lnTo>
                    <a:lnTo>
                      <a:pt x="0" y="123192"/>
                    </a:lnTo>
                    <a:lnTo>
                      <a:pt x="46246" y="150251"/>
                    </a:lnTo>
                    <a:lnTo>
                      <a:pt x="49296" y="174850"/>
                    </a:lnTo>
                    <a:lnTo>
                      <a:pt x="36013" y="192266"/>
                    </a:lnTo>
                    <a:lnTo>
                      <a:pt x="68779" y="288202"/>
                    </a:lnTo>
                    <a:lnTo>
                      <a:pt x="68779" y="288202"/>
                    </a:lnTo>
                    <a:cubicBezTo>
                      <a:pt x="69665" y="286135"/>
                      <a:pt x="70845" y="284364"/>
                      <a:pt x="72715" y="283282"/>
                    </a:cubicBezTo>
                    <a:cubicBezTo>
                      <a:pt x="82554" y="277378"/>
                      <a:pt x="71731" y="315457"/>
                      <a:pt x="82850" y="309652"/>
                    </a:cubicBezTo>
                    <a:cubicBezTo>
                      <a:pt x="95936" y="301485"/>
                      <a:pt x="108433" y="300010"/>
                      <a:pt x="108236" y="290760"/>
                    </a:cubicBezTo>
                    <a:cubicBezTo>
                      <a:pt x="108924" y="281904"/>
                      <a:pt x="105382" y="266752"/>
                      <a:pt x="112171" y="271179"/>
                    </a:cubicBezTo>
                    <a:cubicBezTo>
                      <a:pt x="118567" y="275411"/>
                      <a:pt x="117190" y="285053"/>
                      <a:pt x="118174" y="289677"/>
                    </a:cubicBezTo>
                    <a:cubicBezTo>
                      <a:pt x="119158" y="298829"/>
                      <a:pt x="132343" y="293417"/>
                      <a:pt x="147201" y="294105"/>
                    </a:cubicBezTo>
                    <a:cubicBezTo>
                      <a:pt x="155859" y="293811"/>
                      <a:pt x="160386" y="284955"/>
                      <a:pt x="166289" y="279641"/>
                    </a:cubicBezTo>
                    <a:cubicBezTo>
                      <a:pt x="171603" y="274033"/>
                      <a:pt x="169044" y="265767"/>
                      <a:pt x="169143" y="262717"/>
                    </a:cubicBezTo>
                    <a:cubicBezTo>
                      <a:pt x="168454" y="254157"/>
                      <a:pt x="163239" y="246974"/>
                      <a:pt x="159992" y="239889"/>
                    </a:cubicBezTo>
                    <a:cubicBezTo>
                      <a:pt x="156647" y="233297"/>
                      <a:pt x="159992" y="223753"/>
                      <a:pt x="164813" y="229361"/>
                    </a:cubicBezTo>
                    <a:cubicBezTo>
                      <a:pt x="172587" y="237036"/>
                      <a:pt x="176719" y="247072"/>
                      <a:pt x="185575" y="246875"/>
                    </a:cubicBezTo>
                    <a:cubicBezTo>
                      <a:pt x="186559" y="246678"/>
                      <a:pt x="193250" y="247859"/>
                      <a:pt x="196595" y="241857"/>
                    </a:cubicBezTo>
                    <a:lnTo>
                      <a:pt x="197481" y="240185"/>
                    </a:lnTo>
                    <a:cubicBezTo>
                      <a:pt x="198957" y="237528"/>
                      <a:pt x="202696" y="235363"/>
                      <a:pt x="205746" y="235462"/>
                    </a:cubicBezTo>
                    <a:lnTo>
                      <a:pt x="206238" y="235462"/>
                    </a:lnTo>
                    <a:cubicBezTo>
                      <a:pt x="209288" y="235462"/>
                      <a:pt x="213224" y="237725"/>
                      <a:pt x="214995" y="240185"/>
                    </a:cubicBezTo>
                    <a:cubicBezTo>
                      <a:pt x="221588" y="250516"/>
                      <a:pt x="228574" y="257011"/>
                      <a:pt x="229853" y="265767"/>
                    </a:cubicBezTo>
                    <a:cubicBezTo>
                      <a:pt x="236741" y="307586"/>
                      <a:pt x="236249" y="315359"/>
                      <a:pt x="240382" y="324313"/>
                    </a:cubicBezTo>
                    <a:cubicBezTo>
                      <a:pt x="245597" y="335038"/>
                      <a:pt x="249729" y="344189"/>
                      <a:pt x="253074" y="351667"/>
                    </a:cubicBezTo>
                    <a:lnTo>
                      <a:pt x="253074" y="351667"/>
                    </a:lnTo>
                    <a:lnTo>
                      <a:pt x="265472" y="332185"/>
                    </a:lnTo>
                    <a:close/>
                  </a:path>
                </a:pathLst>
              </a:custGeom>
              <a:grpFill/>
              <a:ln w="9835" cap="flat">
                <a:noFill/>
                <a:prstDash val="solid"/>
                <a:miter/>
              </a:ln>
            </p:spPr>
            <p:txBody>
              <a:bodyPr rtlCol="0" anchor="ctr"/>
              <a:lstStyle/>
              <a:p>
                <a:endParaRPr lang="en-IN"/>
              </a:p>
            </p:txBody>
          </p:sp>
        </p:grpSp>
        <p:sp>
          <p:nvSpPr>
            <p:cNvPr id="509" name="Freeform: Shape 508">
              <a:extLst>
                <a:ext uri="{FF2B5EF4-FFF2-40B4-BE49-F238E27FC236}">
                  <a16:creationId xmlns:a16="http://schemas.microsoft.com/office/drawing/2014/main" id="{0C06DA45-E2E1-30EE-C941-06AB52FEF638}"/>
                </a:ext>
              </a:extLst>
            </p:cNvPr>
            <p:cNvSpPr/>
            <p:nvPr/>
          </p:nvSpPr>
          <p:spPr>
            <a:xfrm>
              <a:off x="8175870" y="4521759"/>
              <a:ext cx="11957" cy="24416"/>
            </a:xfrm>
            <a:custGeom>
              <a:avLst/>
              <a:gdLst>
                <a:gd name="connsiteX0" fmla="*/ 7731 w 11957"/>
                <a:gd name="connsiteY0" fmla="*/ 1265 h 24416"/>
                <a:gd name="connsiteX1" fmla="*/ 6156 w 11957"/>
                <a:gd name="connsiteY1" fmla="*/ 478 h 24416"/>
                <a:gd name="connsiteX2" fmla="*/ 4188 w 11957"/>
                <a:gd name="connsiteY2" fmla="*/ 22519 h 24416"/>
                <a:gd name="connsiteX3" fmla="*/ 10387 w 11957"/>
                <a:gd name="connsiteY3" fmla="*/ 21436 h 24416"/>
                <a:gd name="connsiteX4" fmla="*/ 7731 w 11957"/>
                <a:gd name="connsiteY4" fmla="*/ 1167 h 24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7" h="24416">
                  <a:moveTo>
                    <a:pt x="7731" y="1265"/>
                  </a:moveTo>
                  <a:lnTo>
                    <a:pt x="6156" y="478"/>
                  </a:lnTo>
                  <a:cubicBezTo>
                    <a:pt x="-2207" y="-3458"/>
                    <a:pt x="-1223" y="18091"/>
                    <a:pt x="4188" y="22519"/>
                  </a:cubicBezTo>
                  <a:cubicBezTo>
                    <a:pt x="4188" y="22519"/>
                    <a:pt x="9600" y="27438"/>
                    <a:pt x="10387" y="21436"/>
                  </a:cubicBezTo>
                  <a:cubicBezTo>
                    <a:pt x="10387" y="15237"/>
                    <a:pt x="15307" y="4807"/>
                    <a:pt x="7731" y="1167"/>
                  </a:cubicBezTo>
                  <a:close/>
                </a:path>
              </a:pathLst>
            </a:custGeom>
            <a:grpFill/>
            <a:ln w="9835" cap="flat">
              <a:noFill/>
              <a:prstDash val="solid"/>
              <a:miter/>
            </a:ln>
          </p:spPr>
          <p:txBody>
            <a:bodyPr rtlCol="0" anchor="ctr"/>
            <a:lstStyle/>
            <a:p>
              <a:endParaRPr lang="en-IN"/>
            </a:p>
          </p:txBody>
        </p:sp>
        <p:grpSp>
          <p:nvGrpSpPr>
            <p:cNvPr id="510" name="Graphic 470">
              <a:extLst>
                <a:ext uri="{FF2B5EF4-FFF2-40B4-BE49-F238E27FC236}">
                  <a16:creationId xmlns:a16="http://schemas.microsoft.com/office/drawing/2014/main" id="{4541BB44-BEC4-9230-1048-19137DC57B7D}"/>
                </a:ext>
              </a:extLst>
            </p:cNvPr>
            <p:cNvGrpSpPr/>
            <p:nvPr/>
          </p:nvGrpSpPr>
          <p:grpSpPr>
            <a:xfrm>
              <a:off x="7823078" y="3434371"/>
              <a:ext cx="347601" cy="258190"/>
              <a:chOff x="7823078" y="3434371"/>
              <a:chExt cx="347601" cy="258190"/>
            </a:xfrm>
            <a:grpFill/>
          </p:grpSpPr>
          <p:sp>
            <p:nvSpPr>
              <p:cNvPr id="514" name="Freeform: Shape 513">
                <a:extLst>
                  <a:ext uri="{FF2B5EF4-FFF2-40B4-BE49-F238E27FC236}">
                    <a16:creationId xmlns:a16="http://schemas.microsoft.com/office/drawing/2014/main" id="{F6593BC5-D904-2BEF-BFFE-5300B765A120}"/>
                  </a:ext>
                </a:extLst>
              </p:cNvPr>
              <p:cNvSpPr/>
              <p:nvPr/>
            </p:nvSpPr>
            <p:spPr>
              <a:xfrm>
                <a:off x="7833902" y="3434371"/>
                <a:ext cx="336778" cy="258190"/>
              </a:xfrm>
              <a:custGeom>
                <a:avLst/>
                <a:gdLst>
                  <a:gd name="connsiteX0" fmla="*/ 208796 w 336778"/>
                  <a:gd name="connsiteY0" fmla="*/ 187543 h 258190"/>
                  <a:gd name="connsiteX1" fmla="*/ 194726 w 336778"/>
                  <a:gd name="connsiteY1" fmla="*/ 199350 h 258190"/>
                  <a:gd name="connsiteX2" fmla="*/ 204860 w 336778"/>
                  <a:gd name="connsiteY2" fmla="*/ 207714 h 258190"/>
                  <a:gd name="connsiteX3" fmla="*/ 204270 w 336778"/>
                  <a:gd name="connsiteY3" fmla="*/ 216077 h 258190"/>
                  <a:gd name="connsiteX4" fmla="*/ 187543 w 336778"/>
                  <a:gd name="connsiteY4" fmla="*/ 225622 h 258190"/>
                  <a:gd name="connsiteX5" fmla="*/ 224933 w 336778"/>
                  <a:gd name="connsiteY5" fmla="*/ 258191 h 258190"/>
                  <a:gd name="connsiteX6" fmla="*/ 244416 w 336778"/>
                  <a:gd name="connsiteY6" fmla="*/ 258191 h 258190"/>
                  <a:gd name="connsiteX7" fmla="*/ 249926 w 336778"/>
                  <a:gd name="connsiteY7" fmla="*/ 198760 h 258190"/>
                  <a:gd name="connsiteX8" fmla="*/ 263603 w 336778"/>
                  <a:gd name="connsiteY8" fmla="*/ 206927 h 258190"/>
                  <a:gd name="connsiteX9" fmla="*/ 266063 w 336778"/>
                  <a:gd name="connsiteY9" fmla="*/ 193545 h 258190"/>
                  <a:gd name="connsiteX10" fmla="*/ 274623 w 336778"/>
                  <a:gd name="connsiteY10" fmla="*/ 190101 h 258190"/>
                  <a:gd name="connsiteX11" fmla="*/ 277772 w 336778"/>
                  <a:gd name="connsiteY11" fmla="*/ 186460 h 258190"/>
                  <a:gd name="connsiteX12" fmla="*/ 272754 w 336778"/>
                  <a:gd name="connsiteY12" fmla="*/ 174850 h 258190"/>
                  <a:gd name="connsiteX13" fmla="*/ 274426 w 336778"/>
                  <a:gd name="connsiteY13" fmla="*/ 163928 h 258190"/>
                  <a:gd name="connsiteX14" fmla="*/ 281511 w 336778"/>
                  <a:gd name="connsiteY14" fmla="*/ 128505 h 258190"/>
                  <a:gd name="connsiteX15" fmla="*/ 298730 w 336778"/>
                  <a:gd name="connsiteY15" fmla="*/ 114631 h 258190"/>
                  <a:gd name="connsiteX16" fmla="*/ 319688 w 336778"/>
                  <a:gd name="connsiteY16" fmla="*/ 111384 h 258190"/>
                  <a:gd name="connsiteX17" fmla="*/ 332480 w 336778"/>
                  <a:gd name="connsiteY17" fmla="*/ 118173 h 258190"/>
                  <a:gd name="connsiteX18" fmla="*/ 336613 w 336778"/>
                  <a:gd name="connsiteY18" fmla="*/ 115517 h 258190"/>
                  <a:gd name="connsiteX19" fmla="*/ 312309 w 336778"/>
                  <a:gd name="connsiteY19" fmla="*/ 94657 h 258190"/>
                  <a:gd name="connsiteX20" fmla="*/ 302469 w 336778"/>
                  <a:gd name="connsiteY20" fmla="*/ 95838 h 258190"/>
                  <a:gd name="connsiteX21" fmla="*/ 283479 w 336778"/>
                  <a:gd name="connsiteY21" fmla="*/ 82357 h 258190"/>
                  <a:gd name="connsiteX22" fmla="*/ 263012 w 336778"/>
                  <a:gd name="connsiteY22" fmla="*/ 59726 h 258190"/>
                  <a:gd name="connsiteX23" fmla="*/ 255239 w 336778"/>
                  <a:gd name="connsiteY23" fmla="*/ 38079 h 258190"/>
                  <a:gd name="connsiteX24" fmla="*/ 231919 w 336778"/>
                  <a:gd name="connsiteY24" fmla="*/ 10233 h 258190"/>
                  <a:gd name="connsiteX25" fmla="*/ 231919 w 336778"/>
                  <a:gd name="connsiteY25" fmla="*/ 10233 h 258190"/>
                  <a:gd name="connsiteX26" fmla="*/ 182524 w 336778"/>
                  <a:gd name="connsiteY26" fmla="*/ 53429 h 258190"/>
                  <a:gd name="connsiteX27" fmla="*/ 145626 w 336778"/>
                  <a:gd name="connsiteY27" fmla="*/ 43589 h 258190"/>
                  <a:gd name="connsiteX28" fmla="*/ 121027 w 336778"/>
                  <a:gd name="connsiteY28" fmla="*/ 10331 h 258190"/>
                  <a:gd name="connsiteX29" fmla="*/ 96428 w 336778"/>
                  <a:gd name="connsiteY29" fmla="*/ 0 h 258190"/>
                  <a:gd name="connsiteX30" fmla="*/ 71534 w 336778"/>
                  <a:gd name="connsiteY30" fmla="*/ 21057 h 258190"/>
                  <a:gd name="connsiteX31" fmla="*/ 107547 w 336778"/>
                  <a:gd name="connsiteY31" fmla="*/ 49690 h 258190"/>
                  <a:gd name="connsiteX32" fmla="*/ 93083 w 336778"/>
                  <a:gd name="connsiteY32" fmla="*/ 66417 h 258190"/>
                  <a:gd name="connsiteX33" fmla="*/ 16432 w 336778"/>
                  <a:gd name="connsiteY33" fmla="*/ 33061 h 258190"/>
                  <a:gd name="connsiteX34" fmla="*/ 0 w 336778"/>
                  <a:gd name="connsiteY34" fmla="*/ 48312 h 258190"/>
                  <a:gd name="connsiteX35" fmla="*/ 42409 w 336778"/>
                  <a:gd name="connsiteY35" fmla="*/ 77339 h 258190"/>
                  <a:gd name="connsiteX36" fmla="*/ 25288 w 336778"/>
                  <a:gd name="connsiteY36" fmla="*/ 95444 h 258190"/>
                  <a:gd name="connsiteX37" fmla="*/ 64253 w 336778"/>
                  <a:gd name="connsiteY37" fmla="*/ 121617 h 258190"/>
                  <a:gd name="connsiteX38" fmla="*/ 62383 w 336778"/>
                  <a:gd name="connsiteY38" fmla="*/ 136574 h 258190"/>
                  <a:gd name="connsiteX39" fmla="*/ 50674 w 336778"/>
                  <a:gd name="connsiteY39" fmla="*/ 148086 h 258190"/>
                  <a:gd name="connsiteX40" fmla="*/ 96231 w 336778"/>
                  <a:gd name="connsiteY40" fmla="*/ 175342 h 258190"/>
                  <a:gd name="connsiteX41" fmla="*/ 86982 w 336778"/>
                  <a:gd name="connsiteY41" fmla="*/ 186854 h 258190"/>
                  <a:gd name="connsiteX42" fmla="*/ 98298 w 336778"/>
                  <a:gd name="connsiteY42" fmla="*/ 195513 h 258190"/>
                  <a:gd name="connsiteX43" fmla="*/ 101249 w 336778"/>
                  <a:gd name="connsiteY43" fmla="*/ 227688 h 258190"/>
                  <a:gd name="connsiteX44" fmla="*/ 182524 w 336778"/>
                  <a:gd name="connsiteY44" fmla="*/ 165600 h 258190"/>
                  <a:gd name="connsiteX45" fmla="*/ 208698 w 336778"/>
                  <a:gd name="connsiteY45" fmla="*/ 187346 h 25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36778" h="258190">
                    <a:moveTo>
                      <a:pt x="208796" y="187543"/>
                    </a:moveTo>
                    <a:lnTo>
                      <a:pt x="194726" y="199350"/>
                    </a:lnTo>
                    <a:lnTo>
                      <a:pt x="204860" y="207714"/>
                    </a:lnTo>
                    <a:lnTo>
                      <a:pt x="204270" y="216077"/>
                    </a:lnTo>
                    <a:lnTo>
                      <a:pt x="187543" y="225622"/>
                    </a:lnTo>
                    <a:lnTo>
                      <a:pt x="224933" y="258191"/>
                    </a:lnTo>
                    <a:lnTo>
                      <a:pt x="244416" y="258191"/>
                    </a:lnTo>
                    <a:cubicBezTo>
                      <a:pt x="241562" y="233395"/>
                      <a:pt x="240184" y="206238"/>
                      <a:pt x="249926" y="198760"/>
                    </a:cubicBezTo>
                    <a:cubicBezTo>
                      <a:pt x="257896" y="192659"/>
                      <a:pt x="261536" y="218045"/>
                      <a:pt x="263603" y="206927"/>
                    </a:cubicBezTo>
                    <a:lnTo>
                      <a:pt x="266063" y="193545"/>
                    </a:lnTo>
                    <a:cubicBezTo>
                      <a:pt x="267243" y="187149"/>
                      <a:pt x="275607" y="190003"/>
                      <a:pt x="274623" y="190101"/>
                    </a:cubicBezTo>
                    <a:cubicBezTo>
                      <a:pt x="277575" y="190888"/>
                      <a:pt x="279051" y="189215"/>
                      <a:pt x="277772" y="186460"/>
                    </a:cubicBezTo>
                    <a:lnTo>
                      <a:pt x="272754" y="174850"/>
                    </a:lnTo>
                    <a:cubicBezTo>
                      <a:pt x="270294" y="169241"/>
                      <a:pt x="274721" y="162944"/>
                      <a:pt x="274426" y="163928"/>
                    </a:cubicBezTo>
                    <a:cubicBezTo>
                      <a:pt x="281511" y="153399"/>
                      <a:pt x="273541" y="137459"/>
                      <a:pt x="281511" y="128505"/>
                    </a:cubicBezTo>
                    <a:cubicBezTo>
                      <a:pt x="287611" y="121716"/>
                      <a:pt x="291547" y="115713"/>
                      <a:pt x="298730" y="114631"/>
                    </a:cubicBezTo>
                    <a:lnTo>
                      <a:pt x="319688" y="111384"/>
                    </a:lnTo>
                    <a:cubicBezTo>
                      <a:pt x="326773" y="110302"/>
                      <a:pt x="333464" y="118961"/>
                      <a:pt x="332480" y="118173"/>
                    </a:cubicBezTo>
                    <a:cubicBezTo>
                      <a:pt x="336711" y="122601"/>
                      <a:pt x="337105" y="114533"/>
                      <a:pt x="336613" y="115517"/>
                    </a:cubicBezTo>
                    <a:cubicBezTo>
                      <a:pt x="337105" y="106465"/>
                      <a:pt x="319984" y="93673"/>
                      <a:pt x="312309" y="94657"/>
                    </a:cubicBezTo>
                    <a:lnTo>
                      <a:pt x="302469" y="95838"/>
                    </a:lnTo>
                    <a:cubicBezTo>
                      <a:pt x="283774" y="98101"/>
                      <a:pt x="282987" y="80783"/>
                      <a:pt x="283479" y="82357"/>
                    </a:cubicBezTo>
                    <a:cubicBezTo>
                      <a:pt x="282003" y="70845"/>
                      <a:pt x="265866" y="71435"/>
                      <a:pt x="263012" y="59726"/>
                    </a:cubicBezTo>
                    <a:cubicBezTo>
                      <a:pt x="260848" y="50575"/>
                      <a:pt x="259765" y="43589"/>
                      <a:pt x="255239" y="38079"/>
                    </a:cubicBezTo>
                    <a:lnTo>
                      <a:pt x="231919" y="10233"/>
                    </a:lnTo>
                    <a:lnTo>
                      <a:pt x="231919" y="10233"/>
                    </a:lnTo>
                    <a:cubicBezTo>
                      <a:pt x="231919" y="10233"/>
                      <a:pt x="182524" y="53429"/>
                      <a:pt x="182524" y="53429"/>
                    </a:cubicBezTo>
                    <a:lnTo>
                      <a:pt x="145626" y="43589"/>
                    </a:lnTo>
                    <a:lnTo>
                      <a:pt x="121027" y="10331"/>
                    </a:lnTo>
                    <a:lnTo>
                      <a:pt x="96428" y="0"/>
                    </a:lnTo>
                    <a:lnTo>
                      <a:pt x="71534" y="21057"/>
                    </a:lnTo>
                    <a:lnTo>
                      <a:pt x="107547" y="49690"/>
                    </a:lnTo>
                    <a:lnTo>
                      <a:pt x="93083" y="66417"/>
                    </a:lnTo>
                    <a:lnTo>
                      <a:pt x="16432" y="33061"/>
                    </a:lnTo>
                    <a:lnTo>
                      <a:pt x="0" y="48312"/>
                    </a:lnTo>
                    <a:lnTo>
                      <a:pt x="42409" y="77339"/>
                    </a:lnTo>
                    <a:lnTo>
                      <a:pt x="25288" y="95444"/>
                    </a:lnTo>
                    <a:lnTo>
                      <a:pt x="64253" y="121617"/>
                    </a:lnTo>
                    <a:lnTo>
                      <a:pt x="62383" y="136574"/>
                    </a:lnTo>
                    <a:lnTo>
                      <a:pt x="50674" y="148086"/>
                    </a:lnTo>
                    <a:lnTo>
                      <a:pt x="96231" y="175342"/>
                    </a:lnTo>
                    <a:lnTo>
                      <a:pt x="86982" y="186854"/>
                    </a:lnTo>
                    <a:lnTo>
                      <a:pt x="98298" y="195513"/>
                    </a:lnTo>
                    <a:lnTo>
                      <a:pt x="101249" y="227688"/>
                    </a:lnTo>
                    <a:lnTo>
                      <a:pt x="182524" y="165600"/>
                    </a:lnTo>
                    <a:lnTo>
                      <a:pt x="208698" y="187346"/>
                    </a:lnTo>
                    <a:close/>
                  </a:path>
                </a:pathLst>
              </a:custGeom>
              <a:grpFill/>
              <a:ln w="9835" cap="flat">
                <a:noFill/>
                <a:prstDash val="solid"/>
                <a:miter/>
              </a:ln>
            </p:spPr>
            <p:txBody>
              <a:bodyPr rtlCol="0" anchor="ctr"/>
              <a:lstStyle/>
              <a:p>
                <a:endParaRPr lang="en-IN"/>
              </a:p>
            </p:txBody>
          </p:sp>
          <p:sp>
            <p:nvSpPr>
              <p:cNvPr id="515" name="Freeform: Shape 514">
                <a:extLst>
                  <a:ext uri="{FF2B5EF4-FFF2-40B4-BE49-F238E27FC236}">
                    <a16:creationId xmlns:a16="http://schemas.microsoft.com/office/drawing/2014/main" id="{EF1FFE45-5C56-E91B-0DC8-A3D7A0868D58}"/>
                  </a:ext>
                </a:extLst>
              </p:cNvPr>
              <p:cNvSpPr/>
              <p:nvPr/>
            </p:nvSpPr>
            <p:spPr>
              <a:xfrm>
                <a:off x="7823078" y="3594068"/>
                <a:ext cx="84226" cy="66712"/>
              </a:xfrm>
              <a:custGeom>
                <a:avLst/>
                <a:gdLst>
                  <a:gd name="connsiteX0" fmla="*/ 38473 w 84226"/>
                  <a:gd name="connsiteY0" fmla="*/ 18695 h 66712"/>
                  <a:gd name="connsiteX1" fmla="*/ 30109 w 84226"/>
                  <a:gd name="connsiteY1" fmla="*/ 492 h 66712"/>
                  <a:gd name="connsiteX2" fmla="*/ 0 w 84226"/>
                  <a:gd name="connsiteY2" fmla="*/ 0 h 66712"/>
                  <a:gd name="connsiteX3" fmla="*/ 0 w 84226"/>
                  <a:gd name="connsiteY3" fmla="*/ 15645 h 66712"/>
                  <a:gd name="connsiteX4" fmla="*/ 35915 w 84226"/>
                  <a:gd name="connsiteY4" fmla="*/ 64253 h 66712"/>
                  <a:gd name="connsiteX5" fmla="*/ 84227 w 84226"/>
                  <a:gd name="connsiteY5" fmla="*/ 66712 h 66712"/>
                  <a:gd name="connsiteX6" fmla="*/ 63662 w 84226"/>
                  <a:gd name="connsiteY6" fmla="*/ 18695 h 66712"/>
                  <a:gd name="connsiteX7" fmla="*/ 38473 w 84226"/>
                  <a:gd name="connsiteY7" fmla="*/ 18695 h 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226" h="66712">
                    <a:moveTo>
                      <a:pt x="38473" y="18695"/>
                    </a:moveTo>
                    <a:lnTo>
                      <a:pt x="30109" y="492"/>
                    </a:lnTo>
                    <a:lnTo>
                      <a:pt x="0" y="0"/>
                    </a:lnTo>
                    <a:lnTo>
                      <a:pt x="0" y="15645"/>
                    </a:lnTo>
                    <a:lnTo>
                      <a:pt x="35915" y="64253"/>
                    </a:lnTo>
                    <a:lnTo>
                      <a:pt x="84227" y="66712"/>
                    </a:lnTo>
                    <a:lnTo>
                      <a:pt x="63662" y="18695"/>
                    </a:lnTo>
                    <a:lnTo>
                      <a:pt x="38473" y="18695"/>
                    </a:lnTo>
                    <a:close/>
                  </a:path>
                </a:pathLst>
              </a:custGeom>
              <a:grpFill/>
              <a:ln w="9835" cap="flat">
                <a:noFill/>
                <a:prstDash val="solid"/>
                <a:miter/>
              </a:ln>
            </p:spPr>
            <p:txBody>
              <a:bodyPr rtlCol="0" anchor="ctr"/>
              <a:lstStyle/>
              <a:p>
                <a:endParaRPr lang="en-IN"/>
              </a:p>
            </p:txBody>
          </p:sp>
        </p:grpSp>
        <p:sp>
          <p:nvSpPr>
            <p:cNvPr id="511" name="Freeform: Shape 510">
              <a:extLst>
                <a:ext uri="{FF2B5EF4-FFF2-40B4-BE49-F238E27FC236}">
                  <a16:creationId xmlns:a16="http://schemas.microsoft.com/office/drawing/2014/main" id="{A8F97059-F2F7-F7AD-906B-0F3BAA56BCF3}"/>
                </a:ext>
              </a:extLst>
            </p:cNvPr>
            <p:cNvSpPr/>
            <p:nvPr/>
          </p:nvSpPr>
          <p:spPr>
            <a:xfrm>
              <a:off x="7742197" y="3482880"/>
              <a:ext cx="193052" cy="179375"/>
            </a:xfrm>
            <a:custGeom>
              <a:avLst/>
              <a:gdLst>
                <a:gd name="connsiteX0" fmla="*/ 178785 w 193052"/>
                <a:gd name="connsiteY0" fmla="*/ 138541 h 179375"/>
                <a:gd name="connsiteX1" fmla="*/ 187936 w 193052"/>
                <a:gd name="connsiteY1" fmla="*/ 126931 h 179375"/>
                <a:gd name="connsiteX2" fmla="*/ 142379 w 193052"/>
                <a:gd name="connsiteY2" fmla="*/ 99774 h 179375"/>
                <a:gd name="connsiteX3" fmla="*/ 153990 w 193052"/>
                <a:gd name="connsiteY3" fmla="*/ 88261 h 179375"/>
                <a:gd name="connsiteX4" fmla="*/ 155859 w 193052"/>
                <a:gd name="connsiteY4" fmla="*/ 73305 h 179375"/>
                <a:gd name="connsiteX5" fmla="*/ 116894 w 193052"/>
                <a:gd name="connsiteY5" fmla="*/ 47132 h 179375"/>
                <a:gd name="connsiteX6" fmla="*/ 134015 w 193052"/>
                <a:gd name="connsiteY6" fmla="*/ 29027 h 179375"/>
                <a:gd name="connsiteX7" fmla="*/ 91705 w 193052"/>
                <a:gd name="connsiteY7" fmla="*/ 0 h 179375"/>
                <a:gd name="connsiteX8" fmla="*/ 0 w 193052"/>
                <a:gd name="connsiteY8" fmla="*/ 12103 h 179375"/>
                <a:gd name="connsiteX9" fmla="*/ 11315 w 193052"/>
                <a:gd name="connsiteY9" fmla="*/ 23222 h 179375"/>
                <a:gd name="connsiteX10" fmla="*/ 14759 w 193052"/>
                <a:gd name="connsiteY10" fmla="*/ 44573 h 179375"/>
                <a:gd name="connsiteX11" fmla="*/ 3542 w 193052"/>
                <a:gd name="connsiteY11" fmla="*/ 60120 h 179375"/>
                <a:gd name="connsiteX12" fmla="*/ 12693 w 193052"/>
                <a:gd name="connsiteY12" fmla="*/ 87966 h 179375"/>
                <a:gd name="connsiteX13" fmla="*/ 55003 w 193052"/>
                <a:gd name="connsiteY13" fmla="*/ 88261 h 179375"/>
                <a:gd name="connsiteX14" fmla="*/ 80881 w 193052"/>
                <a:gd name="connsiteY14" fmla="*/ 111187 h 179375"/>
                <a:gd name="connsiteX15" fmla="*/ 110991 w 193052"/>
                <a:gd name="connsiteY15" fmla="*/ 111679 h 179375"/>
                <a:gd name="connsiteX16" fmla="*/ 119354 w 193052"/>
                <a:gd name="connsiteY16" fmla="*/ 129883 h 179375"/>
                <a:gd name="connsiteX17" fmla="*/ 144544 w 193052"/>
                <a:gd name="connsiteY17" fmla="*/ 129883 h 179375"/>
                <a:gd name="connsiteX18" fmla="*/ 165108 w 193052"/>
                <a:gd name="connsiteY18" fmla="*/ 177900 h 179375"/>
                <a:gd name="connsiteX19" fmla="*/ 193053 w 193052"/>
                <a:gd name="connsiteY19" fmla="*/ 179376 h 179375"/>
                <a:gd name="connsiteX20" fmla="*/ 190101 w 193052"/>
                <a:gd name="connsiteY20" fmla="*/ 147200 h 179375"/>
                <a:gd name="connsiteX21" fmla="*/ 178785 w 193052"/>
                <a:gd name="connsiteY21" fmla="*/ 138541 h 1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3052" h="179375">
                  <a:moveTo>
                    <a:pt x="178785" y="138541"/>
                  </a:moveTo>
                  <a:lnTo>
                    <a:pt x="187936" y="126931"/>
                  </a:lnTo>
                  <a:lnTo>
                    <a:pt x="142379" y="99774"/>
                  </a:lnTo>
                  <a:lnTo>
                    <a:pt x="153990" y="88261"/>
                  </a:lnTo>
                  <a:lnTo>
                    <a:pt x="155859" y="73305"/>
                  </a:lnTo>
                  <a:lnTo>
                    <a:pt x="116894" y="47132"/>
                  </a:lnTo>
                  <a:lnTo>
                    <a:pt x="134015" y="29027"/>
                  </a:lnTo>
                  <a:lnTo>
                    <a:pt x="91705" y="0"/>
                  </a:lnTo>
                  <a:lnTo>
                    <a:pt x="0" y="12103"/>
                  </a:lnTo>
                  <a:lnTo>
                    <a:pt x="11315" y="23222"/>
                  </a:lnTo>
                  <a:lnTo>
                    <a:pt x="14759" y="44573"/>
                  </a:lnTo>
                  <a:lnTo>
                    <a:pt x="3542" y="60120"/>
                  </a:lnTo>
                  <a:lnTo>
                    <a:pt x="12693" y="87966"/>
                  </a:lnTo>
                  <a:lnTo>
                    <a:pt x="55003" y="88261"/>
                  </a:lnTo>
                  <a:lnTo>
                    <a:pt x="80881" y="111187"/>
                  </a:lnTo>
                  <a:lnTo>
                    <a:pt x="110991" y="111679"/>
                  </a:lnTo>
                  <a:lnTo>
                    <a:pt x="119354" y="129883"/>
                  </a:lnTo>
                  <a:lnTo>
                    <a:pt x="144544" y="129883"/>
                  </a:lnTo>
                  <a:lnTo>
                    <a:pt x="165108" y="177900"/>
                  </a:lnTo>
                  <a:lnTo>
                    <a:pt x="193053" y="179376"/>
                  </a:lnTo>
                  <a:lnTo>
                    <a:pt x="190101" y="147200"/>
                  </a:lnTo>
                  <a:lnTo>
                    <a:pt x="178785" y="138541"/>
                  </a:lnTo>
                  <a:close/>
                </a:path>
              </a:pathLst>
            </a:custGeom>
            <a:grpFill/>
            <a:ln w="9835" cap="flat">
              <a:noFill/>
              <a:prstDash val="solid"/>
              <a:miter/>
            </a:ln>
          </p:spPr>
          <p:txBody>
            <a:bodyPr rtlCol="0" anchor="ctr"/>
            <a:lstStyle/>
            <a:p>
              <a:endParaRPr lang="en-IN"/>
            </a:p>
          </p:txBody>
        </p:sp>
        <p:sp>
          <p:nvSpPr>
            <p:cNvPr id="512" name="Freeform: Shape 511">
              <a:extLst>
                <a:ext uri="{FF2B5EF4-FFF2-40B4-BE49-F238E27FC236}">
                  <a16:creationId xmlns:a16="http://schemas.microsoft.com/office/drawing/2014/main" id="{2A905DDE-7801-4AD3-7FB1-3A02100F2B8E}"/>
                </a:ext>
              </a:extLst>
            </p:cNvPr>
            <p:cNvSpPr/>
            <p:nvPr/>
          </p:nvSpPr>
          <p:spPr>
            <a:xfrm>
              <a:off x="8794935" y="3690692"/>
              <a:ext cx="890286" cy="636720"/>
            </a:xfrm>
            <a:custGeom>
              <a:avLst/>
              <a:gdLst>
                <a:gd name="connsiteX0" fmla="*/ 357374 w 890286"/>
                <a:gd name="connsiteY0" fmla="*/ 599625 h 636720"/>
                <a:gd name="connsiteX1" fmla="*/ 377644 w 890286"/>
                <a:gd name="connsiteY1" fmla="*/ 510577 h 636720"/>
                <a:gd name="connsiteX2" fmla="*/ 443963 w 890286"/>
                <a:gd name="connsiteY2" fmla="*/ 501721 h 636720"/>
                <a:gd name="connsiteX3" fmla="*/ 443963 w 890286"/>
                <a:gd name="connsiteY3" fmla="*/ 477417 h 636720"/>
                <a:gd name="connsiteX4" fmla="*/ 500835 w 890286"/>
                <a:gd name="connsiteY4" fmla="*/ 460198 h 636720"/>
                <a:gd name="connsiteX5" fmla="*/ 525336 w 890286"/>
                <a:gd name="connsiteY5" fmla="*/ 476729 h 636720"/>
                <a:gd name="connsiteX6" fmla="*/ 551805 w 890286"/>
                <a:gd name="connsiteY6" fmla="*/ 460198 h 636720"/>
                <a:gd name="connsiteX7" fmla="*/ 543047 w 890286"/>
                <a:gd name="connsiteY7" fmla="*/ 423004 h 636720"/>
                <a:gd name="connsiteX8" fmla="*/ 564301 w 890286"/>
                <a:gd name="connsiteY8" fmla="*/ 377545 h 636720"/>
                <a:gd name="connsiteX9" fmla="*/ 597854 w 890286"/>
                <a:gd name="connsiteY9" fmla="*/ 377545 h 636720"/>
                <a:gd name="connsiteX10" fmla="*/ 610350 w 890286"/>
                <a:gd name="connsiteY10" fmla="*/ 358653 h 636720"/>
                <a:gd name="connsiteX11" fmla="*/ 587916 w 890286"/>
                <a:gd name="connsiteY11" fmla="*/ 327954 h 636720"/>
                <a:gd name="connsiteX12" fmla="*/ 585456 w 890286"/>
                <a:gd name="connsiteY12" fmla="*/ 309357 h 636720"/>
                <a:gd name="connsiteX13" fmla="*/ 650397 w 890286"/>
                <a:gd name="connsiteY13" fmla="*/ 319197 h 636720"/>
                <a:gd name="connsiteX14" fmla="*/ 659745 w 890286"/>
                <a:gd name="connsiteY14" fmla="*/ 297057 h 636720"/>
                <a:gd name="connsiteX15" fmla="*/ 652857 w 890286"/>
                <a:gd name="connsiteY15" fmla="*/ 274820 h 636720"/>
                <a:gd name="connsiteX16" fmla="*/ 690936 w 890286"/>
                <a:gd name="connsiteY16" fmla="*/ 235265 h 636720"/>
                <a:gd name="connsiteX17" fmla="*/ 682376 w 890286"/>
                <a:gd name="connsiteY17" fmla="*/ 189806 h 636720"/>
                <a:gd name="connsiteX18" fmla="*/ 665452 w 890286"/>
                <a:gd name="connsiteY18" fmla="*/ 176719 h 636720"/>
                <a:gd name="connsiteX19" fmla="*/ 746629 w 890286"/>
                <a:gd name="connsiteY19" fmla="*/ 122601 h 636720"/>
                <a:gd name="connsiteX20" fmla="*/ 874937 w 890286"/>
                <a:gd name="connsiteY20" fmla="*/ 103119 h 636720"/>
                <a:gd name="connsiteX21" fmla="*/ 865097 w 890286"/>
                <a:gd name="connsiteY21" fmla="*/ 90032 h 636720"/>
                <a:gd name="connsiteX22" fmla="*/ 890287 w 890286"/>
                <a:gd name="connsiteY22" fmla="*/ 80586 h 636720"/>
                <a:gd name="connsiteX23" fmla="*/ 881136 w 890286"/>
                <a:gd name="connsiteY23" fmla="*/ 65138 h 636720"/>
                <a:gd name="connsiteX24" fmla="*/ 860178 w 890286"/>
                <a:gd name="connsiteY24" fmla="*/ 64154 h 636720"/>
                <a:gd name="connsiteX25" fmla="*/ 817277 w 890286"/>
                <a:gd name="connsiteY25" fmla="*/ 81669 h 636720"/>
                <a:gd name="connsiteX26" fmla="*/ 826034 w 890286"/>
                <a:gd name="connsiteY26" fmla="*/ 62875 h 636720"/>
                <a:gd name="connsiteX27" fmla="*/ 792776 w 890286"/>
                <a:gd name="connsiteY27" fmla="*/ 62285 h 636720"/>
                <a:gd name="connsiteX28" fmla="*/ 695364 w 890286"/>
                <a:gd name="connsiteY28" fmla="*/ 114533 h 636720"/>
                <a:gd name="connsiteX29" fmla="*/ 681294 w 890286"/>
                <a:gd name="connsiteY29" fmla="*/ 84621 h 636720"/>
                <a:gd name="connsiteX30" fmla="*/ 689461 w 890286"/>
                <a:gd name="connsiteY30" fmla="*/ 41818 h 636720"/>
                <a:gd name="connsiteX31" fmla="*/ 664862 w 890286"/>
                <a:gd name="connsiteY31" fmla="*/ 37686 h 636720"/>
                <a:gd name="connsiteX32" fmla="*/ 669388 w 890286"/>
                <a:gd name="connsiteY32" fmla="*/ 11906 h 636720"/>
                <a:gd name="connsiteX33" fmla="*/ 637999 w 890286"/>
                <a:gd name="connsiteY33" fmla="*/ 0 h 636720"/>
                <a:gd name="connsiteX34" fmla="*/ 604840 w 890286"/>
                <a:gd name="connsiteY34" fmla="*/ 36111 h 636720"/>
                <a:gd name="connsiteX35" fmla="*/ 612023 w 890286"/>
                <a:gd name="connsiteY35" fmla="*/ 49395 h 636720"/>
                <a:gd name="connsiteX36" fmla="*/ 604643 w 890286"/>
                <a:gd name="connsiteY36" fmla="*/ 64154 h 636720"/>
                <a:gd name="connsiteX37" fmla="*/ 551805 w 890286"/>
                <a:gd name="connsiteY37" fmla="*/ 64745 h 636720"/>
                <a:gd name="connsiteX38" fmla="*/ 558496 w 890286"/>
                <a:gd name="connsiteY38" fmla="*/ 89639 h 636720"/>
                <a:gd name="connsiteX39" fmla="*/ 541276 w 890286"/>
                <a:gd name="connsiteY39" fmla="*/ 98888 h 636720"/>
                <a:gd name="connsiteX40" fmla="*/ 524254 w 890286"/>
                <a:gd name="connsiteY40" fmla="*/ 81177 h 636720"/>
                <a:gd name="connsiteX41" fmla="*/ 469939 w 890286"/>
                <a:gd name="connsiteY41" fmla="*/ 108137 h 636720"/>
                <a:gd name="connsiteX42" fmla="*/ 450358 w 890286"/>
                <a:gd name="connsiteY42" fmla="*/ 87376 h 636720"/>
                <a:gd name="connsiteX43" fmla="*/ 423791 w 890286"/>
                <a:gd name="connsiteY43" fmla="*/ 92394 h 636720"/>
                <a:gd name="connsiteX44" fmla="*/ 406277 w 890286"/>
                <a:gd name="connsiteY44" fmla="*/ 76749 h 636720"/>
                <a:gd name="connsiteX45" fmla="*/ 377742 w 890286"/>
                <a:gd name="connsiteY45" fmla="*/ 76749 h 636720"/>
                <a:gd name="connsiteX46" fmla="*/ 322247 w 890286"/>
                <a:gd name="connsiteY46" fmla="*/ 62285 h 636720"/>
                <a:gd name="connsiteX47" fmla="*/ 314474 w 890286"/>
                <a:gd name="connsiteY47" fmla="*/ 86687 h 636720"/>
                <a:gd name="connsiteX48" fmla="*/ 269605 w 890286"/>
                <a:gd name="connsiteY48" fmla="*/ 92787 h 636720"/>
                <a:gd name="connsiteX49" fmla="*/ 254354 w 890286"/>
                <a:gd name="connsiteY49" fmla="*/ 149463 h 636720"/>
                <a:gd name="connsiteX50" fmla="*/ 162845 w 890286"/>
                <a:gd name="connsiteY50" fmla="*/ 185083 h 636720"/>
                <a:gd name="connsiteX51" fmla="*/ 162452 w 890286"/>
                <a:gd name="connsiteY51" fmla="*/ 213716 h 636720"/>
                <a:gd name="connsiteX52" fmla="*/ 132048 w 890286"/>
                <a:gd name="connsiteY52" fmla="*/ 234674 h 636720"/>
                <a:gd name="connsiteX53" fmla="*/ 46837 w 890286"/>
                <a:gd name="connsiteY53" fmla="*/ 212929 h 636720"/>
                <a:gd name="connsiteX54" fmla="*/ 0 w 890286"/>
                <a:gd name="connsiteY54" fmla="*/ 329823 h 636720"/>
                <a:gd name="connsiteX55" fmla="*/ 25878 w 890286"/>
                <a:gd name="connsiteY55" fmla="*/ 346649 h 636720"/>
                <a:gd name="connsiteX56" fmla="*/ 8659 w 890286"/>
                <a:gd name="connsiteY56" fmla="*/ 372822 h 636720"/>
                <a:gd name="connsiteX57" fmla="*/ 20171 w 890286"/>
                <a:gd name="connsiteY57" fmla="*/ 482731 h 636720"/>
                <a:gd name="connsiteX58" fmla="*/ 76749 w 890286"/>
                <a:gd name="connsiteY58" fmla="*/ 495817 h 636720"/>
                <a:gd name="connsiteX59" fmla="*/ 82456 w 890286"/>
                <a:gd name="connsiteY59" fmla="*/ 528682 h 636720"/>
                <a:gd name="connsiteX60" fmla="*/ 25091 w 890286"/>
                <a:gd name="connsiteY60" fmla="*/ 598346 h 636720"/>
                <a:gd name="connsiteX61" fmla="*/ 129981 w 890286"/>
                <a:gd name="connsiteY61" fmla="*/ 636720 h 636720"/>
                <a:gd name="connsiteX62" fmla="*/ 357374 w 890286"/>
                <a:gd name="connsiteY62" fmla="*/ 599625 h 63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90286" h="636720">
                  <a:moveTo>
                    <a:pt x="357374" y="599625"/>
                  </a:moveTo>
                  <a:lnTo>
                    <a:pt x="377644" y="510577"/>
                  </a:lnTo>
                  <a:lnTo>
                    <a:pt x="443963" y="501721"/>
                  </a:lnTo>
                  <a:lnTo>
                    <a:pt x="443963" y="477417"/>
                  </a:lnTo>
                  <a:lnTo>
                    <a:pt x="500835" y="460198"/>
                  </a:lnTo>
                  <a:lnTo>
                    <a:pt x="525336" y="476729"/>
                  </a:lnTo>
                  <a:lnTo>
                    <a:pt x="551805" y="460198"/>
                  </a:lnTo>
                  <a:lnTo>
                    <a:pt x="543047" y="423004"/>
                  </a:lnTo>
                  <a:lnTo>
                    <a:pt x="564301" y="377545"/>
                  </a:lnTo>
                  <a:lnTo>
                    <a:pt x="597854" y="377545"/>
                  </a:lnTo>
                  <a:lnTo>
                    <a:pt x="610350" y="358653"/>
                  </a:lnTo>
                  <a:lnTo>
                    <a:pt x="587916" y="327954"/>
                  </a:lnTo>
                  <a:lnTo>
                    <a:pt x="585456" y="309357"/>
                  </a:lnTo>
                  <a:lnTo>
                    <a:pt x="650397" y="319197"/>
                  </a:lnTo>
                  <a:lnTo>
                    <a:pt x="659745" y="297057"/>
                  </a:lnTo>
                  <a:lnTo>
                    <a:pt x="652857" y="274820"/>
                  </a:lnTo>
                  <a:lnTo>
                    <a:pt x="690936" y="235265"/>
                  </a:lnTo>
                  <a:lnTo>
                    <a:pt x="682376" y="189806"/>
                  </a:lnTo>
                  <a:lnTo>
                    <a:pt x="665452" y="176719"/>
                  </a:lnTo>
                  <a:lnTo>
                    <a:pt x="746629" y="122601"/>
                  </a:lnTo>
                  <a:lnTo>
                    <a:pt x="874937" y="103119"/>
                  </a:lnTo>
                  <a:lnTo>
                    <a:pt x="865097" y="90032"/>
                  </a:lnTo>
                  <a:lnTo>
                    <a:pt x="890287" y="80586"/>
                  </a:lnTo>
                  <a:lnTo>
                    <a:pt x="881136" y="65138"/>
                  </a:lnTo>
                  <a:lnTo>
                    <a:pt x="860178" y="64154"/>
                  </a:lnTo>
                  <a:lnTo>
                    <a:pt x="817277" y="81669"/>
                  </a:lnTo>
                  <a:lnTo>
                    <a:pt x="826034" y="62875"/>
                  </a:lnTo>
                  <a:lnTo>
                    <a:pt x="792776" y="62285"/>
                  </a:lnTo>
                  <a:lnTo>
                    <a:pt x="695364" y="114533"/>
                  </a:lnTo>
                  <a:lnTo>
                    <a:pt x="681294" y="84621"/>
                  </a:lnTo>
                  <a:lnTo>
                    <a:pt x="689461" y="41818"/>
                  </a:lnTo>
                  <a:lnTo>
                    <a:pt x="664862" y="37686"/>
                  </a:lnTo>
                  <a:lnTo>
                    <a:pt x="669388" y="11906"/>
                  </a:lnTo>
                  <a:lnTo>
                    <a:pt x="637999" y="0"/>
                  </a:lnTo>
                  <a:lnTo>
                    <a:pt x="604840" y="36111"/>
                  </a:lnTo>
                  <a:lnTo>
                    <a:pt x="612023" y="49395"/>
                  </a:lnTo>
                  <a:lnTo>
                    <a:pt x="604643" y="64154"/>
                  </a:lnTo>
                  <a:lnTo>
                    <a:pt x="551805" y="64745"/>
                  </a:lnTo>
                  <a:lnTo>
                    <a:pt x="558496" y="89639"/>
                  </a:lnTo>
                  <a:lnTo>
                    <a:pt x="541276" y="98888"/>
                  </a:lnTo>
                  <a:lnTo>
                    <a:pt x="524254" y="81177"/>
                  </a:lnTo>
                  <a:lnTo>
                    <a:pt x="469939" y="108137"/>
                  </a:lnTo>
                  <a:lnTo>
                    <a:pt x="450358" y="87376"/>
                  </a:lnTo>
                  <a:lnTo>
                    <a:pt x="423791" y="92394"/>
                  </a:lnTo>
                  <a:lnTo>
                    <a:pt x="406277" y="76749"/>
                  </a:lnTo>
                  <a:lnTo>
                    <a:pt x="377742" y="76749"/>
                  </a:lnTo>
                  <a:lnTo>
                    <a:pt x="322247" y="62285"/>
                  </a:lnTo>
                  <a:lnTo>
                    <a:pt x="314474" y="86687"/>
                  </a:lnTo>
                  <a:lnTo>
                    <a:pt x="269605" y="92787"/>
                  </a:lnTo>
                  <a:lnTo>
                    <a:pt x="254354" y="149463"/>
                  </a:lnTo>
                  <a:lnTo>
                    <a:pt x="162845" y="185083"/>
                  </a:lnTo>
                  <a:lnTo>
                    <a:pt x="162452" y="213716"/>
                  </a:lnTo>
                  <a:lnTo>
                    <a:pt x="132048" y="234674"/>
                  </a:lnTo>
                  <a:lnTo>
                    <a:pt x="46837" y="212929"/>
                  </a:lnTo>
                  <a:lnTo>
                    <a:pt x="0" y="329823"/>
                  </a:lnTo>
                  <a:lnTo>
                    <a:pt x="25878" y="346649"/>
                  </a:lnTo>
                  <a:lnTo>
                    <a:pt x="8659" y="372822"/>
                  </a:lnTo>
                  <a:lnTo>
                    <a:pt x="20171" y="482731"/>
                  </a:lnTo>
                  <a:lnTo>
                    <a:pt x="76749" y="495817"/>
                  </a:lnTo>
                  <a:lnTo>
                    <a:pt x="82456" y="528682"/>
                  </a:lnTo>
                  <a:lnTo>
                    <a:pt x="25091" y="598346"/>
                  </a:lnTo>
                  <a:lnTo>
                    <a:pt x="129981" y="636720"/>
                  </a:lnTo>
                  <a:lnTo>
                    <a:pt x="357374" y="599625"/>
                  </a:lnTo>
                  <a:close/>
                </a:path>
              </a:pathLst>
            </a:custGeom>
            <a:grpFill/>
            <a:ln w="9835" cap="flat">
              <a:noFill/>
              <a:prstDash val="solid"/>
              <a:miter/>
            </a:ln>
          </p:spPr>
          <p:txBody>
            <a:bodyPr rtlCol="0" anchor="ctr"/>
            <a:lstStyle/>
            <a:p>
              <a:endParaRPr lang="en-IN"/>
            </a:p>
          </p:txBody>
        </p:sp>
        <p:sp>
          <p:nvSpPr>
            <p:cNvPr id="513" name="Freeform: Shape 512">
              <a:extLst>
                <a:ext uri="{FF2B5EF4-FFF2-40B4-BE49-F238E27FC236}">
                  <a16:creationId xmlns:a16="http://schemas.microsoft.com/office/drawing/2014/main" id="{A7C5C456-CFD4-0477-235A-2AB2991345CB}"/>
                </a:ext>
              </a:extLst>
            </p:cNvPr>
            <p:cNvSpPr/>
            <p:nvPr/>
          </p:nvSpPr>
          <p:spPr>
            <a:xfrm>
              <a:off x="11472190" y="6100311"/>
              <a:ext cx="23024" cy="23024"/>
            </a:xfrm>
            <a:custGeom>
              <a:avLst/>
              <a:gdLst>
                <a:gd name="connsiteX0" fmla="*/ 23025 w 23024"/>
                <a:gd name="connsiteY0" fmla="*/ 11513 h 23024"/>
                <a:gd name="connsiteX1" fmla="*/ 11512 w 23024"/>
                <a:gd name="connsiteY1" fmla="*/ 23025 h 23024"/>
                <a:gd name="connsiteX2" fmla="*/ 0 w 23024"/>
                <a:gd name="connsiteY2" fmla="*/ 11513 h 23024"/>
                <a:gd name="connsiteX3" fmla="*/ 11512 w 23024"/>
                <a:gd name="connsiteY3" fmla="*/ 0 h 23024"/>
                <a:gd name="connsiteX4" fmla="*/ 23025 w 23024"/>
                <a:gd name="connsiteY4" fmla="*/ 11513 h 23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24" h="23024">
                  <a:moveTo>
                    <a:pt x="23025" y="11513"/>
                  </a:moveTo>
                  <a:cubicBezTo>
                    <a:pt x="23025" y="17908"/>
                    <a:pt x="17908" y="23025"/>
                    <a:pt x="11512" y="23025"/>
                  </a:cubicBezTo>
                  <a:cubicBezTo>
                    <a:pt x="5117" y="23025"/>
                    <a:pt x="0" y="17908"/>
                    <a:pt x="0" y="11513"/>
                  </a:cubicBezTo>
                  <a:cubicBezTo>
                    <a:pt x="0" y="5117"/>
                    <a:pt x="5117" y="0"/>
                    <a:pt x="11512" y="0"/>
                  </a:cubicBezTo>
                  <a:cubicBezTo>
                    <a:pt x="17908" y="0"/>
                    <a:pt x="23025" y="5117"/>
                    <a:pt x="23025" y="11513"/>
                  </a:cubicBezTo>
                  <a:close/>
                </a:path>
              </a:pathLst>
            </a:custGeom>
            <a:grpFill/>
            <a:ln w="9835" cap="flat">
              <a:noFill/>
              <a:prstDash val="solid"/>
              <a:miter/>
            </a:ln>
          </p:spPr>
          <p:txBody>
            <a:bodyPr rtlCol="0" anchor="ctr"/>
            <a:lstStyle/>
            <a:p>
              <a:endParaRPr lang="en-IN"/>
            </a:p>
          </p:txBody>
        </p:sp>
      </p:grpSp>
      <p:sp>
        <p:nvSpPr>
          <p:cNvPr id="861" name="Freeform: Shape 860">
            <a:extLst>
              <a:ext uri="{FF2B5EF4-FFF2-40B4-BE49-F238E27FC236}">
                <a16:creationId xmlns:a16="http://schemas.microsoft.com/office/drawing/2014/main" id="{98C71800-DEBC-7C50-635C-E459388E7184}"/>
              </a:ext>
            </a:extLst>
          </p:cNvPr>
          <p:cNvSpPr/>
          <p:nvPr/>
        </p:nvSpPr>
        <p:spPr>
          <a:xfrm>
            <a:off x="8262559" y="2932215"/>
            <a:ext cx="1798110" cy="1796407"/>
          </a:xfrm>
          <a:custGeom>
            <a:avLst/>
            <a:gdLst>
              <a:gd name="connsiteX0" fmla="*/ 1507055 w 1798110"/>
              <a:gd name="connsiteY0" fmla="*/ 900028 h 1796407"/>
              <a:gd name="connsiteX1" fmla="*/ 1519945 w 1798110"/>
              <a:gd name="connsiteY1" fmla="*/ 912229 h 1796407"/>
              <a:gd name="connsiteX2" fmla="*/ 1535787 w 1798110"/>
              <a:gd name="connsiteY2" fmla="*/ 894813 h 1796407"/>
              <a:gd name="connsiteX3" fmla="*/ 1526538 w 1798110"/>
              <a:gd name="connsiteY3" fmla="*/ 849452 h 1796407"/>
              <a:gd name="connsiteX4" fmla="*/ 1544052 w 1798110"/>
              <a:gd name="connsiteY4" fmla="*/ 842368 h 1796407"/>
              <a:gd name="connsiteX5" fmla="*/ 1545233 w 1798110"/>
              <a:gd name="connsiteY5" fmla="*/ 795433 h 1796407"/>
              <a:gd name="connsiteX6" fmla="*/ 1534606 w 1798110"/>
              <a:gd name="connsiteY6" fmla="*/ 786971 h 1796407"/>
              <a:gd name="connsiteX7" fmla="*/ 1540608 w 1798110"/>
              <a:gd name="connsiteY7" fmla="*/ 773097 h 1796407"/>
              <a:gd name="connsiteX8" fmla="*/ 1590102 w 1798110"/>
              <a:gd name="connsiteY8" fmla="*/ 790612 h 1796407"/>
              <a:gd name="connsiteX9" fmla="*/ 1626114 w 1798110"/>
              <a:gd name="connsiteY9" fmla="*/ 714158 h 1796407"/>
              <a:gd name="connsiteX10" fmla="*/ 1612831 w 1798110"/>
              <a:gd name="connsiteY10" fmla="*/ 696053 h 1796407"/>
              <a:gd name="connsiteX11" fmla="*/ 1650713 w 1798110"/>
              <a:gd name="connsiteY11" fmla="*/ 650299 h 1796407"/>
              <a:gd name="connsiteX12" fmla="*/ 1649533 w 1798110"/>
              <a:gd name="connsiteY12" fmla="*/ 607497 h 1796407"/>
              <a:gd name="connsiteX13" fmla="*/ 1680232 w 1798110"/>
              <a:gd name="connsiteY13" fmla="*/ 599133 h 1796407"/>
              <a:gd name="connsiteX14" fmla="*/ 1742222 w 1798110"/>
              <a:gd name="connsiteY14" fmla="*/ 556429 h 1796407"/>
              <a:gd name="connsiteX15" fmla="*/ 1757867 w 1798110"/>
              <a:gd name="connsiteY15" fmla="*/ 574436 h 1796407"/>
              <a:gd name="connsiteX16" fmla="*/ 1779711 w 1798110"/>
              <a:gd name="connsiteY16" fmla="*/ 574436 h 1796407"/>
              <a:gd name="connsiteX17" fmla="*/ 1761212 w 1798110"/>
              <a:gd name="connsiteY17" fmla="*/ 542162 h 1796407"/>
              <a:gd name="connsiteX18" fmla="*/ 1798111 w 1798110"/>
              <a:gd name="connsiteY18" fmla="*/ 522974 h 1796407"/>
              <a:gd name="connsiteX19" fmla="*/ 1787779 w 1798110"/>
              <a:gd name="connsiteY19" fmla="*/ 506641 h 1796407"/>
              <a:gd name="connsiteX20" fmla="*/ 1773708 w 1798110"/>
              <a:gd name="connsiteY20" fmla="*/ 487159 h 1796407"/>
              <a:gd name="connsiteX21" fmla="*/ 1726872 w 1798110"/>
              <a:gd name="connsiteY21" fmla="*/ 492472 h 1796407"/>
              <a:gd name="connsiteX22" fmla="*/ 1742714 w 1798110"/>
              <a:gd name="connsiteY22" fmla="*/ 465019 h 1796407"/>
              <a:gd name="connsiteX23" fmla="*/ 1736515 w 1798110"/>
              <a:gd name="connsiteY23" fmla="*/ 451933 h 1796407"/>
              <a:gd name="connsiteX24" fmla="*/ 1715655 w 1798110"/>
              <a:gd name="connsiteY24" fmla="*/ 459509 h 1796407"/>
              <a:gd name="connsiteX25" fmla="*/ 1706701 w 1798110"/>
              <a:gd name="connsiteY25" fmla="*/ 441109 h 1796407"/>
              <a:gd name="connsiteX26" fmla="*/ 1726085 w 1798110"/>
              <a:gd name="connsiteY26" fmla="*/ 429302 h 1796407"/>
              <a:gd name="connsiteX27" fmla="*/ 1706110 w 1798110"/>
              <a:gd name="connsiteY27" fmla="*/ 419364 h 1796407"/>
              <a:gd name="connsiteX28" fmla="*/ 1673837 w 1798110"/>
              <a:gd name="connsiteY28" fmla="*/ 430482 h 1796407"/>
              <a:gd name="connsiteX29" fmla="*/ 1665768 w 1798110"/>
              <a:gd name="connsiteY29" fmla="*/ 446619 h 1796407"/>
              <a:gd name="connsiteX30" fmla="*/ 1611552 w 1798110"/>
              <a:gd name="connsiteY30" fmla="*/ 428022 h 1796407"/>
              <a:gd name="connsiteX31" fmla="*/ 1565995 w 1798110"/>
              <a:gd name="connsiteY31" fmla="*/ 469054 h 1796407"/>
              <a:gd name="connsiteX32" fmla="*/ 1538050 w 1798110"/>
              <a:gd name="connsiteY32" fmla="*/ 472596 h 1796407"/>
              <a:gd name="connsiteX33" fmla="*/ 1499577 w 1798110"/>
              <a:gd name="connsiteY33" fmla="*/ 501819 h 1796407"/>
              <a:gd name="connsiteX34" fmla="*/ 1499577 w 1798110"/>
              <a:gd name="connsiteY34" fmla="*/ 521597 h 1796407"/>
              <a:gd name="connsiteX35" fmla="*/ 1434931 w 1798110"/>
              <a:gd name="connsiteY35" fmla="*/ 532913 h 1796407"/>
              <a:gd name="connsiteX36" fmla="*/ 1436013 w 1798110"/>
              <a:gd name="connsiteY36" fmla="*/ 561743 h 1796407"/>
              <a:gd name="connsiteX37" fmla="*/ 1461498 w 1798110"/>
              <a:gd name="connsiteY37" fmla="*/ 562333 h 1796407"/>
              <a:gd name="connsiteX38" fmla="*/ 1472026 w 1798110"/>
              <a:gd name="connsiteY38" fmla="*/ 596968 h 1796407"/>
              <a:gd name="connsiteX39" fmla="*/ 1381010 w 1798110"/>
              <a:gd name="connsiteY39" fmla="*/ 604840 h 1796407"/>
              <a:gd name="connsiteX40" fmla="*/ 1353951 w 1798110"/>
              <a:gd name="connsiteY40" fmla="*/ 588113 h 1796407"/>
              <a:gd name="connsiteX41" fmla="*/ 1316462 w 1798110"/>
              <a:gd name="connsiteY41" fmla="*/ 603364 h 1796407"/>
              <a:gd name="connsiteX42" fmla="*/ 1297669 w 1798110"/>
              <a:gd name="connsiteY42" fmla="*/ 589884 h 1796407"/>
              <a:gd name="connsiteX43" fmla="*/ 1274250 w 1798110"/>
              <a:gd name="connsiteY43" fmla="*/ 594213 h 1796407"/>
              <a:gd name="connsiteX44" fmla="*/ 1254866 w 1798110"/>
              <a:gd name="connsiteY44" fmla="*/ 573550 h 1796407"/>
              <a:gd name="connsiteX45" fmla="*/ 1265493 w 1798110"/>
              <a:gd name="connsiteY45" fmla="*/ 558003 h 1796407"/>
              <a:gd name="connsiteX46" fmla="*/ 1254866 w 1798110"/>
              <a:gd name="connsiteY46" fmla="*/ 548066 h 1796407"/>
              <a:gd name="connsiteX47" fmla="*/ 1262246 w 1798110"/>
              <a:gd name="connsiteY47" fmla="*/ 525041 h 1796407"/>
              <a:gd name="connsiteX48" fmla="*/ 1247487 w 1798110"/>
              <a:gd name="connsiteY48" fmla="*/ 509101 h 1796407"/>
              <a:gd name="connsiteX49" fmla="*/ 1207243 w 1798110"/>
              <a:gd name="connsiteY49" fmla="*/ 521499 h 1796407"/>
              <a:gd name="connsiteX50" fmla="*/ 1220330 w 1798110"/>
              <a:gd name="connsiteY50" fmla="*/ 535077 h 1796407"/>
              <a:gd name="connsiteX51" fmla="*/ 1207243 w 1798110"/>
              <a:gd name="connsiteY51" fmla="*/ 568630 h 1796407"/>
              <a:gd name="connsiteX52" fmla="*/ 1218657 w 1798110"/>
              <a:gd name="connsiteY52" fmla="*/ 592245 h 1796407"/>
              <a:gd name="connsiteX53" fmla="*/ 1208522 w 1798110"/>
              <a:gd name="connsiteY53" fmla="*/ 625897 h 1796407"/>
              <a:gd name="connsiteX54" fmla="*/ 1162473 w 1798110"/>
              <a:gd name="connsiteY54" fmla="*/ 624716 h 1796407"/>
              <a:gd name="connsiteX55" fmla="*/ 1150075 w 1798110"/>
              <a:gd name="connsiteY55" fmla="*/ 607398 h 1796407"/>
              <a:gd name="connsiteX56" fmla="*/ 1127542 w 1798110"/>
              <a:gd name="connsiteY56" fmla="*/ 622158 h 1796407"/>
              <a:gd name="connsiteX57" fmla="*/ 1078640 w 1798110"/>
              <a:gd name="connsiteY57" fmla="*/ 610547 h 1796407"/>
              <a:gd name="connsiteX58" fmla="*/ 1065258 w 1798110"/>
              <a:gd name="connsiteY58" fmla="*/ 590376 h 1796407"/>
              <a:gd name="connsiteX59" fmla="*/ 1037215 w 1798110"/>
              <a:gd name="connsiteY59" fmla="*/ 604545 h 1796407"/>
              <a:gd name="connsiteX60" fmla="*/ 1000119 w 1798110"/>
              <a:gd name="connsiteY60" fmla="*/ 581520 h 1796407"/>
              <a:gd name="connsiteX61" fmla="*/ 1001989 w 1798110"/>
              <a:gd name="connsiteY61" fmla="*/ 559774 h 1796407"/>
              <a:gd name="connsiteX62" fmla="*/ 960958 w 1798110"/>
              <a:gd name="connsiteY62" fmla="*/ 545311 h 1796407"/>
              <a:gd name="connsiteX63" fmla="*/ 913433 w 1798110"/>
              <a:gd name="connsiteY63" fmla="*/ 559774 h 1796407"/>
              <a:gd name="connsiteX64" fmla="*/ 714279 w 1798110"/>
              <a:gd name="connsiteY64" fmla="*/ 461871 h 1796407"/>
              <a:gd name="connsiteX65" fmla="*/ 731302 w 1798110"/>
              <a:gd name="connsiteY65" fmla="*/ 398012 h 1796407"/>
              <a:gd name="connsiteX66" fmla="*/ 770168 w 1798110"/>
              <a:gd name="connsiteY66" fmla="*/ 365836 h 1796407"/>
              <a:gd name="connsiteX67" fmla="*/ 661736 w 1798110"/>
              <a:gd name="connsiteY67" fmla="*/ 290563 h 1796407"/>
              <a:gd name="connsiteX68" fmla="*/ 636054 w 1798110"/>
              <a:gd name="connsiteY68" fmla="*/ 292236 h 1796407"/>
              <a:gd name="connsiteX69" fmla="*/ 612144 w 1798110"/>
              <a:gd name="connsiteY69" fmla="*/ 209091 h 1796407"/>
              <a:gd name="connsiteX70" fmla="*/ 635366 w 1798110"/>
              <a:gd name="connsiteY70" fmla="*/ 202499 h 1796407"/>
              <a:gd name="connsiteX71" fmla="*/ 649338 w 1798110"/>
              <a:gd name="connsiteY71" fmla="*/ 220112 h 1796407"/>
              <a:gd name="connsiteX72" fmla="*/ 688106 w 1798110"/>
              <a:gd name="connsiteY72" fmla="*/ 199744 h 1796407"/>
              <a:gd name="connsiteX73" fmla="*/ 672363 w 1798110"/>
              <a:gd name="connsiteY73" fmla="*/ 162944 h 1796407"/>
              <a:gd name="connsiteX74" fmla="*/ 645205 w 1798110"/>
              <a:gd name="connsiteY74" fmla="*/ 148775 h 1796407"/>
              <a:gd name="connsiteX75" fmla="*/ 634480 w 1798110"/>
              <a:gd name="connsiteY75" fmla="*/ 101545 h 1796407"/>
              <a:gd name="connsiteX76" fmla="*/ 650420 w 1798110"/>
              <a:gd name="connsiteY76" fmla="*/ 96428 h 1796407"/>
              <a:gd name="connsiteX77" fmla="*/ 650420 w 1798110"/>
              <a:gd name="connsiteY77" fmla="*/ 75962 h 1796407"/>
              <a:gd name="connsiteX78" fmla="*/ 605552 w 1798110"/>
              <a:gd name="connsiteY78" fmla="*/ 58349 h 1796407"/>
              <a:gd name="connsiteX79" fmla="*/ 587348 w 1798110"/>
              <a:gd name="connsiteY79" fmla="*/ 0 h 1796407"/>
              <a:gd name="connsiteX80" fmla="*/ 528311 w 1798110"/>
              <a:gd name="connsiteY80" fmla="*/ 30109 h 1796407"/>
              <a:gd name="connsiteX81" fmla="*/ 518274 w 1798110"/>
              <a:gd name="connsiteY81" fmla="*/ 61104 h 1796407"/>
              <a:gd name="connsiteX82" fmla="*/ 449496 w 1798110"/>
              <a:gd name="connsiteY82" fmla="*/ 78028 h 1796407"/>
              <a:gd name="connsiteX83" fmla="*/ 361235 w 1798110"/>
              <a:gd name="connsiteY83" fmla="*/ 52248 h 1796407"/>
              <a:gd name="connsiteX84" fmla="*/ 331421 w 1798110"/>
              <a:gd name="connsiteY84" fmla="*/ 72813 h 1796407"/>
              <a:gd name="connsiteX85" fmla="*/ 357102 w 1798110"/>
              <a:gd name="connsiteY85" fmla="*/ 107449 h 1796407"/>
              <a:gd name="connsiteX86" fmla="*/ 343523 w 1798110"/>
              <a:gd name="connsiteY86" fmla="*/ 166486 h 1796407"/>
              <a:gd name="connsiteX87" fmla="*/ 419190 w 1798110"/>
              <a:gd name="connsiteY87" fmla="*/ 208796 h 1796407"/>
              <a:gd name="connsiteX88" fmla="*/ 424405 w 1798110"/>
              <a:gd name="connsiteY88" fmla="*/ 230246 h 1796407"/>
              <a:gd name="connsiteX89" fmla="*/ 373927 w 1798110"/>
              <a:gd name="connsiteY89" fmla="*/ 256518 h 1796407"/>
              <a:gd name="connsiteX90" fmla="*/ 381898 w 1798110"/>
              <a:gd name="connsiteY90" fmla="*/ 308176 h 1796407"/>
              <a:gd name="connsiteX91" fmla="*/ 338210 w 1798110"/>
              <a:gd name="connsiteY91" fmla="*/ 349798 h 1796407"/>
              <a:gd name="connsiteX92" fmla="*/ 344606 w 1798110"/>
              <a:gd name="connsiteY92" fmla="*/ 371051 h 1796407"/>
              <a:gd name="connsiteX93" fmla="*/ 305838 w 1798110"/>
              <a:gd name="connsiteY93" fmla="*/ 384531 h 1796407"/>
              <a:gd name="connsiteX94" fmla="*/ 274351 w 1798110"/>
              <a:gd name="connsiteY94" fmla="*/ 446816 h 1796407"/>
              <a:gd name="connsiteX95" fmla="*/ 236075 w 1798110"/>
              <a:gd name="connsiteY95" fmla="*/ 467578 h 1796407"/>
              <a:gd name="connsiteX96" fmla="*/ 209508 w 1798110"/>
              <a:gd name="connsiteY96" fmla="*/ 517169 h 1796407"/>
              <a:gd name="connsiteX97" fmla="*/ 143091 w 1798110"/>
              <a:gd name="connsiteY97" fmla="*/ 537635 h 1796407"/>
              <a:gd name="connsiteX98" fmla="*/ 122920 w 1798110"/>
              <a:gd name="connsiteY98" fmla="*/ 511167 h 1796407"/>
              <a:gd name="connsiteX99" fmla="*/ 56404 w 1798110"/>
              <a:gd name="connsiteY99" fmla="*/ 590769 h 1796407"/>
              <a:gd name="connsiteX100" fmla="*/ 80019 w 1798110"/>
              <a:gd name="connsiteY100" fmla="*/ 611728 h 1796407"/>
              <a:gd name="connsiteX101" fmla="*/ 103240 w 1798110"/>
              <a:gd name="connsiteY101" fmla="*/ 611728 h 1796407"/>
              <a:gd name="connsiteX102" fmla="*/ 96648 w 1798110"/>
              <a:gd name="connsiteY102" fmla="*/ 651086 h 1796407"/>
              <a:gd name="connsiteX103" fmla="*/ 113572 w 1798110"/>
              <a:gd name="connsiteY103" fmla="*/ 671257 h 1796407"/>
              <a:gd name="connsiteX104" fmla="*/ 134530 w 1798110"/>
              <a:gd name="connsiteY104" fmla="*/ 667223 h 1796407"/>
              <a:gd name="connsiteX105" fmla="*/ 162770 w 1798110"/>
              <a:gd name="connsiteY105" fmla="*/ 757846 h 1796407"/>
              <a:gd name="connsiteX106" fmla="*/ 134530 w 1798110"/>
              <a:gd name="connsiteY106" fmla="*/ 769456 h 1796407"/>
              <a:gd name="connsiteX107" fmla="*/ 125182 w 1798110"/>
              <a:gd name="connsiteY107" fmla="*/ 754303 h 1796407"/>
              <a:gd name="connsiteX108" fmla="*/ 95467 w 1798110"/>
              <a:gd name="connsiteY108" fmla="*/ 769456 h 1796407"/>
              <a:gd name="connsiteX109" fmla="*/ 5533 w 1798110"/>
              <a:gd name="connsiteY109" fmla="*/ 756075 h 1796407"/>
              <a:gd name="connsiteX110" fmla="*/ 5533 w 1798110"/>
              <a:gd name="connsiteY110" fmla="*/ 783527 h 1796407"/>
              <a:gd name="connsiteX111" fmla="*/ 5533 w 1798110"/>
              <a:gd name="connsiteY111" fmla="*/ 783527 h 1796407"/>
              <a:gd name="connsiteX112" fmla="*/ 1105 w 1798110"/>
              <a:gd name="connsiteY112" fmla="*/ 807634 h 1796407"/>
              <a:gd name="connsiteX113" fmla="*/ 17734 w 1798110"/>
              <a:gd name="connsiteY113" fmla="*/ 829084 h 1796407"/>
              <a:gd name="connsiteX114" fmla="*/ 54141 w 1798110"/>
              <a:gd name="connsiteY114" fmla="*/ 847878 h 1796407"/>
              <a:gd name="connsiteX115" fmla="*/ 82971 w 1798110"/>
              <a:gd name="connsiteY115" fmla="*/ 848173 h 1796407"/>
              <a:gd name="connsiteX116" fmla="*/ 110817 w 1798110"/>
              <a:gd name="connsiteY116" fmla="*/ 837842 h 1796407"/>
              <a:gd name="connsiteX117" fmla="*/ 118098 w 1798110"/>
              <a:gd name="connsiteY117" fmla="*/ 847288 h 1796407"/>
              <a:gd name="connsiteX118" fmla="*/ 103831 w 1798110"/>
              <a:gd name="connsiteY118" fmla="*/ 865589 h 1796407"/>
              <a:gd name="connsiteX119" fmla="*/ 46859 w 1798110"/>
              <a:gd name="connsiteY119" fmla="*/ 881431 h 1796407"/>
              <a:gd name="connsiteX120" fmla="*/ 37512 w 1798110"/>
              <a:gd name="connsiteY120" fmla="*/ 873756 h 1796407"/>
              <a:gd name="connsiteX121" fmla="*/ 35052 w 1798110"/>
              <a:gd name="connsiteY121" fmla="*/ 874051 h 1796407"/>
              <a:gd name="connsiteX122" fmla="*/ 36528 w 1798110"/>
              <a:gd name="connsiteY122" fmla="*/ 891664 h 1796407"/>
              <a:gd name="connsiteX123" fmla="*/ 117705 w 1798110"/>
              <a:gd name="connsiteY123" fmla="*/ 971069 h 1796407"/>
              <a:gd name="connsiteX124" fmla="*/ 157653 w 1798110"/>
              <a:gd name="connsiteY124" fmla="*/ 983861 h 1796407"/>
              <a:gd name="connsiteX125" fmla="*/ 220036 w 1798110"/>
              <a:gd name="connsiteY125" fmla="*/ 950308 h 1796407"/>
              <a:gd name="connsiteX126" fmla="*/ 230270 w 1798110"/>
              <a:gd name="connsiteY126" fmla="*/ 920986 h 1796407"/>
              <a:gd name="connsiteX127" fmla="*/ 229482 w 1798110"/>
              <a:gd name="connsiteY127" fmla="*/ 899732 h 1796407"/>
              <a:gd name="connsiteX128" fmla="*/ 242667 w 1798110"/>
              <a:gd name="connsiteY128" fmla="*/ 880447 h 1796407"/>
              <a:gd name="connsiteX129" fmla="*/ 258804 w 1798110"/>
              <a:gd name="connsiteY129" fmla="*/ 885170 h 1796407"/>
              <a:gd name="connsiteX130" fmla="*/ 257230 w 1798110"/>
              <a:gd name="connsiteY130" fmla="*/ 890188 h 1796407"/>
              <a:gd name="connsiteX131" fmla="*/ 248177 w 1798110"/>
              <a:gd name="connsiteY131" fmla="*/ 897371 h 1796407"/>
              <a:gd name="connsiteX132" fmla="*/ 252310 w 1798110"/>
              <a:gd name="connsiteY132" fmla="*/ 942437 h 1796407"/>
              <a:gd name="connsiteX133" fmla="*/ 270021 w 1798110"/>
              <a:gd name="connsiteY133" fmla="*/ 996456 h 1796407"/>
              <a:gd name="connsiteX134" fmla="*/ 256738 w 1798110"/>
              <a:gd name="connsiteY134" fmla="*/ 1046343 h 1796407"/>
              <a:gd name="connsiteX135" fmla="*/ 268349 w 1798110"/>
              <a:gd name="connsiteY135" fmla="*/ 1097115 h 1796407"/>
              <a:gd name="connsiteX136" fmla="*/ 275433 w 1798110"/>
              <a:gd name="connsiteY136" fmla="*/ 1094655 h 1796407"/>
              <a:gd name="connsiteX137" fmla="*/ 274843 w 1798110"/>
              <a:gd name="connsiteY137" fmla="*/ 1105971 h 1796407"/>
              <a:gd name="connsiteX138" fmla="*/ 270218 w 1798110"/>
              <a:gd name="connsiteY138" fmla="*/ 1122501 h 1796407"/>
              <a:gd name="connsiteX139" fmla="*/ 309970 w 1798110"/>
              <a:gd name="connsiteY139" fmla="*/ 1301483 h 1796407"/>
              <a:gd name="connsiteX140" fmla="*/ 335455 w 1798110"/>
              <a:gd name="connsiteY140" fmla="*/ 1351370 h 1796407"/>
              <a:gd name="connsiteX141" fmla="*/ 364678 w 1798110"/>
              <a:gd name="connsiteY141" fmla="*/ 1402733 h 1796407"/>
              <a:gd name="connsiteX142" fmla="*/ 393115 w 1798110"/>
              <a:gd name="connsiteY142" fmla="*/ 1508213 h 1796407"/>
              <a:gd name="connsiteX143" fmla="*/ 413483 w 1798110"/>
              <a:gd name="connsiteY143" fmla="*/ 1548949 h 1796407"/>
              <a:gd name="connsiteX144" fmla="*/ 439951 w 1798110"/>
              <a:gd name="connsiteY144" fmla="*/ 1584569 h 1796407"/>
              <a:gd name="connsiteX145" fmla="*/ 478621 w 1798110"/>
              <a:gd name="connsiteY145" fmla="*/ 1675683 h 1796407"/>
              <a:gd name="connsiteX146" fmla="*/ 481376 w 1798110"/>
              <a:gd name="connsiteY146" fmla="*/ 1683948 h 1796407"/>
              <a:gd name="connsiteX147" fmla="*/ 476850 w 1798110"/>
              <a:gd name="connsiteY147" fmla="*/ 1689065 h 1796407"/>
              <a:gd name="connsiteX148" fmla="*/ 483049 w 1798110"/>
              <a:gd name="connsiteY148" fmla="*/ 1717600 h 1796407"/>
              <a:gd name="connsiteX149" fmla="*/ 504794 w 1798110"/>
              <a:gd name="connsiteY149" fmla="*/ 1756073 h 1796407"/>
              <a:gd name="connsiteX150" fmla="*/ 542382 w 1798110"/>
              <a:gd name="connsiteY150" fmla="*/ 1792774 h 1796407"/>
              <a:gd name="connsiteX151" fmla="*/ 561077 w 1798110"/>
              <a:gd name="connsiteY151" fmla="*/ 1794644 h 1796407"/>
              <a:gd name="connsiteX152" fmla="*/ 592465 w 1798110"/>
              <a:gd name="connsiteY152" fmla="*/ 1768471 h 1796407"/>
              <a:gd name="connsiteX153" fmla="*/ 602009 w 1798110"/>
              <a:gd name="connsiteY153" fmla="*/ 1739837 h 1796407"/>
              <a:gd name="connsiteX154" fmla="*/ 636251 w 1798110"/>
              <a:gd name="connsiteY154" fmla="*/ 1725668 h 1796407"/>
              <a:gd name="connsiteX155" fmla="*/ 667639 w 1798110"/>
              <a:gd name="connsiteY155" fmla="*/ 1729211 h 1796407"/>
              <a:gd name="connsiteX156" fmla="*/ 672658 w 1798110"/>
              <a:gd name="connsiteY156" fmla="*/ 1730982 h 1796407"/>
              <a:gd name="connsiteX157" fmla="*/ 669903 w 1798110"/>
              <a:gd name="connsiteY157" fmla="*/ 1723110 h 1796407"/>
              <a:gd name="connsiteX158" fmla="*/ 642745 w 1798110"/>
              <a:gd name="connsiteY158" fmla="*/ 1710712 h 1796407"/>
              <a:gd name="connsiteX159" fmla="*/ 642549 w 1798110"/>
              <a:gd name="connsiteY159" fmla="*/ 1709335 h 1796407"/>
              <a:gd name="connsiteX160" fmla="*/ 658685 w 1798110"/>
              <a:gd name="connsiteY160" fmla="*/ 1682079 h 1796407"/>
              <a:gd name="connsiteX161" fmla="*/ 661637 w 1798110"/>
              <a:gd name="connsiteY161" fmla="*/ 1670075 h 1796407"/>
              <a:gd name="connsiteX162" fmla="*/ 673347 w 1798110"/>
              <a:gd name="connsiteY162" fmla="*/ 1657185 h 1796407"/>
              <a:gd name="connsiteX163" fmla="*/ 700208 w 1798110"/>
              <a:gd name="connsiteY163" fmla="*/ 1654430 h 1796407"/>
              <a:gd name="connsiteX164" fmla="*/ 698437 w 1798110"/>
              <a:gd name="connsiteY164" fmla="*/ 1594014 h 1796407"/>
              <a:gd name="connsiteX165" fmla="*/ 694108 w 1798110"/>
              <a:gd name="connsiteY165" fmla="*/ 1570203 h 1796407"/>
              <a:gd name="connsiteX166" fmla="*/ 705916 w 1798110"/>
              <a:gd name="connsiteY166" fmla="*/ 1540291 h 1796407"/>
              <a:gd name="connsiteX167" fmla="*/ 720085 w 1798110"/>
              <a:gd name="connsiteY167" fmla="*/ 1517561 h 1796407"/>
              <a:gd name="connsiteX168" fmla="*/ 725004 w 1798110"/>
              <a:gd name="connsiteY168" fmla="*/ 1464919 h 1796407"/>
              <a:gd name="connsiteX169" fmla="*/ 713787 w 1798110"/>
              <a:gd name="connsiteY169" fmla="*/ 1453899 h 1796407"/>
              <a:gd name="connsiteX170" fmla="*/ 718805 w 1798110"/>
              <a:gd name="connsiteY170" fmla="*/ 1451636 h 1796407"/>
              <a:gd name="connsiteX171" fmla="*/ 719888 w 1798110"/>
              <a:gd name="connsiteY171" fmla="*/ 1452423 h 1796407"/>
              <a:gd name="connsiteX172" fmla="*/ 724807 w 1798110"/>
              <a:gd name="connsiteY172" fmla="*/ 1450159 h 1796407"/>
              <a:gd name="connsiteX173" fmla="*/ 725103 w 1798110"/>
              <a:gd name="connsiteY173" fmla="*/ 1446716 h 1796407"/>
              <a:gd name="connsiteX174" fmla="*/ 719297 w 1798110"/>
              <a:gd name="connsiteY174" fmla="*/ 1429694 h 1796407"/>
              <a:gd name="connsiteX175" fmla="*/ 719002 w 1798110"/>
              <a:gd name="connsiteY175" fmla="*/ 1384825 h 1796407"/>
              <a:gd name="connsiteX176" fmla="*/ 713492 w 1798110"/>
              <a:gd name="connsiteY176" fmla="*/ 1354126 h 1796407"/>
              <a:gd name="connsiteX177" fmla="*/ 731499 w 1798110"/>
              <a:gd name="connsiteY177" fmla="*/ 1312209 h 1796407"/>
              <a:gd name="connsiteX178" fmla="*/ 755015 w 1798110"/>
              <a:gd name="connsiteY178" fmla="*/ 1306600 h 1796407"/>
              <a:gd name="connsiteX179" fmla="*/ 766035 w 1798110"/>
              <a:gd name="connsiteY179" fmla="*/ 1315062 h 1796407"/>
              <a:gd name="connsiteX180" fmla="*/ 789158 w 1798110"/>
              <a:gd name="connsiteY180" fmla="*/ 1277869 h 1796407"/>
              <a:gd name="connsiteX181" fmla="*/ 810904 w 1798110"/>
              <a:gd name="connsiteY181" fmla="*/ 1276786 h 1796407"/>
              <a:gd name="connsiteX182" fmla="*/ 851246 w 1798110"/>
              <a:gd name="connsiteY182" fmla="*/ 1258091 h 1796407"/>
              <a:gd name="connsiteX183" fmla="*/ 856068 w 1798110"/>
              <a:gd name="connsiteY183" fmla="*/ 1249727 h 1796407"/>
              <a:gd name="connsiteX184" fmla="*/ 856068 w 1798110"/>
              <a:gd name="connsiteY184" fmla="*/ 1248940 h 1796407"/>
              <a:gd name="connsiteX185" fmla="*/ 851246 w 1798110"/>
              <a:gd name="connsiteY185" fmla="*/ 1240872 h 1796407"/>
              <a:gd name="connsiteX186" fmla="*/ 849475 w 1798110"/>
              <a:gd name="connsiteY186" fmla="*/ 1233688 h 1796407"/>
              <a:gd name="connsiteX187" fmla="*/ 864530 w 1798110"/>
              <a:gd name="connsiteY187" fmla="*/ 1214797 h 1796407"/>
              <a:gd name="connsiteX188" fmla="*/ 915893 w 1798110"/>
              <a:gd name="connsiteY188" fmla="*/ 1183999 h 1796407"/>
              <a:gd name="connsiteX189" fmla="*/ 942164 w 1798110"/>
              <a:gd name="connsiteY189" fmla="*/ 1154185 h 1796407"/>
              <a:gd name="connsiteX190" fmla="*/ 959383 w 1798110"/>
              <a:gd name="connsiteY190" fmla="*/ 1146707 h 1796407"/>
              <a:gd name="connsiteX191" fmla="*/ 1029540 w 1798110"/>
              <a:gd name="connsiteY191" fmla="*/ 1069171 h 1796407"/>
              <a:gd name="connsiteX192" fmla="*/ 1055418 w 1798110"/>
              <a:gd name="connsiteY192" fmla="*/ 1053624 h 1796407"/>
              <a:gd name="connsiteX193" fmla="*/ 1097630 w 1798110"/>
              <a:gd name="connsiteY193" fmla="*/ 1039750 h 1796407"/>
              <a:gd name="connsiteX194" fmla="*/ 1109241 w 1798110"/>
              <a:gd name="connsiteY194" fmla="*/ 1028434 h 1796407"/>
              <a:gd name="connsiteX195" fmla="*/ 1129116 w 1798110"/>
              <a:gd name="connsiteY195" fmla="*/ 1006295 h 1796407"/>
              <a:gd name="connsiteX196" fmla="*/ 1129215 w 1798110"/>
              <a:gd name="connsiteY196" fmla="*/ 1000785 h 1796407"/>
              <a:gd name="connsiteX197" fmla="*/ 1140334 w 1798110"/>
              <a:gd name="connsiteY197" fmla="*/ 991635 h 1796407"/>
              <a:gd name="connsiteX198" fmla="*/ 1135611 w 1798110"/>
              <a:gd name="connsiteY198" fmla="*/ 953949 h 1796407"/>
              <a:gd name="connsiteX199" fmla="*/ 1156864 w 1798110"/>
              <a:gd name="connsiteY199" fmla="*/ 930629 h 1796407"/>
              <a:gd name="connsiteX200" fmla="*/ 1185104 w 1798110"/>
              <a:gd name="connsiteY200" fmla="*/ 925020 h 1796407"/>
              <a:gd name="connsiteX201" fmla="*/ 1205275 w 1798110"/>
              <a:gd name="connsiteY201" fmla="*/ 903964 h 1796407"/>
              <a:gd name="connsiteX202" fmla="*/ 1217968 w 1798110"/>
              <a:gd name="connsiteY202" fmla="*/ 903275 h 1796407"/>
              <a:gd name="connsiteX203" fmla="*/ 1216000 w 1798110"/>
              <a:gd name="connsiteY203" fmla="*/ 931318 h 1796407"/>
              <a:gd name="connsiteX204" fmla="*/ 1229087 w 1798110"/>
              <a:gd name="connsiteY204" fmla="*/ 930039 h 1796407"/>
              <a:gd name="connsiteX205" fmla="*/ 1246306 w 1798110"/>
              <a:gd name="connsiteY205" fmla="*/ 902980 h 1796407"/>
              <a:gd name="connsiteX206" fmla="*/ 1247684 w 1798110"/>
              <a:gd name="connsiteY206" fmla="*/ 902094 h 1796407"/>
              <a:gd name="connsiteX207" fmla="*/ 1251718 w 1798110"/>
              <a:gd name="connsiteY207" fmla="*/ 904554 h 1796407"/>
              <a:gd name="connsiteX208" fmla="*/ 1253981 w 1798110"/>
              <a:gd name="connsiteY208" fmla="*/ 931711 h 1796407"/>
              <a:gd name="connsiteX209" fmla="*/ 1275530 w 1798110"/>
              <a:gd name="connsiteY209" fmla="*/ 927776 h 1796407"/>
              <a:gd name="connsiteX210" fmla="*/ 1280253 w 1798110"/>
              <a:gd name="connsiteY210" fmla="*/ 903964 h 1796407"/>
              <a:gd name="connsiteX211" fmla="*/ 1280253 w 1798110"/>
              <a:gd name="connsiteY211" fmla="*/ 903964 h 1796407"/>
              <a:gd name="connsiteX212" fmla="*/ 1247487 w 1798110"/>
              <a:gd name="connsiteY212" fmla="*/ 808028 h 1796407"/>
              <a:gd name="connsiteX213" fmla="*/ 1260770 w 1798110"/>
              <a:gd name="connsiteY213" fmla="*/ 790612 h 1796407"/>
              <a:gd name="connsiteX214" fmla="*/ 1257720 w 1798110"/>
              <a:gd name="connsiteY214" fmla="*/ 766013 h 1796407"/>
              <a:gd name="connsiteX215" fmla="*/ 1211474 w 1798110"/>
              <a:gd name="connsiteY215" fmla="*/ 738954 h 1796407"/>
              <a:gd name="connsiteX216" fmla="*/ 1232531 w 1798110"/>
              <a:gd name="connsiteY216" fmla="*/ 710025 h 1796407"/>
              <a:gd name="connsiteX217" fmla="*/ 1266477 w 1798110"/>
              <a:gd name="connsiteY217" fmla="*/ 705303 h 1796407"/>
              <a:gd name="connsiteX218" fmla="*/ 1220330 w 1798110"/>
              <a:gd name="connsiteY218" fmla="*/ 664468 h 1796407"/>
              <a:gd name="connsiteX219" fmla="*/ 1240206 w 1798110"/>
              <a:gd name="connsiteY219" fmla="*/ 615762 h 1796407"/>
              <a:gd name="connsiteX220" fmla="*/ 1293143 w 1798110"/>
              <a:gd name="connsiteY220" fmla="*/ 653251 h 1796407"/>
              <a:gd name="connsiteX221" fmla="*/ 1302687 w 1798110"/>
              <a:gd name="connsiteY221" fmla="*/ 631899 h 1796407"/>
              <a:gd name="connsiteX222" fmla="*/ 1323547 w 1798110"/>
              <a:gd name="connsiteY222" fmla="*/ 649413 h 1796407"/>
              <a:gd name="connsiteX223" fmla="*/ 1321973 w 1798110"/>
              <a:gd name="connsiteY223" fmla="*/ 694380 h 1796407"/>
              <a:gd name="connsiteX224" fmla="*/ 1357198 w 1798110"/>
              <a:gd name="connsiteY224" fmla="*/ 705991 h 1796407"/>
              <a:gd name="connsiteX225" fmla="*/ 1463663 w 1798110"/>
              <a:gd name="connsiteY225" fmla="*/ 700776 h 1796407"/>
              <a:gd name="connsiteX226" fmla="*/ 1485211 w 1798110"/>
              <a:gd name="connsiteY226" fmla="*/ 719963 h 1796407"/>
              <a:gd name="connsiteX227" fmla="*/ 1454315 w 1798110"/>
              <a:gd name="connsiteY227" fmla="*/ 760797 h 1796407"/>
              <a:gd name="connsiteX228" fmla="*/ 1410234 w 1798110"/>
              <a:gd name="connsiteY228" fmla="*/ 778804 h 1796407"/>
              <a:gd name="connsiteX229" fmla="*/ 1413973 w 1798110"/>
              <a:gd name="connsiteY229" fmla="*/ 823279 h 1796407"/>
              <a:gd name="connsiteX230" fmla="*/ 1444082 w 1798110"/>
              <a:gd name="connsiteY230" fmla="*/ 841581 h 1796407"/>
              <a:gd name="connsiteX231" fmla="*/ 1449297 w 1798110"/>
              <a:gd name="connsiteY231" fmla="*/ 803403 h 1796407"/>
              <a:gd name="connsiteX232" fmla="*/ 1474191 w 1798110"/>
              <a:gd name="connsiteY232" fmla="*/ 802124 h 1796407"/>
              <a:gd name="connsiteX233" fmla="*/ 1493280 w 1798110"/>
              <a:gd name="connsiteY233" fmla="*/ 905341 h 1796407"/>
              <a:gd name="connsiteX234" fmla="*/ 1493280 w 1798110"/>
              <a:gd name="connsiteY234" fmla="*/ 905341 h 1796407"/>
              <a:gd name="connsiteX235" fmla="*/ 1507055 w 1798110"/>
              <a:gd name="connsiteY235" fmla="*/ 898946 h 179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798110" h="1796407">
                <a:moveTo>
                  <a:pt x="1507055" y="900028"/>
                </a:moveTo>
                <a:lnTo>
                  <a:pt x="1519945" y="912229"/>
                </a:lnTo>
                <a:lnTo>
                  <a:pt x="1535787" y="894813"/>
                </a:lnTo>
                <a:lnTo>
                  <a:pt x="1526538" y="849452"/>
                </a:lnTo>
                <a:lnTo>
                  <a:pt x="1544052" y="842368"/>
                </a:lnTo>
                <a:lnTo>
                  <a:pt x="1545233" y="795433"/>
                </a:lnTo>
                <a:lnTo>
                  <a:pt x="1534606" y="786971"/>
                </a:lnTo>
                <a:lnTo>
                  <a:pt x="1540608" y="773097"/>
                </a:lnTo>
                <a:lnTo>
                  <a:pt x="1590102" y="790612"/>
                </a:lnTo>
                <a:lnTo>
                  <a:pt x="1626114" y="714158"/>
                </a:lnTo>
                <a:lnTo>
                  <a:pt x="1612831" y="696053"/>
                </a:lnTo>
                <a:lnTo>
                  <a:pt x="1650713" y="650299"/>
                </a:lnTo>
                <a:lnTo>
                  <a:pt x="1649533" y="607497"/>
                </a:lnTo>
                <a:lnTo>
                  <a:pt x="1680232" y="599133"/>
                </a:lnTo>
                <a:lnTo>
                  <a:pt x="1742222" y="556429"/>
                </a:lnTo>
                <a:lnTo>
                  <a:pt x="1757867" y="574436"/>
                </a:lnTo>
                <a:lnTo>
                  <a:pt x="1779711" y="574436"/>
                </a:lnTo>
                <a:lnTo>
                  <a:pt x="1761212" y="542162"/>
                </a:lnTo>
                <a:lnTo>
                  <a:pt x="1798111" y="522974"/>
                </a:lnTo>
                <a:lnTo>
                  <a:pt x="1787779" y="506641"/>
                </a:lnTo>
                <a:lnTo>
                  <a:pt x="1773708" y="487159"/>
                </a:lnTo>
                <a:lnTo>
                  <a:pt x="1726872" y="492472"/>
                </a:lnTo>
                <a:lnTo>
                  <a:pt x="1742714" y="465019"/>
                </a:lnTo>
                <a:lnTo>
                  <a:pt x="1736515" y="451933"/>
                </a:lnTo>
                <a:lnTo>
                  <a:pt x="1715655" y="459509"/>
                </a:lnTo>
                <a:lnTo>
                  <a:pt x="1706701" y="441109"/>
                </a:lnTo>
                <a:lnTo>
                  <a:pt x="1726085" y="429302"/>
                </a:lnTo>
                <a:lnTo>
                  <a:pt x="1706110" y="419364"/>
                </a:lnTo>
                <a:lnTo>
                  <a:pt x="1673837" y="430482"/>
                </a:lnTo>
                <a:lnTo>
                  <a:pt x="1665768" y="446619"/>
                </a:lnTo>
                <a:lnTo>
                  <a:pt x="1611552" y="428022"/>
                </a:lnTo>
                <a:lnTo>
                  <a:pt x="1565995" y="469054"/>
                </a:lnTo>
                <a:lnTo>
                  <a:pt x="1538050" y="472596"/>
                </a:lnTo>
                <a:lnTo>
                  <a:pt x="1499577" y="501819"/>
                </a:lnTo>
                <a:lnTo>
                  <a:pt x="1499577" y="521597"/>
                </a:lnTo>
                <a:lnTo>
                  <a:pt x="1434931" y="532913"/>
                </a:lnTo>
                <a:lnTo>
                  <a:pt x="1436013" y="561743"/>
                </a:lnTo>
                <a:lnTo>
                  <a:pt x="1461498" y="562333"/>
                </a:lnTo>
                <a:lnTo>
                  <a:pt x="1472026" y="596968"/>
                </a:lnTo>
                <a:lnTo>
                  <a:pt x="1381010" y="604840"/>
                </a:lnTo>
                <a:lnTo>
                  <a:pt x="1353951" y="588113"/>
                </a:lnTo>
                <a:lnTo>
                  <a:pt x="1316462" y="603364"/>
                </a:lnTo>
                <a:lnTo>
                  <a:pt x="1297669" y="589884"/>
                </a:lnTo>
                <a:lnTo>
                  <a:pt x="1274250" y="594213"/>
                </a:lnTo>
                <a:lnTo>
                  <a:pt x="1254866" y="573550"/>
                </a:lnTo>
                <a:lnTo>
                  <a:pt x="1265493" y="558003"/>
                </a:lnTo>
                <a:lnTo>
                  <a:pt x="1254866" y="548066"/>
                </a:lnTo>
                <a:lnTo>
                  <a:pt x="1262246" y="525041"/>
                </a:lnTo>
                <a:lnTo>
                  <a:pt x="1247487" y="509101"/>
                </a:lnTo>
                <a:lnTo>
                  <a:pt x="1207243" y="521499"/>
                </a:lnTo>
                <a:lnTo>
                  <a:pt x="1220330" y="535077"/>
                </a:lnTo>
                <a:lnTo>
                  <a:pt x="1207243" y="568630"/>
                </a:lnTo>
                <a:lnTo>
                  <a:pt x="1218657" y="592245"/>
                </a:lnTo>
                <a:lnTo>
                  <a:pt x="1208522" y="625897"/>
                </a:lnTo>
                <a:lnTo>
                  <a:pt x="1162473" y="624716"/>
                </a:lnTo>
                <a:lnTo>
                  <a:pt x="1150075" y="607398"/>
                </a:lnTo>
                <a:lnTo>
                  <a:pt x="1127542" y="622158"/>
                </a:lnTo>
                <a:lnTo>
                  <a:pt x="1078640" y="610547"/>
                </a:lnTo>
                <a:lnTo>
                  <a:pt x="1065258" y="590376"/>
                </a:lnTo>
                <a:lnTo>
                  <a:pt x="1037215" y="604545"/>
                </a:lnTo>
                <a:lnTo>
                  <a:pt x="1000119" y="581520"/>
                </a:lnTo>
                <a:lnTo>
                  <a:pt x="1001989" y="559774"/>
                </a:lnTo>
                <a:lnTo>
                  <a:pt x="960958" y="545311"/>
                </a:lnTo>
                <a:lnTo>
                  <a:pt x="913433" y="559774"/>
                </a:lnTo>
                <a:lnTo>
                  <a:pt x="714279" y="461871"/>
                </a:lnTo>
                <a:lnTo>
                  <a:pt x="731302" y="398012"/>
                </a:lnTo>
                <a:lnTo>
                  <a:pt x="770168" y="365836"/>
                </a:lnTo>
                <a:lnTo>
                  <a:pt x="661736" y="290563"/>
                </a:lnTo>
                <a:lnTo>
                  <a:pt x="636054" y="292236"/>
                </a:lnTo>
                <a:lnTo>
                  <a:pt x="612144" y="209091"/>
                </a:lnTo>
                <a:lnTo>
                  <a:pt x="635366" y="202499"/>
                </a:lnTo>
                <a:lnTo>
                  <a:pt x="649338" y="220112"/>
                </a:lnTo>
                <a:lnTo>
                  <a:pt x="688106" y="199744"/>
                </a:lnTo>
                <a:lnTo>
                  <a:pt x="672363" y="162944"/>
                </a:lnTo>
                <a:lnTo>
                  <a:pt x="645205" y="148775"/>
                </a:lnTo>
                <a:lnTo>
                  <a:pt x="634480" y="101545"/>
                </a:lnTo>
                <a:lnTo>
                  <a:pt x="650420" y="96428"/>
                </a:lnTo>
                <a:lnTo>
                  <a:pt x="650420" y="75962"/>
                </a:lnTo>
                <a:lnTo>
                  <a:pt x="605552" y="58349"/>
                </a:lnTo>
                <a:lnTo>
                  <a:pt x="587348" y="0"/>
                </a:lnTo>
                <a:lnTo>
                  <a:pt x="528311" y="30109"/>
                </a:lnTo>
                <a:lnTo>
                  <a:pt x="518274" y="61104"/>
                </a:lnTo>
                <a:lnTo>
                  <a:pt x="449496" y="78028"/>
                </a:lnTo>
                <a:lnTo>
                  <a:pt x="361235" y="52248"/>
                </a:lnTo>
                <a:lnTo>
                  <a:pt x="331421" y="72813"/>
                </a:lnTo>
                <a:lnTo>
                  <a:pt x="357102" y="107449"/>
                </a:lnTo>
                <a:lnTo>
                  <a:pt x="343523" y="166486"/>
                </a:lnTo>
                <a:lnTo>
                  <a:pt x="419190" y="208796"/>
                </a:lnTo>
                <a:lnTo>
                  <a:pt x="424405" y="230246"/>
                </a:lnTo>
                <a:lnTo>
                  <a:pt x="373927" y="256518"/>
                </a:lnTo>
                <a:lnTo>
                  <a:pt x="381898" y="308176"/>
                </a:lnTo>
                <a:lnTo>
                  <a:pt x="338210" y="349798"/>
                </a:lnTo>
                <a:lnTo>
                  <a:pt x="344606" y="371051"/>
                </a:lnTo>
                <a:lnTo>
                  <a:pt x="305838" y="384531"/>
                </a:lnTo>
                <a:lnTo>
                  <a:pt x="274351" y="446816"/>
                </a:lnTo>
                <a:lnTo>
                  <a:pt x="236075" y="467578"/>
                </a:lnTo>
                <a:lnTo>
                  <a:pt x="209508" y="517169"/>
                </a:lnTo>
                <a:lnTo>
                  <a:pt x="143091" y="537635"/>
                </a:lnTo>
                <a:lnTo>
                  <a:pt x="122920" y="511167"/>
                </a:lnTo>
                <a:lnTo>
                  <a:pt x="56404" y="590769"/>
                </a:lnTo>
                <a:lnTo>
                  <a:pt x="80019" y="611728"/>
                </a:lnTo>
                <a:lnTo>
                  <a:pt x="103240" y="611728"/>
                </a:lnTo>
                <a:lnTo>
                  <a:pt x="96648" y="651086"/>
                </a:lnTo>
                <a:lnTo>
                  <a:pt x="113572" y="671257"/>
                </a:lnTo>
                <a:lnTo>
                  <a:pt x="134530" y="667223"/>
                </a:lnTo>
                <a:lnTo>
                  <a:pt x="162770" y="757846"/>
                </a:lnTo>
                <a:lnTo>
                  <a:pt x="134530" y="769456"/>
                </a:lnTo>
                <a:lnTo>
                  <a:pt x="125182" y="754303"/>
                </a:lnTo>
                <a:lnTo>
                  <a:pt x="95467" y="769456"/>
                </a:lnTo>
                <a:lnTo>
                  <a:pt x="5533" y="756075"/>
                </a:lnTo>
                <a:lnTo>
                  <a:pt x="5533" y="783527"/>
                </a:lnTo>
                <a:lnTo>
                  <a:pt x="5533" y="783527"/>
                </a:lnTo>
                <a:cubicBezTo>
                  <a:pt x="17341" y="783035"/>
                  <a:pt x="-5094" y="797794"/>
                  <a:pt x="1105" y="807634"/>
                </a:cubicBezTo>
                <a:cubicBezTo>
                  <a:pt x="7402" y="817572"/>
                  <a:pt x="11240" y="825345"/>
                  <a:pt x="17734" y="829084"/>
                </a:cubicBezTo>
                <a:cubicBezTo>
                  <a:pt x="43317" y="844041"/>
                  <a:pt x="46761" y="846992"/>
                  <a:pt x="54141" y="847878"/>
                </a:cubicBezTo>
                <a:cubicBezTo>
                  <a:pt x="72639" y="850141"/>
                  <a:pt x="76968" y="851519"/>
                  <a:pt x="82971" y="848173"/>
                </a:cubicBezTo>
                <a:cubicBezTo>
                  <a:pt x="100288" y="838629"/>
                  <a:pt x="104421" y="834890"/>
                  <a:pt x="110817" y="837842"/>
                </a:cubicBezTo>
                <a:cubicBezTo>
                  <a:pt x="112096" y="838825"/>
                  <a:pt x="121345" y="840498"/>
                  <a:pt x="118098" y="847288"/>
                </a:cubicBezTo>
                <a:cubicBezTo>
                  <a:pt x="113867" y="854176"/>
                  <a:pt x="112490" y="865589"/>
                  <a:pt x="103831" y="865589"/>
                </a:cubicBezTo>
                <a:cubicBezTo>
                  <a:pt x="75099" y="865589"/>
                  <a:pt x="52369" y="893534"/>
                  <a:pt x="46859" y="881431"/>
                </a:cubicBezTo>
                <a:cubicBezTo>
                  <a:pt x="46072" y="880447"/>
                  <a:pt x="44498" y="872772"/>
                  <a:pt x="37512" y="873756"/>
                </a:cubicBezTo>
                <a:lnTo>
                  <a:pt x="35052" y="874051"/>
                </a:lnTo>
                <a:cubicBezTo>
                  <a:pt x="27377" y="875133"/>
                  <a:pt x="31608" y="886646"/>
                  <a:pt x="36528" y="891664"/>
                </a:cubicBezTo>
                <a:cubicBezTo>
                  <a:pt x="111112" y="967429"/>
                  <a:pt x="110423" y="967921"/>
                  <a:pt x="117705" y="971069"/>
                </a:cubicBezTo>
                <a:cubicBezTo>
                  <a:pt x="148404" y="984255"/>
                  <a:pt x="151159" y="986715"/>
                  <a:pt x="157653" y="983861"/>
                </a:cubicBezTo>
                <a:cubicBezTo>
                  <a:pt x="221906" y="955818"/>
                  <a:pt x="216888" y="957196"/>
                  <a:pt x="220036" y="950308"/>
                </a:cubicBezTo>
                <a:cubicBezTo>
                  <a:pt x="227810" y="933679"/>
                  <a:pt x="231548" y="928366"/>
                  <a:pt x="230270" y="920986"/>
                </a:cubicBezTo>
                <a:cubicBezTo>
                  <a:pt x="228892" y="913311"/>
                  <a:pt x="226924" y="906325"/>
                  <a:pt x="229482" y="899732"/>
                </a:cubicBezTo>
                <a:cubicBezTo>
                  <a:pt x="233418" y="892255"/>
                  <a:pt x="234008" y="879955"/>
                  <a:pt x="242667" y="880447"/>
                </a:cubicBezTo>
                <a:cubicBezTo>
                  <a:pt x="244832" y="880841"/>
                  <a:pt x="253392" y="879660"/>
                  <a:pt x="258804" y="885170"/>
                </a:cubicBezTo>
                <a:cubicBezTo>
                  <a:pt x="259099" y="886154"/>
                  <a:pt x="262248" y="889302"/>
                  <a:pt x="257230" y="890188"/>
                </a:cubicBezTo>
                <a:cubicBezTo>
                  <a:pt x="256246" y="890582"/>
                  <a:pt x="247489" y="890188"/>
                  <a:pt x="248177" y="897371"/>
                </a:cubicBezTo>
                <a:lnTo>
                  <a:pt x="252310" y="942437"/>
                </a:lnTo>
                <a:cubicBezTo>
                  <a:pt x="253688" y="957196"/>
                  <a:pt x="273465" y="985534"/>
                  <a:pt x="270021" y="996456"/>
                </a:cubicBezTo>
                <a:cubicBezTo>
                  <a:pt x="258312" y="1033059"/>
                  <a:pt x="255557" y="1038668"/>
                  <a:pt x="256738" y="1046343"/>
                </a:cubicBezTo>
                <a:cubicBezTo>
                  <a:pt x="263527" y="1090818"/>
                  <a:pt x="263429" y="1104101"/>
                  <a:pt x="268349" y="1097115"/>
                </a:cubicBezTo>
                <a:cubicBezTo>
                  <a:pt x="269333" y="1096229"/>
                  <a:pt x="273269" y="1087866"/>
                  <a:pt x="275433" y="1094655"/>
                </a:cubicBezTo>
                <a:cubicBezTo>
                  <a:pt x="275433" y="1095639"/>
                  <a:pt x="277696" y="1100559"/>
                  <a:pt x="274843" y="1105971"/>
                </a:cubicBezTo>
                <a:cubicBezTo>
                  <a:pt x="273859" y="1108332"/>
                  <a:pt x="268349" y="1115023"/>
                  <a:pt x="270218" y="1122501"/>
                </a:cubicBezTo>
                <a:cubicBezTo>
                  <a:pt x="302984" y="1252482"/>
                  <a:pt x="297179" y="1278951"/>
                  <a:pt x="309970" y="1301483"/>
                </a:cubicBezTo>
                <a:cubicBezTo>
                  <a:pt x="329453" y="1335922"/>
                  <a:pt x="334864" y="1343105"/>
                  <a:pt x="335455" y="1351370"/>
                </a:cubicBezTo>
                <a:cubicBezTo>
                  <a:pt x="339391" y="1371345"/>
                  <a:pt x="359759" y="1387285"/>
                  <a:pt x="364678" y="1402733"/>
                </a:cubicBezTo>
                <a:cubicBezTo>
                  <a:pt x="392229" y="1489026"/>
                  <a:pt x="385735" y="1493158"/>
                  <a:pt x="393115" y="1508213"/>
                </a:cubicBezTo>
                <a:cubicBezTo>
                  <a:pt x="405808" y="1534190"/>
                  <a:pt x="411417" y="1546883"/>
                  <a:pt x="413483" y="1548949"/>
                </a:cubicBezTo>
                <a:cubicBezTo>
                  <a:pt x="428931" y="1569022"/>
                  <a:pt x="435720" y="1574139"/>
                  <a:pt x="439951" y="1584569"/>
                </a:cubicBezTo>
                <a:cubicBezTo>
                  <a:pt x="471635" y="1661613"/>
                  <a:pt x="471536" y="1668107"/>
                  <a:pt x="478621" y="1675683"/>
                </a:cubicBezTo>
                <a:cubicBezTo>
                  <a:pt x="479310" y="1676766"/>
                  <a:pt x="488657" y="1684440"/>
                  <a:pt x="481376" y="1683948"/>
                </a:cubicBezTo>
                <a:cubicBezTo>
                  <a:pt x="478424" y="1683752"/>
                  <a:pt x="476456" y="1686015"/>
                  <a:pt x="476850" y="1689065"/>
                </a:cubicBezTo>
                <a:cubicBezTo>
                  <a:pt x="479015" y="1700577"/>
                  <a:pt x="478916" y="1709630"/>
                  <a:pt x="483049" y="1717600"/>
                </a:cubicBezTo>
                <a:cubicBezTo>
                  <a:pt x="495545" y="1740625"/>
                  <a:pt x="498300" y="1749185"/>
                  <a:pt x="504794" y="1756073"/>
                </a:cubicBezTo>
                <a:cubicBezTo>
                  <a:pt x="529196" y="1781164"/>
                  <a:pt x="533132" y="1789528"/>
                  <a:pt x="542382" y="1792774"/>
                </a:cubicBezTo>
                <a:cubicBezTo>
                  <a:pt x="546317" y="1793660"/>
                  <a:pt x="554287" y="1799170"/>
                  <a:pt x="561077" y="1794644"/>
                </a:cubicBezTo>
                <a:cubicBezTo>
                  <a:pt x="579772" y="1780672"/>
                  <a:pt x="590792" y="1777916"/>
                  <a:pt x="592465" y="1768471"/>
                </a:cubicBezTo>
                <a:cubicBezTo>
                  <a:pt x="595712" y="1755581"/>
                  <a:pt x="593842" y="1743970"/>
                  <a:pt x="602009" y="1739837"/>
                </a:cubicBezTo>
                <a:cubicBezTo>
                  <a:pt x="619721" y="1731769"/>
                  <a:pt x="626904" y="1725373"/>
                  <a:pt x="636251" y="1725668"/>
                </a:cubicBezTo>
                <a:cubicBezTo>
                  <a:pt x="650519" y="1726652"/>
                  <a:pt x="659866" y="1724684"/>
                  <a:pt x="667639" y="1729211"/>
                </a:cubicBezTo>
                <a:cubicBezTo>
                  <a:pt x="667639" y="1729211"/>
                  <a:pt x="672658" y="1732163"/>
                  <a:pt x="672658" y="1730982"/>
                </a:cubicBezTo>
                <a:cubicBezTo>
                  <a:pt x="672658" y="1729801"/>
                  <a:pt x="669903" y="1723110"/>
                  <a:pt x="669903" y="1723110"/>
                </a:cubicBezTo>
                <a:cubicBezTo>
                  <a:pt x="665180" y="1711598"/>
                  <a:pt x="644123" y="1722618"/>
                  <a:pt x="642745" y="1710712"/>
                </a:cubicBezTo>
                <a:lnTo>
                  <a:pt x="642549" y="1709335"/>
                </a:lnTo>
                <a:cubicBezTo>
                  <a:pt x="641466" y="1700282"/>
                  <a:pt x="650519" y="1694083"/>
                  <a:pt x="658685" y="1682079"/>
                </a:cubicBezTo>
                <a:cubicBezTo>
                  <a:pt x="662720" y="1676864"/>
                  <a:pt x="661539" y="1671059"/>
                  <a:pt x="661637" y="1670075"/>
                </a:cubicBezTo>
                <a:cubicBezTo>
                  <a:pt x="661145" y="1662105"/>
                  <a:pt x="670591" y="1659448"/>
                  <a:pt x="673347" y="1657185"/>
                </a:cubicBezTo>
                <a:cubicBezTo>
                  <a:pt x="683875" y="1650789"/>
                  <a:pt x="700208" y="1665548"/>
                  <a:pt x="700208" y="1654430"/>
                </a:cubicBezTo>
                <a:cubicBezTo>
                  <a:pt x="699618" y="1611037"/>
                  <a:pt x="701488" y="1603362"/>
                  <a:pt x="698437" y="1594014"/>
                </a:cubicBezTo>
                <a:cubicBezTo>
                  <a:pt x="696469" y="1586340"/>
                  <a:pt x="691451" y="1578468"/>
                  <a:pt x="694108" y="1570203"/>
                </a:cubicBezTo>
                <a:cubicBezTo>
                  <a:pt x="699126" y="1556428"/>
                  <a:pt x="700504" y="1547473"/>
                  <a:pt x="705916" y="1540291"/>
                </a:cubicBezTo>
                <a:cubicBezTo>
                  <a:pt x="711327" y="1532419"/>
                  <a:pt x="718313" y="1526121"/>
                  <a:pt x="720085" y="1517561"/>
                </a:cubicBezTo>
                <a:cubicBezTo>
                  <a:pt x="725791" y="1479777"/>
                  <a:pt x="733860" y="1469052"/>
                  <a:pt x="725004" y="1464919"/>
                </a:cubicBezTo>
                <a:cubicBezTo>
                  <a:pt x="722938" y="1463542"/>
                  <a:pt x="713098" y="1461377"/>
                  <a:pt x="713787" y="1453899"/>
                </a:cubicBezTo>
                <a:cubicBezTo>
                  <a:pt x="714082" y="1450848"/>
                  <a:pt x="716346" y="1449865"/>
                  <a:pt x="718805" y="1451636"/>
                </a:cubicBezTo>
                <a:lnTo>
                  <a:pt x="719888" y="1452423"/>
                </a:lnTo>
                <a:cubicBezTo>
                  <a:pt x="722348" y="1454194"/>
                  <a:pt x="724611" y="1453210"/>
                  <a:pt x="724807" y="1450159"/>
                </a:cubicBezTo>
                <a:lnTo>
                  <a:pt x="725103" y="1446716"/>
                </a:lnTo>
                <a:cubicBezTo>
                  <a:pt x="725791" y="1438844"/>
                  <a:pt x="720380" y="1432350"/>
                  <a:pt x="719297" y="1429694"/>
                </a:cubicBezTo>
                <a:cubicBezTo>
                  <a:pt x="713689" y="1419460"/>
                  <a:pt x="722643" y="1397616"/>
                  <a:pt x="719002" y="1384825"/>
                </a:cubicBezTo>
                <a:cubicBezTo>
                  <a:pt x="715853" y="1371345"/>
                  <a:pt x="710638" y="1362784"/>
                  <a:pt x="713492" y="1354126"/>
                </a:cubicBezTo>
                <a:cubicBezTo>
                  <a:pt x="723627" y="1327165"/>
                  <a:pt x="722840" y="1316538"/>
                  <a:pt x="731499" y="1312209"/>
                </a:cubicBezTo>
                <a:cubicBezTo>
                  <a:pt x="740846" y="1308765"/>
                  <a:pt x="750194" y="1299319"/>
                  <a:pt x="755015" y="1306600"/>
                </a:cubicBezTo>
                <a:cubicBezTo>
                  <a:pt x="755901" y="1307584"/>
                  <a:pt x="759246" y="1315652"/>
                  <a:pt x="766035" y="1315062"/>
                </a:cubicBezTo>
                <a:cubicBezTo>
                  <a:pt x="774891" y="1314373"/>
                  <a:pt x="775875" y="1301975"/>
                  <a:pt x="789158" y="1277869"/>
                </a:cubicBezTo>
                <a:cubicBezTo>
                  <a:pt x="792996" y="1270095"/>
                  <a:pt x="803426" y="1276195"/>
                  <a:pt x="810904" y="1276786"/>
                </a:cubicBezTo>
                <a:cubicBezTo>
                  <a:pt x="820350" y="1278655"/>
                  <a:pt x="826746" y="1270784"/>
                  <a:pt x="851246" y="1258091"/>
                </a:cubicBezTo>
                <a:cubicBezTo>
                  <a:pt x="853903" y="1256615"/>
                  <a:pt x="856068" y="1252876"/>
                  <a:pt x="856068" y="1249727"/>
                </a:cubicBezTo>
                <a:lnTo>
                  <a:pt x="856068" y="1248940"/>
                </a:lnTo>
                <a:cubicBezTo>
                  <a:pt x="856068" y="1245890"/>
                  <a:pt x="853903" y="1242249"/>
                  <a:pt x="851246" y="1240872"/>
                </a:cubicBezTo>
                <a:cubicBezTo>
                  <a:pt x="848590" y="1239494"/>
                  <a:pt x="847802" y="1236247"/>
                  <a:pt x="849475" y="1233688"/>
                </a:cubicBezTo>
                <a:cubicBezTo>
                  <a:pt x="853903" y="1227489"/>
                  <a:pt x="857052" y="1218929"/>
                  <a:pt x="864530" y="1214797"/>
                </a:cubicBezTo>
                <a:cubicBezTo>
                  <a:pt x="901920" y="1193346"/>
                  <a:pt x="909890" y="1191772"/>
                  <a:pt x="915893" y="1183999"/>
                </a:cubicBezTo>
                <a:cubicBezTo>
                  <a:pt x="929471" y="1167468"/>
                  <a:pt x="933407" y="1158022"/>
                  <a:pt x="942164" y="1154185"/>
                </a:cubicBezTo>
                <a:lnTo>
                  <a:pt x="959383" y="1146707"/>
                </a:lnTo>
                <a:cubicBezTo>
                  <a:pt x="973749" y="1140508"/>
                  <a:pt x="1015174" y="1077731"/>
                  <a:pt x="1029540" y="1069171"/>
                </a:cubicBezTo>
                <a:lnTo>
                  <a:pt x="1055418" y="1053624"/>
                </a:lnTo>
                <a:cubicBezTo>
                  <a:pt x="1063683" y="1048704"/>
                  <a:pt x="1072244" y="1047622"/>
                  <a:pt x="1097630" y="1039750"/>
                </a:cubicBezTo>
                <a:cubicBezTo>
                  <a:pt x="1105010" y="1037585"/>
                  <a:pt x="1107765" y="1030206"/>
                  <a:pt x="1109241" y="1028434"/>
                </a:cubicBezTo>
                <a:cubicBezTo>
                  <a:pt x="1116227" y="1017513"/>
                  <a:pt x="1129412" y="1016430"/>
                  <a:pt x="1129116" y="1006295"/>
                </a:cubicBezTo>
                <a:cubicBezTo>
                  <a:pt x="1129116" y="1006295"/>
                  <a:pt x="1129018" y="1001277"/>
                  <a:pt x="1129215" y="1000785"/>
                </a:cubicBezTo>
                <a:cubicBezTo>
                  <a:pt x="1129510" y="1000293"/>
                  <a:pt x="1140334" y="991635"/>
                  <a:pt x="1140334" y="991635"/>
                </a:cubicBezTo>
                <a:cubicBezTo>
                  <a:pt x="1150272" y="983664"/>
                  <a:pt x="1127739" y="964969"/>
                  <a:pt x="1135611" y="953949"/>
                </a:cubicBezTo>
                <a:cubicBezTo>
                  <a:pt x="1144663" y="942634"/>
                  <a:pt x="1147910" y="932400"/>
                  <a:pt x="1156864" y="930629"/>
                </a:cubicBezTo>
                <a:lnTo>
                  <a:pt x="1185104" y="925020"/>
                </a:lnTo>
                <a:cubicBezTo>
                  <a:pt x="1193861" y="923249"/>
                  <a:pt x="1197305" y="913508"/>
                  <a:pt x="1205275" y="903964"/>
                </a:cubicBezTo>
                <a:cubicBezTo>
                  <a:pt x="1209605" y="898060"/>
                  <a:pt x="1219936" y="896092"/>
                  <a:pt x="1217968" y="903275"/>
                </a:cubicBezTo>
                <a:cubicBezTo>
                  <a:pt x="1215607" y="916361"/>
                  <a:pt x="1207341" y="928366"/>
                  <a:pt x="1216000" y="931318"/>
                </a:cubicBezTo>
                <a:cubicBezTo>
                  <a:pt x="1217771" y="931515"/>
                  <a:pt x="1225545" y="936729"/>
                  <a:pt x="1229087" y="930039"/>
                </a:cubicBezTo>
                <a:cubicBezTo>
                  <a:pt x="1236368" y="917444"/>
                  <a:pt x="1238631" y="907998"/>
                  <a:pt x="1246306" y="902980"/>
                </a:cubicBezTo>
                <a:lnTo>
                  <a:pt x="1247684" y="902094"/>
                </a:lnTo>
                <a:cubicBezTo>
                  <a:pt x="1250242" y="900421"/>
                  <a:pt x="1252013" y="901504"/>
                  <a:pt x="1251718" y="904554"/>
                </a:cubicBezTo>
                <a:cubicBezTo>
                  <a:pt x="1251324" y="917739"/>
                  <a:pt x="1244929" y="931023"/>
                  <a:pt x="1253981" y="931711"/>
                </a:cubicBezTo>
                <a:cubicBezTo>
                  <a:pt x="1261853" y="931318"/>
                  <a:pt x="1274054" y="936336"/>
                  <a:pt x="1275530" y="927776"/>
                </a:cubicBezTo>
                <a:cubicBezTo>
                  <a:pt x="1277891" y="917838"/>
                  <a:pt x="1277990" y="909376"/>
                  <a:pt x="1280253" y="903964"/>
                </a:cubicBezTo>
                <a:lnTo>
                  <a:pt x="1280253" y="903964"/>
                </a:lnTo>
                <a:cubicBezTo>
                  <a:pt x="1280253" y="903964"/>
                  <a:pt x="1247487" y="808028"/>
                  <a:pt x="1247487" y="808028"/>
                </a:cubicBezTo>
                <a:lnTo>
                  <a:pt x="1260770" y="790612"/>
                </a:lnTo>
                <a:lnTo>
                  <a:pt x="1257720" y="766013"/>
                </a:lnTo>
                <a:lnTo>
                  <a:pt x="1211474" y="738954"/>
                </a:lnTo>
                <a:lnTo>
                  <a:pt x="1232531" y="710025"/>
                </a:lnTo>
                <a:lnTo>
                  <a:pt x="1266477" y="705303"/>
                </a:lnTo>
                <a:lnTo>
                  <a:pt x="1220330" y="664468"/>
                </a:lnTo>
                <a:lnTo>
                  <a:pt x="1240206" y="615762"/>
                </a:lnTo>
                <a:lnTo>
                  <a:pt x="1293143" y="653251"/>
                </a:lnTo>
                <a:lnTo>
                  <a:pt x="1302687" y="631899"/>
                </a:lnTo>
                <a:lnTo>
                  <a:pt x="1323547" y="649413"/>
                </a:lnTo>
                <a:lnTo>
                  <a:pt x="1321973" y="694380"/>
                </a:lnTo>
                <a:lnTo>
                  <a:pt x="1357198" y="705991"/>
                </a:lnTo>
                <a:lnTo>
                  <a:pt x="1463663" y="700776"/>
                </a:lnTo>
                <a:lnTo>
                  <a:pt x="1485211" y="719963"/>
                </a:lnTo>
                <a:lnTo>
                  <a:pt x="1454315" y="760797"/>
                </a:lnTo>
                <a:lnTo>
                  <a:pt x="1410234" y="778804"/>
                </a:lnTo>
                <a:lnTo>
                  <a:pt x="1413973" y="823279"/>
                </a:lnTo>
                <a:lnTo>
                  <a:pt x="1444082" y="841581"/>
                </a:lnTo>
                <a:lnTo>
                  <a:pt x="1449297" y="803403"/>
                </a:lnTo>
                <a:lnTo>
                  <a:pt x="1474191" y="802124"/>
                </a:lnTo>
                <a:lnTo>
                  <a:pt x="1493280" y="905341"/>
                </a:lnTo>
                <a:lnTo>
                  <a:pt x="1493280" y="905341"/>
                </a:lnTo>
                <a:lnTo>
                  <a:pt x="1507055" y="898946"/>
                </a:lnTo>
                <a:close/>
              </a:path>
            </a:pathLst>
          </a:cu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a:endParaRPr lang="en-IN" sz="1200" kern="0">
              <a:solidFill>
                <a:srgbClr val="000000"/>
              </a:solidFill>
              <a:latin typeface="Segoe UI"/>
            </a:endParaRPr>
          </a:p>
        </p:txBody>
      </p:sp>
      <p:sp>
        <p:nvSpPr>
          <p:cNvPr id="862" name="Rectangle 861">
            <a:extLst>
              <a:ext uri="{FF2B5EF4-FFF2-40B4-BE49-F238E27FC236}">
                <a16:creationId xmlns:a16="http://schemas.microsoft.com/office/drawing/2014/main" id="{AC6A7725-928A-9EFB-5BE1-617BE2DEB997}"/>
              </a:ext>
            </a:extLst>
          </p:cNvPr>
          <p:cNvSpPr/>
          <p:nvPr/>
        </p:nvSpPr>
        <p:spPr>
          <a:xfrm>
            <a:off x="4507615" y="6280150"/>
            <a:ext cx="825058" cy="8662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4D82D235-FE5E-A0C4-37AD-63D9098BBE21}"/>
              </a:ext>
            </a:extLst>
          </p:cNvPr>
          <p:cNvSpPr>
            <a:spLocks noGrp="1"/>
          </p:cNvSpPr>
          <p:nvPr>
            <p:ph type="title"/>
          </p:nvPr>
        </p:nvSpPr>
        <p:spPr>
          <a:xfrm>
            <a:off x="279898" y="490855"/>
            <a:ext cx="11321551" cy="469265"/>
          </a:xfrm>
        </p:spPr>
        <p:txBody>
          <a:bodyPr/>
          <a:lstStyle/>
          <a:p>
            <a:r>
              <a:rPr lang="en-US"/>
              <a:t>We are a global organization providing services from 25+ Delivery Centers – </a:t>
            </a:r>
            <a:br>
              <a:rPr lang="en-US"/>
            </a:br>
            <a:r>
              <a:rPr lang="en-US"/>
              <a:t>5 Strategic Locations for Health System Support Services</a:t>
            </a:r>
          </a:p>
        </p:txBody>
      </p:sp>
      <p:sp>
        <p:nvSpPr>
          <p:cNvPr id="943" name="Rectangle: Rounded Corners 942">
            <a:extLst>
              <a:ext uri="{FF2B5EF4-FFF2-40B4-BE49-F238E27FC236}">
                <a16:creationId xmlns:a16="http://schemas.microsoft.com/office/drawing/2014/main" id="{9A7A9D45-974C-D53D-F322-135B41C45DD5}"/>
              </a:ext>
            </a:extLst>
          </p:cNvPr>
          <p:cNvSpPr/>
          <p:nvPr/>
        </p:nvSpPr>
        <p:spPr>
          <a:xfrm>
            <a:off x="189186" y="5254591"/>
            <a:ext cx="11876690" cy="1207213"/>
          </a:xfrm>
          <a:prstGeom prst="roundRect">
            <a:avLst>
              <a:gd name="adj" fmla="val 9044"/>
            </a:avLst>
          </a:prstGeom>
          <a:solidFill>
            <a:srgbClr val="FFFFFF"/>
          </a:solidFill>
          <a:ln w="6350" cap="flat" cmpd="sng" algn="ctr">
            <a:gradFill flip="none" rotWithShape="1">
              <a:gsLst>
                <a:gs pos="0">
                  <a:srgbClr val="6932BE"/>
                </a:gs>
                <a:gs pos="100000">
                  <a:srgbClr val="D1357D"/>
                </a:gs>
              </a:gsLst>
              <a:lin ang="54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grpSp>
        <p:nvGrpSpPr>
          <p:cNvPr id="944" name="Group 943">
            <a:extLst>
              <a:ext uri="{FF2B5EF4-FFF2-40B4-BE49-F238E27FC236}">
                <a16:creationId xmlns:a16="http://schemas.microsoft.com/office/drawing/2014/main" id="{81F97D1D-C493-6647-B050-E3125C0FC569}"/>
              </a:ext>
            </a:extLst>
          </p:cNvPr>
          <p:cNvGrpSpPr/>
          <p:nvPr/>
        </p:nvGrpSpPr>
        <p:grpSpPr>
          <a:xfrm>
            <a:off x="560986" y="1643996"/>
            <a:ext cx="11209328" cy="3466952"/>
            <a:chOff x="420997" y="2416432"/>
            <a:chExt cx="11209328" cy="3466952"/>
          </a:xfrm>
        </p:grpSpPr>
        <p:sp>
          <p:nvSpPr>
            <p:cNvPr id="945" name="Oval 944">
              <a:extLst>
                <a:ext uri="{FF2B5EF4-FFF2-40B4-BE49-F238E27FC236}">
                  <a16:creationId xmlns:a16="http://schemas.microsoft.com/office/drawing/2014/main" id="{C1F82FE1-21CD-B684-3A93-890AF667FC7C}"/>
                </a:ext>
              </a:extLst>
            </p:cNvPr>
            <p:cNvSpPr/>
            <p:nvPr/>
          </p:nvSpPr>
          <p:spPr>
            <a:xfrm>
              <a:off x="3314959" y="2850539"/>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46" name="TextBox 945">
              <a:extLst>
                <a:ext uri="{FF2B5EF4-FFF2-40B4-BE49-F238E27FC236}">
                  <a16:creationId xmlns:a16="http://schemas.microsoft.com/office/drawing/2014/main" id="{052171C0-89B0-D584-6638-80458515D5A4}"/>
                </a:ext>
              </a:extLst>
            </p:cNvPr>
            <p:cNvSpPr txBox="1"/>
            <p:nvPr/>
          </p:nvSpPr>
          <p:spPr>
            <a:xfrm>
              <a:off x="3048443" y="2550751"/>
              <a:ext cx="679581"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Toronto</a:t>
              </a:r>
            </a:p>
          </p:txBody>
        </p:sp>
        <p:sp>
          <p:nvSpPr>
            <p:cNvPr id="947" name="Oval 946">
              <a:extLst>
                <a:ext uri="{FF2B5EF4-FFF2-40B4-BE49-F238E27FC236}">
                  <a16:creationId xmlns:a16="http://schemas.microsoft.com/office/drawing/2014/main" id="{40159586-A08C-6536-0AEE-079B59EEDF42}"/>
                </a:ext>
              </a:extLst>
            </p:cNvPr>
            <p:cNvSpPr/>
            <p:nvPr/>
          </p:nvSpPr>
          <p:spPr>
            <a:xfrm>
              <a:off x="2734607" y="3114082"/>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48" name="TextBox 947">
              <a:extLst>
                <a:ext uri="{FF2B5EF4-FFF2-40B4-BE49-F238E27FC236}">
                  <a16:creationId xmlns:a16="http://schemas.microsoft.com/office/drawing/2014/main" id="{191E9B0F-17D5-4CDF-17C5-A3EEED6C98B6}"/>
                </a:ext>
              </a:extLst>
            </p:cNvPr>
            <p:cNvSpPr txBox="1"/>
            <p:nvPr/>
          </p:nvSpPr>
          <p:spPr>
            <a:xfrm>
              <a:off x="2136961" y="3029669"/>
              <a:ext cx="674764"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Chicago</a:t>
              </a:r>
            </a:p>
          </p:txBody>
        </p:sp>
        <p:sp>
          <p:nvSpPr>
            <p:cNvPr id="949" name="Oval 948">
              <a:extLst>
                <a:ext uri="{FF2B5EF4-FFF2-40B4-BE49-F238E27FC236}">
                  <a16:creationId xmlns:a16="http://schemas.microsoft.com/office/drawing/2014/main" id="{6804956F-8489-C325-589E-6384EA098600}"/>
                </a:ext>
              </a:extLst>
            </p:cNvPr>
            <p:cNvSpPr/>
            <p:nvPr/>
          </p:nvSpPr>
          <p:spPr>
            <a:xfrm>
              <a:off x="2048643" y="3829091"/>
              <a:ext cx="102960" cy="102960"/>
            </a:xfrm>
            <a:prstGeom prst="ellipse">
              <a:avLst/>
            </a:prstGeom>
            <a:solidFill>
              <a:srgbClr val="0079DA"/>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50" name="Oval 949">
              <a:extLst>
                <a:ext uri="{FF2B5EF4-FFF2-40B4-BE49-F238E27FC236}">
                  <a16:creationId xmlns:a16="http://schemas.microsoft.com/office/drawing/2014/main" id="{93493048-1018-1E64-21B1-36B1DD429328}"/>
                </a:ext>
              </a:extLst>
            </p:cNvPr>
            <p:cNvSpPr/>
            <p:nvPr/>
          </p:nvSpPr>
          <p:spPr>
            <a:xfrm>
              <a:off x="3195791" y="3718589"/>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51" name="Oval 950">
              <a:extLst>
                <a:ext uri="{FF2B5EF4-FFF2-40B4-BE49-F238E27FC236}">
                  <a16:creationId xmlns:a16="http://schemas.microsoft.com/office/drawing/2014/main" id="{62203601-1437-251C-CE1A-3180FD9DA1BE}"/>
                </a:ext>
              </a:extLst>
            </p:cNvPr>
            <p:cNvSpPr/>
            <p:nvPr/>
          </p:nvSpPr>
          <p:spPr>
            <a:xfrm>
              <a:off x="3636119" y="3358652"/>
              <a:ext cx="102960" cy="102960"/>
            </a:xfrm>
            <a:prstGeom prst="ellipse">
              <a:avLst/>
            </a:prstGeom>
            <a:solidFill>
              <a:srgbClr val="7030A0"/>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52" name="TextBox 951">
              <a:extLst>
                <a:ext uri="{FF2B5EF4-FFF2-40B4-BE49-F238E27FC236}">
                  <a16:creationId xmlns:a16="http://schemas.microsoft.com/office/drawing/2014/main" id="{F4894DEA-ACD9-F150-56FD-983833AD714B}"/>
                </a:ext>
              </a:extLst>
            </p:cNvPr>
            <p:cNvSpPr txBox="1"/>
            <p:nvPr/>
          </p:nvSpPr>
          <p:spPr>
            <a:xfrm>
              <a:off x="1868563" y="3537191"/>
              <a:ext cx="609684"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Dallas</a:t>
              </a:r>
            </a:p>
          </p:txBody>
        </p:sp>
        <p:sp>
          <p:nvSpPr>
            <p:cNvPr id="953" name="TextBox 952">
              <a:extLst>
                <a:ext uri="{FF2B5EF4-FFF2-40B4-BE49-F238E27FC236}">
                  <a16:creationId xmlns:a16="http://schemas.microsoft.com/office/drawing/2014/main" id="{BE1B84AA-A9F6-3C77-1A29-D4B099D78DE2}"/>
                </a:ext>
              </a:extLst>
            </p:cNvPr>
            <p:cNvSpPr txBox="1"/>
            <p:nvPr/>
          </p:nvSpPr>
          <p:spPr>
            <a:xfrm>
              <a:off x="3032528" y="3773785"/>
              <a:ext cx="1040844"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Atlanta</a:t>
              </a:r>
            </a:p>
          </p:txBody>
        </p:sp>
        <p:sp>
          <p:nvSpPr>
            <p:cNvPr id="954" name="TextBox 953">
              <a:extLst>
                <a:ext uri="{FF2B5EF4-FFF2-40B4-BE49-F238E27FC236}">
                  <a16:creationId xmlns:a16="http://schemas.microsoft.com/office/drawing/2014/main" id="{B8BA205A-2515-7850-B997-F43D983BE8FA}"/>
                </a:ext>
              </a:extLst>
            </p:cNvPr>
            <p:cNvSpPr txBox="1"/>
            <p:nvPr/>
          </p:nvSpPr>
          <p:spPr>
            <a:xfrm>
              <a:off x="3724942" y="3405665"/>
              <a:ext cx="1807859"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Washington DC</a:t>
              </a:r>
            </a:p>
          </p:txBody>
        </p:sp>
        <p:sp>
          <p:nvSpPr>
            <p:cNvPr id="955" name="Oval 954">
              <a:extLst>
                <a:ext uri="{FF2B5EF4-FFF2-40B4-BE49-F238E27FC236}">
                  <a16:creationId xmlns:a16="http://schemas.microsoft.com/office/drawing/2014/main" id="{150A8C07-A114-3C94-4B36-D9EF2355665C}"/>
                </a:ext>
              </a:extLst>
            </p:cNvPr>
            <p:cNvSpPr/>
            <p:nvPr/>
          </p:nvSpPr>
          <p:spPr>
            <a:xfrm>
              <a:off x="3108966" y="5190249"/>
              <a:ext cx="102960" cy="102960"/>
            </a:xfrm>
            <a:prstGeom prst="ellipse">
              <a:avLst/>
            </a:prstGeom>
            <a:solidFill>
              <a:srgbClr val="0079DA"/>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56" name="TextBox 955">
              <a:extLst>
                <a:ext uri="{FF2B5EF4-FFF2-40B4-BE49-F238E27FC236}">
                  <a16:creationId xmlns:a16="http://schemas.microsoft.com/office/drawing/2014/main" id="{91F00E0A-EE4C-6DA0-4D0B-24A3A33CEBED}"/>
                </a:ext>
              </a:extLst>
            </p:cNvPr>
            <p:cNvSpPr txBox="1"/>
            <p:nvPr/>
          </p:nvSpPr>
          <p:spPr>
            <a:xfrm>
              <a:off x="1648223" y="5107074"/>
              <a:ext cx="1507866" cy="263052"/>
            </a:xfrm>
            <a:prstGeom prst="rect">
              <a:avLst/>
            </a:prstGeom>
            <a:noFill/>
          </p:spPr>
          <p:txBody>
            <a:bodyPr wrap="square" lIns="0" tIns="45720" rIns="0" bIns="4572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a:rPr>
                <a:t>San Jose, Costa Rica</a:t>
              </a:r>
            </a:p>
          </p:txBody>
        </p:sp>
        <p:sp>
          <p:nvSpPr>
            <p:cNvPr id="957" name="Oval 956">
              <a:extLst>
                <a:ext uri="{FF2B5EF4-FFF2-40B4-BE49-F238E27FC236}">
                  <a16:creationId xmlns:a16="http://schemas.microsoft.com/office/drawing/2014/main" id="{AC85ECCF-1646-95D4-979C-56B598516534}"/>
                </a:ext>
              </a:extLst>
            </p:cNvPr>
            <p:cNvSpPr/>
            <p:nvPr/>
          </p:nvSpPr>
          <p:spPr>
            <a:xfrm>
              <a:off x="5775807" y="2794020"/>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58" name="Oval 957">
              <a:extLst>
                <a:ext uri="{FF2B5EF4-FFF2-40B4-BE49-F238E27FC236}">
                  <a16:creationId xmlns:a16="http://schemas.microsoft.com/office/drawing/2014/main" id="{155DA75F-BC1D-BFA5-E38B-D6FAD9E7B667}"/>
                </a:ext>
              </a:extLst>
            </p:cNvPr>
            <p:cNvSpPr/>
            <p:nvPr/>
          </p:nvSpPr>
          <p:spPr>
            <a:xfrm>
              <a:off x="5858280" y="2976554"/>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59" name="TextBox 958">
              <a:extLst>
                <a:ext uri="{FF2B5EF4-FFF2-40B4-BE49-F238E27FC236}">
                  <a16:creationId xmlns:a16="http://schemas.microsoft.com/office/drawing/2014/main" id="{F984445B-3C36-B8EB-98D3-662A9FCACB04}"/>
                </a:ext>
              </a:extLst>
            </p:cNvPr>
            <p:cNvSpPr txBox="1"/>
            <p:nvPr/>
          </p:nvSpPr>
          <p:spPr>
            <a:xfrm>
              <a:off x="5950090" y="2704199"/>
              <a:ext cx="834834"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Munich</a:t>
              </a:r>
            </a:p>
          </p:txBody>
        </p:sp>
        <p:sp>
          <p:nvSpPr>
            <p:cNvPr id="960" name="TextBox 959">
              <a:extLst>
                <a:ext uri="{FF2B5EF4-FFF2-40B4-BE49-F238E27FC236}">
                  <a16:creationId xmlns:a16="http://schemas.microsoft.com/office/drawing/2014/main" id="{13458459-D9D9-AD29-5503-B2A77BD2958B}"/>
                </a:ext>
              </a:extLst>
            </p:cNvPr>
            <p:cNvSpPr txBox="1"/>
            <p:nvPr/>
          </p:nvSpPr>
          <p:spPr>
            <a:xfrm>
              <a:off x="6037436" y="2883244"/>
              <a:ext cx="671292"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Prague</a:t>
              </a:r>
            </a:p>
          </p:txBody>
        </p:sp>
        <p:sp>
          <p:nvSpPr>
            <p:cNvPr id="961" name="Oval 960">
              <a:extLst>
                <a:ext uri="{FF2B5EF4-FFF2-40B4-BE49-F238E27FC236}">
                  <a16:creationId xmlns:a16="http://schemas.microsoft.com/office/drawing/2014/main" id="{7B60A128-67C5-F79E-ED21-8A9AFBCE1257}"/>
                </a:ext>
              </a:extLst>
            </p:cNvPr>
            <p:cNvSpPr/>
            <p:nvPr/>
          </p:nvSpPr>
          <p:spPr>
            <a:xfrm>
              <a:off x="9856188" y="4522773"/>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62" name="TextBox 961">
              <a:extLst>
                <a:ext uri="{FF2B5EF4-FFF2-40B4-BE49-F238E27FC236}">
                  <a16:creationId xmlns:a16="http://schemas.microsoft.com/office/drawing/2014/main" id="{81CC32B0-A715-7D8B-7726-8DF43D003915}"/>
                </a:ext>
              </a:extLst>
            </p:cNvPr>
            <p:cNvSpPr txBox="1"/>
            <p:nvPr/>
          </p:nvSpPr>
          <p:spPr>
            <a:xfrm>
              <a:off x="10013412" y="4420134"/>
              <a:ext cx="1616913"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Hong Kong</a:t>
              </a:r>
            </a:p>
          </p:txBody>
        </p:sp>
        <p:sp>
          <p:nvSpPr>
            <p:cNvPr id="963" name="Oval 962">
              <a:extLst>
                <a:ext uri="{FF2B5EF4-FFF2-40B4-BE49-F238E27FC236}">
                  <a16:creationId xmlns:a16="http://schemas.microsoft.com/office/drawing/2014/main" id="{FBD9553D-767F-D2A6-17C0-7B9995754802}"/>
                </a:ext>
              </a:extLst>
            </p:cNvPr>
            <p:cNvSpPr/>
            <p:nvPr/>
          </p:nvSpPr>
          <p:spPr>
            <a:xfrm>
              <a:off x="9544919" y="5514019"/>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64" name="TextBox 963">
              <a:extLst>
                <a:ext uri="{FF2B5EF4-FFF2-40B4-BE49-F238E27FC236}">
                  <a16:creationId xmlns:a16="http://schemas.microsoft.com/office/drawing/2014/main" id="{BFCFF062-4461-066D-DE1B-F63EB30689B3}"/>
                </a:ext>
              </a:extLst>
            </p:cNvPr>
            <p:cNvSpPr txBox="1"/>
            <p:nvPr/>
          </p:nvSpPr>
          <p:spPr>
            <a:xfrm>
              <a:off x="9370113" y="5620332"/>
              <a:ext cx="709831"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Malaysia</a:t>
              </a:r>
            </a:p>
          </p:txBody>
        </p:sp>
        <p:sp>
          <p:nvSpPr>
            <p:cNvPr id="965" name="Oval 964">
              <a:extLst>
                <a:ext uri="{FF2B5EF4-FFF2-40B4-BE49-F238E27FC236}">
                  <a16:creationId xmlns:a16="http://schemas.microsoft.com/office/drawing/2014/main" id="{368F7F5B-0F7B-61A9-9532-E4EA788662DB}"/>
                </a:ext>
              </a:extLst>
            </p:cNvPr>
            <p:cNvSpPr/>
            <p:nvPr/>
          </p:nvSpPr>
          <p:spPr>
            <a:xfrm>
              <a:off x="8760697" y="5246907"/>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66" name="TextBox 965">
              <a:extLst>
                <a:ext uri="{FF2B5EF4-FFF2-40B4-BE49-F238E27FC236}">
                  <a16:creationId xmlns:a16="http://schemas.microsoft.com/office/drawing/2014/main" id="{89A2D352-EBB6-518E-2713-24882B36C27D}"/>
                </a:ext>
              </a:extLst>
            </p:cNvPr>
            <p:cNvSpPr txBox="1"/>
            <p:nvPr/>
          </p:nvSpPr>
          <p:spPr>
            <a:xfrm>
              <a:off x="8809654" y="5288482"/>
              <a:ext cx="869446"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Chennai</a:t>
              </a:r>
            </a:p>
          </p:txBody>
        </p:sp>
        <p:sp>
          <p:nvSpPr>
            <p:cNvPr id="967" name="TextBox 966">
              <a:extLst>
                <a:ext uri="{FF2B5EF4-FFF2-40B4-BE49-F238E27FC236}">
                  <a16:creationId xmlns:a16="http://schemas.microsoft.com/office/drawing/2014/main" id="{9BC23093-94BE-B0B5-E672-041D88EE9EE1}"/>
                </a:ext>
              </a:extLst>
            </p:cNvPr>
            <p:cNvSpPr txBox="1"/>
            <p:nvPr/>
          </p:nvSpPr>
          <p:spPr>
            <a:xfrm>
              <a:off x="7915793" y="5175913"/>
              <a:ext cx="780055"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Bangalore</a:t>
              </a:r>
            </a:p>
          </p:txBody>
        </p:sp>
        <p:sp>
          <p:nvSpPr>
            <p:cNvPr id="968" name="Oval 967">
              <a:extLst>
                <a:ext uri="{FF2B5EF4-FFF2-40B4-BE49-F238E27FC236}">
                  <a16:creationId xmlns:a16="http://schemas.microsoft.com/office/drawing/2014/main" id="{867D2F04-6EE5-96D5-5DF5-684D9948F89A}"/>
                </a:ext>
              </a:extLst>
            </p:cNvPr>
            <p:cNvSpPr/>
            <p:nvPr/>
          </p:nvSpPr>
          <p:spPr>
            <a:xfrm>
              <a:off x="8602895" y="5217364"/>
              <a:ext cx="102960" cy="102960"/>
            </a:xfrm>
            <a:prstGeom prst="ellipse">
              <a:avLst/>
            </a:prstGeom>
            <a:solidFill>
              <a:srgbClr val="0079DA"/>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69" name="Oval 968">
              <a:extLst>
                <a:ext uri="{FF2B5EF4-FFF2-40B4-BE49-F238E27FC236}">
                  <a16:creationId xmlns:a16="http://schemas.microsoft.com/office/drawing/2014/main" id="{DDF0E750-6A95-4E2C-907D-134FC767E448}"/>
                </a:ext>
              </a:extLst>
            </p:cNvPr>
            <p:cNvSpPr/>
            <p:nvPr/>
          </p:nvSpPr>
          <p:spPr>
            <a:xfrm>
              <a:off x="8598525" y="5039914"/>
              <a:ext cx="102960" cy="102960"/>
            </a:xfrm>
            <a:prstGeom prst="ellipse">
              <a:avLst/>
            </a:prstGeom>
            <a:solidFill>
              <a:srgbClr val="0079DA"/>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70" name="TextBox 969">
              <a:extLst>
                <a:ext uri="{FF2B5EF4-FFF2-40B4-BE49-F238E27FC236}">
                  <a16:creationId xmlns:a16="http://schemas.microsoft.com/office/drawing/2014/main" id="{EC5769BF-AC46-D79F-8006-2C743C73C37E}"/>
                </a:ext>
              </a:extLst>
            </p:cNvPr>
            <p:cNvSpPr txBox="1"/>
            <p:nvPr/>
          </p:nvSpPr>
          <p:spPr>
            <a:xfrm>
              <a:off x="7837519" y="4920523"/>
              <a:ext cx="752111"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Hyderabad</a:t>
              </a:r>
            </a:p>
          </p:txBody>
        </p:sp>
        <p:sp>
          <p:nvSpPr>
            <p:cNvPr id="971" name="Oval 970">
              <a:extLst>
                <a:ext uri="{FF2B5EF4-FFF2-40B4-BE49-F238E27FC236}">
                  <a16:creationId xmlns:a16="http://schemas.microsoft.com/office/drawing/2014/main" id="{7C7AC2C2-7040-994F-F439-57015CA1BA25}"/>
                </a:ext>
              </a:extLst>
            </p:cNvPr>
            <p:cNvSpPr/>
            <p:nvPr/>
          </p:nvSpPr>
          <p:spPr>
            <a:xfrm>
              <a:off x="8453779" y="4782174"/>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72" name="TextBox 971">
              <a:extLst>
                <a:ext uri="{FF2B5EF4-FFF2-40B4-BE49-F238E27FC236}">
                  <a16:creationId xmlns:a16="http://schemas.microsoft.com/office/drawing/2014/main" id="{92EA79CD-ED10-C6D8-E178-498CD22FABCB}"/>
                </a:ext>
              </a:extLst>
            </p:cNvPr>
            <p:cNvSpPr txBox="1"/>
            <p:nvPr/>
          </p:nvSpPr>
          <p:spPr>
            <a:xfrm>
              <a:off x="8015575" y="4651559"/>
              <a:ext cx="477891" cy="277700"/>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Pune</a:t>
              </a:r>
            </a:p>
          </p:txBody>
        </p:sp>
        <p:sp>
          <p:nvSpPr>
            <p:cNvPr id="973" name="Oval 972">
              <a:extLst>
                <a:ext uri="{FF2B5EF4-FFF2-40B4-BE49-F238E27FC236}">
                  <a16:creationId xmlns:a16="http://schemas.microsoft.com/office/drawing/2014/main" id="{D253CCCB-2CBA-8556-9CFB-993878A4391B}"/>
                </a:ext>
              </a:extLst>
            </p:cNvPr>
            <p:cNvSpPr/>
            <p:nvPr/>
          </p:nvSpPr>
          <p:spPr>
            <a:xfrm>
              <a:off x="8533046" y="4239676"/>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74" name="TextBox 973">
              <a:extLst>
                <a:ext uri="{FF2B5EF4-FFF2-40B4-BE49-F238E27FC236}">
                  <a16:creationId xmlns:a16="http://schemas.microsoft.com/office/drawing/2014/main" id="{01D1241C-FDA1-D22D-7126-41E52F632FB3}"/>
                </a:ext>
              </a:extLst>
            </p:cNvPr>
            <p:cNvSpPr txBox="1"/>
            <p:nvPr/>
          </p:nvSpPr>
          <p:spPr>
            <a:xfrm>
              <a:off x="8230916" y="4278926"/>
              <a:ext cx="722060" cy="197636"/>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Gurugram</a:t>
              </a:r>
            </a:p>
          </p:txBody>
        </p:sp>
        <p:sp>
          <p:nvSpPr>
            <p:cNvPr id="975" name="Oval 974">
              <a:extLst>
                <a:ext uri="{FF2B5EF4-FFF2-40B4-BE49-F238E27FC236}">
                  <a16:creationId xmlns:a16="http://schemas.microsoft.com/office/drawing/2014/main" id="{F0D35F84-6B09-2C14-A492-3C25125A4BA8}"/>
                </a:ext>
              </a:extLst>
            </p:cNvPr>
            <p:cNvSpPr/>
            <p:nvPr/>
          </p:nvSpPr>
          <p:spPr>
            <a:xfrm>
              <a:off x="8525630" y="4105054"/>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76" name="TextBox 975">
              <a:extLst>
                <a:ext uri="{FF2B5EF4-FFF2-40B4-BE49-F238E27FC236}">
                  <a16:creationId xmlns:a16="http://schemas.microsoft.com/office/drawing/2014/main" id="{1748EE0E-CC1C-D157-2CD7-8A204CC92680}"/>
                </a:ext>
              </a:extLst>
            </p:cNvPr>
            <p:cNvSpPr txBox="1"/>
            <p:nvPr/>
          </p:nvSpPr>
          <p:spPr>
            <a:xfrm>
              <a:off x="7761356" y="4016941"/>
              <a:ext cx="820473"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New Delhi </a:t>
              </a:r>
            </a:p>
          </p:txBody>
        </p:sp>
        <p:sp>
          <p:nvSpPr>
            <p:cNvPr id="977" name="Oval 976">
              <a:extLst>
                <a:ext uri="{FF2B5EF4-FFF2-40B4-BE49-F238E27FC236}">
                  <a16:creationId xmlns:a16="http://schemas.microsoft.com/office/drawing/2014/main" id="{FBD4A052-BD32-BB1F-2300-B7BE1335444E}"/>
                </a:ext>
              </a:extLst>
            </p:cNvPr>
            <p:cNvSpPr/>
            <p:nvPr/>
          </p:nvSpPr>
          <p:spPr>
            <a:xfrm>
              <a:off x="8771778" y="5012810"/>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78" name="TextBox 977">
              <a:extLst>
                <a:ext uri="{FF2B5EF4-FFF2-40B4-BE49-F238E27FC236}">
                  <a16:creationId xmlns:a16="http://schemas.microsoft.com/office/drawing/2014/main" id="{852B517D-98E7-B03C-900E-BB51FDC7CAD2}"/>
                </a:ext>
              </a:extLst>
            </p:cNvPr>
            <p:cNvSpPr txBox="1"/>
            <p:nvPr/>
          </p:nvSpPr>
          <p:spPr>
            <a:xfrm>
              <a:off x="8892764" y="4879822"/>
              <a:ext cx="1497319"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Visakhapatnam</a:t>
              </a:r>
            </a:p>
          </p:txBody>
        </p:sp>
        <p:sp>
          <p:nvSpPr>
            <p:cNvPr id="979" name="Oval 978">
              <a:extLst>
                <a:ext uri="{FF2B5EF4-FFF2-40B4-BE49-F238E27FC236}">
                  <a16:creationId xmlns:a16="http://schemas.microsoft.com/office/drawing/2014/main" id="{36504F0A-54F5-4822-F946-88ED4366688E}"/>
                </a:ext>
              </a:extLst>
            </p:cNvPr>
            <p:cNvSpPr/>
            <p:nvPr/>
          </p:nvSpPr>
          <p:spPr>
            <a:xfrm>
              <a:off x="8641150" y="4048966"/>
              <a:ext cx="102960" cy="102960"/>
            </a:xfrm>
            <a:prstGeom prst="ellipse">
              <a:avLst/>
            </a:prstGeom>
            <a:solidFill>
              <a:srgbClr val="0079DA"/>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80" name="TextBox 979">
              <a:extLst>
                <a:ext uri="{FF2B5EF4-FFF2-40B4-BE49-F238E27FC236}">
                  <a16:creationId xmlns:a16="http://schemas.microsoft.com/office/drawing/2014/main" id="{75C7CF3D-80D8-B474-AB43-83D249FFB27B}"/>
                </a:ext>
              </a:extLst>
            </p:cNvPr>
            <p:cNvSpPr txBox="1"/>
            <p:nvPr/>
          </p:nvSpPr>
          <p:spPr>
            <a:xfrm>
              <a:off x="8339208" y="3806878"/>
              <a:ext cx="1012823" cy="197636"/>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Noida</a:t>
              </a:r>
            </a:p>
          </p:txBody>
        </p:sp>
        <p:sp>
          <p:nvSpPr>
            <p:cNvPr id="981" name="Oval 980">
              <a:extLst>
                <a:ext uri="{FF2B5EF4-FFF2-40B4-BE49-F238E27FC236}">
                  <a16:creationId xmlns:a16="http://schemas.microsoft.com/office/drawing/2014/main" id="{A9A38CB6-0F14-BF67-146B-C05CAC553E95}"/>
                </a:ext>
              </a:extLst>
            </p:cNvPr>
            <p:cNvSpPr/>
            <p:nvPr/>
          </p:nvSpPr>
          <p:spPr>
            <a:xfrm>
              <a:off x="2708765" y="4702295"/>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82" name="TextBox 981">
              <a:extLst>
                <a:ext uri="{FF2B5EF4-FFF2-40B4-BE49-F238E27FC236}">
                  <a16:creationId xmlns:a16="http://schemas.microsoft.com/office/drawing/2014/main" id="{80F1EE48-37C5-1C83-9F8A-7B8184EB030C}"/>
                </a:ext>
              </a:extLst>
            </p:cNvPr>
            <p:cNvSpPr txBox="1"/>
            <p:nvPr/>
          </p:nvSpPr>
          <p:spPr>
            <a:xfrm>
              <a:off x="2553271" y="4419652"/>
              <a:ext cx="504000"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Merida</a:t>
              </a:r>
            </a:p>
          </p:txBody>
        </p:sp>
        <p:sp>
          <p:nvSpPr>
            <p:cNvPr id="983" name="Oval 982">
              <a:extLst>
                <a:ext uri="{FF2B5EF4-FFF2-40B4-BE49-F238E27FC236}">
                  <a16:creationId xmlns:a16="http://schemas.microsoft.com/office/drawing/2014/main" id="{21EE1B5A-FA63-671A-A05E-9E8DB7A37685}"/>
                </a:ext>
              </a:extLst>
            </p:cNvPr>
            <p:cNvSpPr/>
            <p:nvPr/>
          </p:nvSpPr>
          <p:spPr>
            <a:xfrm>
              <a:off x="3923469" y="3153418"/>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84" name="TextBox 983">
              <a:extLst>
                <a:ext uri="{FF2B5EF4-FFF2-40B4-BE49-F238E27FC236}">
                  <a16:creationId xmlns:a16="http://schemas.microsoft.com/office/drawing/2014/main" id="{3E5503FA-5E43-A13F-126D-B52FA585E584}"/>
                </a:ext>
              </a:extLst>
            </p:cNvPr>
            <p:cNvSpPr txBox="1"/>
            <p:nvPr/>
          </p:nvSpPr>
          <p:spPr>
            <a:xfrm>
              <a:off x="3794512" y="2859581"/>
              <a:ext cx="1807859"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Boston</a:t>
              </a:r>
            </a:p>
          </p:txBody>
        </p:sp>
        <p:sp>
          <p:nvSpPr>
            <p:cNvPr id="985" name="Oval 984">
              <a:extLst>
                <a:ext uri="{FF2B5EF4-FFF2-40B4-BE49-F238E27FC236}">
                  <a16:creationId xmlns:a16="http://schemas.microsoft.com/office/drawing/2014/main" id="{8F71837B-75F7-F61A-BE1A-A3D62E4D7ADF}"/>
                </a:ext>
              </a:extLst>
            </p:cNvPr>
            <p:cNvSpPr/>
            <p:nvPr/>
          </p:nvSpPr>
          <p:spPr>
            <a:xfrm>
              <a:off x="9028398" y="4166597"/>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86" name="TextBox 985">
              <a:extLst>
                <a:ext uri="{FF2B5EF4-FFF2-40B4-BE49-F238E27FC236}">
                  <a16:creationId xmlns:a16="http://schemas.microsoft.com/office/drawing/2014/main" id="{13082613-706E-86F6-B9C9-6B78F021AF0D}"/>
                </a:ext>
              </a:extLst>
            </p:cNvPr>
            <p:cNvSpPr txBox="1"/>
            <p:nvPr/>
          </p:nvSpPr>
          <p:spPr>
            <a:xfrm>
              <a:off x="9161842" y="4073713"/>
              <a:ext cx="1012823" cy="197636"/>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Nepal</a:t>
              </a:r>
            </a:p>
          </p:txBody>
        </p:sp>
        <p:sp>
          <p:nvSpPr>
            <p:cNvPr id="987" name="Oval 986">
              <a:extLst>
                <a:ext uri="{FF2B5EF4-FFF2-40B4-BE49-F238E27FC236}">
                  <a16:creationId xmlns:a16="http://schemas.microsoft.com/office/drawing/2014/main" id="{500E6243-0559-6D74-7775-B24FB80B5196}"/>
                </a:ext>
              </a:extLst>
            </p:cNvPr>
            <p:cNvSpPr/>
            <p:nvPr/>
          </p:nvSpPr>
          <p:spPr>
            <a:xfrm>
              <a:off x="5387760" y="2604657"/>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88" name="TextBox 987">
              <a:extLst>
                <a:ext uri="{FF2B5EF4-FFF2-40B4-BE49-F238E27FC236}">
                  <a16:creationId xmlns:a16="http://schemas.microsoft.com/office/drawing/2014/main" id="{7B2F3E43-C46B-034E-1C47-158503401648}"/>
                </a:ext>
              </a:extLst>
            </p:cNvPr>
            <p:cNvSpPr txBox="1"/>
            <p:nvPr/>
          </p:nvSpPr>
          <p:spPr>
            <a:xfrm>
              <a:off x="4819428" y="2416432"/>
              <a:ext cx="671292"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London</a:t>
              </a:r>
            </a:p>
          </p:txBody>
        </p:sp>
        <p:sp>
          <p:nvSpPr>
            <p:cNvPr id="989" name="Oval 988">
              <a:extLst>
                <a:ext uri="{FF2B5EF4-FFF2-40B4-BE49-F238E27FC236}">
                  <a16:creationId xmlns:a16="http://schemas.microsoft.com/office/drawing/2014/main" id="{01637548-98E7-2F1A-4D70-7EA0299A326F}"/>
                </a:ext>
              </a:extLst>
            </p:cNvPr>
            <p:cNvSpPr/>
            <p:nvPr/>
          </p:nvSpPr>
          <p:spPr>
            <a:xfrm>
              <a:off x="9565294" y="5211464"/>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90" name="TextBox 989">
              <a:extLst>
                <a:ext uri="{FF2B5EF4-FFF2-40B4-BE49-F238E27FC236}">
                  <a16:creationId xmlns:a16="http://schemas.microsoft.com/office/drawing/2014/main" id="{F3124166-C190-7AA3-6AEE-E142E1DEBD8A}"/>
                </a:ext>
              </a:extLst>
            </p:cNvPr>
            <p:cNvSpPr txBox="1"/>
            <p:nvPr/>
          </p:nvSpPr>
          <p:spPr>
            <a:xfrm>
              <a:off x="9733103" y="5110203"/>
              <a:ext cx="945290"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Singapore</a:t>
              </a:r>
            </a:p>
          </p:txBody>
        </p:sp>
        <p:sp>
          <p:nvSpPr>
            <p:cNvPr id="991" name="Oval 990">
              <a:extLst>
                <a:ext uri="{FF2B5EF4-FFF2-40B4-BE49-F238E27FC236}">
                  <a16:creationId xmlns:a16="http://schemas.microsoft.com/office/drawing/2014/main" id="{65170B46-8399-47A5-9ED4-40D7BC37576E}"/>
                </a:ext>
              </a:extLst>
            </p:cNvPr>
            <p:cNvSpPr/>
            <p:nvPr/>
          </p:nvSpPr>
          <p:spPr>
            <a:xfrm>
              <a:off x="3743032" y="5578310"/>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92" name="TextBox 991">
              <a:extLst>
                <a:ext uri="{FF2B5EF4-FFF2-40B4-BE49-F238E27FC236}">
                  <a16:creationId xmlns:a16="http://schemas.microsoft.com/office/drawing/2014/main" id="{7CAEE6B0-F20F-467B-C2F3-C2204E5F2CAD}"/>
                </a:ext>
              </a:extLst>
            </p:cNvPr>
            <p:cNvSpPr txBox="1"/>
            <p:nvPr/>
          </p:nvSpPr>
          <p:spPr>
            <a:xfrm>
              <a:off x="3877735" y="5462431"/>
              <a:ext cx="1040844"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Colombia</a:t>
              </a:r>
            </a:p>
          </p:txBody>
        </p:sp>
        <p:sp>
          <p:nvSpPr>
            <p:cNvPr id="993" name="Oval 992">
              <a:extLst>
                <a:ext uri="{FF2B5EF4-FFF2-40B4-BE49-F238E27FC236}">
                  <a16:creationId xmlns:a16="http://schemas.microsoft.com/office/drawing/2014/main" id="{84543606-A5AD-E289-4BCA-20F5E166307A}"/>
                </a:ext>
              </a:extLst>
            </p:cNvPr>
            <p:cNvSpPr/>
            <p:nvPr/>
          </p:nvSpPr>
          <p:spPr>
            <a:xfrm>
              <a:off x="3454269" y="5342103"/>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94" name="TextBox 993">
              <a:extLst>
                <a:ext uri="{FF2B5EF4-FFF2-40B4-BE49-F238E27FC236}">
                  <a16:creationId xmlns:a16="http://schemas.microsoft.com/office/drawing/2014/main" id="{983E7D3E-2D24-E459-A3EF-CA1019B72280}"/>
                </a:ext>
              </a:extLst>
            </p:cNvPr>
            <p:cNvSpPr txBox="1"/>
            <p:nvPr/>
          </p:nvSpPr>
          <p:spPr>
            <a:xfrm>
              <a:off x="3467444" y="5097282"/>
              <a:ext cx="1507866"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Panama City</a:t>
              </a:r>
            </a:p>
          </p:txBody>
        </p:sp>
        <p:sp>
          <p:nvSpPr>
            <p:cNvPr id="995" name="Oval 994">
              <a:extLst>
                <a:ext uri="{FF2B5EF4-FFF2-40B4-BE49-F238E27FC236}">
                  <a16:creationId xmlns:a16="http://schemas.microsoft.com/office/drawing/2014/main" id="{19FF2DF8-16F8-5555-25C5-A67345387594}"/>
                </a:ext>
              </a:extLst>
            </p:cNvPr>
            <p:cNvSpPr/>
            <p:nvPr/>
          </p:nvSpPr>
          <p:spPr>
            <a:xfrm>
              <a:off x="1147541" y="3618891"/>
              <a:ext cx="102960" cy="102960"/>
            </a:xfrm>
            <a:prstGeom prst="ellipse">
              <a:avLst/>
            </a:prstGeom>
            <a:solidFill>
              <a:srgbClr val="0079DA"/>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96" name="TextBox 995">
              <a:extLst>
                <a:ext uri="{FF2B5EF4-FFF2-40B4-BE49-F238E27FC236}">
                  <a16:creationId xmlns:a16="http://schemas.microsoft.com/office/drawing/2014/main" id="{E4BCC12A-0969-000A-B42D-F2782433DDBF}"/>
                </a:ext>
              </a:extLst>
            </p:cNvPr>
            <p:cNvSpPr txBox="1"/>
            <p:nvPr/>
          </p:nvSpPr>
          <p:spPr>
            <a:xfrm>
              <a:off x="420997" y="3492734"/>
              <a:ext cx="679581"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Las Vegas</a:t>
              </a:r>
            </a:p>
          </p:txBody>
        </p:sp>
        <p:sp>
          <p:nvSpPr>
            <p:cNvPr id="997" name="Oval 996">
              <a:extLst>
                <a:ext uri="{FF2B5EF4-FFF2-40B4-BE49-F238E27FC236}">
                  <a16:creationId xmlns:a16="http://schemas.microsoft.com/office/drawing/2014/main" id="{97B283F2-85E2-0299-3BE5-B67C9422FF80}"/>
                </a:ext>
              </a:extLst>
            </p:cNvPr>
            <p:cNvSpPr/>
            <p:nvPr/>
          </p:nvSpPr>
          <p:spPr>
            <a:xfrm>
              <a:off x="8775496" y="3997486"/>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998" name="TextBox 997">
              <a:extLst>
                <a:ext uri="{FF2B5EF4-FFF2-40B4-BE49-F238E27FC236}">
                  <a16:creationId xmlns:a16="http://schemas.microsoft.com/office/drawing/2014/main" id="{6BB7C891-2DAC-C7B0-BAC1-2A89F32F4C44}"/>
                </a:ext>
              </a:extLst>
            </p:cNvPr>
            <p:cNvSpPr txBox="1"/>
            <p:nvPr/>
          </p:nvSpPr>
          <p:spPr>
            <a:xfrm>
              <a:off x="8863657" y="3791203"/>
              <a:ext cx="690280" cy="197636"/>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Dehradun</a:t>
              </a:r>
            </a:p>
          </p:txBody>
        </p:sp>
        <p:sp>
          <p:nvSpPr>
            <p:cNvPr id="999" name="Oval 998">
              <a:extLst>
                <a:ext uri="{FF2B5EF4-FFF2-40B4-BE49-F238E27FC236}">
                  <a16:creationId xmlns:a16="http://schemas.microsoft.com/office/drawing/2014/main" id="{261D75C3-A70D-B72D-A1ED-CB37C6AA3DC3}"/>
                </a:ext>
              </a:extLst>
            </p:cNvPr>
            <p:cNvSpPr/>
            <p:nvPr/>
          </p:nvSpPr>
          <p:spPr>
            <a:xfrm>
              <a:off x="3305135" y="4546847"/>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1000" name="TextBox 999">
              <a:extLst>
                <a:ext uri="{FF2B5EF4-FFF2-40B4-BE49-F238E27FC236}">
                  <a16:creationId xmlns:a16="http://schemas.microsoft.com/office/drawing/2014/main" id="{28F397C8-C53D-AA9E-A4F9-7766FC50CA83}"/>
                </a:ext>
              </a:extLst>
            </p:cNvPr>
            <p:cNvSpPr txBox="1"/>
            <p:nvPr/>
          </p:nvSpPr>
          <p:spPr>
            <a:xfrm>
              <a:off x="3449383" y="4419652"/>
              <a:ext cx="792000" cy="263052"/>
            </a:xfrm>
            <a:prstGeom prst="rect">
              <a:avLst/>
            </a:prstGeom>
            <a:noFill/>
          </p:spPr>
          <p:txBody>
            <a:bodyPr wrap="square" lIns="0" r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Calibri" panose="020F0502020204030204" pitchFamily="34" charset="0"/>
                  <a:cs typeface="Segoe UI" panose="020B0502040204020203" pitchFamily="34" charset="0"/>
                </a:rPr>
                <a:t>Jamaica</a:t>
              </a:r>
            </a:p>
          </p:txBody>
        </p:sp>
      </p:grpSp>
      <p:cxnSp>
        <p:nvCxnSpPr>
          <p:cNvPr id="1001" name="Straight Connector 1000">
            <a:extLst>
              <a:ext uri="{FF2B5EF4-FFF2-40B4-BE49-F238E27FC236}">
                <a16:creationId xmlns:a16="http://schemas.microsoft.com/office/drawing/2014/main" id="{5DFA5881-5FE1-60AF-E06D-E54812DED168}"/>
              </a:ext>
            </a:extLst>
          </p:cNvPr>
          <p:cNvCxnSpPr>
            <a:cxnSpLocks/>
          </p:cNvCxnSpPr>
          <p:nvPr/>
        </p:nvCxnSpPr>
        <p:spPr>
          <a:xfrm>
            <a:off x="2656590" y="5385001"/>
            <a:ext cx="0" cy="1005840"/>
          </a:xfrm>
          <a:prstGeom prst="line">
            <a:avLst/>
          </a:prstGeom>
          <a:solidFill>
            <a:srgbClr val="FFFFFF"/>
          </a:solidFill>
          <a:ln w="6350" cap="flat" cmpd="sng" algn="ctr">
            <a:gradFill flip="none" rotWithShape="1">
              <a:gsLst>
                <a:gs pos="0">
                  <a:srgbClr val="6932BE"/>
                </a:gs>
                <a:gs pos="100000">
                  <a:srgbClr val="D1357D"/>
                </a:gs>
              </a:gsLst>
              <a:lin ang="5400000" scaled="1"/>
              <a:tileRect/>
            </a:gradFill>
            <a:prstDash val="solid"/>
            <a:miter lim="800000"/>
          </a:ln>
          <a:effectLst/>
        </p:spPr>
      </p:cxnSp>
      <p:sp>
        <p:nvSpPr>
          <p:cNvPr id="1002" name="Text Placeholder 3">
            <a:extLst>
              <a:ext uri="{FF2B5EF4-FFF2-40B4-BE49-F238E27FC236}">
                <a16:creationId xmlns:a16="http://schemas.microsoft.com/office/drawing/2014/main" id="{561C28D2-755B-409D-1436-D5BC842F9A35}"/>
              </a:ext>
            </a:extLst>
          </p:cNvPr>
          <p:cNvSpPr txBox="1">
            <a:spLocks/>
          </p:cNvSpPr>
          <p:nvPr/>
        </p:nvSpPr>
        <p:spPr>
          <a:xfrm>
            <a:off x="271422" y="5617988"/>
            <a:ext cx="2665905" cy="730969"/>
          </a:xfrm>
          <a:prstGeom prst="rect">
            <a:avLst/>
          </a:prstGeom>
        </p:spPr>
        <p:txBody>
          <a:bodyPr wrap="square" lIns="0" tIns="0" rIns="0" bIns="0">
            <a:spAutoFit/>
          </a:bodyPr>
          <a:lstStyle>
            <a:lvl1pPr marL="228600" indent="-228600" algn="l" defTabSz="914400" rtl="0" eaLnBrk="1" latinLnBrk="0" hangingPunct="1">
              <a:lnSpc>
                <a:spcPct val="10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600"/>
              </a:spcAft>
              <a:buFont typeface="Courier New" panose="02070309020205020404" pitchFamily="49" charset="0"/>
              <a:buChar char="o"/>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Compliance and customer-sensitive work</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Bilingual capabilities</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Work-at-home solutions</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Tahoma" panose="020B0604030504040204" pitchFamily="34" charset="0"/>
                <a:cs typeface="Tahoma" panose="020B0604030504040204" pitchFamily="34" charset="0"/>
                <a:sym typeface="Arial"/>
              </a:rPr>
              <a:t>Population health management solutions</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Tahoma" panose="020B0604030504040204" pitchFamily="34" charset="0"/>
                <a:cs typeface="Tahoma" panose="020B0604030504040204" pitchFamily="34" charset="0"/>
                <a:sym typeface="Arial"/>
              </a:rPr>
              <a:t>Purpose-built provider engagement tools</a:t>
            </a:r>
          </a:p>
        </p:txBody>
      </p:sp>
      <p:sp>
        <p:nvSpPr>
          <p:cNvPr id="1003" name="Text Placeholder 3">
            <a:extLst>
              <a:ext uri="{FF2B5EF4-FFF2-40B4-BE49-F238E27FC236}">
                <a16:creationId xmlns:a16="http://schemas.microsoft.com/office/drawing/2014/main" id="{906B6AE8-BC3E-DFF0-DDA8-9A22F520B456}"/>
              </a:ext>
            </a:extLst>
          </p:cNvPr>
          <p:cNvSpPr txBox="1">
            <a:spLocks/>
          </p:cNvSpPr>
          <p:nvPr/>
        </p:nvSpPr>
        <p:spPr>
          <a:xfrm>
            <a:off x="2745746" y="5589696"/>
            <a:ext cx="2480470" cy="730969"/>
          </a:xfrm>
          <a:prstGeom prst="rect">
            <a:avLst/>
          </a:prstGeom>
        </p:spPr>
        <p:txBody>
          <a:bodyPr wrap="square" lIns="0" tIns="0" rIns="0" bIns="0">
            <a:spAutoFit/>
          </a:bodyPr>
          <a:lstStyle>
            <a:lvl1pPr marL="228600" indent="-228600" algn="l" defTabSz="914400" rtl="0" eaLnBrk="1" latinLnBrk="0" hangingPunct="1">
              <a:lnSpc>
                <a:spcPct val="10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600"/>
              </a:spcAft>
              <a:buFont typeface="Courier New" panose="02070309020205020404" pitchFamily="49" charset="0"/>
              <a:buChar char="o"/>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22+ years of strong back-office experience </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Ability to handle blended transactions</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Advanced automation and analytics capabilities</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Healthcare Practice office </a:t>
            </a:r>
            <a:r>
              <a:rPr kumimoji="0" lang="en-US" sz="950" b="0" i="0" u="none" strike="noStrike" kern="0" cap="none" spc="0" normalizeH="0" baseline="0" noProof="0" err="1">
                <a:ln>
                  <a:noFill/>
                </a:ln>
                <a:solidFill>
                  <a:srgbClr val="000000"/>
                </a:solidFill>
                <a:effectLst/>
                <a:uLnTx/>
                <a:uFillTx/>
                <a:latin typeface="Segoe UI"/>
                <a:ea typeface="+mn-ea"/>
                <a:cs typeface="+mn-cs"/>
                <a:sym typeface="Arial"/>
              </a:rPr>
              <a:t>CoEs</a:t>
            </a:r>
            <a:endParaRPr kumimoji="0" lang="en-US" sz="950" b="0" i="0" u="none" strike="noStrike" kern="0" cap="none" spc="0" normalizeH="0" baseline="0" noProof="0">
              <a:ln>
                <a:noFill/>
              </a:ln>
              <a:solidFill>
                <a:srgbClr val="000000"/>
              </a:solidFill>
              <a:effectLst/>
              <a:uLnTx/>
              <a:uFillTx/>
              <a:latin typeface="Segoe UI"/>
              <a:ea typeface="+mn-ea"/>
              <a:cs typeface="+mn-cs"/>
              <a:sym typeface="Arial"/>
            </a:endParaRPr>
          </a:p>
        </p:txBody>
      </p:sp>
      <p:sp>
        <p:nvSpPr>
          <p:cNvPr id="1004" name="Text Placeholder 3">
            <a:extLst>
              <a:ext uri="{FF2B5EF4-FFF2-40B4-BE49-F238E27FC236}">
                <a16:creationId xmlns:a16="http://schemas.microsoft.com/office/drawing/2014/main" id="{F7D9C1AD-53BA-9712-572D-712CE67278CB}"/>
              </a:ext>
            </a:extLst>
          </p:cNvPr>
          <p:cNvSpPr txBox="1">
            <a:spLocks/>
          </p:cNvSpPr>
          <p:nvPr/>
        </p:nvSpPr>
        <p:spPr>
          <a:xfrm>
            <a:off x="5236607" y="5607505"/>
            <a:ext cx="2217191" cy="730969"/>
          </a:xfrm>
          <a:prstGeom prst="rect">
            <a:avLst/>
          </a:prstGeom>
        </p:spPr>
        <p:txBody>
          <a:bodyPr wrap="square" lIns="0" tIns="0" rIns="0" bIns="0">
            <a:spAutoFit/>
          </a:bodyPr>
          <a:lstStyle>
            <a:lvl1pPr marL="228600" indent="-228600" algn="l" defTabSz="914400" rtl="0" eaLnBrk="1" latinLnBrk="0" hangingPunct="1">
              <a:lnSpc>
                <a:spcPct val="10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600"/>
              </a:spcAft>
              <a:buFont typeface="Courier New" panose="02070309020205020404" pitchFamily="49" charset="0"/>
              <a:buChar char="o"/>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indent="-114300">
              <a:spcAft>
                <a:spcPts val="0"/>
              </a:spcAft>
              <a:buClr>
                <a:srgbClr val="32D1E3"/>
              </a:buClr>
              <a:buFont typeface="Arial" panose="020B0604020202020204" pitchFamily="34" charset="0"/>
              <a:buChar char="•"/>
              <a:defRPr/>
            </a:pPr>
            <a:r>
              <a:rPr lang="en-US" sz="950">
                <a:solidFill>
                  <a:srgbClr val="000000"/>
                </a:solidFill>
                <a:ea typeface="Tahoma" panose="020B0604030504040204" pitchFamily="34" charset="0"/>
                <a:cs typeface="Tahoma" panose="020B0604030504040204" pitchFamily="34" charset="0"/>
                <a:sym typeface="Arial"/>
              </a:rPr>
              <a:t>Strong customer service support center </a:t>
            </a:r>
          </a:p>
          <a:p>
            <a:pPr marL="114300" indent="-114300">
              <a:spcAft>
                <a:spcPts val="0"/>
              </a:spcAft>
              <a:buClr>
                <a:srgbClr val="32D1E3"/>
              </a:buClr>
              <a:buFont typeface="Arial" panose="020B0604020202020204" pitchFamily="34" charset="0"/>
              <a:buChar char="•"/>
              <a:defRPr/>
            </a:pPr>
            <a:r>
              <a:rPr lang="en-US" sz="950">
                <a:solidFill>
                  <a:srgbClr val="000000"/>
                </a:solidFill>
                <a:ea typeface="Tahoma" panose="020B0604030504040204" pitchFamily="34" charset="0"/>
                <a:cs typeface="Tahoma" panose="020B0604030504040204" pitchFamily="34" charset="0"/>
                <a:sym typeface="Arial"/>
              </a:rPr>
              <a:t>Excellent affinity with US culture</a:t>
            </a:r>
          </a:p>
          <a:p>
            <a:pPr marL="114300" indent="-114300">
              <a:spcAft>
                <a:spcPts val="0"/>
              </a:spcAft>
              <a:buClr>
                <a:srgbClr val="32D1E3"/>
              </a:buClr>
              <a:buFont typeface="Arial" panose="020B0604020202020204" pitchFamily="34" charset="0"/>
              <a:buChar char="•"/>
              <a:defRPr/>
            </a:pPr>
            <a:r>
              <a:rPr lang="en-US" sz="950">
                <a:solidFill>
                  <a:srgbClr val="000000"/>
                </a:solidFill>
                <a:ea typeface="Tahoma" panose="020B0604030504040204" pitchFamily="34" charset="0"/>
                <a:cs typeface="Tahoma" panose="020B0604030504040204" pitchFamily="34" charset="0"/>
                <a:sym typeface="Arial"/>
              </a:rPr>
              <a:t>High end clinical capabilities</a:t>
            </a:r>
          </a:p>
          <a:p>
            <a:pPr marL="114300" indent="-114300">
              <a:spcAft>
                <a:spcPts val="0"/>
              </a:spcAft>
              <a:buClr>
                <a:srgbClr val="32D1E3"/>
              </a:buClr>
              <a:buFont typeface="Arial" panose="020B0604020202020204" pitchFamily="34" charset="0"/>
              <a:buChar char="•"/>
              <a:defRPr/>
            </a:pPr>
            <a:r>
              <a:rPr lang="en-US" sz="950">
                <a:solidFill>
                  <a:srgbClr val="000000"/>
                </a:solidFill>
                <a:ea typeface="Tahoma" panose="020B0604030504040204" pitchFamily="34" charset="0"/>
                <a:cs typeface="Tahoma" panose="020B0604030504040204" pitchFamily="34" charset="0"/>
                <a:sym typeface="Arial"/>
              </a:rPr>
              <a:t>Well educated and deep nursing talent pool</a:t>
            </a:r>
          </a:p>
        </p:txBody>
      </p:sp>
      <p:sp>
        <p:nvSpPr>
          <p:cNvPr id="1005" name="Text Placeholder 3">
            <a:extLst>
              <a:ext uri="{FF2B5EF4-FFF2-40B4-BE49-F238E27FC236}">
                <a16:creationId xmlns:a16="http://schemas.microsoft.com/office/drawing/2014/main" id="{B6FF743A-FB88-F819-FF2E-046CDB8618ED}"/>
              </a:ext>
            </a:extLst>
          </p:cNvPr>
          <p:cNvSpPr txBox="1">
            <a:spLocks/>
          </p:cNvSpPr>
          <p:nvPr/>
        </p:nvSpPr>
        <p:spPr>
          <a:xfrm>
            <a:off x="7534452" y="5617987"/>
            <a:ext cx="2129540" cy="730969"/>
          </a:xfrm>
          <a:prstGeom prst="rect">
            <a:avLst/>
          </a:prstGeom>
        </p:spPr>
        <p:txBody>
          <a:bodyPr wrap="square" lIns="0" tIns="0" rIns="0" bIns="0">
            <a:spAutoFit/>
          </a:bodyPr>
          <a:lstStyle>
            <a:lvl1pPr marL="228600" indent="-228600" algn="l" defTabSz="914400" rtl="0" eaLnBrk="1" latinLnBrk="0" hangingPunct="1">
              <a:lnSpc>
                <a:spcPct val="10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600"/>
              </a:spcAft>
              <a:buFont typeface="Courier New" panose="02070309020205020404" pitchFamily="49" charset="0"/>
              <a:buChar char="o"/>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English-speaking workforce </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1200" cap="none" spc="0" normalizeH="0" baseline="0" noProof="0">
                <a:ln>
                  <a:noFill/>
                </a:ln>
                <a:solidFill>
                  <a:srgbClr val="000000"/>
                </a:solidFill>
                <a:effectLst/>
                <a:uLnTx/>
                <a:uFillTx/>
                <a:latin typeface="Segoe UI"/>
                <a:ea typeface="Tahoma" panose="020B0604030504040204" pitchFamily="34" charset="0"/>
                <a:cs typeface="Tahoma" panose="020B0604030504040204" pitchFamily="34" charset="0"/>
                <a:sym typeface="Arial"/>
              </a:rPr>
              <a:t>Excellent affinity with US culture and time zone compatibility</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Strong customer service skills</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US" sz="950" b="0" i="0" u="none" strike="noStrike" kern="0" cap="none" spc="0" normalizeH="0" baseline="0" noProof="0">
                <a:ln>
                  <a:noFill/>
                </a:ln>
                <a:solidFill>
                  <a:srgbClr val="000000"/>
                </a:solidFill>
                <a:effectLst/>
                <a:uLnTx/>
                <a:uFillTx/>
                <a:latin typeface="Segoe UI"/>
                <a:ea typeface="+mn-ea"/>
                <a:cs typeface="+mn-cs"/>
                <a:sym typeface="Arial"/>
              </a:rPr>
              <a:t>College-degree labor force available </a:t>
            </a:r>
          </a:p>
        </p:txBody>
      </p:sp>
      <p:sp>
        <p:nvSpPr>
          <p:cNvPr id="1006" name="Text Placeholder 3">
            <a:extLst>
              <a:ext uri="{FF2B5EF4-FFF2-40B4-BE49-F238E27FC236}">
                <a16:creationId xmlns:a16="http://schemas.microsoft.com/office/drawing/2014/main" id="{3F4E2786-247C-EB2D-772C-665B02F46A04}"/>
              </a:ext>
            </a:extLst>
          </p:cNvPr>
          <p:cNvSpPr txBox="1">
            <a:spLocks/>
          </p:cNvSpPr>
          <p:nvPr/>
        </p:nvSpPr>
        <p:spPr>
          <a:xfrm>
            <a:off x="9698978" y="5600697"/>
            <a:ext cx="2318326" cy="730969"/>
          </a:xfrm>
          <a:prstGeom prst="rect">
            <a:avLst/>
          </a:prstGeom>
        </p:spPr>
        <p:txBody>
          <a:bodyPr wrap="square" lIns="0" tIns="0" rIns="0" bIns="0">
            <a:spAutoFit/>
          </a:bodyPr>
          <a:lstStyle>
            <a:lvl1pPr marL="228600" indent="-228600" algn="l" defTabSz="914400" rtl="0" eaLnBrk="1" latinLnBrk="0" hangingPunct="1">
              <a:lnSpc>
                <a:spcPct val="10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600"/>
              </a:spcAft>
              <a:buFont typeface="Courier New" panose="02070309020205020404" pitchFamily="49" charset="0"/>
              <a:buChar char="o"/>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IN" sz="950" b="0" i="0" u="none" strike="noStrike" kern="0" cap="none" spc="0" normalizeH="0" baseline="0" noProof="0">
                <a:ln>
                  <a:noFill/>
                </a:ln>
                <a:solidFill>
                  <a:srgbClr val="000000"/>
                </a:solidFill>
                <a:effectLst/>
                <a:uLnTx/>
                <a:uFillTx/>
                <a:latin typeface="Segoe UI"/>
                <a:ea typeface="+mn-ea"/>
                <a:cs typeface="+mn-cs"/>
                <a:sym typeface="Arial"/>
              </a:rPr>
              <a:t>Spanish-speaking, bilingual</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IN" sz="950" b="0" i="0" u="none" strike="noStrike" kern="0" cap="none" spc="0" normalizeH="0" baseline="0" noProof="0">
                <a:ln>
                  <a:noFill/>
                </a:ln>
                <a:solidFill>
                  <a:srgbClr val="000000"/>
                </a:solidFill>
                <a:effectLst/>
                <a:uLnTx/>
                <a:uFillTx/>
                <a:latin typeface="Segoe UI"/>
                <a:ea typeface="+mn-ea"/>
                <a:cs typeface="+mn-cs"/>
                <a:sym typeface="Arial"/>
              </a:rPr>
              <a:t>Highly committed and tenured workforce</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IN" sz="950" b="0" i="0" u="none" strike="noStrike" kern="0" cap="none" spc="0" normalizeH="0" baseline="0" noProof="0">
                <a:ln>
                  <a:noFill/>
                </a:ln>
                <a:solidFill>
                  <a:srgbClr val="000000"/>
                </a:solidFill>
                <a:effectLst/>
                <a:uLnTx/>
                <a:uFillTx/>
                <a:latin typeface="Segoe UI"/>
                <a:ea typeface="+mn-ea"/>
                <a:cs typeface="+mn-cs"/>
                <a:sym typeface="Arial"/>
              </a:rPr>
              <a:t>Capability of handling</a:t>
            </a:r>
            <a:br>
              <a:rPr kumimoji="0" lang="en-IN" sz="950" b="0" i="0" u="none" strike="noStrike" kern="0" cap="none" spc="0" normalizeH="0" baseline="0" noProof="0">
                <a:ln>
                  <a:noFill/>
                </a:ln>
                <a:solidFill>
                  <a:srgbClr val="000000"/>
                </a:solidFill>
                <a:effectLst/>
                <a:uLnTx/>
                <a:uFillTx/>
                <a:latin typeface="Segoe UI"/>
                <a:ea typeface="+mn-ea"/>
                <a:cs typeface="+mn-cs"/>
                <a:sym typeface="Arial"/>
              </a:rPr>
            </a:br>
            <a:r>
              <a:rPr kumimoji="0" lang="en-IN" sz="950" b="0" i="0" u="none" strike="noStrike" kern="0" cap="none" spc="0" normalizeH="0" baseline="0" noProof="0">
                <a:ln>
                  <a:noFill/>
                </a:ln>
                <a:solidFill>
                  <a:srgbClr val="000000"/>
                </a:solidFill>
                <a:effectLst/>
                <a:uLnTx/>
                <a:uFillTx/>
                <a:latin typeface="Segoe UI"/>
                <a:ea typeface="+mn-ea"/>
                <a:cs typeface="+mn-cs"/>
                <a:sym typeface="Arial"/>
              </a:rPr>
              <a:t>high-end work</a:t>
            </a:r>
          </a:p>
          <a:p>
            <a:pPr marL="114300" marR="0" lvl="0" indent="-114300" algn="l" defTabSz="914400" rtl="0" eaLnBrk="1" fontAlgn="auto" latinLnBrk="0" hangingPunct="1">
              <a:lnSpc>
                <a:spcPct val="100000"/>
              </a:lnSpc>
              <a:spcBef>
                <a:spcPts val="0"/>
              </a:spcBef>
              <a:spcAft>
                <a:spcPts val="0"/>
              </a:spcAft>
              <a:buClr>
                <a:srgbClr val="32D1E3"/>
              </a:buClr>
              <a:buSzTx/>
              <a:buFont typeface="Arial" panose="020B0604020202020204" pitchFamily="34" charset="0"/>
              <a:buChar char="•"/>
              <a:tabLst/>
              <a:defRPr/>
            </a:pPr>
            <a:r>
              <a:rPr kumimoji="0" lang="en-IN" sz="950" b="0" i="0" u="none" strike="noStrike" kern="0" cap="none" spc="0" normalizeH="0" baseline="0" noProof="0">
                <a:ln>
                  <a:noFill/>
                </a:ln>
                <a:solidFill>
                  <a:srgbClr val="000000"/>
                </a:solidFill>
                <a:effectLst/>
                <a:uLnTx/>
                <a:uFillTx/>
                <a:latin typeface="Segoe UI"/>
                <a:ea typeface="+mn-ea"/>
                <a:cs typeface="+mn-cs"/>
                <a:sym typeface="Arial"/>
              </a:rPr>
              <a:t>DR location for customer service</a:t>
            </a:r>
            <a:endParaRPr kumimoji="0" lang="en-US" sz="950" b="0" i="0" u="none" strike="noStrike" kern="1200" cap="none" spc="0" normalizeH="0" baseline="0" noProof="0">
              <a:ln>
                <a:noFill/>
              </a:ln>
              <a:solidFill>
                <a:srgbClr val="000000"/>
              </a:solidFill>
              <a:effectLst/>
              <a:uLnTx/>
              <a:uFillTx/>
              <a:latin typeface="Segoe UI"/>
              <a:ea typeface="Tahoma" panose="020B0604030504040204" pitchFamily="34" charset="0"/>
              <a:cs typeface="Tahoma" panose="020B0604030504040204" pitchFamily="34" charset="0"/>
              <a:sym typeface="Arial"/>
            </a:endParaRPr>
          </a:p>
        </p:txBody>
      </p:sp>
      <p:sp>
        <p:nvSpPr>
          <p:cNvPr id="1007" name="TextBox 1006">
            <a:extLst>
              <a:ext uri="{FF2B5EF4-FFF2-40B4-BE49-F238E27FC236}">
                <a16:creationId xmlns:a16="http://schemas.microsoft.com/office/drawing/2014/main" id="{39FEE096-EE23-5883-35D4-71C2431FDD39}"/>
              </a:ext>
            </a:extLst>
          </p:cNvPr>
          <p:cNvSpPr txBox="1"/>
          <p:nvPr/>
        </p:nvSpPr>
        <p:spPr>
          <a:xfrm>
            <a:off x="271422" y="5429630"/>
            <a:ext cx="1463040" cy="184666"/>
          </a:xfrm>
          <a:prstGeom prst="rect">
            <a:avLst/>
          </a:prstGeom>
          <a:noFill/>
        </p:spPr>
        <p:txBody>
          <a:bodyPr wrap="square" lIns="0" tIns="0" rIns="0" bIns="0" rtlCol="0">
            <a:spAutoFit/>
          </a:bodyPr>
          <a:lstStyle/>
          <a:p>
            <a:pPr>
              <a:spcAft>
                <a:spcPts val="600"/>
              </a:spcAft>
              <a:defRPr/>
            </a:pPr>
            <a:r>
              <a:rPr lang="en-US" sz="1200" b="1">
                <a:solidFill>
                  <a:srgbClr val="000000"/>
                </a:solidFill>
                <a:ea typeface="Tahoma" panose="020B0604030504040204" pitchFamily="34" charset="0"/>
                <a:cs typeface="Tahoma" panose="020B0604030504040204" pitchFamily="34" charset="0"/>
                <a:sym typeface="Arial"/>
              </a:rPr>
              <a:t>USA</a:t>
            </a:r>
          </a:p>
        </p:txBody>
      </p:sp>
      <p:sp>
        <p:nvSpPr>
          <p:cNvPr id="1008" name="TextBox 1007">
            <a:extLst>
              <a:ext uri="{FF2B5EF4-FFF2-40B4-BE49-F238E27FC236}">
                <a16:creationId xmlns:a16="http://schemas.microsoft.com/office/drawing/2014/main" id="{C2D7098E-ADCE-8787-CB5C-4150F4C87D05}"/>
              </a:ext>
            </a:extLst>
          </p:cNvPr>
          <p:cNvSpPr txBox="1"/>
          <p:nvPr/>
        </p:nvSpPr>
        <p:spPr>
          <a:xfrm>
            <a:off x="2713604" y="5429630"/>
            <a:ext cx="1463040" cy="184666"/>
          </a:xfrm>
          <a:prstGeom prst="rect">
            <a:avLst/>
          </a:prstGeom>
          <a:noFill/>
        </p:spPr>
        <p:txBody>
          <a:bodyPr wrap="square" lIns="0" tIns="0" rIns="0" bIns="0" rtlCol="0">
            <a:spAutoFit/>
          </a:bodyPr>
          <a:lstStyle/>
          <a:p>
            <a:pPr>
              <a:spcAft>
                <a:spcPts val="600"/>
              </a:spcAft>
              <a:defRPr/>
            </a:pPr>
            <a:r>
              <a:rPr lang="en-US" sz="1200" b="1">
                <a:solidFill>
                  <a:srgbClr val="000000"/>
                </a:solidFill>
                <a:ea typeface="Tahoma" panose="020B0604030504040204" pitchFamily="34" charset="0"/>
                <a:cs typeface="Tahoma" panose="020B0604030504040204" pitchFamily="34" charset="0"/>
                <a:sym typeface="Arial"/>
              </a:rPr>
              <a:t>India</a:t>
            </a:r>
          </a:p>
        </p:txBody>
      </p:sp>
      <p:sp>
        <p:nvSpPr>
          <p:cNvPr id="1009" name="TextBox 1008">
            <a:extLst>
              <a:ext uri="{FF2B5EF4-FFF2-40B4-BE49-F238E27FC236}">
                <a16:creationId xmlns:a16="http://schemas.microsoft.com/office/drawing/2014/main" id="{06EF821C-6DF7-5D92-F5D9-7E4692706ADE}"/>
              </a:ext>
            </a:extLst>
          </p:cNvPr>
          <p:cNvSpPr txBox="1"/>
          <p:nvPr/>
        </p:nvSpPr>
        <p:spPr>
          <a:xfrm>
            <a:off x="5192197" y="5407900"/>
            <a:ext cx="1463040" cy="184666"/>
          </a:xfrm>
          <a:prstGeom prst="rect">
            <a:avLst/>
          </a:prstGeom>
          <a:noFill/>
        </p:spPr>
        <p:txBody>
          <a:bodyPr wrap="square" lIns="0" tIns="0" rIns="0" bIns="0" rtlCol="0">
            <a:spAutoFit/>
          </a:bodyPr>
          <a:lstStyle/>
          <a:p>
            <a:pPr>
              <a:spcAft>
                <a:spcPts val="600"/>
              </a:spcAft>
              <a:defRPr/>
            </a:pPr>
            <a:r>
              <a:rPr lang="en-US" sz="1200" b="1">
                <a:solidFill>
                  <a:srgbClr val="000000"/>
                </a:solidFill>
                <a:ea typeface="Tahoma" panose="020B0604030504040204" pitchFamily="34" charset="0"/>
                <a:cs typeface="Tahoma" panose="020B0604030504040204" pitchFamily="34" charset="0"/>
                <a:sym typeface="Arial"/>
              </a:rPr>
              <a:t>Philippines</a:t>
            </a:r>
          </a:p>
        </p:txBody>
      </p:sp>
      <p:sp>
        <p:nvSpPr>
          <p:cNvPr id="1010" name="TextBox 1009">
            <a:extLst>
              <a:ext uri="{FF2B5EF4-FFF2-40B4-BE49-F238E27FC236}">
                <a16:creationId xmlns:a16="http://schemas.microsoft.com/office/drawing/2014/main" id="{9C241AA2-EBED-FB53-B6BB-55DB395B4BB5}"/>
              </a:ext>
            </a:extLst>
          </p:cNvPr>
          <p:cNvSpPr txBox="1"/>
          <p:nvPr/>
        </p:nvSpPr>
        <p:spPr>
          <a:xfrm>
            <a:off x="7517505" y="5398852"/>
            <a:ext cx="1552923" cy="184666"/>
          </a:xfrm>
          <a:prstGeom prst="rect">
            <a:avLst/>
          </a:prstGeom>
          <a:noFill/>
        </p:spPr>
        <p:txBody>
          <a:bodyPr wrap="square" lIns="0" tIns="0" rIns="0" bIns="0" rtlCol="0">
            <a:spAutoFit/>
          </a:bodyPr>
          <a:lstStyle/>
          <a:p>
            <a:pPr>
              <a:spcAft>
                <a:spcPts val="600"/>
              </a:spcAft>
              <a:defRPr/>
            </a:pPr>
            <a:r>
              <a:rPr lang="en-US" sz="1200" b="1">
                <a:solidFill>
                  <a:srgbClr val="000000"/>
                </a:solidFill>
                <a:ea typeface="Tahoma" panose="020B0604030504040204" pitchFamily="34" charset="0"/>
                <a:cs typeface="Tahoma" panose="020B0604030504040204" pitchFamily="34" charset="0"/>
                <a:sym typeface="Arial"/>
              </a:rPr>
              <a:t>Jamaica</a:t>
            </a:r>
          </a:p>
        </p:txBody>
      </p:sp>
      <p:sp>
        <p:nvSpPr>
          <p:cNvPr id="1011" name="TextBox 1010">
            <a:extLst>
              <a:ext uri="{FF2B5EF4-FFF2-40B4-BE49-F238E27FC236}">
                <a16:creationId xmlns:a16="http://schemas.microsoft.com/office/drawing/2014/main" id="{B461F61A-9494-38DE-0711-FFC12F84A2D1}"/>
              </a:ext>
            </a:extLst>
          </p:cNvPr>
          <p:cNvSpPr txBox="1"/>
          <p:nvPr/>
        </p:nvSpPr>
        <p:spPr>
          <a:xfrm>
            <a:off x="9698978" y="5394721"/>
            <a:ext cx="1346630" cy="184666"/>
          </a:xfrm>
          <a:prstGeom prst="rect">
            <a:avLst/>
          </a:prstGeom>
          <a:noFill/>
        </p:spPr>
        <p:txBody>
          <a:bodyPr wrap="square" lIns="0" tIns="0" rIns="0" bIns="0" rtlCol="0">
            <a:spAutoFit/>
          </a:bodyPr>
          <a:lstStyle/>
          <a:p>
            <a:pPr>
              <a:spcAft>
                <a:spcPts val="600"/>
              </a:spcAft>
              <a:defRPr/>
            </a:pPr>
            <a:r>
              <a:rPr lang="en-US" sz="1200" b="1">
                <a:solidFill>
                  <a:srgbClr val="000000"/>
                </a:solidFill>
                <a:ea typeface="Tahoma" panose="020B0604030504040204" pitchFamily="34" charset="0"/>
                <a:cs typeface="Tahoma" panose="020B0604030504040204" pitchFamily="34" charset="0"/>
                <a:sym typeface="Arial"/>
              </a:rPr>
              <a:t>Colombia</a:t>
            </a:r>
          </a:p>
        </p:txBody>
      </p:sp>
      <p:cxnSp>
        <p:nvCxnSpPr>
          <p:cNvPr id="1012" name="Straight Connector 1011">
            <a:extLst>
              <a:ext uri="{FF2B5EF4-FFF2-40B4-BE49-F238E27FC236}">
                <a16:creationId xmlns:a16="http://schemas.microsoft.com/office/drawing/2014/main" id="{FB0AF6E8-6119-3E6A-650F-9B4292EFBDAE}"/>
              </a:ext>
            </a:extLst>
          </p:cNvPr>
          <p:cNvCxnSpPr>
            <a:cxnSpLocks/>
          </p:cNvCxnSpPr>
          <p:nvPr/>
        </p:nvCxnSpPr>
        <p:spPr>
          <a:xfrm>
            <a:off x="5148213" y="5385001"/>
            <a:ext cx="0" cy="1005840"/>
          </a:xfrm>
          <a:prstGeom prst="line">
            <a:avLst/>
          </a:prstGeom>
          <a:solidFill>
            <a:srgbClr val="FFFFFF"/>
          </a:solidFill>
          <a:ln w="6350" cap="flat" cmpd="sng" algn="ctr">
            <a:gradFill flip="none" rotWithShape="1">
              <a:gsLst>
                <a:gs pos="0">
                  <a:srgbClr val="6932BE"/>
                </a:gs>
                <a:gs pos="100000">
                  <a:srgbClr val="D1357D"/>
                </a:gs>
              </a:gsLst>
              <a:lin ang="5400000" scaled="1"/>
              <a:tileRect/>
            </a:gradFill>
            <a:prstDash val="solid"/>
            <a:miter lim="800000"/>
          </a:ln>
          <a:effectLst/>
        </p:spPr>
      </p:cxnSp>
      <p:cxnSp>
        <p:nvCxnSpPr>
          <p:cNvPr id="1013" name="Straight Connector 1012">
            <a:extLst>
              <a:ext uri="{FF2B5EF4-FFF2-40B4-BE49-F238E27FC236}">
                <a16:creationId xmlns:a16="http://schemas.microsoft.com/office/drawing/2014/main" id="{929C4272-F793-AC7A-86BC-67ECB06FC104}"/>
              </a:ext>
            </a:extLst>
          </p:cNvPr>
          <p:cNvCxnSpPr>
            <a:cxnSpLocks/>
          </p:cNvCxnSpPr>
          <p:nvPr/>
        </p:nvCxnSpPr>
        <p:spPr>
          <a:xfrm>
            <a:off x="7473273" y="5385001"/>
            <a:ext cx="0" cy="1005840"/>
          </a:xfrm>
          <a:prstGeom prst="line">
            <a:avLst/>
          </a:prstGeom>
          <a:solidFill>
            <a:srgbClr val="FFFFFF"/>
          </a:solidFill>
          <a:ln w="6350" cap="flat" cmpd="sng" algn="ctr">
            <a:gradFill flip="none" rotWithShape="1">
              <a:gsLst>
                <a:gs pos="0">
                  <a:srgbClr val="6932BE"/>
                </a:gs>
                <a:gs pos="100000">
                  <a:srgbClr val="D1357D"/>
                </a:gs>
              </a:gsLst>
              <a:lin ang="5400000" scaled="1"/>
              <a:tileRect/>
            </a:gradFill>
            <a:prstDash val="solid"/>
            <a:miter lim="800000"/>
          </a:ln>
          <a:effectLst/>
        </p:spPr>
      </p:cxnSp>
      <p:cxnSp>
        <p:nvCxnSpPr>
          <p:cNvPr id="1014" name="Straight Connector 1013">
            <a:extLst>
              <a:ext uri="{FF2B5EF4-FFF2-40B4-BE49-F238E27FC236}">
                <a16:creationId xmlns:a16="http://schemas.microsoft.com/office/drawing/2014/main" id="{DB593BA2-1DAD-9373-16B3-1E7F26D6A675}"/>
              </a:ext>
            </a:extLst>
          </p:cNvPr>
          <p:cNvCxnSpPr>
            <a:cxnSpLocks/>
          </p:cNvCxnSpPr>
          <p:nvPr/>
        </p:nvCxnSpPr>
        <p:spPr>
          <a:xfrm>
            <a:off x="9635219" y="5385001"/>
            <a:ext cx="0" cy="1005840"/>
          </a:xfrm>
          <a:prstGeom prst="line">
            <a:avLst/>
          </a:prstGeom>
          <a:solidFill>
            <a:srgbClr val="FFFFFF"/>
          </a:solidFill>
          <a:ln w="6350" cap="flat" cmpd="sng" algn="ctr">
            <a:gradFill flip="none" rotWithShape="1">
              <a:gsLst>
                <a:gs pos="0">
                  <a:srgbClr val="6932BE"/>
                </a:gs>
                <a:gs pos="100000">
                  <a:srgbClr val="D1357D"/>
                </a:gs>
              </a:gsLst>
              <a:lin ang="5400000" scaled="1"/>
              <a:tileRect/>
            </a:gradFill>
            <a:prstDash val="solid"/>
            <a:miter lim="800000"/>
          </a:ln>
          <a:effectLst/>
        </p:spPr>
      </p:cxnSp>
      <p:sp>
        <p:nvSpPr>
          <p:cNvPr id="1015" name="Title 3">
            <a:extLst>
              <a:ext uri="{FF2B5EF4-FFF2-40B4-BE49-F238E27FC236}">
                <a16:creationId xmlns:a16="http://schemas.microsoft.com/office/drawing/2014/main" id="{4B70BBCD-E876-9E39-01A5-DF89EB6B485A}"/>
              </a:ext>
            </a:extLst>
          </p:cNvPr>
          <p:cNvSpPr txBox="1">
            <a:spLocks/>
          </p:cNvSpPr>
          <p:nvPr/>
        </p:nvSpPr>
        <p:spPr>
          <a:xfrm>
            <a:off x="3398520" y="5094722"/>
            <a:ext cx="5394960" cy="228600"/>
          </a:xfrm>
          <a:prstGeom prst="roundRect">
            <a:avLst/>
          </a:prstGeom>
          <a:solidFill>
            <a:srgbClr val="FFFFFF"/>
          </a:solidFill>
          <a:ln w="6350" cap="flat" cmpd="sng" algn="ctr">
            <a:gradFill flip="none" rotWithShape="1">
              <a:gsLst>
                <a:gs pos="0">
                  <a:srgbClr val="6932BE"/>
                </a:gs>
                <a:gs pos="100000">
                  <a:srgbClr val="D1357D"/>
                </a:gs>
              </a:gsLst>
              <a:lin ang="5400000" scaled="1"/>
              <a:tileRect/>
            </a:gradFill>
            <a:prstDash val="solid"/>
            <a:miter lim="800000"/>
          </a:ln>
          <a:effectLst/>
        </p:spPr>
        <p:txBody>
          <a:bodyPr rtlCol="0" anchor="ctr"/>
          <a:lstStyle>
            <a:defPPr>
              <a:defRPr lang="en-US"/>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srgbClr val="FFFFFF"/>
                </a:solidFill>
                <a:effectLst/>
                <a:uLnTx/>
                <a:uFillTx/>
                <a:latin typeface="Segoe U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a:rPr>
              <a:t>5 Strategic Locations supporting a Global Delivery Model</a:t>
            </a:r>
          </a:p>
        </p:txBody>
      </p:sp>
      <p:sp>
        <p:nvSpPr>
          <p:cNvPr id="1016" name="Rectangle: Rounded Corners 1015">
            <a:extLst>
              <a:ext uri="{FF2B5EF4-FFF2-40B4-BE49-F238E27FC236}">
                <a16:creationId xmlns:a16="http://schemas.microsoft.com/office/drawing/2014/main" id="{369224F9-3888-75F5-D03F-6D8A35D935BE}"/>
              </a:ext>
            </a:extLst>
          </p:cNvPr>
          <p:cNvSpPr/>
          <p:nvPr/>
        </p:nvSpPr>
        <p:spPr>
          <a:xfrm>
            <a:off x="9883457" y="1500319"/>
            <a:ext cx="2072077" cy="744353"/>
          </a:xfrm>
          <a:prstGeom prst="roundRect">
            <a:avLst>
              <a:gd name="adj" fmla="val 9044"/>
            </a:avLst>
          </a:prstGeom>
          <a:solidFill>
            <a:srgbClr val="FFFFFF"/>
          </a:solidFill>
          <a:ln w="6350" cap="flat" cmpd="sng" algn="ctr">
            <a:gradFill flip="none" rotWithShape="1">
              <a:gsLst>
                <a:gs pos="0">
                  <a:srgbClr val="6932BE"/>
                </a:gs>
                <a:gs pos="100000">
                  <a:srgbClr val="D1357D"/>
                </a:gs>
              </a:gsLst>
              <a:lin ang="54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sp>
        <p:nvSpPr>
          <p:cNvPr id="1017" name="Oval 1016">
            <a:extLst>
              <a:ext uri="{FF2B5EF4-FFF2-40B4-BE49-F238E27FC236}">
                <a16:creationId xmlns:a16="http://schemas.microsoft.com/office/drawing/2014/main" id="{AF548F48-DCC8-1D8A-67A5-DB2D4913D0E4}"/>
              </a:ext>
            </a:extLst>
          </p:cNvPr>
          <p:cNvSpPr/>
          <p:nvPr/>
        </p:nvSpPr>
        <p:spPr>
          <a:xfrm>
            <a:off x="10032879" y="1685219"/>
            <a:ext cx="102960" cy="102960"/>
          </a:xfrm>
          <a:prstGeom prst="ellipse">
            <a:avLst/>
          </a:prstGeom>
          <a:solidFill>
            <a:srgbClr val="7030A0"/>
          </a:solidFill>
          <a:ln>
            <a:noFill/>
          </a:ln>
          <a:effectLst/>
        </p:spPr>
        <p:txBody>
          <a:bodyPr rtlCol="0" anchor="ctr"/>
          <a:lstStyle/>
          <a:p>
            <a:pPr algn="ctr">
              <a:lnSpc>
                <a:spcPct val="90000"/>
              </a:lnSpc>
              <a:defRPr/>
            </a:pPr>
            <a:endParaRPr lang="en-US" sz="1400" kern="0">
              <a:solidFill>
                <a:srgbClr val="FFFFFF"/>
              </a:solidFill>
              <a:cs typeface="Segoe UI" panose="020B0502040204020203" pitchFamily="34" charset="0"/>
            </a:endParaRPr>
          </a:p>
        </p:txBody>
      </p:sp>
      <p:sp>
        <p:nvSpPr>
          <p:cNvPr id="1018" name="TextBox 1017">
            <a:extLst>
              <a:ext uri="{FF2B5EF4-FFF2-40B4-BE49-F238E27FC236}">
                <a16:creationId xmlns:a16="http://schemas.microsoft.com/office/drawing/2014/main" id="{6EEECEEF-63A0-725E-A9C7-0F12E15F9AD0}"/>
              </a:ext>
            </a:extLst>
          </p:cNvPr>
          <p:cNvSpPr txBox="1"/>
          <p:nvPr/>
        </p:nvSpPr>
        <p:spPr>
          <a:xfrm>
            <a:off x="10209445" y="1578022"/>
            <a:ext cx="1807859" cy="263052"/>
          </a:xfrm>
          <a:prstGeom prst="rect">
            <a:avLst/>
          </a:prstGeom>
          <a:noFill/>
        </p:spPr>
        <p:txBody>
          <a:bodyPr wrap="square" lIns="0" rIns="0" rtlCol="0">
            <a:noAutofit/>
          </a:bodyPr>
          <a:lstStyle/>
          <a:p>
            <a:pPr>
              <a:defRPr/>
            </a:pPr>
            <a:r>
              <a:rPr lang="en-US" sz="1200" kern="0">
                <a:solidFill>
                  <a:srgbClr val="000000"/>
                </a:solidFill>
                <a:ea typeface="Calibri" panose="020F0502020204030204" pitchFamily="34" charset="0"/>
                <a:cs typeface="Segoe UI" panose="020B0502040204020203" pitchFamily="34" charset="0"/>
              </a:rPr>
              <a:t>Corporate Headquarters</a:t>
            </a:r>
          </a:p>
        </p:txBody>
      </p:sp>
      <p:sp>
        <p:nvSpPr>
          <p:cNvPr id="1019" name="Oval 1018">
            <a:extLst>
              <a:ext uri="{FF2B5EF4-FFF2-40B4-BE49-F238E27FC236}">
                <a16:creationId xmlns:a16="http://schemas.microsoft.com/office/drawing/2014/main" id="{006A2EF7-4477-5408-D0ED-E4A9D5C990C4}"/>
              </a:ext>
            </a:extLst>
          </p:cNvPr>
          <p:cNvSpPr/>
          <p:nvPr/>
        </p:nvSpPr>
        <p:spPr>
          <a:xfrm>
            <a:off x="10032879" y="1981878"/>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cs typeface="Segoe UI" panose="020B0502040204020203" pitchFamily="34" charset="0"/>
            </a:endParaRPr>
          </a:p>
        </p:txBody>
      </p:sp>
      <p:sp>
        <p:nvSpPr>
          <p:cNvPr id="1020" name="TextBox 1019">
            <a:extLst>
              <a:ext uri="{FF2B5EF4-FFF2-40B4-BE49-F238E27FC236}">
                <a16:creationId xmlns:a16="http://schemas.microsoft.com/office/drawing/2014/main" id="{6880D7DA-8BAE-A3EC-AED8-CF50725F840D}"/>
              </a:ext>
            </a:extLst>
          </p:cNvPr>
          <p:cNvSpPr txBox="1"/>
          <p:nvPr/>
        </p:nvSpPr>
        <p:spPr>
          <a:xfrm>
            <a:off x="10209445" y="1877992"/>
            <a:ext cx="1807859" cy="263052"/>
          </a:xfrm>
          <a:prstGeom prst="rect">
            <a:avLst/>
          </a:prstGeom>
          <a:noFill/>
        </p:spPr>
        <p:txBody>
          <a:bodyPr wrap="square" lIns="0" rIns="0" rtlCol="0">
            <a:noAutofit/>
          </a:bodyPr>
          <a:lstStyle/>
          <a:p>
            <a:pPr>
              <a:defRPr/>
            </a:pPr>
            <a:r>
              <a:rPr lang="en-US" sz="1200" kern="0">
                <a:solidFill>
                  <a:srgbClr val="000000"/>
                </a:solidFill>
                <a:ea typeface="Calibri" panose="020F0502020204030204" pitchFamily="34" charset="0"/>
                <a:cs typeface="Segoe UI" panose="020B0502040204020203" pitchFamily="34" charset="0"/>
              </a:rPr>
              <a:t>Global Delivery Centers</a:t>
            </a:r>
          </a:p>
        </p:txBody>
      </p:sp>
      <p:sp>
        <p:nvSpPr>
          <p:cNvPr id="1021" name="Oval 1020">
            <a:extLst>
              <a:ext uri="{FF2B5EF4-FFF2-40B4-BE49-F238E27FC236}">
                <a16:creationId xmlns:a16="http://schemas.microsoft.com/office/drawing/2014/main" id="{A19A4655-D8E7-44AF-C1EA-43973CF80953}"/>
              </a:ext>
            </a:extLst>
          </p:cNvPr>
          <p:cNvSpPr/>
          <p:nvPr/>
        </p:nvSpPr>
        <p:spPr>
          <a:xfrm>
            <a:off x="10445138" y="4228133"/>
            <a:ext cx="102960" cy="102960"/>
          </a:xfrm>
          <a:prstGeom prst="ellipse">
            <a:avLst/>
          </a:prstGeom>
          <a:solidFill>
            <a:srgbClr val="386FDC"/>
          </a:solidFill>
          <a:ln>
            <a:noFil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1022" name="TextBox 1021">
            <a:extLst>
              <a:ext uri="{FF2B5EF4-FFF2-40B4-BE49-F238E27FC236}">
                <a16:creationId xmlns:a16="http://schemas.microsoft.com/office/drawing/2014/main" id="{62880F80-ED7F-DC56-7B5D-B3B5B7B685FC}"/>
              </a:ext>
            </a:extLst>
          </p:cNvPr>
          <p:cNvSpPr txBox="1"/>
          <p:nvPr/>
        </p:nvSpPr>
        <p:spPr>
          <a:xfrm>
            <a:off x="10606745" y="4119755"/>
            <a:ext cx="1616913" cy="263052"/>
          </a:xfrm>
          <a:prstGeom prst="rect">
            <a:avLst/>
          </a:prstGeom>
          <a:noFill/>
        </p:spPr>
        <p:txBody>
          <a:bodyPr wrap="square" lIns="0" rIns="0" rtlCol="0">
            <a:noAutofit/>
          </a:bodyPr>
          <a:lstStyle/>
          <a:p>
            <a:pPr>
              <a:defRPr/>
            </a:pPr>
            <a:r>
              <a:rPr lang="en-US" sz="1200">
                <a:solidFill>
                  <a:srgbClr val="000000"/>
                </a:solidFill>
                <a:ea typeface="Calibri" panose="020F0502020204030204" pitchFamily="34" charset="0"/>
                <a:cs typeface="Segoe UI" panose="020B0502040204020203" pitchFamily="34" charset="0"/>
              </a:rPr>
              <a:t>Philippines</a:t>
            </a:r>
          </a:p>
        </p:txBody>
      </p:sp>
    </p:spTree>
    <p:extLst>
      <p:ext uri="{BB962C8B-B14F-4D97-AF65-F5344CB8AC3E}">
        <p14:creationId xmlns:p14="http://schemas.microsoft.com/office/powerpoint/2010/main" val="14553280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29881B1-E6CD-4173-ABB7-9B847D72D5B4}"/>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IMMIGRATION</a:t>
            </a:r>
          </a:p>
        </p:txBody>
      </p:sp>
      <p:sp>
        <p:nvSpPr>
          <p:cNvPr id="5" name="TextBox 4">
            <a:extLst>
              <a:ext uri="{FF2B5EF4-FFF2-40B4-BE49-F238E27FC236}">
                <a16:creationId xmlns:a16="http://schemas.microsoft.com/office/drawing/2014/main" id="{FC569D0E-354F-4DE9-A42E-DFE69F304C03}"/>
              </a:ext>
            </a:extLst>
          </p:cNvPr>
          <p:cNvSpPr txBox="1"/>
          <p:nvPr/>
        </p:nvSpPr>
        <p:spPr>
          <a:xfrm>
            <a:off x="2279105" y="2454313"/>
            <a:ext cx="7633788" cy="1200329"/>
          </a:xfrm>
          <a:prstGeom prst="rect">
            <a:avLst/>
          </a:prstGeom>
          <a:noFill/>
        </p:spPr>
        <p:txBody>
          <a:bodyPr wrap="square" rtlCol="0">
            <a:spAutoFit/>
          </a:bodyPr>
          <a:lstStyle/>
          <a:p>
            <a:pPr marL="0" lvl="2" algn="just"/>
            <a:r>
              <a:rPr lang="en-GB" dirty="0">
                <a:solidFill>
                  <a:schemeClr val="tx1">
                    <a:lumMod val="75000"/>
                    <a:lumOff val="25000"/>
                  </a:schemeClr>
                </a:solidFill>
                <a:ea typeface="Roboto" pitchFamily="2" charset="0"/>
              </a:rPr>
              <a:t>For any and all immigration questions and concerns please reach out to </a:t>
            </a:r>
            <a:r>
              <a:rPr lang="en-GB" dirty="0">
                <a:solidFill>
                  <a:schemeClr val="tx1">
                    <a:lumMod val="75000"/>
                    <a:lumOff val="25000"/>
                  </a:schemeClr>
                </a:solidFill>
                <a:ea typeface="Roboto" pitchFamily="2" charset="0"/>
                <a:hlinkClick r:id="rId2"/>
              </a:rPr>
              <a:t>immigration@infinite.com</a:t>
            </a:r>
            <a:r>
              <a:rPr lang="en-GB" dirty="0">
                <a:solidFill>
                  <a:schemeClr val="tx1">
                    <a:lumMod val="75000"/>
                    <a:lumOff val="25000"/>
                  </a:schemeClr>
                </a:solidFill>
                <a:ea typeface="Roboto" pitchFamily="2" charset="0"/>
              </a:rPr>
              <a:t>. </a:t>
            </a:r>
          </a:p>
          <a:p>
            <a:pPr marL="0" lvl="2" algn="just"/>
            <a:endParaRPr lang="en-GB" dirty="0">
              <a:solidFill>
                <a:schemeClr val="tx1">
                  <a:lumMod val="75000"/>
                  <a:lumOff val="25000"/>
                </a:schemeClr>
              </a:solidFill>
              <a:ea typeface="Roboto" pitchFamily="2" charset="0"/>
            </a:endParaRPr>
          </a:p>
          <a:p>
            <a:pPr marL="0" lvl="2" algn="just"/>
            <a:r>
              <a:rPr lang="en-GB" dirty="0">
                <a:solidFill>
                  <a:schemeClr val="tx1">
                    <a:lumMod val="75000"/>
                    <a:lumOff val="25000"/>
                  </a:schemeClr>
                </a:solidFill>
                <a:ea typeface="Roboto" pitchFamily="2" charset="0"/>
              </a:rPr>
              <a:t>Niti Prothi – SVP of HR handles all Immigration details and documents. </a:t>
            </a:r>
          </a:p>
        </p:txBody>
      </p:sp>
      <p:sp>
        <p:nvSpPr>
          <p:cNvPr id="7" name="Shape 6766">
            <a:extLst>
              <a:ext uri="{FF2B5EF4-FFF2-40B4-BE49-F238E27FC236}">
                <a16:creationId xmlns:a16="http://schemas.microsoft.com/office/drawing/2014/main" id="{84D01524-EB61-48FE-BD1C-9C83BD4D12B6}"/>
              </a:ext>
            </a:extLst>
          </p:cNvPr>
          <p:cNvSpPr/>
          <p:nvPr/>
        </p:nvSpPr>
        <p:spPr>
          <a:xfrm>
            <a:off x="1603331" y="1674980"/>
            <a:ext cx="8985337" cy="2758997"/>
          </a:xfrm>
          <a:prstGeom prst="roundRect">
            <a:avLst>
              <a:gd name="adj" fmla="val 6324"/>
            </a:avLst>
          </a:prstGeom>
          <a:ln w="38100" cmpd="sng">
            <a:solidFill>
              <a:srgbClr val="00B6AD"/>
            </a:solidFill>
            <a:miter lim="400000"/>
          </a:ln>
        </p:spPr>
        <p:txBody>
          <a:bodyPr lIns="25400" tIns="25400" rIns="25400" bIns="25400" anchor="ctr"/>
          <a:lstStyle/>
          <a:p>
            <a:pPr defTabSz="1219170">
              <a:defRPr sz="3200">
                <a:solidFill>
                  <a:srgbClr val="FFFFFF"/>
                </a:solidFill>
              </a:defRPr>
            </a:pPr>
            <a:endParaRPr sz="1600" kern="0">
              <a:solidFill>
                <a:srgbClr val="FFFFFF"/>
              </a:solidFill>
            </a:endParaRPr>
          </a:p>
        </p:txBody>
      </p:sp>
      <p:sp>
        <p:nvSpPr>
          <p:cNvPr id="8" name="Shape 7377">
            <a:extLst>
              <a:ext uri="{FF2B5EF4-FFF2-40B4-BE49-F238E27FC236}">
                <a16:creationId xmlns:a16="http://schemas.microsoft.com/office/drawing/2014/main" id="{F42EFEFD-B75D-47AC-BB2E-B1A4B103F1C9}"/>
              </a:ext>
            </a:extLst>
          </p:cNvPr>
          <p:cNvSpPr/>
          <p:nvPr/>
        </p:nvSpPr>
        <p:spPr>
          <a:xfrm>
            <a:off x="713029" y="2057323"/>
            <a:ext cx="1430021" cy="1430020"/>
          </a:xfrm>
          <a:prstGeom prst="ellipse">
            <a:avLst/>
          </a:prstGeom>
          <a:solidFill>
            <a:schemeClr val="bg1"/>
          </a:solidFill>
          <a:ln w="38100" cap="flat" cmpd="sng">
            <a:solidFill>
              <a:srgbClr val="00B6AD"/>
            </a:solidFill>
            <a:prstDash val="solid"/>
            <a:miter lim="400000"/>
          </a:ln>
          <a:effectLst>
            <a:outerShdw blurRad="127000" sx="80000" sy="80000" rotWithShape="0">
              <a:srgbClr val="000000">
                <a:alpha val="92000"/>
              </a:srgbClr>
            </a:outerShdw>
          </a:effectLst>
        </p:spPr>
        <p:txBody>
          <a:bodyPr wrap="square" lIns="25400" tIns="25400" rIns="25400" bIns="25400" numCol="1" anchor="ctr">
            <a:noAutofit/>
          </a:bodyPr>
          <a:lstStyle/>
          <a:p>
            <a:pPr defTabSz="1219170">
              <a:defRPr sz="3200">
                <a:solidFill>
                  <a:srgbClr val="FFFFFF"/>
                </a:solidFill>
              </a:defRPr>
            </a:pPr>
            <a:endParaRPr sz="1600" kern="0" dirty="0">
              <a:solidFill>
                <a:srgbClr val="FFFFFF"/>
              </a:solidFill>
            </a:endParaRPr>
          </a:p>
        </p:txBody>
      </p:sp>
      <p:sp>
        <p:nvSpPr>
          <p:cNvPr id="9" name="Shape 7385">
            <a:extLst>
              <a:ext uri="{FF2B5EF4-FFF2-40B4-BE49-F238E27FC236}">
                <a16:creationId xmlns:a16="http://schemas.microsoft.com/office/drawing/2014/main" id="{22277CA0-6F39-46F9-9E24-67191E0B3FCA}"/>
              </a:ext>
            </a:extLst>
          </p:cNvPr>
          <p:cNvSpPr/>
          <p:nvPr/>
        </p:nvSpPr>
        <p:spPr>
          <a:xfrm>
            <a:off x="10172945" y="2074886"/>
            <a:ext cx="1430021" cy="1430020"/>
          </a:xfrm>
          <a:prstGeom prst="ellipse">
            <a:avLst/>
          </a:prstGeom>
          <a:solidFill>
            <a:schemeClr val="bg1"/>
          </a:solidFill>
          <a:ln w="38100" cap="flat" cmpd="sng">
            <a:solidFill>
              <a:srgbClr val="00B6AD"/>
            </a:solidFill>
            <a:prstDash val="solid"/>
            <a:miter lim="400000"/>
          </a:ln>
          <a:effectLst>
            <a:outerShdw blurRad="127000" sx="80000" sy="80000" rotWithShape="0">
              <a:srgbClr val="000000">
                <a:alpha val="92000"/>
              </a:srgbClr>
            </a:outerShdw>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pic>
        <p:nvPicPr>
          <p:cNvPr id="3" name="Graphic 2" descr="Globe outline">
            <a:extLst>
              <a:ext uri="{FF2B5EF4-FFF2-40B4-BE49-F238E27FC236}">
                <a16:creationId xmlns:a16="http://schemas.microsoft.com/office/drawing/2014/main" id="{A4B65D8F-B413-28B7-B53F-EF20BBEA2C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30755" y="2315134"/>
            <a:ext cx="914400" cy="914400"/>
          </a:xfrm>
          <a:prstGeom prst="rect">
            <a:avLst/>
          </a:prstGeom>
        </p:spPr>
      </p:pic>
      <p:pic>
        <p:nvPicPr>
          <p:cNvPr id="18" name="Graphic 17" descr="Arrow circle with solid fill">
            <a:extLst>
              <a:ext uri="{FF2B5EF4-FFF2-40B4-BE49-F238E27FC236}">
                <a16:creationId xmlns:a16="http://schemas.microsoft.com/office/drawing/2014/main" id="{0CF3F111-C73D-D01A-972C-0B69C36E27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8319" y="2233226"/>
            <a:ext cx="1079440" cy="1079440"/>
          </a:xfrm>
          <a:prstGeom prst="rect">
            <a:avLst/>
          </a:prstGeom>
        </p:spPr>
      </p:pic>
    </p:spTree>
    <p:extLst>
      <p:ext uri="{BB962C8B-B14F-4D97-AF65-F5344CB8AC3E}">
        <p14:creationId xmlns:p14="http://schemas.microsoft.com/office/powerpoint/2010/main" val="23028869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C70B332-4CAB-47E1-BFAB-3AB21FA429C2}"/>
              </a:ext>
            </a:extLst>
          </p:cNvPr>
          <p:cNvSpPr txBox="1"/>
          <p:nvPr/>
        </p:nvSpPr>
        <p:spPr>
          <a:xfrm>
            <a:off x="76699" y="246156"/>
            <a:ext cx="535750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EMPLOYEE </a:t>
            </a:r>
            <a:r>
              <a:rPr lang="en-US" sz="3200" spc="-150" dirty="0">
                <a:solidFill>
                  <a:srgbClr val="1E3ADA"/>
                </a:solidFill>
                <a:latin typeface="Work Sans" panose="00000500000000000000" pitchFamily="50" charset="0"/>
                <a:cs typeface="Segoe UI" panose="020B0502040204020203" pitchFamily="34" charset="0"/>
              </a:rPr>
              <a:t>ENGAGEMENT</a:t>
            </a:r>
          </a:p>
        </p:txBody>
      </p:sp>
      <p:sp>
        <p:nvSpPr>
          <p:cNvPr id="43" name="Freeform: Shape 42">
            <a:extLst>
              <a:ext uri="{FF2B5EF4-FFF2-40B4-BE49-F238E27FC236}">
                <a16:creationId xmlns:a16="http://schemas.microsoft.com/office/drawing/2014/main" id="{BB78236F-EF77-47ED-A1D0-8A18F136D10F}"/>
              </a:ext>
            </a:extLst>
          </p:cNvPr>
          <p:cNvSpPr/>
          <p:nvPr/>
        </p:nvSpPr>
        <p:spPr>
          <a:xfrm rot="18780000">
            <a:off x="4671915" y="2172830"/>
            <a:ext cx="659525" cy="557007"/>
          </a:xfrm>
          <a:custGeom>
            <a:avLst/>
            <a:gdLst>
              <a:gd name="connsiteX0" fmla="*/ 0 w 833216"/>
              <a:gd name="connsiteY0" fmla="*/ 0 h 703698"/>
              <a:gd name="connsiteX1" fmla="*/ 808980 w 833216"/>
              <a:gd name="connsiteY1" fmla="*/ 678814 h 703698"/>
              <a:gd name="connsiteX2" fmla="*/ 833216 w 833216"/>
              <a:gd name="connsiteY2" fmla="*/ 703698 h 703698"/>
              <a:gd name="connsiteX3" fmla="*/ 501563 w 833216"/>
              <a:gd name="connsiteY3" fmla="*/ 425409 h 703698"/>
              <a:gd name="connsiteX4" fmla="*/ 700 w 833216"/>
              <a:gd name="connsiteY4" fmla="*/ 5135 h 703698"/>
              <a:gd name="connsiteX5" fmla="*/ 0 w 833216"/>
              <a:gd name="connsiteY5" fmla="*/ 0 h 70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3216" h="703698">
                <a:moveTo>
                  <a:pt x="0" y="0"/>
                </a:moveTo>
                <a:lnTo>
                  <a:pt x="808980" y="678814"/>
                </a:lnTo>
                <a:lnTo>
                  <a:pt x="833216" y="703698"/>
                </a:lnTo>
                <a:lnTo>
                  <a:pt x="501563" y="425409"/>
                </a:lnTo>
                <a:lnTo>
                  <a:pt x="700" y="5135"/>
                </a:lnTo>
                <a:lnTo>
                  <a:pt x="0" y="0"/>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44" name="Freeform: Shape 43">
            <a:extLst>
              <a:ext uri="{FF2B5EF4-FFF2-40B4-BE49-F238E27FC236}">
                <a16:creationId xmlns:a16="http://schemas.microsoft.com/office/drawing/2014/main" id="{8F40FCF7-B100-4994-BF5F-FAF12C6C3E06}"/>
              </a:ext>
            </a:extLst>
          </p:cNvPr>
          <p:cNvSpPr/>
          <p:nvPr/>
        </p:nvSpPr>
        <p:spPr>
          <a:xfrm rot="18780000">
            <a:off x="5710172" y="2804246"/>
            <a:ext cx="66715" cy="31109"/>
          </a:xfrm>
          <a:custGeom>
            <a:avLst/>
            <a:gdLst>
              <a:gd name="connsiteX0" fmla="*/ 0 w 84284"/>
              <a:gd name="connsiteY0" fmla="*/ 39302 h 39302"/>
              <a:gd name="connsiteX1" fmla="*/ 84284 w 84284"/>
              <a:gd name="connsiteY1" fmla="*/ 0 h 39302"/>
              <a:gd name="connsiteX2" fmla="*/ 59858 w 84284"/>
              <a:gd name="connsiteY2" fmla="*/ 15714 h 39302"/>
              <a:gd name="connsiteX3" fmla="*/ 0 w 84284"/>
              <a:gd name="connsiteY3" fmla="*/ 39302 h 39302"/>
            </a:gdLst>
            <a:ahLst/>
            <a:cxnLst>
              <a:cxn ang="0">
                <a:pos x="connsiteX0" y="connsiteY0"/>
              </a:cxn>
              <a:cxn ang="0">
                <a:pos x="connsiteX1" y="connsiteY1"/>
              </a:cxn>
              <a:cxn ang="0">
                <a:pos x="connsiteX2" y="connsiteY2"/>
              </a:cxn>
              <a:cxn ang="0">
                <a:pos x="connsiteX3" y="connsiteY3"/>
              </a:cxn>
            </a:cxnLst>
            <a:rect l="l" t="t" r="r" b="b"/>
            <a:pathLst>
              <a:path w="84284" h="39302">
                <a:moveTo>
                  <a:pt x="0" y="39302"/>
                </a:moveTo>
                <a:lnTo>
                  <a:pt x="84284" y="0"/>
                </a:lnTo>
                <a:lnTo>
                  <a:pt x="59858" y="15714"/>
                </a:lnTo>
                <a:lnTo>
                  <a:pt x="0" y="39302"/>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45" name="Freeform: Shape 44">
            <a:extLst>
              <a:ext uri="{FF2B5EF4-FFF2-40B4-BE49-F238E27FC236}">
                <a16:creationId xmlns:a16="http://schemas.microsoft.com/office/drawing/2014/main" id="{9EC2DA9F-801F-43E9-A589-1023ABCB295B}"/>
              </a:ext>
            </a:extLst>
          </p:cNvPr>
          <p:cNvSpPr/>
          <p:nvPr/>
        </p:nvSpPr>
        <p:spPr>
          <a:xfrm rot="18780000">
            <a:off x="4207931" y="2043495"/>
            <a:ext cx="1799748" cy="1220509"/>
          </a:xfrm>
          <a:custGeom>
            <a:avLst/>
            <a:gdLst>
              <a:gd name="connsiteX0" fmla="*/ 1674819 w 2273724"/>
              <a:gd name="connsiteY0" fmla="*/ 1397015 h 1541939"/>
              <a:gd name="connsiteX1" fmla="*/ 1674820 w 2273724"/>
              <a:gd name="connsiteY1" fmla="*/ 1397015 h 1541939"/>
              <a:gd name="connsiteX2" fmla="*/ 1674820 w 2273724"/>
              <a:gd name="connsiteY2" fmla="*/ 1397015 h 1541939"/>
              <a:gd name="connsiteX3" fmla="*/ 273717 w 2273724"/>
              <a:gd name="connsiteY3" fmla="*/ 44511 h 1541939"/>
              <a:gd name="connsiteX4" fmla="*/ 718137 w 2273724"/>
              <a:gd name="connsiteY4" fmla="*/ 67797 h 1541939"/>
              <a:gd name="connsiteX5" fmla="*/ 749665 w 2273724"/>
              <a:gd name="connsiteY5" fmla="*/ 91134 h 1541939"/>
              <a:gd name="connsiteX6" fmla="*/ 807642 w 2273724"/>
              <a:gd name="connsiteY6" fmla="*/ 139782 h 1541939"/>
              <a:gd name="connsiteX7" fmla="*/ 807643 w 2273724"/>
              <a:gd name="connsiteY7" fmla="*/ 139785 h 1541939"/>
              <a:gd name="connsiteX8" fmla="*/ 815835 w 2273724"/>
              <a:gd name="connsiteY8" fmla="*/ 146659 h 1541939"/>
              <a:gd name="connsiteX9" fmla="*/ 816535 w 2273724"/>
              <a:gd name="connsiteY9" fmla="*/ 151794 h 1541939"/>
              <a:gd name="connsiteX10" fmla="*/ 1317398 w 2273724"/>
              <a:gd name="connsiteY10" fmla="*/ 572068 h 1541939"/>
              <a:gd name="connsiteX11" fmla="*/ 1649051 w 2273724"/>
              <a:gd name="connsiteY11" fmla="*/ 850357 h 1541939"/>
              <a:gd name="connsiteX12" fmla="*/ 1653886 w 2273724"/>
              <a:gd name="connsiteY12" fmla="*/ 855322 h 1541939"/>
              <a:gd name="connsiteX13" fmla="*/ 1649051 w 2273724"/>
              <a:gd name="connsiteY13" fmla="*/ 850357 h 1541939"/>
              <a:gd name="connsiteX14" fmla="*/ 1914866 w 2273724"/>
              <a:gd name="connsiteY14" fmla="*/ 1073402 h 1541939"/>
              <a:gd name="connsiteX15" fmla="*/ 2210992 w 2273724"/>
              <a:gd name="connsiteY15" fmla="*/ 1166769 h 1541939"/>
              <a:gd name="connsiteX16" fmla="*/ 2273724 w 2273724"/>
              <a:gd name="connsiteY16" fmla="*/ 1155171 h 1541939"/>
              <a:gd name="connsiteX17" fmla="*/ 1573321 w 2273724"/>
              <a:gd name="connsiteY17" fmla="*/ 1481775 h 1541939"/>
              <a:gd name="connsiteX18" fmla="*/ 1489037 w 2273724"/>
              <a:gd name="connsiteY18" fmla="*/ 1521077 h 1541939"/>
              <a:gd name="connsiteX19" fmla="*/ 1475948 w 2273724"/>
              <a:gd name="connsiteY19" fmla="*/ 1526236 h 1541939"/>
              <a:gd name="connsiteX20" fmla="*/ 1103280 w 2273724"/>
              <a:gd name="connsiteY20" fmla="*/ 1447019 h 1541939"/>
              <a:gd name="connsiteX21" fmla="*/ 505812 w 2273724"/>
              <a:gd name="connsiteY21" fmla="*/ 945685 h 1541939"/>
              <a:gd name="connsiteX22" fmla="*/ 4949 w 2273724"/>
              <a:gd name="connsiteY22" fmla="*/ 525411 h 1541939"/>
              <a:gd name="connsiteX23" fmla="*/ 309 w 2273724"/>
              <a:gd name="connsiteY23" fmla="*/ 491341 h 1541939"/>
              <a:gd name="connsiteX24" fmla="*/ 273717 w 2273724"/>
              <a:gd name="connsiteY24" fmla="*/ 44511 h 154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73724" h="1541939">
                <a:moveTo>
                  <a:pt x="1674819" y="1397015"/>
                </a:moveTo>
                <a:lnTo>
                  <a:pt x="1674820" y="1397015"/>
                </a:lnTo>
                <a:lnTo>
                  <a:pt x="1674820" y="1397015"/>
                </a:lnTo>
                <a:close/>
                <a:moveTo>
                  <a:pt x="273717" y="44511"/>
                </a:moveTo>
                <a:cubicBezTo>
                  <a:pt x="421961" y="-24616"/>
                  <a:pt x="587686" y="-10454"/>
                  <a:pt x="718137" y="67797"/>
                </a:cubicBezTo>
                <a:lnTo>
                  <a:pt x="749665" y="91134"/>
                </a:lnTo>
                <a:lnTo>
                  <a:pt x="807642" y="139782"/>
                </a:lnTo>
                <a:lnTo>
                  <a:pt x="807643" y="139785"/>
                </a:lnTo>
                <a:lnTo>
                  <a:pt x="815835" y="146659"/>
                </a:lnTo>
                <a:lnTo>
                  <a:pt x="816535" y="151794"/>
                </a:lnTo>
                <a:lnTo>
                  <a:pt x="1317398" y="572068"/>
                </a:lnTo>
                <a:lnTo>
                  <a:pt x="1649051" y="850357"/>
                </a:lnTo>
                <a:lnTo>
                  <a:pt x="1653886" y="855322"/>
                </a:lnTo>
                <a:lnTo>
                  <a:pt x="1649051" y="850357"/>
                </a:lnTo>
                <a:lnTo>
                  <a:pt x="1914866" y="1073402"/>
                </a:lnTo>
                <a:cubicBezTo>
                  <a:pt x="2000683" y="1145411"/>
                  <a:pt x="2107563" y="1175818"/>
                  <a:pt x="2210992" y="1166769"/>
                </a:cubicBezTo>
                <a:lnTo>
                  <a:pt x="2273724" y="1155171"/>
                </a:lnTo>
                <a:lnTo>
                  <a:pt x="1573321" y="1481775"/>
                </a:lnTo>
                <a:lnTo>
                  <a:pt x="1489037" y="1521077"/>
                </a:lnTo>
                <a:lnTo>
                  <a:pt x="1475948" y="1526236"/>
                </a:lnTo>
                <a:cubicBezTo>
                  <a:pt x="1350734" y="1562039"/>
                  <a:pt x="1210551" y="1537030"/>
                  <a:pt x="1103280" y="1447019"/>
                </a:cubicBezTo>
                <a:lnTo>
                  <a:pt x="505812" y="945685"/>
                </a:lnTo>
                <a:lnTo>
                  <a:pt x="4949" y="525411"/>
                </a:lnTo>
                <a:lnTo>
                  <a:pt x="309" y="491341"/>
                </a:lnTo>
                <a:cubicBezTo>
                  <a:pt x="-6373" y="306795"/>
                  <a:pt x="95824" y="127464"/>
                  <a:pt x="273717" y="44511"/>
                </a:cubicBezTo>
                <a:close/>
              </a:path>
            </a:pathLst>
          </a:custGeom>
          <a:gradFill flip="none" rotWithShape="1">
            <a:gsLst>
              <a:gs pos="0">
                <a:srgbClr val="7E249F">
                  <a:shade val="30000"/>
                  <a:satMod val="115000"/>
                </a:srgbClr>
              </a:gs>
              <a:gs pos="50000">
                <a:srgbClr val="7E249F">
                  <a:shade val="67500"/>
                  <a:satMod val="115000"/>
                </a:srgbClr>
              </a:gs>
              <a:gs pos="100000">
                <a:srgbClr val="7E249F">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46" name="Freeform: Shape 45">
            <a:extLst>
              <a:ext uri="{FF2B5EF4-FFF2-40B4-BE49-F238E27FC236}">
                <a16:creationId xmlns:a16="http://schemas.microsoft.com/office/drawing/2014/main" id="{8104CCF3-2BDA-4EAC-8C93-B3E040690A80}"/>
              </a:ext>
            </a:extLst>
          </p:cNvPr>
          <p:cNvSpPr/>
          <p:nvPr/>
        </p:nvSpPr>
        <p:spPr>
          <a:xfrm rot="18780000">
            <a:off x="3883171" y="2114449"/>
            <a:ext cx="1232367" cy="2466991"/>
          </a:xfrm>
          <a:custGeom>
            <a:avLst/>
            <a:gdLst>
              <a:gd name="connsiteX0" fmla="*/ 220479 w 1556919"/>
              <a:gd name="connsiteY0" fmla="*/ 44609 h 3116689"/>
              <a:gd name="connsiteX1" fmla="*/ 234514 w 1556919"/>
              <a:gd name="connsiteY1" fmla="*/ 39078 h 3116689"/>
              <a:gd name="connsiteX2" fmla="*/ 247774 w 1556919"/>
              <a:gd name="connsiteY2" fmla="*/ 31881 h 3116689"/>
              <a:gd name="connsiteX3" fmla="*/ 271348 w 1556919"/>
              <a:gd name="connsiteY3" fmla="*/ 24563 h 3116689"/>
              <a:gd name="connsiteX4" fmla="*/ 293427 w 1556919"/>
              <a:gd name="connsiteY4" fmla="*/ 15863 h 3116689"/>
              <a:gd name="connsiteX5" fmla="*/ 308139 w 1556919"/>
              <a:gd name="connsiteY5" fmla="*/ 13143 h 3116689"/>
              <a:gd name="connsiteX6" fmla="*/ 323926 w 1556919"/>
              <a:gd name="connsiteY6" fmla="*/ 8242 h 3116689"/>
              <a:gd name="connsiteX7" fmla="*/ 347497 w 1556919"/>
              <a:gd name="connsiteY7" fmla="*/ 5866 h 3116689"/>
              <a:gd name="connsiteX8" fmla="*/ 369967 w 1556919"/>
              <a:gd name="connsiteY8" fmla="*/ 1711 h 3116689"/>
              <a:gd name="connsiteX9" fmla="*/ 387285 w 1556919"/>
              <a:gd name="connsiteY9" fmla="*/ 1855 h 3116689"/>
              <a:gd name="connsiteX10" fmla="*/ 405685 w 1556919"/>
              <a:gd name="connsiteY10" fmla="*/ 0 h 3116689"/>
              <a:gd name="connsiteX11" fmla="*/ 427383 w 1556919"/>
              <a:gd name="connsiteY11" fmla="*/ 2187 h 3116689"/>
              <a:gd name="connsiteX12" fmla="*/ 447804 w 1556919"/>
              <a:gd name="connsiteY12" fmla="*/ 2357 h 3116689"/>
              <a:gd name="connsiteX13" fmla="*/ 466185 w 1556919"/>
              <a:gd name="connsiteY13" fmla="*/ 6099 h 3116689"/>
              <a:gd name="connsiteX14" fmla="*/ 487445 w 1556919"/>
              <a:gd name="connsiteY14" fmla="*/ 8242 h 3116689"/>
              <a:gd name="connsiteX15" fmla="*/ 507901 w 1556919"/>
              <a:gd name="connsiteY15" fmla="*/ 14592 h 3116689"/>
              <a:gd name="connsiteX16" fmla="*/ 524635 w 1556919"/>
              <a:gd name="connsiteY16" fmla="*/ 17999 h 3116689"/>
              <a:gd name="connsiteX17" fmla="*/ 541033 w 1556919"/>
              <a:gd name="connsiteY17" fmla="*/ 24877 h 3116689"/>
              <a:gd name="connsiteX18" fmla="*/ 563596 w 1556919"/>
              <a:gd name="connsiteY18" fmla="*/ 31881 h 3116689"/>
              <a:gd name="connsiteX19" fmla="*/ 583538 w 1556919"/>
              <a:gd name="connsiteY19" fmla="*/ 42705 h 3116689"/>
              <a:gd name="connsiteX20" fmla="*/ 598165 w 1556919"/>
              <a:gd name="connsiteY20" fmla="*/ 48840 h 3116689"/>
              <a:gd name="connsiteX21" fmla="*/ 611245 w 1556919"/>
              <a:gd name="connsiteY21" fmla="*/ 57743 h 3116689"/>
              <a:gd name="connsiteX22" fmla="*/ 632507 w 1556919"/>
              <a:gd name="connsiteY22" fmla="*/ 69285 h 3116689"/>
              <a:gd name="connsiteX23" fmla="*/ 652822 w 1556919"/>
              <a:gd name="connsiteY23" fmla="*/ 86045 h 3116689"/>
              <a:gd name="connsiteX24" fmla="*/ 666094 w 1556919"/>
              <a:gd name="connsiteY24" fmla="*/ 95079 h 3116689"/>
              <a:gd name="connsiteX25" fmla="*/ 1556919 w 1556919"/>
              <a:gd name="connsiteY25" fmla="*/ 842571 h 3116689"/>
              <a:gd name="connsiteX26" fmla="*/ 1525390 w 1556919"/>
              <a:gd name="connsiteY26" fmla="*/ 819234 h 3116689"/>
              <a:gd name="connsiteX27" fmla="*/ 1080971 w 1556919"/>
              <a:gd name="connsiteY27" fmla="*/ 795948 h 3116689"/>
              <a:gd name="connsiteX28" fmla="*/ 807563 w 1556919"/>
              <a:gd name="connsiteY28" fmla="*/ 1242778 h 3116689"/>
              <a:gd name="connsiteX29" fmla="*/ 812202 w 1556919"/>
              <a:gd name="connsiteY29" fmla="*/ 1276848 h 3116689"/>
              <a:gd name="connsiteX30" fmla="*/ 811370 w 1556919"/>
              <a:gd name="connsiteY30" fmla="*/ 1276149 h 3116689"/>
              <a:gd name="connsiteX31" fmla="*/ 811370 w 1556919"/>
              <a:gd name="connsiteY31" fmla="*/ 2711004 h 3116689"/>
              <a:gd name="connsiteX32" fmla="*/ 405684 w 1556919"/>
              <a:gd name="connsiteY32" fmla="*/ 3116689 h 3116689"/>
              <a:gd name="connsiteX33" fmla="*/ 405685 w 1556919"/>
              <a:gd name="connsiteY33" fmla="*/ 3116688 h 3116689"/>
              <a:gd name="connsiteX34" fmla="*/ 0 w 1556919"/>
              <a:gd name="connsiteY34" fmla="*/ 2711003 h 3116689"/>
              <a:gd name="connsiteX35" fmla="*/ 0 w 1556919"/>
              <a:gd name="connsiteY35" fmla="*/ 405685 h 3116689"/>
              <a:gd name="connsiteX36" fmla="*/ 1610 w 1556919"/>
              <a:gd name="connsiteY36" fmla="*/ 389711 h 3116689"/>
              <a:gd name="connsiteX37" fmla="*/ 1829 w 1556919"/>
              <a:gd name="connsiteY37" fmla="*/ 363375 h 3116689"/>
              <a:gd name="connsiteX38" fmla="*/ 6655 w 1556919"/>
              <a:gd name="connsiteY38" fmla="*/ 339669 h 3116689"/>
              <a:gd name="connsiteX39" fmla="*/ 8242 w 1556919"/>
              <a:gd name="connsiteY39" fmla="*/ 323925 h 3116689"/>
              <a:gd name="connsiteX40" fmla="*/ 12945 w 1556919"/>
              <a:gd name="connsiteY40" fmla="*/ 308777 h 3116689"/>
              <a:gd name="connsiteX41" fmla="*/ 17471 w 1556919"/>
              <a:gd name="connsiteY41" fmla="*/ 286543 h 3116689"/>
              <a:gd name="connsiteX42" fmla="*/ 26609 w 1556919"/>
              <a:gd name="connsiteY42" fmla="*/ 264756 h 3116689"/>
              <a:gd name="connsiteX43" fmla="*/ 31881 w 1556919"/>
              <a:gd name="connsiteY43" fmla="*/ 247774 h 3116689"/>
              <a:gd name="connsiteX44" fmla="*/ 40027 w 1556919"/>
              <a:gd name="connsiteY44" fmla="*/ 232765 h 3116689"/>
              <a:gd name="connsiteX45" fmla="*/ 48313 w 1556919"/>
              <a:gd name="connsiteY45" fmla="*/ 213013 h 3116689"/>
              <a:gd name="connsiteX46" fmla="*/ 60337 w 1556919"/>
              <a:gd name="connsiteY46" fmla="*/ 195350 h 3116689"/>
              <a:gd name="connsiteX47" fmla="*/ 69284 w 1556919"/>
              <a:gd name="connsiteY47" fmla="*/ 178863 h 3116689"/>
              <a:gd name="connsiteX48" fmla="*/ 82282 w 1556919"/>
              <a:gd name="connsiteY48" fmla="*/ 163110 h 3116689"/>
              <a:gd name="connsiteX49" fmla="*/ 94552 w 1556919"/>
              <a:gd name="connsiteY49" fmla="*/ 145084 h 3116689"/>
              <a:gd name="connsiteX50" fmla="*/ 107800 w 1556919"/>
              <a:gd name="connsiteY50" fmla="*/ 132181 h 3116689"/>
              <a:gd name="connsiteX51" fmla="*/ 118822 w 1556919"/>
              <a:gd name="connsiteY51" fmla="*/ 118822 h 3116689"/>
              <a:gd name="connsiteX52" fmla="*/ 136449 w 1556919"/>
              <a:gd name="connsiteY52" fmla="*/ 104279 h 3116689"/>
              <a:gd name="connsiteX53" fmla="*/ 153420 w 1556919"/>
              <a:gd name="connsiteY53" fmla="*/ 87750 h 3116689"/>
              <a:gd name="connsiteX54" fmla="*/ 167323 w 1556919"/>
              <a:gd name="connsiteY54" fmla="*/ 78806 h 3116689"/>
              <a:gd name="connsiteX55" fmla="*/ 178862 w 1556919"/>
              <a:gd name="connsiteY55" fmla="*/ 69285 h 3116689"/>
              <a:gd name="connsiteX56" fmla="*/ 199720 w 1556919"/>
              <a:gd name="connsiteY56" fmla="*/ 57963 h 3116689"/>
              <a:gd name="connsiteX57" fmla="*/ 220479 w 1556919"/>
              <a:gd name="connsiteY57" fmla="*/ 44609 h 311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556919" h="3116689">
                <a:moveTo>
                  <a:pt x="220479" y="44609"/>
                </a:moveTo>
                <a:lnTo>
                  <a:pt x="234514" y="39078"/>
                </a:lnTo>
                <a:lnTo>
                  <a:pt x="247774" y="31881"/>
                </a:lnTo>
                <a:lnTo>
                  <a:pt x="271348" y="24563"/>
                </a:lnTo>
                <a:lnTo>
                  <a:pt x="293427" y="15863"/>
                </a:lnTo>
                <a:lnTo>
                  <a:pt x="308139" y="13143"/>
                </a:lnTo>
                <a:lnTo>
                  <a:pt x="323926" y="8242"/>
                </a:lnTo>
                <a:lnTo>
                  <a:pt x="347497" y="5866"/>
                </a:lnTo>
                <a:lnTo>
                  <a:pt x="369967" y="1711"/>
                </a:lnTo>
                <a:lnTo>
                  <a:pt x="387285" y="1855"/>
                </a:lnTo>
                <a:lnTo>
                  <a:pt x="405685" y="0"/>
                </a:lnTo>
                <a:lnTo>
                  <a:pt x="427383" y="2187"/>
                </a:lnTo>
                <a:lnTo>
                  <a:pt x="447804" y="2357"/>
                </a:lnTo>
                <a:lnTo>
                  <a:pt x="466185" y="6099"/>
                </a:lnTo>
                <a:lnTo>
                  <a:pt x="487445" y="8242"/>
                </a:lnTo>
                <a:lnTo>
                  <a:pt x="507901" y="14592"/>
                </a:lnTo>
                <a:lnTo>
                  <a:pt x="524635" y="17999"/>
                </a:lnTo>
                <a:lnTo>
                  <a:pt x="541033" y="24877"/>
                </a:lnTo>
                <a:lnTo>
                  <a:pt x="563596" y="31881"/>
                </a:lnTo>
                <a:lnTo>
                  <a:pt x="583538" y="42705"/>
                </a:lnTo>
                <a:lnTo>
                  <a:pt x="598165" y="48840"/>
                </a:lnTo>
                <a:lnTo>
                  <a:pt x="611245" y="57743"/>
                </a:lnTo>
                <a:lnTo>
                  <a:pt x="632507" y="69285"/>
                </a:lnTo>
                <a:lnTo>
                  <a:pt x="652822" y="86045"/>
                </a:lnTo>
                <a:lnTo>
                  <a:pt x="666094" y="95079"/>
                </a:lnTo>
                <a:lnTo>
                  <a:pt x="1556919" y="842571"/>
                </a:lnTo>
                <a:lnTo>
                  <a:pt x="1525390" y="819234"/>
                </a:lnTo>
                <a:cubicBezTo>
                  <a:pt x="1394940" y="740983"/>
                  <a:pt x="1229215" y="726821"/>
                  <a:pt x="1080971" y="795948"/>
                </a:cubicBezTo>
                <a:cubicBezTo>
                  <a:pt x="903078" y="878901"/>
                  <a:pt x="800881" y="1058232"/>
                  <a:pt x="807563" y="1242778"/>
                </a:cubicBezTo>
                <a:lnTo>
                  <a:pt x="812202" y="1276848"/>
                </a:lnTo>
                <a:lnTo>
                  <a:pt x="811370" y="1276149"/>
                </a:lnTo>
                <a:lnTo>
                  <a:pt x="811370" y="2711004"/>
                </a:lnTo>
                <a:cubicBezTo>
                  <a:pt x="811369" y="2935058"/>
                  <a:pt x="629738" y="3116689"/>
                  <a:pt x="405684" y="3116689"/>
                </a:cubicBezTo>
                <a:lnTo>
                  <a:pt x="405685" y="3116688"/>
                </a:lnTo>
                <a:cubicBezTo>
                  <a:pt x="181631" y="3116687"/>
                  <a:pt x="1" y="2935057"/>
                  <a:pt x="0" y="2711003"/>
                </a:cubicBezTo>
                <a:lnTo>
                  <a:pt x="0" y="405685"/>
                </a:lnTo>
                <a:lnTo>
                  <a:pt x="1610" y="389711"/>
                </a:lnTo>
                <a:lnTo>
                  <a:pt x="1829" y="363375"/>
                </a:lnTo>
                <a:lnTo>
                  <a:pt x="6655" y="339669"/>
                </a:lnTo>
                <a:lnTo>
                  <a:pt x="8242" y="323925"/>
                </a:lnTo>
                <a:lnTo>
                  <a:pt x="12945" y="308777"/>
                </a:lnTo>
                <a:lnTo>
                  <a:pt x="17471" y="286543"/>
                </a:lnTo>
                <a:lnTo>
                  <a:pt x="26609" y="264756"/>
                </a:lnTo>
                <a:lnTo>
                  <a:pt x="31881" y="247774"/>
                </a:lnTo>
                <a:lnTo>
                  <a:pt x="40027" y="232765"/>
                </a:lnTo>
                <a:lnTo>
                  <a:pt x="48313" y="213013"/>
                </a:lnTo>
                <a:lnTo>
                  <a:pt x="60337" y="195350"/>
                </a:lnTo>
                <a:lnTo>
                  <a:pt x="69284" y="178863"/>
                </a:lnTo>
                <a:lnTo>
                  <a:pt x="82282" y="163110"/>
                </a:lnTo>
                <a:lnTo>
                  <a:pt x="94552" y="145084"/>
                </a:lnTo>
                <a:lnTo>
                  <a:pt x="107800" y="132181"/>
                </a:lnTo>
                <a:lnTo>
                  <a:pt x="118822" y="118822"/>
                </a:lnTo>
                <a:lnTo>
                  <a:pt x="136449" y="104279"/>
                </a:lnTo>
                <a:lnTo>
                  <a:pt x="153420" y="87750"/>
                </a:lnTo>
                <a:lnTo>
                  <a:pt x="167323" y="78806"/>
                </a:lnTo>
                <a:lnTo>
                  <a:pt x="178862" y="69285"/>
                </a:lnTo>
                <a:lnTo>
                  <a:pt x="199720" y="57963"/>
                </a:lnTo>
                <a:lnTo>
                  <a:pt x="220479" y="44609"/>
                </a:lnTo>
                <a:close/>
              </a:path>
            </a:pathLst>
          </a:custGeom>
          <a:solidFill>
            <a:srgbClr val="7E2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48" name="Freeform: Shape 47">
            <a:extLst>
              <a:ext uri="{FF2B5EF4-FFF2-40B4-BE49-F238E27FC236}">
                <a16:creationId xmlns:a16="http://schemas.microsoft.com/office/drawing/2014/main" id="{29D64D67-9E49-447A-A17C-C68BA9D9ED78}"/>
              </a:ext>
            </a:extLst>
          </p:cNvPr>
          <p:cNvSpPr/>
          <p:nvPr/>
        </p:nvSpPr>
        <p:spPr>
          <a:xfrm rot="14460000">
            <a:off x="4263230" y="4146293"/>
            <a:ext cx="659525" cy="557006"/>
          </a:xfrm>
          <a:custGeom>
            <a:avLst/>
            <a:gdLst>
              <a:gd name="connsiteX0" fmla="*/ 0 w 833216"/>
              <a:gd name="connsiteY0" fmla="*/ 0 h 703698"/>
              <a:gd name="connsiteX1" fmla="*/ 808980 w 833216"/>
              <a:gd name="connsiteY1" fmla="*/ 678814 h 703698"/>
              <a:gd name="connsiteX2" fmla="*/ 833216 w 833216"/>
              <a:gd name="connsiteY2" fmla="*/ 703698 h 703698"/>
              <a:gd name="connsiteX3" fmla="*/ 501563 w 833216"/>
              <a:gd name="connsiteY3" fmla="*/ 425409 h 703698"/>
              <a:gd name="connsiteX4" fmla="*/ 700 w 833216"/>
              <a:gd name="connsiteY4" fmla="*/ 5135 h 703698"/>
              <a:gd name="connsiteX5" fmla="*/ 0 w 833216"/>
              <a:gd name="connsiteY5" fmla="*/ 0 h 70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3216" h="703698">
                <a:moveTo>
                  <a:pt x="0" y="0"/>
                </a:moveTo>
                <a:lnTo>
                  <a:pt x="808980" y="678814"/>
                </a:lnTo>
                <a:lnTo>
                  <a:pt x="833216" y="703698"/>
                </a:lnTo>
                <a:lnTo>
                  <a:pt x="501563" y="425409"/>
                </a:lnTo>
                <a:lnTo>
                  <a:pt x="700" y="5135"/>
                </a:lnTo>
                <a:lnTo>
                  <a:pt x="0" y="0"/>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49" name="Freeform: Shape 48">
            <a:extLst>
              <a:ext uri="{FF2B5EF4-FFF2-40B4-BE49-F238E27FC236}">
                <a16:creationId xmlns:a16="http://schemas.microsoft.com/office/drawing/2014/main" id="{0D8CCDE9-60DF-4107-B28A-BBB157D652E9}"/>
              </a:ext>
            </a:extLst>
          </p:cNvPr>
          <p:cNvSpPr/>
          <p:nvPr/>
        </p:nvSpPr>
        <p:spPr>
          <a:xfrm rot="14460000">
            <a:off x="5139314" y="3817561"/>
            <a:ext cx="66714" cy="31109"/>
          </a:xfrm>
          <a:custGeom>
            <a:avLst/>
            <a:gdLst>
              <a:gd name="connsiteX0" fmla="*/ 0 w 84284"/>
              <a:gd name="connsiteY0" fmla="*/ 39302 h 39302"/>
              <a:gd name="connsiteX1" fmla="*/ 84284 w 84284"/>
              <a:gd name="connsiteY1" fmla="*/ 0 h 39302"/>
              <a:gd name="connsiteX2" fmla="*/ 59858 w 84284"/>
              <a:gd name="connsiteY2" fmla="*/ 15714 h 39302"/>
              <a:gd name="connsiteX3" fmla="*/ 0 w 84284"/>
              <a:gd name="connsiteY3" fmla="*/ 39302 h 39302"/>
            </a:gdLst>
            <a:ahLst/>
            <a:cxnLst>
              <a:cxn ang="0">
                <a:pos x="connsiteX0" y="connsiteY0"/>
              </a:cxn>
              <a:cxn ang="0">
                <a:pos x="connsiteX1" y="connsiteY1"/>
              </a:cxn>
              <a:cxn ang="0">
                <a:pos x="connsiteX2" y="connsiteY2"/>
              </a:cxn>
              <a:cxn ang="0">
                <a:pos x="connsiteX3" y="connsiteY3"/>
              </a:cxn>
            </a:cxnLst>
            <a:rect l="l" t="t" r="r" b="b"/>
            <a:pathLst>
              <a:path w="84284" h="39302">
                <a:moveTo>
                  <a:pt x="0" y="39302"/>
                </a:moveTo>
                <a:lnTo>
                  <a:pt x="84284" y="0"/>
                </a:lnTo>
                <a:lnTo>
                  <a:pt x="59858" y="15714"/>
                </a:lnTo>
                <a:lnTo>
                  <a:pt x="0" y="39302"/>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50" name="Freeform: Shape 49">
            <a:extLst>
              <a:ext uri="{FF2B5EF4-FFF2-40B4-BE49-F238E27FC236}">
                <a16:creationId xmlns:a16="http://schemas.microsoft.com/office/drawing/2014/main" id="{A40C81DF-85FA-4FE6-92C8-8B6C9B2C90DC}"/>
              </a:ext>
            </a:extLst>
          </p:cNvPr>
          <p:cNvSpPr/>
          <p:nvPr/>
        </p:nvSpPr>
        <p:spPr>
          <a:xfrm rot="14460000">
            <a:off x="3918423" y="3776157"/>
            <a:ext cx="1799750" cy="1220509"/>
          </a:xfrm>
          <a:custGeom>
            <a:avLst/>
            <a:gdLst>
              <a:gd name="connsiteX0" fmla="*/ 1674819 w 2273724"/>
              <a:gd name="connsiteY0" fmla="*/ 1397015 h 1541939"/>
              <a:gd name="connsiteX1" fmla="*/ 1674820 w 2273724"/>
              <a:gd name="connsiteY1" fmla="*/ 1397015 h 1541939"/>
              <a:gd name="connsiteX2" fmla="*/ 1674820 w 2273724"/>
              <a:gd name="connsiteY2" fmla="*/ 1397015 h 1541939"/>
              <a:gd name="connsiteX3" fmla="*/ 273717 w 2273724"/>
              <a:gd name="connsiteY3" fmla="*/ 44511 h 1541939"/>
              <a:gd name="connsiteX4" fmla="*/ 718137 w 2273724"/>
              <a:gd name="connsiteY4" fmla="*/ 67797 h 1541939"/>
              <a:gd name="connsiteX5" fmla="*/ 749665 w 2273724"/>
              <a:gd name="connsiteY5" fmla="*/ 91134 h 1541939"/>
              <a:gd name="connsiteX6" fmla="*/ 807642 w 2273724"/>
              <a:gd name="connsiteY6" fmla="*/ 139782 h 1541939"/>
              <a:gd name="connsiteX7" fmla="*/ 807643 w 2273724"/>
              <a:gd name="connsiteY7" fmla="*/ 139785 h 1541939"/>
              <a:gd name="connsiteX8" fmla="*/ 815835 w 2273724"/>
              <a:gd name="connsiteY8" fmla="*/ 146659 h 1541939"/>
              <a:gd name="connsiteX9" fmla="*/ 816535 w 2273724"/>
              <a:gd name="connsiteY9" fmla="*/ 151794 h 1541939"/>
              <a:gd name="connsiteX10" fmla="*/ 1317398 w 2273724"/>
              <a:gd name="connsiteY10" fmla="*/ 572068 h 1541939"/>
              <a:gd name="connsiteX11" fmla="*/ 1649051 w 2273724"/>
              <a:gd name="connsiteY11" fmla="*/ 850357 h 1541939"/>
              <a:gd name="connsiteX12" fmla="*/ 1653886 w 2273724"/>
              <a:gd name="connsiteY12" fmla="*/ 855322 h 1541939"/>
              <a:gd name="connsiteX13" fmla="*/ 1649051 w 2273724"/>
              <a:gd name="connsiteY13" fmla="*/ 850357 h 1541939"/>
              <a:gd name="connsiteX14" fmla="*/ 1914866 w 2273724"/>
              <a:gd name="connsiteY14" fmla="*/ 1073402 h 1541939"/>
              <a:gd name="connsiteX15" fmla="*/ 2210992 w 2273724"/>
              <a:gd name="connsiteY15" fmla="*/ 1166769 h 1541939"/>
              <a:gd name="connsiteX16" fmla="*/ 2273724 w 2273724"/>
              <a:gd name="connsiteY16" fmla="*/ 1155171 h 1541939"/>
              <a:gd name="connsiteX17" fmla="*/ 1573321 w 2273724"/>
              <a:gd name="connsiteY17" fmla="*/ 1481775 h 1541939"/>
              <a:gd name="connsiteX18" fmla="*/ 1489037 w 2273724"/>
              <a:gd name="connsiteY18" fmla="*/ 1521077 h 1541939"/>
              <a:gd name="connsiteX19" fmla="*/ 1475948 w 2273724"/>
              <a:gd name="connsiteY19" fmla="*/ 1526236 h 1541939"/>
              <a:gd name="connsiteX20" fmla="*/ 1103280 w 2273724"/>
              <a:gd name="connsiteY20" fmla="*/ 1447019 h 1541939"/>
              <a:gd name="connsiteX21" fmla="*/ 505812 w 2273724"/>
              <a:gd name="connsiteY21" fmla="*/ 945685 h 1541939"/>
              <a:gd name="connsiteX22" fmla="*/ 4949 w 2273724"/>
              <a:gd name="connsiteY22" fmla="*/ 525411 h 1541939"/>
              <a:gd name="connsiteX23" fmla="*/ 309 w 2273724"/>
              <a:gd name="connsiteY23" fmla="*/ 491341 h 1541939"/>
              <a:gd name="connsiteX24" fmla="*/ 273717 w 2273724"/>
              <a:gd name="connsiteY24" fmla="*/ 44511 h 154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73724" h="1541939">
                <a:moveTo>
                  <a:pt x="1674819" y="1397015"/>
                </a:moveTo>
                <a:lnTo>
                  <a:pt x="1674820" y="1397015"/>
                </a:lnTo>
                <a:lnTo>
                  <a:pt x="1674820" y="1397015"/>
                </a:lnTo>
                <a:close/>
                <a:moveTo>
                  <a:pt x="273717" y="44511"/>
                </a:moveTo>
                <a:cubicBezTo>
                  <a:pt x="421961" y="-24616"/>
                  <a:pt x="587686" y="-10454"/>
                  <a:pt x="718137" y="67797"/>
                </a:cubicBezTo>
                <a:lnTo>
                  <a:pt x="749665" y="91134"/>
                </a:lnTo>
                <a:lnTo>
                  <a:pt x="807642" y="139782"/>
                </a:lnTo>
                <a:lnTo>
                  <a:pt x="807643" y="139785"/>
                </a:lnTo>
                <a:lnTo>
                  <a:pt x="815835" y="146659"/>
                </a:lnTo>
                <a:lnTo>
                  <a:pt x="816535" y="151794"/>
                </a:lnTo>
                <a:lnTo>
                  <a:pt x="1317398" y="572068"/>
                </a:lnTo>
                <a:lnTo>
                  <a:pt x="1649051" y="850357"/>
                </a:lnTo>
                <a:lnTo>
                  <a:pt x="1653886" y="855322"/>
                </a:lnTo>
                <a:lnTo>
                  <a:pt x="1649051" y="850357"/>
                </a:lnTo>
                <a:lnTo>
                  <a:pt x="1914866" y="1073402"/>
                </a:lnTo>
                <a:cubicBezTo>
                  <a:pt x="2000683" y="1145411"/>
                  <a:pt x="2107563" y="1175818"/>
                  <a:pt x="2210992" y="1166769"/>
                </a:cubicBezTo>
                <a:lnTo>
                  <a:pt x="2273724" y="1155171"/>
                </a:lnTo>
                <a:lnTo>
                  <a:pt x="1573321" y="1481775"/>
                </a:lnTo>
                <a:lnTo>
                  <a:pt x="1489037" y="1521077"/>
                </a:lnTo>
                <a:lnTo>
                  <a:pt x="1475948" y="1526236"/>
                </a:lnTo>
                <a:cubicBezTo>
                  <a:pt x="1350734" y="1562039"/>
                  <a:pt x="1210551" y="1537030"/>
                  <a:pt x="1103280" y="1447019"/>
                </a:cubicBezTo>
                <a:lnTo>
                  <a:pt x="505812" y="945685"/>
                </a:lnTo>
                <a:lnTo>
                  <a:pt x="4949" y="525411"/>
                </a:lnTo>
                <a:lnTo>
                  <a:pt x="309" y="491341"/>
                </a:lnTo>
                <a:cubicBezTo>
                  <a:pt x="-6373" y="306795"/>
                  <a:pt x="95824" y="127464"/>
                  <a:pt x="273717" y="44511"/>
                </a:cubicBezTo>
                <a:close/>
              </a:path>
            </a:pathLst>
          </a:custGeom>
          <a:gradFill flip="none" rotWithShape="1">
            <a:gsLst>
              <a:gs pos="0">
                <a:srgbClr val="1E3ADA">
                  <a:shade val="30000"/>
                  <a:satMod val="115000"/>
                </a:srgbClr>
              </a:gs>
              <a:gs pos="50000">
                <a:srgbClr val="1E3ADA">
                  <a:shade val="67500"/>
                  <a:satMod val="115000"/>
                </a:srgbClr>
              </a:gs>
              <a:gs pos="100000">
                <a:srgbClr val="1E3ADA">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51" name="Freeform: Shape 50">
            <a:extLst>
              <a:ext uri="{FF2B5EF4-FFF2-40B4-BE49-F238E27FC236}">
                <a16:creationId xmlns:a16="http://schemas.microsoft.com/office/drawing/2014/main" id="{34BEDD47-0BFE-4F60-83F8-32DCCB7A7E32}"/>
              </a:ext>
            </a:extLst>
          </p:cNvPr>
          <p:cNvSpPr/>
          <p:nvPr/>
        </p:nvSpPr>
        <p:spPr>
          <a:xfrm rot="14460000">
            <a:off x="4674310" y="3946108"/>
            <a:ext cx="1232368" cy="2466991"/>
          </a:xfrm>
          <a:custGeom>
            <a:avLst/>
            <a:gdLst>
              <a:gd name="connsiteX0" fmla="*/ 220479 w 1556919"/>
              <a:gd name="connsiteY0" fmla="*/ 44609 h 3116689"/>
              <a:gd name="connsiteX1" fmla="*/ 234514 w 1556919"/>
              <a:gd name="connsiteY1" fmla="*/ 39078 h 3116689"/>
              <a:gd name="connsiteX2" fmla="*/ 247774 w 1556919"/>
              <a:gd name="connsiteY2" fmla="*/ 31881 h 3116689"/>
              <a:gd name="connsiteX3" fmla="*/ 271348 w 1556919"/>
              <a:gd name="connsiteY3" fmla="*/ 24563 h 3116689"/>
              <a:gd name="connsiteX4" fmla="*/ 293427 w 1556919"/>
              <a:gd name="connsiteY4" fmla="*/ 15863 h 3116689"/>
              <a:gd name="connsiteX5" fmla="*/ 308139 w 1556919"/>
              <a:gd name="connsiteY5" fmla="*/ 13143 h 3116689"/>
              <a:gd name="connsiteX6" fmla="*/ 323926 w 1556919"/>
              <a:gd name="connsiteY6" fmla="*/ 8242 h 3116689"/>
              <a:gd name="connsiteX7" fmla="*/ 347497 w 1556919"/>
              <a:gd name="connsiteY7" fmla="*/ 5866 h 3116689"/>
              <a:gd name="connsiteX8" fmla="*/ 369967 w 1556919"/>
              <a:gd name="connsiteY8" fmla="*/ 1711 h 3116689"/>
              <a:gd name="connsiteX9" fmla="*/ 387285 w 1556919"/>
              <a:gd name="connsiteY9" fmla="*/ 1855 h 3116689"/>
              <a:gd name="connsiteX10" fmla="*/ 405685 w 1556919"/>
              <a:gd name="connsiteY10" fmla="*/ 0 h 3116689"/>
              <a:gd name="connsiteX11" fmla="*/ 427383 w 1556919"/>
              <a:gd name="connsiteY11" fmla="*/ 2187 h 3116689"/>
              <a:gd name="connsiteX12" fmla="*/ 447804 w 1556919"/>
              <a:gd name="connsiteY12" fmla="*/ 2357 h 3116689"/>
              <a:gd name="connsiteX13" fmla="*/ 466185 w 1556919"/>
              <a:gd name="connsiteY13" fmla="*/ 6099 h 3116689"/>
              <a:gd name="connsiteX14" fmla="*/ 487445 w 1556919"/>
              <a:gd name="connsiteY14" fmla="*/ 8242 h 3116689"/>
              <a:gd name="connsiteX15" fmla="*/ 507901 w 1556919"/>
              <a:gd name="connsiteY15" fmla="*/ 14592 h 3116689"/>
              <a:gd name="connsiteX16" fmla="*/ 524635 w 1556919"/>
              <a:gd name="connsiteY16" fmla="*/ 17999 h 3116689"/>
              <a:gd name="connsiteX17" fmla="*/ 541033 w 1556919"/>
              <a:gd name="connsiteY17" fmla="*/ 24877 h 3116689"/>
              <a:gd name="connsiteX18" fmla="*/ 563596 w 1556919"/>
              <a:gd name="connsiteY18" fmla="*/ 31881 h 3116689"/>
              <a:gd name="connsiteX19" fmla="*/ 583538 w 1556919"/>
              <a:gd name="connsiteY19" fmla="*/ 42705 h 3116689"/>
              <a:gd name="connsiteX20" fmla="*/ 598165 w 1556919"/>
              <a:gd name="connsiteY20" fmla="*/ 48840 h 3116689"/>
              <a:gd name="connsiteX21" fmla="*/ 611245 w 1556919"/>
              <a:gd name="connsiteY21" fmla="*/ 57743 h 3116689"/>
              <a:gd name="connsiteX22" fmla="*/ 632507 w 1556919"/>
              <a:gd name="connsiteY22" fmla="*/ 69285 h 3116689"/>
              <a:gd name="connsiteX23" fmla="*/ 652822 w 1556919"/>
              <a:gd name="connsiteY23" fmla="*/ 86045 h 3116689"/>
              <a:gd name="connsiteX24" fmla="*/ 666094 w 1556919"/>
              <a:gd name="connsiteY24" fmla="*/ 95079 h 3116689"/>
              <a:gd name="connsiteX25" fmla="*/ 1556919 w 1556919"/>
              <a:gd name="connsiteY25" fmla="*/ 842571 h 3116689"/>
              <a:gd name="connsiteX26" fmla="*/ 1525390 w 1556919"/>
              <a:gd name="connsiteY26" fmla="*/ 819234 h 3116689"/>
              <a:gd name="connsiteX27" fmla="*/ 1080971 w 1556919"/>
              <a:gd name="connsiteY27" fmla="*/ 795948 h 3116689"/>
              <a:gd name="connsiteX28" fmla="*/ 807563 w 1556919"/>
              <a:gd name="connsiteY28" fmla="*/ 1242778 h 3116689"/>
              <a:gd name="connsiteX29" fmla="*/ 812202 w 1556919"/>
              <a:gd name="connsiteY29" fmla="*/ 1276848 h 3116689"/>
              <a:gd name="connsiteX30" fmla="*/ 811370 w 1556919"/>
              <a:gd name="connsiteY30" fmla="*/ 1276149 h 3116689"/>
              <a:gd name="connsiteX31" fmla="*/ 811370 w 1556919"/>
              <a:gd name="connsiteY31" fmla="*/ 2711004 h 3116689"/>
              <a:gd name="connsiteX32" fmla="*/ 405684 w 1556919"/>
              <a:gd name="connsiteY32" fmla="*/ 3116689 h 3116689"/>
              <a:gd name="connsiteX33" fmla="*/ 405685 w 1556919"/>
              <a:gd name="connsiteY33" fmla="*/ 3116688 h 3116689"/>
              <a:gd name="connsiteX34" fmla="*/ 0 w 1556919"/>
              <a:gd name="connsiteY34" fmla="*/ 2711003 h 3116689"/>
              <a:gd name="connsiteX35" fmla="*/ 0 w 1556919"/>
              <a:gd name="connsiteY35" fmla="*/ 405685 h 3116689"/>
              <a:gd name="connsiteX36" fmla="*/ 1610 w 1556919"/>
              <a:gd name="connsiteY36" fmla="*/ 389711 h 3116689"/>
              <a:gd name="connsiteX37" fmla="*/ 1829 w 1556919"/>
              <a:gd name="connsiteY37" fmla="*/ 363375 h 3116689"/>
              <a:gd name="connsiteX38" fmla="*/ 6655 w 1556919"/>
              <a:gd name="connsiteY38" fmla="*/ 339669 h 3116689"/>
              <a:gd name="connsiteX39" fmla="*/ 8242 w 1556919"/>
              <a:gd name="connsiteY39" fmla="*/ 323925 h 3116689"/>
              <a:gd name="connsiteX40" fmla="*/ 12945 w 1556919"/>
              <a:gd name="connsiteY40" fmla="*/ 308777 h 3116689"/>
              <a:gd name="connsiteX41" fmla="*/ 17471 w 1556919"/>
              <a:gd name="connsiteY41" fmla="*/ 286543 h 3116689"/>
              <a:gd name="connsiteX42" fmla="*/ 26609 w 1556919"/>
              <a:gd name="connsiteY42" fmla="*/ 264756 h 3116689"/>
              <a:gd name="connsiteX43" fmla="*/ 31881 w 1556919"/>
              <a:gd name="connsiteY43" fmla="*/ 247774 h 3116689"/>
              <a:gd name="connsiteX44" fmla="*/ 40027 w 1556919"/>
              <a:gd name="connsiteY44" fmla="*/ 232765 h 3116689"/>
              <a:gd name="connsiteX45" fmla="*/ 48313 w 1556919"/>
              <a:gd name="connsiteY45" fmla="*/ 213013 h 3116689"/>
              <a:gd name="connsiteX46" fmla="*/ 60337 w 1556919"/>
              <a:gd name="connsiteY46" fmla="*/ 195350 h 3116689"/>
              <a:gd name="connsiteX47" fmla="*/ 69284 w 1556919"/>
              <a:gd name="connsiteY47" fmla="*/ 178863 h 3116689"/>
              <a:gd name="connsiteX48" fmla="*/ 82282 w 1556919"/>
              <a:gd name="connsiteY48" fmla="*/ 163110 h 3116689"/>
              <a:gd name="connsiteX49" fmla="*/ 94552 w 1556919"/>
              <a:gd name="connsiteY49" fmla="*/ 145084 h 3116689"/>
              <a:gd name="connsiteX50" fmla="*/ 107800 w 1556919"/>
              <a:gd name="connsiteY50" fmla="*/ 132181 h 3116689"/>
              <a:gd name="connsiteX51" fmla="*/ 118822 w 1556919"/>
              <a:gd name="connsiteY51" fmla="*/ 118822 h 3116689"/>
              <a:gd name="connsiteX52" fmla="*/ 136449 w 1556919"/>
              <a:gd name="connsiteY52" fmla="*/ 104279 h 3116689"/>
              <a:gd name="connsiteX53" fmla="*/ 153420 w 1556919"/>
              <a:gd name="connsiteY53" fmla="*/ 87750 h 3116689"/>
              <a:gd name="connsiteX54" fmla="*/ 167323 w 1556919"/>
              <a:gd name="connsiteY54" fmla="*/ 78806 h 3116689"/>
              <a:gd name="connsiteX55" fmla="*/ 178862 w 1556919"/>
              <a:gd name="connsiteY55" fmla="*/ 69285 h 3116689"/>
              <a:gd name="connsiteX56" fmla="*/ 199720 w 1556919"/>
              <a:gd name="connsiteY56" fmla="*/ 57963 h 3116689"/>
              <a:gd name="connsiteX57" fmla="*/ 220479 w 1556919"/>
              <a:gd name="connsiteY57" fmla="*/ 44609 h 311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556919" h="3116689">
                <a:moveTo>
                  <a:pt x="220479" y="44609"/>
                </a:moveTo>
                <a:lnTo>
                  <a:pt x="234514" y="39078"/>
                </a:lnTo>
                <a:lnTo>
                  <a:pt x="247774" y="31881"/>
                </a:lnTo>
                <a:lnTo>
                  <a:pt x="271348" y="24563"/>
                </a:lnTo>
                <a:lnTo>
                  <a:pt x="293427" y="15863"/>
                </a:lnTo>
                <a:lnTo>
                  <a:pt x="308139" y="13143"/>
                </a:lnTo>
                <a:lnTo>
                  <a:pt x="323926" y="8242"/>
                </a:lnTo>
                <a:lnTo>
                  <a:pt x="347497" y="5866"/>
                </a:lnTo>
                <a:lnTo>
                  <a:pt x="369967" y="1711"/>
                </a:lnTo>
                <a:lnTo>
                  <a:pt x="387285" y="1855"/>
                </a:lnTo>
                <a:lnTo>
                  <a:pt x="405685" y="0"/>
                </a:lnTo>
                <a:lnTo>
                  <a:pt x="427383" y="2187"/>
                </a:lnTo>
                <a:lnTo>
                  <a:pt x="447804" y="2357"/>
                </a:lnTo>
                <a:lnTo>
                  <a:pt x="466185" y="6099"/>
                </a:lnTo>
                <a:lnTo>
                  <a:pt x="487445" y="8242"/>
                </a:lnTo>
                <a:lnTo>
                  <a:pt x="507901" y="14592"/>
                </a:lnTo>
                <a:lnTo>
                  <a:pt x="524635" y="17999"/>
                </a:lnTo>
                <a:lnTo>
                  <a:pt x="541033" y="24877"/>
                </a:lnTo>
                <a:lnTo>
                  <a:pt x="563596" y="31881"/>
                </a:lnTo>
                <a:lnTo>
                  <a:pt x="583538" y="42705"/>
                </a:lnTo>
                <a:lnTo>
                  <a:pt x="598165" y="48840"/>
                </a:lnTo>
                <a:lnTo>
                  <a:pt x="611245" y="57743"/>
                </a:lnTo>
                <a:lnTo>
                  <a:pt x="632507" y="69285"/>
                </a:lnTo>
                <a:lnTo>
                  <a:pt x="652822" y="86045"/>
                </a:lnTo>
                <a:lnTo>
                  <a:pt x="666094" y="95079"/>
                </a:lnTo>
                <a:lnTo>
                  <a:pt x="1556919" y="842571"/>
                </a:lnTo>
                <a:lnTo>
                  <a:pt x="1525390" y="819234"/>
                </a:lnTo>
                <a:cubicBezTo>
                  <a:pt x="1394940" y="740983"/>
                  <a:pt x="1229215" y="726821"/>
                  <a:pt x="1080971" y="795948"/>
                </a:cubicBezTo>
                <a:cubicBezTo>
                  <a:pt x="903078" y="878901"/>
                  <a:pt x="800881" y="1058232"/>
                  <a:pt x="807563" y="1242778"/>
                </a:cubicBezTo>
                <a:lnTo>
                  <a:pt x="812202" y="1276848"/>
                </a:lnTo>
                <a:lnTo>
                  <a:pt x="811370" y="1276149"/>
                </a:lnTo>
                <a:lnTo>
                  <a:pt x="811370" y="2711004"/>
                </a:lnTo>
                <a:cubicBezTo>
                  <a:pt x="811369" y="2935058"/>
                  <a:pt x="629738" y="3116689"/>
                  <a:pt x="405684" y="3116689"/>
                </a:cubicBezTo>
                <a:lnTo>
                  <a:pt x="405685" y="3116688"/>
                </a:lnTo>
                <a:cubicBezTo>
                  <a:pt x="181631" y="3116687"/>
                  <a:pt x="1" y="2935057"/>
                  <a:pt x="0" y="2711003"/>
                </a:cubicBezTo>
                <a:lnTo>
                  <a:pt x="0" y="405685"/>
                </a:lnTo>
                <a:lnTo>
                  <a:pt x="1610" y="389711"/>
                </a:lnTo>
                <a:lnTo>
                  <a:pt x="1829" y="363375"/>
                </a:lnTo>
                <a:lnTo>
                  <a:pt x="6655" y="339669"/>
                </a:lnTo>
                <a:lnTo>
                  <a:pt x="8242" y="323925"/>
                </a:lnTo>
                <a:lnTo>
                  <a:pt x="12945" y="308777"/>
                </a:lnTo>
                <a:lnTo>
                  <a:pt x="17471" y="286543"/>
                </a:lnTo>
                <a:lnTo>
                  <a:pt x="26609" y="264756"/>
                </a:lnTo>
                <a:lnTo>
                  <a:pt x="31881" y="247774"/>
                </a:lnTo>
                <a:lnTo>
                  <a:pt x="40027" y="232765"/>
                </a:lnTo>
                <a:lnTo>
                  <a:pt x="48313" y="213013"/>
                </a:lnTo>
                <a:lnTo>
                  <a:pt x="60337" y="195350"/>
                </a:lnTo>
                <a:lnTo>
                  <a:pt x="69284" y="178863"/>
                </a:lnTo>
                <a:lnTo>
                  <a:pt x="82282" y="163110"/>
                </a:lnTo>
                <a:lnTo>
                  <a:pt x="94552" y="145084"/>
                </a:lnTo>
                <a:lnTo>
                  <a:pt x="107800" y="132181"/>
                </a:lnTo>
                <a:lnTo>
                  <a:pt x="118822" y="118822"/>
                </a:lnTo>
                <a:lnTo>
                  <a:pt x="136449" y="104279"/>
                </a:lnTo>
                <a:lnTo>
                  <a:pt x="153420" y="87750"/>
                </a:lnTo>
                <a:lnTo>
                  <a:pt x="167323" y="78806"/>
                </a:lnTo>
                <a:lnTo>
                  <a:pt x="178862" y="69285"/>
                </a:lnTo>
                <a:lnTo>
                  <a:pt x="199720" y="57963"/>
                </a:lnTo>
                <a:lnTo>
                  <a:pt x="220479" y="44609"/>
                </a:lnTo>
                <a:close/>
              </a:path>
            </a:pathLst>
          </a:custGeom>
          <a:solidFill>
            <a:srgbClr val="1E3AD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53" name="Freeform: Shape 52">
            <a:extLst>
              <a:ext uri="{FF2B5EF4-FFF2-40B4-BE49-F238E27FC236}">
                <a16:creationId xmlns:a16="http://schemas.microsoft.com/office/drawing/2014/main" id="{4847D768-0047-42AB-A647-51F689724DFC}"/>
              </a:ext>
            </a:extLst>
          </p:cNvPr>
          <p:cNvSpPr/>
          <p:nvPr/>
        </p:nvSpPr>
        <p:spPr>
          <a:xfrm rot="10140000">
            <a:off x="6018457" y="5139562"/>
            <a:ext cx="659525" cy="557006"/>
          </a:xfrm>
          <a:custGeom>
            <a:avLst/>
            <a:gdLst>
              <a:gd name="connsiteX0" fmla="*/ 0 w 833216"/>
              <a:gd name="connsiteY0" fmla="*/ 0 h 703698"/>
              <a:gd name="connsiteX1" fmla="*/ 808980 w 833216"/>
              <a:gd name="connsiteY1" fmla="*/ 678814 h 703698"/>
              <a:gd name="connsiteX2" fmla="*/ 833216 w 833216"/>
              <a:gd name="connsiteY2" fmla="*/ 703698 h 703698"/>
              <a:gd name="connsiteX3" fmla="*/ 501563 w 833216"/>
              <a:gd name="connsiteY3" fmla="*/ 425409 h 703698"/>
              <a:gd name="connsiteX4" fmla="*/ 700 w 833216"/>
              <a:gd name="connsiteY4" fmla="*/ 5135 h 703698"/>
              <a:gd name="connsiteX5" fmla="*/ 0 w 833216"/>
              <a:gd name="connsiteY5" fmla="*/ 0 h 70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3216" h="703698">
                <a:moveTo>
                  <a:pt x="0" y="0"/>
                </a:moveTo>
                <a:lnTo>
                  <a:pt x="808980" y="678814"/>
                </a:lnTo>
                <a:lnTo>
                  <a:pt x="833216" y="703698"/>
                </a:lnTo>
                <a:lnTo>
                  <a:pt x="501563" y="425409"/>
                </a:lnTo>
                <a:lnTo>
                  <a:pt x="700" y="5135"/>
                </a:lnTo>
                <a:lnTo>
                  <a:pt x="0" y="0"/>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54" name="Freeform: Shape 53">
            <a:extLst>
              <a:ext uri="{FF2B5EF4-FFF2-40B4-BE49-F238E27FC236}">
                <a16:creationId xmlns:a16="http://schemas.microsoft.com/office/drawing/2014/main" id="{A2275115-58C5-4029-9471-D47A750180B1}"/>
              </a:ext>
            </a:extLst>
          </p:cNvPr>
          <p:cNvSpPr/>
          <p:nvPr/>
        </p:nvSpPr>
        <p:spPr>
          <a:xfrm rot="10140000">
            <a:off x="5931271" y="4668363"/>
            <a:ext cx="66714" cy="31109"/>
          </a:xfrm>
          <a:custGeom>
            <a:avLst/>
            <a:gdLst>
              <a:gd name="connsiteX0" fmla="*/ 0 w 84284"/>
              <a:gd name="connsiteY0" fmla="*/ 39302 h 39302"/>
              <a:gd name="connsiteX1" fmla="*/ 84284 w 84284"/>
              <a:gd name="connsiteY1" fmla="*/ 0 h 39302"/>
              <a:gd name="connsiteX2" fmla="*/ 59858 w 84284"/>
              <a:gd name="connsiteY2" fmla="*/ 15714 h 39302"/>
              <a:gd name="connsiteX3" fmla="*/ 0 w 84284"/>
              <a:gd name="connsiteY3" fmla="*/ 39302 h 39302"/>
            </a:gdLst>
            <a:ahLst/>
            <a:cxnLst>
              <a:cxn ang="0">
                <a:pos x="connsiteX0" y="connsiteY0"/>
              </a:cxn>
              <a:cxn ang="0">
                <a:pos x="connsiteX1" y="connsiteY1"/>
              </a:cxn>
              <a:cxn ang="0">
                <a:pos x="connsiteX2" y="connsiteY2"/>
              </a:cxn>
              <a:cxn ang="0">
                <a:pos x="connsiteX3" y="connsiteY3"/>
              </a:cxn>
            </a:cxnLst>
            <a:rect l="l" t="t" r="r" b="b"/>
            <a:pathLst>
              <a:path w="84284" h="39302">
                <a:moveTo>
                  <a:pt x="0" y="39302"/>
                </a:moveTo>
                <a:lnTo>
                  <a:pt x="84284" y="0"/>
                </a:lnTo>
                <a:lnTo>
                  <a:pt x="59858" y="15714"/>
                </a:lnTo>
                <a:lnTo>
                  <a:pt x="0" y="39302"/>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55" name="Freeform: Shape 54">
            <a:extLst>
              <a:ext uri="{FF2B5EF4-FFF2-40B4-BE49-F238E27FC236}">
                <a16:creationId xmlns:a16="http://schemas.microsoft.com/office/drawing/2014/main" id="{EB671C42-A1A0-4D99-9895-AB6CACD98EA8}"/>
              </a:ext>
            </a:extLst>
          </p:cNvPr>
          <p:cNvSpPr/>
          <p:nvPr/>
        </p:nvSpPr>
        <p:spPr>
          <a:xfrm rot="10140000">
            <a:off x="5481462" y="4581671"/>
            <a:ext cx="1799749" cy="1220509"/>
          </a:xfrm>
          <a:custGeom>
            <a:avLst/>
            <a:gdLst>
              <a:gd name="connsiteX0" fmla="*/ 1674819 w 2273724"/>
              <a:gd name="connsiteY0" fmla="*/ 1397015 h 1541939"/>
              <a:gd name="connsiteX1" fmla="*/ 1674820 w 2273724"/>
              <a:gd name="connsiteY1" fmla="*/ 1397015 h 1541939"/>
              <a:gd name="connsiteX2" fmla="*/ 1674820 w 2273724"/>
              <a:gd name="connsiteY2" fmla="*/ 1397015 h 1541939"/>
              <a:gd name="connsiteX3" fmla="*/ 273717 w 2273724"/>
              <a:gd name="connsiteY3" fmla="*/ 44511 h 1541939"/>
              <a:gd name="connsiteX4" fmla="*/ 718137 w 2273724"/>
              <a:gd name="connsiteY4" fmla="*/ 67797 h 1541939"/>
              <a:gd name="connsiteX5" fmla="*/ 749665 w 2273724"/>
              <a:gd name="connsiteY5" fmla="*/ 91134 h 1541939"/>
              <a:gd name="connsiteX6" fmla="*/ 807642 w 2273724"/>
              <a:gd name="connsiteY6" fmla="*/ 139782 h 1541939"/>
              <a:gd name="connsiteX7" fmla="*/ 807643 w 2273724"/>
              <a:gd name="connsiteY7" fmla="*/ 139785 h 1541939"/>
              <a:gd name="connsiteX8" fmla="*/ 815835 w 2273724"/>
              <a:gd name="connsiteY8" fmla="*/ 146659 h 1541939"/>
              <a:gd name="connsiteX9" fmla="*/ 816535 w 2273724"/>
              <a:gd name="connsiteY9" fmla="*/ 151794 h 1541939"/>
              <a:gd name="connsiteX10" fmla="*/ 1317398 w 2273724"/>
              <a:gd name="connsiteY10" fmla="*/ 572068 h 1541939"/>
              <a:gd name="connsiteX11" fmla="*/ 1649051 w 2273724"/>
              <a:gd name="connsiteY11" fmla="*/ 850357 h 1541939"/>
              <a:gd name="connsiteX12" fmla="*/ 1653886 w 2273724"/>
              <a:gd name="connsiteY12" fmla="*/ 855322 h 1541939"/>
              <a:gd name="connsiteX13" fmla="*/ 1649051 w 2273724"/>
              <a:gd name="connsiteY13" fmla="*/ 850357 h 1541939"/>
              <a:gd name="connsiteX14" fmla="*/ 1914866 w 2273724"/>
              <a:gd name="connsiteY14" fmla="*/ 1073402 h 1541939"/>
              <a:gd name="connsiteX15" fmla="*/ 2210992 w 2273724"/>
              <a:gd name="connsiteY15" fmla="*/ 1166769 h 1541939"/>
              <a:gd name="connsiteX16" fmla="*/ 2273724 w 2273724"/>
              <a:gd name="connsiteY16" fmla="*/ 1155171 h 1541939"/>
              <a:gd name="connsiteX17" fmla="*/ 1573321 w 2273724"/>
              <a:gd name="connsiteY17" fmla="*/ 1481775 h 1541939"/>
              <a:gd name="connsiteX18" fmla="*/ 1489037 w 2273724"/>
              <a:gd name="connsiteY18" fmla="*/ 1521077 h 1541939"/>
              <a:gd name="connsiteX19" fmla="*/ 1475948 w 2273724"/>
              <a:gd name="connsiteY19" fmla="*/ 1526236 h 1541939"/>
              <a:gd name="connsiteX20" fmla="*/ 1103280 w 2273724"/>
              <a:gd name="connsiteY20" fmla="*/ 1447019 h 1541939"/>
              <a:gd name="connsiteX21" fmla="*/ 505812 w 2273724"/>
              <a:gd name="connsiteY21" fmla="*/ 945685 h 1541939"/>
              <a:gd name="connsiteX22" fmla="*/ 4949 w 2273724"/>
              <a:gd name="connsiteY22" fmla="*/ 525411 h 1541939"/>
              <a:gd name="connsiteX23" fmla="*/ 309 w 2273724"/>
              <a:gd name="connsiteY23" fmla="*/ 491341 h 1541939"/>
              <a:gd name="connsiteX24" fmla="*/ 273717 w 2273724"/>
              <a:gd name="connsiteY24" fmla="*/ 44511 h 154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73724" h="1541939">
                <a:moveTo>
                  <a:pt x="1674819" y="1397015"/>
                </a:moveTo>
                <a:lnTo>
                  <a:pt x="1674820" y="1397015"/>
                </a:lnTo>
                <a:lnTo>
                  <a:pt x="1674820" y="1397015"/>
                </a:lnTo>
                <a:close/>
                <a:moveTo>
                  <a:pt x="273717" y="44511"/>
                </a:moveTo>
                <a:cubicBezTo>
                  <a:pt x="421961" y="-24616"/>
                  <a:pt x="587686" y="-10454"/>
                  <a:pt x="718137" y="67797"/>
                </a:cubicBezTo>
                <a:lnTo>
                  <a:pt x="749665" y="91134"/>
                </a:lnTo>
                <a:lnTo>
                  <a:pt x="807642" y="139782"/>
                </a:lnTo>
                <a:lnTo>
                  <a:pt x="807643" y="139785"/>
                </a:lnTo>
                <a:lnTo>
                  <a:pt x="815835" y="146659"/>
                </a:lnTo>
                <a:lnTo>
                  <a:pt x="816535" y="151794"/>
                </a:lnTo>
                <a:lnTo>
                  <a:pt x="1317398" y="572068"/>
                </a:lnTo>
                <a:lnTo>
                  <a:pt x="1649051" y="850357"/>
                </a:lnTo>
                <a:lnTo>
                  <a:pt x="1653886" y="855322"/>
                </a:lnTo>
                <a:lnTo>
                  <a:pt x="1649051" y="850357"/>
                </a:lnTo>
                <a:lnTo>
                  <a:pt x="1914866" y="1073402"/>
                </a:lnTo>
                <a:cubicBezTo>
                  <a:pt x="2000683" y="1145411"/>
                  <a:pt x="2107563" y="1175818"/>
                  <a:pt x="2210992" y="1166769"/>
                </a:cubicBezTo>
                <a:lnTo>
                  <a:pt x="2273724" y="1155171"/>
                </a:lnTo>
                <a:lnTo>
                  <a:pt x="1573321" y="1481775"/>
                </a:lnTo>
                <a:lnTo>
                  <a:pt x="1489037" y="1521077"/>
                </a:lnTo>
                <a:lnTo>
                  <a:pt x="1475948" y="1526236"/>
                </a:lnTo>
                <a:cubicBezTo>
                  <a:pt x="1350734" y="1562039"/>
                  <a:pt x="1210551" y="1537030"/>
                  <a:pt x="1103280" y="1447019"/>
                </a:cubicBezTo>
                <a:lnTo>
                  <a:pt x="505812" y="945685"/>
                </a:lnTo>
                <a:lnTo>
                  <a:pt x="4949" y="525411"/>
                </a:lnTo>
                <a:lnTo>
                  <a:pt x="309" y="491341"/>
                </a:lnTo>
                <a:cubicBezTo>
                  <a:pt x="-6373" y="306795"/>
                  <a:pt x="95824" y="127464"/>
                  <a:pt x="273717" y="44511"/>
                </a:cubicBezTo>
                <a:close/>
              </a:path>
            </a:pathLst>
          </a:custGeom>
          <a:gradFill flip="none" rotWithShape="1">
            <a:gsLst>
              <a:gs pos="0">
                <a:srgbClr val="00B6AD">
                  <a:shade val="30000"/>
                  <a:satMod val="115000"/>
                </a:srgbClr>
              </a:gs>
              <a:gs pos="50000">
                <a:srgbClr val="00B6AD">
                  <a:shade val="67500"/>
                  <a:satMod val="115000"/>
                </a:srgbClr>
              </a:gs>
              <a:gs pos="100000">
                <a:srgbClr val="00B6AD">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56" name="Freeform: Shape 55">
            <a:extLst>
              <a:ext uri="{FF2B5EF4-FFF2-40B4-BE49-F238E27FC236}">
                <a16:creationId xmlns:a16="http://schemas.microsoft.com/office/drawing/2014/main" id="{8F924D4A-C23B-4E75-BF39-C47D7D6CBA87}"/>
              </a:ext>
            </a:extLst>
          </p:cNvPr>
          <p:cNvSpPr/>
          <p:nvPr/>
        </p:nvSpPr>
        <p:spPr>
          <a:xfrm rot="10140000">
            <a:off x="6665437" y="3754454"/>
            <a:ext cx="1232368" cy="2466991"/>
          </a:xfrm>
          <a:custGeom>
            <a:avLst/>
            <a:gdLst>
              <a:gd name="connsiteX0" fmla="*/ 220479 w 1556919"/>
              <a:gd name="connsiteY0" fmla="*/ 44609 h 3116689"/>
              <a:gd name="connsiteX1" fmla="*/ 234514 w 1556919"/>
              <a:gd name="connsiteY1" fmla="*/ 39078 h 3116689"/>
              <a:gd name="connsiteX2" fmla="*/ 247774 w 1556919"/>
              <a:gd name="connsiteY2" fmla="*/ 31881 h 3116689"/>
              <a:gd name="connsiteX3" fmla="*/ 271348 w 1556919"/>
              <a:gd name="connsiteY3" fmla="*/ 24563 h 3116689"/>
              <a:gd name="connsiteX4" fmla="*/ 293427 w 1556919"/>
              <a:gd name="connsiteY4" fmla="*/ 15863 h 3116689"/>
              <a:gd name="connsiteX5" fmla="*/ 308139 w 1556919"/>
              <a:gd name="connsiteY5" fmla="*/ 13143 h 3116689"/>
              <a:gd name="connsiteX6" fmla="*/ 323926 w 1556919"/>
              <a:gd name="connsiteY6" fmla="*/ 8242 h 3116689"/>
              <a:gd name="connsiteX7" fmla="*/ 347497 w 1556919"/>
              <a:gd name="connsiteY7" fmla="*/ 5866 h 3116689"/>
              <a:gd name="connsiteX8" fmla="*/ 369967 w 1556919"/>
              <a:gd name="connsiteY8" fmla="*/ 1711 h 3116689"/>
              <a:gd name="connsiteX9" fmla="*/ 387285 w 1556919"/>
              <a:gd name="connsiteY9" fmla="*/ 1855 h 3116689"/>
              <a:gd name="connsiteX10" fmla="*/ 405685 w 1556919"/>
              <a:gd name="connsiteY10" fmla="*/ 0 h 3116689"/>
              <a:gd name="connsiteX11" fmla="*/ 427383 w 1556919"/>
              <a:gd name="connsiteY11" fmla="*/ 2187 h 3116689"/>
              <a:gd name="connsiteX12" fmla="*/ 447804 w 1556919"/>
              <a:gd name="connsiteY12" fmla="*/ 2357 h 3116689"/>
              <a:gd name="connsiteX13" fmla="*/ 466185 w 1556919"/>
              <a:gd name="connsiteY13" fmla="*/ 6099 h 3116689"/>
              <a:gd name="connsiteX14" fmla="*/ 487445 w 1556919"/>
              <a:gd name="connsiteY14" fmla="*/ 8242 h 3116689"/>
              <a:gd name="connsiteX15" fmla="*/ 507901 w 1556919"/>
              <a:gd name="connsiteY15" fmla="*/ 14592 h 3116689"/>
              <a:gd name="connsiteX16" fmla="*/ 524635 w 1556919"/>
              <a:gd name="connsiteY16" fmla="*/ 17999 h 3116689"/>
              <a:gd name="connsiteX17" fmla="*/ 541033 w 1556919"/>
              <a:gd name="connsiteY17" fmla="*/ 24877 h 3116689"/>
              <a:gd name="connsiteX18" fmla="*/ 563596 w 1556919"/>
              <a:gd name="connsiteY18" fmla="*/ 31881 h 3116689"/>
              <a:gd name="connsiteX19" fmla="*/ 583538 w 1556919"/>
              <a:gd name="connsiteY19" fmla="*/ 42705 h 3116689"/>
              <a:gd name="connsiteX20" fmla="*/ 598165 w 1556919"/>
              <a:gd name="connsiteY20" fmla="*/ 48840 h 3116689"/>
              <a:gd name="connsiteX21" fmla="*/ 611245 w 1556919"/>
              <a:gd name="connsiteY21" fmla="*/ 57743 h 3116689"/>
              <a:gd name="connsiteX22" fmla="*/ 632507 w 1556919"/>
              <a:gd name="connsiteY22" fmla="*/ 69285 h 3116689"/>
              <a:gd name="connsiteX23" fmla="*/ 652822 w 1556919"/>
              <a:gd name="connsiteY23" fmla="*/ 86045 h 3116689"/>
              <a:gd name="connsiteX24" fmla="*/ 666094 w 1556919"/>
              <a:gd name="connsiteY24" fmla="*/ 95079 h 3116689"/>
              <a:gd name="connsiteX25" fmla="*/ 1556919 w 1556919"/>
              <a:gd name="connsiteY25" fmla="*/ 842571 h 3116689"/>
              <a:gd name="connsiteX26" fmla="*/ 1525390 w 1556919"/>
              <a:gd name="connsiteY26" fmla="*/ 819234 h 3116689"/>
              <a:gd name="connsiteX27" fmla="*/ 1080971 w 1556919"/>
              <a:gd name="connsiteY27" fmla="*/ 795948 h 3116689"/>
              <a:gd name="connsiteX28" fmla="*/ 807563 w 1556919"/>
              <a:gd name="connsiteY28" fmla="*/ 1242778 h 3116689"/>
              <a:gd name="connsiteX29" fmla="*/ 812202 w 1556919"/>
              <a:gd name="connsiteY29" fmla="*/ 1276848 h 3116689"/>
              <a:gd name="connsiteX30" fmla="*/ 811370 w 1556919"/>
              <a:gd name="connsiteY30" fmla="*/ 1276149 h 3116689"/>
              <a:gd name="connsiteX31" fmla="*/ 811370 w 1556919"/>
              <a:gd name="connsiteY31" fmla="*/ 2711004 h 3116689"/>
              <a:gd name="connsiteX32" fmla="*/ 405684 w 1556919"/>
              <a:gd name="connsiteY32" fmla="*/ 3116689 h 3116689"/>
              <a:gd name="connsiteX33" fmla="*/ 405685 w 1556919"/>
              <a:gd name="connsiteY33" fmla="*/ 3116688 h 3116689"/>
              <a:gd name="connsiteX34" fmla="*/ 0 w 1556919"/>
              <a:gd name="connsiteY34" fmla="*/ 2711003 h 3116689"/>
              <a:gd name="connsiteX35" fmla="*/ 0 w 1556919"/>
              <a:gd name="connsiteY35" fmla="*/ 405685 h 3116689"/>
              <a:gd name="connsiteX36" fmla="*/ 1610 w 1556919"/>
              <a:gd name="connsiteY36" fmla="*/ 389711 h 3116689"/>
              <a:gd name="connsiteX37" fmla="*/ 1829 w 1556919"/>
              <a:gd name="connsiteY37" fmla="*/ 363375 h 3116689"/>
              <a:gd name="connsiteX38" fmla="*/ 6655 w 1556919"/>
              <a:gd name="connsiteY38" fmla="*/ 339669 h 3116689"/>
              <a:gd name="connsiteX39" fmla="*/ 8242 w 1556919"/>
              <a:gd name="connsiteY39" fmla="*/ 323925 h 3116689"/>
              <a:gd name="connsiteX40" fmla="*/ 12945 w 1556919"/>
              <a:gd name="connsiteY40" fmla="*/ 308777 h 3116689"/>
              <a:gd name="connsiteX41" fmla="*/ 17471 w 1556919"/>
              <a:gd name="connsiteY41" fmla="*/ 286543 h 3116689"/>
              <a:gd name="connsiteX42" fmla="*/ 26609 w 1556919"/>
              <a:gd name="connsiteY42" fmla="*/ 264756 h 3116689"/>
              <a:gd name="connsiteX43" fmla="*/ 31881 w 1556919"/>
              <a:gd name="connsiteY43" fmla="*/ 247774 h 3116689"/>
              <a:gd name="connsiteX44" fmla="*/ 40027 w 1556919"/>
              <a:gd name="connsiteY44" fmla="*/ 232765 h 3116689"/>
              <a:gd name="connsiteX45" fmla="*/ 48313 w 1556919"/>
              <a:gd name="connsiteY45" fmla="*/ 213013 h 3116689"/>
              <a:gd name="connsiteX46" fmla="*/ 60337 w 1556919"/>
              <a:gd name="connsiteY46" fmla="*/ 195350 h 3116689"/>
              <a:gd name="connsiteX47" fmla="*/ 69284 w 1556919"/>
              <a:gd name="connsiteY47" fmla="*/ 178863 h 3116689"/>
              <a:gd name="connsiteX48" fmla="*/ 82282 w 1556919"/>
              <a:gd name="connsiteY48" fmla="*/ 163110 h 3116689"/>
              <a:gd name="connsiteX49" fmla="*/ 94552 w 1556919"/>
              <a:gd name="connsiteY49" fmla="*/ 145084 h 3116689"/>
              <a:gd name="connsiteX50" fmla="*/ 107800 w 1556919"/>
              <a:gd name="connsiteY50" fmla="*/ 132181 h 3116689"/>
              <a:gd name="connsiteX51" fmla="*/ 118822 w 1556919"/>
              <a:gd name="connsiteY51" fmla="*/ 118822 h 3116689"/>
              <a:gd name="connsiteX52" fmla="*/ 136449 w 1556919"/>
              <a:gd name="connsiteY52" fmla="*/ 104279 h 3116689"/>
              <a:gd name="connsiteX53" fmla="*/ 153420 w 1556919"/>
              <a:gd name="connsiteY53" fmla="*/ 87750 h 3116689"/>
              <a:gd name="connsiteX54" fmla="*/ 167323 w 1556919"/>
              <a:gd name="connsiteY54" fmla="*/ 78806 h 3116689"/>
              <a:gd name="connsiteX55" fmla="*/ 178862 w 1556919"/>
              <a:gd name="connsiteY55" fmla="*/ 69285 h 3116689"/>
              <a:gd name="connsiteX56" fmla="*/ 199720 w 1556919"/>
              <a:gd name="connsiteY56" fmla="*/ 57963 h 3116689"/>
              <a:gd name="connsiteX57" fmla="*/ 220479 w 1556919"/>
              <a:gd name="connsiteY57" fmla="*/ 44609 h 311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556919" h="3116689">
                <a:moveTo>
                  <a:pt x="220479" y="44609"/>
                </a:moveTo>
                <a:lnTo>
                  <a:pt x="234514" y="39078"/>
                </a:lnTo>
                <a:lnTo>
                  <a:pt x="247774" y="31881"/>
                </a:lnTo>
                <a:lnTo>
                  <a:pt x="271348" y="24563"/>
                </a:lnTo>
                <a:lnTo>
                  <a:pt x="293427" y="15863"/>
                </a:lnTo>
                <a:lnTo>
                  <a:pt x="308139" y="13143"/>
                </a:lnTo>
                <a:lnTo>
                  <a:pt x="323926" y="8242"/>
                </a:lnTo>
                <a:lnTo>
                  <a:pt x="347497" y="5866"/>
                </a:lnTo>
                <a:lnTo>
                  <a:pt x="369967" y="1711"/>
                </a:lnTo>
                <a:lnTo>
                  <a:pt x="387285" y="1855"/>
                </a:lnTo>
                <a:lnTo>
                  <a:pt x="405685" y="0"/>
                </a:lnTo>
                <a:lnTo>
                  <a:pt x="427383" y="2187"/>
                </a:lnTo>
                <a:lnTo>
                  <a:pt x="447804" y="2357"/>
                </a:lnTo>
                <a:lnTo>
                  <a:pt x="466185" y="6099"/>
                </a:lnTo>
                <a:lnTo>
                  <a:pt x="487445" y="8242"/>
                </a:lnTo>
                <a:lnTo>
                  <a:pt x="507901" y="14592"/>
                </a:lnTo>
                <a:lnTo>
                  <a:pt x="524635" y="17999"/>
                </a:lnTo>
                <a:lnTo>
                  <a:pt x="541033" y="24877"/>
                </a:lnTo>
                <a:lnTo>
                  <a:pt x="563596" y="31881"/>
                </a:lnTo>
                <a:lnTo>
                  <a:pt x="583538" y="42705"/>
                </a:lnTo>
                <a:lnTo>
                  <a:pt x="598165" y="48840"/>
                </a:lnTo>
                <a:lnTo>
                  <a:pt x="611245" y="57743"/>
                </a:lnTo>
                <a:lnTo>
                  <a:pt x="632507" y="69285"/>
                </a:lnTo>
                <a:lnTo>
                  <a:pt x="652822" y="86045"/>
                </a:lnTo>
                <a:lnTo>
                  <a:pt x="666094" y="95079"/>
                </a:lnTo>
                <a:lnTo>
                  <a:pt x="1556919" y="842571"/>
                </a:lnTo>
                <a:lnTo>
                  <a:pt x="1525390" y="819234"/>
                </a:lnTo>
                <a:cubicBezTo>
                  <a:pt x="1394940" y="740983"/>
                  <a:pt x="1229215" y="726821"/>
                  <a:pt x="1080971" y="795948"/>
                </a:cubicBezTo>
                <a:cubicBezTo>
                  <a:pt x="903078" y="878901"/>
                  <a:pt x="800881" y="1058232"/>
                  <a:pt x="807563" y="1242778"/>
                </a:cubicBezTo>
                <a:lnTo>
                  <a:pt x="812202" y="1276848"/>
                </a:lnTo>
                <a:lnTo>
                  <a:pt x="811370" y="1276149"/>
                </a:lnTo>
                <a:lnTo>
                  <a:pt x="811370" y="2711004"/>
                </a:lnTo>
                <a:cubicBezTo>
                  <a:pt x="811369" y="2935058"/>
                  <a:pt x="629738" y="3116689"/>
                  <a:pt x="405684" y="3116689"/>
                </a:cubicBezTo>
                <a:lnTo>
                  <a:pt x="405685" y="3116688"/>
                </a:lnTo>
                <a:cubicBezTo>
                  <a:pt x="181631" y="3116687"/>
                  <a:pt x="1" y="2935057"/>
                  <a:pt x="0" y="2711003"/>
                </a:cubicBezTo>
                <a:lnTo>
                  <a:pt x="0" y="405685"/>
                </a:lnTo>
                <a:lnTo>
                  <a:pt x="1610" y="389711"/>
                </a:lnTo>
                <a:lnTo>
                  <a:pt x="1829" y="363375"/>
                </a:lnTo>
                <a:lnTo>
                  <a:pt x="6655" y="339669"/>
                </a:lnTo>
                <a:lnTo>
                  <a:pt x="8242" y="323925"/>
                </a:lnTo>
                <a:lnTo>
                  <a:pt x="12945" y="308777"/>
                </a:lnTo>
                <a:lnTo>
                  <a:pt x="17471" y="286543"/>
                </a:lnTo>
                <a:lnTo>
                  <a:pt x="26609" y="264756"/>
                </a:lnTo>
                <a:lnTo>
                  <a:pt x="31881" y="247774"/>
                </a:lnTo>
                <a:lnTo>
                  <a:pt x="40027" y="232765"/>
                </a:lnTo>
                <a:lnTo>
                  <a:pt x="48313" y="213013"/>
                </a:lnTo>
                <a:lnTo>
                  <a:pt x="60337" y="195350"/>
                </a:lnTo>
                <a:lnTo>
                  <a:pt x="69284" y="178863"/>
                </a:lnTo>
                <a:lnTo>
                  <a:pt x="82282" y="163110"/>
                </a:lnTo>
                <a:lnTo>
                  <a:pt x="94552" y="145084"/>
                </a:lnTo>
                <a:lnTo>
                  <a:pt x="107800" y="132181"/>
                </a:lnTo>
                <a:lnTo>
                  <a:pt x="118822" y="118822"/>
                </a:lnTo>
                <a:lnTo>
                  <a:pt x="136449" y="104279"/>
                </a:lnTo>
                <a:lnTo>
                  <a:pt x="153420" y="87750"/>
                </a:lnTo>
                <a:lnTo>
                  <a:pt x="167323" y="78806"/>
                </a:lnTo>
                <a:lnTo>
                  <a:pt x="178862" y="69285"/>
                </a:lnTo>
                <a:lnTo>
                  <a:pt x="199720" y="57963"/>
                </a:lnTo>
                <a:lnTo>
                  <a:pt x="220479" y="44609"/>
                </a:lnTo>
                <a:close/>
              </a:path>
            </a:pathLst>
          </a:custGeom>
          <a:solidFill>
            <a:srgbClr val="00B6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58" name="Freeform: Shape 57">
            <a:extLst>
              <a:ext uri="{FF2B5EF4-FFF2-40B4-BE49-F238E27FC236}">
                <a16:creationId xmlns:a16="http://schemas.microsoft.com/office/drawing/2014/main" id="{08ECB867-E3C9-4A1F-955E-ED9CC208FA2A}"/>
              </a:ext>
            </a:extLst>
          </p:cNvPr>
          <p:cNvSpPr/>
          <p:nvPr/>
        </p:nvSpPr>
        <p:spPr>
          <a:xfrm rot="5820000">
            <a:off x="7511642" y="3781472"/>
            <a:ext cx="659525" cy="557006"/>
          </a:xfrm>
          <a:custGeom>
            <a:avLst/>
            <a:gdLst>
              <a:gd name="connsiteX0" fmla="*/ 0 w 833216"/>
              <a:gd name="connsiteY0" fmla="*/ 0 h 703698"/>
              <a:gd name="connsiteX1" fmla="*/ 808980 w 833216"/>
              <a:gd name="connsiteY1" fmla="*/ 678814 h 703698"/>
              <a:gd name="connsiteX2" fmla="*/ 833216 w 833216"/>
              <a:gd name="connsiteY2" fmla="*/ 703698 h 703698"/>
              <a:gd name="connsiteX3" fmla="*/ 501563 w 833216"/>
              <a:gd name="connsiteY3" fmla="*/ 425409 h 703698"/>
              <a:gd name="connsiteX4" fmla="*/ 700 w 833216"/>
              <a:gd name="connsiteY4" fmla="*/ 5135 h 703698"/>
              <a:gd name="connsiteX5" fmla="*/ 0 w 833216"/>
              <a:gd name="connsiteY5" fmla="*/ 0 h 70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3216" h="703698">
                <a:moveTo>
                  <a:pt x="0" y="0"/>
                </a:moveTo>
                <a:lnTo>
                  <a:pt x="808980" y="678814"/>
                </a:lnTo>
                <a:lnTo>
                  <a:pt x="833216" y="703698"/>
                </a:lnTo>
                <a:lnTo>
                  <a:pt x="501563" y="425409"/>
                </a:lnTo>
                <a:lnTo>
                  <a:pt x="700" y="5135"/>
                </a:lnTo>
                <a:lnTo>
                  <a:pt x="0" y="0"/>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59" name="Freeform: Shape 58">
            <a:extLst>
              <a:ext uri="{FF2B5EF4-FFF2-40B4-BE49-F238E27FC236}">
                <a16:creationId xmlns:a16="http://schemas.microsoft.com/office/drawing/2014/main" id="{937ED45F-C116-4C48-A36F-539B966F578B}"/>
              </a:ext>
            </a:extLst>
          </p:cNvPr>
          <p:cNvSpPr/>
          <p:nvPr/>
        </p:nvSpPr>
        <p:spPr>
          <a:xfrm rot="5820000">
            <a:off x="6991296" y="4182374"/>
            <a:ext cx="66714" cy="31109"/>
          </a:xfrm>
          <a:custGeom>
            <a:avLst/>
            <a:gdLst>
              <a:gd name="connsiteX0" fmla="*/ 0 w 84284"/>
              <a:gd name="connsiteY0" fmla="*/ 39302 h 39302"/>
              <a:gd name="connsiteX1" fmla="*/ 84284 w 84284"/>
              <a:gd name="connsiteY1" fmla="*/ 0 h 39302"/>
              <a:gd name="connsiteX2" fmla="*/ 59858 w 84284"/>
              <a:gd name="connsiteY2" fmla="*/ 15714 h 39302"/>
              <a:gd name="connsiteX3" fmla="*/ 0 w 84284"/>
              <a:gd name="connsiteY3" fmla="*/ 39302 h 39302"/>
            </a:gdLst>
            <a:ahLst/>
            <a:cxnLst>
              <a:cxn ang="0">
                <a:pos x="connsiteX0" y="connsiteY0"/>
              </a:cxn>
              <a:cxn ang="0">
                <a:pos x="connsiteX1" y="connsiteY1"/>
              </a:cxn>
              <a:cxn ang="0">
                <a:pos x="connsiteX2" y="connsiteY2"/>
              </a:cxn>
              <a:cxn ang="0">
                <a:pos x="connsiteX3" y="connsiteY3"/>
              </a:cxn>
            </a:cxnLst>
            <a:rect l="l" t="t" r="r" b="b"/>
            <a:pathLst>
              <a:path w="84284" h="39302">
                <a:moveTo>
                  <a:pt x="0" y="39302"/>
                </a:moveTo>
                <a:lnTo>
                  <a:pt x="84284" y="0"/>
                </a:lnTo>
                <a:lnTo>
                  <a:pt x="59858" y="15714"/>
                </a:lnTo>
                <a:lnTo>
                  <a:pt x="0" y="39302"/>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60" name="Freeform: Shape 59">
            <a:extLst>
              <a:ext uri="{FF2B5EF4-FFF2-40B4-BE49-F238E27FC236}">
                <a16:creationId xmlns:a16="http://schemas.microsoft.com/office/drawing/2014/main" id="{75F5F564-F778-4862-B072-2A794110D4E6}"/>
              </a:ext>
            </a:extLst>
          </p:cNvPr>
          <p:cNvSpPr/>
          <p:nvPr/>
        </p:nvSpPr>
        <p:spPr>
          <a:xfrm rot="5820000">
            <a:off x="6736693" y="3348344"/>
            <a:ext cx="1799748" cy="1220509"/>
          </a:xfrm>
          <a:custGeom>
            <a:avLst/>
            <a:gdLst>
              <a:gd name="connsiteX0" fmla="*/ 1674819 w 2273724"/>
              <a:gd name="connsiteY0" fmla="*/ 1397015 h 1541939"/>
              <a:gd name="connsiteX1" fmla="*/ 1674820 w 2273724"/>
              <a:gd name="connsiteY1" fmla="*/ 1397015 h 1541939"/>
              <a:gd name="connsiteX2" fmla="*/ 1674820 w 2273724"/>
              <a:gd name="connsiteY2" fmla="*/ 1397015 h 1541939"/>
              <a:gd name="connsiteX3" fmla="*/ 273717 w 2273724"/>
              <a:gd name="connsiteY3" fmla="*/ 44511 h 1541939"/>
              <a:gd name="connsiteX4" fmla="*/ 718137 w 2273724"/>
              <a:gd name="connsiteY4" fmla="*/ 67797 h 1541939"/>
              <a:gd name="connsiteX5" fmla="*/ 749665 w 2273724"/>
              <a:gd name="connsiteY5" fmla="*/ 91134 h 1541939"/>
              <a:gd name="connsiteX6" fmla="*/ 807642 w 2273724"/>
              <a:gd name="connsiteY6" fmla="*/ 139782 h 1541939"/>
              <a:gd name="connsiteX7" fmla="*/ 807643 w 2273724"/>
              <a:gd name="connsiteY7" fmla="*/ 139785 h 1541939"/>
              <a:gd name="connsiteX8" fmla="*/ 815835 w 2273724"/>
              <a:gd name="connsiteY8" fmla="*/ 146659 h 1541939"/>
              <a:gd name="connsiteX9" fmla="*/ 816535 w 2273724"/>
              <a:gd name="connsiteY9" fmla="*/ 151794 h 1541939"/>
              <a:gd name="connsiteX10" fmla="*/ 1317398 w 2273724"/>
              <a:gd name="connsiteY10" fmla="*/ 572068 h 1541939"/>
              <a:gd name="connsiteX11" fmla="*/ 1649051 w 2273724"/>
              <a:gd name="connsiteY11" fmla="*/ 850357 h 1541939"/>
              <a:gd name="connsiteX12" fmla="*/ 1653886 w 2273724"/>
              <a:gd name="connsiteY12" fmla="*/ 855322 h 1541939"/>
              <a:gd name="connsiteX13" fmla="*/ 1649051 w 2273724"/>
              <a:gd name="connsiteY13" fmla="*/ 850357 h 1541939"/>
              <a:gd name="connsiteX14" fmla="*/ 1914866 w 2273724"/>
              <a:gd name="connsiteY14" fmla="*/ 1073402 h 1541939"/>
              <a:gd name="connsiteX15" fmla="*/ 2210992 w 2273724"/>
              <a:gd name="connsiteY15" fmla="*/ 1166769 h 1541939"/>
              <a:gd name="connsiteX16" fmla="*/ 2273724 w 2273724"/>
              <a:gd name="connsiteY16" fmla="*/ 1155171 h 1541939"/>
              <a:gd name="connsiteX17" fmla="*/ 1573321 w 2273724"/>
              <a:gd name="connsiteY17" fmla="*/ 1481775 h 1541939"/>
              <a:gd name="connsiteX18" fmla="*/ 1489037 w 2273724"/>
              <a:gd name="connsiteY18" fmla="*/ 1521077 h 1541939"/>
              <a:gd name="connsiteX19" fmla="*/ 1475948 w 2273724"/>
              <a:gd name="connsiteY19" fmla="*/ 1526236 h 1541939"/>
              <a:gd name="connsiteX20" fmla="*/ 1103280 w 2273724"/>
              <a:gd name="connsiteY20" fmla="*/ 1447019 h 1541939"/>
              <a:gd name="connsiteX21" fmla="*/ 505812 w 2273724"/>
              <a:gd name="connsiteY21" fmla="*/ 945685 h 1541939"/>
              <a:gd name="connsiteX22" fmla="*/ 4949 w 2273724"/>
              <a:gd name="connsiteY22" fmla="*/ 525411 h 1541939"/>
              <a:gd name="connsiteX23" fmla="*/ 309 w 2273724"/>
              <a:gd name="connsiteY23" fmla="*/ 491341 h 1541939"/>
              <a:gd name="connsiteX24" fmla="*/ 273717 w 2273724"/>
              <a:gd name="connsiteY24" fmla="*/ 44511 h 154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73724" h="1541939">
                <a:moveTo>
                  <a:pt x="1674819" y="1397015"/>
                </a:moveTo>
                <a:lnTo>
                  <a:pt x="1674820" y="1397015"/>
                </a:lnTo>
                <a:lnTo>
                  <a:pt x="1674820" y="1397015"/>
                </a:lnTo>
                <a:close/>
                <a:moveTo>
                  <a:pt x="273717" y="44511"/>
                </a:moveTo>
                <a:cubicBezTo>
                  <a:pt x="421961" y="-24616"/>
                  <a:pt x="587686" y="-10454"/>
                  <a:pt x="718137" y="67797"/>
                </a:cubicBezTo>
                <a:lnTo>
                  <a:pt x="749665" y="91134"/>
                </a:lnTo>
                <a:lnTo>
                  <a:pt x="807642" y="139782"/>
                </a:lnTo>
                <a:lnTo>
                  <a:pt x="807643" y="139785"/>
                </a:lnTo>
                <a:lnTo>
                  <a:pt x="815835" y="146659"/>
                </a:lnTo>
                <a:lnTo>
                  <a:pt x="816535" y="151794"/>
                </a:lnTo>
                <a:lnTo>
                  <a:pt x="1317398" y="572068"/>
                </a:lnTo>
                <a:lnTo>
                  <a:pt x="1649051" y="850357"/>
                </a:lnTo>
                <a:lnTo>
                  <a:pt x="1653886" y="855322"/>
                </a:lnTo>
                <a:lnTo>
                  <a:pt x="1649051" y="850357"/>
                </a:lnTo>
                <a:lnTo>
                  <a:pt x="1914866" y="1073402"/>
                </a:lnTo>
                <a:cubicBezTo>
                  <a:pt x="2000683" y="1145411"/>
                  <a:pt x="2107563" y="1175818"/>
                  <a:pt x="2210992" y="1166769"/>
                </a:cubicBezTo>
                <a:lnTo>
                  <a:pt x="2273724" y="1155171"/>
                </a:lnTo>
                <a:lnTo>
                  <a:pt x="1573321" y="1481775"/>
                </a:lnTo>
                <a:lnTo>
                  <a:pt x="1489037" y="1521077"/>
                </a:lnTo>
                <a:lnTo>
                  <a:pt x="1475948" y="1526236"/>
                </a:lnTo>
                <a:cubicBezTo>
                  <a:pt x="1350734" y="1562039"/>
                  <a:pt x="1210551" y="1537030"/>
                  <a:pt x="1103280" y="1447019"/>
                </a:cubicBezTo>
                <a:lnTo>
                  <a:pt x="505812" y="945685"/>
                </a:lnTo>
                <a:lnTo>
                  <a:pt x="4949" y="525411"/>
                </a:lnTo>
                <a:lnTo>
                  <a:pt x="309" y="491341"/>
                </a:lnTo>
                <a:cubicBezTo>
                  <a:pt x="-6373" y="306795"/>
                  <a:pt x="95824" y="127464"/>
                  <a:pt x="273717" y="44511"/>
                </a:cubicBezTo>
                <a:close/>
              </a:path>
            </a:pathLst>
          </a:custGeom>
          <a:gradFill flip="none" rotWithShape="1">
            <a:gsLst>
              <a:gs pos="0">
                <a:srgbClr val="7E249F">
                  <a:shade val="30000"/>
                  <a:satMod val="115000"/>
                </a:srgbClr>
              </a:gs>
              <a:gs pos="50000">
                <a:srgbClr val="7E249F">
                  <a:shade val="67500"/>
                  <a:satMod val="115000"/>
                </a:srgbClr>
              </a:gs>
              <a:gs pos="100000">
                <a:srgbClr val="7E249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61" name="Freeform: Shape 60">
            <a:extLst>
              <a:ext uri="{FF2B5EF4-FFF2-40B4-BE49-F238E27FC236}">
                <a16:creationId xmlns:a16="http://schemas.microsoft.com/office/drawing/2014/main" id="{E0E67DD3-B481-45C7-B522-A729A076AE5F}"/>
              </a:ext>
            </a:extLst>
          </p:cNvPr>
          <p:cNvSpPr/>
          <p:nvPr/>
        </p:nvSpPr>
        <p:spPr>
          <a:xfrm rot="5820000">
            <a:off x="7104594" y="1805850"/>
            <a:ext cx="1232367" cy="2466991"/>
          </a:xfrm>
          <a:custGeom>
            <a:avLst/>
            <a:gdLst>
              <a:gd name="connsiteX0" fmla="*/ 220479 w 1556919"/>
              <a:gd name="connsiteY0" fmla="*/ 44609 h 3116689"/>
              <a:gd name="connsiteX1" fmla="*/ 234514 w 1556919"/>
              <a:gd name="connsiteY1" fmla="*/ 39078 h 3116689"/>
              <a:gd name="connsiteX2" fmla="*/ 247774 w 1556919"/>
              <a:gd name="connsiteY2" fmla="*/ 31881 h 3116689"/>
              <a:gd name="connsiteX3" fmla="*/ 271348 w 1556919"/>
              <a:gd name="connsiteY3" fmla="*/ 24563 h 3116689"/>
              <a:gd name="connsiteX4" fmla="*/ 293427 w 1556919"/>
              <a:gd name="connsiteY4" fmla="*/ 15863 h 3116689"/>
              <a:gd name="connsiteX5" fmla="*/ 308139 w 1556919"/>
              <a:gd name="connsiteY5" fmla="*/ 13143 h 3116689"/>
              <a:gd name="connsiteX6" fmla="*/ 323926 w 1556919"/>
              <a:gd name="connsiteY6" fmla="*/ 8242 h 3116689"/>
              <a:gd name="connsiteX7" fmla="*/ 347497 w 1556919"/>
              <a:gd name="connsiteY7" fmla="*/ 5866 h 3116689"/>
              <a:gd name="connsiteX8" fmla="*/ 369967 w 1556919"/>
              <a:gd name="connsiteY8" fmla="*/ 1711 h 3116689"/>
              <a:gd name="connsiteX9" fmla="*/ 387285 w 1556919"/>
              <a:gd name="connsiteY9" fmla="*/ 1855 h 3116689"/>
              <a:gd name="connsiteX10" fmla="*/ 405685 w 1556919"/>
              <a:gd name="connsiteY10" fmla="*/ 0 h 3116689"/>
              <a:gd name="connsiteX11" fmla="*/ 427383 w 1556919"/>
              <a:gd name="connsiteY11" fmla="*/ 2187 h 3116689"/>
              <a:gd name="connsiteX12" fmla="*/ 447804 w 1556919"/>
              <a:gd name="connsiteY12" fmla="*/ 2357 h 3116689"/>
              <a:gd name="connsiteX13" fmla="*/ 466185 w 1556919"/>
              <a:gd name="connsiteY13" fmla="*/ 6099 h 3116689"/>
              <a:gd name="connsiteX14" fmla="*/ 487445 w 1556919"/>
              <a:gd name="connsiteY14" fmla="*/ 8242 h 3116689"/>
              <a:gd name="connsiteX15" fmla="*/ 507901 w 1556919"/>
              <a:gd name="connsiteY15" fmla="*/ 14592 h 3116689"/>
              <a:gd name="connsiteX16" fmla="*/ 524635 w 1556919"/>
              <a:gd name="connsiteY16" fmla="*/ 17999 h 3116689"/>
              <a:gd name="connsiteX17" fmla="*/ 541033 w 1556919"/>
              <a:gd name="connsiteY17" fmla="*/ 24877 h 3116689"/>
              <a:gd name="connsiteX18" fmla="*/ 563596 w 1556919"/>
              <a:gd name="connsiteY18" fmla="*/ 31881 h 3116689"/>
              <a:gd name="connsiteX19" fmla="*/ 583538 w 1556919"/>
              <a:gd name="connsiteY19" fmla="*/ 42705 h 3116689"/>
              <a:gd name="connsiteX20" fmla="*/ 598165 w 1556919"/>
              <a:gd name="connsiteY20" fmla="*/ 48840 h 3116689"/>
              <a:gd name="connsiteX21" fmla="*/ 611245 w 1556919"/>
              <a:gd name="connsiteY21" fmla="*/ 57743 h 3116689"/>
              <a:gd name="connsiteX22" fmla="*/ 632507 w 1556919"/>
              <a:gd name="connsiteY22" fmla="*/ 69285 h 3116689"/>
              <a:gd name="connsiteX23" fmla="*/ 652822 w 1556919"/>
              <a:gd name="connsiteY23" fmla="*/ 86045 h 3116689"/>
              <a:gd name="connsiteX24" fmla="*/ 666094 w 1556919"/>
              <a:gd name="connsiteY24" fmla="*/ 95079 h 3116689"/>
              <a:gd name="connsiteX25" fmla="*/ 1556919 w 1556919"/>
              <a:gd name="connsiteY25" fmla="*/ 842571 h 3116689"/>
              <a:gd name="connsiteX26" fmla="*/ 1525390 w 1556919"/>
              <a:gd name="connsiteY26" fmla="*/ 819234 h 3116689"/>
              <a:gd name="connsiteX27" fmla="*/ 1080971 w 1556919"/>
              <a:gd name="connsiteY27" fmla="*/ 795948 h 3116689"/>
              <a:gd name="connsiteX28" fmla="*/ 807563 w 1556919"/>
              <a:gd name="connsiteY28" fmla="*/ 1242778 h 3116689"/>
              <a:gd name="connsiteX29" fmla="*/ 812202 w 1556919"/>
              <a:gd name="connsiteY29" fmla="*/ 1276848 h 3116689"/>
              <a:gd name="connsiteX30" fmla="*/ 811370 w 1556919"/>
              <a:gd name="connsiteY30" fmla="*/ 1276149 h 3116689"/>
              <a:gd name="connsiteX31" fmla="*/ 811370 w 1556919"/>
              <a:gd name="connsiteY31" fmla="*/ 2711004 h 3116689"/>
              <a:gd name="connsiteX32" fmla="*/ 405684 w 1556919"/>
              <a:gd name="connsiteY32" fmla="*/ 3116689 h 3116689"/>
              <a:gd name="connsiteX33" fmla="*/ 405685 w 1556919"/>
              <a:gd name="connsiteY33" fmla="*/ 3116688 h 3116689"/>
              <a:gd name="connsiteX34" fmla="*/ 0 w 1556919"/>
              <a:gd name="connsiteY34" fmla="*/ 2711003 h 3116689"/>
              <a:gd name="connsiteX35" fmla="*/ 0 w 1556919"/>
              <a:gd name="connsiteY35" fmla="*/ 405685 h 3116689"/>
              <a:gd name="connsiteX36" fmla="*/ 1610 w 1556919"/>
              <a:gd name="connsiteY36" fmla="*/ 389711 h 3116689"/>
              <a:gd name="connsiteX37" fmla="*/ 1829 w 1556919"/>
              <a:gd name="connsiteY37" fmla="*/ 363375 h 3116689"/>
              <a:gd name="connsiteX38" fmla="*/ 6655 w 1556919"/>
              <a:gd name="connsiteY38" fmla="*/ 339669 h 3116689"/>
              <a:gd name="connsiteX39" fmla="*/ 8242 w 1556919"/>
              <a:gd name="connsiteY39" fmla="*/ 323925 h 3116689"/>
              <a:gd name="connsiteX40" fmla="*/ 12945 w 1556919"/>
              <a:gd name="connsiteY40" fmla="*/ 308777 h 3116689"/>
              <a:gd name="connsiteX41" fmla="*/ 17471 w 1556919"/>
              <a:gd name="connsiteY41" fmla="*/ 286543 h 3116689"/>
              <a:gd name="connsiteX42" fmla="*/ 26609 w 1556919"/>
              <a:gd name="connsiteY42" fmla="*/ 264756 h 3116689"/>
              <a:gd name="connsiteX43" fmla="*/ 31881 w 1556919"/>
              <a:gd name="connsiteY43" fmla="*/ 247774 h 3116689"/>
              <a:gd name="connsiteX44" fmla="*/ 40027 w 1556919"/>
              <a:gd name="connsiteY44" fmla="*/ 232765 h 3116689"/>
              <a:gd name="connsiteX45" fmla="*/ 48313 w 1556919"/>
              <a:gd name="connsiteY45" fmla="*/ 213013 h 3116689"/>
              <a:gd name="connsiteX46" fmla="*/ 60337 w 1556919"/>
              <a:gd name="connsiteY46" fmla="*/ 195350 h 3116689"/>
              <a:gd name="connsiteX47" fmla="*/ 69284 w 1556919"/>
              <a:gd name="connsiteY47" fmla="*/ 178863 h 3116689"/>
              <a:gd name="connsiteX48" fmla="*/ 82282 w 1556919"/>
              <a:gd name="connsiteY48" fmla="*/ 163110 h 3116689"/>
              <a:gd name="connsiteX49" fmla="*/ 94552 w 1556919"/>
              <a:gd name="connsiteY49" fmla="*/ 145084 h 3116689"/>
              <a:gd name="connsiteX50" fmla="*/ 107800 w 1556919"/>
              <a:gd name="connsiteY50" fmla="*/ 132181 h 3116689"/>
              <a:gd name="connsiteX51" fmla="*/ 118822 w 1556919"/>
              <a:gd name="connsiteY51" fmla="*/ 118822 h 3116689"/>
              <a:gd name="connsiteX52" fmla="*/ 136449 w 1556919"/>
              <a:gd name="connsiteY52" fmla="*/ 104279 h 3116689"/>
              <a:gd name="connsiteX53" fmla="*/ 153420 w 1556919"/>
              <a:gd name="connsiteY53" fmla="*/ 87750 h 3116689"/>
              <a:gd name="connsiteX54" fmla="*/ 167323 w 1556919"/>
              <a:gd name="connsiteY54" fmla="*/ 78806 h 3116689"/>
              <a:gd name="connsiteX55" fmla="*/ 178862 w 1556919"/>
              <a:gd name="connsiteY55" fmla="*/ 69285 h 3116689"/>
              <a:gd name="connsiteX56" fmla="*/ 199720 w 1556919"/>
              <a:gd name="connsiteY56" fmla="*/ 57963 h 3116689"/>
              <a:gd name="connsiteX57" fmla="*/ 220479 w 1556919"/>
              <a:gd name="connsiteY57" fmla="*/ 44609 h 311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556919" h="3116689">
                <a:moveTo>
                  <a:pt x="220479" y="44609"/>
                </a:moveTo>
                <a:lnTo>
                  <a:pt x="234514" y="39078"/>
                </a:lnTo>
                <a:lnTo>
                  <a:pt x="247774" y="31881"/>
                </a:lnTo>
                <a:lnTo>
                  <a:pt x="271348" y="24563"/>
                </a:lnTo>
                <a:lnTo>
                  <a:pt x="293427" y="15863"/>
                </a:lnTo>
                <a:lnTo>
                  <a:pt x="308139" y="13143"/>
                </a:lnTo>
                <a:lnTo>
                  <a:pt x="323926" y="8242"/>
                </a:lnTo>
                <a:lnTo>
                  <a:pt x="347497" y="5866"/>
                </a:lnTo>
                <a:lnTo>
                  <a:pt x="369967" y="1711"/>
                </a:lnTo>
                <a:lnTo>
                  <a:pt x="387285" y="1855"/>
                </a:lnTo>
                <a:lnTo>
                  <a:pt x="405685" y="0"/>
                </a:lnTo>
                <a:lnTo>
                  <a:pt x="427383" y="2187"/>
                </a:lnTo>
                <a:lnTo>
                  <a:pt x="447804" y="2357"/>
                </a:lnTo>
                <a:lnTo>
                  <a:pt x="466185" y="6099"/>
                </a:lnTo>
                <a:lnTo>
                  <a:pt x="487445" y="8242"/>
                </a:lnTo>
                <a:lnTo>
                  <a:pt x="507901" y="14592"/>
                </a:lnTo>
                <a:lnTo>
                  <a:pt x="524635" y="17999"/>
                </a:lnTo>
                <a:lnTo>
                  <a:pt x="541033" y="24877"/>
                </a:lnTo>
                <a:lnTo>
                  <a:pt x="563596" y="31881"/>
                </a:lnTo>
                <a:lnTo>
                  <a:pt x="583538" y="42705"/>
                </a:lnTo>
                <a:lnTo>
                  <a:pt x="598165" y="48840"/>
                </a:lnTo>
                <a:lnTo>
                  <a:pt x="611245" y="57743"/>
                </a:lnTo>
                <a:lnTo>
                  <a:pt x="632507" y="69285"/>
                </a:lnTo>
                <a:lnTo>
                  <a:pt x="652822" y="86045"/>
                </a:lnTo>
                <a:lnTo>
                  <a:pt x="666094" y="95079"/>
                </a:lnTo>
                <a:lnTo>
                  <a:pt x="1556919" y="842571"/>
                </a:lnTo>
                <a:lnTo>
                  <a:pt x="1525390" y="819234"/>
                </a:lnTo>
                <a:cubicBezTo>
                  <a:pt x="1394940" y="740983"/>
                  <a:pt x="1229215" y="726821"/>
                  <a:pt x="1080971" y="795948"/>
                </a:cubicBezTo>
                <a:cubicBezTo>
                  <a:pt x="903078" y="878901"/>
                  <a:pt x="800881" y="1058232"/>
                  <a:pt x="807563" y="1242778"/>
                </a:cubicBezTo>
                <a:lnTo>
                  <a:pt x="812202" y="1276848"/>
                </a:lnTo>
                <a:lnTo>
                  <a:pt x="811370" y="1276149"/>
                </a:lnTo>
                <a:lnTo>
                  <a:pt x="811370" y="2711004"/>
                </a:lnTo>
                <a:cubicBezTo>
                  <a:pt x="811369" y="2935058"/>
                  <a:pt x="629738" y="3116689"/>
                  <a:pt x="405684" y="3116689"/>
                </a:cubicBezTo>
                <a:lnTo>
                  <a:pt x="405685" y="3116688"/>
                </a:lnTo>
                <a:cubicBezTo>
                  <a:pt x="181631" y="3116687"/>
                  <a:pt x="1" y="2935057"/>
                  <a:pt x="0" y="2711003"/>
                </a:cubicBezTo>
                <a:lnTo>
                  <a:pt x="0" y="405685"/>
                </a:lnTo>
                <a:lnTo>
                  <a:pt x="1610" y="389711"/>
                </a:lnTo>
                <a:lnTo>
                  <a:pt x="1829" y="363375"/>
                </a:lnTo>
                <a:lnTo>
                  <a:pt x="6655" y="339669"/>
                </a:lnTo>
                <a:lnTo>
                  <a:pt x="8242" y="323925"/>
                </a:lnTo>
                <a:lnTo>
                  <a:pt x="12945" y="308777"/>
                </a:lnTo>
                <a:lnTo>
                  <a:pt x="17471" y="286543"/>
                </a:lnTo>
                <a:lnTo>
                  <a:pt x="26609" y="264756"/>
                </a:lnTo>
                <a:lnTo>
                  <a:pt x="31881" y="247774"/>
                </a:lnTo>
                <a:lnTo>
                  <a:pt x="40027" y="232765"/>
                </a:lnTo>
                <a:lnTo>
                  <a:pt x="48313" y="213013"/>
                </a:lnTo>
                <a:lnTo>
                  <a:pt x="60337" y="195350"/>
                </a:lnTo>
                <a:lnTo>
                  <a:pt x="69284" y="178863"/>
                </a:lnTo>
                <a:lnTo>
                  <a:pt x="82282" y="163110"/>
                </a:lnTo>
                <a:lnTo>
                  <a:pt x="94552" y="145084"/>
                </a:lnTo>
                <a:lnTo>
                  <a:pt x="107800" y="132181"/>
                </a:lnTo>
                <a:lnTo>
                  <a:pt x="118822" y="118822"/>
                </a:lnTo>
                <a:lnTo>
                  <a:pt x="136449" y="104279"/>
                </a:lnTo>
                <a:lnTo>
                  <a:pt x="153420" y="87750"/>
                </a:lnTo>
                <a:lnTo>
                  <a:pt x="167323" y="78806"/>
                </a:lnTo>
                <a:lnTo>
                  <a:pt x="178862" y="69285"/>
                </a:lnTo>
                <a:lnTo>
                  <a:pt x="199720" y="57963"/>
                </a:lnTo>
                <a:lnTo>
                  <a:pt x="220479" y="44609"/>
                </a:lnTo>
                <a:close/>
              </a:path>
            </a:pathLst>
          </a:custGeom>
          <a:solidFill>
            <a:srgbClr val="7E2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62" name="Freeform: Shape 61">
            <a:extLst>
              <a:ext uri="{FF2B5EF4-FFF2-40B4-BE49-F238E27FC236}">
                <a16:creationId xmlns:a16="http://schemas.microsoft.com/office/drawing/2014/main" id="{A64E37D9-7B8F-4C7F-8991-72A77F4AA758}"/>
              </a:ext>
            </a:extLst>
          </p:cNvPr>
          <p:cNvSpPr/>
          <p:nvPr/>
        </p:nvSpPr>
        <p:spPr>
          <a:xfrm rot="1500000">
            <a:off x="6672928" y="1943946"/>
            <a:ext cx="659525" cy="557007"/>
          </a:xfrm>
          <a:custGeom>
            <a:avLst/>
            <a:gdLst>
              <a:gd name="connsiteX0" fmla="*/ 0 w 833216"/>
              <a:gd name="connsiteY0" fmla="*/ 0 h 703698"/>
              <a:gd name="connsiteX1" fmla="*/ 808980 w 833216"/>
              <a:gd name="connsiteY1" fmla="*/ 678814 h 703698"/>
              <a:gd name="connsiteX2" fmla="*/ 833216 w 833216"/>
              <a:gd name="connsiteY2" fmla="*/ 703698 h 703698"/>
              <a:gd name="connsiteX3" fmla="*/ 501563 w 833216"/>
              <a:gd name="connsiteY3" fmla="*/ 425409 h 703698"/>
              <a:gd name="connsiteX4" fmla="*/ 700 w 833216"/>
              <a:gd name="connsiteY4" fmla="*/ 5135 h 703698"/>
              <a:gd name="connsiteX5" fmla="*/ 0 w 833216"/>
              <a:gd name="connsiteY5" fmla="*/ 0 h 70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3216" h="703698">
                <a:moveTo>
                  <a:pt x="0" y="0"/>
                </a:moveTo>
                <a:lnTo>
                  <a:pt x="808980" y="678814"/>
                </a:lnTo>
                <a:lnTo>
                  <a:pt x="833216" y="703698"/>
                </a:lnTo>
                <a:lnTo>
                  <a:pt x="501563" y="425409"/>
                </a:lnTo>
                <a:lnTo>
                  <a:pt x="700" y="5135"/>
                </a:lnTo>
                <a:lnTo>
                  <a:pt x="0" y="0"/>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63" name="Freeform: Shape 62">
            <a:extLst>
              <a:ext uri="{FF2B5EF4-FFF2-40B4-BE49-F238E27FC236}">
                <a16:creationId xmlns:a16="http://schemas.microsoft.com/office/drawing/2014/main" id="{5EADB32C-35B9-4B08-BA39-3C6CD3E4E777}"/>
              </a:ext>
            </a:extLst>
          </p:cNvPr>
          <p:cNvSpPr/>
          <p:nvPr/>
        </p:nvSpPr>
        <p:spPr>
          <a:xfrm rot="1500000">
            <a:off x="6848144" y="3026302"/>
            <a:ext cx="66715" cy="31109"/>
          </a:xfrm>
          <a:custGeom>
            <a:avLst/>
            <a:gdLst>
              <a:gd name="connsiteX0" fmla="*/ 0 w 84284"/>
              <a:gd name="connsiteY0" fmla="*/ 39302 h 39302"/>
              <a:gd name="connsiteX1" fmla="*/ 84284 w 84284"/>
              <a:gd name="connsiteY1" fmla="*/ 0 h 39302"/>
              <a:gd name="connsiteX2" fmla="*/ 59858 w 84284"/>
              <a:gd name="connsiteY2" fmla="*/ 15714 h 39302"/>
              <a:gd name="connsiteX3" fmla="*/ 0 w 84284"/>
              <a:gd name="connsiteY3" fmla="*/ 39302 h 39302"/>
            </a:gdLst>
            <a:ahLst/>
            <a:cxnLst>
              <a:cxn ang="0">
                <a:pos x="connsiteX0" y="connsiteY0"/>
              </a:cxn>
              <a:cxn ang="0">
                <a:pos x="connsiteX1" y="connsiteY1"/>
              </a:cxn>
              <a:cxn ang="0">
                <a:pos x="connsiteX2" y="connsiteY2"/>
              </a:cxn>
              <a:cxn ang="0">
                <a:pos x="connsiteX3" y="connsiteY3"/>
              </a:cxn>
            </a:cxnLst>
            <a:rect l="l" t="t" r="r" b="b"/>
            <a:pathLst>
              <a:path w="84284" h="39302">
                <a:moveTo>
                  <a:pt x="0" y="39302"/>
                </a:moveTo>
                <a:lnTo>
                  <a:pt x="84284" y="0"/>
                </a:lnTo>
                <a:lnTo>
                  <a:pt x="59858" y="15714"/>
                </a:lnTo>
                <a:lnTo>
                  <a:pt x="0" y="39302"/>
                </a:lnTo>
                <a:close/>
              </a:path>
            </a:pathLst>
          </a:custGeom>
          <a:gradFill flip="none" rotWithShape="1">
            <a:gsLst>
              <a:gs pos="0">
                <a:srgbClr val="08E90B"/>
              </a:gs>
              <a:gs pos="96000">
                <a:srgbClr val="008200"/>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64" name="Freeform: Shape 63">
            <a:extLst>
              <a:ext uri="{FF2B5EF4-FFF2-40B4-BE49-F238E27FC236}">
                <a16:creationId xmlns:a16="http://schemas.microsoft.com/office/drawing/2014/main" id="{4ABD0199-5A49-4DB0-91EB-A330AE678F2F}"/>
              </a:ext>
            </a:extLst>
          </p:cNvPr>
          <p:cNvSpPr/>
          <p:nvPr/>
        </p:nvSpPr>
        <p:spPr>
          <a:xfrm rot="1500000">
            <a:off x="5943103" y="1775680"/>
            <a:ext cx="1799748" cy="1220509"/>
          </a:xfrm>
          <a:custGeom>
            <a:avLst/>
            <a:gdLst>
              <a:gd name="connsiteX0" fmla="*/ 1674819 w 2273724"/>
              <a:gd name="connsiteY0" fmla="*/ 1397015 h 1541939"/>
              <a:gd name="connsiteX1" fmla="*/ 1674820 w 2273724"/>
              <a:gd name="connsiteY1" fmla="*/ 1397015 h 1541939"/>
              <a:gd name="connsiteX2" fmla="*/ 1674820 w 2273724"/>
              <a:gd name="connsiteY2" fmla="*/ 1397015 h 1541939"/>
              <a:gd name="connsiteX3" fmla="*/ 273717 w 2273724"/>
              <a:gd name="connsiteY3" fmla="*/ 44511 h 1541939"/>
              <a:gd name="connsiteX4" fmla="*/ 718137 w 2273724"/>
              <a:gd name="connsiteY4" fmla="*/ 67797 h 1541939"/>
              <a:gd name="connsiteX5" fmla="*/ 749665 w 2273724"/>
              <a:gd name="connsiteY5" fmla="*/ 91134 h 1541939"/>
              <a:gd name="connsiteX6" fmla="*/ 807642 w 2273724"/>
              <a:gd name="connsiteY6" fmla="*/ 139782 h 1541939"/>
              <a:gd name="connsiteX7" fmla="*/ 807643 w 2273724"/>
              <a:gd name="connsiteY7" fmla="*/ 139785 h 1541939"/>
              <a:gd name="connsiteX8" fmla="*/ 815835 w 2273724"/>
              <a:gd name="connsiteY8" fmla="*/ 146659 h 1541939"/>
              <a:gd name="connsiteX9" fmla="*/ 816535 w 2273724"/>
              <a:gd name="connsiteY9" fmla="*/ 151794 h 1541939"/>
              <a:gd name="connsiteX10" fmla="*/ 1317398 w 2273724"/>
              <a:gd name="connsiteY10" fmla="*/ 572068 h 1541939"/>
              <a:gd name="connsiteX11" fmla="*/ 1649051 w 2273724"/>
              <a:gd name="connsiteY11" fmla="*/ 850357 h 1541939"/>
              <a:gd name="connsiteX12" fmla="*/ 1653886 w 2273724"/>
              <a:gd name="connsiteY12" fmla="*/ 855322 h 1541939"/>
              <a:gd name="connsiteX13" fmla="*/ 1649051 w 2273724"/>
              <a:gd name="connsiteY13" fmla="*/ 850357 h 1541939"/>
              <a:gd name="connsiteX14" fmla="*/ 1914866 w 2273724"/>
              <a:gd name="connsiteY14" fmla="*/ 1073402 h 1541939"/>
              <a:gd name="connsiteX15" fmla="*/ 2210992 w 2273724"/>
              <a:gd name="connsiteY15" fmla="*/ 1166769 h 1541939"/>
              <a:gd name="connsiteX16" fmla="*/ 2273724 w 2273724"/>
              <a:gd name="connsiteY16" fmla="*/ 1155171 h 1541939"/>
              <a:gd name="connsiteX17" fmla="*/ 1573321 w 2273724"/>
              <a:gd name="connsiteY17" fmla="*/ 1481775 h 1541939"/>
              <a:gd name="connsiteX18" fmla="*/ 1489037 w 2273724"/>
              <a:gd name="connsiteY18" fmla="*/ 1521077 h 1541939"/>
              <a:gd name="connsiteX19" fmla="*/ 1475948 w 2273724"/>
              <a:gd name="connsiteY19" fmla="*/ 1526236 h 1541939"/>
              <a:gd name="connsiteX20" fmla="*/ 1103280 w 2273724"/>
              <a:gd name="connsiteY20" fmla="*/ 1447019 h 1541939"/>
              <a:gd name="connsiteX21" fmla="*/ 505812 w 2273724"/>
              <a:gd name="connsiteY21" fmla="*/ 945685 h 1541939"/>
              <a:gd name="connsiteX22" fmla="*/ 4949 w 2273724"/>
              <a:gd name="connsiteY22" fmla="*/ 525411 h 1541939"/>
              <a:gd name="connsiteX23" fmla="*/ 309 w 2273724"/>
              <a:gd name="connsiteY23" fmla="*/ 491341 h 1541939"/>
              <a:gd name="connsiteX24" fmla="*/ 273717 w 2273724"/>
              <a:gd name="connsiteY24" fmla="*/ 44511 h 154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73724" h="1541939">
                <a:moveTo>
                  <a:pt x="1674819" y="1397015"/>
                </a:moveTo>
                <a:lnTo>
                  <a:pt x="1674820" y="1397015"/>
                </a:lnTo>
                <a:lnTo>
                  <a:pt x="1674820" y="1397015"/>
                </a:lnTo>
                <a:close/>
                <a:moveTo>
                  <a:pt x="273717" y="44511"/>
                </a:moveTo>
                <a:cubicBezTo>
                  <a:pt x="421961" y="-24616"/>
                  <a:pt x="587686" y="-10454"/>
                  <a:pt x="718137" y="67797"/>
                </a:cubicBezTo>
                <a:lnTo>
                  <a:pt x="749665" y="91134"/>
                </a:lnTo>
                <a:lnTo>
                  <a:pt x="807642" y="139782"/>
                </a:lnTo>
                <a:lnTo>
                  <a:pt x="807643" y="139785"/>
                </a:lnTo>
                <a:lnTo>
                  <a:pt x="815835" y="146659"/>
                </a:lnTo>
                <a:lnTo>
                  <a:pt x="816535" y="151794"/>
                </a:lnTo>
                <a:lnTo>
                  <a:pt x="1317398" y="572068"/>
                </a:lnTo>
                <a:lnTo>
                  <a:pt x="1649051" y="850357"/>
                </a:lnTo>
                <a:lnTo>
                  <a:pt x="1653886" y="855322"/>
                </a:lnTo>
                <a:lnTo>
                  <a:pt x="1649051" y="850357"/>
                </a:lnTo>
                <a:lnTo>
                  <a:pt x="1914866" y="1073402"/>
                </a:lnTo>
                <a:cubicBezTo>
                  <a:pt x="2000683" y="1145411"/>
                  <a:pt x="2107563" y="1175818"/>
                  <a:pt x="2210992" y="1166769"/>
                </a:cubicBezTo>
                <a:lnTo>
                  <a:pt x="2273724" y="1155171"/>
                </a:lnTo>
                <a:lnTo>
                  <a:pt x="1573321" y="1481775"/>
                </a:lnTo>
                <a:lnTo>
                  <a:pt x="1489037" y="1521077"/>
                </a:lnTo>
                <a:lnTo>
                  <a:pt x="1475948" y="1526236"/>
                </a:lnTo>
                <a:cubicBezTo>
                  <a:pt x="1350734" y="1562039"/>
                  <a:pt x="1210551" y="1537030"/>
                  <a:pt x="1103280" y="1447019"/>
                </a:cubicBezTo>
                <a:lnTo>
                  <a:pt x="505812" y="945685"/>
                </a:lnTo>
                <a:lnTo>
                  <a:pt x="4949" y="525411"/>
                </a:lnTo>
                <a:lnTo>
                  <a:pt x="309" y="491341"/>
                </a:lnTo>
                <a:cubicBezTo>
                  <a:pt x="-6373" y="306795"/>
                  <a:pt x="95824" y="127464"/>
                  <a:pt x="273717" y="44511"/>
                </a:cubicBezTo>
                <a:close/>
              </a:path>
            </a:pathLst>
          </a:custGeom>
          <a:gradFill flip="none" rotWithShape="1">
            <a:gsLst>
              <a:gs pos="0">
                <a:srgbClr val="00B6AD">
                  <a:shade val="30000"/>
                  <a:satMod val="115000"/>
                </a:srgbClr>
              </a:gs>
              <a:gs pos="50000">
                <a:srgbClr val="00B6AD">
                  <a:shade val="67500"/>
                  <a:satMod val="115000"/>
                </a:srgbClr>
              </a:gs>
              <a:gs pos="100000">
                <a:srgbClr val="00B6AD">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65" name="Freeform: Shape 64">
            <a:extLst>
              <a:ext uri="{FF2B5EF4-FFF2-40B4-BE49-F238E27FC236}">
                <a16:creationId xmlns:a16="http://schemas.microsoft.com/office/drawing/2014/main" id="{641D3B8E-2A6F-416F-888E-062BD69B302D}"/>
              </a:ext>
            </a:extLst>
          </p:cNvPr>
          <p:cNvSpPr/>
          <p:nvPr/>
        </p:nvSpPr>
        <p:spPr>
          <a:xfrm rot="1500000">
            <a:off x="5479818" y="810735"/>
            <a:ext cx="1232367" cy="1987768"/>
          </a:xfrm>
          <a:custGeom>
            <a:avLst/>
            <a:gdLst>
              <a:gd name="connsiteX0" fmla="*/ 196123 w 1232367"/>
              <a:gd name="connsiteY0" fmla="*/ 25235 h 1987768"/>
              <a:gd name="connsiteX1" fmla="*/ 214783 w 1232367"/>
              <a:gd name="connsiteY1" fmla="*/ 19443 h 1987768"/>
              <a:gd name="connsiteX2" fmla="*/ 232260 w 1232367"/>
              <a:gd name="connsiteY2" fmla="*/ 12556 h 1987768"/>
              <a:gd name="connsiteX3" fmla="*/ 243905 w 1232367"/>
              <a:gd name="connsiteY3" fmla="*/ 10403 h 1987768"/>
              <a:gd name="connsiteX4" fmla="*/ 256401 w 1232367"/>
              <a:gd name="connsiteY4" fmla="*/ 6524 h 1987768"/>
              <a:gd name="connsiteX5" fmla="*/ 275059 w 1232367"/>
              <a:gd name="connsiteY5" fmla="*/ 4643 h 1987768"/>
              <a:gd name="connsiteX6" fmla="*/ 292845 w 1232367"/>
              <a:gd name="connsiteY6" fmla="*/ 1354 h 1987768"/>
              <a:gd name="connsiteX7" fmla="*/ 306553 w 1232367"/>
              <a:gd name="connsiteY7" fmla="*/ 1468 h 1987768"/>
              <a:gd name="connsiteX8" fmla="*/ 321117 w 1232367"/>
              <a:gd name="connsiteY8" fmla="*/ 0 h 1987768"/>
              <a:gd name="connsiteX9" fmla="*/ 338292 w 1232367"/>
              <a:gd name="connsiteY9" fmla="*/ 1731 h 1987768"/>
              <a:gd name="connsiteX10" fmla="*/ 354456 w 1232367"/>
              <a:gd name="connsiteY10" fmla="*/ 1866 h 1987768"/>
              <a:gd name="connsiteX11" fmla="*/ 369005 w 1232367"/>
              <a:gd name="connsiteY11" fmla="*/ 4828 h 1987768"/>
              <a:gd name="connsiteX12" fmla="*/ 385833 w 1232367"/>
              <a:gd name="connsiteY12" fmla="*/ 6524 h 1987768"/>
              <a:gd name="connsiteX13" fmla="*/ 402025 w 1232367"/>
              <a:gd name="connsiteY13" fmla="*/ 11550 h 1987768"/>
              <a:gd name="connsiteX14" fmla="*/ 415271 w 1232367"/>
              <a:gd name="connsiteY14" fmla="*/ 14247 h 1987768"/>
              <a:gd name="connsiteX15" fmla="*/ 428250 w 1232367"/>
              <a:gd name="connsiteY15" fmla="*/ 19691 h 1987768"/>
              <a:gd name="connsiteX16" fmla="*/ 446110 w 1232367"/>
              <a:gd name="connsiteY16" fmla="*/ 25235 h 1987768"/>
              <a:gd name="connsiteX17" fmla="*/ 461895 w 1232367"/>
              <a:gd name="connsiteY17" fmla="*/ 33803 h 1987768"/>
              <a:gd name="connsiteX18" fmla="*/ 473473 w 1232367"/>
              <a:gd name="connsiteY18" fmla="*/ 38659 h 1987768"/>
              <a:gd name="connsiteX19" fmla="*/ 483826 w 1232367"/>
              <a:gd name="connsiteY19" fmla="*/ 45706 h 1987768"/>
              <a:gd name="connsiteX20" fmla="*/ 500656 w 1232367"/>
              <a:gd name="connsiteY20" fmla="*/ 54842 h 1987768"/>
              <a:gd name="connsiteX21" fmla="*/ 516736 w 1232367"/>
              <a:gd name="connsiteY21" fmla="*/ 68108 h 1987768"/>
              <a:gd name="connsiteX22" fmla="*/ 527242 w 1232367"/>
              <a:gd name="connsiteY22" fmla="*/ 75259 h 1987768"/>
              <a:gd name="connsiteX23" fmla="*/ 1232367 w 1232367"/>
              <a:gd name="connsiteY23" fmla="*/ 666930 h 1987768"/>
              <a:gd name="connsiteX24" fmla="*/ 1207411 w 1232367"/>
              <a:gd name="connsiteY24" fmla="*/ 648458 h 1987768"/>
              <a:gd name="connsiteX25" fmla="*/ 855634 w 1232367"/>
              <a:gd name="connsiteY25" fmla="*/ 630026 h 1987768"/>
              <a:gd name="connsiteX26" fmla="*/ 639220 w 1232367"/>
              <a:gd name="connsiteY26" fmla="*/ 983711 h 1987768"/>
              <a:gd name="connsiteX27" fmla="*/ 642892 w 1232367"/>
              <a:gd name="connsiteY27" fmla="*/ 1010679 h 1987768"/>
              <a:gd name="connsiteX28" fmla="*/ 642234 w 1232367"/>
              <a:gd name="connsiteY28" fmla="*/ 1010125 h 1987768"/>
              <a:gd name="connsiteX29" fmla="*/ 642234 w 1232367"/>
              <a:gd name="connsiteY29" fmla="*/ 1439122 h 1987768"/>
              <a:gd name="connsiteX30" fmla="*/ 636989 w 1232367"/>
              <a:gd name="connsiteY30" fmla="*/ 1478826 h 1987768"/>
              <a:gd name="connsiteX31" fmla="*/ 494270 w 1232367"/>
              <a:gd name="connsiteY31" fmla="*/ 1678912 h 1987768"/>
              <a:gd name="connsiteX32" fmla="*/ 261343 w 1232367"/>
              <a:gd name="connsiteY32" fmla="*/ 1824462 h 1987768"/>
              <a:gd name="connsiteX33" fmla="*/ 0 w 1232367"/>
              <a:gd name="connsiteY33" fmla="*/ 1987768 h 1987768"/>
              <a:gd name="connsiteX34" fmla="*/ 0 w 1232367"/>
              <a:gd name="connsiteY34" fmla="*/ 321117 h 1987768"/>
              <a:gd name="connsiteX35" fmla="*/ 1274 w 1232367"/>
              <a:gd name="connsiteY35" fmla="*/ 308473 h 1987768"/>
              <a:gd name="connsiteX36" fmla="*/ 1448 w 1232367"/>
              <a:gd name="connsiteY36" fmla="*/ 287627 h 1987768"/>
              <a:gd name="connsiteX37" fmla="*/ 5268 w 1232367"/>
              <a:gd name="connsiteY37" fmla="*/ 268862 h 1987768"/>
              <a:gd name="connsiteX38" fmla="*/ 6524 w 1232367"/>
              <a:gd name="connsiteY38" fmla="*/ 256400 h 1987768"/>
              <a:gd name="connsiteX39" fmla="*/ 10247 w 1232367"/>
              <a:gd name="connsiteY39" fmla="*/ 244410 h 1987768"/>
              <a:gd name="connsiteX40" fmla="*/ 13829 w 1232367"/>
              <a:gd name="connsiteY40" fmla="*/ 226811 h 1987768"/>
              <a:gd name="connsiteX41" fmla="*/ 21062 w 1232367"/>
              <a:gd name="connsiteY41" fmla="*/ 209566 h 1987768"/>
              <a:gd name="connsiteX42" fmla="*/ 25235 w 1232367"/>
              <a:gd name="connsiteY42" fmla="*/ 196124 h 1987768"/>
              <a:gd name="connsiteX43" fmla="*/ 31683 w 1232367"/>
              <a:gd name="connsiteY43" fmla="*/ 184243 h 1987768"/>
              <a:gd name="connsiteX44" fmla="*/ 38242 w 1232367"/>
              <a:gd name="connsiteY44" fmla="*/ 168609 h 1987768"/>
              <a:gd name="connsiteX45" fmla="*/ 47759 w 1232367"/>
              <a:gd name="connsiteY45" fmla="*/ 154628 h 1987768"/>
              <a:gd name="connsiteX46" fmla="*/ 54841 w 1232367"/>
              <a:gd name="connsiteY46" fmla="*/ 141578 h 1987768"/>
              <a:gd name="connsiteX47" fmla="*/ 65130 w 1232367"/>
              <a:gd name="connsiteY47" fmla="*/ 129108 h 1987768"/>
              <a:gd name="connsiteX48" fmla="*/ 74842 w 1232367"/>
              <a:gd name="connsiteY48" fmla="*/ 114840 h 1987768"/>
              <a:gd name="connsiteX49" fmla="*/ 85328 w 1232367"/>
              <a:gd name="connsiteY49" fmla="*/ 104627 h 1987768"/>
              <a:gd name="connsiteX50" fmla="*/ 94053 w 1232367"/>
              <a:gd name="connsiteY50" fmla="*/ 94053 h 1987768"/>
              <a:gd name="connsiteX51" fmla="*/ 108005 w 1232367"/>
              <a:gd name="connsiteY51" fmla="*/ 82541 h 1987768"/>
              <a:gd name="connsiteX52" fmla="*/ 121438 w 1232367"/>
              <a:gd name="connsiteY52" fmla="*/ 69458 h 1987768"/>
              <a:gd name="connsiteX53" fmla="*/ 132443 w 1232367"/>
              <a:gd name="connsiteY53" fmla="*/ 62378 h 1987768"/>
              <a:gd name="connsiteX54" fmla="*/ 141577 w 1232367"/>
              <a:gd name="connsiteY54" fmla="*/ 54842 h 1987768"/>
              <a:gd name="connsiteX55" fmla="*/ 158087 w 1232367"/>
              <a:gd name="connsiteY55" fmla="*/ 45880 h 1987768"/>
              <a:gd name="connsiteX56" fmla="*/ 174519 w 1232367"/>
              <a:gd name="connsiteY56" fmla="*/ 35310 h 1987768"/>
              <a:gd name="connsiteX57" fmla="*/ 185628 w 1232367"/>
              <a:gd name="connsiteY57" fmla="*/ 30932 h 19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232367" h="1987768">
                <a:moveTo>
                  <a:pt x="196123" y="25235"/>
                </a:moveTo>
                <a:lnTo>
                  <a:pt x="214783" y="19443"/>
                </a:lnTo>
                <a:lnTo>
                  <a:pt x="232260" y="12556"/>
                </a:lnTo>
                <a:lnTo>
                  <a:pt x="243905" y="10403"/>
                </a:lnTo>
                <a:lnTo>
                  <a:pt x="256401" y="6524"/>
                </a:lnTo>
                <a:lnTo>
                  <a:pt x="275059" y="4643"/>
                </a:lnTo>
                <a:lnTo>
                  <a:pt x="292845" y="1354"/>
                </a:lnTo>
                <a:lnTo>
                  <a:pt x="306553" y="1468"/>
                </a:lnTo>
                <a:lnTo>
                  <a:pt x="321117" y="0"/>
                </a:lnTo>
                <a:lnTo>
                  <a:pt x="338292" y="1731"/>
                </a:lnTo>
                <a:lnTo>
                  <a:pt x="354456" y="1866"/>
                </a:lnTo>
                <a:lnTo>
                  <a:pt x="369005" y="4828"/>
                </a:lnTo>
                <a:lnTo>
                  <a:pt x="385833" y="6524"/>
                </a:lnTo>
                <a:lnTo>
                  <a:pt x="402025" y="11550"/>
                </a:lnTo>
                <a:lnTo>
                  <a:pt x="415271" y="14247"/>
                </a:lnTo>
                <a:lnTo>
                  <a:pt x="428250" y="19691"/>
                </a:lnTo>
                <a:lnTo>
                  <a:pt x="446110" y="25235"/>
                </a:lnTo>
                <a:lnTo>
                  <a:pt x="461895" y="33803"/>
                </a:lnTo>
                <a:lnTo>
                  <a:pt x="473473" y="38659"/>
                </a:lnTo>
                <a:lnTo>
                  <a:pt x="483826" y="45706"/>
                </a:lnTo>
                <a:lnTo>
                  <a:pt x="500656" y="54842"/>
                </a:lnTo>
                <a:lnTo>
                  <a:pt x="516736" y="68108"/>
                </a:lnTo>
                <a:lnTo>
                  <a:pt x="527242" y="75259"/>
                </a:lnTo>
                <a:lnTo>
                  <a:pt x="1232367" y="666930"/>
                </a:lnTo>
                <a:lnTo>
                  <a:pt x="1207411" y="648458"/>
                </a:lnTo>
                <a:cubicBezTo>
                  <a:pt x="1104154" y="586519"/>
                  <a:pt x="972975" y="575309"/>
                  <a:pt x="855634" y="630026"/>
                </a:cubicBezTo>
                <a:cubicBezTo>
                  <a:pt x="714824" y="695687"/>
                  <a:pt x="633931" y="837635"/>
                  <a:pt x="639220" y="983711"/>
                </a:cubicBezTo>
                <a:lnTo>
                  <a:pt x="642892" y="1010679"/>
                </a:lnTo>
                <a:lnTo>
                  <a:pt x="642234" y="1010125"/>
                </a:lnTo>
                <a:lnTo>
                  <a:pt x="642234" y="1439122"/>
                </a:lnTo>
                <a:lnTo>
                  <a:pt x="636989" y="1478826"/>
                </a:lnTo>
                <a:cubicBezTo>
                  <a:pt x="618502" y="1558901"/>
                  <a:pt x="569469" y="1631923"/>
                  <a:pt x="494270" y="1678912"/>
                </a:cubicBezTo>
                <a:lnTo>
                  <a:pt x="261343" y="1824462"/>
                </a:lnTo>
                <a:lnTo>
                  <a:pt x="0" y="1987768"/>
                </a:lnTo>
                <a:lnTo>
                  <a:pt x="0" y="321117"/>
                </a:lnTo>
                <a:lnTo>
                  <a:pt x="1274" y="308473"/>
                </a:lnTo>
                <a:lnTo>
                  <a:pt x="1448" y="287627"/>
                </a:lnTo>
                <a:lnTo>
                  <a:pt x="5268" y="268862"/>
                </a:lnTo>
                <a:lnTo>
                  <a:pt x="6524" y="256400"/>
                </a:lnTo>
                <a:lnTo>
                  <a:pt x="10247" y="244410"/>
                </a:lnTo>
                <a:lnTo>
                  <a:pt x="13829" y="226811"/>
                </a:lnTo>
                <a:lnTo>
                  <a:pt x="21062" y="209566"/>
                </a:lnTo>
                <a:lnTo>
                  <a:pt x="25235" y="196124"/>
                </a:lnTo>
                <a:lnTo>
                  <a:pt x="31683" y="184243"/>
                </a:lnTo>
                <a:lnTo>
                  <a:pt x="38242" y="168609"/>
                </a:lnTo>
                <a:lnTo>
                  <a:pt x="47759" y="154628"/>
                </a:lnTo>
                <a:lnTo>
                  <a:pt x="54841" y="141578"/>
                </a:lnTo>
                <a:lnTo>
                  <a:pt x="65130" y="129108"/>
                </a:lnTo>
                <a:lnTo>
                  <a:pt x="74842" y="114840"/>
                </a:lnTo>
                <a:lnTo>
                  <a:pt x="85328" y="104627"/>
                </a:lnTo>
                <a:lnTo>
                  <a:pt x="94053" y="94053"/>
                </a:lnTo>
                <a:lnTo>
                  <a:pt x="108005" y="82541"/>
                </a:lnTo>
                <a:lnTo>
                  <a:pt x="121438" y="69458"/>
                </a:lnTo>
                <a:lnTo>
                  <a:pt x="132443" y="62378"/>
                </a:lnTo>
                <a:lnTo>
                  <a:pt x="141577" y="54842"/>
                </a:lnTo>
                <a:lnTo>
                  <a:pt x="158087" y="45880"/>
                </a:lnTo>
                <a:lnTo>
                  <a:pt x="174519" y="35310"/>
                </a:lnTo>
                <a:lnTo>
                  <a:pt x="185628" y="30932"/>
                </a:lnTo>
                <a:close/>
              </a:path>
            </a:pathLst>
          </a:custGeom>
          <a:solidFill>
            <a:srgbClr val="00B6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Narrow" panose="020B0606020202030204" pitchFamily="34" charset="0"/>
            </a:endParaRPr>
          </a:p>
        </p:txBody>
      </p:sp>
      <p:sp>
        <p:nvSpPr>
          <p:cNvPr id="66" name="Oval 65">
            <a:extLst>
              <a:ext uri="{FF2B5EF4-FFF2-40B4-BE49-F238E27FC236}">
                <a16:creationId xmlns:a16="http://schemas.microsoft.com/office/drawing/2014/main" id="{83461ECE-FEBF-414C-B80E-1DA2243F3958}"/>
              </a:ext>
            </a:extLst>
          </p:cNvPr>
          <p:cNvSpPr/>
          <p:nvPr/>
        </p:nvSpPr>
        <p:spPr>
          <a:xfrm>
            <a:off x="5896378" y="851634"/>
            <a:ext cx="399245" cy="39924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Arial Narrow" panose="020B0606020202030204" pitchFamily="34" charset="0"/>
              </a:rPr>
              <a:t>1</a:t>
            </a:r>
          </a:p>
        </p:txBody>
      </p:sp>
      <p:sp>
        <p:nvSpPr>
          <p:cNvPr id="67" name="Oval 66">
            <a:extLst>
              <a:ext uri="{FF2B5EF4-FFF2-40B4-BE49-F238E27FC236}">
                <a16:creationId xmlns:a16="http://schemas.microsoft.com/office/drawing/2014/main" id="{9CE04FF9-F124-47F8-B1C8-68E6802E1A34}"/>
              </a:ext>
            </a:extLst>
          </p:cNvPr>
          <p:cNvSpPr/>
          <p:nvPr/>
        </p:nvSpPr>
        <p:spPr>
          <a:xfrm>
            <a:off x="8486435" y="2641508"/>
            <a:ext cx="399245" cy="39924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Arial Narrow" panose="020B0606020202030204" pitchFamily="34" charset="0"/>
              </a:rPr>
              <a:t>2</a:t>
            </a:r>
          </a:p>
        </p:txBody>
      </p:sp>
      <p:sp>
        <p:nvSpPr>
          <p:cNvPr id="68" name="Oval 67">
            <a:extLst>
              <a:ext uri="{FF2B5EF4-FFF2-40B4-BE49-F238E27FC236}">
                <a16:creationId xmlns:a16="http://schemas.microsoft.com/office/drawing/2014/main" id="{5E53A973-D37E-4E97-88E9-A0B015678C04}"/>
              </a:ext>
            </a:extLst>
          </p:cNvPr>
          <p:cNvSpPr/>
          <p:nvPr/>
        </p:nvSpPr>
        <p:spPr>
          <a:xfrm>
            <a:off x="7564188" y="5634410"/>
            <a:ext cx="399245" cy="39924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Arial Narrow" panose="020B0606020202030204" pitchFamily="34" charset="0"/>
              </a:rPr>
              <a:t>3</a:t>
            </a:r>
          </a:p>
        </p:txBody>
      </p:sp>
      <p:sp>
        <p:nvSpPr>
          <p:cNvPr id="69" name="Oval 68">
            <a:extLst>
              <a:ext uri="{FF2B5EF4-FFF2-40B4-BE49-F238E27FC236}">
                <a16:creationId xmlns:a16="http://schemas.microsoft.com/office/drawing/2014/main" id="{B418D929-6C88-417B-942F-C4E5D98C39ED}"/>
              </a:ext>
            </a:extLst>
          </p:cNvPr>
          <p:cNvSpPr/>
          <p:nvPr/>
        </p:nvSpPr>
        <p:spPr>
          <a:xfrm>
            <a:off x="4400003" y="5697188"/>
            <a:ext cx="399245" cy="39924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Arial Narrow" panose="020B0606020202030204" pitchFamily="34" charset="0"/>
              </a:rPr>
              <a:t>4</a:t>
            </a:r>
          </a:p>
        </p:txBody>
      </p:sp>
      <p:sp>
        <p:nvSpPr>
          <p:cNvPr id="70" name="Oval 69">
            <a:extLst>
              <a:ext uri="{FF2B5EF4-FFF2-40B4-BE49-F238E27FC236}">
                <a16:creationId xmlns:a16="http://schemas.microsoft.com/office/drawing/2014/main" id="{BFEC16BF-5976-480D-BC40-A32F4B37849F}"/>
              </a:ext>
            </a:extLst>
          </p:cNvPr>
          <p:cNvSpPr/>
          <p:nvPr/>
        </p:nvSpPr>
        <p:spPr>
          <a:xfrm>
            <a:off x="3382236" y="2737598"/>
            <a:ext cx="399245" cy="39924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Arial Narrow" panose="020B0606020202030204" pitchFamily="34" charset="0"/>
              </a:rPr>
              <a:t>5</a:t>
            </a:r>
          </a:p>
        </p:txBody>
      </p:sp>
      <p:pic>
        <p:nvPicPr>
          <p:cNvPr id="71" name="Graphic 70" descr="Head with Gears">
            <a:extLst>
              <a:ext uri="{FF2B5EF4-FFF2-40B4-BE49-F238E27FC236}">
                <a16:creationId xmlns:a16="http://schemas.microsoft.com/office/drawing/2014/main" id="{4A0056D8-17B5-4825-9491-E5D7B4DFF56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55500" y="1630723"/>
            <a:ext cx="546608" cy="546608"/>
          </a:xfrm>
          <a:prstGeom prst="rect">
            <a:avLst/>
          </a:prstGeom>
        </p:spPr>
      </p:pic>
      <p:pic>
        <p:nvPicPr>
          <p:cNvPr id="72" name="Graphic 71" descr="Light bulb">
            <a:extLst>
              <a:ext uri="{FF2B5EF4-FFF2-40B4-BE49-F238E27FC236}">
                <a16:creationId xmlns:a16="http://schemas.microsoft.com/office/drawing/2014/main" id="{1CE74FFA-7713-451B-A75E-A14F83BD1F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828030" y="4022410"/>
            <a:ext cx="742879" cy="742879"/>
          </a:xfrm>
          <a:prstGeom prst="rect">
            <a:avLst/>
          </a:prstGeom>
        </p:spPr>
      </p:pic>
      <p:pic>
        <p:nvPicPr>
          <p:cNvPr id="73" name="Graphic 72" descr="Clipboard">
            <a:extLst>
              <a:ext uri="{FF2B5EF4-FFF2-40B4-BE49-F238E27FC236}">
                <a16:creationId xmlns:a16="http://schemas.microsoft.com/office/drawing/2014/main" id="{2E934110-D497-4D5B-8ACB-DE46D0380B3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72644" y="3974711"/>
            <a:ext cx="546608" cy="546608"/>
          </a:xfrm>
          <a:prstGeom prst="rect">
            <a:avLst/>
          </a:prstGeom>
        </p:spPr>
      </p:pic>
      <p:pic>
        <p:nvPicPr>
          <p:cNvPr id="74" name="Graphic 73" descr="Meeting">
            <a:extLst>
              <a:ext uri="{FF2B5EF4-FFF2-40B4-BE49-F238E27FC236}">
                <a16:creationId xmlns:a16="http://schemas.microsoft.com/office/drawing/2014/main" id="{CB404B7F-1E37-4E84-A4AE-782187E5E12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39687" y="5543636"/>
            <a:ext cx="546608" cy="546608"/>
          </a:xfrm>
          <a:prstGeom prst="rect">
            <a:avLst/>
          </a:prstGeom>
        </p:spPr>
      </p:pic>
      <p:pic>
        <p:nvPicPr>
          <p:cNvPr id="75" name="Graphic 74" descr="Bulls-eye">
            <a:extLst>
              <a:ext uri="{FF2B5EF4-FFF2-40B4-BE49-F238E27FC236}">
                <a16:creationId xmlns:a16="http://schemas.microsoft.com/office/drawing/2014/main" id="{E4CB25DA-855C-4238-82D7-7BAB34D33B0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70907" y="1734917"/>
            <a:ext cx="546608" cy="546608"/>
          </a:xfrm>
          <a:prstGeom prst="rect">
            <a:avLst/>
          </a:prstGeom>
        </p:spPr>
      </p:pic>
      <p:sp>
        <p:nvSpPr>
          <p:cNvPr id="76" name="TextBox 75">
            <a:extLst>
              <a:ext uri="{FF2B5EF4-FFF2-40B4-BE49-F238E27FC236}">
                <a16:creationId xmlns:a16="http://schemas.microsoft.com/office/drawing/2014/main" id="{48ABA958-C657-4409-B405-49A344821C20}"/>
              </a:ext>
            </a:extLst>
          </p:cNvPr>
          <p:cNvSpPr txBox="1"/>
          <p:nvPr/>
        </p:nvSpPr>
        <p:spPr>
          <a:xfrm>
            <a:off x="7583998" y="1502350"/>
            <a:ext cx="3376157" cy="861774"/>
          </a:xfrm>
          <a:prstGeom prst="rect">
            <a:avLst/>
          </a:prstGeom>
          <a:noFill/>
        </p:spPr>
        <p:txBody>
          <a:bodyPr wrap="square" rtlCol="0">
            <a:spAutoFit/>
          </a:bodyPr>
          <a:lstStyle/>
          <a:p>
            <a:r>
              <a:rPr lang="en-US" sz="1400" b="1" dirty="0">
                <a:solidFill>
                  <a:schemeClr val="tx1">
                    <a:lumMod val="75000"/>
                    <a:lumOff val="25000"/>
                  </a:schemeClr>
                </a:solidFill>
                <a:latin typeface="+mj-lt"/>
              </a:rPr>
              <a:t>Benefits @Infinite</a:t>
            </a:r>
          </a:p>
          <a:p>
            <a:pPr marL="171446" indent="-171446">
              <a:buFont typeface="Wingdings" panose="05000000000000000000" pitchFamily="2" charset="2"/>
              <a:buChar char="ü"/>
            </a:pPr>
            <a:r>
              <a:rPr lang="en-US" sz="1200" dirty="0">
                <a:solidFill>
                  <a:schemeClr val="tx1">
                    <a:lumMod val="75000"/>
                    <a:lumOff val="25000"/>
                  </a:schemeClr>
                </a:solidFill>
                <a:latin typeface="+mj-lt"/>
              </a:rPr>
              <a:t>Salary, Performance-linked Bonus</a:t>
            </a:r>
          </a:p>
          <a:p>
            <a:pPr marL="171446" indent="-171446">
              <a:buFont typeface="Wingdings" panose="05000000000000000000" pitchFamily="2" charset="2"/>
              <a:buChar char="ü"/>
            </a:pPr>
            <a:r>
              <a:rPr lang="en-US" sz="1200" dirty="0">
                <a:solidFill>
                  <a:schemeClr val="tx1">
                    <a:lumMod val="75000"/>
                    <a:lumOff val="25000"/>
                  </a:schemeClr>
                </a:solidFill>
                <a:latin typeface="+mj-lt"/>
              </a:rPr>
              <a:t>Benefits </a:t>
            </a:r>
          </a:p>
          <a:p>
            <a:pPr marL="171446" indent="-171446">
              <a:buFont typeface="Wingdings" panose="05000000000000000000" pitchFamily="2" charset="2"/>
              <a:buChar char="ü"/>
            </a:pPr>
            <a:r>
              <a:rPr lang="en-US" sz="1200" dirty="0">
                <a:solidFill>
                  <a:schemeClr val="tx1">
                    <a:lumMod val="75000"/>
                    <a:lumOff val="25000"/>
                  </a:schemeClr>
                </a:solidFill>
                <a:latin typeface="+mj-lt"/>
              </a:rPr>
              <a:t>Vacation ( linked to tenure) / Sick Leave</a:t>
            </a:r>
          </a:p>
        </p:txBody>
      </p:sp>
      <p:sp>
        <p:nvSpPr>
          <p:cNvPr id="77" name="TextBox 76">
            <a:extLst>
              <a:ext uri="{FF2B5EF4-FFF2-40B4-BE49-F238E27FC236}">
                <a16:creationId xmlns:a16="http://schemas.microsoft.com/office/drawing/2014/main" id="{6F6ABD6C-FFFB-4594-AE57-3F043143D108}"/>
              </a:ext>
            </a:extLst>
          </p:cNvPr>
          <p:cNvSpPr txBox="1"/>
          <p:nvPr/>
        </p:nvSpPr>
        <p:spPr>
          <a:xfrm>
            <a:off x="4584400" y="6003775"/>
            <a:ext cx="2729141" cy="307777"/>
          </a:xfrm>
          <a:prstGeom prst="rect">
            <a:avLst/>
          </a:prstGeom>
          <a:noFill/>
        </p:spPr>
        <p:txBody>
          <a:bodyPr wrap="square" rtlCol="0">
            <a:spAutoFit/>
          </a:bodyPr>
          <a:lstStyle/>
          <a:p>
            <a:pPr algn="r"/>
            <a:r>
              <a:rPr lang="en-US" sz="1400" b="1" dirty="0">
                <a:solidFill>
                  <a:schemeClr val="tx1">
                    <a:lumMod val="75000"/>
                    <a:lumOff val="25000"/>
                  </a:schemeClr>
                </a:solidFill>
                <a:latin typeface="+mj-lt"/>
              </a:rPr>
              <a:t>Work Life Balance</a:t>
            </a:r>
          </a:p>
        </p:txBody>
      </p:sp>
      <p:sp>
        <p:nvSpPr>
          <p:cNvPr id="78" name="TextBox 77">
            <a:extLst>
              <a:ext uri="{FF2B5EF4-FFF2-40B4-BE49-F238E27FC236}">
                <a16:creationId xmlns:a16="http://schemas.microsoft.com/office/drawing/2014/main" id="{D76E9D26-B626-42D0-B6BA-ACB6F832687D}"/>
              </a:ext>
            </a:extLst>
          </p:cNvPr>
          <p:cNvSpPr txBox="1"/>
          <p:nvPr/>
        </p:nvSpPr>
        <p:spPr>
          <a:xfrm>
            <a:off x="526676" y="4219982"/>
            <a:ext cx="3378697" cy="1231106"/>
          </a:xfrm>
          <a:prstGeom prst="rect">
            <a:avLst/>
          </a:prstGeom>
          <a:noFill/>
        </p:spPr>
        <p:txBody>
          <a:bodyPr wrap="square" rtlCol="0">
            <a:spAutoFit/>
          </a:bodyPr>
          <a:lstStyle/>
          <a:p>
            <a:pPr algn="r"/>
            <a:r>
              <a:rPr lang="en-US" sz="1400" b="1" dirty="0">
                <a:solidFill>
                  <a:schemeClr val="tx1">
                    <a:lumMod val="75000"/>
                    <a:lumOff val="25000"/>
                  </a:schemeClr>
                </a:solidFill>
                <a:latin typeface="+mj-lt"/>
              </a:rPr>
              <a:t>Competency Development</a:t>
            </a:r>
          </a:p>
          <a:p>
            <a:pPr marL="171446" indent="-171446" algn="r">
              <a:buFont typeface="Wingdings" panose="05000000000000000000" pitchFamily="2" charset="2"/>
              <a:buChar char="ü"/>
            </a:pPr>
            <a:r>
              <a:rPr lang="en-US" sz="1200" dirty="0">
                <a:solidFill>
                  <a:schemeClr val="tx1">
                    <a:lumMod val="75000"/>
                    <a:lumOff val="25000"/>
                  </a:schemeClr>
                </a:solidFill>
                <a:latin typeface="+mj-lt"/>
              </a:rPr>
              <a:t>Leadership Training and Touchpoints</a:t>
            </a:r>
          </a:p>
          <a:p>
            <a:pPr marL="171446" indent="-171446" algn="r">
              <a:buFont typeface="Wingdings" panose="05000000000000000000" pitchFamily="2" charset="2"/>
              <a:buChar char="ü"/>
            </a:pPr>
            <a:r>
              <a:rPr lang="en-US" sz="1200" dirty="0">
                <a:solidFill>
                  <a:schemeClr val="tx1">
                    <a:lumMod val="75000"/>
                    <a:lumOff val="25000"/>
                  </a:schemeClr>
                </a:solidFill>
                <a:latin typeface="+mj-lt"/>
              </a:rPr>
              <a:t>Rewards and Recognition for Employees</a:t>
            </a:r>
          </a:p>
          <a:p>
            <a:pPr marL="171446" indent="-171446" algn="r">
              <a:buFont typeface="Wingdings" panose="05000000000000000000" pitchFamily="2" charset="2"/>
              <a:buChar char="ü"/>
            </a:pPr>
            <a:r>
              <a:rPr lang="en-US" sz="1200" dirty="0">
                <a:solidFill>
                  <a:schemeClr val="tx1">
                    <a:lumMod val="75000"/>
                    <a:lumOff val="25000"/>
                  </a:schemeClr>
                </a:solidFill>
                <a:latin typeface="+mj-lt"/>
              </a:rPr>
              <a:t>Technical and Soft skills development programs through Infinite Learning Academy</a:t>
            </a:r>
          </a:p>
          <a:p>
            <a:pPr algn="ctr"/>
            <a:endParaRPr lang="en-US" sz="1200" dirty="0">
              <a:solidFill>
                <a:schemeClr val="tx1">
                  <a:lumMod val="75000"/>
                  <a:lumOff val="25000"/>
                </a:schemeClr>
              </a:solidFill>
              <a:latin typeface="+mj-lt"/>
            </a:endParaRPr>
          </a:p>
        </p:txBody>
      </p:sp>
      <p:sp>
        <p:nvSpPr>
          <p:cNvPr id="79" name="TextBox 78">
            <a:extLst>
              <a:ext uri="{FF2B5EF4-FFF2-40B4-BE49-F238E27FC236}">
                <a16:creationId xmlns:a16="http://schemas.microsoft.com/office/drawing/2014/main" id="{55C2B91A-B2AE-4823-AC10-9A7134E91BF7}"/>
              </a:ext>
            </a:extLst>
          </p:cNvPr>
          <p:cNvSpPr txBox="1"/>
          <p:nvPr/>
        </p:nvSpPr>
        <p:spPr>
          <a:xfrm>
            <a:off x="308114" y="1549781"/>
            <a:ext cx="4235341" cy="861774"/>
          </a:xfrm>
          <a:prstGeom prst="rect">
            <a:avLst/>
          </a:prstGeom>
          <a:noFill/>
        </p:spPr>
        <p:txBody>
          <a:bodyPr wrap="square" rtlCol="0">
            <a:spAutoFit/>
          </a:bodyPr>
          <a:lstStyle/>
          <a:p>
            <a:pPr algn="r"/>
            <a:r>
              <a:rPr lang="en-US" sz="1400" b="1" dirty="0">
                <a:solidFill>
                  <a:schemeClr val="tx1">
                    <a:lumMod val="75000"/>
                    <a:lumOff val="25000"/>
                  </a:schemeClr>
                </a:solidFill>
                <a:latin typeface="+mj-lt"/>
              </a:rPr>
              <a:t>Other Benefits</a:t>
            </a:r>
          </a:p>
          <a:p>
            <a:pPr marL="171446" indent="-171446" algn="r">
              <a:buFont typeface="Wingdings" panose="05000000000000000000" pitchFamily="2" charset="2"/>
              <a:buChar char="ü"/>
            </a:pPr>
            <a:r>
              <a:rPr lang="en-US" sz="1200" dirty="0">
                <a:solidFill>
                  <a:schemeClr val="tx1">
                    <a:lumMod val="75000"/>
                    <a:lumOff val="25000"/>
                  </a:schemeClr>
                </a:solidFill>
                <a:latin typeface="+mj-lt"/>
              </a:rPr>
              <a:t>Service helpdesk for Employees</a:t>
            </a:r>
          </a:p>
          <a:p>
            <a:pPr marL="171446" indent="-171446" algn="r">
              <a:buFont typeface="Wingdings" panose="05000000000000000000" pitchFamily="2" charset="2"/>
              <a:buChar char="ü"/>
            </a:pPr>
            <a:r>
              <a:rPr lang="en-US" sz="1200" dirty="0">
                <a:solidFill>
                  <a:schemeClr val="tx1">
                    <a:lumMod val="75000"/>
                    <a:lumOff val="25000"/>
                  </a:schemeClr>
                </a:solidFill>
                <a:latin typeface="+mj-lt"/>
              </a:rPr>
              <a:t>Personal growth plans </a:t>
            </a:r>
          </a:p>
          <a:p>
            <a:pPr marL="171446" indent="-171446" algn="r">
              <a:buFont typeface="Wingdings" panose="05000000000000000000" pitchFamily="2" charset="2"/>
              <a:buChar char="ü"/>
            </a:pPr>
            <a:r>
              <a:rPr lang="en-US" sz="1200" dirty="0">
                <a:solidFill>
                  <a:schemeClr val="tx1">
                    <a:lumMod val="75000"/>
                    <a:lumOff val="25000"/>
                  </a:schemeClr>
                </a:solidFill>
                <a:latin typeface="+mj-lt"/>
              </a:rPr>
              <a:t>Open culture and team building activities</a:t>
            </a:r>
          </a:p>
        </p:txBody>
      </p:sp>
      <p:pic>
        <p:nvPicPr>
          <p:cNvPr id="80" name="Graphic 79" descr="Handshake">
            <a:extLst>
              <a:ext uri="{FF2B5EF4-FFF2-40B4-BE49-F238E27FC236}">
                <a16:creationId xmlns:a16="http://schemas.microsoft.com/office/drawing/2014/main" id="{2D193542-E607-4857-8CE3-3135E6099334}"/>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417629" y="3016365"/>
            <a:ext cx="1615665" cy="1615665"/>
          </a:xfrm>
          <a:prstGeom prst="rect">
            <a:avLst/>
          </a:prstGeom>
        </p:spPr>
      </p:pic>
      <p:sp>
        <p:nvSpPr>
          <p:cNvPr id="81" name="TextBox 80">
            <a:extLst>
              <a:ext uri="{FF2B5EF4-FFF2-40B4-BE49-F238E27FC236}">
                <a16:creationId xmlns:a16="http://schemas.microsoft.com/office/drawing/2014/main" id="{973BDD9C-82BC-419A-93FD-3D626E85CCA8}"/>
              </a:ext>
            </a:extLst>
          </p:cNvPr>
          <p:cNvSpPr txBox="1"/>
          <p:nvPr/>
        </p:nvSpPr>
        <p:spPr>
          <a:xfrm>
            <a:off x="8435895" y="3962963"/>
            <a:ext cx="2864896" cy="677108"/>
          </a:xfrm>
          <a:prstGeom prst="rect">
            <a:avLst/>
          </a:prstGeom>
          <a:noFill/>
        </p:spPr>
        <p:txBody>
          <a:bodyPr wrap="square" rtlCol="0">
            <a:spAutoFit/>
          </a:bodyPr>
          <a:lstStyle/>
          <a:p>
            <a:r>
              <a:rPr lang="en-US" sz="1400" b="1" dirty="0">
                <a:solidFill>
                  <a:schemeClr val="tx1">
                    <a:lumMod val="75000"/>
                    <a:lumOff val="25000"/>
                  </a:schemeClr>
                </a:solidFill>
                <a:latin typeface="+mj-lt"/>
              </a:rPr>
              <a:t>Tenure Protection</a:t>
            </a:r>
          </a:p>
          <a:p>
            <a:pPr marL="171446" indent="-171446">
              <a:buFont typeface="Wingdings" panose="05000000000000000000" pitchFamily="2" charset="2"/>
              <a:buChar char="ü"/>
            </a:pPr>
            <a:r>
              <a:rPr lang="en-US" sz="1200" dirty="0">
                <a:solidFill>
                  <a:schemeClr val="tx1">
                    <a:lumMod val="75000"/>
                    <a:lumOff val="25000"/>
                  </a:schemeClr>
                </a:solidFill>
                <a:latin typeface="+mj-lt"/>
              </a:rPr>
              <a:t>Job Rotation Plan / Global Opportunities</a:t>
            </a:r>
          </a:p>
          <a:p>
            <a:pPr marL="171446" indent="-171446">
              <a:buFont typeface="Wingdings" panose="05000000000000000000" pitchFamily="2" charset="2"/>
              <a:buChar char="ü"/>
            </a:pPr>
            <a:r>
              <a:rPr lang="en-US" sz="1200" dirty="0">
                <a:solidFill>
                  <a:schemeClr val="tx1">
                    <a:lumMod val="75000"/>
                    <a:lumOff val="25000"/>
                  </a:schemeClr>
                </a:solidFill>
                <a:latin typeface="+mj-lt"/>
              </a:rPr>
              <a:t>Career Path</a:t>
            </a:r>
          </a:p>
        </p:txBody>
      </p:sp>
    </p:spTree>
    <p:extLst>
      <p:ext uri="{BB962C8B-B14F-4D97-AF65-F5344CB8AC3E}">
        <p14:creationId xmlns:p14="http://schemas.microsoft.com/office/powerpoint/2010/main" val="4284428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3" descr="cid:image001.png@01D56307.A817554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0005" y="1815548"/>
            <a:ext cx="5904063" cy="3061252"/>
          </a:xfrm>
          <a:prstGeom prst="rect">
            <a:avLst/>
          </a:prstGeom>
          <a:noFill/>
          <a:ln>
            <a:noFill/>
          </a:ln>
          <a:effectLst>
            <a:outerShdw blurRad="444500" dist="50800" dir="54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C73164E4-7ACF-401E-B86D-261E73365952}"/>
              </a:ext>
            </a:extLst>
          </p:cNvPr>
          <p:cNvPicPr>
            <a:picLocks noChangeAspect="1"/>
          </p:cNvPicPr>
          <p:nvPr/>
        </p:nvPicPr>
        <p:blipFill>
          <a:blip r:embed="rId3"/>
          <a:stretch>
            <a:fillRect/>
          </a:stretch>
        </p:blipFill>
        <p:spPr>
          <a:xfrm>
            <a:off x="6183394" y="1815548"/>
            <a:ext cx="5904516" cy="3061252"/>
          </a:xfrm>
          <a:prstGeom prst="rect">
            <a:avLst/>
          </a:prstGeom>
          <a:effectLst>
            <a:outerShdw blurRad="444500" dist="50800" dir="5400000" algn="ctr" rotWithShape="0">
              <a:schemeClr val="bg1"/>
            </a:outerShdw>
          </a:effectLst>
        </p:spPr>
      </p:pic>
      <p:sp>
        <p:nvSpPr>
          <p:cNvPr id="5" name="TextBox 4">
            <a:extLst>
              <a:ext uri="{FF2B5EF4-FFF2-40B4-BE49-F238E27FC236}">
                <a16:creationId xmlns:a16="http://schemas.microsoft.com/office/drawing/2014/main" id="{F62E221B-42A6-4BBB-8C05-0480FE07EA0B}"/>
              </a:ext>
            </a:extLst>
          </p:cNvPr>
          <p:cNvSpPr txBox="1"/>
          <p:nvPr/>
        </p:nvSpPr>
        <p:spPr>
          <a:xfrm>
            <a:off x="146575" y="193148"/>
            <a:ext cx="6120901" cy="366895"/>
          </a:xfrm>
          <a:prstGeom prst="rect">
            <a:avLst/>
          </a:prstGeom>
          <a:noFill/>
        </p:spPr>
        <p:txBody>
          <a:bodyPr wrap="square" lIns="0" tIns="0" rIns="0" bIns="0" rtlCol="0">
            <a:spAutoFit/>
          </a:bodyPr>
          <a:lstStyle/>
          <a:p>
            <a:pPr latinLnBrk="1">
              <a:lnSpc>
                <a:spcPct val="70000"/>
              </a:lnSpc>
              <a:defRPr/>
            </a:pPr>
            <a:r>
              <a:rPr lang="en-US" sz="3200" b="1" spc="-150" dirty="0">
                <a:solidFill>
                  <a:schemeClr val="bg1"/>
                </a:solidFill>
                <a:latin typeface="Work Sans" panose="00000500000000000000" pitchFamily="50" charset="0"/>
                <a:cs typeface="Segoe UI" panose="020B0502040204020203" pitchFamily="34" charset="0"/>
              </a:rPr>
              <a:t>INFINITE  LEADERSHIP </a:t>
            </a:r>
            <a:r>
              <a:rPr lang="en-US" sz="3200" spc="-150" dirty="0">
                <a:solidFill>
                  <a:schemeClr val="bg1"/>
                </a:solidFill>
                <a:latin typeface="Work Sans" panose="00000500000000000000" pitchFamily="50" charset="0"/>
                <a:cs typeface="Segoe UI" panose="020B0502040204020203" pitchFamily="34" charset="0"/>
              </a:rPr>
              <a:t> AWARDS </a:t>
            </a:r>
          </a:p>
        </p:txBody>
      </p:sp>
    </p:spTree>
    <p:extLst>
      <p:ext uri="{BB962C8B-B14F-4D97-AF65-F5344CB8AC3E}">
        <p14:creationId xmlns:p14="http://schemas.microsoft.com/office/powerpoint/2010/main" val="19501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43C2E520-27CA-4E92-AA3E-500003368F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28"/>
            <a:ext cx="12192000" cy="6857143"/>
          </a:xfrm>
          <a:prstGeom prst="rect">
            <a:avLst/>
          </a:prstGeom>
        </p:spPr>
      </p:pic>
      <p:sp>
        <p:nvSpPr>
          <p:cNvPr id="8" name="Rectangle 7">
            <a:extLst>
              <a:ext uri="{FF2B5EF4-FFF2-40B4-BE49-F238E27FC236}">
                <a16:creationId xmlns:a16="http://schemas.microsoft.com/office/drawing/2014/main" id="{6A13298E-E36F-41E6-8B4A-0836A6302F75}"/>
              </a:ext>
            </a:extLst>
          </p:cNvPr>
          <p:cNvSpPr/>
          <p:nvPr/>
        </p:nvSpPr>
        <p:spPr>
          <a:xfrm>
            <a:off x="1109863" y="3268763"/>
            <a:ext cx="4096437" cy="707886"/>
          </a:xfrm>
          <a:prstGeom prst="rect">
            <a:avLst/>
          </a:prstGeom>
        </p:spPr>
        <p:txBody>
          <a:bodyPr wrap="square">
            <a:spAutoFit/>
          </a:bodyPr>
          <a:lstStyle/>
          <a:p>
            <a:r>
              <a:rPr lang="en-US" sz="4000" b="1" spc="-150" dirty="0">
                <a:solidFill>
                  <a:srgbClr val="7E249F"/>
                </a:solidFill>
                <a:latin typeface="Work Sans" panose="00000500000000000000" pitchFamily="50" charset="0"/>
              </a:rPr>
              <a:t>POLICIES</a:t>
            </a:r>
          </a:p>
        </p:txBody>
      </p:sp>
      <p:sp>
        <p:nvSpPr>
          <p:cNvPr id="9" name="TextBox 8">
            <a:extLst>
              <a:ext uri="{FF2B5EF4-FFF2-40B4-BE49-F238E27FC236}">
                <a16:creationId xmlns:a16="http://schemas.microsoft.com/office/drawing/2014/main" id="{A76FA6A6-1F83-4823-A538-145449784951}"/>
              </a:ext>
            </a:extLst>
          </p:cNvPr>
          <p:cNvSpPr txBox="1"/>
          <p:nvPr/>
        </p:nvSpPr>
        <p:spPr>
          <a:xfrm>
            <a:off x="0" y="-1039138"/>
            <a:ext cx="4859022" cy="4939814"/>
          </a:xfrm>
          <a:prstGeom prst="rect">
            <a:avLst/>
          </a:prstGeom>
          <a:noFill/>
        </p:spPr>
        <p:txBody>
          <a:bodyPr wrap="none" rtlCol="0">
            <a:spAutoFit/>
          </a:bodyPr>
          <a:lstStyle/>
          <a:p>
            <a:r>
              <a:rPr lang="en-US" sz="31500" spc="-300" dirty="0">
                <a:solidFill>
                  <a:srgbClr val="00B6AD">
                    <a:alpha val="60000"/>
                  </a:srgbClr>
                </a:solidFill>
                <a:latin typeface="Work Sans Light" panose="00000400000000000000" pitchFamily="50" charset="0"/>
              </a:rPr>
              <a:t>02</a:t>
            </a:r>
            <a:endParaRPr lang="en-IN" sz="31500" spc="-300" dirty="0">
              <a:solidFill>
                <a:srgbClr val="00B6AD">
                  <a:alpha val="60000"/>
                </a:srgbClr>
              </a:solidFill>
              <a:latin typeface="Work Sans Light" panose="00000400000000000000" pitchFamily="50" charset="0"/>
            </a:endParaRPr>
          </a:p>
        </p:txBody>
      </p:sp>
    </p:spTree>
    <p:extLst>
      <p:ext uri="{BB962C8B-B14F-4D97-AF65-F5344CB8AC3E}">
        <p14:creationId xmlns:p14="http://schemas.microsoft.com/office/powerpoint/2010/main" val="7262516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BC4814-469E-44C2-BE2B-56ED2D165B2B}"/>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POLICIES</a:t>
            </a:r>
          </a:p>
        </p:txBody>
      </p:sp>
      <p:sp>
        <p:nvSpPr>
          <p:cNvPr id="3" name="Shape 6766">
            <a:extLst>
              <a:ext uri="{FF2B5EF4-FFF2-40B4-BE49-F238E27FC236}">
                <a16:creationId xmlns:a16="http://schemas.microsoft.com/office/drawing/2014/main" id="{84B03824-03CB-479B-BBEC-1E8A82CDA5F9}"/>
              </a:ext>
            </a:extLst>
          </p:cNvPr>
          <p:cNvSpPr/>
          <p:nvPr/>
        </p:nvSpPr>
        <p:spPr>
          <a:xfrm>
            <a:off x="266701" y="1853888"/>
            <a:ext cx="8635999" cy="3240000"/>
          </a:xfrm>
          <a:prstGeom prst="roundRect">
            <a:avLst>
              <a:gd name="adj" fmla="val 12030"/>
            </a:avLst>
          </a:prstGeom>
          <a:ln w="38100" cmpd="sng">
            <a:solidFill>
              <a:srgbClr val="00B6AD"/>
            </a:solidFill>
            <a:miter lim="400000"/>
          </a:ln>
        </p:spPr>
        <p:txBody>
          <a:bodyPr lIns="25400" tIns="25400" rIns="25400" bIns="25400" anchor="ctr"/>
          <a:lstStyle/>
          <a:p>
            <a:pPr defTabSz="1219170">
              <a:defRPr sz="3200">
                <a:solidFill>
                  <a:srgbClr val="FFFFFF"/>
                </a:solidFill>
              </a:defRPr>
            </a:pPr>
            <a:endParaRPr sz="1600" kern="0">
              <a:solidFill>
                <a:srgbClr val="FFFFFF"/>
              </a:solidFill>
            </a:endParaRPr>
          </a:p>
        </p:txBody>
      </p:sp>
      <p:sp>
        <p:nvSpPr>
          <p:cNvPr id="5" name="TextBox 4">
            <a:extLst>
              <a:ext uri="{FF2B5EF4-FFF2-40B4-BE49-F238E27FC236}">
                <a16:creationId xmlns:a16="http://schemas.microsoft.com/office/drawing/2014/main" id="{564ABCB1-E34D-47CD-9255-D91C1427E8A5}"/>
              </a:ext>
            </a:extLst>
          </p:cNvPr>
          <p:cNvSpPr txBox="1"/>
          <p:nvPr/>
        </p:nvSpPr>
        <p:spPr>
          <a:xfrm>
            <a:off x="533401" y="3118100"/>
            <a:ext cx="6845300" cy="1241622"/>
          </a:xfrm>
          <a:prstGeom prst="rect">
            <a:avLst/>
          </a:prstGeom>
          <a:noFill/>
        </p:spPr>
        <p:txBody>
          <a:bodyPr wrap="square" rtlCol="0">
            <a:spAutoFit/>
          </a:bodyPr>
          <a:lstStyle/>
          <a:p>
            <a:pPr marL="0" lvl="2" algn="just"/>
            <a:r>
              <a:rPr lang="en-US" dirty="0">
                <a:solidFill>
                  <a:schemeClr val="tx1">
                    <a:lumMod val="75000"/>
                    <a:lumOff val="25000"/>
                  </a:schemeClr>
                </a:solidFill>
                <a:ea typeface="Roboto" pitchFamily="2" charset="0"/>
              </a:rPr>
              <a:t>Infinite expects employees to strive to maintain and contribute to their reputation. This includes treating others respectfully, communicating clearly, and projecting a positive attitude and professional demeanor at all times.</a:t>
            </a:r>
          </a:p>
        </p:txBody>
      </p:sp>
      <p:sp>
        <p:nvSpPr>
          <p:cNvPr id="6" name="Shape 13457">
            <a:extLst>
              <a:ext uri="{FF2B5EF4-FFF2-40B4-BE49-F238E27FC236}">
                <a16:creationId xmlns:a16="http://schemas.microsoft.com/office/drawing/2014/main" id="{793E5766-7069-4927-AC12-98E356D54330}"/>
              </a:ext>
            </a:extLst>
          </p:cNvPr>
          <p:cNvSpPr txBox="1">
            <a:spLocks/>
          </p:cNvSpPr>
          <p:nvPr/>
        </p:nvSpPr>
        <p:spPr>
          <a:xfrm>
            <a:off x="1069933" y="2226101"/>
            <a:ext cx="5772237" cy="755073"/>
          </a:xfrm>
          <a:prstGeom prst="rect">
            <a:avLst/>
          </a:prstGeom>
          <a:ln w="12700">
            <a:miter lim="400000"/>
          </a:ln>
          <a:extLst>
            <a:ext uri="{C572A759-6A51-4108-AA02-DFA0A04FC94B}">
              <ma14:wrappingTextBoxFlag xmlns:ma14="http://schemas.microsoft.com/office/mac/drawingml/2011/main" xmlns="" val="1"/>
            </a:ext>
          </a:extLst>
        </p:spPr>
        <p:txBody>
          <a:bodyPr lIns="67733" tIns="67733" rIns="67733" bIns="67733" anchor="ctr">
            <a:normAutofit/>
          </a:bodyPr>
          <a:lstStyle/>
          <a:p>
            <a:pPr algn="ctr" defTabSz="412740">
              <a:defRPr/>
            </a:pPr>
            <a:r>
              <a:rPr lang="en-GB" sz="2400" b="1" kern="0" dirty="0">
                <a:solidFill>
                  <a:srgbClr val="7E249F"/>
                </a:solidFill>
                <a:latin typeface="+mj-lt"/>
                <a:ea typeface="Bebas Neue Bold"/>
                <a:cs typeface="Bebas Neue Bold"/>
                <a:sym typeface="Bebas Neue Bold"/>
              </a:rPr>
              <a:t>Work Place </a:t>
            </a:r>
            <a:r>
              <a:rPr lang="en-GB" sz="2400" b="1" kern="0" dirty="0" err="1">
                <a:solidFill>
                  <a:srgbClr val="7E249F"/>
                </a:solidFill>
                <a:latin typeface="+mj-lt"/>
                <a:ea typeface="Bebas Neue Bold"/>
                <a:cs typeface="Bebas Neue Bold"/>
                <a:sym typeface="Bebas Neue Bold"/>
              </a:rPr>
              <a:t>Behavior</a:t>
            </a:r>
            <a:endParaRPr lang="en-GB" sz="2400" b="1" kern="0" dirty="0">
              <a:solidFill>
                <a:srgbClr val="7E249F"/>
              </a:solidFill>
              <a:latin typeface="+mj-lt"/>
              <a:ea typeface="Bebas Neue Bold"/>
              <a:cs typeface="Bebas Neue Bold"/>
              <a:sym typeface="Bebas Neue Bold"/>
            </a:endParaRPr>
          </a:p>
        </p:txBody>
      </p:sp>
      <p:pic>
        <p:nvPicPr>
          <p:cNvPr id="7" name="Picture 6">
            <a:extLst>
              <a:ext uri="{FF2B5EF4-FFF2-40B4-BE49-F238E27FC236}">
                <a16:creationId xmlns:a16="http://schemas.microsoft.com/office/drawing/2014/main" id="{7292B545-B13F-48E2-93D3-AD1958F01B2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31102" y="1223888"/>
            <a:ext cx="4510843" cy="4500000"/>
          </a:xfrm>
          <a:prstGeom prst="ellipse">
            <a:avLst/>
          </a:prstGeom>
          <a:ln w="152400" cap="rnd">
            <a:solidFill>
              <a:srgbClr val="00B6A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spTree>
    <p:extLst>
      <p:ext uri="{BB962C8B-B14F-4D97-AF65-F5344CB8AC3E}">
        <p14:creationId xmlns:p14="http://schemas.microsoft.com/office/powerpoint/2010/main" val="26565388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29881B1-E6CD-4173-ABB7-9B847D72D5B4}"/>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POLICIES</a:t>
            </a:r>
          </a:p>
        </p:txBody>
      </p:sp>
      <p:sp>
        <p:nvSpPr>
          <p:cNvPr id="5" name="TextBox 4">
            <a:extLst>
              <a:ext uri="{FF2B5EF4-FFF2-40B4-BE49-F238E27FC236}">
                <a16:creationId xmlns:a16="http://schemas.microsoft.com/office/drawing/2014/main" id="{FC569D0E-354F-4DE9-A42E-DFE69F304C03}"/>
              </a:ext>
            </a:extLst>
          </p:cNvPr>
          <p:cNvSpPr txBox="1"/>
          <p:nvPr/>
        </p:nvSpPr>
        <p:spPr>
          <a:xfrm>
            <a:off x="1037503" y="2553961"/>
            <a:ext cx="7633788" cy="2390911"/>
          </a:xfrm>
          <a:prstGeom prst="rect">
            <a:avLst/>
          </a:prstGeom>
          <a:noFill/>
        </p:spPr>
        <p:txBody>
          <a:bodyPr wrap="square" rtlCol="0">
            <a:spAutoFit/>
          </a:bodyPr>
          <a:lstStyle/>
          <a:p>
            <a:pPr marL="0" lvl="2" algn="just"/>
            <a:r>
              <a:rPr lang="en-GB" dirty="0">
                <a:solidFill>
                  <a:schemeClr val="tx1">
                    <a:lumMod val="75000"/>
                    <a:lumOff val="25000"/>
                  </a:schemeClr>
                </a:solidFill>
                <a:ea typeface="Roboto" pitchFamily="2" charset="0"/>
              </a:rPr>
              <a:t>Infinite expects employees to be dressed appropriately and be well groomed on a daily basis. </a:t>
            </a:r>
          </a:p>
          <a:p>
            <a:pPr marL="0" lvl="2" algn="just"/>
            <a:endParaRPr lang="en-GB" dirty="0">
              <a:solidFill>
                <a:schemeClr val="tx1">
                  <a:lumMod val="75000"/>
                  <a:lumOff val="25000"/>
                </a:schemeClr>
              </a:solidFill>
              <a:ea typeface="Roboto" pitchFamily="2" charset="0"/>
            </a:endParaRPr>
          </a:p>
          <a:p>
            <a:pPr marL="0" lvl="2" algn="just"/>
            <a:r>
              <a:rPr lang="en-GB" dirty="0">
                <a:solidFill>
                  <a:schemeClr val="tx1">
                    <a:lumMod val="75000"/>
                    <a:lumOff val="25000"/>
                  </a:schemeClr>
                </a:solidFill>
                <a:ea typeface="Roboto" pitchFamily="2" charset="0"/>
              </a:rPr>
              <a:t>At corporate offices, all employees may dress in classic business or business casual attire. On client sites, the client practices should be followed.</a:t>
            </a:r>
          </a:p>
          <a:p>
            <a:pPr marL="0" lvl="2" algn="just"/>
            <a:endParaRPr lang="en-GB" dirty="0">
              <a:solidFill>
                <a:schemeClr val="tx1">
                  <a:lumMod val="75000"/>
                  <a:lumOff val="25000"/>
                </a:schemeClr>
              </a:solidFill>
              <a:ea typeface="Roboto" pitchFamily="2" charset="0"/>
            </a:endParaRPr>
          </a:p>
          <a:p>
            <a:pPr marL="0" lvl="2" algn="just"/>
            <a:r>
              <a:rPr lang="en-US" dirty="0">
                <a:solidFill>
                  <a:schemeClr val="tx1">
                    <a:lumMod val="75000"/>
                    <a:lumOff val="25000"/>
                  </a:schemeClr>
                </a:solidFill>
              </a:rPr>
              <a:t>Visible tattoos need to be covered up at all times, especially when attending client meetings or at a client locations.</a:t>
            </a:r>
            <a:endParaRPr lang="en-GB" dirty="0">
              <a:solidFill>
                <a:schemeClr val="tx1">
                  <a:lumMod val="75000"/>
                  <a:lumOff val="25000"/>
                </a:schemeClr>
              </a:solidFill>
              <a:ea typeface="Roboto" pitchFamily="2" charset="0"/>
            </a:endParaRPr>
          </a:p>
        </p:txBody>
      </p:sp>
      <p:sp>
        <p:nvSpPr>
          <p:cNvPr id="6" name="Shape 13457">
            <a:extLst>
              <a:ext uri="{FF2B5EF4-FFF2-40B4-BE49-F238E27FC236}">
                <a16:creationId xmlns:a16="http://schemas.microsoft.com/office/drawing/2014/main" id="{185F9B95-9822-44DD-B241-3DF37C265181}"/>
              </a:ext>
            </a:extLst>
          </p:cNvPr>
          <p:cNvSpPr txBox="1">
            <a:spLocks/>
          </p:cNvSpPr>
          <p:nvPr/>
        </p:nvSpPr>
        <p:spPr>
          <a:xfrm>
            <a:off x="2808671" y="1745481"/>
            <a:ext cx="4091452" cy="755073"/>
          </a:xfrm>
          <a:prstGeom prst="rect">
            <a:avLst/>
          </a:prstGeom>
          <a:ln w="12700">
            <a:miter lim="400000"/>
          </a:ln>
          <a:extLst>
            <a:ext uri="{C572A759-6A51-4108-AA02-DFA0A04FC94B}">
              <ma14:wrappingTextBoxFlag xmlns="" xmlns:ma14="http://schemas.microsoft.com/office/mac/drawingml/2011/main" val="1"/>
            </a:ext>
          </a:extLst>
        </p:spPr>
        <p:txBody>
          <a:bodyPr lIns="67733" tIns="67733" rIns="67733" bIns="67733" anchor="ctr">
            <a:normAutofit/>
          </a:bodyPr>
          <a:lstStyle/>
          <a:p>
            <a:pPr algn="ctr" defTabSz="412740">
              <a:defRPr/>
            </a:pPr>
            <a:r>
              <a:rPr lang="en-GB" sz="2400" b="1" kern="0" dirty="0">
                <a:solidFill>
                  <a:srgbClr val="7E249F"/>
                </a:solidFill>
                <a:latin typeface="+mj-lt"/>
                <a:ea typeface="Bebas Neue Bold"/>
                <a:cs typeface="Bebas Neue Bold"/>
                <a:sym typeface="Bebas Neue Bold"/>
              </a:rPr>
              <a:t>Dress Code</a:t>
            </a:r>
          </a:p>
        </p:txBody>
      </p:sp>
      <p:sp>
        <p:nvSpPr>
          <p:cNvPr id="7" name="Shape 6766">
            <a:extLst>
              <a:ext uri="{FF2B5EF4-FFF2-40B4-BE49-F238E27FC236}">
                <a16:creationId xmlns:a16="http://schemas.microsoft.com/office/drawing/2014/main" id="{84D01524-EB61-48FE-BD1C-9C83BD4D12B6}"/>
              </a:ext>
            </a:extLst>
          </p:cNvPr>
          <p:cNvSpPr/>
          <p:nvPr/>
        </p:nvSpPr>
        <p:spPr>
          <a:xfrm>
            <a:off x="641262" y="1625600"/>
            <a:ext cx="8985337" cy="4191000"/>
          </a:xfrm>
          <a:prstGeom prst="roundRect">
            <a:avLst>
              <a:gd name="adj" fmla="val 6324"/>
            </a:avLst>
          </a:prstGeom>
          <a:ln w="38100" cmpd="sng">
            <a:solidFill>
              <a:srgbClr val="00B6AD"/>
            </a:solidFill>
            <a:miter lim="400000"/>
          </a:ln>
        </p:spPr>
        <p:txBody>
          <a:bodyPr lIns="25400" tIns="25400" rIns="25400" bIns="25400" anchor="ctr"/>
          <a:lstStyle/>
          <a:p>
            <a:pPr defTabSz="1219170">
              <a:defRPr sz="3200">
                <a:solidFill>
                  <a:srgbClr val="FFFFFF"/>
                </a:solidFill>
              </a:defRPr>
            </a:pPr>
            <a:endParaRPr sz="1600" kern="0">
              <a:solidFill>
                <a:srgbClr val="FFFFFF"/>
              </a:solidFill>
            </a:endParaRPr>
          </a:p>
        </p:txBody>
      </p:sp>
      <p:sp>
        <p:nvSpPr>
          <p:cNvPr id="8" name="Shape 7377">
            <a:extLst>
              <a:ext uri="{FF2B5EF4-FFF2-40B4-BE49-F238E27FC236}">
                <a16:creationId xmlns:a16="http://schemas.microsoft.com/office/drawing/2014/main" id="{F42EFEFD-B75D-47AC-BB2E-B1A4B103F1C9}"/>
              </a:ext>
            </a:extLst>
          </p:cNvPr>
          <p:cNvSpPr/>
          <p:nvPr/>
        </p:nvSpPr>
        <p:spPr>
          <a:xfrm>
            <a:off x="8895079" y="4022927"/>
            <a:ext cx="1430021" cy="1430020"/>
          </a:xfrm>
          <a:prstGeom prst="ellipse">
            <a:avLst/>
          </a:prstGeom>
          <a:solidFill>
            <a:schemeClr val="bg1"/>
          </a:solidFill>
          <a:ln w="38100" cap="flat" cmpd="sng">
            <a:solidFill>
              <a:srgbClr val="00B6AD"/>
            </a:solidFill>
            <a:prstDash val="solid"/>
            <a:miter lim="400000"/>
          </a:ln>
          <a:effectLst>
            <a:outerShdw blurRad="127000" sx="80000" sy="80000" rotWithShape="0">
              <a:srgbClr val="000000">
                <a:alpha val="92000"/>
              </a:srgbClr>
            </a:outerShdw>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sp>
        <p:nvSpPr>
          <p:cNvPr id="9" name="Shape 7385">
            <a:extLst>
              <a:ext uri="{FF2B5EF4-FFF2-40B4-BE49-F238E27FC236}">
                <a16:creationId xmlns:a16="http://schemas.microsoft.com/office/drawing/2014/main" id="{22277CA0-6F39-46F9-9E24-67191E0B3FCA}"/>
              </a:ext>
            </a:extLst>
          </p:cNvPr>
          <p:cNvSpPr/>
          <p:nvPr/>
        </p:nvSpPr>
        <p:spPr>
          <a:xfrm>
            <a:off x="8895079" y="2074886"/>
            <a:ext cx="1430021" cy="1430021"/>
          </a:xfrm>
          <a:prstGeom prst="ellipse">
            <a:avLst/>
          </a:prstGeom>
          <a:solidFill>
            <a:schemeClr val="bg1"/>
          </a:solidFill>
          <a:ln w="38100" cap="flat" cmpd="sng">
            <a:solidFill>
              <a:srgbClr val="00B6AD"/>
            </a:solidFill>
            <a:prstDash val="solid"/>
            <a:miter lim="400000"/>
          </a:ln>
          <a:effectLst>
            <a:outerShdw blurRad="127000" sx="80000" sy="80000" rotWithShape="0">
              <a:srgbClr val="000000">
                <a:alpha val="92000"/>
              </a:srgbClr>
            </a:outerShdw>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grpSp>
        <p:nvGrpSpPr>
          <p:cNvPr id="10" name="Group 9">
            <a:extLst>
              <a:ext uri="{FF2B5EF4-FFF2-40B4-BE49-F238E27FC236}">
                <a16:creationId xmlns:a16="http://schemas.microsoft.com/office/drawing/2014/main" id="{41CE8869-956F-481A-9325-A82EE064E5E9}"/>
              </a:ext>
            </a:extLst>
          </p:cNvPr>
          <p:cNvGrpSpPr/>
          <p:nvPr/>
        </p:nvGrpSpPr>
        <p:grpSpPr>
          <a:xfrm>
            <a:off x="9165167" y="2298701"/>
            <a:ext cx="892339" cy="944033"/>
            <a:chOff x="7664450" y="847725"/>
            <a:chExt cx="1150938" cy="1217613"/>
          </a:xfrm>
          <a:solidFill>
            <a:srgbClr val="7E249F"/>
          </a:solidFill>
        </p:grpSpPr>
        <p:sp>
          <p:nvSpPr>
            <p:cNvPr id="11" name="Freeform 6">
              <a:extLst>
                <a:ext uri="{FF2B5EF4-FFF2-40B4-BE49-F238E27FC236}">
                  <a16:creationId xmlns:a16="http://schemas.microsoft.com/office/drawing/2014/main" id="{6A8954B3-F129-4D9D-B398-18D0616FBC5D}"/>
                </a:ext>
              </a:extLst>
            </p:cNvPr>
            <p:cNvSpPr>
              <a:spLocks noEditPoints="1"/>
            </p:cNvSpPr>
            <p:nvPr/>
          </p:nvSpPr>
          <p:spPr bwMode="auto">
            <a:xfrm>
              <a:off x="8032750" y="847725"/>
              <a:ext cx="149225" cy="260350"/>
            </a:xfrm>
            <a:custGeom>
              <a:avLst/>
              <a:gdLst/>
              <a:ahLst/>
              <a:cxnLst>
                <a:cxn ang="0">
                  <a:pos x="24" y="164"/>
                </a:cxn>
                <a:cxn ang="0">
                  <a:pos x="23" y="164"/>
                </a:cxn>
                <a:cxn ang="0">
                  <a:pos x="16" y="161"/>
                </a:cxn>
                <a:cxn ang="0">
                  <a:pos x="12" y="154"/>
                </a:cxn>
                <a:cxn ang="0">
                  <a:pos x="6" y="134"/>
                </a:cxn>
                <a:cxn ang="0">
                  <a:pos x="0" y="93"/>
                </a:cxn>
                <a:cxn ang="0">
                  <a:pos x="2" y="52"/>
                </a:cxn>
                <a:cxn ang="0">
                  <a:pos x="7" y="34"/>
                </a:cxn>
                <a:cxn ang="0">
                  <a:pos x="17" y="16"/>
                </a:cxn>
                <a:cxn ang="0">
                  <a:pos x="31" y="1"/>
                </a:cxn>
                <a:cxn ang="0">
                  <a:pos x="36" y="0"/>
                </a:cxn>
                <a:cxn ang="0">
                  <a:pos x="40" y="0"/>
                </a:cxn>
                <a:cxn ang="0">
                  <a:pos x="44" y="3"/>
                </a:cxn>
                <a:cxn ang="0">
                  <a:pos x="47" y="7"/>
                </a:cxn>
                <a:cxn ang="0">
                  <a:pos x="51" y="23"/>
                </a:cxn>
                <a:cxn ang="0">
                  <a:pos x="58" y="35"/>
                </a:cxn>
                <a:cxn ang="0">
                  <a:pos x="70" y="45"/>
                </a:cxn>
                <a:cxn ang="0">
                  <a:pos x="85" y="54"/>
                </a:cxn>
                <a:cxn ang="0">
                  <a:pos x="91" y="58"/>
                </a:cxn>
                <a:cxn ang="0">
                  <a:pos x="94" y="65"/>
                </a:cxn>
                <a:cxn ang="0">
                  <a:pos x="94" y="69"/>
                </a:cxn>
                <a:cxn ang="0">
                  <a:pos x="91" y="76"/>
                </a:cxn>
                <a:cxn ang="0">
                  <a:pos x="88" y="79"/>
                </a:cxn>
                <a:cxn ang="0">
                  <a:pos x="72" y="93"/>
                </a:cxn>
                <a:cxn ang="0">
                  <a:pos x="60" y="110"/>
                </a:cxn>
                <a:cxn ang="0">
                  <a:pos x="37" y="157"/>
                </a:cxn>
                <a:cxn ang="0">
                  <a:pos x="34" y="160"/>
                </a:cxn>
                <a:cxn ang="0">
                  <a:pos x="27" y="164"/>
                </a:cxn>
                <a:cxn ang="0">
                  <a:pos x="24" y="164"/>
                </a:cxn>
                <a:cxn ang="0">
                  <a:pos x="33" y="27"/>
                </a:cxn>
                <a:cxn ang="0">
                  <a:pos x="23" y="45"/>
                </a:cxn>
                <a:cxn ang="0">
                  <a:pos x="19" y="71"/>
                </a:cxn>
                <a:cxn ang="0">
                  <a:pos x="19" y="101"/>
                </a:cxn>
                <a:cxn ang="0">
                  <a:pos x="26" y="136"/>
                </a:cxn>
                <a:cxn ang="0">
                  <a:pos x="36" y="115"/>
                </a:cxn>
                <a:cxn ang="0">
                  <a:pos x="60" y="82"/>
                </a:cxn>
                <a:cxn ang="0">
                  <a:pos x="72" y="68"/>
                </a:cxn>
                <a:cxn ang="0">
                  <a:pos x="48" y="51"/>
                </a:cxn>
                <a:cxn ang="0">
                  <a:pos x="33" y="27"/>
                </a:cxn>
              </a:cxnLst>
              <a:rect l="0" t="0" r="r" b="b"/>
              <a:pathLst>
                <a:path w="94" h="164">
                  <a:moveTo>
                    <a:pt x="24" y="164"/>
                  </a:moveTo>
                  <a:lnTo>
                    <a:pt x="24" y="164"/>
                  </a:lnTo>
                  <a:lnTo>
                    <a:pt x="23" y="164"/>
                  </a:lnTo>
                  <a:lnTo>
                    <a:pt x="23" y="164"/>
                  </a:lnTo>
                  <a:lnTo>
                    <a:pt x="19" y="163"/>
                  </a:lnTo>
                  <a:lnTo>
                    <a:pt x="16" y="161"/>
                  </a:lnTo>
                  <a:lnTo>
                    <a:pt x="13" y="157"/>
                  </a:lnTo>
                  <a:lnTo>
                    <a:pt x="12" y="154"/>
                  </a:lnTo>
                  <a:lnTo>
                    <a:pt x="12" y="154"/>
                  </a:lnTo>
                  <a:lnTo>
                    <a:pt x="6" y="134"/>
                  </a:lnTo>
                  <a:lnTo>
                    <a:pt x="3" y="115"/>
                  </a:lnTo>
                  <a:lnTo>
                    <a:pt x="0" y="93"/>
                  </a:lnTo>
                  <a:lnTo>
                    <a:pt x="0" y="72"/>
                  </a:lnTo>
                  <a:lnTo>
                    <a:pt x="2" y="52"/>
                  </a:lnTo>
                  <a:lnTo>
                    <a:pt x="4" y="42"/>
                  </a:lnTo>
                  <a:lnTo>
                    <a:pt x="7" y="34"/>
                  </a:lnTo>
                  <a:lnTo>
                    <a:pt x="12" y="24"/>
                  </a:lnTo>
                  <a:lnTo>
                    <a:pt x="17" y="16"/>
                  </a:lnTo>
                  <a:lnTo>
                    <a:pt x="24" y="8"/>
                  </a:lnTo>
                  <a:lnTo>
                    <a:pt x="31" y="1"/>
                  </a:lnTo>
                  <a:lnTo>
                    <a:pt x="31" y="1"/>
                  </a:lnTo>
                  <a:lnTo>
                    <a:pt x="36" y="0"/>
                  </a:lnTo>
                  <a:lnTo>
                    <a:pt x="38" y="0"/>
                  </a:lnTo>
                  <a:lnTo>
                    <a:pt x="40" y="0"/>
                  </a:lnTo>
                  <a:lnTo>
                    <a:pt x="40" y="0"/>
                  </a:lnTo>
                  <a:lnTo>
                    <a:pt x="44" y="3"/>
                  </a:lnTo>
                  <a:lnTo>
                    <a:pt x="47" y="7"/>
                  </a:lnTo>
                  <a:lnTo>
                    <a:pt x="47" y="7"/>
                  </a:lnTo>
                  <a:lnTo>
                    <a:pt x="48" y="16"/>
                  </a:lnTo>
                  <a:lnTo>
                    <a:pt x="51" y="23"/>
                  </a:lnTo>
                  <a:lnTo>
                    <a:pt x="54" y="30"/>
                  </a:lnTo>
                  <a:lnTo>
                    <a:pt x="58" y="35"/>
                  </a:lnTo>
                  <a:lnTo>
                    <a:pt x="64" y="41"/>
                  </a:lnTo>
                  <a:lnTo>
                    <a:pt x="70" y="45"/>
                  </a:lnTo>
                  <a:lnTo>
                    <a:pt x="77" y="50"/>
                  </a:lnTo>
                  <a:lnTo>
                    <a:pt x="85" y="54"/>
                  </a:lnTo>
                  <a:lnTo>
                    <a:pt x="85" y="54"/>
                  </a:lnTo>
                  <a:lnTo>
                    <a:pt x="91" y="58"/>
                  </a:lnTo>
                  <a:lnTo>
                    <a:pt x="92" y="62"/>
                  </a:lnTo>
                  <a:lnTo>
                    <a:pt x="94" y="65"/>
                  </a:lnTo>
                  <a:lnTo>
                    <a:pt x="94" y="65"/>
                  </a:lnTo>
                  <a:lnTo>
                    <a:pt x="94" y="69"/>
                  </a:lnTo>
                  <a:lnTo>
                    <a:pt x="92" y="74"/>
                  </a:lnTo>
                  <a:lnTo>
                    <a:pt x="91" y="76"/>
                  </a:lnTo>
                  <a:lnTo>
                    <a:pt x="88" y="79"/>
                  </a:lnTo>
                  <a:lnTo>
                    <a:pt x="88" y="79"/>
                  </a:lnTo>
                  <a:lnTo>
                    <a:pt x="80" y="86"/>
                  </a:lnTo>
                  <a:lnTo>
                    <a:pt x="72" y="93"/>
                  </a:lnTo>
                  <a:lnTo>
                    <a:pt x="65" y="102"/>
                  </a:lnTo>
                  <a:lnTo>
                    <a:pt x="60" y="110"/>
                  </a:lnTo>
                  <a:lnTo>
                    <a:pt x="48" y="132"/>
                  </a:lnTo>
                  <a:lnTo>
                    <a:pt x="37" y="157"/>
                  </a:lnTo>
                  <a:lnTo>
                    <a:pt x="37" y="157"/>
                  </a:lnTo>
                  <a:lnTo>
                    <a:pt x="34" y="160"/>
                  </a:lnTo>
                  <a:lnTo>
                    <a:pt x="31" y="163"/>
                  </a:lnTo>
                  <a:lnTo>
                    <a:pt x="27" y="164"/>
                  </a:lnTo>
                  <a:lnTo>
                    <a:pt x="24" y="164"/>
                  </a:lnTo>
                  <a:lnTo>
                    <a:pt x="24" y="164"/>
                  </a:lnTo>
                  <a:close/>
                  <a:moveTo>
                    <a:pt x="33" y="27"/>
                  </a:moveTo>
                  <a:lnTo>
                    <a:pt x="33" y="27"/>
                  </a:lnTo>
                  <a:lnTo>
                    <a:pt x="27" y="35"/>
                  </a:lnTo>
                  <a:lnTo>
                    <a:pt x="23" y="45"/>
                  </a:lnTo>
                  <a:lnTo>
                    <a:pt x="20" y="57"/>
                  </a:lnTo>
                  <a:lnTo>
                    <a:pt x="19" y="71"/>
                  </a:lnTo>
                  <a:lnTo>
                    <a:pt x="19" y="85"/>
                  </a:lnTo>
                  <a:lnTo>
                    <a:pt x="19" y="101"/>
                  </a:lnTo>
                  <a:lnTo>
                    <a:pt x="21" y="118"/>
                  </a:lnTo>
                  <a:lnTo>
                    <a:pt x="26" y="136"/>
                  </a:lnTo>
                  <a:lnTo>
                    <a:pt x="26" y="136"/>
                  </a:lnTo>
                  <a:lnTo>
                    <a:pt x="36" y="115"/>
                  </a:lnTo>
                  <a:lnTo>
                    <a:pt x="47" y="98"/>
                  </a:lnTo>
                  <a:lnTo>
                    <a:pt x="60" y="82"/>
                  </a:lnTo>
                  <a:lnTo>
                    <a:pt x="72" y="68"/>
                  </a:lnTo>
                  <a:lnTo>
                    <a:pt x="72" y="68"/>
                  </a:lnTo>
                  <a:lnTo>
                    <a:pt x="60" y="61"/>
                  </a:lnTo>
                  <a:lnTo>
                    <a:pt x="48" y="51"/>
                  </a:lnTo>
                  <a:lnTo>
                    <a:pt x="40" y="40"/>
                  </a:lnTo>
                  <a:lnTo>
                    <a:pt x="33" y="27"/>
                  </a:lnTo>
                  <a:lnTo>
                    <a:pt x="33" y="2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2" name="Freeform 7">
              <a:extLst>
                <a:ext uri="{FF2B5EF4-FFF2-40B4-BE49-F238E27FC236}">
                  <a16:creationId xmlns:a16="http://schemas.microsoft.com/office/drawing/2014/main" id="{7815631F-F6DE-44B9-BD17-C65419ECC3E9}"/>
                </a:ext>
              </a:extLst>
            </p:cNvPr>
            <p:cNvSpPr>
              <a:spLocks noEditPoints="1"/>
            </p:cNvSpPr>
            <p:nvPr/>
          </p:nvSpPr>
          <p:spPr bwMode="auto">
            <a:xfrm>
              <a:off x="8297863" y="847725"/>
              <a:ext cx="149225" cy="260350"/>
            </a:xfrm>
            <a:custGeom>
              <a:avLst/>
              <a:gdLst/>
              <a:ahLst/>
              <a:cxnLst>
                <a:cxn ang="0">
                  <a:pos x="71" y="164"/>
                </a:cxn>
                <a:cxn ang="0">
                  <a:pos x="70" y="164"/>
                </a:cxn>
                <a:cxn ang="0">
                  <a:pos x="63" y="163"/>
                </a:cxn>
                <a:cxn ang="0">
                  <a:pos x="57" y="157"/>
                </a:cxn>
                <a:cxn ang="0">
                  <a:pos x="46" y="132"/>
                </a:cxn>
                <a:cxn ang="0">
                  <a:pos x="29" y="102"/>
                </a:cxn>
                <a:cxn ang="0">
                  <a:pos x="14" y="86"/>
                </a:cxn>
                <a:cxn ang="0">
                  <a:pos x="6" y="79"/>
                </a:cxn>
                <a:cxn ang="0">
                  <a:pos x="2" y="74"/>
                </a:cxn>
                <a:cxn ang="0">
                  <a:pos x="0" y="65"/>
                </a:cxn>
                <a:cxn ang="0">
                  <a:pos x="2" y="62"/>
                </a:cxn>
                <a:cxn ang="0">
                  <a:pos x="9" y="54"/>
                </a:cxn>
                <a:cxn ang="0">
                  <a:pos x="17" y="50"/>
                </a:cxn>
                <a:cxn ang="0">
                  <a:pos x="30" y="41"/>
                </a:cxn>
                <a:cxn ang="0">
                  <a:pos x="40" y="30"/>
                </a:cxn>
                <a:cxn ang="0">
                  <a:pos x="46" y="16"/>
                </a:cxn>
                <a:cxn ang="0">
                  <a:pos x="47" y="7"/>
                </a:cxn>
                <a:cxn ang="0">
                  <a:pos x="53" y="0"/>
                </a:cxn>
                <a:cxn ang="0">
                  <a:pos x="56" y="0"/>
                </a:cxn>
                <a:cxn ang="0">
                  <a:pos x="63" y="1"/>
                </a:cxn>
                <a:cxn ang="0">
                  <a:pos x="70" y="8"/>
                </a:cxn>
                <a:cxn ang="0">
                  <a:pos x="81" y="24"/>
                </a:cxn>
                <a:cxn ang="0">
                  <a:pos x="90" y="42"/>
                </a:cxn>
                <a:cxn ang="0">
                  <a:pos x="94" y="72"/>
                </a:cxn>
                <a:cxn ang="0">
                  <a:pos x="91" y="115"/>
                </a:cxn>
                <a:cxn ang="0">
                  <a:pos x="82" y="154"/>
                </a:cxn>
                <a:cxn ang="0">
                  <a:pos x="81" y="157"/>
                </a:cxn>
                <a:cxn ang="0">
                  <a:pos x="75" y="163"/>
                </a:cxn>
                <a:cxn ang="0">
                  <a:pos x="71" y="164"/>
                </a:cxn>
                <a:cxn ang="0">
                  <a:pos x="22" y="68"/>
                </a:cxn>
                <a:cxn ang="0">
                  <a:pos x="47" y="98"/>
                </a:cxn>
                <a:cxn ang="0">
                  <a:pos x="68" y="136"/>
                </a:cxn>
                <a:cxn ang="0">
                  <a:pos x="73" y="118"/>
                </a:cxn>
                <a:cxn ang="0">
                  <a:pos x="75" y="85"/>
                </a:cxn>
                <a:cxn ang="0">
                  <a:pos x="74" y="57"/>
                </a:cxn>
                <a:cxn ang="0">
                  <a:pos x="67" y="35"/>
                </a:cxn>
                <a:cxn ang="0">
                  <a:pos x="61" y="27"/>
                </a:cxn>
                <a:cxn ang="0">
                  <a:pos x="46" y="51"/>
                </a:cxn>
                <a:cxn ang="0">
                  <a:pos x="22" y="68"/>
                </a:cxn>
              </a:cxnLst>
              <a:rect l="0" t="0" r="r" b="b"/>
              <a:pathLst>
                <a:path w="94" h="164">
                  <a:moveTo>
                    <a:pt x="71" y="164"/>
                  </a:moveTo>
                  <a:lnTo>
                    <a:pt x="71" y="164"/>
                  </a:lnTo>
                  <a:lnTo>
                    <a:pt x="70" y="164"/>
                  </a:lnTo>
                  <a:lnTo>
                    <a:pt x="70" y="164"/>
                  </a:lnTo>
                  <a:lnTo>
                    <a:pt x="65" y="164"/>
                  </a:lnTo>
                  <a:lnTo>
                    <a:pt x="63" y="163"/>
                  </a:lnTo>
                  <a:lnTo>
                    <a:pt x="60" y="160"/>
                  </a:lnTo>
                  <a:lnTo>
                    <a:pt x="57" y="157"/>
                  </a:lnTo>
                  <a:lnTo>
                    <a:pt x="57" y="157"/>
                  </a:lnTo>
                  <a:lnTo>
                    <a:pt x="46" y="132"/>
                  </a:lnTo>
                  <a:lnTo>
                    <a:pt x="34" y="110"/>
                  </a:lnTo>
                  <a:lnTo>
                    <a:pt x="29" y="102"/>
                  </a:lnTo>
                  <a:lnTo>
                    <a:pt x="22" y="93"/>
                  </a:lnTo>
                  <a:lnTo>
                    <a:pt x="14" y="86"/>
                  </a:lnTo>
                  <a:lnTo>
                    <a:pt x="6" y="79"/>
                  </a:lnTo>
                  <a:lnTo>
                    <a:pt x="6" y="79"/>
                  </a:lnTo>
                  <a:lnTo>
                    <a:pt x="3" y="76"/>
                  </a:lnTo>
                  <a:lnTo>
                    <a:pt x="2" y="74"/>
                  </a:lnTo>
                  <a:lnTo>
                    <a:pt x="0" y="69"/>
                  </a:lnTo>
                  <a:lnTo>
                    <a:pt x="0" y="65"/>
                  </a:lnTo>
                  <a:lnTo>
                    <a:pt x="0" y="65"/>
                  </a:lnTo>
                  <a:lnTo>
                    <a:pt x="2" y="62"/>
                  </a:lnTo>
                  <a:lnTo>
                    <a:pt x="3" y="58"/>
                  </a:lnTo>
                  <a:lnTo>
                    <a:pt x="9" y="54"/>
                  </a:lnTo>
                  <a:lnTo>
                    <a:pt x="9" y="54"/>
                  </a:lnTo>
                  <a:lnTo>
                    <a:pt x="17" y="50"/>
                  </a:lnTo>
                  <a:lnTo>
                    <a:pt x="24" y="45"/>
                  </a:lnTo>
                  <a:lnTo>
                    <a:pt x="30" y="41"/>
                  </a:lnTo>
                  <a:lnTo>
                    <a:pt x="34" y="35"/>
                  </a:lnTo>
                  <a:lnTo>
                    <a:pt x="40" y="30"/>
                  </a:lnTo>
                  <a:lnTo>
                    <a:pt x="43" y="23"/>
                  </a:lnTo>
                  <a:lnTo>
                    <a:pt x="46" y="16"/>
                  </a:lnTo>
                  <a:lnTo>
                    <a:pt x="47" y="7"/>
                  </a:lnTo>
                  <a:lnTo>
                    <a:pt x="47" y="7"/>
                  </a:lnTo>
                  <a:lnTo>
                    <a:pt x="50" y="3"/>
                  </a:lnTo>
                  <a:lnTo>
                    <a:pt x="53" y="0"/>
                  </a:lnTo>
                  <a:lnTo>
                    <a:pt x="53" y="0"/>
                  </a:lnTo>
                  <a:lnTo>
                    <a:pt x="56" y="0"/>
                  </a:lnTo>
                  <a:lnTo>
                    <a:pt x="58" y="0"/>
                  </a:lnTo>
                  <a:lnTo>
                    <a:pt x="63" y="1"/>
                  </a:lnTo>
                  <a:lnTo>
                    <a:pt x="63" y="1"/>
                  </a:lnTo>
                  <a:lnTo>
                    <a:pt x="70" y="8"/>
                  </a:lnTo>
                  <a:lnTo>
                    <a:pt x="77" y="16"/>
                  </a:lnTo>
                  <a:lnTo>
                    <a:pt x="81" y="24"/>
                  </a:lnTo>
                  <a:lnTo>
                    <a:pt x="87" y="34"/>
                  </a:lnTo>
                  <a:lnTo>
                    <a:pt x="90" y="42"/>
                  </a:lnTo>
                  <a:lnTo>
                    <a:pt x="92" y="52"/>
                  </a:lnTo>
                  <a:lnTo>
                    <a:pt x="94" y="72"/>
                  </a:lnTo>
                  <a:lnTo>
                    <a:pt x="94" y="93"/>
                  </a:lnTo>
                  <a:lnTo>
                    <a:pt x="91" y="115"/>
                  </a:lnTo>
                  <a:lnTo>
                    <a:pt x="88" y="134"/>
                  </a:lnTo>
                  <a:lnTo>
                    <a:pt x="82" y="154"/>
                  </a:lnTo>
                  <a:lnTo>
                    <a:pt x="82" y="154"/>
                  </a:lnTo>
                  <a:lnTo>
                    <a:pt x="81" y="157"/>
                  </a:lnTo>
                  <a:lnTo>
                    <a:pt x="78" y="161"/>
                  </a:lnTo>
                  <a:lnTo>
                    <a:pt x="75" y="163"/>
                  </a:lnTo>
                  <a:lnTo>
                    <a:pt x="71" y="164"/>
                  </a:lnTo>
                  <a:lnTo>
                    <a:pt x="71" y="164"/>
                  </a:lnTo>
                  <a:close/>
                  <a:moveTo>
                    <a:pt x="22" y="68"/>
                  </a:moveTo>
                  <a:lnTo>
                    <a:pt x="22" y="68"/>
                  </a:lnTo>
                  <a:lnTo>
                    <a:pt x="34" y="82"/>
                  </a:lnTo>
                  <a:lnTo>
                    <a:pt x="47" y="98"/>
                  </a:lnTo>
                  <a:lnTo>
                    <a:pt x="58" y="115"/>
                  </a:lnTo>
                  <a:lnTo>
                    <a:pt x="68" y="136"/>
                  </a:lnTo>
                  <a:lnTo>
                    <a:pt x="68" y="136"/>
                  </a:lnTo>
                  <a:lnTo>
                    <a:pt x="73" y="118"/>
                  </a:lnTo>
                  <a:lnTo>
                    <a:pt x="74" y="101"/>
                  </a:lnTo>
                  <a:lnTo>
                    <a:pt x="75" y="85"/>
                  </a:lnTo>
                  <a:lnTo>
                    <a:pt x="75" y="71"/>
                  </a:lnTo>
                  <a:lnTo>
                    <a:pt x="74" y="57"/>
                  </a:lnTo>
                  <a:lnTo>
                    <a:pt x="71" y="45"/>
                  </a:lnTo>
                  <a:lnTo>
                    <a:pt x="67" y="35"/>
                  </a:lnTo>
                  <a:lnTo>
                    <a:pt x="61" y="27"/>
                  </a:lnTo>
                  <a:lnTo>
                    <a:pt x="61" y="27"/>
                  </a:lnTo>
                  <a:lnTo>
                    <a:pt x="54" y="40"/>
                  </a:lnTo>
                  <a:lnTo>
                    <a:pt x="46" y="51"/>
                  </a:lnTo>
                  <a:lnTo>
                    <a:pt x="34" y="61"/>
                  </a:lnTo>
                  <a:lnTo>
                    <a:pt x="22" y="68"/>
                  </a:lnTo>
                  <a:lnTo>
                    <a:pt x="22" y="6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3" name="Freeform 8">
              <a:extLst>
                <a:ext uri="{FF2B5EF4-FFF2-40B4-BE49-F238E27FC236}">
                  <a16:creationId xmlns:a16="http://schemas.microsoft.com/office/drawing/2014/main" id="{8F75ACBD-A520-4B21-8AA8-510343607C29}"/>
                </a:ext>
              </a:extLst>
            </p:cNvPr>
            <p:cNvSpPr>
              <a:spLocks noEditPoints="1"/>
            </p:cNvSpPr>
            <p:nvPr/>
          </p:nvSpPr>
          <p:spPr bwMode="auto">
            <a:xfrm>
              <a:off x="8174038" y="946150"/>
              <a:ext cx="196850" cy="323850"/>
            </a:xfrm>
            <a:custGeom>
              <a:avLst/>
              <a:gdLst/>
              <a:ahLst/>
              <a:cxnLst>
                <a:cxn ang="0">
                  <a:pos x="64" y="204"/>
                </a:cxn>
                <a:cxn ang="0">
                  <a:pos x="19" y="204"/>
                </a:cxn>
                <a:cxn ang="0">
                  <a:pos x="6" y="198"/>
                </a:cxn>
                <a:cxn ang="0">
                  <a:pos x="0" y="184"/>
                </a:cxn>
                <a:cxn ang="0">
                  <a:pos x="0" y="64"/>
                </a:cxn>
                <a:cxn ang="0">
                  <a:pos x="2" y="57"/>
                </a:cxn>
                <a:cxn ang="0">
                  <a:pos x="12" y="47"/>
                </a:cxn>
                <a:cxn ang="0">
                  <a:pos x="19" y="44"/>
                </a:cxn>
                <a:cxn ang="0">
                  <a:pos x="51" y="44"/>
                </a:cxn>
                <a:cxn ang="0">
                  <a:pos x="81" y="5"/>
                </a:cxn>
                <a:cxn ang="0">
                  <a:pos x="88" y="0"/>
                </a:cxn>
                <a:cxn ang="0">
                  <a:pos x="91" y="2"/>
                </a:cxn>
                <a:cxn ang="0">
                  <a:pos x="95" y="3"/>
                </a:cxn>
                <a:cxn ang="0">
                  <a:pos x="122" y="30"/>
                </a:cxn>
                <a:cxn ang="0">
                  <a:pos x="124" y="34"/>
                </a:cxn>
                <a:cxn ang="0">
                  <a:pos x="122" y="40"/>
                </a:cxn>
                <a:cxn ang="0">
                  <a:pos x="83" y="95"/>
                </a:cxn>
                <a:cxn ang="0">
                  <a:pos x="83" y="184"/>
                </a:cxn>
                <a:cxn ang="0">
                  <a:pos x="77" y="198"/>
                </a:cxn>
                <a:cxn ang="0">
                  <a:pos x="64" y="204"/>
                </a:cxn>
                <a:cxn ang="0">
                  <a:pos x="19" y="63"/>
                </a:cxn>
                <a:cxn ang="0">
                  <a:pos x="19" y="64"/>
                </a:cxn>
                <a:cxn ang="0">
                  <a:pos x="19" y="64"/>
                </a:cxn>
                <a:cxn ang="0">
                  <a:pos x="19" y="184"/>
                </a:cxn>
                <a:cxn ang="0">
                  <a:pos x="19" y="186"/>
                </a:cxn>
                <a:cxn ang="0">
                  <a:pos x="64" y="186"/>
                </a:cxn>
                <a:cxn ang="0">
                  <a:pos x="64" y="186"/>
                </a:cxn>
                <a:cxn ang="0">
                  <a:pos x="64" y="184"/>
                </a:cxn>
                <a:cxn ang="0">
                  <a:pos x="64" y="92"/>
                </a:cxn>
                <a:cxn ang="0">
                  <a:pos x="67" y="88"/>
                </a:cxn>
                <a:cxn ang="0">
                  <a:pos x="102" y="36"/>
                </a:cxn>
                <a:cxn ang="0">
                  <a:pos x="97" y="29"/>
                </a:cxn>
                <a:cxn ang="0">
                  <a:pos x="90" y="23"/>
                </a:cxn>
                <a:cxn ang="0">
                  <a:pos x="64" y="60"/>
                </a:cxn>
                <a:cxn ang="0">
                  <a:pos x="57" y="63"/>
                </a:cxn>
              </a:cxnLst>
              <a:rect l="0" t="0" r="r" b="b"/>
              <a:pathLst>
                <a:path w="124" h="204">
                  <a:moveTo>
                    <a:pt x="64" y="204"/>
                  </a:moveTo>
                  <a:lnTo>
                    <a:pt x="64" y="204"/>
                  </a:lnTo>
                  <a:lnTo>
                    <a:pt x="19" y="204"/>
                  </a:lnTo>
                  <a:lnTo>
                    <a:pt x="19" y="204"/>
                  </a:lnTo>
                  <a:lnTo>
                    <a:pt x="12" y="203"/>
                  </a:lnTo>
                  <a:lnTo>
                    <a:pt x="6" y="198"/>
                  </a:lnTo>
                  <a:lnTo>
                    <a:pt x="2" y="193"/>
                  </a:lnTo>
                  <a:lnTo>
                    <a:pt x="0" y="184"/>
                  </a:lnTo>
                  <a:lnTo>
                    <a:pt x="0" y="184"/>
                  </a:lnTo>
                  <a:lnTo>
                    <a:pt x="0" y="64"/>
                  </a:lnTo>
                  <a:lnTo>
                    <a:pt x="0" y="64"/>
                  </a:lnTo>
                  <a:lnTo>
                    <a:pt x="2" y="57"/>
                  </a:lnTo>
                  <a:lnTo>
                    <a:pt x="6" y="50"/>
                  </a:lnTo>
                  <a:lnTo>
                    <a:pt x="12" y="47"/>
                  </a:lnTo>
                  <a:lnTo>
                    <a:pt x="19" y="44"/>
                  </a:lnTo>
                  <a:lnTo>
                    <a:pt x="19" y="44"/>
                  </a:lnTo>
                  <a:lnTo>
                    <a:pt x="51" y="44"/>
                  </a:lnTo>
                  <a:lnTo>
                    <a:pt x="51" y="44"/>
                  </a:lnTo>
                  <a:lnTo>
                    <a:pt x="81" y="5"/>
                  </a:lnTo>
                  <a:lnTo>
                    <a:pt x="81" y="5"/>
                  </a:lnTo>
                  <a:lnTo>
                    <a:pt x="84" y="2"/>
                  </a:lnTo>
                  <a:lnTo>
                    <a:pt x="88" y="0"/>
                  </a:lnTo>
                  <a:lnTo>
                    <a:pt x="88" y="0"/>
                  </a:lnTo>
                  <a:lnTo>
                    <a:pt x="91" y="2"/>
                  </a:lnTo>
                  <a:lnTo>
                    <a:pt x="95" y="3"/>
                  </a:lnTo>
                  <a:lnTo>
                    <a:pt x="95" y="3"/>
                  </a:lnTo>
                  <a:lnTo>
                    <a:pt x="109" y="14"/>
                  </a:lnTo>
                  <a:lnTo>
                    <a:pt x="122" y="30"/>
                  </a:lnTo>
                  <a:lnTo>
                    <a:pt x="122" y="30"/>
                  </a:lnTo>
                  <a:lnTo>
                    <a:pt x="124" y="34"/>
                  </a:lnTo>
                  <a:lnTo>
                    <a:pt x="122" y="40"/>
                  </a:lnTo>
                  <a:lnTo>
                    <a:pt x="122" y="40"/>
                  </a:lnTo>
                  <a:lnTo>
                    <a:pt x="83" y="95"/>
                  </a:lnTo>
                  <a:lnTo>
                    <a:pt x="83" y="95"/>
                  </a:lnTo>
                  <a:lnTo>
                    <a:pt x="83" y="184"/>
                  </a:lnTo>
                  <a:lnTo>
                    <a:pt x="83" y="184"/>
                  </a:lnTo>
                  <a:lnTo>
                    <a:pt x="81" y="193"/>
                  </a:lnTo>
                  <a:lnTo>
                    <a:pt x="77" y="198"/>
                  </a:lnTo>
                  <a:lnTo>
                    <a:pt x="71" y="203"/>
                  </a:lnTo>
                  <a:lnTo>
                    <a:pt x="64" y="204"/>
                  </a:lnTo>
                  <a:lnTo>
                    <a:pt x="64" y="204"/>
                  </a:lnTo>
                  <a:close/>
                  <a:moveTo>
                    <a:pt x="19" y="63"/>
                  </a:moveTo>
                  <a:lnTo>
                    <a:pt x="19" y="63"/>
                  </a:lnTo>
                  <a:lnTo>
                    <a:pt x="19" y="64"/>
                  </a:lnTo>
                  <a:lnTo>
                    <a:pt x="19" y="64"/>
                  </a:lnTo>
                  <a:lnTo>
                    <a:pt x="19" y="64"/>
                  </a:lnTo>
                  <a:lnTo>
                    <a:pt x="19" y="184"/>
                  </a:lnTo>
                  <a:lnTo>
                    <a:pt x="19" y="184"/>
                  </a:lnTo>
                  <a:lnTo>
                    <a:pt x="19" y="186"/>
                  </a:lnTo>
                  <a:lnTo>
                    <a:pt x="19" y="186"/>
                  </a:lnTo>
                  <a:lnTo>
                    <a:pt x="19" y="186"/>
                  </a:lnTo>
                  <a:lnTo>
                    <a:pt x="64" y="186"/>
                  </a:lnTo>
                  <a:lnTo>
                    <a:pt x="64" y="186"/>
                  </a:lnTo>
                  <a:lnTo>
                    <a:pt x="64" y="186"/>
                  </a:lnTo>
                  <a:lnTo>
                    <a:pt x="64" y="184"/>
                  </a:lnTo>
                  <a:lnTo>
                    <a:pt x="64" y="184"/>
                  </a:lnTo>
                  <a:lnTo>
                    <a:pt x="64" y="92"/>
                  </a:lnTo>
                  <a:lnTo>
                    <a:pt x="64" y="92"/>
                  </a:lnTo>
                  <a:lnTo>
                    <a:pt x="66" y="91"/>
                  </a:lnTo>
                  <a:lnTo>
                    <a:pt x="67" y="88"/>
                  </a:lnTo>
                  <a:lnTo>
                    <a:pt x="67" y="88"/>
                  </a:lnTo>
                  <a:lnTo>
                    <a:pt x="102" y="36"/>
                  </a:lnTo>
                  <a:lnTo>
                    <a:pt x="102" y="36"/>
                  </a:lnTo>
                  <a:lnTo>
                    <a:pt x="97" y="29"/>
                  </a:lnTo>
                  <a:lnTo>
                    <a:pt x="90" y="23"/>
                  </a:lnTo>
                  <a:lnTo>
                    <a:pt x="90" y="23"/>
                  </a:lnTo>
                  <a:lnTo>
                    <a:pt x="64" y="60"/>
                  </a:lnTo>
                  <a:lnTo>
                    <a:pt x="64" y="60"/>
                  </a:lnTo>
                  <a:lnTo>
                    <a:pt x="61" y="63"/>
                  </a:lnTo>
                  <a:lnTo>
                    <a:pt x="57" y="63"/>
                  </a:lnTo>
                  <a:lnTo>
                    <a:pt x="19" y="6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4" name="Freeform 9">
              <a:extLst>
                <a:ext uri="{FF2B5EF4-FFF2-40B4-BE49-F238E27FC236}">
                  <a16:creationId xmlns:a16="http://schemas.microsoft.com/office/drawing/2014/main" id="{59724AFD-DFDF-49DC-8038-3A0D69A5C593}"/>
                </a:ext>
              </a:extLst>
            </p:cNvPr>
            <p:cNvSpPr>
              <a:spLocks/>
            </p:cNvSpPr>
            <p:nvPr/>
          </p:nvSpPr>
          <p:spPr bwMode="auto">
            <a:xfrm>
              <a:off x="8134350" y="847725"/>
              <a:ext cx="211138" cy="141288"/>
            </a:xfrm>
            <a:custGeom>
              <a:avLst/>
              <a:gdLst/>
              <a:ahLst/>
              <a:cxnLst>
                <a:cxn ang="0">
                  <a:pos x="27" y="37"/>
                </a:cxn>
                <a:cxn ang="0">
                  <a:pos x="27" y="37"/>
                </a:cxn>
                <a:cxn ang="0">
                  <a:pos x="35" y="41"/>
                </a:cxn>
                <a:cxn ang="0">
                  <a:pos x="41" y="47"/>
                </a:cxn>
                <a:cxn ang="0">
                  <a:pos x="45" y="55"/>
                </a:cxn>
                <a:cxn ang="0">
                  <a:pos x="47" y="64"/>
                </a:cxn>
                <a:cxn ang="0">
                  <a:pos x="47" y="64"/>
                </a:cxn>
                <a:cxn ang="0">
                  <a:pos x="48" y="71"/>
                </a:cxn>
                <a:cxn ang="0">
                  <a:pos x="47" y="78"/>
                </a:cxn>
                <a:cxn ang="0">
                  <a:pos x="47" y="78"/>
                </a:cxn>
                <a:cxn ang="0">
                  <a:pos x="54" y="89"/>
                </a:cxn>
                <a:cxn ang="0">
                  <a:pos x="54" y="89"/>
                </a:cxn>
                <a:cxn ang="0">
                  <a:pos x="68" y="89"/>
                </a:cxn>
                <a:cxn ang="0">
                  <a:pos x="68" y="89"/>
                </a:cxn>
                <a:cxn ang="0">
                  <a:pos x="85" y="65"/>
                </a:cxn>
                <a:cxn ang="0">
                  <a:pos x="85" y="65"/>
                </a:cxn>
                <a:cxn ang="0">
                  <a:pos x="85" y="64"/>
                </a:cxn>
                <a:cxn ang="0">
                  <a:pos x="85" y="64"/>
                </a:cxn>
                <a:cxn ang="0">
                  <a:pos x="85" y="64"/>
                </a:cxn>
                <a:cxn ang="0">
                  <a:pos x="88" y="55"/>
                </a:cxn>
                <a:cxn ang="0">
                  <a:pos x="92" y="47"/>
                </a:cxn>
                <a:cxn ang="0">
                  <a:pos x="98" y="41"/>
                </a:cxn>
                <a:cxn ang="0">
                  <a:pos x="106" y="37"/>
                </a:cxn>
                <a:cxn ang="0">
                  <a:pos x="106" y="37"/>
                </a:cxn>
                <a:cxn ang="0">
                  <a:pos x="116" y="31"/>
                </a:cxn>
                <a:cxn ang="0">
                  <a:pos x="123" y="24"/>
                </a:cxn>
                <a:cxn ang="0">
                  <a:pos x="129" y="16"/>
                </a:cxn>
                <a:cxn ang="0">
                  <a:pos x="133" y="3"/>
                </a:cxn>
                <a:cxn ang="0">
                  <a:pos x="133" y="3"/>
                </a:cxn>
                <a:cxn ang="0">
                  <a:pos x="133" y="3"/>
                </a:cxn>
                <a:cxn ang="0">
                  <a:pos x="133" y="1"/>
                </a:cxn>
                <a:cxn ang="0">
                  <a:pos x="133" y="0"/>
                </a:cxn>
                <a:cxn ang="0">
                  <a:pos x="133" y="0"/>
                </a:cxn>
                <a:cxn ang="0">
                  <a:pos x="130" y="0"/>
                </a:cxn>
                <a:cxn ang="0">
                  <a:pos x="130" y="0"/>
                </a:cxn>
                <a:cxn ang="0">
                  <a:pos x="3" y="0"/>
                </a:cxn>
                <a:cxn ang="0">
                  <a:pos x="3" y="0"/>
                </a:cxn>
                <a:cxn ang="0">
                  <a:pos x="0" y="0"/>
                </a:cxn>
                <a:cxn ang="0">
                  <a:pos x="0" y="0"/>
                </a:cxn>
                <a:cxn ang="0">
                  <a:pos x="0" y="1"/>
                </a:cxn>
                <a:cxn ang="0">
                  <a:pos x="0" y="3"/>
                </a:cxn>
                <a:cxn ang="0">
                  <a:pos x="0" y="3"/>
                </a:cxn>
                <a:cxn ang="0">
                  <a:pos x="0" y="3"/>
                </a:cxn>
                <a:cxn ang="0">
                  <a:pos x="4" y="16"/>
                </a:cxn>
                <a:cxn ang="0">
                  <a:pos x="10" y="24"/>
                </a:cxn>
                <a:cxn ang="0">
                  <a:pos x="17" y="31"/>
                </a:cxn>
                <a:cxn ang="0">
                  <a:pos x="27" y="37"/>
                </a:cxn>
                <a:cxn ang="0">
                  <a:pos x="27" y="37"/>
                </a:cxn>
              </a:cxnLst>
              <a:rect l="0" t="0" r="r" b="b"/>
              <a:pathLst>
                <a:path w="133" h="89">
                  <a:moveTo>
                    <a:pt x="27" y="37"/>
                  </a:moveTo>
                  <a:lnTo>
                    <a:pt x="27" y="37"/>
                  </a:lnTo>
                  <a:lnTo>
                    <a:pt x="35" y="41"/>
                  </a:lnTo>
                  <a:lnTo>
                    <a:pt x="41" y="47"/>
                  </a:lnTo>
                  <a:lnTo>
                    <a:pt x="45" y="55"/>
                  </a:lnTo>
                  <a:lnTo>
                    <a:pt x="47" y="64"/>
                  </a:lnTo>
                  <a:lnTo>
                    <a:pt x="47" y="64"/>
                  </a:lnTo>
                  <a:lnTo>
                    <a:pt x="48" y="71"/>
                  </a:lnTo>
                  <a:lnTo>
                    <a:pt x="47" y="78"/>
                  </a:lnTo>
                  <a:lnTo>
                    <a:pt x="47" y="78"/>
                  </a:lnTo>
                  <a:lnTo>
                    <a:pt x="54" y="89"/>
                  </a:lnTo>
                  <a:lnTo>
                    <a:pt x="54" y="89"/>
                  </a:lnTo>
                  <a:lnTo>
                    <a:pt x="68" y="89"/>
                  </a:lnTo>
                  <a:lnTo>
                    <a:pt x="68" y="89"/>
                  </a:lnTo>
                  <a:lnTo>
                    <a:pt x="85" y="65"/>
                  </a:lnTo>
                  <a:lnTo>
                    <a:pt x="85" y="65"/>
                  </a:lnTo>
                  <a:lnTo>
                    <a:pt x="85" y="64"/>
                  </a:lnTo>
                  <a:lnTo>
                    <a:pt x="85" y="64"/>
                  </a:lnTo>
                  <a:lnTo>
                    <a:pt x="85" y="64"/>
                  </a:lnTo>
                  <a:lnTo>
                    <a:pt x="88" y="55"/>
                  </a:lnTo>
                  <a:lnTo>
                    <a:pt x="92" y="47"/>
                  </a:lnTo>
                  <a:lnTo>
                    <a:pt x="98" y="41"/>
                  </a:lnTo>
                  <a:lnTo>
                    <a:pt x="106" y="37"/>
                  </a:lnTo>
                  <a:lnTo>
                    <a:pt x="106" y="37"/>
                  </a:lnTo>
                  <a:lnTo>
                    <a:pt x="116" y="31"/>
                  </a:lnTo>
                  <a:lnTo>
                    <a:pt x="123" y="24"/>
                  </a:lnTo>
                  <a:lnTo>
                    <a:pt x="129" y="16"/>
                  </a:lnTo>
                  <a:lnTo>
                    <a:pt x="133" y="3"/>
                  </a:lnTo>
                  <a:lnTo>
                    <a:pt x="133" y="3"/>
                  </a:lnTo>
                  <a:lnTo>
                    <a:pt x="133" y="3"/>
                  </a:lnTo>
                  <a:lnTo>
                    <a:pt x="133" y="1"/>
                  </a:lnTo>
                  <a:lnTo>
                    <a:pt x="133" y="0"/>
                  </a:lnTo>
                  <a:lnTo>
                    <a:pt x="133" y="0"/>
                  </a:lnTo>
                  <a:lnTo>
                    <a:pt x="130" y="0"/>
                  </a:lnTo>
                  <a:lnTo>
                    <a:pt x="130" y="0"/>
                  </a:lnTo>
                  <a:lnTo>
                    <a:pt x="3" y="0"/>
                  </a:lnTo>
                  <a:lnTo>
                    <a:pt x="3" y="0"/>
                  </a:lnTo>
                  <a:lnTo>
                    <a:pt x="0" y="0"/>
                  </a:lnTo>
                  <a:lnTo>
                    <a:pt x="0" y="0"/>
                  </a:lnTo>
                  <a:lnTo>
                    <a:pt x="0" y="1"/>
                  </a:lnTo>
                  <a:lnTo>
                    <a:pt x="0" y="3"/>
                  </a:lnTo>
                  <a:lnTo>
                    <a:pt x="0" y="3"/>
                  </a:lnTo>
                  <a:lnTo>
                    <a:pt x="0" y="3"/>
                  </a:lnTo>
                  <a:lnTo>
                    <a:pt x="4" y="16"/>
                  </a:lnTo>
                  <a:lnTo>
                    <a:pt x="10" y="24"/>
                  </a:lnTo>
                  <a:lnTo>
                    <a:pt x="17" y="31"/>
                  </a:lnTo>
                  <a:lnTo>
                    <a:pt x="27" y="37"/>
                  </a:lnTo>
                  <a:lnTo>
                    <a:pt x="27" y="3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5" name="Freeform 10">
              <a:extLst>
                <a:ext uri="{FF2B5EF4-FFF2-40B4-BE49-F238E27FC236}">
                  <a16:creationId xmlns:a16="http://schemas.microsoft.com/office/drawing/2014/main" id="{ED42D3BB-8670-4D95-A0C4-FFC530CDC2AD}"/>
                </a:ext>
              </a:extLst>
            </p:cNvPr>
            <p:cNvSpPr>
              <a:spLocks/>
            </p:cNvSpPr>
            <p:nvPr/>
          </p:nvSpPr>
          <p:spPr bwMode="auto">
            <a:xfrm>
              <a:off x="7664450" y="935038"/>
              <a:ext cx="1150938" cy="1130300"/>
            </a:xfrm>
            <a:custGeom>
              <a:avLst/>
              <a:gdLst/>
              <a:ahLst/>
              <a:cxnLst>
                <a:cxn ang="0">
                  <a:pos x="712" y="174"/>
                </a:cxn>
                <a:cxn ang="0">
                  <a:pos x="707" y="146"/>
                </a:cxn>
                <a:cxn ang="0">
                  <a:pos x="684" y="108"/>
                </a:cxn>
                <a:cxn ang="0">
                  <a:pos x="647" y="81"/>
                </a:cxn>
                <a:cxn ang="0">
                  <a:pos x="484" y="0"/>
                </a:cxn>
                <a:cxn ang="0">
                  <a:pos x="483" y="12"/>
                </a:cxn>
                <a:cxn ang="0">
                  <a:pos x="479" y="72"/>
                </a:cxn>
                <a:cxn ang="0">
                  <a:pos x="472" y="99"/>
                </a:cxn>
                <a:cxn ang="0">
                  <a:pos x="467" y="99"/>
                </a:cxn>
                <a:cxn ang="0">
                  <a:pos x="450" y="67"/>
                </a:cxn>
                <a:cxn ang="0">
                  <a:pos x="435" y="43"/>
                </a:cxn>
                <a:cxn ang="0">
                  <a:pos x="395" y="191"/>
                </a:cxn>
                <a:cxn ang="0">
                  <a:pos x="392" y="198"/>
                </a:cxn>
                <a:cxn ang="0">
                  <a:pos x="385" y="201"/>
                </a:cxn>
                <a:cxn ang="0">
                  <a:pos x="337" y="201"/>
                </a:cxn>
                <a:cxn ang="0">
                  <a:pos x="330" y="191"/>
                </a:cxn>
                <a:cxn ang="0">
                  <a:pos x="330" y="71"/>
                </a:cxn>
                <a:cxn ang="0">
                  <a:pos x="337" y="63"/>
                </a:cxn>
                <a:cxn ang="0">
                  <a:pos x="347" y="61"/>
                </a:cxn>
                <a:cxn ang="0">
                  <a:pos x="314" y="17"/>
                </a:cxn>
                <a:cxn ang="0">
                  <a:pos x="306" y="24"/>
                </a:cxn>
                <a:cxn ang="0">
                  <a:pos x="285" y="51"/>
                </a:cxn>
                <a:cxn ang="0">
                  <a:pos x="261" y="98"/>
                </a:cxn>
                <a:cxn ang="0">
                  <a:pos x="255" y="99"/>
                </a:cxn>
                <a:cxn ang="0">
                  <a:pos x="252" y="96"/>
                </a:cxn>
                <a:cxn ang="0">
                  <a:pos x="242" y="23"/>
                </a:cxn>
                <a:cxn ang="0">
                  <a:pos x="244" y="0"/>
                </a:cxn>
                <a:cxn ang="0">
                  <a:pos x="78" y="81"/>
                </a:cxn>
                <a:cxn ang="0">
                  <a:pos x="52" y="96"/>
                </a:cxn>
                <a:cxn ang="0">
                  <a:pos x="24" y="132"/>
                </a:cxn>
                <a:cxn ang="0">
                  <a:pos x="13" y="174"/>
                </a:cxn>
                <a:cxn ang="0">
                  <a:pos x="0" y="327"/>
                </a:cxn>
                <a:cxn ang="0">
                  <a:pos x="4" y="340"/>
                </a:cxn>
                <a:cxn ang="0">
                  <a:pos x="16" y="344"/>
                </a:cxn>
                <a:cxn ang="0">
                  <a:pos x="81" y="221"/>
                </a:cxn>
                <a:cxn ang="0">
                  <a:pos x="82" y="215"/>
                </a:cxn>
                <a:cxn ang="0">
                  <a:pos x="88" y="211"/>
                </a:cxn>
                <a:cxn ang="0">
                  <a:pos x="98" y="214"/>
                </a:cxn>
                <a:cxn ang="0">
                  <a:pos x="119" y="344"/>
                </a:cxn>
                <a:cxn ang="0">
                  <a:pos x="120" y="344"/>
                </a:cxn>
                <a:cxn ang="0">
                  <a:pos x="119" y="351"/>
                </a:cxn>
                <a:cxn ang="0">
                  <a:pos x="101" y="695"/>
                </a:cxn>
                <a:cxn ang="0">
                  <a:pos x="105" y="707"/>
                </a:cxn>
                <a:cxn ang="0">
                  <a:pos x="116" y="712"/>
                </a:cxn>
                <a:cxn ang="0">
                  <a:pos x="609" y="712"/>
                </a:cxn>
                <a:cxn ang="0">
                  <a:pos x="620" y="707"/>
                </a:cxn>
                <a:cxn ang="0">
                  <a:pos x="624" y="695"/>
                </a:cxn>
                <a:cxn ang="0">
                  <a:pos x="606" y="351"/>
                </a:cxn>
                <a:cxn ang="0">
                  <a:pos x="606" y="348"/>
                </a:cxn>
                <a:cxn ang="0">
                  <a:pos x="606" y="344"/>
                </a:cxn>
                <a:cxn ang="0">
                  <a:pos x="626" y="215"/>
                </a:cxn>
                <a:cxn ang="0">
                  <a:pos x="633" y="208"/>
                </a:cxn>
                <a:cxn ang="0">
                  <a:pos x="640" y="210"/>
                </a:cxn>
                <a:cxn ang="0">
                  <a:pos x="644" y="218"/>
                </a:cxn>
                <a:cxn ang="0">
                  <a:pos x="624" y="344"/>
                </a:cxn>
                <a:cxn ang="0">
                  <a:pos x="717" y="343"/>
                </a:cxn>
                <a:cxn ang="0">
                  <a:pos x="724" y="334"/>
                </a:cxn>
              </a:cxnLst>
              <a:rect l="0" t="0" r="r" b="b"/>
              <a:pathLst>
                <a:path w="725" h="712">
                  <a:moveTo>
                    <a:pt x="725" y="327"/>
                  </a:moveTo>
                  <a:lnTo>
                    <a:pt x="725" y="327"/>
                  </a:lnTo>
                  <a:lnTo>
                    <a:pt x="712" y="174"/>
                  </a:lnTo>
                  <a:lnTo>
                    <a:pt x="712" y="174"/>
                  </a:lnTo>
                  <a:lnTo>
                    <a:pt x="711" y="160"/>
                  </a:lnTo>
                  <a:lnTo>
                    <a:pt x="707" y="146"/>
                  </a:lnTo>
                  <a:lnTo>
                    <a:pt x="700" y="132"/>
                  </a:lnTo>
                  <a:lnTo>
                    <a:pt x="692" y="119"/>
                  </a:lnTo>
                  <a:lnTo>
                    <a:pt x="684" y="108"/>
                  </a:lnTo>
                  <a:lnTo>
                    <a:pt x="673" y="96"/>
                  </a:lnTo>
                  <a:lnTo>
                    <a:pt x="661" y="88"/>
                  </a:lnTo>
                  <a:lnTo>
                    <a:pt x="647" y="81"/>
                  </a:lnTo>
                  <a:lnTo>
                    <a:pt x="647" y="81"/>
                  </a:lnTo>
                  <a:lnTo>
                    <a:pt x="484" y="0"/>
                  </a:lnTo>
                  <a:lnTo>
                    <a:pt x="484" y="0"/>
                  </a:lnTo>
                  <a:lnTo>
                    <a:pt x="481" y="0"/>
                  </a:lnTo>
                  <a:lnTo>
                    <a:pt x="481" y="0"/>
                  </a:lnTo>
                  <a:lnTo>
                    <a:pt x="483" y="12"/>
                  </a:lnTo>
                  <a:lnTo>
                    <a:pt x="483" y="23"/>
                  </a:lnTo>
                  <a:lnTo>
                    <a:pt x="483" y="48"/>
                  </a:lnTo>
                  <a:lnTo>
                    <a:pt x="479" y="72"/>
                  </a:lnTo>
                  <a:lnTo>
                    <a:pt x="473" y="96"/>
                  </a:lnTo>
                  <a:lnTo>
                    <a:pt x="473" y="96"/>
                  </a:lnTo>
                  <a:lnTo>
                    <a:pt x="472" y="99"/>
                  </a:lnTo>
                  <a:lnTo>
                    <a:pt x="470" y="99"/>
                  </a:lnTo>
                  <a:lnTo>
                    <a:pt x="470" y="99"/>
                  </a:lnTo>
                  <a:lnTo>
                    <a:pt x="467" y="99"/>
                  </a:lnTo>
                  <a:lnTo>
                    <a:pt x="464" y="98"/>
                  </a:lnTo>
                  <a:lnTo>
                    <a:pt x="464" y="98"/>
                  </a:lnTo>
                  <a:lnTo>
                    <a:pt x="450" y="67"/>
                  </a:lnTo>
                  <a:lnTo>
                    <a:pt x="443" y="54"/>
                  </a:lnTo>
                  <a:lnTo>
                    <a:pt x="435" y="43"/>
                  </a:lnTo>
                  <a:lnTo>
                    <a:pt x="435" y="43"/>
                  </a:lnTo>
                  <a:lnTo>
                    <a:pt x="395" y="99"/>
                  </a:lnTo>
                  <a:lnTo>
                    <a:pt x="395" y="99"/>
                  </a:lnTo>
                  <a:lnTo>
                    <a:pt x="395" y="191"/>
                  </a:lnTo>
                  <a:lnTo>
                    <a:pt x="395" y="191"/>
                  </a:lnTo>
                  <a:lnTo>
                    <a:pt x="394" y="196"/>
                  </a:lnTo>
                  <a:lnTo>
                    <a:pt x="392" y="198"/>
                  </a:lnTo>
                  <a:lnTo>
                    <a:pt x="388" y="201"/>
                  </a:lnTo>
                  <a:lnTo>
                    <a:pt x="385" y="201"/>
                  </a:lnTo>
                  <a:lnTo>
                    <a:pt x="385" y="201"/>
                  </a:lnTo>
                  <a:lnTo>
                    <a:pt x="340" y="201"/>
                  </a:lnTo>
                  <a:lnTo>
                    <a:pt x="340" y="201"/>
                  </a:lnTo>
                  <a:lnTo>
                    <a:pt x="337" y="201"/>
                  </a:lnTo>
                  <a:lnTo>
                    <a:pt x="333" y="198"/>
                  </a:lnTo>
                  <a:lnTo>
                    <a:pt x="331" y="196"/>
                  </a:lnTo>
                  <a:lnTo>
                    <a:pt x="330" y="191"/>
                  </a:lnTo>
                  <a:lnTo>
                    <a:pt x="330" y="191"/>
                  </a:lnTo>
                  <a:lnTo>
                    <a:pt x="330" y="71"/>
                  </a:lnTo>
                  <a:lnTo>
                    <a:pt x="330" y="71"/>
                  </a:lnTo>
                  <a:lnTo>
                    <a:pt x="331" y="68"/>
                  </a:lnTo>
                  <a:lnTo>
                    <a:pt x="333" y="64"/>
                  </a:lnTo>
                  <a:lnTo>
                    <a:pt x="337" y="63"/>
                  </a:lnTo>
                  <a:lnTo>
                    <a:pt x="340" y="61"/>
                  </a:lnTo>
                  <a:lnTo>
                    <a:pt x="340" y="61"/>
                  </a:lnTo>
                  <a:lnTo>
                    <a:pt x="347" y="61"/>
                  </a:lnTo>
                  <a:lnTo>
                    <a:pt x="347" y="61"/>
                  </a:lnTo>
                  <a:lnTo>
                    <a:pt x="314" y="17"/>
                  </a:lnTo>
                  <a:lnTo>
                    <a:pt x="314" y="17"/>
                  </a:lnTo>
                  <a:lnTo>
                    <a:pt x="314" y="17"/>
                  </a:lnTo>
                  <a:lnTo>
                    <a:pt x="314" y="17"/>
                  </a:lnTo>
                  <a:lnTo>
                    <a:pt x="306" y="24"/>
                  </a:lnTo>
                  <a:lnTo>
                    <a:pt x="297" y="33"/>
                  </a:lnTo>
                  <a:lnTo>
                    <a:pt x="290" y="41"/>
                  </a:lnTo>
                  <a:lnTo>
                    <a:pt x="285" y="51"/>
                  </a:lnTo>
                  <a:lnTo>
                    <a:pt x="272" y="72"/>
                  </a:lnTo>
                  <a:lnTo>
                    <a:pt x="261" y="98"/>
                  </a:lnTo>
                  <a:lnTo>
                    <a:pt x="261" y="98"/>
                  </a:lnTo>
                  <a:lnTo>
                    <a:pt x="258" y="99"/>
                  </a:lnTo>
                  <a:lnTo>
                    <a:pt x="255" y="99"/>
                  </a:lnTo>
                  <a:lnTo>
                    <a:pt x="255" y="99"/>
                  </a:lnTo>
                  <a:lnTo>
                    <a:pt x="253" y="99"/>
                  </a:lnTo>
                  <a:lnTo>
                    <a:pt x="252" y="96"/>
                  </a:lnTo>
                  <a:lnTo>
                    <a:pt x="252" y="96"/>
                  </a:lnTo>
                  <a:lnTo>
                    <a:pt x="246" y="72"/>
                  </a:lnTo>
                  <a:lnTo>
                    <a:pt x="242" y="48"/>
                  </a:lnTo>
                  <a:lnTo>
                    <a:pt x="242" y="23"/>
                  </a:lnTo>
                  <a:lnTo>
                    <a:pt x="242" y="12"/>
                  </a:lnTo>
                  <a:lnTo>
                    <a:pt x="244" y="0"/>
                  </a:lnTo>
                  <a:lnTo>
                    <a:pt x="244" y="0"/>
                  </a:lnTo>
                  <a:lnTo>
                    <a:pt x="241" y="0"/>
                  </a:lnTo>
                  <a:lnTo>
                    <a:pt x="241" y="0"/>
                  </a:lnTo>
                  <a:lnTo>
                    <a:pt x="78" y="81"/>
                  </a:lnTo>
                  <a:lnTo>
                    <a:pt x="78" y="81"/>
                  </a:lnTo>
                  <a:lnTo>
                    <a:pt x="64" y="88"/>
                  </a:lnTo>
                  <a:lnTo>
                    <a:pt x="52" y="96"/>
                  </a:lnTo>
                  <a:lnTo>
                    <a:pt x="41" y="108"/>
                  </a:lnTo>
                  <a:lnTo>
                    <a:pt x="33" y="119"/>
                  </a:lnTo>
                  <a:lnTo>
                    <a:pt x="24" y="132"/>
                  </a:lnTo>
                  <a:lnTo>
                    <a:pt x="18" y="146"/>
                  </a:lnTo>
                  <a:lnTo>
                    <a:pt x="14" y="160"/>
                  </a:lnTo>
                  <a:lnTo>
                    <a:pt x="13" y="174"/>
                  </a:lnTo>
                  <a:lnTo>
                    <a:pt x="13" y="174"/>
                  </a:lnTo>
                  <a:lnTo>
                    <a:pt x="0" y="327"/>
                  </a:lnTo>
                  <a:lnTo>
                    <a:pt x="0" y="327"/>
                  </a:lnTo>
                  <a:lnTo>
                    <a:pt x="0" y="334"/>
                  </a:lnTo>
                  <a:lnTo>
                    <a:pt x="4" y="340"/>
                  </a:lnTo>
                  <a:lnTo>
                    <a:pt x="4" y="340"/>
                  </a:lnTo>
                  <a:lnTo>
                    <a:pt x="8" y="343"/>
                  </a:lnTo>
                  <a:lnTo>
                    <a:pt x="16" y="344"/>
                  </a:lnTo>
                  <a:lnTo>
                    <a:pt x="16" y="344"/>
                  </a:lnTo>
                  <a:lnTo>
                    <a:pt x="101" y="344"/>
                  </a:lnTo>
                  <a:lnTo>
                    <a:pt x="101" y="344"/>
                  </a:lnTo>
                  <a:lnTo>
                    <a:pt x="81" y="221"/>
                  </a:lnTo>
                  <a:lnTo>
                    <a:pt x="81" y="221"/>
                  </a:lnTo>
                  <a:lnTo>
                    <a:pt x="81" y="218"/>
                  </a:lnTo>
                  <a:lnTo>
                    <a:pt x="82" y="215"/>
                  </a:lnTo>
                  <a:lnTo>
                    <a:pt x="85" y="213"/>
                  </a:lnTo>
                  <a:lnTo>
                    <a:pt x="88" y="211"/>
                  </a:lnTo>
                  <a:lnTo>
                    <a:pt x="88" y="211"/>
                  </a:lnTo>
                  <a:lnTo>
                    <a:pt x="92" y="211"/>
                  </a:lnTo>
                  <a:lnTo>
                    <a:pt x="95" y="213"/>
                  </a:lnTo>
                  <a:lnTo>
                    <a:pt x="98" y="214"/>
                  </a:lnTo>
                  <a:lnTo>
                    <a:pt x="98" y="218"/>
                  </a:lnTo>
                  <a:lnTo>
                    <a:pt x="98" y="218"/>
                  </a:lnTo>
                  <a:lnTo>
                    <a:pt x="119" y="344"/>
                  </a:lnTo>
                  <a:lnTo>
                    <a:pt x="119" y="344"/>
                  </a:lnTo>
                  <a:lnTo>
                    <a:pt x="120" y="344"/>
                  </a:lnTo>
                  <a:lnTo>
                    <a:pt x="120" y="344"/>
                  </a:lnTo>
                  <a:lnTo>
                    <a:pt x="119" y="348"/>
                  </a:lnTo>
                  <a:lnTo>
                    <a:pt x="119" y="348"/>
                  </a:lnTo>
                  <a:lnTo>
                    <a:pt x="119" y="351"/>
                  </a:lnTo>
                  <a:lnTo>
                    <a:pt x="119" y="351"/>
                  </a:lnTo>
                  <a:lnTo>
                    <a:pt x="101" y="695"/>
                  </a:lnTo>
                  <a:lnTo>
                    <a:pt x="101" y="695"/>
                  </a:lnTo>
                  <a:lnTo>
                    <a:pt x="101" y="698"/>
                  </a:lnTo>
                  <a:lnTo>
                    <a:pt x="101" y="701"/>
                  </a:lnTo>
                  <a:lnTo>
                    <a:pt x="105" y="707"/>
                  </a:lnTo>
                  <a:lnTo>
                    <a:pt x="105" y="707"/>
                  </a:lnTo>
                  <a:lnTo>
                    <a:pt x="109" y="711"/>
                  </a:lnTo>
                  <a:lnTo>
                    <a:pt x="116" y="712"/>
                  </a:lnTo>
                  <a:lnTo>
                    <a:pt x="116" y="712"/>
                  </a:lnTo>
                  <a:lnTo>
                    <a:pt x="609" y="712"/>
                  </a:lnTo>
                  <a:lnTo>
                    <a:pt x="609" y="712"/>
                  </a:lnTo>
                  <a:lnTo>
                    <a:pt x="616" y="711"/>
                  </a:lnTo>
                  <a:lnTo>
                    <a:pt x="620" y="707"/>
                  </a:lnTo>
                  <a:lnTo>
                    <a:pt x="620" y="707"/>
                  </a:lnTo>
                  <a:lnTo>
                    <a:pt x="624" y="701"/>
                  </a:lnTo>
                  <a:lnTo>
                    <a:pt x="624" y="698"/>
                  </a:lnTo>
                  <a:lnTo>
                    <a:pt x="624" y="695"/>
                  </a:lnTo>
                  <a:lnTo>
                    <a:pt x="624" y="695"/>
                  </a:lnTo>
                  <a:lnTo>
                    <a:pt x="606" y="351"/>
                  </a:lnTo>
                  <a:lnTo>
                    <a:pt x="606" y="351"/>
                  </a:lnTo>
                  <a:lnTo>
                    <a:pt x="605" y="350"/>
                  </a:lnTo>
                  <a:lnTo>
                    <a:pt x="606" y="348"/>
                  </a:lnTo>
                  <a:lnTo>
                    <a:pt x="606" y="348"/>
                  </a:lnTo>
                  <a:lnTo>
                    <a:pt x="605" y="344"/>
                  </a:lnTo>
                  <a:lnTo>
                    <a:pt x="605" y="344"/>
                  </a:lnTo>
                  <a:lnTo>
                    <a:pt x="606" y="344"/>
                  </a:lnTo>
                  <a:lnTo>
                    <a:pt x="606" y="344"/>
                  </a:lnTo>
                  <a:lnTo>
                    <a:pt x="626" y="215"/>
                  </a:lnTo>
                  <a:lnTo>
                    <a:pt x="626" y="215"/>
                  </a:lnTo>
                  <a:lnTo>
                    <a:pt x="627" y="211"/>
                  </a:lnTo>
                  <a:lnTo>
                    <a:pt x="630" y="210"/>
                  </a:lnTo>
                  <a:lnTo>
                    <a:pt x="633" y="208"/>
                  </a:lnTo>
                  <a:lnTo>
                    <a:pt x="637" y="208"/>
                  </a:lnTo>
                  <a:lnTo>
                    <a:pt x="637" y="208"/>
                  </a:lnTo>
                  <a:lnTo>
                    <a:pt x="640" y="210"/>
                  </a:lnTo>
                  <a:lnTo>
                    <a:pt x="643" y="213"/>
                  </a:lnTo>
                  <a:lnTo>
                    <a:pt x="644" y="215"/>
                  </a:lnTo>
                  <a:lnTo>
                    <a:pt x="644" y="218"/>
                  </a:lnTo>
                  <a:lnTo>
                    <a:pt x="644" y="218"/>
                  </a:lnTo>
                  <a:lnTo>
                    <a:pt x="624" y="344"/>
                  </a:lnTo>
                  <a:lnTo>
                    <a:pt x="624" y="344"/>
                  </a:lnTo>
                  <a:lnTo>
                    <a:pt x="709" y="344"/>
                  </a:lnTo>
                  <a:lnTo>
                    <a:pt x="709" y="344"/>
                  </a:lnTo>
                  <a:lnTo>
                    <a:pt x="717" y="343"/>
                  </a:lnTo>
                  <a:lnTo>
                    <a:pt x="721" y="340"/>
                  </a:lnTo>
                  <a:lnTo>
                    <a:pt x="721" y="340"/>
                  </a:lnTo>
                  <a:lnTo>
                    <a:pt x="724" y="334"/>
                  </a:lnTo>
                  <a:lnTo>
                    <a:pt x="725" y="327"/>
                  </a:lnTo>
                  <a:lnTo>
                    <a:pt x="725" y="32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grpSp>
      <p:sp>
        <p:nvSpPr>
          <p:cNvPr id="16" name="Freeform 11">
            <a:extLst>
              <a:ext uri="{FF2B5EF4-FFF2-40B4-BE49-F238E27FC236}">
                <a16:creationId xmlns:a16="http://schemas.microsoft.com/office/drawing/2014/main" id="{8BF2CB10-7FF5-4DF1-92C3-975E10DEDD41}"/>
              </a:ext>
            </a:extLst>
          </p:cNvPr>
          <p:cNvSpPr>
            <a:spLocks noEditPoints="1"/>
          </p:cNvSpPr>
          <p:nvPr/>
        </p:nvSpPr>
        <p:spPr bwMode="auto">
          <a:xfrm>
            <a:off x="9224434" y="4301068"/>
            <a:ext cx="808644" cy="944033"/>
          </a:xfrm>
          <a:custGeom>
            <a:avLst/>
            <a:gdLst/>
            <a:ahLst/>
            <a:cxnLst>
              <a:cxn ang="0">
                <a:pos x="564" y="69"/>
              </a:cxn>
              <a:cxn ang="0">
                <a:pos x="494" y="1"/>
              </a:cxn>
              <a:cxn ang="0">
                <a:pos x="493" y="1"/>
              </a:cxn>
              <a:cxn ang="0">
                <a:pos x="491" y="0"/>
              </a:cxn>
              <a:cxn ang="0">
                <a:pos x="489" y="0"/>
              </a:cxn>
              <a:cxn ang="0">
                <a:pos x="167" y="0"/>
              </a:cxn>
              <a:cxn ang="0">
                <a:pos x="166" y="1"/>
              </a:cxn>
              <a:cxn ang="0">
                <a:pos x="164" y="1"/>
              </a:cxn>
              <a:cxn ang="0">
                <a:pos x="163" y="3"/>
              </a:cxn>
              <a:cxn ang="0">
                <a:pos x="93" y="69"/>
              </a:cxn>
              <a:cxn ang="0">
                <a:pos x="38" y="75"/>
              </a:cxn>
              <a:cxn ang="0">
                <a:pos x="6" y="107"/>
              </a:cxn>
              <a:cxn ang="0">
                <a:pos x="0" y="705"/>
              </a:cxn>
              <a:cxn ang="0">
                <a:pos x="11" y="740"/>
              </a:cxn>
              <a:cxn ang="0">
                <a:pos x="50" y="766"/>
              </a:cxn>
              <a:cxn ang="0">
                <a:pos x="595" y="767"/>
              </a:cxn>
              <a:cxn ang="0">
                <a:pos x="639" y="749"/>
              </a:cxn>
              <a:cxn ang="0">
                <a:pos x="657" y="705"/>
              </a:cxn>
              <a:cxn ang="0">
                <a:pos x="656" y="119"/>
              </a:cxn>
              <a:cxn ang="0">
                <a:pos x="630" y="80"/>
              </a:cxn>
              <a:cxn ang="0">
                <a:pos x="595" y="69"/>
              </a:cxn>
              <a:cxn ang="0">
                <a:pos x="327" y="546"/>
              </a:cxn>
              <a:cxn ang="0">
                <a:pos x="313" y="526"/>
              </a:cxn>
              <a:cxn ang="0">
                <a:pos x="320" y="511"/>
              </a:cxn>
              <a:cxn ang="0">
                <a:pos x="336" y="504"/>
              </a:cxn>
              <a:cxn ang="0">
                <a:pos x="355" y="518"/>
              </a:cxn>
              <a:cxn ang="0">
                <a:pos x="357" y="531"/>
              </a:cxn>
              <a:cxn ang="0">
                <a:pos x="340" y="548"/>
              </a:cxn>
              <a:cxn ang="0">
                <a:pos x="357" y="642"/>
              </a:cxn>
              <a:cxn ang="0">
                <a:pos x="344" y="662"/>
              </a:cxn>
              <a:cxn ang="0">
                <a:pos x="331" y="664"/>
              </a:cxn>
              <a:cxn ang="0">
                <a:pos x="313" y="647"/>
              </a:cxn>
              <a:cxn ang="0">
                <a:pos x="314" y="634"/>
              </a:cxn>
              <a:cxn ang="0">
                <a:pos x="336" y="620"/>
              </a:cxn>
              <a:cxn ang="0">
                <a:pos x="351" y="627"/>
              </a:cxn>
              <a:cxn ang="0">
                <a:pos x="357" y="642"/>
              </a:cxn>
              <a:cxn ang="0">
                <a:pos x="327" y="430"/>
              </a:cxn>
              <a:cxn ang="0">
                <a:pos x="313" y="410"/>
              </a:cxn>
              <a:cxn ang="0">
                <a:pos x="320" y="395"/>
              </a:cxn>
              <a:cxn ang="0">
                <a:pos x="336" y="388"/>
              </a:cxn>
              <a:cxn ang="0">
                <a:pos x="355" y="402"/>
              </a:cxn>
              <a:cxn ang="0">
                <a:pos x="357" y="414"/>
              </a:cxn>
              <a:cxn ang="0">
                <a:pos x="340" y="431"/>
              </a:cxn>
              <a:cxn ang="0">
                <a:pos x="336" y="317"/>
              </a:cxn>
              <a:cxn ang="0">
                <a:pos x="314" y="303"/>
              </a:cxn>
              <a:cxn ang="0">
                <a:pos x="313" y="290"/>
              </a:cxn>
              <a:cxn ang="0">
                <a:pos x="331" y="273"/>
              </a:cxn>
              <a:cxn ang="0">
                <a:pos x="344" y="274"/>
              </a:cxn>
              <a:cxn ang="0">
                <a:pos x="357" y="296"/>
              </a:cxn>
              <a:cxn ang="0">
                <a:pos x="351" y="310"/>
              </a:cxn>
              <a:cxn ang="0">
                <a:pos x="336" y="317"/>
              </a:cxn>
              <a:cxn ang="0">
                <a:pos x="602" y="341"/>
              </a:cxn>
              <a:cxn ang="0">
                <a:pos x="599" y="457"/>
              </a:cxn>
              <a:cxn ang="0">
                <a:pos x="565" y="509"/>
              </a:cxn>
              <a:cxn ang="0">
                <a:pos x="518" y="523"/>
              </a:cxn>
              <a:cxn ang="0">
                <a:pos x="486" y="518"/>
              </a:cxn>
              <a:cxn ang="0">
                <a:pos x="440" y="473"/>
              </a:cxn>
              <a:cxn ang="0">
                <a:pos x="433" y="341"/>
              </a:cxn>
              <a:cxn ang="0">
                <a:pos x="341" y="171"/>
              </a:cxn>
              <a:cxn ang="0">
                <a:pos x="399" y="229"/>
              </a:cxn>
              <a:cxn ang="0">
                <a:pos x="316" y="171"/>
              </a:cxn>
              <a:cxn ang="0">
                <a:pos x="168" y="21"/>
              </a:cxn>
            </a:cxnLst>
            <a:rect l="0" t="0" r="r" b="b"/>
            <a:pathLst>
              <a:path w="657" h="767">
                <a:moveTo>
                  <a:pt x="595" y="69"/>
                </a:moveTo>
                <a:lnTo>
                  <a:pt x="595" y="69"/>
                </a:lnTo>
                <a:lnTo>
                  <a:pt x="564" y="69"/>
                </a:lnTo>
                <a:lnTo>
                  <a:pt x="564" y="69"/>
                </a:lnTo>
                <a:lnTo>
                  <a:pt x="494" y="3"/>
                </a:lnTo>
                <a:lnTo>
                  <a:pt x="494" y="3"/>
                </a:lnTo>
                <a:lnTo>
                  <a:pt x="494" y="3"/>
                </a:lnTo>
                <a:lnTo>
                  <a:pt x="494" y="1"/>
                </a:lnTo>
                <a:lnTo>
                  <a:pt x="493" y="1"/>
                </a:lnTo>
                <a:lnTo>
                  <a:pt x="493" y="1"/>
                </a:lnTo>
                <a:lnTo>
                  <a:pt x="493" y="1"/>
                </a:lnTo>
                <a:lnTo>
                  <a:pt x="493" y="1"/>
                </a:lnTo>
                <a:lnTo>
                  <a:pt x="491" y="1"/>
                </a:lnTo>
                <a:lnTo>
                  <a:pt x="491" y="1"/>
                </a:lnTo>
                <a:lnTo>
                  <a:pt x="491" y="1"/>
                </a:lnTo>
                <a:lnTo>
                  <a:pt x="491" y="0"/>
                </a:lnTo>
                <a:lnTo>
                  <a:pt x="490" y="0"/>
                </a:lnTo>
                <a:lnTo>
                  <a:pt x="490" y="0"/>
                </a:lnTo>
                <a:lnTo>
                  <a:pt x="489" y="0"/>
                </a:lnTo>
                <a:lnTo>
                  <a:pt x="489" y="0"/>
                </a:lnTo>
                <a:lnTo>
                  <a:pt x="489" y="0"/>
                </a:lnTo>
                <a:lnTo>
                  <a:pt x="168" y="0"/>
                </a:lnTo>
                <a:lnTo>
                  <a:pt x="167" y="0"/>
                </a:lnTo>
                <a:lnTo>
                  <a:pt x="167" y="0"/>
                </a:lnTo>
                <a:lnTo>
                  <a:pt x="167" y="0"/>
                </a:lnTo>
                <a:lnTo>
                  <a:pt x="167" y="0"/>
                </a:lnTo>
                <a:lnTo>
                  <a:pt x="166" y="0"/>
                </a:lnTo>
                <a:lnTo>
                  <a:pt x="166" y="1"/>
                </a:lnTo>
                <a:lnTo>
                  <a:pt x="166" y="1"/>
                </a:lnTo>
                <a:lnTo>
                  <a:pt x="166" y="1"/>
                </a:lnTo>
                <a:lnTo>
                  <a:pt x="164" y="1"/>
                </a:lnTo>
                <a:lnTo>
                  <a:pt x="164" y="1"/>
                </a:lnTo>
                <a:lnTo>
                  <a:pt x="164" y="1"/>
                </a:lnTo>
                <a:lnTo>
                  <a:pt x="164" y="1"/>
                </a:lnTo>
                <a:lnTo>
                  <a:pt x="163" y="1"/>
                </a:lnTo>
                <a:lnTo>
                  <a:pt x="163" y="3"/>
                </a:lnTo>
                <a:lnTo>
                  <a:pt x="163" y="3"/>
                </a:lnTo>
                <a:lnTo>
                  <a:pt x="163" y="3"/>
                </a:lnTo>
                <a:lnTo>
                  <a:pt x="93" y="69"/>
                </a:lnTo>
                <a:lnTo>
                  <a:pt x="93" y="69"/>
                </a:lnTo>
                <a:lnTo>
                  <a:pt x="61" y="69"/>
                </a:lnTo>
                <a:lnTo>
                  <a:pt x="61" y="69"/>
                </a:lnTo>
                <a:lnTo>
                  <a:pt x="50" y="70"/>
                </a:lnTo>
                <a:lnTo>
                  <a:pt x="38" y="75"/>
                </a:lnTo>
                <a:lnTo>
                  <a:pt x="27" y="80"/>
                </a:lnTo>
                <a:lnTo>
                  <a:pt x="18" y="87"/>
                </a:lnTo>
                <a:lnTo>
                  <a:pt x="11" y="97"/>
                </a:lnTo>
                <a:lnTo>
                  <a:pt x="6" y="107"/>
                </a:lnTo>
                <a:lnTo>
                  <a:pt x="1" y="119"/>
                </a:lnTo>
                <a:lnTo>
                  <a:pt x="0" y="131"/>
                </a:lnTo>
                <a:lnTo>
                  <a:pt x="0" y="131"/>
                </a:lnTo>
                <a:lnTo>
                  <a:pt x="0" y="705"/>
                </a:lnTo>
                <a:lnTo>
                  <a:pt x="0" y="705"/>
                </a:lnTo>
                <a:lnTo>
                  <a:pt x="1" y="717"/>
                </a:lnTo>
                <a:lnTo>
                  <a:pt x="6" y="729"/>
                </a:lnTo>
                <a:lnTo>
                  <a:pt x="11" y="740"/>
                </a:lnTo>
                <a:lnTo>
                  <a:pt x="18" y="749"/>
                </a:lnTo>
                <a:lnTo>
                  <a:pt x="27" y="756"/>
                </a:lnTo>
                <a:lnTo>
                  <a:pt x="38" y="761"/>
                </a:lnTo>
                <a:lnTo>
                  <a:pt x="50" y="766"/>
                </a:lnTo>
                <a:lnTo>
                  <a:pt x="61" y="767"/>
                </a:lnTo>
                <a:lnTo>
                  <a:pt x="61" y="767"/>
                </a:lnTo>
                <a:lnTo>
                  <a:pt x="595" y="767"/>
                </a:lnTo>
                <a:lnTo>
                  <a:pt x="595" y="767"/>
                </a:lnTo>
                <a:lnTo>
                  <a:pt x="607" y="766"/>
                </a:lnTo>
                <a:lnTo>
                  <a:pt x="619" y="761"/>
                </a:lnTo>
                <a:lnTo>
                  <a:pt x="630" y="756"/>
                </a:lnTo>
                <a:lnTo>
                  <a:pt x="639" y="749"/>
                </a:lnTo>
                <a:lnTo>
                  <a:pt x="646" y="740"/>
                </a:lnTo>
                <a:lnTo>
                  <a:pt x="651" y="729"/>
                </a:lnTo>
                <a:lnTo>
                  <a:pt x="656" y="717"/>
                </a:lnTo>
                <a:lnTo>
                  <a:pt x="657" y="705"/>
                </a:lnTo>
                <a:lnTo>
                  <a:pt x="657" y="705"/>
                </a:lnTo>
                <a:lnTo>
                  <a:pt x="657" y="131"/>
                </a:lnTo>
                <a:lnTo>
                  <a:pt x="657" y="131"/>
                </a:lnTo>
                <a:lnTo>
                  <a:pt x="656" y="119"/>
                </a:lnTo>
                <a:lnTo>
                  <a:pt x="651" y="107"/>
                </a:lnTo>
                <a:lnTo>
                  <a:pt x="646" y="97"/>
                </a:lnTo>
                <a:lnTo>
                  <a:pt x="639" y="87"/>
                </a:lnTo>
                <a:lnTo>
                  <a:pt x="630" y="80"/>
                </a:lnTo>
                <a:lnTo>
                  <a:pt x="619" y="75"/>
                </a:lnTo>
                <a:lnTo>
                  <a:pt x="607" y="70"/>
                </a:lnTo>
                <a:lnTo>
                  <a:pt x="595" y="69"/>
                </a:lnTo>
                <a:lnTo>
                  <a:pt x="595" y="69"/>
                </a:lnTo>
                <a:close/>
                <a:moveTo>
                  <a:pt x="336" y="548"/>
                </a:moveTo>
                <a:lnTo>
                  <a:pt x="336" y="548"/>
                </a:lnTo>
                <a:lnTo>
                  <a:pt x="331" y="548"/>
                </a:lnTo>
                <a:lnTo>
                  <a:pt x="327" y="546"/>
                </a:lnTo>
                <a:lnTo>
                  <a:pt x="320" y="542"/>
                </a:lnTo>
                <a:lnTo>
                  <a:pt x="314" y="535"/>
                </a:lnTo>
                <a:lnTo>
                  <a:pt x="313" y="531"/>
                </a:lnTo>
                <a:lnTo>
                  <a:pt x="313" y="526"/>
                </a:lnTo>
                <a:lnTo>
                  <a:pt x="313" y="526"/>
                </a:lnTo>
                <a:lnTo>
                  <a:pt x="313" y="522"/>
                </a:lnTo>
                <a:lnTo>
                  <a:pt x="314" y="518"/>
                </a:lnTo>
                <a:lnTo>
                  <a:pt x="320" y="511"/>
                </a:lnTo>
                <a:lnTo>
                  <a:pt x="327" y="505"/>
                </a:lnTo>
                <a:lnTo>
                  <a:pt x="331" y="504"/>
                </a:lnTo>
                <a:lnTo>
                  <a:pt x="336" y="504"/>
                </a:lnTo>
                <a:lnTo>
                  <a:pt x="336" y="504"/>
                </a:lnTo>
                <a:lnTo>
                  <a:pt x="340" y="504"/>
                </a:lnTo>
                <a:lnTo>
                  <a:pt x="344" y="505"/>
                </a:lnTo>
                <a:lnTo>
                  <a:pt x="351" y="511"/>
                </a:lnTo>
                <a:lnTo>
                  <a:pt x="355" y="518"/>
                </a:lnTo>
                <a:lnTo>
                  <a:pt x="357" y="522"/>
                </a:lnTo>
                <a:lnTo>
                  <a:pt x="357" y="526"/>
                </a:lnTo>
                <a:lnTo>
                  <a:pt x="357" y="526"/>
                </a:lnTo>
                <a:lnTo>
                  <a:pt x="357" y="531"/>
                </a:lnTo>
                <a:lnTo>
                  <a:pt x="355" y="535"/>
                </a:lnTo>
                <a:lnTo>
                  <a:pt x="351" y="542"/>
                </a:lnTo>
                <a:lnTo>
                  <a:pt x="344" y="546"/>
                </a:lnTo>
                <a:lnTo>
                  <a:pt x="340" y="548"/>
                </a:lnTo>
                <a:lnTo>
                  <a:pt x="336" y="548"/>
                </a:lnTo>
                <a:lnTo>
                  <a:pt x="336" y="548"/>
                </a:lnTo>
                <a:close/>
                <a:moveTo>
                  <a:pt x="357" y="642"/>
                </a:moveTo>
                <a:lnTo>
                  <a:pt x="357" y="642"/>
                </a:lnTo>
                <a:lnTo>
                  <a:pt x="357" y="647"/>
                </a:lnTo>
                <a:lnTo>
                  <a:pt x="355" y="651"/>
                </a:lnTo>
                <a:lnTo>
                  <a:pt x="351" y="658"/>
                </a:lnTo>
                <a:lnTo>
                  <a:pt x="344" y="662"/>
                </a:lnTo>
                <a:lnTo>
                  <a:pt x="340" y="664"/>
                </a:lnTo>
                <a:lnTo>
                  <a:pt x="336" y="664"/>
                </a:lnTo>
                <a:lnTo>
                  <a:pt x="336" y="664"/>
                </a:lnTo>
                <a:lnTo>
                  <a:pt x="331" y="664"/>
                </a:lnTo>
                <a:lnTo>
                  <a:pt x="327" y="662"/>
                </a:lnTo>
                <a:lnTo>
                  <a:pt x="320" y="658"/>
                </a:lnTo>
                <a:lnTo>
                  <a:pt x="314" y="651"/>
                </a:lnTo>
                <a:lnTo>
                  <a:pt x="313" y="647"/>
                </a:lnTo>
                <a:lnTo>
                  <a:pt x="313" y="642"/>
                </a:lnTo>
                <a:lnTo>
                  <a:pt x="313" y="642"/>
                </a:lnTo>
                <a:lnTo>
                  <a:pt x="313" y="638"/>
                </a:lnTo>
                <a:lnTo>
                  <a:pt x="314" y="634"/>
                </a:lnTo>
                <a:lnTo>
                  <a:pt x="320" y="627"/>
                </a:lnTo>
                <a:lnTo>
                  <a:pt x="327" y="621"/>
                </a:lnTo>
                <a:lnTo>
                  <a:pt x="331" y="620"/>
                </a:lnTo>
                <a:lnTo>
                  <a:pt x="336" y="620"/>
                </a:lnTo>
                <a:lnTo>
                  <a:pt x="336" y="620"/>
                </a:lnTo>
                <a:lnTo>
                  <a:pt x="340" y="620"/>
                </a:lnTo>
                <a:lnTo>
                  <a:pt x="344" y="621"/>
                </a:lnTo>
                <a:lnTo>
                  <a:pt x="351" y="627"/>
                </a:lnTo>
                <a:lnTo>
                  <a:pt x="355" y="634"/>
                </a:lnTo>
                <a:lnTo>
                  <a:pt x="357" y="638"/>
                </a:lnTo>
                <a:lnTo>
                  <a:pt x="357" y="642"/>
                </a:lnTo>
                <a:lnTo>
                  <a:pt x="357" y="642"/>
                </a:lnTo>
                <a:close/>
                <a:moveTo>
                  <a:pt x="336" y="431"/>
                </a:moveTo>
                <a:lnTo>
                  <a:pt x="336" y="431"/>
                </a:lnTo>
                <a:lnTo>
                  <a:pt x="331" y="431"/>
                </a:lnTo>
                <a:lnTo>
                  <a:pt x="327" y="430"/>
                </a:lnTo>
                <a:lnTo>
                  <a:pt x="320" y="426"/>
                </a:lnTo>
                <a:lnTo>
                  <a:pt x="314" y="419"/>
                </a:lnTo>
                <a:lnTo>
                  <a:pt x="313" y="414"/>
                </a:lnTo>
                <a:lnTo>
                  <a:pt x="313" y="410"/>
                </a:lnTo>
                <a:lnTo>
                  <a:pt x="313" y="410"/>
                </a:lnTo>
                <a:lnTo>
                  <a:pt x="313" y="406"/>
                </a:lnTo>
                <a:lnTo>
                  <a:pt x="314" y="402"/>
                </a:lnTo>
                <a:lnTo>
                  <a:pt x="320" y="395"/>
                </a:lnTo>
                <a:lnTo>
                  <a:pt x="327" y="390"/>
                </a:lnTo>
                <a:lnTo>
                  <a:pt x="331" y="389"/>
                </a:lnTo>
                <a:lnTo>
                  <a:pt x="336" y="388"/>
                </a:lnTo>
                <a:lnTo>
                  <a:pt x="336" y="388"/>
                </a:lnTo>
                <a:lnTo>
                  <a:pt x="340" y="389"/>
                </a:lnTo>
                <a:lnTo>
                  <a:pt x="344" y="390"/>
                </a:lnTo>
                <a:lnTo>
                  <a:pt x="351" y="395"/>
                </a:lnTo>
                <a:lnTo>
                  <a:pt x="355" y="402"/>
                </a:lnTo>
                <a:lnTo>
                  <a:pt x="357" y="406"/>
                </a:lnTo>
                <a:lnTo>
                  <a:pt x="357" y="410"/>
                </a:lnTo>
                <a:lnTo>
                  <a:pt x="357" y="410"/>
                </a:lnTo>
                <a:lnTo>
                  <a:pt x="357" y="414"/>
                </a:lnTo>
                <a:lnTo>
                  <a:pt x="355" y="419"/>
                </a:lnTo>
                <a:lnTo>
                  <a:pt x="351" y="426"/>
                </a:lnTo>
                <a:lnTo>
                  <a:pt x="344" y="430"/>
                </a:lnTo>
                <a:lnTo>
                  <a:pt x="340" y="431"/>
                </a:lnTo>
                <a:lnTo>
                  <a:pt x="336" y="431"/>
                </a:lnTo>
                <a:lnTo>
                  <a:pt x="336" y="431"/>
                </a:lnTo>
                <a:close/>
                <a:moveTo>
                  <a:pt x="336" y="317"/>
                </a:moveTo>
                <a:lnTo>
                  <a:pt x="336" y="317"/>
                </a:lnTo>
                <a:lnTo>
                  <a:pt x="331" y="317"/>
                </a:lnTo>
                <a:lnTo>
                  <a:pt x="327" y="315"/>
                </a:lnTo>
                <a:lnTo>
                  <a:pt x="320" y="310"/>
                </a:lnTo>
                <a:lnTo>
                  <a:pt x="314" y="303"/>
                </a:lnTo>
                <a:lnTo>
                  <a:pt x="313" y="300"/>
                </a:lnTo>
                <a:lnTo>
                  <a:pt x="313" y="296"/>
                </a:lnTo>
                <a:lnTo>
                  <a:pt x="313" y="296"/>
                </a:lnTo>
                <a:lnTo>
                  <a:pt x="313" y="290"/>
                </a:lnTo>
                <a:lnTo>
                  <a:pt x="314" y="286"/>
                </a:lnTo>
                <a:lnTo>
                  <a:pt x="320" y="279"/>
                </a:lnTo>
                <a:lnTo>
                  <a:pt x="327" y="274"/>
                </a:lnTo>
                <a:lnTo>
                  <a:pt x="331" y="273"/>
                </a:lnTo>
                <a:lnTo>
                  <a:pt x="336" y="273"/>
                </a:lnTo>
                <a:lnTo>
                  <a:pt x="336" y="273"/>
                </a:lnTo>
                <a:lnTo>
                  <a:pt x="340" y="273"/>
                </a:lnTo>
                <a:lnTo>
                  <a:pt x="344" y="274"/>
                </a:lnTo>
                <a:lnTo>
                  <a:pt x="351" y="279"/>
                </a:lnTo>
                <a:lnTo>
                  <a:pt x="355" y="286"/>
                </a:lnTo>
                <a:lnTo>
                  <a:pt x="357" y="290"/>
                </a:lnTo>
                <a:lnTo>
                  <a:pt x="357" y="296"/>
                </a:lnTo>
                <a:lnTo>
                  <a:pt x="357" y="296"/>
                </a:lnTo>
                <a:lnTo>
                  <a:pt x="357" y="300"/>
                </a:lnTo>
                <a:lnTo>
                  <a:pt x="355" y="303"/>
                </a:lnTo>
                <a:lnTo>
                  <a:pt x="351" y="310"/>
                </a:lnTo>
                <a:lnTo>
                  <a:pt x="344" y="315"/>
                </a:lnTo>
                <a:lnTo>
                  <a:pt x="340" y="317"/>
                </a:lnTo>
                <a:lnTo>
                  <a:pt x="336" y="317"/>
                </a:lnTo>
                <a:lnTo>
                  <a:pt x="336" y="317"/>
                </a:lnTo>
                <a:close/>
                <a:moveTo>
                  <a:pt x="433" y="341"/>
                </a:moveTo>
                <a:lnTo>
                  <a:pt x="433" y="341"/>
                </a:lnTo>
                <a:lnTo>
                  <a:pt x="602" y="341"/>
                </a:lnTo>
                <a:lnTo>
                  <a:pt x="602" y="341"/>
                </a:lnTo>
                <a:lnTo>
                  <a:pt x="602" y="440"/>
                </a:lnTo>
                <a:lnTo>
                  <a:pt x="602" y="440"/>
                </a:lnTo>
                <a:lnTo>
                  <a:pt x="600" y="448"/>
                </a:lnTo>
                <a:lnTo>
                  <a:pt x="599" y="457"/>
                </a:lnTo>
                <a:lnTo>
                  <a:pt x="595" y="473"/>
                </a:lnTo>
                <a:lnTo>
                  <a:pt x="588" y="487"/>
                </a:lnTo>
                <a:lnTo>
                  <a:pt x="576" y="499"/>
                </a:lnTo>
                <a:lnTo>
                  <a:pt x="565" y="509"/>
                </a:lnTo>
                <a:lnTo>
                  <a:pt x="551" y="518"/>
                </a:lnTo>
                <a:lnTo>
                  <a:pt x="535" y="522"/>
                </a:lnTo>
                <a:lnTo>
                  <a:pt x="527" y="523"/>
                </a:lnTo>
                <a:lnTo>
                  <a:pt x="518" y="523"/>
                </a:lnTo>
                <a:lnTo>
                  <a:pt x="518" y="523"/>
                </a:lnTo>
                <a:lnTo>
                  <a:pt x="510" y="523"/>
                </a:lnTo>
                <a:lnTo>
                  <a:pt x="501" y="522"/>
                </a:lnTo>
                <a:lnTo>
                  <a:pt x="486" y="518"/>
                </a:lnTo>
                <a:lnTo>
                  <a:pt x="470" y="509"/>
                </a:lnTo>
                <a:lnTo>
                  <a:pt x="459" y="499"/>
                </a:lnTo>
                <a:lnTo>
                  <a:pt x="447" y="487"/>
                </a:lnTo>
                <a:lnTo>
                  <a:pt x="440" y="473"/>
                </a:lnTo>
                <a:lnTo>
                  <a:pt x="436" y="457"/>
                </a:lnTo>
                <a:lnTo>
                  <a:pt x="435" y="448"/>
                </a:lnTo>
                <a:lnTo>
                  <a:pt x="433" y="440"/>
                </a:lnTo>
                <a:lnTo>
                  <a:pt x="433" y="341"/>
                </a:lnTo>
                <a:close/>
                <a:moveTo>
                  <a:pt x="399" y="229"/>
                </a:moveTo>
                <a:lnTo>
                  <a:pt x="399" y="229"/>
                </a:lnTo>
                <a:lnTo>
                  <a:pt x="341" y="171"/>
                </a:lnTo>
                <a:lnTo>
                  <a:pt x="341" y="171"/>
                </a:lnTo>
                <a:lnTo>
                  <a:pt x="489" y="21"/>
                </a:lnTo>
                <a:lnTo>
                  <a:pt x="489" y="21"/>
                </a:lnTo>
                <a:lnTo>
                  <a:pt x="547" y="78"/>
                </a:lnTo>
                <a:lnTo>
                  <a:pt x="399" y="229"/>
                </a:lnTo>
                <a:close/>
                <a:moveTo>
                  <a:pt x="168" y="21"/>
                </a:moveTo>
                <a:lnTo>
                  <a:pt x="168" y="21"/>
                </a:lnTo>
                <a:lnTo>
                  <a:pt x="316" y="171"/>
                </a:lnTo>
                <a:lnTo>
                  <a:pt x="316" y="171"/>
                </a:lnTo>
                <a:lnTo>
                  <a:pt x="258" y="229"/>
                </a:lnTo>
                <a:lnTo>
                  <a:pt x="258" y="229"/>
                </a:lnTo>
                <a:lnTo>
                  <a:pt x="110" y="78"/>
                </a:lnTo>
                <a:lnTo>
                  <a:pt x="168" y="21"/>
                </a:lnTo>
                <a:close/>
              </a:path>
            </a:pathLst>
          </a:custGeom>
          <a:solidFill>
            <a:srgbClr val="7E249F"/>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Tree>
    <p:extLst>
      <p:ext uri="{BB962C8B-B14F-4D97-AF65-F5344CB8AC3E}">
        <p14:creationId xmlns:p14="http://schemas.microsoft.com/office/powerpoint/2010/main" val="14030463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92AE584-6729-4140-933B-E69C7D99CE9C}"/>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POLICIES</a:t>
            </a:r>
          </a:p>
        </p:txBody>
      </p:sp>
      <p:sp>
        <p:nvSpPr>
          <p:cNvPr id="5" name="Shape 120">
            <a:extLst>
              <a:ext uri="{FF2B5EF4-FFF2-40B4-BE49-F238E27FC236}">
                <a16:creationId xmlns:a16="http://schemas.microsoft.com/office/drawing/2014/main" id="{CCC9C83B-0472-4C6D-8021-6045EE45ECDE}"/>
              </a:ext>
            </a:extLst>
          </p:cNvPr>
          <p:cNvSpPr/>
          <p:nvPr/>
        </p:nvSpPr>
        <p:spPr>
          <a:xfrm>
            <a:off x="3877699" y="0"/>
            <a:ext cx="2441507" cy="6375400"/>
          </a:xfrm>
          <a:custGeom>
            <a:avLst/>
            <a:gdLst/>
            <a:ahLst/>
            <a:cxnLst>
              <a:cxn ang="0">
                <a:pos x="wd2" y="hd2"/>
              </a:cxn>
              <a:cxn ang="5400000">
                <a:pos x="wd2" y="hd2"/>
              </a:cxn>
              <a:cxn ang="10800000">
                <a:pos x="wd2" y="hd2"/>
              </a:cxn>
              <a:cxn ang="16200000">
                <a:pos x="wd2" y="hd2"/>
              </a:cxn>
            </a:cxnLst>
            <a:rect l="0" t="0" r="r" b="b"/>
            <a:pathLst>
              <a:path w="16825" h="21600" extrusionOk="0">
                <a:moveTo>
                  <a:pt x="0" y="0"/>
                </a:moveTo>
                <a:cubicBezTo>
                  <a:pt x="15222" y="4403"/>
                  <a:pt x="19747" y="14394"/>
                  <a:pt x="9330" y="21600"/>
                </a:cubicBezTo>
                <a:lnTo>
                  <a:pt x="11184" y="21600"/>
                </a:lnTo>
                <a:cubicBezTo>
                  <a:pt x="21600" y="14394"/>
                  <a:pt x="17077" y="4403"/>
                  <a:pt x="1855" y="0"/>
                </a:cubicBezTo>
                <a:lnTo>
                  <a:pt x="0" y="0"/>
                </a:lnTo>
                <a:close/>
              </a:path>
            </a:pathLst>
          </a:custGeom>
          <a:solidFill>
            <a:srgbClr val="00B6AD"/>
          </a:solidFill>
          <a:ln w="12700">
            <a:miter lim="400000"/>
          </a:ln>
        </p:spPr>
        <p:txBody>
          <a:bodyPr lIns="67733" tIns="67733" rIns="67733" bIns="67733" anchor="ctr"/>
          <a:lstStyle/>
          <a:p>
            <a:pPr defTabSz="1219170">
              <a:defRPr sz="3200">
                <a:solidFill>
                  <a:srgbClr val="FFFFFF"/>
                </a:solidFill>
              </a:defRPr>
            </a:pPr>
            <a:endParaRPr sz="4267" kern="0">
              <a:solidFill>
                <a:srgbClr val="FFFFFF"/>
              </a:solidFill>
            </a:endParaRPr>
          </a:p>
        </p:txBody>
      </p:sp>
      <p:sp>
        <p:nvSpPr>
          <p:cNvPr id="6" name="Shape 2419">
            <a:extLst>
              <a:ext uri="{FF2B5EF4-FFF2-40B4-BE49-F238E27FC236}">
                <a16:creationId xmlns:a16="http://schemas.microsoft.com/office/drawing/2014/main" id="{D1CC4A7A-74E6-4B74-B2F6-4C5A4FA7EC65}"/>
              </a:ext>
            </a:extLst>
          </p:cNvPr>
          <p:cNvSpPr/>
          <p:nvPr/>
        </p:nvSpPr>
        <p:spPr>
          <a:xfrm>
            <a:off x="6117264" y="1254702"/>
            <a:ext cx="4963235" cy="57246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lvl="0">
              <a:lnSpc>
                <a:spcPct val="120000"/>
              </a:lnSpc>
              <a:defRPr sz="3500">
                <a:solidFill>
                  <a:srgbClr val="0082C3"/>
                </a:solidFill>
                <a:latin typeface="Roboto Bold"/>
                <a:ea typeface="Roboto Bold"/>
                <a:cs typeface="Roboto Bold"/>
                <a:sym typeface="Roboto Bold"/>
              </a:defRPr>
            </a:pPr>
            <a:r>
              <a:rPr lang="en-GB" sz="1400" kern="0" dirty="0">
                <a:solidFill>
                  <a:schemeClr val="tx1">
                    <a:lumMod val="75000"/>
                    <a:lumOff val="25000"/>
                  </a:schemeClr>
                </a:solidFill>
                <a:latin typeface="+mj-lt"/>
                <a:ea typeface="Roboto Bold"/>
                <a:sym typeface="Roboto Bold"/>
              </a:rPr>
              <a:t>Engaging in illegal activities can lead to termination.</a:t>
            </a:r>
          </a:p>
          <a:p>
            <a:pPr lvl="0">
              <a:lnSpc>
                <a:spcPct val="120000"/>
              </a:lnSpc>
              <a:defRPr sz="3500">
                <a:solidFill>
                  <a:srgbClr val="0082C3"/>
                </a:solidFill>
                <a:latin typeface="Roboto Bold"/>
                <a:ea typeface="Roboto Bold"/>
                <a:cs typeface="Roboto Bold"/>
                <a:sym typeface="Roboto Bold"/>
              </a:defRPr>
            </a:pPr>
            <a:endParaRPr lang="en-GB" sz="1400" kern="0" dirty="0">
              <a:solidFill>
                <a:schemeClr val="tx1">
                  <a:lumMod val="75000"/>
                  <a:lumOff val="25000"/>
                </a:schemeClr>
              </a:solidFill>
              <a:latin typeface="+mj-lt"/>
              <a:ea typeface="Roboto Bold"/>
              <a:sym typeface="Roboto Bold"/>
            </a:endParaRPr>
          </a:p>
        </p:txBody>
      </p:sp>
      <p:sp>
        <p:nvSpPr>
          <p:cNvPr id="7" name="Shape 2420">
            <a:extLst>
              <a:ext uri="{FF2B5EF4-FFF2-40B4-BE49-F238E27FC236}">
                <a16:creationId xmlns:a16="http://schemas.microsoft.com/office/drawing/2014/main" id="{F3E6BCAF-6172-479D-8461-C3009EC0EC81}"/>
              </a:ext>
            </a:extLst>
          </p:cNvPr>
          <p:cNvSpPr/>
          <p:nvPr/>
        </p:nvSpPr>
        <p:spPr>
          <a:xfrm>
            <a:off x="6619164" y="2438956"/>
            <a:ext cx="5166433" cy="57246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lvl="0">
              <a:lnSpc>
                <a:spcPct val="120000"/>
              </a:lnSpc>
              <a:defRPr sz="3500">
                <a:solidFill>
                  <a:srgbClr val="00A697"/>
                </a:solidFill>
                <a:latin typeface="Roboto Bold"/>
                <a:ea typeface="Roboto Bold"/>
                <a:cs typeface="Roboto Bold"/>
                <a:sym typeface="Roboto Bold"/>
              </a:defRPr>
            </a:pPr>
            <a:r>
              <a:rPr lang="en-GB" sz="1400" kern="0" dirty="0">
                <a:solidFill>
                  <a:schemeClr val="tx1">
                    <a:lumMod val="75000"/>
                    <a:lumOff val="25000"/>
                  </a:schemeClr>
                </a:solidFill>
                <a:latin typeface="+mj-lt"/>
                <a:ea typeface="Roboto Bold"/>
                <a:sym typeface="Roboto Bold"/>
              </a:rPr>
              <a:t>Employees are expected to maintain high level of confidentiality with the Company and client data.</a:t>
            </a:r>
          </a:p>
        </p:txBody>
      </p:sp>
      <p:sp>
        <p:nvSpPr>
          <p:cNvPr id="8" name="Shape 2421">
            <a:extLst>
              <a:ext uri="{FF2B5EF4-FFF2-40B4-BE49-F238E27FC236}">
                <a16:creationId xmlns:a16="http://schemas.microsoft.com/office/drawing/2014/main" id="{F5331AFD-7622-4E8F-ACC1-9102151925DE}"/>
              </a:ext>
            </a:extLst>
          </p:cNvPr>
          <p:cNvSpPr/>
          <p:nvPr/>
        </p:nvSpPr>
        <p:spPr>
          <a:xfrm>
            <a:off x="6676315" y="3604427"/>
            <a:ext cx="5109284" cy="55111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lvl="0">
              <a:lnSpc>
                <a:spcPct val="120000"/>
              </a:lnSpc>
              <a:defRPr sz="3500">
                <a:solidFill>
                  <a:srgbClr val="8FC321"/>
                </a:solidFill>
                <a:latin typeface="Roboto Bold"/>
                <a:ea typeface="Roboto Bold"/>
                <a:cs typeface="Roboto Bold"/>
                <a:sym typeface="Roboto Bold"/>
              </a:defRPr>
            </a:pPr>
            <a:r>
              <a:rPr lang="en-GB" sz="1400" kern="0" dirty="0">
                <a:solidFill>
                  <a:schemeClr val="tx1">
                    <a:lumMod val="75000"/>
                    <a:lumOff val="25000"/>
                  </a:schemeClr>
                </a:solidFill>
                <a:latin typeface="+mj-lt"/>
                <a:ea typeface="Roboto Bold"/>
                <a:sym typeface="Roboto Bold"/>
              </a:rPr>
              <a:t>Employee background verification is done through an external agency and any misrepresentation would be treated as misconduct.</a:t>
            </a:r>
          </a:p>
        </p:txBody>
      </p:sp>
      <p:sp>
        <p:nvSpPr>
          <p:cNvPr id="9" name="Shape 2422">
            <a:extLst>
              <a:ext uri="{FF2B5EF4-FFF2-40B4-BE49-F238E27FC236}">
                <a16:creationId xmlns:a16="http://schemas.microsoft.com/office/drawing/2014/main" id="{29990CAF-A12B-4262-B5F3-922D33EA4274}"/>
              </a:ext>
            </a:extLst>
          </p:cNvPr>
          <p:cNvSpPr/>
          <p:nvPr/>
        </p:nvSpPr>
        <p:spPr>
          <a:xfrm>
            <a:off x="6574716" y="4983551"/>
            <a:ext cx="5210881" cy="55111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lvl="0">
              <a:lnSpc>
                <a:spcPct val="120000"/>
              </a:lnSpc>
              <a:defRPr sz="3500">
                <a:solidFill>
                  <a:srgbClr val="FF9F00"/>
                </a:solidFill>
                <a:latin typeface="Roboto Bold"/>
                <a:ea typeface="Roboto Bold"/>
                <a:cs typeface="Roboto Bold"/>
                <a:sym typeface="Roboto Bold"/>
              </a:defRPr>
            </a:pPr>
            <a:r>
              <a:rPr lang="en-GB" sz="1400" kern="0" dirty="0">
                <a:solidFill>
                  <a:schemeClr val="tx1">
                    <a:lumMod val="75000"/>
                    <a:lumOff val="25000"/>
                  </a:schemeClr>
                </a:solidFill>
                <a:latin typeface="+mj-lt"/>
                <a:ea typeface="Roboto Bold"/>
                <a:sym typeface="Roboto Bold"/>
              </a:rPr>
              <a:t>It is mandatory for all the employees to be thorough with our security  policy. Any breach will lead to disciplinary action or termination.</a:t>
            </a:r>
          </a:p>
        </p:txBody>
      </p:sp>
      <p:sp>
        <p:nvSpPr>
          <p:cNvPr id="10" name="Shape 2423">
            <a:extLst>
              <a:ext uri="{FF2B5EF4-FFF2-40B4-BE49-F238E27FC236}">
                <a16:creationId xmlns:a16="http://schemas.microsoft.com/office/drawing/2014/main" id="{55D186F3-A5C2-4A6A-9A3F-2F18409F6F12}"/>
              </a:ext>
            </a:extLst>
          </p:cNvPr>
          <p:cNvSpPr/>
          <p:nvPr/>
        </p:nvSpPr>
        <p:spPr>
          <a:xfrm>
            <a:off x="5396397" y="4845098"/>
            <a:ext cx="914497" cy="914497"/>
          </a:xfrm>
          <a:prstGeom prst="ellipse">
            <a:avLst/>
          </a:prstGeom>
          <a:solidFill>
            <a:srgbClr val="00B6AD"/>
          </a:solidFill>
          <a:ln w="76200" cap="flat" cmpd="sng">
            <a:solidFill>
              <a:srgbClr val="7E249F"/>
            </a:solidFill>
            <a:prstDash val="solid"/>
            <a:miter lim="400000"/>
          </a:ln>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sp>
        <p:nvSpPr>
          <p:cNvPr id="11" name="Shape 2426">
            <a:extLst>
              <a:ext uri="{FF2B5EF4-FFF2-40B4-BE49-F238E27FC236}">
                <a16:creationId xmlns:a16="http://schemas.microsoft.com/office/drawing/2014/main" id="{17C9FCDD-43DE-473C-940F-8379C70ED69D}"/>
              </a:ext>
            </a:extLst>
          </p:cNvPr>
          <p:cNvSpPr/>
          <p:nvPr/>
        </p:nvSpPr>
        <p:spPr>
          <a:xfrm>
            <a:off x="4983646" y="974426"/>
            <a:ext cx="914497" cy="914497"/>
          </a:xfrm>
          <a:prstGeom prst="ellipse">
            <a:avLst/>
          </a:prstGeom>
          <a:solidFill>
            <a:srgbClr val="00B6AD"/>
          </a:solidFill>
          <a:ln w="76200" cap="flat" cmpd="sng">
            <a:solidFill>
              <a:srgbClr val="7E249F"/>
            </a:solidFill>
            <a:prstDash val="solid"/>
            <a:miter lim="400000"/>
          </a:ln>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sp>
        <p:nvSpPr>
          <p:cNvPr id="12" name="Shape 2429">
            <a:extLst>
              <a:ext uri="{FF2B5EF4-FFF2-40B4-BE49-F238E27FC236}">
                <a16:creationId xmlns:a16="http://schemas.microsoft.com/office/drawing/2014/main" id="{7624F574-DE1F-4C51-AFEF-242D15CDDA1A}"/>
              </a:ext>
            </a:extLst>
          </p:cNvPr>
          <p:cNvSpPr/>
          <p:nvPr/>
        </p:nvSpPr>
        <p:spPr>
          <a:xfrm>
            <a:off x="5580546" y="3554874"/>
            <a:ext cx="914497" cy="914497"/>
          </a:xfrm>
          <a:prstGeom prst="ellipse">
            <a:avLst/>
          </a:prstGeom>
          <a:solidFill>
            <a:srgbClr val="00B6AD"/>
          </a:solidFill>
          <a:ln w="76200" cap="flat" cmpd="sng">
            <a:solidFill>
              <a:srgbClr val="7E249F"/>
            </a:solidFill>
            <a:prstDash val="solid"/>
            <a:miter lim="400000"/>
          </a:ln>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sp>
        <p:nvSpPr>
          <p:cNvPr id="13" name="Shape 2432">
            <a:extLst>
              <a:ext uri="{FF2B5EF4-FFF2-40B4-BE49-F238E27FC236}">
                <a16:creationId xmlns:a16="http://schemas.microsoft.com/office/drawing/2014/main" id="{AC52098D-1E2D-4308-A096-BB690599A26A}"/>
              </a:ext>
            </a:extLst>
          </p:cNvPr>
          <p:cNvSpPr/>
          <p:nvPr/>
        </p:nvSpPr>
        <p:spPr>
          <a:xfrm>
            <a:off x="5504346" y="2264650"/>
            <a:ext cx="914497" cy="914497"/>
          </a:xfrm>
          <a:prstGeom prst="ellipse">
            <a:avLst/>
          </a:prstGeom>
          <a:solidFill>
            <a:srgbClr val="00B6AD"/>
          </a:solidFill>
          <a:ln w="76200" cap="flat" cmpd="sng">
            <a:solidFill>
              <a:srgbClr val="7E249F"/>
            </a:solidFill>
            <a:prstDash val="solid"/>
            <a:miter lim="400000"/>
          </a:ln>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sp>
        <p:nvSpPr>
          <p:cNvPr id="14" name="TextBox 13">
            <a:extLst>
              <a:ext uri="{FF2B5EF4-FFF2-40B4-BE49-F238E27FC236}">
                <a16:creationId xmlns:a16="http://schemas.microsoft.com/office/drawing/2014/main" id="{A41BC264-28C6-4DE6-99F3-6118267A186B}"/>
              </a:ext>
            </a:extLst>
          </p:cNvPr>
          <p:cNvSpPr txBox="1"/>
          <p:nvPr/>
        </p:nvSpPr>
        <p:spPr>
          <a:xfrm>
            <a:off x="2480855" y="1220335"/>
            <a:ext cx="2282996" cy="400110"/>
          </a:xfrm>
          <a:prstGeom prst="rect">
            <a:avLst/>
          </a:prstGeom>
          <a:noFill/>
        </p:spPr>
        <p:txBody>
          <a:bodyPr wrap="none" rtlCol="0" anchor="ctr">
            <a:spAutoFit/>
          </a:bodyPr>
          <a:lstStyle/>
          <a:p>
            <a:pPr algn="r"/>
            <a:r>
              <a:rPr lang="en-US" sz="2000" b="1" dirty="0">
                <a:solidFill>
                  <a:srgbClr val="00B6AD"/>
                </a:solidFill>
                <a:latin typeface="+mj-lt"/>
              </a:rPr>
              <a:t>ILLEGAL  ACTIVITIES</a:t>
            </a:r>
            <a:endParaRPr lang="en-US" b="1" dirty="0">
              <a:solidFill>
                <a:srgbClr val="00B6AD"/>
              </a:solidFill>
              <a:latin typeface="+mj-lt"/>
            </a:endParaRPr>
          </a:p>
        </p:txBody>
      </p:sp>
      <p:sp>
        <p:nvSpPr>
          <p:cNvPr id="15" name="TextBox 14">
            <a:extLst>
              <a:ext uri="{FF2B5EF4-FFF2-40B4-BE49-F238E27FC236}">
                <a16:creationId xmlns:a16="http://schemas.microsoft.com/office/drawing/2014/main" id="{C171150E-B72C-4294-A305-BA85FA803947}"/>
              </a:ext>
            </a:extLst>
          </p:cNvPr>
          <p:cNvSpPr txBox="1"/>
          <p:nvPr/>
        </p:nvSpPr>
        <p:spPr>
          <a:xfrm>
            <a:off x="1397000" y="2581509"/>
            <a:ext cx="3911600" cy="400110"/>
          </a:xfrm>
          <a:prstGeom prst="rect">
            <a:avLst/>
          </a:prstGeom>
          <a:noFill/>
        </p:spPr>
        <p:txBody>
          <a:bodyPr wrap="square" rtlCol="0" anchor="ctr">
            <a:spAutoFit/>
          </a:bodyPr>
          <a:lstStyle/>
          <a:p>
            <a:pPr algn="r"/>
            <a:r>
              <a:rPr lang="en-US" sz="2000" b="1" dirty="0">
                <a:solidFill>
                  <a:srgbClr val="00B6AD"/>
                </a:solidFill>
                <a:latin typeface="+mj-lt"/>
              </a:rPr>
              <a:t>CONFIDENTIALITY / NDA</a:t>
            </a:r>
          </a:p>
        </p:txBody>
      </p:sp>
      <p:sp>
        <p:nvSpPr>
          <p:cNvPr id="16" name="TextBox 15">
            <a:extLst>
              <a:ext uri="{FF2B5EF4-FFF2-40B4-BE49-F238E27FC236}">
                <a16:creationId xmlns:a16="http://schemas.microsoft.com/office/drawing/2014/main" id="{7F32FE6A-51BB-4C36-A664-DC39E12C5CFF}"/>
              </a:ext>
            </a:extLst>
          </p:cNvPr>
          <p:cNvSpPr txBox="1"/>
          <p:nvPr/>
        </p:nvSpPr>
        <p:spPr>
          <a:xfrm>
            <a:off x="1130301" y="3725205"/>
            <a:ext cx="4229099" cy="707886"/>
          </a:xfrm>
          <a:prstGeom prst="rect">
            <a:avLst/>
          </a:prstGeom>
          <a:noFill/>
        </p:spPr>
        <p:txBody>
          <a:bodyPr wrap="square" rtlCol="0" anchor="ctr">
            <a:spAutoFit/>
          </a:bodyPr>
          <a:lstStyle/>
          <a:p>
            <a:pPr algn="r"/>
            <a:r>
              <a:rPr lang="en-US" sz="2000" b="1" dirty="0">
                <a:solidFill>
                  <a:srgbClr val="00B6AD"/>
                </a:solidFill>
                <a:latin typeface="+mj-lt"/>
              </a:rPr>
              <a:t>EMPLOYEE BACKGROUND </a:t>
            </a:r>
          </a:p>
          <a:p>
            <a:pPr algn="r"/>
            <a:r>
              <a:rPr lang="en-US" sz="2000" b="1" dirty="0">
                <a:solidFill>
                  <a:srgbClr val="00B6AD"/>
                </a:solidFill>
                <a:latin typeface="+mj-lt"/>
              </a:rPr>
              <a:t>VERIFICATION</a:t>
            </a:r>
          </a:p>
        </p:txBody>
      </p:sp>
      <p:sp>
        <p:nvSpPr>
          <p:cNvPr id="17" name="TextBox 16">
            <a:extLst>
              <a:ext uri="{FF2B5EF4-FFF2-40B4-BE49-F238E27FC236}">
                <a16:creationId xmlns:a16="http://schemas.microsoft.com/office/drawing/2014/main" id="{6BFAC6A4-704F-4255-915E-C1AB450DD601}"/>
              </a:ext>
            </a:extLst>
          </p:cNvPr>
          <p:cNvSpPr txBox="1"/>
          <p:nvPr/>
        </p:nvSpPr>
        <p:spPr>
          <a:xfrm>
            <a:off x="2413066" y="5096804"/>
            <a:ext cx="2844735" cy="400110"/>
          </a:xfrm>
          <a:prstGeom prst="rect">
            <a:avLst/>
          </a:prstGeom>
          <a:noFill/>
        </p:spPr>
        <p:txBody>
          <a:bodyPr wrap="square" rtlCol="0" anchor="ctr">
            <a:spAutoFit/>
          </a:bodyPr>
          <a:lstStyle/>
          <a:p>
            <a:pPr algn="r"/>
            <a:r>
              <a:rPr lang="en-US" sz="2000" b="1" dirty="0">
                <a:solidFill>
                  <a:srgbClr val="00B6AD"/>
                </a:solidFill>
                <a:latin typeface="+mj-lt"/>
              </a:rPr>
              <a:t>DATA  SECURITY</a:t>
            </a:r>
          </a:p>
        </p:txBody>
      </p:sp>
      <p:grpSp>
        <p:nvGrpSpPr>
          <p:cNvPr id="18" name="Group 5">
            <a:extLst>
              <a:ext uri="{FF2B5EF4-FFF2-40B4-BE49-F238E27FC236}">
                <a16:creationId xmlns:a16="http://schemas.microsoft.com/office/drawing/2014/main" id="{BA47D398-B98D-472F-9013-6D9BBD365893}"/>
              </a:ext>
            </a:extLst>
          </p:cNvPr>
          <p:cNvGrpSpPr>
            <a:grpSpLocks noChangeAspect="1"/>
          </p:cNvGrpSpPr>
          <p:nvPr/>
        </p:nvGrpSpPr>
        <p:grpSpPr bwMode="auto">
          <a:xfrm>
            <a:off x="5202767" y="1119718"/>
            <a:ext cx="491067" cy="603249"/>
            <a:chOff x="2590" y="529"/>
            <a:chExt cx="232" cy="285"/>
          </a:xfrm>
        </p:grpSpPr>
        <p:sp>
          <p:nvSpPr>
            <p:cNvPr id="19" name="AutoShape 4">
              <a:extLst>
                <a:ext uri="{FF2B5EF4-FFF2-40B4-BE49-F238E27FC236}">
                  <a16:creationId xmlns:a16="http://schemas.microsoft.com/office/drawing/2014/main" id="{FEFB5E1A-525E-4321-9C16-20CEB7075EA9}"/>
                </a:ext>
              </a:extLst>
            </p:cNvPr>
            <p:cNvSpPr>
              <a:spLocks noChangeAspect="1" noChangeArrowheads="1" noTextEdit="1"/>
            </p:cNvSpPr>
            <p:nvPr/>
          </p:nvSpPr>
          <p:spPr bwMode="auto">
            <a:xfrm>
              <a:off x="2590" y="529"/>
              <a:ext cx="232" cy="285"/>
            </a:xfrm>
            <a:prstGeom prst="rect">
              <a:avLst/>
            </a:prstGeom>
            <a:noFill/>
            <a:ln w="9525">
              <a:noFill/>
              <a:miter lim="800000"/>
              <a:headEnd/>
              <a:tailEnd/>
            </a:ln>
          </p:spPr>
          <p:txBody>
            <a:bodyPr vert="horz" wrap="square" lIns="121920" tIns="60960" rIns="121920" bIns="60960" numCol="1" anchor="t" anchorCtr="0" compatLnSpc="1">
              <a:prstTxWarp prst="textNoShape">
                <a:avLst/>
              </a:prstTxWarp>
            </a:bodyPr>
            <a:lstStyle/>
            <a:p>
              <a:endParaRPr lang="en-GB" sz="2400"/>
            </a:p>
          </p:txBody>
        </p:sp>
        <p:sp>
          <p:nvSpPr>
            <p:cNvPr id="20" name="Freeform 6">
              <a:extLst>
                <a:ext uri="{FF2B5EF4-FFF2-40B4-BE49-F238E27FC236}">
                  <a16:creationId xmlns:a16="http://schemas.microsoft.com/office/drawing/2014/main" id="{21BBF3FF-5CDD-4EC1-80A9-B3B63C21D165}"/>
                </a:ext>
              </a:extLst>
            </p:cNvPr>
            <p:cNvSpPr>
              <a:spLocks/>
            </p:cNvSpPr>
            <p:nvPr/>
          </p:nvSpPr>
          <p:spPr bwMode="auto">
            <a:xfrm>
              <a:off x="2590" y="529"/>
              <a:ext cx="201" cy="247"/>
            </a:xfrm>
            <a:custGeom>
              <a:avLst/>
              <a:gdLst/>
              <a:ahLst/>
              <a:cxnLst>
                <a:cxn ang="0">
                  <a:pos x="412" y="404"/>
                </a:cxn>
                <a:cxn ang="0">
                  <a:pos x="435" y="430"/>
                </a:cxn>
                <a:cxn ang="0">
                  <a:pos x="479" y="465"/>
                </a:cxn>
                <a:cxn ang="0">
                  <a:pos x="497" y="496"/>
                </a:cxn>
                <a:cxn ang="0">
                  <a:pos x="496" y="534"/>
                </a:cxn>
                <a:cxn ang="0">
                  <a:pos x="466" y="661"/>
                </a:cxn>
                <a:cxn ang="0">
                  <a:pos x="432" y="821"/>
                </a:cxn>
                <a:cxn ang="0">
                  <a:pos x="478" y="763"/>
                </a:cxn>
                <a:cxn ang="0">
                  <a:pos x="631" y="456"/>
                </a:cxn>
                <a:cxn ang="0">
                  <a:pos x="694" y="457"/>
                </a:cxn>
                <a:cxn ang="0">
                  <a:pos x="752" y="487"/>
                </a:cxn>
                <a:cxn ang="0">
                  <a:pos x="786" y="542"/>
                </a:cxn>
                <a:cxn ang="0">
                  <a:pos x="800" y="616"/>
                </a:cxn>
                <a:cxn ang="0">
                  <a:pos x="798" y="771"/>
                </a:cxn>
                <a:cxn ang="0">
                  <a:pos x="790" y="947"/>
                </a:cxn>
                <a:cxn ang="0">
                  <a:pos x="694" y="984"/>
                </a:cxn>
                <a:cxn ang="0">
                  <a:pos x="198" y="985"/>
                </a:cxn>
                <a:cxn ang="0">
                  <a:pos x="7" y="962"/>
                </a:cxn>
                <a:cxn ang="0">
                  <a:pos x="7" y="811"/>
                </a:cxn>
                <a:cxn ang="0">
                  <a:pos x="2" y="614"/>
                </a:cxn>
                <a:cxn ang="0">
                  <a:pos x="16" y="542"/>
                </a:cxn>
                <a:cxn ang="0">
                  <a:pos x="48" y="488"/>
                </a:cxn>
                <a:cxn ang="0">
                  <a:pos x="104" y="458"/>
                </a:cxn>
                <a:cxn ang="0">
                  <a:pos x="166" y="456"/>
                </a:cxn>
                <a:cxn ang="0">
                  <a:pos x="273" y="655"/>
                </a:cxn>
                <a:cxn ang="0">
                  <a:pos x="372" y="864"/>
                </a:cxn>
                <a:cxn ang="0">
                  <a:pos x="353" y="733"/>
                </a:cxn>
                <a:cxn ang="0">
                  <a:pos x="317" y="566"/>
                </a:cxn>
                <a:cxn ang="0">
                  <a:pos x="304" y="501"/>
                </a:cxn>
                <a:cxn ang="0">
                  <a:pos x="315" y="474"/>
                </a:cxn>
                <a:cxn ang="0">
                  <a:pos x="348" y="443"/>
                </a:cxn>
                <a:cxn ang="0">
                  <a:pos x="390" y="406"/>
                </a:cxn>
                <a:cxn ang="0">
                  <a:pos x="378" y="386"/>
                </a:cxn>
                <a:cxn ang="0">
                  <a:pos x="307" y="366"/>
                </a:cxn>
                <a:cxn ang="0">
                  <a:pos x="254" y="329"/>
                </a:cxn>
                <a:cxn ang="0">
                  <a:pos x="219" y="278"/>
                </a:cxn>
                <a:cxn ang="0">
                  <a:pos x="206" y="231"/>
                </a:cxn>
                <a:cxn ang="0">
                  <a:pos x="204" y="179"/>
                </a:cxn>
                <a:cxn ang="0">
                  <a:pos x="212" y="133"/>
                </a:cxn>
                <a:cxn ang="0">
                  <a:pos x="254" y="61"/>
                </a:cxn>
                <a:cxn ang="0">
                  <a:pos x="321" y="16"/>
                </a:cxn>
                <a:cxn ang="0">
                  <a:pos x="400" y="0"/>
                </a:cxn>
                <a:cxn ang="0">
                  <a:pos x="479" y="11"/>
                </a:cxn>
                <a:cxn ang="0">
                  <a:pos x="546" y="53"/>
                </a:cxn>
                <a:cxn ang="0">
                  <a:pos x="585" y="113"/>
                </a:cxn>
                <a:cxn ang="0">
                  <a:pos x="597" y="159"/>
                </a:cxn>
                <a:cxn ang="0">
                  <a:pos x="597" y="212"/>
                </a:cxn>
                <a:cxn ang="0">
                  <a:pos x="588" y="260"/>
                </a:cxn>
                <a:cxn ang="0">
                  <a:pos x="559" y="317"/>
                </a:cxn>
                <a:cxn ang="0">
                  <a:pos x="510" y="357"/>
                </a:cxn>
                <a:cxn ang="0">
                  <a:pos x="446" y="382"/>
                </a:cxn>
              </a:cxnLst>
              <a:rect l="0" t="0" r="r" b="b"/>
              <a:pathLst>
                <a:path w="803" h="986">
                  <a:moveTo>
                    <a:pt x="407" y="388"/>
                  </a:moveTo>
                  <a:lnTo>
                    <a:pt x="407" y="388"/>
                  </a:lnTo>
                  <a:lnTo>
                    <a:pt x="409" y="396"/>
                  </a:lnTo>
                  <a:lnTo>
                    <a:pt x="412" y="404"/>
                  </a:lnTo>
                  <a:lnTo>
                    <a:pt x="416" y="412"/>
                  </a:lnTo>
                  <a:lnTo>
                    <a:pt x="422" y="418"/>
                  </a:lnTo>
                  <a:lnTo>
                    <a:pt x="428" y="424"/>
                  </a:lnTo>
                  <a:lnTo>
                    <a:pt x="435" y="430"/>
                  </a:lnTo>
                  <a:lnTo>
                    <a:pt x="450" y="441"/>
                  </a:lnTo>
                  <a:lnTo>
                    <a:pt x="466" y="452"/>
                  </a:lnTo>
                  <a:lnTo>
                    <a:pt x="472" y="459"/>
                  </a:lnTo>
                  <a:lnTo>
                    <a:pt x="479" y="465"/>
                  </a:lnTo>
                  <a:lnTo>
                    <a:pt x="486" y="471"/>
                  </a:lnTo>
                  <a:lnTo>
                    <a:pt x="490" y="479"/>
                  </a:lnTo>
                  <a:lnTo>
                    <a:pt x="495" y="487"/>
                  </a:lnTo>
                  <a:lnTo>
                    <a:pt x="497" y="496"/>
                  </a:lnTo>
                  <a:lnTo>
                    <a:pt x="497" y="496"/>
                  </a:lnTo>
                  <a:lnTo>
                    <a:pt x="498" y="504"/>
                  </a:lnTo>
                  <a:lnTo>
                    <a:pt x="498" y="513"/>
                  </a:lnTo>
                  <a:lnTo>
                    <a:pt x="496" y="534"/>
                  </a:lnTo>
                  <a:lnTo>
                    <a:pt x="491" y="559"/>
                  </a:lnTo>
                  <a:lnTo>
                    <a:pt x="485" y="585"/>
                  </a:lnTo>
                  <a:lnTo>
                    <a:pt x="471" y="639"/>
                  </a:lnTo>
                  <a:lnTo>
                    <a:pt x="466" y="661"/>
                  </a:lnTo>
                  <a:lnTo>
                    <a:pt x="461" y="680"/>
                  </a:lnTo>
                  <a:lnTo>
                    <a:pt x="461" y="680"/>
                  </a:lnTo>
                  <a:lnTo>
                    <a:pt x="441" y="777"/>
                  </a:lnTo>
                  <a:lnTo>
                    <a:pt x="432" y="821"/>
                  </a:lnTo>
                  <a:lnTo>
                    <a:pt x="425" y="864"/>
                  </a:lnTo>
                  <a:lnTo>
                    <a:pt x="425" y="864"/>
                  </a:lnTo>
                  <a:lnTo>
                    <a:pt x="452" y="814"/>
                  </a:lnTo>
                  <a:lnTo>
                    <a:pt x="478" y="763"/>
                  </a:lnTo>
                  <a:lnTo>
                    <a:pt x="528" y="660"/>
                  </a:lnTo>
                  <a:lnTo>
                    <a:pt x="579" y="557"/>
                  </a:lnTo>
                  <a:lnTo>
                    <a:pt x="604" y="505"/>
                  </a:lnTo>
                  <a:lnTo>
                    <a:pt x="631" y="456"/>
                  </a:lnTo>
                  <a:lnTo>
                    <a:pt x="631" y="456"/>
                  </a:lnTo>
                  <a:lnTo>
                    <a:pt x="655" y="453"/>
                  </a:lnTo>
                  <a:lnTo>
                    <a:pt x="675" y="455"/>
                  </a:lnTo>
                  <a:lnTo>
                    <a:pt x="694" y="457"/>
                  </a:lnTo>
                  <a:lnTo>
                    <a:pt x="712" y="461"/>
                  </a:lnTo>
                  <a:lnTo>
                    <a:pt x="727" y="468"/>
                  </a:lnTo>
                  <a:lnTo>
                    <a:pt x="740" y="477"/>
                  </a:lnTo>
                  <a:lnTo>
                    <a:pt x="752" y="487"/>
                  </a:lnTo>
                  <a:lnTo>
                    <a:pt x="762" y="498"/>
                  </a:lnTo>
                  <a:lnTo>
                    <a:pt x="771" y="512"/>
                  </a:lnTo>
                  <a:lnTo>
                    <a:pt x="779" y="526"/>
                  </a:lnTo>
                  <a:lnTo>
                    <a:pt x="786" y="542"/>
                  </a:lnTo>
                  <a:lnTo>
                    <a:pt x="790" y="559"/>
                  </a:lnTo>
                  <a:lnTo>
                    <a:pt x="795" y="577"/>
                  </a:lnTo>
                  <a:lnTo>
                    <a:pt x="798" y="596"/>
                  </a:lnTo>
                  <a:lnTo>
                    <a:pt x="800" y="616"/>
                  </a:lnTo>
                  <a:lnTo>
                    <a:pt x="802" y="636"/>
                  </a:lnTo>
                  <a:lnTo>
                    <a:pt x="803" y="680"/>
                  </a:lnTo>
                  <a:lnTo>
                    <a:pt x="800" y="725"/>
                  </a:lnTo>
                  <a:lnTo>
                    <a:pt x="798" y="771"/>
                  </a:lnTo>
                  <a:lnTo>
                    <a:pt x="795" y="817"/>
                  </a:lnTo>
                  <a:lnTo>
                    <a:pt x="793" y="862"/>
                  </a:lnTo>
                  <a:lnTo>
                    <a:pt x="790" y="906"/>
                  </a:lnTo>
                  <a:lnTo>
                    <a:pt x="790" y="947"/>
                  </a:lnTo>
                  <a:lnTo>
                    <a:pt x="791" y="966"/>
                  </a:lnTo>
                  <a:lnTo>
                    <a:pt x="793" y="985"/>
                  </a:lnTo>
                  <a:lnTo>
                    <a:pt x="793" y="985"/>
                  </a:lnTo>
                  <a:lnTo>
                    <a:pt x="694" y="984"/>
                  </a:lnTo>
                  <a:lnTo>
                    <a:pt x="594" y="985"/>
                  </a:lnTo>
                  <a:lnTo>
                    <a:pt x="396" y="985"/>
                  </a:lnTo>
                  <a:lnTo>
                    <a:pt x="297" y="986"/>
                  </a:lnTo>
                  <a:lnTo>
                    <a:pt x="198" y="985"/>
                  </a:lnTo>
                  <a:lnTo>
                    <a:pt x="101" y="984"/>
                  </a:lnTo>
                  <a:lnTo>
                    <a:pt x="4" y="981"/>
                  </a:lnTo>
                  <a:lnTo>
                    <a:pt x="4" y="981"/>
                  </a:lnTo>
                  <a:lnTo>
                    <a:pt x="7" y="962"/>
                  </a:lnTo>
                  <a:lnTo>
                    <a:pt x="8" y="942"/>
                  </a:lnTo>
                  <a:lnTo>
                    <a:pt x="9" y="900"/>
                  </a:lnTo>
                  <a:lnTo>
                    <a:pt x="9" y="856"/>
                  </a:lnTo>
                  <a:lnTo>
                    <a:pt x="7" y="811"/>
                  </a:lnTo>
                  <a:lnTo>
                    <a:pt x="1" y="720"/>
                  </a:lnTo>
                  <a:lnTo>
                    <a:pt x="0" y="677"/>
                  </a:lnTo>
                  <a:lnTo>
                    <a:pt x="1" y="634"/>
                  </a:lnTo>
                  <a:lnTo>
                    <a:pt x="2" y="614"/>
                  </a:lnTo>
                  <a:lnTo>
                    <a:pt x="4" y="595"/>
                  </a:lnTo>
                  <a:lnTo>
                    <a:pt x="7" y="576"/>
                  </a:lnTo>
                  <a:lnTo>
                    <a:pt x="11" y="558"/>
                  </a:lnTo>
                  <a:lnTo>
                    <a:pt x="16" y="542"/>
                  </a:lnTo>
                  <a:lnTo>
                    <a:pt x="22" y="526"/>
                  </a:lnTo>
                  <a:lnTo>
                    <a:pt x="29" y="512"/>
                  </a:lnTo>
                  <a:lnTo>
                    <a:pt x="38" y="499"/>
                  </a:lnTo>
                  <a:lnTo>
                    <a:pt x="48" y="488"/>
                  </a:lnTo>
                  <a:lnTo>
                    <a:pt x="59" y="478"/>
                  </a:lnTo>
                  <a:lnTo>
                    <a:pt x="73" y="469"/>
                  </a:lnTo>
                  <a:lnTo>
                    <a:pt x="87" y="462"/>
                  </a:lnTo>
                  <a:lnTo>
                    <a:pt x="104" y="458"/>
                  </a:lnTo>
                  <a:lnTo>
                    <a:pt x="122" y="456"/>
                  </a:lnTo>
                  <a:lnTo>
                    <a:pt x="143" y="455"/>
                  </a:lnTo>
                  <a:lnTo>
                    <a:pt x="166" y="456"/>
                  </a:lnTo>
                  <a:lnTo>
                    <a:pt x="166" y="456"/>
                  </a:lnTo>
                  <a:lnTo>
                    <a:pt x="195" y="504"/>
                  </a:lnTo>
                  <a:lnTo>
                    <a:pt x="222" y="553"/>
                  </a:lnTo>
                  <a:lnTo>
                    <a:pt x="247" y="604"/>
                  </a:lnTo>
                  <a:lnTo>
                    <a:pt x="273" y="655"/>
                  </a:lnTo>
                  <a:lnTo>
                    <a:pt x="321" y="761"/>
                  </a:lnTo>
                  <a:lnTo>
                    <a:pt x="347" y="812"/>
                  </a:lnTo>
                  <a:lnTo>
                    <a:pt x="372" y="864"/>
                  </a:lnTo>
                  <a:lnTo>
                    <a:pt x="372" y="864"/>
                  </a:lnTo>
                  <a:lnTo>
                    <a:pt x="369" y="834"/>
                  </a:lnTo>
                  <a:lnTo>
                    <a:pt x="365" y="801"/>
                  </a:lnTo>
                  <a:lnTo>
                    <a:pt x="359" y="768"/>
                  </a:lnTo>
                  <a:lnTo>
                    <a:pt x="353" y="733"/>
                  </a:lnTo>
                  <a:lnTo>
                    <a:pt x="337" y="661"/>
                  </a:lnTo>
                  <a:lnTo>
                    <a:pt x="322" y="590"/>
                  </a:lnTo>
                  <a:lnTo>
                    <a:pt x="322" y="590"/>
                  </a:lnTo>
                  <a:lnTo>
                    <a:pt x="317" y="566"/>
                  </a:lnTo>
                  <a:lnTo>
                    <a:pt x="310" y="541"/>
                  </a:lnTo>
                  <a:lnTo>
                    <a:pt x="306" y="519"/>
                  </a:lnTo>
                  <a:lnTo>
                    <a:pt x="304" y="508"/>
                  </a:lnTo>
                  <a:lnTo>
                    <a:pt x="304" y="501"/>
                  </a:lnTo>
                  <a:lnTo>
                    <a:pt x="304" y="501"/>
                  </a:lnTo>
                  <a:lnTo>
                    <a:pt x="307" y="490"/>
                  </a:lnTo>
                  <a:lnTo>
                    <a:pt x="310" y="481"/>
                  </a:lnTo>
                  <a:lnTo>
                    <a:pt x="315" y="474"/>
                  </a:lnTo>
                  <a:lnTo>
                    <a:pt x="320" y="467"/>
                  </a:lnTo>
                  <a:lnTo>
                    <a:pt x="327" y="460"/>
                  </a:lnTo>
                  <a:lnTo>
                    <a:pt x="334" y="455"/>
                  </a:lnTo>
                  <a:lnTo>
                    <a:pt x="348" y="443"/>
                  </a:lnTo>
                  <a:lnTo>
                    <a:pt x="364" y="432"/>
                  </a:lnTo>
                  <a:lnTo>
                    <a:pt x="378" y="421"/>
                  </a:lnTo>
                  <a:lnTo>
                    <a:pt x="384" y="413"/>
                  </a:lnTo>
                  <a:lnTo>
                    <a:pt x="390" y="406"/>
                  </a:lnTo>
                  <a:lnTo>
                    <a:pt x="395" y="397"/>
                  </a:lnTo>
                  <a:lnTo>
                    <a:pt x="399" y="388"/>
                  </a:lnTo>
                  <a:lnTo>
                    <a:pt x="399" y="388"/>
                  </a:lnTo>
                  <a:lnTo>
                    <a:pt x="378" y="386"/>
                  </a:lnTo>
                  <a:lnTo>
                    <a:pt x="358" y="383"/>
                  </a:lnTo>
                  <a:lnTo>
                    <a:pt x="340" y="378"/>
                  </a:lnTo>
                  <a:lnTo>
                    <a:pt x="324" y="373"/>
                  </a:lnTo>
                  <a:lnTo>
                    <a:pt x="307" y="366"/>
                  </a:lnTo>
                  <a:lnTo>
                    <a:pt x="292" y="358"/>
                  </a:lnTo>
                  <a:lnTo>
                    <a:pt x="278" y="349"/>
                  </a:lnTo>
                  <a:lnTo>
                    <a:pt x="265" y="340"/>
                  </a:lnTo>
                  <a:lnTo>
                    <a:pt x="254" y="329"/>
                  </a:lnTo>
                  <a:lnTo>
                    <a:pt x="243" y="318"/>
                  </a:lnTo>
                  <a:lnTo>
                    <a:pt x="234" y="305"/>
                  </a:lnTo>
                  <a:lnTo>
                    <a:pt x="226" y="292"/>
                  </a:lnTo>
                  <a:lnTo>
                    <a:pt x="219" y="278"/>
                  </a:lnTo>
                  <a:lnTo>
                    <a:pt x="214" y="264"/>
                  </a:lnTo>
                  <a:lnTo>
                    <a:pt x="209" y="248"/>
                  </a:lnTo>
                  <a:lnTo>
                    <a:pt x="206" y="231"/>
                  </a:lnTo>
                  <a:lnTo>
                    <a:pt x="206" y="231"/>
                  </a:lnTo>
                  <a:lnTo>
                    <a:pt x="204" y="218"/>
                  </a:lnTo>
                  <a:lnTo>
                    <a:pt x="204" y="204"/>
                  </a:lnTo>
                  <a:lnTo>
                    <a:pt x="203" y="191"/>
                  </a:lnTo>
                  <a:lnTo>
                    <a:pt x="204" y="179"/>
                  </a:lnTo>
                  <a:lnTo>
                    <a:pt x="205" y="166"/>
                  </a:lnTo>
                  <a:lnTo>
                    <a:pt x="206" y="155"/>
                  </a:lnTo>
                  <a:lnTo>
                    <a:pt x="208" y="144"/>
                  </a:lnTo>
                  <a:lnTo>
                    <a:pt x="212" y="133"/>
                  </a:lnTo>
                  <a:lnTo>
                    <a:pt x="219" y="112"/>
                  </a:lnTo>
                  <a:lnTo>
                    <a:pt x="229" y="93"/>
                  </a:lnTo>
                  <a:lnTo>
                    <a:pt x="241" y="76"/>
                  </a:lnTo>
                  <a:lnTo>
                    <a:pt x="254" y="61"/>
                  </a:lnTo>
                  <a:lnTo>
                    <a:pt x="269" y="47"/>
                  </a:lnTo>
                  <a:lnTo>
                    <a:pt x="285" y="35"/>
                  </a:lnTo>
                  <a:lnTo>
                    <a:pt x="302" y="25"/>
                  </a:lnTo>
                  <a:lnTo>
                    <a:pt x="321" y="16"/>
                  </a:lnTo>
                  <a:lnTo>
                    <a:pt x="340" y="9"/>
                  </a:lnTo>
                  <a:lnTo>
                    <a:pt x="359" y="5"/>
                  </a:lnTo>
                  <a:lnTo>
                    <a:pt x="379" y="1"/>
                  </a:lnTo>
                  <a:lnTo>
                    <a:pt x="400" y="0"/>
                  </a:lnTo>
                  <a:lnTo>
                    <a:pt x="420" y="0"/>
                  </a:lnTo>
                  <a:lnTo>
                    <a:pt x="440" y="2"/>
                  </a:lnTo>
                  <a:lnTo>
                    <a:pt x="460" y="6"/>
                  </a:lnTo>
                  <a:lnTo>
                    <a:pt x="479" y="11"/>
                  </a:lnTo>
                  <a:lnTo>
                    <a:pt x="498" y="19"/>
                  </a:lnTo>
                  <a:lnTo>
                    <a:pt x="515" y="28"/>
                  </a:lnTo>
                  <a:lnTo>
                    <a:pt x="532" y="39"/>
                  </a:lnTo>
                  <a:lnTo>
                    <a:pt x="546" y="53"/>
                  </a:lnTo>
                  <a:lnTo>
                    <a:pt x="560" y="69"/>
                  </a:lnTo>
                  <a:lnTo>
                    <a:pt x="572" y="85"/>
                  </a:lnTo>
                  <a:lnTo>
                    <a:pt x="581" y="103"/>
                  </a:lnTo>
                  <a:lnTo>
                    <a:pt x="585" y="113"/>
                  </a:lnTo>
                  <a:lnTo>
                    <a:pt x="589" y="125"/>
                  </a:lnTo>
                  <a:lnTo>
                    <a:pt x="592" y="136"/>
                  </a:lnTo>
                  <a:lnTo>
                    <a:pt x="594" y="147"/>
                  </a:lnTo>
                  <a:lnTo>
                    <a:pt x="597" y="159"/>
                  </a:lnTo>
                  <a:lnTo>
                    <a:pt x="598" y="172"/>
                  </a:lnTo>
                  <a:lnTo>
                    <a:pt x="598" y="185"/>
                  </a:lnTo>
                  <a:lnTo>
                    <a:pt x="598" y="199"/>
                  </a:lnTo>
                  <a:lnTo>
                    <a:pt x="597" y="212"/>
                  </a:lnTo>
                  <a:lnTo>
                    <a:pt x="596" y="227"/>
                  </a:lnTo>
                  <a:lnTo>
                    <a:pt x="596" y="227"/>
                  </a:lnTo>
                  <a:lnTo>
                    <a:pt x="592" y="244"/>
                  </a:lnTo>
                  <a:lnTo>
                    <a:pt x="588" y="260"/>
                  </a:lnTo>
                  <a:lnTo>
                    <a:pt x="582" y="275"/>
                  </a:lnTo>
                  <a:lnTo>
                    <a:pt x="575" y="290"/>
                  </a:lnTo>
                  <a:lnTo>
                    <a:pt x="568" y="303"/>
                  </a:lnTo>
                  <a:lnTo>
                    <a:pt x="559" y="317"/>
                  </a:lnTo>
                  <a:lnTo>
                    <a:pt x="547" y="328"/>
                  </a:lnTo>
                  <a:lnTo>
                    <a:pt x="536" y="339"/>
                  </a:lnTo>
                  <a:lnTo>
                    <a:pt x="524" y="348"/>
                  </a:lnTo>
                  <a:lnTo>
                    <a:pt x="510" y="357"/>
                  </a:lnTo>
                  <a:lnTo>
                    <a:pt x="496" y="365"/>
                  </a:lnTo>
                  <a:lnTo>
                    <a:pt x="480" y="372"/>
                  </a:lnTo>
                  <a:lnTo>
                    <a:pt x="463" y="377"/>
                  </a:lnTo>
                  <a:lnTo>
                    <a:pt x="446" y="382"/>
                  </a:lnTo>
                  <a:lnTo>
                    <a:pt x="426" y="386"/>
                  </a:lnTo>
                  <a:lnTo>
                    <a:pt x="407" y="388"/>
                  </a:lnTo>
                  <a:lnTo>
                    <a:pt x="407" y="388"/>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21" name="Freeform 7">
              <a:extLst>
                <a:ext uri="{FF2B5EF4-FFF2-40B4-BE49-F238E27FC236}">
                  <a16:creationId xmlns:a16="http://schemas.microsoft.com/office/drawing/2014/main" id="{1145E771-F554-4F29-9014-23AB3967D56B}"/>
                </a:ext>
              </a:extLst>
            </p:cNvPr>
            <p:cNvSpPr>
              <a:spLocks/>
            </p:cNvSpPr>
            <p:nvPr/>
          </p:nvSpPr>
          <p:spPr bwMode="auto">
            <a:xfrm>
              <a:off x="2709" y="701"/>
              <a:ext cx="113" cy="113"/>
            </a:xfrm>
            <a:custGeom>
              <a:avLst/>
              <a:gdLst/>
              <a:ahLst/>
              <a:cxnLst>
                <a:cxn ang="0">
                  <a:pos x="451" y="226"/>
                </a:cxn>
                <a:cxn ang="0">
                  <a:pos x="447" y="271"/>
                </a:cxn>
                <a:cxn ang="0">
                  <a:pos x="433" y="314"/>
                </a:cxn>
                <a:cxn ang="0">
                  <a:pos x="413" y="352"/>
                </a:cxn>
                <a:cxn ang="0">
                  <a:pos x="385" y="386"/>
                </a:cxn>
                <a:cxn ang="0">
                  <a:pos x="351" y="414"/>
                </a:cxn>
                <a:cxn ang="0">
                  <a:pos x="313" y="434"/>
                </a:cxn>
                <a:cxn ang="0">
                  <a:pos x="271" y="448"/>
                </a:cxn>
                <a:cxn ang="0">
                  <a:pos x="225" y="452"/>
                </a:cxn>
                <a:cxn ang="0">
                  <a:pos x="202" y="451"/>
                </a:cxn>
                <a:cxn ang="0">
                  <a:pos x="159" y="442"/>
                </a:cxn>
                <a:cxn ang="0">
                  <a:pos x="117" y="425"/>
                </a:cxn>
                <a:cxn ang="0">
                  <a:pos x="82" y="400"/>
                </a:cxn>
                <a:cxn ang="0">
                  <a:pos x="51" y="370"/>
                </a:cxn>
                <a:cxn ang="0">
                  <a:pos x="27" y="334"/>
                </a:cxn>
                <a:cxn ang="0">
                  <a:pos x="10" y="294"/>
                </a:cxn>
                <a:cxn ang="0">
                  <a:pos x="1" y="249"/>
                </a:cxn>
                <a:cxn ang="0">
                  <a:pos x="0" y="226"/>
                </a:cxn>
                <a:cxn ang="0">
                  <a:pos x="4" y="180"/>
                </a:cxn>
                <a:cxn ang="0">
                  <a:pos x="18" y="138"/>
                </a:cxn>
                <a:cxn ang="0">
                  <a:pos x="38" y="100"/>
                </a:cxn>
                <a:cxn ang="0">
                  <a:pos x="66" y="66"/>
                </a:cxn>
                <a:cxn ang="0">
                  <a:pos x="100" y="39"/>
                </a:cxn>
                <a:cxn ang="0">
                  <a:pos x="138" y="18"/>
                </a:cxn>
                <a:cxn ang="0">
                  <a:pos x="180" y="4"/>
                </a:cxn>
                <a:cxn ang="0">
                  <a:pos x="225" y="0"/>
                </a:cxn>
                <a:cxn ang="0">
                  <a:pos x="248" y="1"/>
                </a:cxn>
                <a:cxn ang="0">
                  <a:pos x="292" y="10"/>
                </a:cxn>
                <a:cxn ang="0">
                  <a:pos x="332" y="28"/>
                </a:cxn>
                <a:cxn ang="0">
                  <a:pos x="369" y="51"/>
                </a:cxn>
                <a:cxn ang="0">
                  <a:pos x="400" y="83"/>
                </a:cxn>
                <a:cxn ang="0">
                  <a:pos x="424" y="119"/>
                </a:cxn>
                <a:cxn ang="0">
                  <a:pos x="441" y="159"/>
                </a:cxn>
                <a:cxn ang="0">
                  <a:pos x="450" y="203"/>
                </a:cxn>
                <a:cxn ang="0">
                  <a:pos x="451" y="226"/>
                </a:cxn>
              </a:cxnLst>
              <a:rect l="0" t="0" r="r" b="b"/>
              <a:pathLst>
                <a:path w="451" h="452">
                  <a:moveTo>
                    <a:pt x="451" y="226"/>
                  </a:moveTo>
                  <a:lnTo>
                    <a:pt x="451" y="226"/>
                  </a:lnTo>
                  <a:lnTo>
                    <a:pt x="450" y="249"/>
                  </a:lnTo>
                  <a:lnTo>
                    <a:pt x="447" y="271"/>
                  </a:lnTo>
                  <a:lnTo>
                    <a:pt x="441" y="294"/>
                  </a:lnTo>
                  <a:lnTo>
                    <a:pt x="433" y="314"/>
                  </a:lnTo>
                  <a:lnTo>
                    <a:pt x="424" y="334"/>
                  </a:lnTo>
                  <a:lnTo>
                    <a:pt x="413" y="352"/>
                  </a:lnTo>
                  <a:lnTo>
                    <a:pt x="400" y="370"/>
                  </a:lnTo>
                  <a:lnTo>
                    <a:pt x="385" y="386"/>
                  </a:lnTo>
                  <a:lnTo>
                    <a:pt x="369" y="400"/>
                  </a:lnTo>
                  <a:lnTo>
                    <a:pt x="351" y="414"/>
                  </a:lnTo>
                  <a:lnTo>
                    <a:pt x="332" y="425"/>
                  </a:lnTo>
                  <a:lnTo>
                    <a:pt x="313" y="434"/>
                  </a:lnTo>
                  <a:lnTo>
                    <a:pt x="292" y="442"/>
                  </a:lnTo>
                  <a:lnTo>
                    <a:pt x="271" y="448"/>
                  </a:lnTo>
                  <a:lnTo>
                    <a:pt x="248" y="451"/>
                  </a:lnTo>
                  <a:lnTo>
                    <a:pt x="225" y="452"/>
                  </a:lnTo>
                  <a:lnTo>
                    <a:pt x="225" y="452"/>
                  </a:lnTo>
                  <a:lnTo>
                    <a:pt x="202" y="451"/>
                  </a:lnTo>
                  <a:lnTo>
                    <a:pt x="180" y="448"/>
                  </a:lnTo>
                  <a:lnTo>
                    <a:pt x="159" y="442"/>
                  </a:lnTo>
                  <a:lnTo>
                    <a:pt x="138" y="434"/>
                  </a:lnTo>
                  <a:lnTo>
                    <a:pt x="117" y="425"/>
                  </a:lnTo>
                  <a:lnTo>
                    <a:pt x="100" y="414"/>
                  </a:lnTo>
                  <a:lnTo>
                    <a:pt x="82" y="400"/>
                  </a:lnTo>
                  <a:lnTo>
                    <a:pt x="66" y="386"/>
                  </a:lnTo>
                  <a:lnTo>
                    <a:pt x="51" y="370"/>
                  </a:lnTo>
                  <a:lnTo>
                    <a:pt x="38" y="352"/>
                  </a:lnTo>
                  <a:lnTo>
                    <a:pt x="27" y="334"/>
                  </a:lnTo>
                  <a:lnTo>
                    <a:pt x="18" y="314"/>
                  </a:lnTo>
                  <a:lnTo>
                    <a:pt x="10" y="294"/>
                  </a:lnTo>
                  <a:lnTo>
                    <a:pt x="4" y="271"/>
                  </a:lnTo>
                  <a:lnTo>
                    <a:pt x="1" y="249"/>
                  </a:lnTo>
                  <a:lnTo>
                    <a:pt x="0" y="226"/>
                  </a:lnTo>
                  <a:lnTo>
                    <a:pt x="0" y="226"/>
                  </a:lnTo>
                  <a:lnTo>
                    <a:pt x="1" y="203"/>
                  </a:lnTo>
                  <a:lnTo>
                    <a:pt x="4" y="180"/>
                  </a:lnTo>
                  <a:lnTo>
                    <a:pt x="10" y="159"/>
                  </a:lnTo>
                  <a:lnTo>
                    <a:pt x="18" y="138"/>
                  </a:lnTo>
                  <a:lnTo>
                    <a:pt x="27" y="119"/>
                  </a:lnTo>
                  <a:lnTo>
                    <a:pt x="38" y="100"/>
                  </a:lnTo>
                  <a:lnTo>
                    <a:pt x="51" y="83"/>
                  </a:lnTo>
                  <a:lnTo>
                    <a:pt x="66" y="66"/>
                  </a:lnTo>
                  <a:lnTo>
                    <a:pt x="82" y="51"/>
                  </a:lnTo>
                  <a:lnTo>
                    <a:pt x="100" y="39"/>
                  </a:lnTo>
                  <a:lnTo>
                    <a:pt x="117" y="28"/>
                  </a:lnTo>
                  <a:lnTo>
                    <a:pt x="138" y="18"/>
                  </a:lnTo>
                  <a:lnTo>
                    <a:pt x="159" y="10"/>
                  </a:lnTo>
                  <a:lnTo>
                    <a:pt x="180" y="4"/>
                  </a:lnTo>
                  <a:lnTo>
                    <a:pt x="202" y="1"/>
                  </a:lnTo>
                  <a:lnTo>
                    <a:pt x="225" y="0"/>
                  </a:lnTo>
                  <a:lnTo>
                    <a:pt x="225" y="0"/>
                  </a:lnTo>
                  <a:lnTo>
                    <a:pt x="248" y="1"/>
                  </a:lnTo>
                  <a:lnTo>
                    <a:pt x="271" y="4"/>
                  </a:lnTo>
                  <a:lnTo>
                    <a:pt x="292" y="10"/>
                  </a:lnTo>
                  <a:lnTo>
                    <a:pt x="313" y="18"/>
                  </a:lnTo>
                  <a:lnTo>
                    <a:pt x="332" y="28"/>
                  </a:lnTo>
                  <a:lnTo>
                    <a:pt x="351" y="39"/>
                  </a:lnTo>
                  <a:lnTo>
                    <a:pt x="369" y="51"/>
                  </a:lnTo>
                  <a:lnTo>
                    <a:pt x="385" y="66"/>
                  </a:lnTo>
                  <a:lnTo>
                    <a:pt x="400" y="83"/>
                  </a:lnTo>
                  <a:lnTo>
                    <a:pt x="413" y="100"/>
                  </a:lnTo>
                  <a:lnTo>
                    <a:pt x="424" y="119"/>
                  </a:lnTo>
                  <a:lnTo>
                    <a:pt x="433" y="138"/>
                  </a:lnTo>
                  <a:lnTo>
                    <a:pt x="441" y="159"/>
                  </a:lnTo>
                  <a:lnTo>
                    <a:pt x="447" y="180"/>
                  </a:lnTo>
                  <a:lnTo>
                    <a:pt x="450" y="203"/>
                  </a:lnTo>
                  <a:lnTo>
                    <a:pt x="451" y="226"/>
                  </a:lnTo>
                  <a:lnTo>
                    <a:pt x="451" y="226"/>
                  </a:lnTo>
                  <a:close/>
                </a:path>
              </a:pathLst>
            </a:custGeom>
            <a:solidFill>
              <a:srgbClr val="FFFFFF"/>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22" name="Freeform 8">
              <a:extLst>
                <a:ext uri="{FF2B5EF4-FFF2-40B4-BE49-F238E27FC236}">
                  <a16:creationId xmlns:a16="http://schemas.microsoft.com/office/drawing/2014/main" id="{67F81911-C153-441B-ACA6-F5AEAEA605D7}"/>
                </a:ext>
              </a:extLst>
            </p:cNvPr>
            <p:cNvSpPr>
              <a:spLocks/>
            </p:cNvSpPr>
            <p:nvPr/>
          </p:nvSpPr>
          <p:spPr bwMode="auto">
            <a:xfrm>
              <a:off x="2715" y="707"/>
              <a:ext cx="101" cy="101"/>
            </a:xfrm>
            <a:custGeom>
              <a:avLst/>
              <a:gdLst/>
              <a:ahLst/>
              <a:cxnLst>
                <a:cxn ang="0">
                  <a:pos x="404" y="201"/>
                </a:cxn>
                <a:cxn ang="0">
                  <a:pos x="400" y="242"/>
                </a:cxn>
                <a:cxn ang="0">
                  <a:pos x="388" y="280"/>
                </a:cxn>
                <a:cxn ang="0">
                  <a:pos x="370" y="314"/>
                </a:cxn>
                <a:cxn ang="0">
                  <a:pos x="345" y="344"/>
                </a:cxn>
                <a:cxn ang="0">
                  <a:pos x="315" y="369"/>
                </a:cxn>
                <a:cxn ang="0">
                  <a:pos x="281" y="388"/>
                </a:cxn>
                <a:cxn ang="0">
                  <a:pos x="243" y="399"/>
                </a:cxn>
                <a:cxn ang="0">
                  <a:pos x="202" y="403"/>
                </a:cxn>
                <a:cxn ang="0">
                  <a:pos x="182" y="402"/>
                </a:cxn>
                <a:cxn ang="0">
                  <a:pos x="143" y="394"/>
                </a:cxn>
                <a:cxn ang="0">
                  <a:pos x="107" y="379"/>
                </a:cxn>
                <a:cxn ang="0">
                  <a:pos x="74" y="357"/>
                </a:cxn>
                <a:cxn ang="0">
                  <a:pos x="46" y="329"/>
                </a:cxn>
                <a:cxn ang="0">
                  <a:pos x="25" y="298"/>
                </a:cxn>
                <a:cxn ang="0">
                  <a:pos x="9" y="261"/>
                </a:cxn>
                <a:cxn ang="0">
                  <a:pos x="2" y="222"/>
                </a:cxn>
                <a:cxn ang="0">
                  <a:pos x="0" y="201"/>
                </a:cxn>
                <a:cxn ang="0">
                  <a:pos x="5" y="160"/>
                </a:cxn>
                <a:cxn ang="0">
                  <a:pos x="17" y="123"/>
                </a:cxn>
                <a:cxn ang="0">
                  <a:pos x="35" y="88"/>
                </a:cxn>
                <a:cxn ang="0">
                  <a:pos x="60" y="58"/>
                </a:cxn>
                <a:cxn ang="0">
                  <a:pos x="90" y="33"/>
                </a:cxn>
                <a:cxn ang="0">
                  <a:pos x="124" y="15"/>
                </a:cxn>
                <a:cxn ang="0">
                  <a:pos x="162" y="3"/>
                </a:cxn>
                <a:cxn ang="0">
                  <a:pos x="202" y="0"/>
                </a:cxn>
                <a:cxn ang="0">
                  <a:pos x="223" y="0"/>
                </a:cxn>
                <a:cxn ang="0">
                  <a:pos x="262" y="8"/>
                </a:cxn>
                <a:cxn ang="0">
                  <a:pos x="298" y="23"/>
                </a:cxn>
                <a:cxn ang="0">
                  <a:pos x="331" y="46"/>
                </a:cxn>
                <a:cxn ang="0">
                  <a:pos x="357" y="72"/>
                </a:cxn>
                <a:cxn ang="0">
                  <a:pos x="380" y="105"/>
                </a:cxn>
                <a:cxn ang="0">
                  <a:pos x="396" y="141"/>
                </a:cxn>
                <a:cxn ang="0">
                  <a:pos x="403" y="180"/>
                </a:cxn>
                <a:cxn ang="0">
                  <a:pos x="404" y="201"/>
                </a:cxn>
              </a:cxnLst>
              <a:rect l="0" t="0" r="r" b="b"/>
              <a:pathLst>
                <a:path w="404" h="403">
                  <a:moveTo>
                    <a:pt x="404" y="201"/>
                  </a:moveTo>
                  <a:lnTo>
                    <a:pt x="404" y="201"/>
                  </a:lnTo>
                  <a:lnTo>
                    <a:pt x="403" y="222"/>
                  </a:lnTo>
                  <a:lnTo>
                    <a:pt x="400" y="242"/>
                  </a:lnTo>
                  <a:lnTo>
                    <a:pt x="396" y="261"/>
                  </a:lnTo>
                  <a:lnTo>
                    <a:pt x="388" y="280"/>
                  </a:lnTo>
                  <a:lnTo>
                    <a:pt x="380" y="298"/>
                  </a:lnTo>
                  <a:lnTo>
                    <a:pt x="370" y="314"/>
                  </a:lnTo>
                  <a:lnTo>
                    <a:pt x="357" y="329"/>
                  </a:lnTo>
                  <a:lnTo>
                    <a:pt x="345" y="344"/>
                  </a:lnTo>
                  <a:lnTo>
                    <a:pt x="331" y="357"/>
                  </a:lnTo>
                  <a:lnTo>
                    <a:pt x="315" y="369"/>
                  </a:lnTo>
                  <a:lnTo>
                    <a:pt x="298" y="379"/>
                  </a:lnTo>
                  <a:lnTo>
                    <a:pt x="281" y="388"/>
                  </a:lnTo>
                  <a:lnTo>
                    <a:pt x="262" y="394"/>
                  </a:lnTo>
                  <a:lnTo>
                    <a:pt x="243" y="399"/>
                  </a:lnTo>
                  <a:lnTo>
                    <a:pt x="223" y="402"/>
                  </a:lnTo>
                  <a:lnTo>
                    <a:pt x="202" y="403"/>
                  </a:lnTo>
                  <a:lnTo>
                    <a:pt x="202" y="403"/>
                  </a:lnTo>
                  <a:lnTo>
                    <a:pt x="182" y="402"/>
                  </a:lnTo>
                  <a:lnTo>
                    <a:pt x="162" y="399"/>
                  </a:lnTo>
                  <a:lnTo>
                    <a:pt x="143" y="394"/>
                  </a:lnTo>
                  <a:lnTo>
                    <a:pt x="124" y="388"/>
                  </a:lnTo>
                  <a:lnTo>
                    <a:pt x="107" y="379"/>
                  </a:lnTo>
                  <a:lnTo>
                    <a:pt x="90" y="369"/>
                  </a:lnTo>
                  <a:lnTo>
                    <a:pt x="74" y="357"/>
                  </a:lnTo>
                  <a:lnTo>
                    <a:pt x="60" y="344"/>
                  </a:lnTo>
                  <a:lnTo>
                    <a:pt x="46" y="329"/>
                  </a:lnTo>
                  <a:lnTo>
                    <a:pt x="35" y="314"/>
                  </a:lnTo>
                  <a:lnTo>
                    <a:pt x="25" y="298"/>
                  </a:lnTo>
                  <a:lnTo>
                    <a:pt x="17" y="280"/>
                  </a:lnTo>
                  <a:lnTo>
                    <a:pt x="9" y="261"/>
                  </a:lnTo>
                  <a:lnTo>
                    <a:pt x="5" y="242"/>
                  </a:lnTo>
                  <a:lnTo>
                    <a:pt x="2" y="222"/>
                  </a:lnTo>
                  <a:lnTo>
                    <a:pt x="0" y="201"/>
                  </a:lnTo>
                  <a:lnTo>
                    <a:pt x="0" y="201"/>
                  </a:lnTo>
                  <a:lnTo>
                    <a:pt x="2" y="180"/>
                  </a:lnTo>
                  <a:lnTo>
                    <a:pt x="5" y="160"/>
                  </a:lnTo>
                  <a:lnTo>
                    <a:pt x="9" y="141"/>
                  </a:lnTo>
                  <a:lnTo>
                    <a:pt x="17" y="123"/>
                  </a:lnTo>
                  <a:lnTo>
                    <a:pt x="25" y="105"/>
                  </a:lnTo>
                  <a:lnTo>
                    <a:pt x="35" y="88"/>
                  </a:lnTo>
                  <a:lnTo>
                    <a:pt x="46" y="72"/>
                  </a:lnTo>
                  <a:lnTo>
                    <a:pt x="60" y="58"/>
                  </a:lnTo>
                  <a:lnTo>
                    <a:pt x="74" y="46"/>
                  </a:lnTo>
                  <a:lnTo>
                    <a:pt x="90" y="33"/>
                  </a:lnTo>
                  <a:lnTo>
                    <a:pt x="107" y="23"/>
                  </a:lnTo>
                  <a:lnTo>
                    <a:pt x="124" y="15"/>
                  </a:lnTo>
                  <a:lnTo>
                    <a:pt x="143" y="8"/>
                  </a:lnTo>
                  <a:lnTo>
                    <a:pt x="162" y="3"/>
                  </a:lnTo>
                  <a:lnTo>
                    <a:pt x="182" y="0"/>
                  </a:lnTo>
                  <a:lnTo>
                    <a:pt x="202" y="0"/>
                  </a:lnTo>
                  <a:lnTo>
                    <a:pt x="202" y="0"/>
                  </a:lnTo>
                  <a:lnTo>
                    <a:pt x="223" y="0"/>
                  </a:lnTo>
                  <a:lnTo>
                    <a:pt x="243" y="3"/>
                  </a:lnTo>
                  <a:lnTo>
                    <a:pt x="262" y="8"/>
                  </a:lnTo>
                  <a:lnTo>
                    <a:pt x="281" y="15"/>
                  </a:lnTo>
                  <a:lnTo>
                    <a:pt x="298" y="23"/>
                  </a:lnTo>
                  <a:lnTo>
                    <a:pt x="315" y="33"/>
                  </a:lnTo>
                  <a:lnTo>
                    <a:pt x="331" y="46"/>
                  </a:lnTo>
                  <a:lnTo>
                    <a:pt x="345" y="58"/>
                  </a:lnTo>
                  <a:lnTo>
                    <a:pt x="357" y="72"/>
                  </a:lnTo>
                  <a:lnTo>
                    <a:pt x="370" y="88"/>
                  </a:lnTo>
                  <a:lnTo>
                    <a:pt x="380" y="105"/>
                  </a:lnTo>
                  <a:lnTo>
                    <a:pt x="388" y="123"/>
                  </a:lnTo>
                  <a:lnTo>
                    <a:pt x="396" y="141"/>
                  </a:lnTo>
                  <a:lnTo>
                    <a:pt x="400" y="160"/>
                  </a:lnTo>
                  <a:lnTo>
                    <a:pt x="403" y="180"/>
                  </a:lnTo>
                  <a:lnTo>
                    <a:pt x="404" y="201"/>
                  </a:lnTo>
                  <a:lnTo>
                    <a:pt x="404" y="201"/>
                  </a:lnTo>
                  <a:close/>
                </a:path>
              </a:pathLst>
            </a:custGeom>
            <a:solidFill>
              <a:srgbClr val="0070C0"/>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23" name="Freeform 9">
              <a:extLst>
                <a:ext uri="{FF2B5EF4-FFF2-40B4-BE49-F238E27FC236}">
                  <a16:creationId xmlns:a16="http://schemas.microsoft.com/office/drawing/2014/main" id="{BDEC825C-034A-40C3-8029-270B60A04FB2}"/>
                </a:ext>
              </a:extLst>
            </p:cNvPr>
            <p:cNvSpPr>
              <a:spLocks/>
            </p:cNvSpPr>
            <p:nvPr/>
          </p:nvSpPr>
          <p:spPr bwMode="auto">
            <a:xfrm>
              <a:off x="2735" y="728"/>
              <a:ext cx="65" cy="60"/>
            </a:xfrm>
            <a:custGeom>
              <a:avLst/>
              <a:gdLst/>
              <a:ahLst/>
              <a:cxnLst>
                <a:cxn ang="0">
                  <a:pos x="170" y="244"/>
                </a:cxn>
                <a:cxn ang="0">
                  <a:pos x="149" y="204"/>
                </a:cxn>
                <a:cxn ang="0">
                  <a:pos x="149" y="204"/>
                </a:cxn>
                <a:cxn ang="0">
                  <a:pos x="126" y="162"/>
                </a:cxn>
                <a:cxn ang="0">
                  <a:pos x="126" y="162"/>
                </a:cxn>
                <a:cxn ang="0">
                  <a:pos x="126" y="162"/>
                </a:cxn>
                <a:cxn ang="0">
                  <a:pos x="118" y="182"/>
                </a:cxn>
                <a:cxn ang="0">
                  <a:pos x="107" y="204"/>
                </a:cxn>
                <a:cxn ang="0">
                  <a:pos x="88" y="244"/>
                </a:cxn>
                <a:cxn ang="0">
                  <a:pos x="0" y="244"/>
                </a:cxn>
                <a:cxn ang="0">
                  <a:pos x="82" y="120"/>
                </a:cxn>
                <a:cxn ang="0">
                  <a:pos x="3" y="0"/>
                </a:cxn>
                <a:cxn ang="0">
                  <a:pos x="92" y="0"/>
                </a:cxn>
                <a:cxn ang="0">
                  <a:pos x="112" y="39"/>
                </a:cxn>
                <a:cxn ang="0">
                  <a:pos x="112" y="39"/>
                </a:cxn>
                <a:cxn ang="0">
                  <a:pos x="131" y="79"/>
                </a:cxn>
                <a:cxn ang="0">
                  <a:pos x="132" y="79"/>
                </a:cxn>
                <a:cxn ang="0">
                  <a:pos x="132" y="79"/>
                </a:cxn>
                <a:cxn ang="0">
                  <a:pos x="149" y="40"/>
                </a:cxn>
                <a:cxn ang="0">
                  <a:pos x="166" y="0"/>
                </a:cxn>
                <a:cxn ang="0">
                  <a:pos x="254" y="0"/>
                </a:cxn>
                <a:cxn ang="0">
                  <a:pos x="176" y="119"/>
                </a:cxn>
                <a:cxn ang="0">
                  <a:pos x="260" y="244"/>
                </a:cxn>
                <a:cxn ang="0">
                  <a:pos x="170" y="244"/>
                </a:cxn>
              </a:cxnLst>
              <a:rect l="0" t="0" r="r" b="b"/>
              <a:pathLst>
                <a:path w="260" h="244">
                  <a:moveTo>
                    <a:pt x="170" y="244"/>
                  </a:moveTo>
                  <a:lnTo>
                    <a:pt x="149" y="204"/>
                  </a:lnTo>
                  <a:lnTo>
                    <a:pt x="149" y="204"/>
                  </a:lnTo>
                  <a:lnTo>
                    <a:pt x="126" y="162"/>
                  </a:lnTo>
                  <a:lnTo>
                    <a:pt x="126" y="162"/>
                  </a:lnTo>
                  <a:lnTo>
                    <a:pt x="126" y="162"/>
                  </a:lnTo>
                  <a:lnTo>
                    <a:pt x="118" y="182"/>
                  </a:lnTo>
                  <a:lnTo>
                    <a:pt x="107" y="204"/>
                  </a:lnTo>
                  <a:lnTo>
                    <a:pt x="88" y="244"/>
                  </a:lnTo>
                  <a:lnTo>
                    <a:pt x="0" y="244"/>
                  </a:lnTo>
                  <a:lnTo>
                    <a:pt x="82" y="120"/>
                  </a:lnTo>
                  <a:lnTo>
                    <a:pt x="3" y="0"/>
                  </a:lnTo>
                  <a:lnTo>
                    <a:pt x="92" y="0"/>
                  </a:lnTo>
                  <a:lnTo>
                    <a:pt x="112" y="39"/>
                  </a:lnTo>
                  <a:lnTo>
                    <a:pt x="112" y="39"/>
                  </a:lnTo>
                  <a:lnTo>
                    <a:pt x="131" y="79"/>
                  </a:lnTo>
                  <a:lnTo>
                    <a:pt x="132" y="79"/>
                  </a:lnTo>
                  <a:lnTo>
                    <a:pt x="132" y="79"/>
                  </a:lnTo>
                  <a:lnTo>
                    <a:pt x="149" y="40"/>
                  </a:lnTo>
                  <a:lnTo>
                    <a:pt x="166" y="0"/>
                  </a:lnTo>
                  <a:lnTo>
                    <a:pt x="254" y="0"/>
                  </a:lnTo>
                  <a:lnTo>
                    <a:pt x="176" y="119"/>
                  </a:lnTo>
                  <a:lnTo>
                    <a:pt x="260" y="244"/>
                  </a:lnTo>
                  <a:lnTo>
                    <a:pt x="170" y="244"/>
                  </a:lnTo>
                  <a:close/>
                </a:path>
              </a:pathLst>
            </a:custGeom>
            <a:solidFill>
              <a:srgbClr val="FFFFFF"/>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grpSp>
      <p:sp>
        <p:nvSpPr>
          <p:cNvPr id="24" name="Shape 16450">
            <a:extLst>
              <a:ext uri="{FF2B5EF4-FFF2-40B4-BE49-F238E27FC236}">
                <a16:creationId xmlns:a16="http://schemas.microsoft.com/office/drawing/2014/main" id="{1CDD8369-5043-49E4-B6C0-1854E092ABAA}"/>
              </a:ext>
            </a:extLst>
          </p:cNvPr>
          <p:cNvSpPr/>
          <p:nvPr/>
        </p:nvSpPr>
        <p:spPr>
          <a:xfrm>
            <a:off x="6042811" y="4152899"/>
            <a:ext cx="280493" cy="220695"/>
          </a:xfrm>
          <a:custGeom>
            <a:avLst/>
            <a:gdLst/>
            <a:ahLst/>
            <a:cxnLst>
              <a:cxn ang="0">
                <a:pos x="wd2" y="hd2"/>
              </a:cxn>
              <a:cxn ang="5400000">
                <a:pos x="wd2" y="hd2"/>
              </a:cxn>
              <a:cxn ang="10800000">
                <a:pos x="wd2" y="hd2"/>
              </a:cxn>
              <a:cxn ang="16200000">
                <a:pos x="wd2" y="hd2"/>
              </a:cxn>
            </a:cxnLst>
            <a:rect l="0" t="0" r="r" b="b"/>
            <a:pathLst>
              <a:path w="21600" h="21198" extrusionOk="0">
                <a:moveTo>
                  <a:pt x="2555" y="10347"/>
                </a:moveTo>
                <a:cubicBezTo>
                  <a:pt x="2981" y="9817"/>
                  <a:pt x="3673" y="9817"/>
                  <a:pt x="4099" y="10347"/>
                </a:cubicBezTo>
                <a:lnTo>
                  <a:pt x="7137" y="14138"/>
                </a:lnTo>
                <a:cubicBezTo>
                  <a:pt x="7165" y="14173"/>
                  <a:pt x="7194" y="14205"/>
                  <a:pt x="7223" y="14234"/>
                </a:cubicBezTo>
                <a:cubicBezTo>
                  <a:pt x="7428" y="14442"/>
                  <a:pt x="7679" y="14547"/>
                  <a:pt x="7928" y="14547"/>
                </a:cubicBezTo>
                <a:cubicBezTo>
                  <a:pt x="8178" y="14547"/>
                  <a:pt x="8429" y="14442"/>
                  <a:pt x="8634" y="14234"/>
                </a:cubicBezTo>
                <a:cubicBezTo>
                  <a:pt x="8662" y="14205"/>
                  <a:pt x="8691" y="14173"/>
                  <a:pt x="8719" y="14138"/>
                </a:cubicBezTo>
                <a:lnTo>
                  <a:pt x="17501" y="3183"/>
                </a:lnTo>
                <a:lnTo>
                  <a:pt x="17502" y="3183"/>
                </a:lnTo>
                <a:cubicBezTo>
                  <a:pt x="17928" y="2652"/>
                  <a:pt x="18619" y="2652"/>
                  <a:pt x="19046" y="3183"/>
                </a:cubicBezTo>
                <a:cubicBezTo>
                  <a:pt x="19251" y="3441"/>
                  <a:pt x="19365" y="3782"/>
                  <a:pt x="19365" y="4146"/>
                </a:cubicBezTo>
                <a:cubicBezTo>
                  <a:pt x="19365" y="4509"/>
                  <a:pt x="19251" y="4850"/>
                  <a:pt x="19046" y="5107"/>
                </a:cubicBezTo>
                <a:lnTo>
                  <a:pt x="19046" y="5108"/>
                </a:lnTo>
                <a:lnTo>
                  <a:pt x="8700" y="18011"/>
                </a:lnTo>
                <a:cubicBezTo>
                  <a:pt x="8493" y="18268"/>
                  <a:pt x="8221" y="18409"/>
                  <a:pt x="7928" y="18409"/>
                </a:cubicBezTo>
                <a:cubicBezTo>
                  <a:pt x="7637" y="18409"/>
                  <a:pt x="7363" y="18268"/>
                  <a:pt x="7157" y="18011"/>
                </a:cubicBezTo>
                <a:lnTo>
                  <a:pt x="2555" y="12272"/>
                </a:lnTo>
                <a:cubicBezTo>
                  <a:pt x="2349" y="12015"/>
                  <a:pt x="2236" y="11673"/>
                  <a:pt x="2236" y="11309"/>
                </a:cubicBezTo>
                <a:cubicBezTo>
                  <a:pt x="2236" y="10946"/>
                  <a:pt x="2349" y="10605"/>
                  <a:pt x="2555" y="10347"/>
                </a:cubicBezTo>
                <a:cubicBezTo>
                  <a:pt x="2555" y="10347"/>
                  <a:pt x="2555" y="10347"/>
                  <a:pt x="2555" y="10347"/>
                </a:cubicBezTo>
                <a:close/>
                <a:moveTo>
                  <a:pt x="21600" y="4146"/>
                </a:moveTo>
                <a:cubicBezTo>
                  <a:pt x="21600" y="3037"/>
                  <a:pt x="21254" y="1995"/>
                  <a:pt x="20625" y="1211"/>
                </a:cubicBezTo>
                <a:cubicBezTo>
                  <a:pt x="19356" y="-372"/>
                  <a:pt x="17310" y="-402"/>
                  <a:pt x="16006" y="1115"/>
                </a:cubicBezTo>
                <a:cubicBezTo>
                  <a:pt x="15977" y="1146"/>
                  <a:pt x="15947" y="1177"/>
                  <a:pt x="15921" y="1211"/>
                </a:cubicBezTo>
                <a:lnTo>
                  <a:pt x="7928" y="11181"/>
                </a:lnTo>
                <a:lnTo>
                  <a:pt x="5679" y="8375"/>
                </a:lnTo>
                <a:cubicBezTo>
                  <a:pt x="4381" y="6757"/>
                  <a:pt x="2272" y="6757"/>
                  <a:pt x="974" y="8375"/>
                </a:cubicBezTo>
                <a:cubicBezTo>
                  <a:pt x="345" y="9160"/>
                  <a:pt x="0" y="10201"/>
                  <a:pt x="0" y="11309"/>
                </a:cubicBezTo>
                <a:cubicBezTo>
                  <a:pt x="0" y="12417"/>
                  <a:pt x="345" y="13460"/>
                  <a:pt x="974" y="14244"/>
                </a:cubicBezTo>
                <a:lnTo>
                  <a:pt x="5570" y="19975"/>
                </a:lnTo>
                <a:cubicBezTo>
                  <a:pt x="5572" y="19978"/>
                  <a:pt x="5573" y="19981"/>
                  <a:pt x="5575" y="19983"/>
                </a:cubicBezTo>
                <a:cubicBezTo>
                  <a:pt x="6205" y="20767"/>
                  <a:pt x="7039" y="21198"/>
                  <a:pt x="7928" y="21198"/>
                </a:cubicBezTo>
                <a:cubicBezTo>
                  <a:pt x="8706" y="21198"/>
                  <a:pt x="9443" y="20868"/>
                  <a:pt x="10036" y="20260"/>
                </a:cubicBezTo>
                <a:cubicBezTo>
                  <a:pt x="10117" y="20176"/>
                  <a:pt x="10197" y="20087"/>
                  <a:pt x="10273" y="19992"/>
                </a:cubicBezTo>
                <a:cubicBezTo>
                  <a:pt x="10274" y="19989"/>
                  <a:pt x="10278" y="19986"/>
                  <a:pt x="10280" y="19983"/>
                </a:cubicBezTo>
                <a:lnTo>
                  <a:pt x="20626" y="7080"/>
                </a:lnTo>
                <a:cubicBezTo>
                  <a:pt x="20638" y="7064"/>
                  <a:pt x="20649" y="7047"/>
                  <a:pt x="20661" y="7030"/>
                </a:cubicBezTo>
                <a:cubicBezTo>
                  <a:pt x="21266" y="6253"/>
                  <a:pt x="21600" y="5231"/>
                  <a:pt x="21600" y="4146"/>
                </a:cubicBezTo>
                <a:cubicBezTo>
                  <a:pt x="21600" y="4146"/>
                  <a:pt x="21600" y="4146"/>
                  <a:pt x="21600" y="4146"/>
                </a:cubicBezTo>
                <a:close/>
              </a:path>
            </a:pathLst>
          </a:custGeom>
          <a:solidFill>
            <a:schemeClr val="bg1"/>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25" name="Shape 5766">
            <a:extLst>
              <a:ext uri="{FF2B5EF4-FFF2-40B4-BE49-F238E27FC236}">
                <a16:creationId xmlns:a16="http://schemas.microsoft.com/office/drawing/2014/main" id="{9758A97E-8F26-437D-AC53-E55C1BE8FF93}"/>
              </a:ext>
            </a:extLst>
          </p:cNvPr>
          <p:cNvSpPr/>
          <p:nvPr/>
        </p:nvSpPr>
        <p:spPr>
          <a:xfrm>
            <a:off x="5753351" y="2419155"/>
            <a:ext cx="440092" cy="583188"/>
          </a:xfrm>
          <a:custGeom>
            <a:avLst/>
            <a:gdLst/>
            <a:ahLst/>
            <a:cxnLst>
              <a:cxn ang="0">
                <a:pos x="wd2" y="hd2"/>
              </a:cxn>
              <a:cxn ang="5400000">
                <a:pos x="wd2" y="hd2"/>
              </a:cxn>
              <a:cxn ang="10800000">
                <a:pos x="wd2" y="hd2"/>
              </a:cxn>
              <a:cxn ang="16200000">
                <a:pos x="wd2" y="hd2"/>
              </a:cxn>
            </a:cxnLst>
            <a:rect l="0" t="0" r="r" b="b"/>
            <a:pathLst>
              <a:path w="21600" h="21600" extrusionOk="0">
                <a:moveTo>
                  <a:pt x="8613" y="0"/>
                </a:moveTo>
                <a:cubicBezTo>
                  <a:pt x="5561" y="0"/>
                  <a:pt x="3070" y="1879"/>
                  <a:pt x="3070" y="4183"/>
                </a:cubicBezTo>
                <a:lnTo>
                  <a:pt x="3070" y="7367"/>
                </a:lnTo>
                <a:lnTo>
                  <a:pt x="1038" y="7367"/>
                </a:lnTo>
                <a:cubicBezTo>
                  <a:pt x="464" y="7367"/>
                  <a:pt x="0" y="7717"/>
                  <a:pt x="0" y="8150"/>
                </a:cubicBezTo>
                <a:lnTo>
                  <a:pt x="0" y="15817"/>
                </a:lnTo>
                <a:cubicBezTo>
                  <a:pt x="0" y="19011"/>
                  <a:pt x="3453" y="21600"/>
                  <a:pt x="7686" y="21600"/>
                </a:cubicBezTo>
                <a:lnTo>
                  <a:pt x="13914" y="21600"/>
                </a:lnTo>
                <a:cubicBezTo>
                  <a:pt x="18147" y="21600"/>
                  <a:pt x="21600" y="19011"/>
                  <a:pt x="21600" y="15817"/>
                </a:cubicBezTo>
                <a:lnTo>
                  <a:pt x="21600" y="8150"/>
                </a:lnTo>
                <a:cubicBezTo>
                  <a:pt x="21600" y="7717"/>
                  <a:pt x="21135" y="7367"/>
                  <a:pt x="20562" y="7367"/>
                </a:cubicBezTo>
                <a:lnTo>
                  <a:pt x="18508" y="7367"/>
                </a:lnTo>
                <a:lnTo>
                  <a:pt x="18508" y="4183"/>
                </a:lnTo>
                <a:cubicBezTo>
                  <a:pt x="18508" y="1879"/>
                  <a:pt x="16040" y="0"/>
                  <a:pt x="12987" y="0"/>
                </a:cubicBezTo>
                <a:lnTo>
                  <a:pt x="8613" y="0"/>
                </a:lnTo>
                <a:close/>
                <a:moveTo>
                  <a:pt x="8613" y="1567"/>
                </a:moveTo>
                <a:lnTo>
                  <a:pt x="12987" y="1567"/>
                </a:lnTo>
                <a:cubicBezTo>
                  <a:pt x="14895" y="1567"/>
                  <a:pt x="16432" y="2743"/>
                  <a:pt x="16432" y="4183"/>
                </a:cubicBezTo>
                <a:lnTo>
                  <a:pt x="16432" y="7367"/>
                </a:lnTo>
                <a:lnTo>
                  <a:pt x="5146" y="7367"/>
                </a:lnTo>
                <a:cubicBezTo>
                  <a:pt x="5146" y="7367"/>
                  <a:pt x="5146" y="4183"/>
                  <a:pt x="5146" y="4183"/>
                </a:cubicBezTo>
                <a:cubicBezTo>
                  <a:pt x="5146" y="2743"/>
                  <a:pt x="6704" y="1567"/>
                  <a:pt x="8613" y="1567"/>
                </a:cubicBezTo>
                <a:close/>
                <a:moveTo>
                  <a:pt x="2076" y="8933"/>
                </a:moveTo>
                <a:lnTo>
                  <a:pt x="19524" y="8933"/>
                </a:lnTo>
                <a:cubicBezTo>
                  <a:pt x="19524" y="8933"/>
                  <a:pt x="19524" y="15817"/>
                  <a:pt x="19524" y="15817"/>
                </a:cubicBezTo>
                <a:cubicBezTo>
                  <a:pt x="19524" y="18147"/>
                  <a:pt x="17001" y="20033"/>
                  <a:pt x="13914" y="20033"/>
                </a:cubicBezTo>
                <a:lnTo>
                  <a:pt x="7686" y="20033"/>
                </a:lnTo>
                <a:cubicBezTo>
                  <a:pt x="4599" y="20033"/>
                  <a:pt x="2076" y="18147"/>
                  <a:pt x="2076" y="15817"/>
                </a:cubicBezTo>
                <a:lnTo>
                  <a:pt x="2076" y="8933"/>
                </a:lnTo>
                <a:close/>
                <a:moveTo>
                  <a:pt x="10933" y="13867"/>
                </a:moveTo>
                <a:cubicBezTo>
                  <a:pt x="10359" y="13867"/>
                  <a:pt x="9894" y="14218"/>
                  <a:pt x="9894" y="14650"/>
                </a:cubicBezTo>
                <a:cubicBezTo>
                  <a:pt x="9894" y="14822"/>
                  <a:pt x="9970" y="14988"/>
                  <a:pt x="10093" y="15117"/>
                </a:cubicBezTo>
                <a:cubicBezTo>
                  <a:pt x="10093" y="15117"/>
                  <a:pt x="10093" y="17350"/>
                  <a:pt x="10093" y="17350"/>
                </a:cubicBezTo>
                <a:cubicBezTo>
                  <a:pt x="10093" y="17783"/>
                  <a:pt x="10558" y="18133"/>
                  <a:pt x="11131" y="18133"/>
                </a:cubicBezTo>
                <a:cubicBezTo>
                  <a:pt x="11705" y="18133"/>
                  <a:pt x="12169" y="17783"/>
                  <a:pt x="12169" y="17350"/>
                </a:cubicBezTo>
                <a:lnTo>
                  <a:pt x="12169" y="15117"/>
                </a:lnTo>
                <a:cubicBezTo>
                  <a:pt x="12292" y="14988"/>
                  <a:pt x="12368" y="14822"/>
                  <a:pt x="12368" y="14650"/>
                </a:cubicBezTo>
                <a:cubicBezTo>
                  <a:pt x="12368" y="14218"/>
                  <a:pt x="11904" y="13867"/>
                  <a:pt x="11330" y="13867"/>
                </a:cubicBezTo>
                <a:lnTo>
                  <a:pt x="10933" y="13867"/>
                </a:lnTo>
                <a:close/>
              </a:path>
            </a:pathLst>
          </a:custGeom>
          <a:solidFill>
            <a:schemeClr val="bg1"/>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26" name="Shape 1780">
            <a:extLst>
              <a:ext uri="{FF2B5EF4-FFF2-40B4-BE49-F238E27FC236}">
                <a16:creationId xmlns:a16="http://schemas.microsoft.com/office/drawing/2014/main" id="{C66D8F8A-928B-4877-9F9D-BDCFE4F4686A}"/>
              </a:ext>
            </a:extLst>
          </p:cNvPr>
          <p:cNvSpPr/>
          <p:nvPr/>
        </p:nvSpPr>
        <p:spPr>
          <a:xfrm>
            <a:off x="5703199" y="3698728"/>
            <a:ext cx="648573" cy="519289"/>
          </a:xfrm>
          <a:custGeom>
            <a:avLst/>
            <a:gdLst/>
            <a:ahLst/>
            <a:cxnLst>
              <a:cxn ang="0">
                <a:pos x="wd2" y="hd2"/>
              </a:cxn>
              <a:cxn ang="5400000">
                <a:pos x="wd2" y="hd2"/>
              </a:cxn>
              <a:cxn ang="10800000">
                <a:pos x="wd2" y="hd2"/>
              </a:cxn>
              <a:cxn ang="16200000">
                <a:pos x="wd2" y="hd2"/>
              </a:cxn>
            </a:cxnLst>
            <a:rect l="0" t="0" r="r" b="b"/>
            <a:pathLst>
              <a:path w="21600" h="21600" extrusionOk="0">
                <a:moveTo>
                  <a:pt x="7210" y="0"/>
                </a:moveTo>
                <a:cubicBezTo>
                  <a:pt x="5131" y="0"/>
                  <a:pt x="3433" y="2571"/>
                  <a:pt x="3433" y="5735"/>
                </a:cubicBezTo>
                <a:cubicBezTo>
                  <a:pt x="3433" y="7078"/>
                  <a:pt x="3748" y="8393"/>
                  <a:pt x="4313" y="9424"/>
                </a:cubicBezTo>
                <a:cubicBezTo>
                  <a:pt x="4413" y="9597"/>
                  <a:pt x="4561" y="9692"/>
                  <a:pt x="4721" y="9692"/>
                </a:cubicBezTo>
                <a:cubicBezTo>
                  <a:pt x="4816" y="9692"/>
                  <a:pt x="4919" y="9649"/>
                  <a:pt x="5007" y="9576"/>
                </a:cubicBezTo>
                <a:cubicBezTo>
                  <a:pt x="5232" y="9380"/>
                  <a:pt x="5294" y="9000"/>
                  <a:pt x="5135" y="8719"/>
                </a:cubicBezTo>
                <a:cubicBezTo>
                  <a:pt x="4685" y="7892"/>
                  <a:pt x="4434" y="6829"/>
                  <a:pt x="4434" y="5735"/>
                </a:cubicBezTo>
                <a:cubicBezTo>
                  <a:pt x="4434" y="3256"/>
                  <a:pt x="5680" y="1242"/>
                  <a:pt x="7210" y="1242"/>
                </a:cubicBezTo>
                <a:cubicBezTo>
                  <a:pt x="7487" y="1242"/>
                  <a:pt x="7710" y="970"/>
                  <a:pt x="7710" y="625"/>
                </a:cubicBezTo>
                <a:cubicBezTo>
                  <a:pt x="7710" y="284"/>
                  <a:pt x="7487" y="0"/>
                  <a:pt x="7210" y="0"/>
                </a:cubicBezTo>
                <a:close/>
                <a:moveTo>
                  <a:pt x="14462" y="0"/>
                </a:moveTo>
                <a:cubicBezTo>
                  <a:pt x="14188" y="0"/>
                  <a:pt x="13961" y="284"/>
                  <a:pt x="13961" y="625"/>
                </a:cubicBezTo>
                <a:cubicBezTo>
                  <a:pt x="13961" y="970"/>
                  <a:pt x="14188" y="1242"/>
                  <a:pt x="14462" y="1242"/>
                </a:cubicBezTo>
                <a:cubicBezTo>
                  <a:pt x="15995" y="1242"/>
                  <a:pt x="17237" y="3256"/>
                  <a:pt x="17237" y="5735"/>
                </a:cubicBezTo>
                <a:cubicBezTo>
                  <a:pt x="17237" y="6829"/>
                  <a:pt x="16990" y="7892"/>
                  <a:pt x="16536" y="8719"/>
                </a:cubicBezTo>
                <a:cubicBezTo>
                  <a:pt x="16382" y="9000"/>
                  <a:pt x="16439" y="9380"/>
                  <a:pt x="16665" y="9576"/>
                </a:cubicBezTo>
                <a:cubicBezTo>
                  <a:pt x="16749" y="9649"/>
                  <a:pt x="16846" y="9692"/>
                  <a:pt x="16944" y="9692"/>
                </a:cubicBezTo>
                <a:cubicBezTo>
                  <a:pt x="17100" y="9692"/>
                  <a:pt x="17263" y="9597"/>
                  <a:pt x="17359" y="9424"/>
                </a:cubicBezTo>
                <a:cubicBezTo>
                  <a:pt x="17924" y="8393"/>
                  <a:pt x="18238" y="7078"/>
                  <a:pt x="18238" y="5735"/>
                </a:cubicBezTo>
                <a:cubicBezTo>
                  <a:pt x="18238" y="2571"/>
                  <a:pt x="16542" y="0"/>
                  <a:pt x="14462" y="0"/>
                </a:cubicBezTo>
                <a:close/>
                <a:moveTo>
                  <a:pt x="10635" y="1715"/>
                </a:moveTo>
                <a:cubicBezTo>
                  <a:pt x="8304" y="1715"/>
                  <a:pt x="6408" y="4611"/>
                  <a:pt x="6408" y="8165"/>
                </a:cubicBezTo>
                <a:cubicBezTo>
                  <a:pt x="6408" y="11719"/>
                  <a:pt x="8304" y="14605"/>
                  <a:pt x="10635" y="14605"/>
                </a:cubicBezTo>
                <a:cubicBezTo>
                  <a:pt x="12969" y="14605"/>
                  <a:pt x="14859" y="11719"/>
                  <a:pt x="14863" y="8165"/>
                </a:cubicBezTo>
                <a:cubicBezTo>
                  <a:pt x="14863" y="4611"/>
                  <a:pt x="12969" y="1715"/>
                  <a:pt x="10635" y="1715"/>
                </a:cubicBezTo>
                <a:close/>
                <a:moveTo>
                  <a:pt x="10635" y="2957"/>
                </a:moveTo>
                <a:cubicBezTo>
                  <a:pt x="12418" y="2957"/>
                  <a:pt x="13868" y="5295"/>
                  <a:pt x="13868" y="8165"/>
                </a:cubicBezTo>
                <a:cubicBezTo>
                  <a:pt x="13868" y="11035"/>
                  <a:pt x="12418" y="13364"/>
                  <a:pt x="10635" y="13364"/>
                </a:cubicBezTo>
                <a:cubicBezTo>
                  <a:pt x="8854" y="13364"/>
                  <a:pt x="7403" y="11035"/>
                  <a:pt x="7403" y="8165"/>
                </a:cubicBezTo>
                <a:cubicBezTo>
                  <a:pt x="7403" y="5295"/>
                  <a:pt x="8854" y="2957"/>
                  <a:pt x="10635" y="2957"/>
                </a:cubicBezTo>
                <a:close/>
                <a:moveTo>
                  <a:pt x="3955" y="9719"/>
                </a:moveTo>
                <a:lnTo>
                  <a:pt x="3691" y="9737"/>
                </a:lnTo>
                <a:cubicBezTo>
                  <a:pt x="1618" y="9859"/>
                  <a:pt x="0" y="11982"/>
                  <a:pt x="0" y="14570"/>
                </a:cubicBezTo>
                <a:lnTo>
                  <a:pt x="0" y="15347"/>
                </a:lnTo>
                <a:cubicBezTo>
                  <a:pt x="0" y="15689"/>
                  <a:pt x="227" y="15972"/>
                  <a:pt x="501" y="15972"/>
                </a:cubicBezTo>
                <a:cubicBezTo>
                  <a:pt x="777" y="15972"/>
                  <a:pt x="994" y="15689"/>
                  <a:pt x="994" y="15347"/>
                </a:cubicBezTo>
                <a:lnTo>
                  <a:pt x="994" y="14570"/>
                </a:lnTo>
                <a:cubicBezTo>
                  <a:pt x="994" y="12752"/>
                  <a:pt x="2079" y="11238"/>
                  <a:pt x="3497" y="11005"/>
                </a:cubicBezTo>
                <a:cubicBezTo>
                  <a:pt x="3678" y="11271"/>
                  <a:pt x="3866" y="11516"/>
                  <a:pt x="4070" y="11738"/>
                </a:cubicBezTo>
                <a:cubicBezTo>
                  <a:pt x="4277" y="11961"/>
                  <a:pt x="4597" y="11933"/>
                  <a:pt x="4778" y="11675"/>
                </a:cubicBezTo>
                <a:cubicBezTo>
                  <a:pt x="4956" y="11416"/>
                  <a:pt x="4928" y="11026"/>
                  <a:pt x="4721" y="10800"/>
                </a:cubicBezTo>
                <a:cubicBezTo>
                  <a:pt x="4500" y="10562"/>
                  <a:pt x="4302" y="10282"/>
                  <a:pt x="4113" y="9978"/>
                </a:cubicBezTo>
                <a:lnTo>
                  <a:pt x="3955" y="9719"/>
                </a:lnTo>
                <a:close/>
                <a:moveTo>
                  <a:pt x="17652" y="9719"/>
                </a:moveTo>
                <a:lnTo>
                  <a:pt x="17495" y="9978"/>
                </a:lnTo>
                <a:cubicBezTo>
                  <a:pt x="17309" y="10280"/>
                  <a:pt x="17100" y="10558"/>
                  <a:pt x="16879" y="10800"/>
                </a:cubicBezTo>
                <a:cubicBezTo>
                  <a:pt x="16673" y="11026"/>
                  <a:pt x="16649" y="11416"/>
                  <a:pt x="16829" y="11675"/>
                </a:cubicBezTo>
                <a:cubicBezTo>
                  <a:pt x="17011" y="11933"/>
                  <a:pt x="17324" y="11964"/>
                  <a:pt x="17530" y="11738"/>
                </a:cubicBezTo>
                <a:cubicBezTo>
                  <a:pt x="17736" y="11519"/>
                  <a:pt x="17929" y="11271"/>
                  <a:pt x="18110" y="11005"/>
                </a:cubicBezTo>
                <a:cubicBezTo>
                  <a:pt x="19530" y="11238"/>
                  <a:pt x="20606" y="12748"/>
                  <a:pt x="20606" y="14570"/>
                </a:cubicBezTo>
                <a:lnTo>
                  <a:pt x="20606" y="15347"/>
                </a:lnTo>
                <a:cubicBezTo>
                  <a:pt x="20606" y="15689"/>
                  <a:pt x="20832" y="15972"/>
                  <a:pt x="21106" y="15972"/>
                </a:cubicBezTo>
                <a:cubicBezTo>
                  <a:pt x="21383" y="15972"/>
                  <a:pt x="21600" y="15689"/>
                  <a:pt x="21600" y="15347"/>
                </a:cubicBezTo>
                <a:lnTo>
                  <a:pt x="21600" y="14570"/>
                </a:lnTo>
                <a:cubicBezTo>
                  <a:pt x="21600" y="11982"/>
                  <a:pt x="19986" y="9859"/>
                  <a:pt x="17917" y="9737"/>
                </a:cubicBezTo>
                <a:lnTo>
                  <a:pt x="17652" y="9719"/>
                </a:lnTo>
                <a:close/>
                <a:moveTo>
                  <a:pt x="7138" y="12578"/>
                </a:moveTo>
                <a:lnTo>
                  <a:pt x="6881" y="12596"/>
                </a:lnTo>
                <a:cubicBezTo>
                  <a:pt x="4564" y="12740"/>
                  <a:pt x="2746" y="15121"/>
                  <a:pt x="2746" y="18018"/>
                </a:cubicBezTo>
                <a:lnTo>
                  <a:pt x="2746" y="18902"/>
                </a:lnTo>
                <a:cubicBezTo>
                  <a:pt x="2746" y="20386"/>
                  <a:pt x="3717" y="21600"/>
                  <a:pt x="4906" y="21600"/>
                </a:cubicBezTo>
                <a:lnTo>
                  <a:pt x="16500" y="21600"/>
                </a:lnTo>
                <a:cubicBezTo>
                  <a:pt x="17691" y="21600"/>
                  <a:pt x="18656" y="20386"/>
                  <a:pt x="18653" y="18902"/>
                </a:cubicBezTo>
                <a:lnTo>
                  <a:pt x="18653" y="18018"/>
                </a:lnTo>
                <a:cubicBezTo>
                  <a:pt x="18653" y="15115"/>
                  <a:pt x="16838" y="12732"/>
                  <a:pt x="14519" y="12596"/>
                </a:cubicBezTo>
                <a:lnTo>
                  <a:pt x="14255" y="12578"/>
                </a:lnTo>
                <a:lnTo>
                  <a:pt x="14097" y="12837"/>
                </a:lnTo>
                <a:cubicBezTo>
                  <a:pt x="13224" y="14270"/>
                  <a:pt x="11987" y="15097"/>
                  <a:pt x="10700" y="15097"/>
                </a:cubicBezTo>
                <a:cubicBezTo>
                  <a:pt x="9415" y="15097"/>
                  <a:pt x="8170" y="14270"/>
                  <a:pt x="7295" y="12837"/>
                </a:cubicBezTo>
                <a:lnTo>
                  <a:pt x="7138" y="12578"/>
                </a:lnTo>
                <a:close/>
                <a:moveTo>
                  <a:pt x="6680" y="13864"/>
                </a:moveTo>
                <a:cubicBezTo>
                  <a:pt x="7735" y="15440"/>
                  <a:pt x="9186" y="16338"/>
                  <a:pt x="10700" y="16338"/>
                </a:cubicBezTo>
                <a:cubicBezTo>
                  <a:pt x="12214" y="16338"/>
                  <a:pt x="13664" y="15440"/>
                  <a:pt x="14719" y="13864"/>
                </a:cubicBezTo>
                <a:cubicBezTo>
                  <a:pt x="16390" y="14113"/>
                  <a:pt x="17659" y="15884"/>
                  <a:pt x="17659" y="18018"/>
                </a:cubicBezTo>
                <a:lnTo>
                  <a:pt x="17659" y="18902"/>
                </a:lnTo>
                <a:cubicBezTo>
                  <a:pt x="17659" y="19701"/>
                  <a:pt x="17141" y="20358"/>
                  <a:pt x="16500" y="20358"/>
                </a:cubicBezTo>
                <a:lnTo>
                  <a:pt x="4906" y="20358"/>
                </a:lnTo>
                <a:cubicBezTo>
                  <a:pt x="4266" y="20358"/>
                  <a:pt x="3748" y="19701"/>
                  <a:pt x="3748" y="18902"/>
                </a:cubicBezTo>
                <a:lnTo>
                  <a:pt x="3748" y="18018"/>
                </a:lnTo>
                <a:cubicBezTo>
                  <a:pt x="3748" y="15887"/>
                  <a:pt x="5015" y="14119"/>
                  <a:pt x="6680" y="13864"/>
                </a:cubicBezTo>
                <a:close/>
              </a:path>
            </a:pathLst>
          </a:custGeom>
          <a:solidFill>
            <a:schemeClr val="bg1"/>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27" name="Shape 5042">
            <a:extLst>
              <a:ext uri="{FF2B5EF4-FFF2-40B4-BE49-F238E27FC236}">
                <a16:creationId xmlns:a16="http://schemas.microsoft.com/office/drawing/2014/main" id="{86F84D0B-ED53-40ED-AA57-66E1C1CBE9AA}"/>
              </a:ext>
            </a:extLst>
          </p:cNvPr>
          <p:cNvSpPr/>
          <p:nvPr/>
        </p:nvSpPr>
        <p:spPr>
          <a:xfrm>
            <a:off x="5592804" y="5100321"/>
            <a:ext cx="541360" cy="513820"/>
          </a:xfrm>
          <a:custGeom>
            <a:avLst/>
            <a:gdLst/>
            <a:ahLst/>
            <a:cxnLst>
              <a:cxn ang="0">
                <a:pos x="wd2" y="hd2"/>
              </a:cxn>
              <a:cxn ang="5400000">
                <a:pos x="wd2" y="hd2"/>
              </a:cxn>
              <a:cxn ang="10800000">
                <a:pos x="wd2" y="hd2"/>
              </a:cxn>
              <a:cxn ang="16200000">
                <a:pos x="wd2" y="hd2"/>
              </a:cxn>
            </a:cxnLst>
            <a:rect l="0" t="0" r="r" b="b"/>
            <a:pathLst>
              <a:path w="21507" h="21600" extrusionOk="0">
                <a:moveTo>
                  <a:pt x="5946" y="0"/>
                </a:moveTo>
                <a:cubicBezTo>
                  <a:pt x="5042" y="0"/>
                  <a:pt x="4128" y="106"/>
                  <a:pt x="3244" y="323"/>
                </a:cubicBezTo>
                <a:cubicBezTo>
                  <a:pt x="2242" y="570"/>
                  <a:pt x="1259" y="1014"/>
                  <a:pt x="358" y="1551"/>
                </a:cubicBezTo>
                <a:cubicBezTo>
                  <a:pt x="69" y="1722"/>
                  <a:pt x="-30" y="2009"/>
                  <a:pt x="7" y="2278"/>
                </a:cubicBezTo>
                <a:cubicBezTo>
                  <a:pt x="0" y="2331"/>
                  <a:pt x="6" y="2378"/>
                  <a:pt x="7" y="2439"/>
                </a:cubicBezTo>
                <a:cubicBezTo>
                  <a:pt x="143" y="6502"/>
                  <a:pt x="145" y="10573"/>
                  <a:pt x="145" y="14637"/>
                </a:cubicBezTo>
                <a:cubicBezTo>
                  <a:pt x="145" y="14729"/>
                  <a:pt x="155" y="14806"/>
                  <a:pt x="175" y="14879"/>
                </a:cubicBezTo>
                <a:cubicBezTo>
                  <a:pt x="185" y="15039"/>
                  <a:pt x="256" y="15194"/>
                  <a:pt x="419" y="15332"/>
                </a:cubicBezTo>
                <a:cubicBezTo>
                  <a:pt x="2091" y="16738"/>
                  <a:pt x="4324" y="17529"/>
                  <a:pt x="6511" y="17529"/>
                </a:cubicBezTo>
                <a:cubicBezTo>
                  <a:pt x="7145" y="17529"/>
                  <a:pt x="7776" y="17459"/>
                  <a:pt x="8389" y="17319"/>
                </a:cubicBezTo>
                <a:cubicBezTo>
                  <a:pt x="8271" y="16940"/>
                  <a:pt x="8185" y="16546"/>
                  <a:pt x="8130" y="16139"/>
                </a:cubicBezTo>
                <a:cubicBezTo>
                  <a:pt x="8114" y="16027"/>
                  <a:pt x="8094" y="15925"/>
                  <a:pt x="8084" y="15816"/>
                </a:cubicBezTo>
                <a:cubicBezTo>
                  <a:pt x="8071" y="15819"/>
                  <a:pt x="8067" y="15814"/>
                  <a:pt x="8053" y="15816"/>
                </a:cubicBezTo>
                <a:cubicBezTo>
                  <a:pt x="7593" y="15904"/>
                  <a:pt x="7120" y="15959"/>
                  <a:pt x="6649" y="15978"/>
                </a:cubicBezTo>
                <a:cubicBezTo>
                  <a:pt x="6535" y="15984"/>
                  <a:pt x="6429" y="15994"/>
                  <a:pt x="6313" y="15994"/>
                </a:cubicBezTo>
                <a:cubicBezTo>
                  <a:pt x="5698" y="15994"/>
                  <a:pt x="5080" y="15920"/>
                  <a:pt x="4481" y="15784"/>
                </a:cubicBezTo>
                <a:cubicBezTo>
                  <a:pt x="3968" y="15668"/>
                  <a:pt x="3460" y="15500"/>
                  <a:pt x="2984" y="15267"/>
                </a:cubicBezTo>
                <a:cubicBezTo>
                  <a:pt x="2783" y="15170"/>
                  <a:pt x="1565" y="14594"/>
                  <a:pt x="1565" y="14346"/>
                </a:cubicBezTo>
                <a:cubicBezTo>
                  <a:pt x="1565" y="13818"/>
                  <a:pt x="1565" y="13291"/>
                  <a:pt x="1565" y="12763"/>
                </a:cubicBezTo>
                <a:cubicBezTo>
                  <a:pt x="3130" y="13573"/>
                  <a:pt x="4807" y="14023"/>
                  <a:pt x="6481" y="14023"/>
                </a:cubicBezTo>
                <a:cubicBezTo>
                  <a:pt x="7046" y="14023"/>
                  <a:pt x="7617" y="13967"/>
                  <a:pt x="8175" y="13861"/>
                </a:cubicBezTo>
                <a:cubicBezTo>
                  <a:pt x="8281" y="13266"/>
                  <a:pt x="8452" y="12697"/>
                  <a:pt x="8695" y="12165"/>
                </a:cubicBezTo>
                <a:cubicBezTo>
                  <a:pt x="7955" y="12384"/>
                  <a:pt x="7209" y="12488"/>
                  <a:pt x="6450" y="12488"/>
                </a:cubicBezTo>
                <a:cubicBezTo>
                  <a:pt x="4839" y="12488"/>
                  <a:pt x="3203" y="12011"/>
                  <a:pt x="1702" y="11131"/>
                </a:cubicBezTo>
                <a:cubicBezTo>
                  <a:pt x="1649" y="11101"/>
                  <a:pt x="1603" y="11084"/>
                  <a:pt x="1549" y="11067"/>
                </a:cubicBezTo>
                <a:cubicBezTo>
                  <a:pt x="1547" y="10565"/>
                  <a:pt x="1553" y="10066"/>
                  <a:pt x="1549" y="9564"/>
                </a:cubicBezTo>
                <a:cubicBezTo>
                  <a:pt x="3344" y="10220"/>
                  <a:pt x="5205" y="10647"/>
                  <a:pt x="7046" y="10647"/>
                </a:cubicBezTo>
                <a:cubicBezTo>
                  <a:pt x="8049" y="10647"/>
                  <a:pt x="9043" y="10510"/>
                  <a:pt x="10023" y="10226"/>
                </a:cubicBezTo>
                <a:cubicBezTo>
                  <a:pt x="10311" y="9936"/>
                  <a:pt x="10633" y="9677"/>
                  <a:pt x="10969" y="9451"/>
                </a:cubicBezTo>
                <a:cubicBezTo>
                  <a:pt x="11459" y="9126"/>
                  <a:pt x="11981" y="8886"/>
                  <a:pt x="12557" y="8724"/>
                </a:cubicBezTo>
                <a:cubicBezTo>
                  <a:pt x="12558" y="8406"/>
                  <a:pt x="12569" y="8086"/>
                  <a:pt x="12573" y="7771"/>
                </a:cubicBezTo>
                <a:cubicBezTo>
                  <a:pt x="12577" y="7419"/>
                  <a:pt x="12584" y="7072"/>
                  <a:pt x="12588" y="6721"/>
                </a:cubicBezTo>
                <a:cubicBezTo>
                  <a:pt x="12594" y="6272"/>
                  <a:pt x="12595" y="5812"/>
                  <a:pt x="12603" y="5364"/>
                </a:cubicBezTo>
                <a:cubicBezTo>
                  <a:pt x="12607" y="5255"/>
                  <a:pt x="12617" y="5151"/>
                  <a:pt x="12618" y="5041"/>
                </a:cubicBezTo>
                <a:cubicBezTo>
                  <a:pt x="12623" y="4899"/>
                  <a:pt x="12623" y="4755"/>
                  <a:pt x="12634" y="4604"/>
                </a:cubicBezTo>
                <a:cubicBezTo>
                  <a:pt x="12662" y="4178"/>
                  <a:pt x="12711" y="3718"/>
                  <a:pt x="12725" y="3280"/>
                </a:cubicBezTo>
                <a:cubicBezTo>
                  <a:pt x="12728" y="3215"/>
                  <a:pt x="12723" y="3148"/>
                  <a:pt x="12725" y="3086"/>
                </a:cubicBezTo>
                <a:cubicBezTo>
                  <a:pt x="12725" y="2852"/>
                  <a:pt x="12712" y="2636"/>
                  <a:pt x="12679" y="2423"/>
                </a:cubicBezTo>
                <a:cubicBezTo>
                  <a:pt x="12657" y="2251"/>
                  <a:pt x="12536" y="2079"/>
                  <a:pt x="12374" y="1923"/>
                </a:cubicBezTo>
                <a:cubicBezTo>
                  <a:pt x="12011" y="1575"/>
                  <a:pt x="11440" y="1287"/>
                  <a:pt x="11168" y="1163"/>
                </a:cubicBezTo>
                <a:cubicBezTo>
                  <a:pt x="10337" y="788"/>
                  <a:pt x="9433" y="541"/>
                  <a:pt x="8557" y="323"/>
                </a:cubicBezTo>
                <a:cubicBezTo>
                  <a:pt x="7701" y="110"/>
                  <a:pt x="6823" y="0"/>
                  <a:pt x="5946" y="0"/>
                </a:cubicBezTo>
                <a:close/>
                <a:moveTo>
                  <a:pt x="5962" y="1535"/>
                </a:moveTo>
                <a:cubicBezTo>
                  <a:pt x="7457" y="1535"/>
                  <a:pt x="8950" y="1860"/>
                  <a:pt x="10359" y="2504"/>
                </a:cubicBezTo>
                <a:cubicBezTo>
                  <a:pt x="9210" y="3241"/>
                  <a:pt x="7869" y="3587"/>
                  <a:pt x="6511" y="3587"/>
                </a:cubicBezTo>
                <a:cubicBezTo>
                  <a:pt x="4958" y="3587"/>
                  <a:pt x="3390" y="3141"/>
                  <a:pt x="2053" y="2359"/>
                </a:cubicBezTo>
                <a:cubicBezTo>
                  <a:pt x="3312" y="1795"/>
                  <a:pt x="4636" y="1535"/>
                  <a:pt x="5962" y="1535"/>
                </a:cubicBezTo>
                <a:close/>
                <a:moveTo>
                  <a:pt x="15962" y="1551"/>
                </a:moveTo>
                <a:cubicBezTo>
                  <a:pt x="15239" y="1554"/>
                  <a:pt x="14516" y="1639"/>
                  <a:pt x="13809" y="1809"/>
                </a:cubicBezTo>
                <a:cubicBezTo>
                  <a:pt x="13600" y="1860"/>
                  <a:pt x="13407" y="1919"/>
                  <a:pt x="13199" y="1987"/>
                </a:cubicBezTo>
                <a:cubicBezTo>
                  <a:pt x="13357" y="2184"/>
                  <a:pt x="13444" y="2396"/>
                  <a:pt x="13473" y="2601"/>
                </a:cubicBezTo>
                <a:cubicBezTo>
                  <a:pt x="13501" y="2790"/>
                  <a:pt x="13514" y="2971"/>
                  <a:pt x="13519" y="3166"/>
                </a:cubicBezTo>
                <a:cubicBezTo>
                  <a:pt x="15506" y="2501"/>
                  <a:pt x="17643" y="2673"/>
                  <a:pt x="19580" y="3538"/>
                </a:cubicBezTo>
                <a:cubicBezTo>
                  <a:pt x="17793" y="4662"/>
                  <a:pt x="15436" y="4619"/>
                  <a:pt x="13504" y="3764"/>
                </a:cubicBezTo>
                <a:cubicBezTo>
                  <a:pt x="13491" y="3996"/>
                  <a:pt x="13477" y="4228"/>
                  <a:pt x="13458" y="4459"/>
                </a:cubicBezTo>
                <a:cubicBezTo>
                  <a:pt x="13443" y="4668"/>
                  <a:pt x="13436" y="4864"/>
                  <a:pt x="13428" y="5057"/>
                </a:cubicBezTo>
                <a:cubicBezTo>
                  <a:pt x="15659" y="5921"/>
                  <a:pt x="18258" y="5787"/>
                  <a:pt x="20283" y="4491"/>
                </a:cubicBezTo>
                <a:cubicBezTo>
                  <a:pt x="20275" y="4825"/>
                  <a:pt x="20276" y="5159"/>
                  <a:pt x="20267" y="5493"/>
                </a:cubicBezTo>
                <a:cubicBezTo>
                  <a:pt x="18156" y="6733"/>
                  <a:pt x="15593" y="6883"/>
                  <a:pt x="13397" y="5864"/>
                </a:cubicBezTo>
                <a:cubicBezTo>
                  <a:pt x="13388" y="6300"/>
                  <a:pt x="13387" y="6737"/>
                  <a:pt x="13382" y="7173"/>
                </a:cubicBezTo>
                <a:cubicBezTo>
                  <a:pt x="15590" y="8047"/>
                  <a:pt x="18087" y="7936"/>
                  <a:pt x="20237" y="6882"/>
                </a:cubicBezTo>
                <a:cubicBezTo>
                  <a:pt x="20230" y="7271"/>
                  <a:pt x="20226" y="7645"/>
                  <a:pt x="20222" y="8029"/>
                </a:cubicBezTo>
                <a:cubicBezTo>
                  <a:pt x="18024" y="9137"/>
                  <a:pt x="15632" y="8893"/>
                  <a:pt x="13366" y="8175"/>
                </a:cubicBezTo>
                <a:cubicBezTo>
                  <a:pt x="13364" y="8401"/>
                  <a:pt x="13367" y="8642"/>
                  <a:pt x="13366" y="8869"/>
                </a:cubicBezTo>
                <a:cubicBezTo>
                  <a:pt x="13437" y="8856"/>
                  <a:pt x="13508" y="8832"/>
                  <a:pt x="13580" y="8821"/>
                </a:cubicBezTo>
                <a:cubicBezTo>
                  <a:pt x="13856" y="8778"/>
                  <a:pt x="14127" y="8756"/>
                  <a:pt x="14405" y="8756"/>
                </a:cubicBezTo>
                <a:cubicBezTo>
                  <a:pt x="15670" y="8756"/>
                  <a:pt x="16862" y="9202"/>
                  <a:pt x="17855" y="9952"/>
                </a:cubicBezTo>
                <a:cubicBezTo>
                  <a:pt x="18651" y="9871"/>
                  <a:pt x="19451" y="9690"/>
                  <a:pt x="20222" y="9370"/>
                </a:cubicBezTo>
                <a:cubicBezTo>
                  <a:pt x="20220" y="9668"/>
                  <a:pt x="20208" y="9961"/>
                  <a:pt x="20206" y="10259"/>
                </a:cubicBezTo>
                <a:cubicBezTo>
                  <a:pt x="19791" y="10551"/>
                  <a:pt x="19367" y="10784"/>
                  <a:pt x="18924" y="10970"/>
                </a:cubicBezTo>
                <a:cubicBezTo>
                  <a:pt x="19187" y="11280"/>
                  <a:pt x="19422" y="11610"/>
                  <a:pt x="19626" y="11971"/>
                </a:cubicBezTo>
                <a:cubicBezTo>
                  <a:pt x="19823" y="11880"/>
                  <a:pt x="20015" y="11791"/>
                  <a:pt x="20206" y="11680"/>
                </a:cubicBezTo>
                <a:cubicBezTo>
                  <a:pt x="20204" y="12104"/>
                  <a:pt x="20206" y="12518"/>
                  <a:pt x="20206" y="12941"/>
                </a:cubicBezTo>
                <a:cubicBezTo>
                  <a:pt x="20206" y="12973"/>
                  <a:pt x="20176" y="13027"/>
                  <a:pt x="20130" y="13070"/>
                </a:cubicBezTo>
                <a:cubicBezTo>
                  <a:pt x="20266" y="13439"/>
                  <a:pt x="20361" y="13818"/>
                  <a:pt x="20435" y="14217"/>
                </a:cubicBezTo>
                <a:cubicBezTo>
                  <a:pt x="20675" y="14059"/>
                  <a:pt x="20909" y="13906"/>
                  <a:pt x="21122" y="13732"/>
                </a:cubicBezTo>
                <a:cubicBezTo>
                  <a:pt x="21255" y="13622"/>
                  <a:pt x="21313" y="13486"/>
                  <a:pt x="21321" y="13361"/>
                </a:cubicBezTo>
                <a:cubicBezTo>
                  <a:pt x="21337" y="13302"/>
                  <a:pt x="21351" y="13235"/>
                  <a:pt x="21351" y="13167"/>
                </a:cubicBezTo>
                <a:cubicBezTo>
                  <a:pt x="21351" y="10626"/>
                  <a:pt x="21359" y="8097"/>
                  <a:pt x="21413" y="5558"/>
                </a:cubicBezTo>
                <a:cubicBezTo>
                  <a:pt x="21428" y="4902"/>
                  <a:pt x="21570" y="4115"/>
                  <a:pt x="21474" y="3473"/>
                </a:cubicBezTo>
                <a:cubicBezTo>
                  <a:pt x="21407" y="3032"/>
                  <a:pt x="20558" y="2614"/>
                  <a:pt x="20237" y="2472"/>
                </a:cubicBezTo>
                <a:cubicBezTo>
                  <a:pt x="19563" y="2172"/>
                  <a:pt x="18827" y="1982"/>
                  <a:pt x="18115" y="1809"/>
                </a:cubicBezTo>
                <a:cubicBezTo>
                  <a:pt x="17410" y="1637"/>
                  <a:pt x="16685" y="1548"/>
                  <a:pt x="15962" y="1551"/>
                </a:cubicBezTo>
                <a:close/>
                <a:moveTo>
                  <a:pt x="11229" y="3700"/>
                </a:moveTo>
                <a:cubicBezTo>
                  <a:pt x="11217" y="4120"/>
                  <a:pt x="11207" y="4540"/>
                  <a:pt x="11198" y="4960"/>
                </a:cubicBezTo>
                <a:cubicBezTo>
                  <a:pt x="11099" y="5019"/>
                  <a:pt x="11006" y="5066"/>
                  <a:pt x="10908" y="5121"/>
                </a:cubicBezTo>
                <a:cubicBezTo>
                  <a:pt x="9531" y="5881"/>
                  <a:pt x="8010" y="6285"/>
                  <a:pt x="6496" y="6285"/>
                </a:cubicBezTo>
                <a:cubicBezTo>
                  <a:pt x="4781" y="6285"/>
                  <a:pt x="3071" y="5781"/>
                  <a:pt x="1565" y="4766"/>
                </a:cubicBezTo>
                <a:cubicBezTo>
                  <a:pt x="1535" y="4747"/>
                  <a:pt x="1502" y="4733"/>
                  <a:pt x="1473" y="4717"/>
                </a:cubicBezTo>
                <a:cubicBezTo>
                  <a:pt x="1466" y="4402"/>
                  <a:pt x="1464" y="4093"/>
                  <a:pt x="1458" y="3780"/>
                </a:cubicBezTo>
                <a:cubicBezTo>
                  <a:pt x="2952" y="4652"/>
                  <a:pt x="4679" y="5105"/>
                  <a:pt x="6389" y="5105"/>
                </a:cubicBezTo>
                <a:cubicBezTo>
                  <a:pt x="7958" y="5105"/>
                  <a:pt x="9510" y="4707"/>
                  <a:pt x="10878" y="3910"/>
                </a:cubicBezTo>
                <a:cubicBezTo>
                  <a:pt x="10997" y="3841"/>
                  <a:pt x="11112" y="3776"/>
                  <a:pt x="11229" y="3700"/>
                </a:cubicBezTo>
                <a:close/>
                <a:moveTo>
                  <a:pt x="1519" y="6495"/>
                </a:moveTo>
                <a:cubicBezTo>
                  <a:pt x="3067" y="7376"/>
                  <a:pt x="4775" y="7819"/>
                  <a:pt x="6496" y="7819"/>
                </a:cubicBezTo>
                <a:cubicBezTo>
                  <a:pt x="8011" y="7819"/>
                  <a:pt x="9536" y="7478"/>
                  <a:pt x="10939" y="6818"/>
                </a:cubicBezTo>
                <a:cubicBezTo>
                  <a:pt x="11019" y="6781"/>
                  <a:pt x="11091" y="6743"/>
                  <a:pt x="11168" y="6705"/>
                </a:cubicBezTo>
                <a:cubicBezTo>
                  <a:pt x="11161" y="7191"/>
                  <a:pt x="11158" y="7673"/>
                  <a:pt x="11153" y="8159"/>
                </a:cubicBezTo>
                <a:cubicBezTo>
                  <a:pt x="11087" y="8194"/>
                  <a:pt x="11022" y="8223"/>
                  <a:pt x="10954" y="8255"/>
                </a:cubicBezTo>
                <a:cubicBezTo>
                  <a:pt x="9697" y="8863"/>
                  <a:pt x="8394" y="9128"/>
                  <a:pt x="7076" y="9128"/>
                </a:cubicBezTo>
                <a:cubicBezTo>
                  <a:pt x="5210" y="9128"/>
                  <a:pt x="3324" y="8621"/>
                  <a:pt x="1534" y="7932"/>
                </a:cubicBezTo>
                <a:cubicBezTo>
                  <a:pt x="1528" y="7456"/>
                  <a:pt x="1525" y="6974"/>
                  <a:pt x="1519" y="6495"/>
                </a:cubicBezTo>
                <a:close/>
                <a:moveTo>
                  <a:pt x="14359" y="9306"/>
                </a:moveTo>
                <a:cubicBezTo>
                  <a:pt x="14105" y="9306"/>
                  <a:pt x="13851" y="9331"/>
                  <a:pt x="13595" y="9370"/>
                </a:cubicBezTo>
                <a:cubicBezTo>
                  <a:pt x="13509" y="9385"/>
                  <a:pt x="13421" y="9398"/>
                  <a:pt x="13336" y="9419"/>
                </a:cubicBezTo>
                <a:cubicBezTo>
                  <a:pt x="13292" y="9429"/>
                  <a:pt x="13258" y="9439"/>
                  <a:pt x="13214" y="9451"/>
                </a:cubicBezTo>
                <a:cubicBezTo>
                  <a:pt x="13136" y="9469"/>
                  <a:pt x="13063" y="9492"/>
                  <a:pt x="12985" y="9516"/>
                </a:cubicBezTo>
                <a:cubicBezTo>
                  <a:pt x="12906" y="9539"/>
                  <a:pt x="12818" y="9568"/>
                  <a:pt x="12740" y="9596"/>
                </a:cubicBezTo>
                <a:cubicBezTo>
                  <a:pt x="12589" y="9650"/>
                  <a:pt x="12443" y="9708"/>
                  <a:pt x="12298" y="9774"/>
                </a:cubicBezTo>
                <a:cubicBezTo>
                  <a:pt x="11953" y="9932"/>
                  <a:pt x="11625" y="10117"/>
                  <a:pt x="11321" y="10340"/>
                </a:cubicBezTo>
                <a:cubicBezTo>
                  <a:pt x="11262" y="10382"/>
                  <a:pt x="11208" y="10427"/>
                  <a:pt x="11153" y="10469"/>
                </a:cubicBezTo>
                <a:cubicBezTo>
                  <a:pt x="11130" y="10488"/>
                  <a:pt x="11114" y="10496"/>
                  <a:pt x="11092" y="10517"/>
                </a:cubicBezTo>
                <a:cubicBezTo>
                  <a:pt x="11010" y="10582"/>
                  <a:pt x="10925" y="10658"/>
                  <a:pt x="10847" y="10727"/>
                </a:cubicBezTo>
                <a:cubicBezTo>
                  <a:pt x="10806" y="10767"/>
                  <a:pt x="10766" y="10803"/>
                  <a:pt x="10725" y="10840"/>
                </a:cubicBezTo>
                <a:cubicBezTo>
                  <a:pt x="10531" y="11028"/>
                  <a:pt x="10345" y="11225"/>
                  <a:pt x="10176" y="11438"/>
                </a:cubicBezTo>
                <a:cubicBezTo>
                  <a:pt x="10070" y="11573"/>
                  <a:pt x="9982" y="11716"/>
                  <a:pt x="9885" y="11858"/>
                </a:cubicBezTo>
                <a:cubicBezTo>
                  <a:pt x="9497" y="12442"/>
                  <a:pt x="9201" y="13104"/>
                  <a:pt x="9015" y="13797"/>
                </a:cubicBezTo>
                <a:cubicBezTo>
                  <a:pt x="8991" y="13887"/>
                  <a:pt x="8958" y="13981"/>
                  <a:pt x="8939" y="14072"/>
                </a:cubicBezTo>
                <a:cubicBezTo>
                  <a:pt x="8919" y="14159"/>
                  <a:pt x="8908" y="14243"/>
                  <a:pt x="8893" y="14330"/>
                </a:cubicBezTo>
                <a:cubicBezTo>
                  <a:pt x="8893" y="14332"/>
                  <a:pt x="8895" y="14344"/>
                  <a:pt x="8893" y="14346"/>
                </a:cubicBezTo>
                <a:cubicBezTo>
                  <a:pt x="8843" y="14639"/>
                  <a:pt x="8811" y="14931"/>
                  <a:pt x="8801" y="15235"/>
                </a:cubicBezTo>
                <a:cubicBezTo>
                  <a:pt x="8798" y="15322"/>
                  <a:pt x="8800" y="15405"/>
                  <a:pt x="8801" y="15493"/>
                </a:cubicBezTo>
                <a:cubicBezTo>
                  <a:pt x="8801" y="15578"/>
                  <a:pt x="8797" y="15666"/>
                  <a:pt x="8801" y="15752"/>
                </a:cubicBezTo>
                <a:cubicBezTo>
                  <a:pt x="8809" y="15928"/>
                  <a:pt x="8823" y="16106"/>
                  <a:pt x="8847" y="16285"/>
                </a:cubicBezTo>
                <a:cubicBezTo>
                  <a:pt x="8893" y="16624"/>
                  <a:pt x="8966" y="16948"/>
                  <a:pt x="9061" y="17270"/>
                </a:cubicBezTo>
                <a:cubicBezTo>
                  <a:pt x="9084" y="17348"/>
                  <a:pt x="9112" y="17433"/>
                  <a:pt x="9137" y="17513"/>
                </a:cubicBezTo>
                <a:cubicBezTo>
                  <a:pt x="9164" y="17589"/>
                  <a:pt x="9201" y="17662"/>
                  <a:pt x="9229" y="17739"/>
                </a:cubicBezTo>
                <a:cubicBezTo>
                  <a:pt x="10089" y="20009"/>
                  <a:pt x="12122" y="21600"/>
                  <a:pt x="14420" y="21600"/>
                </a:cubicBezTo>
                <a:cubicBezTo>
                  <a:pt x="14673" y="21600"/>
                  <a:pt x="14933" y="21575"/>
                  <a:pt x="15183" y="21535"/>
                </a:cubicBezTo>
                <a:cubicBezTo>
                  <a:pt x="16456" y="21343"/>
                  <a:pt x="18176" y="20235"/>
                  <a:pt x="18954" y="19112"/>
                </a:cubicBezTo>
                <a:cubicBezTo>
                  <a:pt x="19825" y="17851"/>
                  <a:pt x="20142" y="16242"/>
                  <a:pt x="19840" y="14588"/>
                </a:cubicBezTo>
                <a:cubicBezTo>
                  <a:pt x="19827" y="14507"/>
                  <a:pt x="19812" y="14426"/>
                  <a:pt x="19794" y="14346"/>
                </a:cubicBezTo>
                <a:cubicBezTo>
                  <a:pt x="19755" y="14162"/>
                  <a:pt x="19712" y="13991"/>
                  <a:pt x="19657" y="13813"/>
                </a:cubicBezTo>
                <a:cubicBezTo>
                  <a:pt x="19598" y="13614"/>
                  <a:pt x="19517" y="13405"/>
                  <a:pt x="19443" y="13215"/>
                </a:cubicBezTo>
                <a:cubicBezTo>
                  <a:pt x="19280" y="12803"/>
                  <a:pt x="19092" y="12417"/>
                  <a:pt x="18863" y="12052"/>
                </a:cubicBezTo>
                <a:cubicBezTo>
                  <a:pt x="18629" y="11680"/>
                  <a:pt x="18360" y="11342"/>
                  <a:pt x="18069" y="11034"/>
                </a:cubicBezTo>
                <a:cubicBezTo>
                  <a:pt x="17584" y="10521"/>
                  <a:pt x="17034" y="10102"/>
                  <a:pt x="16435" y="9806"/>
                </a:cubicBezTo>
                <a:cubicBezTo>
                  <a:pt x="15784" y="9487"/>
                  <a:pt x="15077" y="9306"/>
                  <a:pt x="14359" y="9306"/>
                </a:cubicBezTo>
                <a:close/>
                <a:moveTo>
                  <a:pt x="14359" y="10550"/>
                </a:moveTo>
                <a:cubicBezTo>
                  <a:pt x="15175" y="10550"/>
                  <a:pt x="15918" y="10829"/>
                  <a:pt x="16542" y="11277"/>
                </a:cubicBezTo>
                <a:cubicBezTo>
                  <a:pt x="16961" y="11579"/>
                  <a:pt x="17329" y="11948"/>
                  <a:pt x="17641" y="12375"/>
                </a:cubicBezTo>
                <a:cubicBezTo>
                  <a:pt x="17939" y="12785"/>
                  <a:pt x="18187" y="13247"/>
                  <a:pt x="18374" y="13716"/>
                </a:cubicBezTo>
                <a:cubicBezTo>
                  <a:pt x="18518" y="14081"/>
                  <a:pt x="18627" y="14458"/>
                  <a:pt x="18695" y="14831"/>
                </a:cubicBezTo>
                <a:cubicBezTo>
                  <a:pt x="18698" y="14847"/>
                  <a:pt x="18693" y="14848"/>
                  <a:pt x="18695" y="14863"/>
                </a:cubicBezTo>
                <a:cubicBezTo>
                  <a:pt x="18918" y="16159"/>
                  <a:pt x="18676" y="17400"/>
                  <a:pt x="18008" y="18369"/>
                </a:cubicBezTo>
                <a:cubicBezTo>
                  <a:pt x="17411" y="19230"/>
                  <a:pt x="15988" y="20161"/>
                  <a:pt x="15015" y="20308"/>
                </a:cubicBezTo>
                <a:cubicBezTo>
                  <a:pt x="14820" y="20338"/>
                  <a:pt x="14619" y="20356"/>
                  <a:pt x="14420" y="20356"/>
                </a:cubicBezTo>
                <a:cubicBezTo>
                  <a:pt x="12621" y="20356"/>
                  <a:pt x="11021" y="19106"/>
                  <a:pt x="10328" y="17319"/>
                </a:cubicBezTo>
                <a:cubicBezTo>
                  <a:pt x="10300" y="17241"/>
                  <a:pt x="10264" y="17169"/>
                  <a:pt x="10237" y="17093"/>
                </a:cubicBezTo>
                <a:cubicBezTo>
                  <a:pt x="10213" y="17016"/>
                  <a:pt x="10198" y="16930"/>
                  <a:pt x="10176" y="16850"/>
                </a:cubicBezTo>
                <a:cubicBezTo>
                  <a:pt x="10107" y="16607"/>
                  <a:pt x="10041" y="16363"/>
                  <a:pt x="10008" y="16107"/>
                </a:cubicBezTo>
                <a:cubicBezTo>
                  <a:pt x="9970" y="15836"/>
                  <a:pt x="9970" y="15568"/>
                  <a:pt x="9977" y="15299"/>
                </a:cubicBezTo>
                <a:cubicBezTo>
                  <a:pt x="9980" y="15205"/>
                  <a:pt x="9984" y="15101"/>
                  <a:pt x="9992" y="15009"/>
                </a:cubicBezTo>
                <a:cubicBezTo>
                  <a:pt x="10000" y="14912"/>
                  <a:pt x="10010" y="14828"/>
                  <a:pt x="10023" y="14734"/>
                </a:cubicBezTo>
                <a:cubicBezTo>
                  <a:pt x="10061" y="14458"/>
                  <a:pt x="10126" y="14189"/>
                  <a:pt x="10206" y="13926"/>
                </a:cubicBezTo>
                <a:cubicBezTo>
                  <a:pt x="10238" y="13822"/>
                  <a:pt x="10273" y="13706"/>
                  <a:pt x="10313" y="13603"/>
                </a:cubicBezTo>
                <a:cubicBezTo>
                  <a:pt x="10355" y="13492"/>
                  <a:pt x="10401" y="13390"/>
                  <a:pt x="10450" y="13280"/>
                </a:cubicBezTo>
                <a:cubicBezTo>
                  <a:pt x="10639" y="12873"/>
                  <a:pt x="10870" y="12489"/>
                  <a:pt x="11153" y="12149"/>
                </a:cubicBezTo>
                <a:cubicBezTo>
                  <a:pt x="11587" y="11628"/>
                  <a:pt x="12131" y="11203"/>
                  <a:pt x="12740" y="10921"/>
                </a:cubicBezTo>
                <a:cubicBezTo>
                  <a:pt x="12817" y="10886"/>
                  <a:pt x="12891" y="10855"/>
                  <a:pt x="12970" y="10824"/>
                </a:cubicBezTo>
                <a:cubicBezTo>
                  <a:pt x="13048" y="10793"/>
                  <a:pt x="13132" y="10770"/>
                  <a:pt x="13214" y="10743"/>
                </a:cubicBezTo>
                <a:cubicBezTo>
                  <a:pt x="13272" y="10724"/>
                  <a:pt x="13337" y="10694"/>
                  <a:pt x="13397" y="10679"/>
                </a:cubicBezTo>
                <a:cubicBezTo>
                  <a:pt x="13459" y="10663"/>
                  <a:pt x="13516" y="10642"/>
                  <a:pt x="13580" y="10630"/>
                </a:cubicBezTo>
                <a:cubicBezTo>
                  <a:pt x="13844" y="10571"/>
                  <a:pt x="14098" y="10550"/>
                  <a:pt x="14359" y="10550"/>
                </a:cubicBezTo>
                <a:close/>
                <a:moveTo>
                  <a:pt x="14420" y="11374"/>
                </a:moveTo>
                <a:cubicBezTo>
                  <a:pt x="14272" y="11374"/>
                  <a:pt x="14145" y="11434"/>
                  <a:pt x="14054" y="11535"/>
                </a:cubicBezTo>
                <a:cubicBezTo>
                  <a:pt x="13967" y="11631"/>
                  <a:pt x="13908" y="11756"/>
                  <a:pt x="13916" y="11907"/>
                </a:cubicBezTo>
                <a:lnTo>
                  <a:pt x="13916" y="11923"/>
                </a:lnTo>
                <a:cubicBezTo>
                  <a:pt x="13804" y="11937"/>
                  <a:pt x="13703" y="11946"/>
                  <a:pt x="13595" y="11971"/>
                </a:cubicBezTo>
                <a:cubicBezTo>
                  <a:pt x="13491" y="11997"/>
                  <a:pt x="13384" y="12029"/>
                  <a:pt x="13290" y="12068"/>
                </a:cubicBezTo>
                <a:cubicBezTo>
                  <a:pt x="13207" y="12099"/>
                  <a:pt x="13137" y="12140"/>
                  <a:pt x="13061" y="12181"/>
                </a:cubicBezTo>
                <a:cubicBezTo>
                  <a:pt x="12979" y="12226"/>
                  <a:pt x="12891" y="12271"/>
                  <a:pt x="12817" y="12327"/>
                </a:cubicBezTo>
                <a:cubicBezTo>
                  <a:pt x="12715" y="12402"/>
                  <a:pt x="12626" y="12490"/>
                  <a:pt x="12542" y="12585"/>
                </a:cubicBezTo>
                <a:cubicBezTo>
                  <a:pt x="12494" y="12643"/>
                  <a:pt x="12460" y="12715"/>
                  <a:pt x="12420" y="12779"/>
                </a:cubicBezTo>
                <a:cubicBezTo>
                  <a:pt x="12224" y="13103"/>
                  <a:pt x="12170" y="13506"/>
                  <a:pt x="12267" y="13926"/>
                </a:cubicBezTo>
                <a:cubicBezTo>
                  <a:pt x="12281" y="13985"/>
                  <a:pt x="12296" y="14047"/>
                  <a:pt x="12313" y="14104"/>
                </a:cubicBezTo>
                <a:cubicBezTo>
                  <a:pt x="12415" y="14405"/>
                  <a:pt x="12587" y="14675"/>
                  <a:pt x="12802" y="14879"/>
                </a:cubicBezTo>
                <a:cubicBezTo>
                  <a:pt x="12868" y="14943"/>
                  <a:pt x="12928" y="14993"/>
                  <a:pt x="13000" y="15041"/>
                </a:cubicBezTo>
                <a:cubicBezTo>
                  <a:pt x="13069" y="15086"/>
                  <a:pt x="13139" y="15123"/>
                  <a:pt x="13214" y="15154"/>
                </a:cubicBezTo>
                <a:cubicBezTo>
                  <a:pt x="13230" y="15160"/>
                  <a:pt x="13244" y="15164"/>
                  <a:pt x="13260" y="15170"/>
                </a:cubicBezTo>
                <a:cubicBezTo>
                  <a:pt x="13522" y="15270"/>
                  <a:pt x="13794" y="15329"/>
                  <a:pt x="14054" y="15380"/>
                </a:cubicBezTo>
                <a:cubicBezTo>
                  <a:pt x="14071" y="15938"/>
                  <a:pt x="14092" y="16518"/>
                  <a:pt x="14099" y="17141"/>
                </a:cubicBezTo>
                <a:cubicBezTo>
                  <a:pt x="13814" y="16974"/>
                  <a:pt x="13529" y="16749"/>
                  <a:pt x="13336" y="16527"/>
                </a:cubicBezTo>
                <a:cubicBezTo>
                  <a:pt x="13229" y="16403"/>
                  <a:pt x="13102" y="16349"/>
                  <a:pt x="12954" y="16349"/>
                </a:cubicBezTo>
                <a:cubicBezTo>
                  <a:pt x="12738" y="16349"/>
                  <a:pt x="12527" y="16487"/>
                  <a:pt x="12435" y="16705"/>
                </a:cubicBezTo>
                <a:cubicBezTo>
                  <a:pt x="12353" y="16907"/>
                  <a:pt x="12380" y="17133"/>
                  <a:pt x="12527" y="17303"/>
                </a:cubicBezTo>
                <a:cubicBezTo>
                  <a:pt x="12925" y="17761"/>
                  <a:pt x="13518" y="18156"/>
                  <a:pt x="14115" y="18385"/>
                </a:cubicBezTo>
                <a:lnTo>
                  <a:pt x="14115" y="18579"/>
                </a:lnTo>
                <a:cubicBezTo>
                  <a:pt x="14114" y="18741"/>
                  <a:pt x="14166" y="18876"/>
                  <a:pt x="14267" y="18983"/>
                </a:cubicBezTo>
                <a:cubicBezTo>
                  <a:pt x="14374" y="19097"/>
                  <a:pt x="14520" y="19161"/>
                  <a:pt x="14679" y="19161"/>
                </a:cubicBezTo>
                <a:cubicBezTo>
                  <a:pt x="14926" y="19161"/>
                  <a:pt x="15198" y="18995"/>
                  <a:pt x="15199" y="18627"/>
                </a:cubicBezTo>
                <a:lnTo>
                  <a:pt x="15199" y="18595"/>
                </a:lnTo>
                <a:cubicBezTo>
                  <a:pt x="15657" y="18580"/>
                  <a:pt x="16035" y="18429"/>
                  <a:pt x="16344" y="18127"/>
                </a:cubicBezTo>
                <a:cubicBezTo>
                  <a:pt x="16880" y="17600"/>
                  <a:pt x="17220" y="16852"/>
                  <a:pt x="17199" y="16220"/>
                </a:cubicBezTo>
                <a:cubicBezTo>
                  <a:pt x="17186" y="15846"/>
                  <a:pt x="17058" y="15515"/>
                  <a:pt x="16817" y="15251"/>
                </a:cubicBezTo>
                <a:cubicBezTo>
                  <a:pt x="16770" y="15202"/>
                  <a:pt x="16717" y="15149"/>
                  <a:pt x="16664" y="15105"/>
                </a:cubicBezTo>
                <a:cubicBezTo>
                  <a:pt x="16201" y="14711"/>
                  <a:pt x="15646" y="14532"/>
                  <a:pt x="15107" y="14411"/>
                </a:cubicBezTo>
                <a:cubicBezTo>
                  <a:pt x="15102" y="14248"/>
                  <a:pt x="15099" y="14091"/>
                  <a:pt x="15092" y="13926"/>
                </a:cubicBezTo>
                <a:cubicBezTo>
                  <a:pt x="15083" y="13665"/>
                  <a:pt x="15071" y="13410"/>
                  <a:pt x="15061" y="13151"/>
                </a:cubicBezTo>
                <a:cubicBezTo>
                  <a:pt x="15246" y="13202"/>
                  <a:pt x="15420" y="13264"/>
                  <a:pt x="15580" y="13345"/>
                </a:cubicBezTo>
                <a:cubicBezTo>
                  <a:pt x="15885" y="13493"/>
                  <a:pt x="16194" y="13305"/>
                  <a:pt x="16267" y="12957"/>
                </a:cubicBezTo>
                <a:cubicBezTo>
                  <a:pt x="16300" y="12794"/>
                  <a:pt x="16275" y="12605"/>
                  <a:pt x="16176" y="12456"/>
                </a:cubicBezTo>
                <a:cubicBezTo>
                  <a:pt x="16124" y="12379"/>
                  <a:pt x="16044" y="12311"/>
                  <a:pt x="15947" y="12262"/>
                </a:cubicBezTo>
                <a:cubicBezTo>
                  <a:pt x="15663" y="12123"/>
                  <a:pt x="15353" y="12016"/>
                  <a:pt x="15015" y="11955"/>
                </a:cubicBezTo>
                <a:cubicBezTo>
                  <a:pt x="14999" y="11577"/>
                  <a:pt x="14695" y="11374"/>
                  <a:pt x="14420" y="11374"/>
                </a:cubicBezTo>
                <a:close/>
                <a:moveTo>
                  <a:pt x="13977" y="13070"/>
                </a:moveTo>
                <a:cubicBezTo>
                  <a:pt x="13985" y="13260"/>
                  <a:pt x="13985" y="13446"/>
                  <a:pt x="13992" y="13635"/>
                </a:cubicBezTo>
                <a:cubicBezTo>
                  <a:pt x="14000" y="13821"/>
                  <a:pt x="14015" y="14015"/>
                  <a:pt x="14023" y="14201"/>
                </a:cubicBezTo>
                <a:cubicBezTo>
                  <a:pt x="13949" y="14183"/>
                  <a:pt x="13865" y="14156"/>
                  <a:pt x="13794" y="14136"/>
                </a:cubicBezTo>
                <a:cubicBezTo>
                  <a:pt x="13540" y="14070"/>
                  <a:pt x="13345" y="13865"/>
                  <a:pt x="13321" y="13635"/>
                </a:cubicBezTo>
                <a:cubicBezTo>
                  <a:pt x="13311" y="13540"/>
                  <a:pt x="13331" y="13452"/>
                  <a:pt x="13382" y="13377"/>
                </a:cubicBezTo>
                <a:cubicBezTo>
                  <a:pt x="13428" y="13308"/>
                  <a:pt x="13488" y="13248"/>
                  <a:pt x="13580" y="13199"/>
                </a:cubicBezTo>
                <a:cubicBezTo>
                  <a:pt x="13691" y="13139"/>
                  <a:pt x="13833" y="13096"/>
                  <a:pt x="13977" y="13070"/>
                </a:cubicBezTo>
                <a:close/>
                <a:moveTo>
                  <a:pt x="15153" y="15606"/>
                </a:moveTo>
                <a:cubicBezTo>
                  <a:pt x="15489" y="15701"/>
                  <a:pt x="15736" y="15815"/>
                  <a:pt x="15962" y="15978"/>
                </a:cubicBezTo>
                <a:cubicBezTo>
                  <a:pt x="16068" y="16057"/>
                  <a:pt x="16130" y="16172"/>
                  <a:pt x="16130" y="16317"/>
                </a:cubicBezTo>
                <a:cubicBezTo>
                  <a:pt x="16130" y="16674"/>
                  <a:pt x="15803" y="17128"/>
                  <a:pt x="15580" y="17286"/>
                </a:cubicBezTo>
                <a:cubicBezTo>
                  <a:pt x="15466" y="17366"/>
                  <a:pt x="15331" y="17431"/>
                  <a:pt x="15183" y="17448"/>
                </a:cubicBezTo>
                <a:cubicBezTo>
                  <a:pt x="15175" y="16808"/>
                  <a:pt x="15171" y="16197"/>
                  <a:pt x="15153" y="15606"/>
                </a:cubicBezTo>
                <a:close/>
              </a:path>
            </a:pathLst>
          </a:custGeom>
          <a:solidFill>
            <a:schemeClr val="bg1"/>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28" name="Oval 27">
            <a:extLst>
              <a:ext uri="{FF2B5EF4-FFF2-40B4-BE49-F238E27FC236}">
                <a16:creationId xmlns:a16="http://schemas.microsoft.com/office/drawing/2014/main" id="{275BDF48-41C1-4AE0-8042-11F7E4553841}"/>
              </a:ext>
            </a:extLst>
          </p:cNvPr>
          <p:cNvSpPr/>
          <p:nvPr/>
        </p:nvSpPr>
        <p:spPr>
          <a:xfrm>
            <a:off x="5854700" y="5362576"/>
            <a:ext cx="200025" cy="200025"/>
          </a:xfrm>
          <a:prstGeom prst="ellipse">
            <a:avLst/>
          </a:prstGeom>
          <a:solidFill>
            <a:srgbClr val="FF9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9" name="Shape 5773">
            <a:extLst>
              <a:ext uri="{FF2B5EF4-FFF2-40B4-BE49-F238E27FC236}">
                <a16:creationId xmlns:a16="http://schemas.microsoft.com/office/drawing/2014/main" id="{81E10EAF-8D30-4FFD-B4CA-6C011133DD91}"/>
              </a:ext>
            </a:extLst>
          </p:cNvPr>
          <p:cNvSpPr/>
          <p:nvPr/>
        </p:nvSpPr>
        <p:spPr>
          <a:xfrm>
            <a:off x="5882255" y="5368610"/>
            <a:ext cx="140717" cy="18759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6327" y="0"/>
                  <a:pt x="2697" y="2723"/>
                  <a:pt x="2697" y="6078"/>
                </a:cubicBezTo>
                <a:lnTo>
                  <a:pt x="2697" y="8772"/>
                </a:lnTo>
                <a:cubicBezTo>
                  <a:pt x="1208" y="8772"/>
                  <a:pt x="0" y="9684"/>
                  <a:pt x="0" y="10805"/>
                </a:cubicBezTo>
                <a:lnTo>
                  <a:pt x="0" y="15531"/>
                </a:lnTo>
                <a:cubicBezTo>
                  <a:pt x="0" y="18886"/>
                  <a:pt x="3630" y="21600"/>
                  <a:pt x="8103" y="21600"/>
                </a:cubicBezTo>
                <a:lnTo>
                  <a:pt x="13497" y="21600"/>
                </a:lnTo>
                <a:cubicBezTo>
                  <a:pt x="17970" y="21600"/>
                  <a:pt x="21600" y="18886"/>
                  <a:pt x="21600" y="15531"/>
                </a:cubicBezTo>
                <a:lnTo>
                  <a:pt x="21600" y="10805"/>
                </a:lnTo>
                <a:cubicBezTo>
                  <a:pt x="21600" y="9684"/>
                  <a:pt x="20393" y="8772"/>
                  <a:pt x="18903" y="8772"/>
                </a:cubicBezTo>
                <a:lnTo>
                  <a:pt x="18903" y="6078"/>
                </a:lnTo>
                <a:cubicBezTo>
                  <a:pt x="18903" y="2723"/>
                  <a:pt x="15273" y="0"/>
                  <a:pt x="10800" y="0"/>
                </a:cubicBezTo>
                <a:close/>
                <a:moveTo>
                  <a:pt x="10800" y="1352"/>
                </a:moveTo>
                <a:cubicBezTo>
                  <a:pt x="14275" y="1352"/>
                  <a:pt x="17101" y="3468"/>
                  <a:pt x="17101" y="6078"/>
                </a:cubicBezTo>
                <a:lnTo>
                  <a:pt x="17101" y="8772"/>
                </a:lnTo>
                <a:lnTo>
                  <a:pt x="15299" y="8772"/>
                </a:lnTo>
                <a:lnTo>
                  <a:pt x="15299" y="6078"/>
                </a:lnTo>
                <a:cubicBezTo>
                  <a:pt x="15299" y="4213"/>
                  <a:pt x="13282" y="2703"/>
                  <a:pt x="10800" y="2703"/>
                </a:cubicBezTo>
                <a:cubicBezTo>
                  <a:pt x="8313" y="2703"/>
                  <a:pt x="6301" y="4213"/>
                  <a:pt x="6301" y="6078"/>
                </a:cubicBezTo>
                <a:lnTo>
                  <a:pt x="6301" y="8772"/>
                </a:lnTo>
                <a:lnTo>
                  <a:pt x="4499" y="8772"/>
                </a:lnTo>
                <a:cubicBezTo>
                  <a:pt x="4499" y="8772"/>
                  <a:pt x="4499" y="6078"/>
                  <a:pt x="4499" y="6078"/>
                </a:cubicBezTo>
                <a:cubicBezTo>
                  <a:pt x="4499" y="3468"/>
                  <a:pt x="7321" y="1352"/>
                  <a:pt x="10800" y="1352"/>
                </a:cubicBezTo>
                <a:close/>
                <a:moveTo>
                  <a:pt x="10800" y="3375"/>
                </a:moveTo>
                <a:cubicBezTo>
                  <a:pt x="12786" y="3375"/>
                  <a:pt x="14404" y="4589"/>
                  <a:pt x="14404" y="6078"/>
                </a:cubicBezTo>
                <a:lnTo>
                  <a:pt x="14404" y="8772"/>
                </a:lnTo>
                <a:lnTo>
                  <a:pt x="7196" y="8772"/>
                </a:lnTo>
                <a:lnTo>
                  <a:pt x="7196" y="6078"/>
                </a:lnTo>
                <a:cubicBezTo>
                  <a:pt x="7196" y="4589"/>
                  <a:pt x="8810" y="3375"/>
                  <a:pt x="10800" y="3375"/>
                </a:cubicBezTo>
                <a:close/>
                <a:moveTo>
                  <a:pt x="2697" y="10124"/>
                </a:moveTo>
                <a:lnTo>
                  <a:pt x="18903" y="10124"/>
                </a:lnTo>
                <a:cubicBezTo>
                  <a:pt x="19399" y="10124"/>
                  <a:pt x="19798" y="10431"/>
                  <a:pt x="19798" y="10805"/>
                </a:cubicBezTo>
                <a:cubicBezTo>
                  <a:pt x="19798" y="10805"/>
                  <a:pt x="19798" y="12828"/>
                  <a:pt x="19798" y="12828"/>
                </a:cubicBezTo>
                <a:lnTo>
                  <a:pt x="19798" y="15531"/>
                </a:lnTo>
                <a:cubicBezTo>
                  <a:pt x="19798" y="18138"/>
                  <a:pt x="16968" y="20257"/>
                  <a:pt x="13497" y="20257"/>
                </a:cubicBezTo>
                <a:lnTo>
                  <a:pt x="8103" y="20257"/>
                </a:lnTo>
                <a:cubicBezTo>
                  <a:pt x="4631" y="20257"/>
                  <a:pt x="1802" y="18138"/>
                  <a:pt x="1802" y="15531"/>
                </a:cubicBezTo>
                <a:lnTo>
                  <a:pt x="1802" y="10805"/>
                </a:lnTo>
                <a:cubicBezTo>
                  <a:pt x="1802" y="10431"/>
                  <a:pt x="2200" y="10124"/>
                  <a:pt x="2697" y="10124"/>
                </a:cubicBezTo>
                <a:close/>
                <a:moveTo>
                  <a:pt x="10825" y="12947"/>
                </a:moveTo>
                <a:cubicBezTo>
                  <a:pt x="9832" y="12947"/>
                  <a:pt x="9022" y="13550"/>
                  <a:pt x="9022" y="14299"/>
                </a:cubicBezTo>
                <a:cubicBezTo>
                  <a:pt x="9022" y="14707"/>
                  <a:pt x="9320" y="15485"/>
                  <a:pt x="9623" y="16101"/>
                </a:cubicBezTo>
                <a:cubicBezTo>
                  <a:pt x="9864" y="16602"/>
                  <a:pt x="10174" y="17002"/>
                  <a:pt x="10825" y="17002"/>
                </a:cubicBezTo>
                <a:cubicBezTo>
                  <a:pt x="11528" y="17002"/>
                  <a:pt x="11780" y="16608"/>
                  <a:pt x="12026" y="16110"/>
                </a:cubicBezTo>
                <a:cubicBezTo>
                  <a:pt x="12329" y="15494"/>
                  <a:pt x="12627" y="14710"/>
                  <a:pt x="12627" y="14299"/>
                </a:cubicBezTo>
                <a:cubicBezTo>
                  <a:pt x="12627" y="13550"/>
                  <a:pt x="11818" y="12947"/>
                  <a:pt x="10825" y="12947"/>
                </a:cubicBezTo>
                <a:close/>
              </a:path>
            </a:pathLst>
          </a:custGeom>
          <a:solidFill>
            <a:schemeClr val="bg1"/>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Tree>
    <p:extLst>
      <p:ext uri="{BB962C8B-B14F-4D97-AF65-F5344CB8AC3E}">
        <p14:creationId xmlns:p14="http://schemas.microsoft.com/office/powerpoint/2010/main" val="3818207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iterate>
                                    <p:tmAbs val="0"/>
                                  </p:iterate>
                                  <p:childTnLst>
                                    <p:set>
                                      <p:cBhvr>
                                        <p:cTn id="6" fill="hold"/>
                                        <p:tgtEl>
                                          <p:spTgt spid="6"/>
                                        </p:tgtEl>
                                        <p:attrNameLst>
                                          <p:attrName>style.visibility</p:attrName>
                                        </p:attrNameLst>
                                      </p:cBhvr>
                                      <p:to>
                                        <p:strVal val="visible"/>
                                      </p:to>
                                    </p:set>
                                    <p:anim calcmode="lin" valueType="num">
                                      <p:cBhvr>
                                        <p:cTn id="7" dur="500" fill="hold"/>
                                        <p:tgtEl>
                                          <p:spTgt spid="6"/>
                                        </p:tgtEl>
                                        <p:attrNameLst>
                                          <p:attrName>ppt_x</p:attrName>
                                        </p:attrNameLst>
                                      </p:cBhvr>
                                      <p:tavLst>
                                        <p:tav tm="0">
                                          <p:val>
                                            <p:strVal val="1+#ppt_w/2"/>
                                          </p:val>
                                        </p:tav>
                                        <p:tav tm="100000">
                                          <p:val>
                                            <p:strVal val="#ppt_x"/>
                                          </p:val>
                                        </p:tav>
                                      </p:tavLst>
                                    </p:anim>
                                    <p:anim calcmode="lin" valueType="num">
                                      <p:cBhvr>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iterate>
                                    <p:tmAbs val="0"/>
                                  </p:iterate>
                                  <p:childTnLst>
                                    <p:set>
                                      <p:cBhvr>
                                        <p:cTn id="10" fill="hold"/>
                                        <p:tgtEl>
                                          <p:spTgt spid="7"/>
                                        </p:tgtEl>
                                        <p:attrNameLst>
                                          <p:attrName>style.visibility</p:attrName>
                                        </p:attrNameLst>
                                      </p:cBhvr>
                                      <p:to>
                                        <p:strVal val="visible"/>
                                      </p:to>
                                    </p:set>
                                    <p:anim calcmode="lin" valueType="num">
                                      <p:cBhvr>
                                        <p:cTn id="11" dur="500" fill="hold"/>
                                        <p:tgtEl>
                                          <p:spTgt spid="7"/>
                                        </p:tgtEl>
                                        <p:attrNameLst>
                                          <p:attrName>ppt_x</p:attrName>
                                        </p:attrNameLst>
                                      </p:cBhvr>
                                      <p:tavLst>
                                        <p:tav tm="0">
                                          <p:val>
                                            <p:strVal val="1+#ppt_w/2"/>
                                          </p:val>
                                        </p:tav>
                                        <p:tav tm="100000">
                                          <p:val>
                                            <p:strVal val="#ppt_x"/>
                                          </p:val>
                                        </p:tav>
                                      </p:tavLst>
                                    </p:anim>
                                    <p:anim calcmode="lin" valueType="num">
                                      <p:cBhvr>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iterate>
                                    <p:tmAbs val="0"/>
                                  </p:iterate>
                                  <p:childTnLst>
                                    <p:set>
                                      <p:cBhvr>
                                        <p:cTn id="14" fill="hold"/>
                                        <p:tgtEl>
                                          <p:spTgt spid="8"/>
                                        </p:tgtEl>
                                        <p:attrNameLst>
                                          <p:attrName>style.visibility</p:attrName>
                                        </p:attrNameLst>
                                      </p:cBhvr>
                                      <p:to>
                                        <p:strVal val="visible"/>
                                      </p:to>
                                    </p:set>
                                    <p:anim calcmode="lin" valueType="num">
                                      <p:cBhvr>
                                        <p:cTn id="15" dur="500" fill="hold"/>
                                        <p:tgtEl>
                                          <p:spTgt spid="8"/>
                                        </p:tgtEl>
                                        <p:attrNameLst>
                                          <p:attrName>ppt_x</p:attrName>
                                        </p:attrNameLst>
                                      </p:cBhvr>
                                      <p:tavLst>
                                        <p:tav tm="0">
                                          <p:val>
                                            <p:strVal val="1+#ppt_w/2"/>
                                          </p:val>
                                        </p:tav>
                                        <p:tav tm="100000">
                                          <p:val>
                                            <p:strVal val="#ppt_x"/>
                                          </p:val>
                                        </p:tav>
                                      </p:tavLst>
                                    </p:anim>
                                    <p:anim calcmode="lin" valueType="num">
                                      <p:cBhvr>
                                        <p:cTn id="16" dur="5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iterate>
                                    <p:tmAbs val="0"/>
                                  </p:iterate>
                                  <p:childTnLst>
                                    <p:set>
                                      <p:cBhvr>
                                        <p:cTn id="18" fill="hold"/>
                                        <p:tgtEl>
                                          <p:spTgt spid="9"/>
                                        </p:tgtEl>
                                        <p:attrNameLst>
                                          <p:attrName>style.visibility</p:attrName>
                                        </p:attrNameLst>
                                      </p:cBhvr>
                                      <p:to>
                                        <p:strVal val="visible"/>
                                      </p:to>
                                    </p:set>
                                    <p:anim calcmode="lin" valueType="num">
                                      <p:cBhvr>
                                        <p:cTn id="19" dur="500" fill="hold"/>
                                        <p:tgtEl>
                                          <p:spTgt spid="9"/>
                                        </p:tgtEl>
                                        <p:attrNameLst>
                                          <p:attrName>ppt_x</p:attrName>
                                        </p:attrNameLst>
                                      </p:cBhvr>
                                      <p:tavLst>
                                        <p:tav tm="0">
                                          <p:val>
                                            <p:strVal val="1+#ppt_w/2"/>
                                          </p:val>
                                        </p:tav>
                                        <p:tav tm="100000">
                                          <p:val>
                                            <p:strVal val="#ppt_x"/>
                                          </p:val>
                                        </p:tav>
                                      </p:tavLst>
                                    </p:anim>
                                    <p:anim calcmode="lin" valueType="num">
                                      <p:cBhvr>
                                        <p:cTn id="20"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dvAuto="0"/>
      <p:bldP spid="7" grpId="0" animBg="1" advAuto="0"/>
      <p:bldP spid="8" grpId="0" animBg="1" advAuto="0"/>
      <p:bldP spid="9" grpId="0" animBg="1" advAuto="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EB1265E-0A2C-4E7E-AD6B-1CAABB91DC73}"/>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LIFE </a:t>
            </a:r>
            <a:r>
              <a:rPr lang="en-US" sz="3200" spc="-150" dirty="0">
                <a:solidFill>
                  <a:srgbClr val="1E3ADA"/>
                </a:solidFill>
                <a:latin typeface="Work Sans" panose="00000500000000000000" pitchFamily="50" charset="0"/>
                <a:cs typeface="Segoe UI" panose="020B0502040204020203" pitchFamily="34" charset="0"/>
              </a:rPr>
              <a:t>@</a:t>
            </a:r>
            <a:r>
              <a:rPr lang="en-US" sz="3200" b="1" spc="-150" dirty="0">
                <a:solidFill>
                  <a:srgbClr val="1E3ADA"/>
                </a:solidFill>
                <a:latin typeface="Work Sans" panose="00000500000000000000" pitchFamily="50" charset="0"/>
                <a:cs typeface="Segoe UI" panose="020B0502040204020203" pitchFamily="34" charset="0"/>
              </a:rPr>
              <a:t> </a:t>
            </a:r>
            <a:r>
              <a:rPr lang="en-US" sz="3200" spc="-150" dirty="0">
                <a:solidFill>
                  <a:srgbClr val="1E3ADA"/>
                </a:solidFill>
                <a:latin typeface="Work Sans" panose="00000500000000000000" pitchFamily="50" charset="0"/>
                <a:cs typeface="Segoe UI" panose="020B0502040204020203" pitchFamily="34" charset="0"/>
              </a:rPr>
              <a:t>INFINITE : WORK ENVIRONMENT</a:t>
            </a:r>
          </a:p>
        </p:txBody>
      </p:sp>
      <p:sp>
        <p:nvSpPr>
          <p:cNvPr id="5" name="Content Placeholder 2">
            <a:extLst>
              <a:ext uri="{FF2B5EF4-FFF2-40B4-BE49-F238E27FC236}">
                <a16:creationId xmlns:a16="http://schemas.microsoft.com/office/drawing/2014/main" id="{B9BEA990-8E04-4167-A272-B20B9B0B31AB}"/>
              </a:ext>
            </a:extLst>
          </p:cNvPr>
          <p:cNvSpPr txBox="1">
            <a:spLocks/>
          </p:cNvSpPr>
          <p:nvPr/>
        </p:nvSpPr>
        <p:spPr>
          <a:xfrm>
            <a:off x="153141" y="1198557"/>
            <a:ext cx="6215378" cy="2956312"/>
          </a:xfrm>
          <a:prstGeom prst="rect">
            <a:avLst/>
          </a:prstGeom>
        </p:spPr>
        <p:txBody>
          <a:bodyPr vert="horz" lIns="91436" tIns="45719" rIns="91436" bIns="45719" rtlCol="0">
            <a:normAutofit/>
          </a:bodyPr>
          <a:lstStyle>
            <a:lvl1pPr marL="342885" indent="-342885" algn="l" defTabSz="914361" rtl="0" eaLnBrk="1" latinLnBrk="0" hangingPunct="1">
              <a:spcBef>
                <a:spcPct val="20000"/>
              </a:spcBef>
              <a:buFont typeface="Arial" pitchFamily="34" charset="0"/>
              <a:buChar char="•"/>
              <a:defRPr sz="3200" kern="1200">
                <a:solidFill>
                  <a:schemeClr val="tx1">
                    <a:lumMod val="75000"/>
                    <a:lumOff val="25000"/>
                  </a:schemeClr>
                </a:solidFill>
                <a:latin typeface="+mn-lt"/>
                <a:ea typeface="+mn-ea"/>
                <a:cs typeface="+mn-cs"/>
              </a:defRPr>
            </a:lvl1pPr>
            <a:lvl2pPr marL="742919" indent="-285738" algn="l" defTabSz="914361" rtl="0" eaLnBrk="1" latinLnBrk="0" hangingPunct="1">
              <a:spcBef>
                <a:spcPct val="20000"/>
              </a:spcBef>
              <a:buFont typeface="Arial" pitchFamily="34" charset="0"/>
              <a:buChar char="–"/>
              <a:defRPr sz="2800" kern="1200">
                <a:solidFill>
                  <a:schemeClr val="tx1">
                    <a:lumMod val="75000"/>
                    <a:lumOff val="25000"/>
                  </a:schemeClr>
                </a:solidFill>
                <a:latin typeface="+mn-lt"/>
                <a:ea typeface="+mn-ea"/>
                <a:cs typeface="+mn-cs"/>
              </a:defRPr>
            </a:lvl2pPr>
            <a:lvl3pPr marL="1142952" indent="-228591" algn="l" defTabSz="914361" rtl="0" eaLnBrk="1" latinLnBrk="0" hangingPunct="1">
              <a:spcBef>
                <a:spcPct val="20000"/>
              </a:spcBef>
              <a:buFont typeface="Arial" pitchFamily="34" charset="0"/>
              <a:buChar char="•"/>
              <a:defRPr sz="2400" kern="1200">
                <a:solidFill>
                  <a:schemeClr val="tx1">
                    <a:lumMod val="75000"/>
                    <a:lumOff val="25000"/>
                  </a:schemeClr>
                </a:solidFill>
                <a:latin typeface="+mn-lt"/>
                <a:ea typeface="+mn-ea"/>
                <a:cs typeface="+mn-cs"/>
              </a:defRPr>
            </a:lvl3pPr>
            <a:lvl4pPr marL="1600133" indent="-228591" algn="l" defTabSz="914361" rtl="0" eaLnBrk="1" latinLnBrk="0" hangingPunct="1">
              <a:spcBef>
                <a:spcPct val="20000"/>
              </a:spcBef>
              <a:buFont typeface="Arial" pitchFamily="34" charset="0"/>
              <a:buChar char="–"/>
              <a:defRPr sz="2000" kern="1200">
                <a:solidFill>
                  <a:schemeClr val="tx1">
                    <a:lumMod val="75000"/>
                    <a:lumOff val="25000"/>
                  </a:schemeClr>
                </a:solidFill>
                <a:latin typeface="+mn-lt"/>
                <a:ea typeface="+mn-ea"/>
                <a:cs typeface="+mn-cs"/>
              </a:defRPr>
            </a:lvl4pPr>
            <a:lvl5pPr marL="2057315" indent="-228591" algn="l" defTabSz="914361" rtl="0" eaLnBrk="1" latinLnBrk="0" hangingPunct="1">
              <a:spcBef>
                <a:spcPct val="20000"/>
              </a:spcBef>
              <a:buFont typeface="Arial" pitchFamily="34" charset="0"/>
              <a:buChar char="»"/>
              <a:defRPr sz="2000" kern="1200">
                <a:solidFill>
                  <a:schemeClr val="tx1">
                    <a:lumMod val="75000"/>
                    <a:lumOff val="25000"/>
                  </a:schemeClr>
                </a:solidFill>
                <a:latin typeface="+mn-lt"/>
                <a:ea typeface="+mn-ea"/>
                <a:cs typeface="+mn-cs"/>
              </a:defRPr>
            </a:lvl5pPr>
            <a:lvl6pPr marL="2514495" indent="-228591" algn="l" defTabSz="9143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76" indent="-228591" algn="l" defTabSz="9143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57" indent="-228591" algn="l" defTabSz="9143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38" indent="-228591" algn="l" defTabSz="9143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Provide a safe, healthy workplace free from any harassment.</a:t>
            </a:r>
          </a:p>
          <a:p>
            <a:endParaRPr lang="en-US" sz="1800" dirty="0"/>
          </a:p>
          <a:p>
            <a:r>
              <a:rPr lang="en-US" sz="1800" dirty="0"/>
              <a:t>Report any suspected harassment, any unwelcome acts at workplace, helping sustain a healthy work environment or fraud to Management or H.R</a:t>
            </a:r>
            <a:r>
              <a:rPr lang="en-US" sz="1800" b="1" dirty="0"/>
              <a:t>. </a:t>
            </a:r>
          </a:p>
          <a:p>
            <a:pPr marL="0" indent="0">
              <a:buNone/>
            </a:pPr>
            <a:endParaRPr lang="en-US" sz="1800" dirty="0"/>
          </a:p>
          <a:p>
            <a:r>
              <a:rPr lang="en-US" sz="1800" b="1" dirty="0"/>
              <a:t>It's not about intent. It's about impact.</a:t>
            </a:r>
          </a:p>
        </p:txBody>
      </p:sp>
      <p:pic>
        <p:nvPicPr>
          <p:cNvPr id="9" name="Picture 8" descr="888077_92439238">
            <a:extLst>
              <a:ext uri="{FF2B5EF4-FFF2-40B4-BE49-F238E27FC236}">
                <a16:creationId xmlns:a16="http://schemas.microsoft.com/office/drawing/2014/main" id="{AA353741-ED22-4795-BD46-2F5B5719D4D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00480" y="4302929"/>
            <a:ext cx="5695520" cy="2049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Rounded Corners 9">
            <a:extLst>
              <a:ext uri="{FF2B5EF4-FFF2-40B4-BE49-F238E27FC236}">
                <a16:creationId xmlns:a16="http://schemas.microsoft.com/office/drawing/2014/main" id="{AE268D83-ED12-4E81-8BDE-211E0BD7218F}"/>
              </a:ext>
            </a:extLst>
          </p:cNvPr>
          <p:cNvSpPr/>
          <p:nvPr/>
        </p:nvSpPr>
        <p:spPr>
          <a:xfrm>
            <a:off x="6693758" y="1012873"/>
            <a:ext cx="5220000" cy="5220000"/>
          </a:xfrm>
          <a:prstGeom prst="roundRect">
            <a:avLst>
              <a:gd name="adj" fmla="val 2726"/>
            </a:avLst>
          </a:prstGeom>
          <a:noFill/>
          <a:ln>
            <a:solidFill>
              <a:srgbClr val="00B6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descr="A picture containing person, person, suit, indoor&#10;&#10;Description automatically generated">
            <a:extLst>
              <a:ext uri="{FF2B5EF4-FFF2-40B4-BE49-F238E27FC236}">
                <a16:creationId xmlns:a16="http://schemas.microsoft.com/office/drawing/2014/main" id="{7ED657C8-ACC0-442F-971C-72C0186899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18826" y="4355455"/>
            <a:ext cx="1987735" cy="1987735"/>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36868086-37CE-4E82-928B-5F6490840D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12984" y="1344657"/>
            <a:ext cx="3025875" cy="2021285"/>
          </a:xfrm>
          <a:prstGeom prst="rect">
            <a:avLst/>
          </a:prstGeom>
        </p:spPr>
      </p:pic>
      <p:pic>
        <p:nvPicPr>
          <p:cNvPr id="14" name="Picture 13">
            <a:extLst>
              <a:ext uri="{FF2B5EF4-FFF2-40B4-BE49-F238E27FC236}">
                <a16:creationId xmlns:a16="http://schemas.microsoft.com/office/drawing/2014/main" id="{554ED762-660C-40C6-A07F-40F2811EE2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68657" y="3492059"/>
            <a:ext cx="3124930" cy="2087454"/>
          </a:xfrm>
          <a:prstGeom prst="rect">
            <a:avLst/>
          </a:prstGeom>
        </p:spPr>
      </p:pic>
      <p:pic>
        <p:nvPicPr>
          <p:cNvPr id="16" name="Picture 15">
            <a:extLst>
              <a:ext uri="{FF2B5EF4-FFF2-40B4-BE49-F238E27FC236}">
                <a16:creationId xmlns:a16="http://schemas.microsoft.com/office/drawing/2014/main" id="{AE0FE8FE-FFC6-40C6-96EE-B74EA6C6694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09910" y="781085"/>
            <a:ext cx="2567728" cy="1853900"/>
          </a:xfrm>
          <a:prstGeom prst="rect">
            <a:avLst/>
          </a:prstGeom>
        </p:spPr>
      </p:pic>
    </p:spTree>
    <p:extLst>
      <p:ext uri="{BB962C8B-B14F-4D97-AF65-F5344CB8AC3E}">
        <p14:creationId xmlns:p14="http://schemas.microsoft.com/office/powerpoint/2010/main" val="18036533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BBE2516D-B228-48BA-A9EA-6D7F071FDC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28"/>
            <a:ext cx="12192000" cy="6857143"/>
          </a:xfrm>
          <a:prstGeom prst="rect">
            <a:avLst/>
          </a:prstGeom>
        </p:spPr>
      </p:pic>
      <p:sp>
        <p:nvSpPr>
          <p:cNvPr id="8" name="Rectangle 7">
            <a:extLst>
              <a:ext uri="{FF2B5EF4-FFF2-40B4-BE49-F238E27FC236}">
                <a16:creationId xmlns:a16="http://schemas.microsoft.com/office/drawing/2014/main" id="{43B122B8-5F88-4103-852B-6BDCC87B5C93}"/>
              </a:ext>
            </a:extLst>
          </p:cNvPr>
          <p:cNvSpPr/>
          <p:nvPr/>
        </p:nvSpPr>
        <p:spPr>
          <a:xfrm>
            <a:off x="1095347" y="3268760"/>
            <a:ext cx="4096437" cy="1938992"/>
          </a:xfrm>
          <a:prstGeom prst="rect">
            <a:avLst/>
          </a:prstGeom>
        </p:spPr>
        <p:txBody>
          <a:bodyPr wrap="square">
            <a:spAutoFit/>
          </a:bodyPr>
          <a:lstStyle/>
          <a:p>
            <a:r>
              <a:rPr lang="en-US" sz="4000" b="1" spc="-150" dirty="0">
                <a:solidFill>
                  <a:srgbClr val="7E249F"/>
                </a:solidFill>
                <a:latin typeface="Work Sans" panose="00000500000000000000" pitchFamily="50" charset="0"/>
              </a:rPr>
              <a:t>TIME SHEET &amp;</a:t>
            </a:r>
            <a:br>
              <a:rPr lang="en-US" sz="4000" b="1" spc="-150" dirty="0">
                <a:solidFill>
                  <a:srgbClr val="7E249F"/>
                </a:solidFill>
                <a:latin typeface="Work Sans" panose="00000500000000000000" pitchFamily="50" charset="0"/>
              </a:rPr>
            </a:br>
            <a:r>
              <a:rPr lang="en-US" sz="4000" b="1" spc="-150" dirty="0">
                <a:solidFill>
                  <a:srgbClr val="7E249F"/>
                </a:solidFill>
                <a:latin typeface="Work Sans" panose="00000500000000000000" pitchFamily="50" charset="0"/>
              </a:rPr>
              <a:t>PAYROLL OVERVIEW</a:t>
            </a:r>
          </a:p>
        </p:txBody>
      </p:sp>
      <p:sp>
        <p:nvSpPr>
          <p:cNvPr id="9" name="TextBox 8">
            <a:extLst>
              <a:ext uri="{FF2B5EF4-FFF2-40B4-BE49-F238E27FC236}">
                <a16:creationId xmlns:a16="http://schemas.microsoft.com/office/drawing/2014/main" id="{47533BA6-E1D8-4116-8E7F-2A1DFC29F4B9}"/>
              </a:ext>
            </a:extLst>
          </p:cNvPr>
          <p:cNvSpPr txBox="1"/>
          <p:nvPr/>
        </p:nvSpPr>
        <p:spPr>
          <a:xfrm>
            <a:off x="97722" y="-981988"/>
            <a:ext cx="4842992" cy="4939814"/>
          </a:xfrm>
          <a:prstGeom prst="rect">
            <a:avLst/>
          </a:prstGeom>
          <a:noFill/>
        </p:spPr>
        <p:txBody>
          <a:bodyPr wrap="none" rtlCol="0">
            <a:spAutoFit/>
          </a:bodyPr>
          <a:lstStyle/>
          <a:p>
            <a:r>
              <a:rPr lang="en-US" sz="31500" spc="-300" dirty="0">
                <a:solidFill>
                  <a:srgbClr val="00B6AD">
                    <a:alpha val="60000"/>
                  </a:srgbClr>
                </a:solidFill>
                <a:latin typeface="Work Sans Light" panose="00000400000000000000" pitchFamily="50" charset="0"/>
              </a:rPr>
              <a:t>03</a:t>
            </a:r>
            <a:endParaRPr lang="en-IN" sz="31500" spc="-300" dirty="0">
              <a:solidFill>
                <a:srgbClr val="00B6AD">
                  <a:alpha val="60000"/>
                </a:srgbClr>
              </a:solidFill>
              <a:latin typeface="Work Sans Light" panose="00000400000000000000" pitchFamily="50" charset="0"/>
            </a:endParaRPr>
          </a:p>
        </p:txBody>
      </p:sp>
    </p:spTree>
    <p:extLst>
      <p:ext uri="{BB962C8B-B14F-4D97-AF65-F5344CB8AC3E}">
        <p14:creationId xmlns:p14="http://schemas.microsoft.com/office/powerpoint/2010/main" val="3918921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75975-177C-AF7F-5808-AA9CB50364EF}"/>
            </a:ext>
          </a:extLst>
        </p:cNvPr>
        <p:cNvGrpSpPr/>
        <p:nvPr/>
      </p:nvGrpSpPr>
      <p:grpSpPr>
        <a:xfrm>
          <a:off x="0" y="0"/>
          <a:ext cx="0" cy="0"/>
          <a:chOff x="0" y="0"/>
          <a:chExt cx="0" cy="0"/>
        </a:xfrm>
      </p:grpSpPr>
      <p:sp>
        <p:nvSpPr>
          <p:cNvPr id="49" name="Rectangle 48">
            <a:extLst>
              <a:ext uri="{FF2B5EF4-FFF2-40B4-BE49-F238E27FC236}">
                <a16:creationId xmlns:a16="http://schemas.microsoft.com/office/drawing/2014/main" id="{555A02CE-69BD-8EAE-CDF6-08AF2A369917}"/>
              </a:ext>
            </a:extLst>
          </p:cNvPr>
          <p:cNvSpPr/>
          <p:nvPr/>
        </p:nvSpPr>
        <p:spPr>
          <a:xfrm>
            <a:off x="2" y="0"/>
            <a:ext cx="4307285" cy="6857999"/>
          </a:xfrm>
          <a:prstGeom prst="rect">
            <a:avLst/>
          </a:prstGeom>
          <a:solidFill>
            <a:srgbClr val="0134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3BB0E6AC-9580-F7A1-0C43-636B24154A66}"/>
              </a:ext>
            </a:extLst>
          </p:cNvPr>
          <p:cNvSpPr>
            <a:spLocks noGrp="1"/>
          </p:cNvSpPr>
          <p:nvPr>
            <p:ph type="title"/>
          </p:nvPr>
        </p:nvSpPr>
        <p:spPr/>
        <p:txBody>
          <a:bodyPr/>
          <a:lstStyle/>
          <a:p>
            <a:r>
              <a:rPr lang="en-US">
                <a:solidFill>
                  <a:schemeClr val="bg1"/>
                </a:solidFill>
              </a:rPr>
              <a:t>Who we are?</a:t>
            </a:r>
          </a:p>
        </p:txBody>
      </p:sp>
      <p:sp>
        <p:nvSpPr>
          <p:cNvPr id="3" name="Slide Number Placeholder 2">
            <a:extLst>
              <a:ext uri="{FF2B5EF4-FFF2-40B4-BE49-F238E27FC236}">
                <a16:creationId xmlns:a16="http://schemas.microsoft.com/office/drawing/2014/main" id="{32A12113-DC5B-2813-8045-C534D224F85E}"/>
              </a:ext>
            </a:extLst>
          </p:cNvPr>
          <p:cNvSpPr>
            <a:spLocks noGrp="1"/>
          </p:cNvSpPr>
          <p:nvPr>
            <p:ph type="sldNum" sz="quarter" idx="12"/>
          </p:nvPr>
        </p:nvSpPr>
        <p:spPr/>
        <p:txBody>
          <a:bodyPr/>
          <a:lstStyle/>
          <a:p>
            <a:fld id="{656FEE46-54D6-4306-A6BD-73AF3F3AD20B}" type="slidenum">
              <a:rPr lang="en-US" smtClean="0"/>
              <a:t>2</a:t>
            </a:fld>
            <a:endParaRPr lang="en-US"/>
          </a:p>
        </p:txBody>
      </p:sp>
      <p:grpSp>
        <p:nvGrpSpPr>
          <p:cNvPr id="33" name="Group 32">
            <a:extLst>
              <a:ext uri="{FF2B5EF4-FFF2-40B4-BE49-F238E27FC236}">
                <a16:creationId xmlns:a16="http://schemas.microsoft.com/office/drawing/2014/main" id="{7387659D-A799-9AA1-FC2D-D7C24BC4BC4A}"/>
              </a:ext>
            </a:extLst>
          </p:cNvPr>
          <p:cNvGrpSpPr/>
          <p:nvPr/>
        </p:nvGrpSpPr>
        <p:grpSpPr>
          <a:xfrm>
            <a:off x="5695737" y="1672756"/>
            <a:ext cx="5072221" cy="4407791"/>
            <a:chOff x="6424614" y="4713288"/>
            <a:chExt cx="1357312" cy="1179513"/>
          </a:xfrm>
          <a:solidFill>
            <a:schemeClr val="accent2"/>
          </a:solidFill>
        </p:grpSpPr>
        <p:sp>
          <p:nvSpPr>
            <p:cNvPr id="34" name="Freeform 6">
              <a:extLst>
                <a:ext uri="{FF2B5EF4-FFF2-40B4-BE49-F238E27FC236}">
                  <a16:creationId xmlns:a16="http://schemas.microsoft.com/office/drawing/2014/main" id="{AAE1BDFE-B168-7762-6E40-76F34C71E9E2}"/>
                </a:ext>
              </a:extLst>
            </p:cNvPr>
            <p:cNvSpPr>
              <a:spLocks/>
            </p:cNvSpPr>
            <p:nvPr/>
          </p:nvSpPr>
          <p:spPr bwMode="auto">
            <a:xfrm>
              <a:off x="6424614" y="4911725"/>
              <a:ext cx="1317625" cy="865188"/>
            </a:xfrm>
            <a:custGeom>
              <a:avLst/>
              <a:gdLst>
                <a:gd name="T0" fmla="*/ 957 w 1096"/>
                <a:gd name="T1" fmla="*/ 372 h 720"/>
                <a:gd name="T2" fmla="*/ 1047 w 1096"/>
                <a:gd name="T3" fmla="*/ 630 h 720"/>
                <a:gd name="T4" fmla="*/ 419 w 1096"/>
                <a:gd name="T5" fmla="*/ 505 h 720"/>
                <a:gd name="T6" fmla="*/ 80 w 1096"/>
                <a:gd name="T7" fmla="*/ 54 h 720"/>
                <a:gd name="T8" fmla="*/ 361 w 1096"/>
                <a:gd name="T9" fmla="*/ 32 h 720"/>
                <a:gd name="T10" fmla="*/ 277 w 1096"/>
                <a:gd name="T11" fmla="*/ 26 h 720"/>
                <a:gd name="T12" fmla="*/ 108 w 1096"/>
                <a:gd name="T13" fmla="*/ 71 h 720"/>
                <a:gd name="T14" fmla="*/ 424 w 1096"/>
                <a:gd name="T15" fmla="*/ 487 h 720"/>
                <a:gd name="T16" fmla="*/ 1018 w 1096"/>
                <a:gd name="T17" fmla="*/ 613 h 720"/>
                <a:gd name="T18" fmla="*/ 1025 w 1096"/>
                <a:gd name="T19" fmla="*/ 497 h 720"/>
                <a:gd name="T20" fmla="*/ 957 w 1096"/>
                <a:gd name="T21" fmla="*/ 372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6" h="720">
                  <a:moveTo>
                    <a:pt x="957" y="372"/>
                  </a:moveTo>
                  <a:cubicBezTo>
                    <a:pt x="1057" y="477"/>
                    <a:pt x="1096" y="575"/>
                    <a:pt x="1047" y="630"/>
                  </a:cubicBezTo>
                  <a:cubicBezTo>
                    <a:pt x="967" y="720"/>
                    <a:pt x="686" y="664"/>
                    <a:pt x="419" y="505"/>
                  </a:cubicBezTo>
                  <a:cubicBezTo>
                    <a:pt x="152" y="345"/>
                    <a:pt x="0" y="143"/>
                    <a:pt x="80" y="54"/>
                  </a:cubicBezTo>
                  <a:cubicBezTo>
                    <a:pt x="123" y="4"/>
                    <a:pt x="230" y="0"/>
                    <a:pt x="361" y="32"/>
                  </a:cubicBezTo>
                  <a:cubicBezTo>
                    <a:pt x="324" y="27"/>
                    <a:pt x="296" y="27"/>
                    <a:pt x="277" y="26"/>
                  </a:cubicBezTo>
                  <a:cubicBezTo>
                    <a:pt x="192" y="26"/>
                    <a:pt x="135" y="42"/>
                    <a:pt x="108" y="71"/>
                  </a:cubicBezTo>
                  <a:cubicBezTo>
                    <a:pt x="37" y="151"/>
                    <a:pt x="172" y="338"/>
                    <a:pt x="424" y="487"/>
                  </a:cubicBezTo>
                  <a:cubicBezTo>
                    <a:pt x="675" y="637"/>
                    <a:pt x="948" y="693"/>
                    <a:pt x="1018" y="613"/>
                  </a:cubicBezTo>
                  <a:cubicBezTo>
                    <a:pt x="1041" y="589"/>
                    <a:pt x="1041" y="542"/>
                    <a:pt x="1025" y="497"/>
                  </a:cubicBezTo>
                  <a:cubicBezTo>
                    <a:pt x="1012" y="458"/>
                    <a:pt x="991" y="425"/>
                    <a:pt x="957" y="372"/>
                  </a:cubicBezTo>
                  <a:close/>
                </a:path>
              </a:pathLst>
            </a:custGeom>
            <a:solidFill>
              <a:srgbClr val="4FCEC0"/>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35" name="Freeform 7">
              <a:extLst>
                <a:ext uri="{FF2B5EF4-FFF2-40B4-BE49-F238E27FC236}">
                  <a16:creationId xmlns:a16="http://schemas.microsoft.com/office/drawing/2014/main" id="{94A51E21-BDA7-D151-05F8-CE394BF9D704}"/>
                </a:ext>
              </a:extLst>
            </p:cNvPr>
            <p:cNvSpPr>
              <a:spLocks/>
            </p:cNvSpPr>
            <p:nvPr/>
          </p:nvSpPr>
          <p:spPr bwMode="auto">
            <a:xfrm>
              <a:off x="7178675" y="4718050"/>
              <a:ext cx="474663" cy="666750"/>
            </a:xfrm>
            <a:custGeom>
              <a:avLst/>
              <a:gdLst>
                <a:gd name="T0" fmla="*/ 258 w 299"/>
                <a:gd name="T1" fmla="*/ 0 h 420"/>
                <a:gd name="T2" fmla="*/ 299 w 299"/>
                <a:gd name="T3" fmla="*/ 0 h 420"/>
                <a:gd name="T4" fmla="*/ 40 w 299"/>
                <a:gd name="T5" fmla="*/ 420 h 420"/>
                <a:gd name="T6" fmla="*/ 0 w 299"/>
                <a:gd name="T7" fmla="*/ 420 h 420"/>
                <a:gd name="T8" fmla="*/ 258 w 299"/>
                <a:gd name="T9" fmla="*/ 0 h 420"/>
              </a:gdLst>
              <a:ahLst/>
              <a:cxnLst>
                <a:cxn ang="0">
                  <a:pos x="T0" y="T1"/>
                </a:cxn>
                <a:cxn ang="0">
                  <a:pos x="T2" y="T3"/>
                </a:cxn>
                <a:cxn ang="0">
                  <a:pos x="T4" y="T5"/>
                </a:cxn>
                <a:cxn ang="0">
                  <a:pos x="T6" y="T7"/>
                </a:cxn>
                <a:cxn ang="0">
                  <a:pos x="T8" y="T9"/>
                </a:cxn>
              </a:cxnLst>
              <a:rect l="0" t="0" r="r" b="b"/>
              <a:pathLst>
                <a:path w="299" h="420">
                  <a:moveTo>
                    <a:pt x="258" y="0"/>
                  </a:moveTo>
                  <a:lnTo>
                    <a:pt x="299" y="0"/>
                  </a:lnTo>
                  <a:lnTo>
                    <a:pt x="40" y="420"/>
                  </a:lnTo>
                  <a:lnTo>
                    <a:pt x="0" y="420"/>
                  </a:lnTo>
                  <a:lnTo>
                    <a:pt x="258" y="0"/>
                  </a:lnTo>
                  <a:close/>
                </a:path>
              </a:pathLst>
            </a:custGeom>
            <a:solidFill>
              <a:srgbClr val="4FCEC0"/>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36" name="Freeform 8">
              <a:extLst>
                <a:ext uri="{FF2B5EF4-FFF2-40B4-BE49-F238E27FC236}">
                  <a16:creationId xmlns:a16="http://schemas.microsoft.com/office/drawing/2014/main" id="{D6E32C3F-0BEB-FF0F-6AF8-9A5BF1F5864E}"/>
                </a:ext>
              </a:extLst>
            </p:cNvPr>
            <p:cNvSpPr>
              <a:spLocks/>
            </p:cNvSpPr>
            <p:nvPr/>
          </p:nvSpPr>
          <p:spPr bwMode="auto">
            <a:xfrm>
              <a:off x="7031038" y="4718050"/>
              <a:ext cx="473075" cy="666750"/>
            </a:xfrm>
            <a:custGeom>
              <a:avLst/>
              <a:gdLst>
                <a:gd name="T0" fmla="*/ 258 w 298"/>
                <a:gd name="T1" fmla="*/ 0 h 420"/>
                <a:gd name="T2" fmla="*/ 298 w 298"/>
                <a:gd name="T3" fmla="*/ 0 h 420"/>
                <a:gd name="T4" fmla="*/ 39 w 298"/>
                <a:gd name="T5" fmla="*/ 420 h 420"/>
                <a:gd name="T6" fmla="*/ 0 w 298"/>
                <a:gd name="T7" fmla="*/ 420 h 420"/>
                <a:gd name="T8" fmla="*/ 258 w 298"/>
                <a:gd name="T9" fmla="*/ 0 h 420"/>
              </a:gdLst>
              <a:ahLst/>
              <a:cxnLst>
                <a:cxn ang="0">
                  <a:pos x="T0" y="T1"/>
                </a:cxn>
                <a:cxn ang="0">
                  <a:pos x="T2" y="T3"/>
                </a:cxn>
                <a:cxn ang="0">
                  <a:pos x="T4" y="T5"/>
                </a:cxn>
                <a:cxn ang="0">
                  <a:pos x="T6" y="T7"/>
                </a:cxn>
                <a:cxn ang="0">
                  <a:pos x="T8" y="T9"/>
                </a:cxn>
              </a:cxnLst>
              <a:rect l="0" t="0" r="r" b="b"/>
              <a:pathLst>
                <a:path w="298" h="420">
                  <a:moveTo>
                    <a:pt x="258" y="0"/>
                  </a:moveTo>
                  <a:lnTo>
                    <a:pt x="298" y="0"/>
                  </a:lnTo>
                  <a:lnTo>
                    <a:pt x="39" y="420"/>
                  </a:lnTo>
                  <a:lnTo>
                    <a:pt x="0" y="420"/>
                  </a:lnTo>
                  <a:lnTo>
                    <a:pt x="258" y="0"/>
                  </a:lnTo>
                  <a:close/>
                </a:path>
              </a:pathLst>
            </a:custGeom>
            <a:solidFill>
              <a:srgbClr val="4FCEC0"/>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37" name="Freeform 9">
              <a:extLst>
                <a:ext uri="{FF2B5EF4-FFF2-40B4-BE49-F238E27FC236}">
                  <a16:creationId xmlns:a16="http://schemas.microsoft.com/office/drawing/2014/main" id="{67172981-45C4-FD8B-2823-48499AD4F0EA}"/>
                </a:ext>
              </a:extLst>
            </p:cNvPr>
            <p:cNvSpPr>
              <a:spLocks/>
            </p:cNvSpPr>
            <p:nvPr/>
          </p:nvSpPr>
          <p:spPr bwMode="auto">
            <a:xfrm>
              <a:off x="6881813" y="4718050"/>
              <a:ext cx="473075" cy="666750"/>
            </a:xfrm>
            <a:custGeom>
              <a:avLst/>
              <a:gdLst>
                <a:gd name="T0" fmla="*/ 258 w 298"/>
                <a:gd name="T1" fmla="*/ 0 h 420"/>
                <a:gd name="T2" fmla="*/ 298 w 298"/>
                <a:gd name="T3" fmla="*/ 0 h 420"/>
                <a:gd name="T4" fmla="*/ 39 w 298"/>
                <a:gd name="T5" fmla="*/ 420 h 420"/>
                <a:gd name="T6" fmla="*/ 0 w 298"/>
                <a:gd name="T7" fmla="*/ 420 h 420"/>
                <a:gd name="T8" fmla="*/ 258 w 298"/>
                <a:gd name="T9" fmla="*/ 0 h 420"/>
              </a:gdLst>
              <a:ahLst/>
              <a:cxnLst>
                <a:cxn ang="0">
                  <a:pos x="T0" y="T1"/>
                </a:cxn>
                <a:cxn ang="0">
                  <a:pos x="T2" y="T3"/>
                </a:cxn>
                <a:cxn ang="0">
                  <a:pos x="T4" y="T5"/>
                </a:cxn>
                <a:cxn ang="0">
                  <a:pos x="T6" y="T7"/>
                </a:cxn>
                <a:cxn ang="0">
                  <a:pos x="T8" y="T9"/>
                </a:cxn>
              </a:cxnLst>
              <a:rect l="0" t="0" r="r" b="b"/>
              <a:pathLst>
                <a:path w="298" h="420">
                  <a:moveTo>
                    <a:pt x="258" y="0"/>
                  </a:moveTo>
                  <a:lnTo>
                    <a:pt x="298" y="0"/>
                  </a:lnTo>
                  <a:lnTo>
                    <a:pt x="39" y="420"/>
                  </a:lnTo>
                  <a:lnTo>
                    <a:pt x="0" y="420"/>
                  </a:lnTo>
                  <a:lnTo>
                    <a:pt x="258" y="0"/>
                  </a:lnTo>
                  <a:close/>
                </a:path>
              </a:pathLst>
            </a:custGeom>
            <a:solidFill>
              <a:srgbClr val="4FCEC0"/>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38" name="Freeform 10">
              <a:extLst>
                <a:ext uri="{FF2B5EF4-FFF2-40B4-BE49-F238E27FC236}">
                  <a16:creationId xmlns:a16="http://schemas.microsoft.com/office/drawing/2014/main" id="{677D0623-E615-FCA6-8370-F5BA9F84BEB9}"/>
                </a:ext>
              </a:extLst>
            </p:cNvPr>
            <p:cNvSpPr>
              <a:spLocks/>
            </p:cNvSpPr>
            <p:nvPr/>
          </p:nvSpPr>
          <p:spPr bwMode="auto">
            <a:xfrm>
              <a:off x="7688263" y="4713288"/>
              <a:ext cx="41275" cy="52388"/>
            </a:xfrm>
            <a:custGeom>
              <a:avLst/>
              <a:gdLst>
                <a:gd name="T0" fmla="*/ 15 w 26"/>
                <a:gd name="T1" fmla="*/ 33 h 33"/>
                <a:gd name="T2" fmla="*/ 15 w 26"/>
                <a:gd name="T3" fmla="*/ 4 h 33"/>
                <a:gd name="T4" fmla="*/ 26 w 26"/>
                <a:gd name="T5" fmla="*/ 4 h 33"/>
                <a:gd name="T6" fmla="*/ 26 w 26"/>
                <a:gd name="T7" fmla="*/ 0 h 33"/>
                <a:gd name="T8" fmla="*/ 0 w 26"/>
                <a:gd name="T9" fmla="*/ 0 h 33"/>
                <a:gd name="T10" fmla="*/ 0 w 26"/>
                <a:gd name="T11" fmla="*/ 4 h 33"/>
                <a:gd name="T12" fmla="*/ 11 w 26"/>
                <a:gd name="T13" fmla="*/ 4 h 33"/>
                <a:gd name="T14" fmla="*/ 11 w 26"/>
                <a:gd name="T15" fmla="*/ 33 h 33"/>
                <a:gd name="T16" fmla="*/ 15 w 26"/>
                <a:gd name="T17" fmla="*/ 33 h 33"/>
                <a:gd name="T18" fmla="*/ 15 w 26"/>
                <a:gd name="T1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3">
                  <a:moveTo>
                    <a:pt x="15" y="33"/>
                  </a:moveTo>
                  <a:lnTo>
                    <a:pt x="15" y="4"/>
                  </a:lnTo>
                  <a:lnTo>
                    <a:pt x="26" y="4"/>
                  </a:lnTo>
                  <a:lnTo>
                    <a:pt x="26" y="0"/>
                  </a:lnTo>
                  <a:lnTo>
                    <a:pt x="0" y="0"/>
                  </a:lnTo>
                  <a:lnTo>
                    <a:pt x="0" y="4"/>
                  </a:lnTo>
                  <a:lnTo>
                    <a:pt x="11" y="4"/>
                  </a:lnTo>
                  <a:lnTo>
                    <a:pt x="11" y="33"/>
                  </a:lnTo>
                  <a:lnTo>
                    <a:pt x="15" y="33"/>
                  </a:lnTo>
                  <a:lnTo>
                    <a:pt x="15" y="3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39" name="Freeform 11">
              <a:extLst>
                <a:ext uri="{FF2B5EF4-FFF2-40B4-BE49-F238E27FC236}">
                  <a16:creationId xmlns:a16="http://schemas.microsoft.com/office/drawing/2014/main" id="{58863430-E015-5730-80E0-763C19E326F9}"/>
                </a:ext>
              </a:extLst>
            </p:cNvPr>
            <p:cNvSpPr>
              <a:spLocks/>
            </p:cNvSpPr>
            <p:nvPr/>
          </p:nvSpPr>
          <p:spPr bwMode="auto">
            <a:xfrm>
              <a:off x="7732713" y="4713288"/>
              <a:ext cx="49213" cy="52388"/>
            </a:xfrm>
            <a:custGeom>
              <a:avLst/>
              <a:gdLst>
                <a:gd name="T0" fmla="*/ 5 w 41"/>
                <a:gd name="T1" fmla="*/ 43 h 43"/>
                <a:gd name="T2" fmla="*/ 5 w 41"/>
                <a:gd name="T3" fmla="*/ 6 h 43"/>
                <a:gd name="T4" fmla="*/ 18 w 41"/>
                <a:gd name="T5" fmla="*/ 43 h 43"/>
                <a:gd name="T6" fmla="*/ 23 w 41"/>
                <a:gd name="T7" fmla="*/ 43 h 43"/>
                <a:gd name="T8" fmla="*/ 35 w 41"/>
                <a:gd name="T9" fmla="*/ 7 h 43"/>
                <a:gd name="T10" fmla="*/ 35 w 41"/>
                <a:gd name="T11" fmla="*/ 43 h 43"/>
                <a:gd name="T12" fmla="*/ 41 w 41"/>
                <a:gd name="T13" fmla="*/ 43 h 43"/>
                <a:gd name="T14" fmla="*/ 41 w 41"/>
                <a:gd name="T15" fmla="*/ 0 h 43"/>
                <a:gd name="T16" fmla="*/ 33 w 41"/>
                <a:gd name="T17" fmla="*/ 0 h 43"/>
                <a:gd name="T18" fmla="*/ 23 w 41"/>
                <a:gd name="T19" fmla="*/ 30 h 43"/>
                <a:gd name="T20" fmla="*/ 21 w 41"/>
                <a:gd name="T21" fmla="*/ 37 h 43"/>
                <a:gd name="T22" fmla="*/ 19 w 41"/>
                <a:gd name="T23" fmla="*/ 30 h 43"/>
                <a:gd name="T24" fmla="*/ 8 w 41"/>
                <a:gd name="T25" fmla="*/ 0 h 43"/>
                <a:gd name="T26" fmla="*/ 0 w 41"/>
                <a:gd name="T27" fmla="*/ 0 h 43"/>
                <a:gd name="T28" fmla="*/ 0 w 41"/>
                <a:gd name="T29" fmla="*/ 43 h 43"/>
                <a:gd name="T30" fmla="*/ 5 w 41"/>
                <a:gd name="T3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43">
                  <a:moveTo>
                    <a:pt x="5" y="43"/>
                  </a:moveTo>
                  <a:cubicBezTo>
                    <a:pt x="5" y="6"/>
                    <a:pt x="5" y="6"/>
                    <a:pt x="5" y="6"/>
                  </a:cubicBezTo>
                  <a:cubicBezTo>
                    <a:pt x="18" y="43"/>
                    <a:pt x="18" y="43"/>
                    <a:pt x="18" y="43"/>
                  </a:cubicBezTo>
                  <a:cubicBezTo>
                    <a:pt x="23" y="43"/>
                    <a:pt x="23" y="43"/>
                    <a:pt x="23" y="43"/>
                  </a:cubicBezTo>
                  <a:cubicBezTo>
                    <a:pt x="35" y="7"/>
                    <a:pt x="35" y="7"/>
                    <a:pt x="35" y="7"/>
                  </a:cubicBezTo>
                  <a:cubicBezTo>
                    <a:pt x="35" y="43"/>
                    <a:pt x="35" y="43"/>
                    <a:pt x="35" y="43"/>
                  </a:cubicBezTo>
                  <a:cubicBezTo>
                    <a:pt x="41" y="43"/>
                    <a:pt x="41" y="43"/>
                    <a:pt x="41" y="43"/>
                  </a:cubicBezTo>
                  <a:cubicBezTo>
                    <a:pt x="41" y="0"/>
                    <a:pt x="41" y="0"/>
                    <a:pt x="41" y="0"/>
                  </a:cubicBezTo>
                  <a:cubicBezTo>
                    <a:pt x="33" y="0"/>
                    <a:pt x="33" y="0"/>
                    <a:pt x="33" y="0"/>
                  </a:cubicBezTo>
                  <a:cubicBezTo>
                    <a:pt x="23" y="30"/>
                    <a:pt x="23" y="30"/>
                    <a:pt x="23" y="30"/>
                  </a:cubicBezTo>
                  <a:cubicBezTo>
                    <a:pt x="22" y="33"/>
                    <a:pt x="21" y="35"/>
                    <a:pt x="21" y="37"/>
                  </a:cubicBezTo>
                  <a:cubicBezTo>
                    <a:pt x="20" y="35"/>
                    <a:pt x="19" y="33"/>
                    <a:pt x="19" y="30"/>
                  </a:cubicBezTo>
                  <a:cubicBezTo>
                    <a:pt x="8" y="0"/>
                    <a:pt x="8" y="0"/>
                    <a:pt x="8" y="0"/>
                  </a:cubicBezTo>
                  <a:cubicBezTo>
                    <a:pt x="0" y="0"/>
                    <a:pt x="0" y="0"/>
                    <a:pt x="0" y="0"/>
                  </a:cubicBezTo>
                  <a:cubicBezTo>
                    <a:pt x="0" y="43"/>
                    <a:pt x="0" y="43"/>
                    <a:pt x="0" y="43"/>
                  </a:cubicBezTo>
                  <a:cubicBezTo>
                    <a:pt x="5" y="43"/>
                    <a:pt x="5" y="43"/>
                    <a:pt x="5" y="4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40" name="Freeform 12">
              <a:extLst>
                <a:ext uri="{FF2B5EF4-FFF2-40B4-BE49-F238E27FC236}">
                  <a16:creationId xmlns:a16="http://schemas.microsoft.com/office/drawing/2014/main" id="{E922BAB4-A948-AB96-C019-CB3128E85924}"/>
                </a:ext>
              </a:extLst>
            </p:cNvPr>
            <p:cNvSpPr>
              <a:spLocks noEditPoints="1"/>
            </p:cNvSpPr>
            <p:nvPr/>
          </p:nvSpPr>
          <p:spPr bwMode="auto">
            <a:xfrm>
              <a:off x="6537325" y="4713288"/>
              <a:ext cx="1076325" cy="860425"/>
            </a:xfrm>
            <a:custGeom>
              <a:avLst/>
              <a:gdLst>
                <a:gd name="T0" fmla="*/ 448 w 895"/>
                <a:gd name="T1" fmla="*/ 0 h 716"/>
                <a:gd name="T2" fmla="*/ 131 w 895"/>
                <a:gd name="T3" fmla="*/ 506 h 716"/>
                <a:gd name="T4" fmla="*/ 330 w 895"/>
                <a:gd name="T5" fmla="*/ 652 h 716"/>
                <a:gd name="T6" fmla="*/ 450 w 895"/>
                <a:gd name="T7" fmla="*/ 716 h 716"/>
                <a:gd name="T8" fmla="*/ 895 w 895"/>
                <a:gd name="T9" fmla="*/ 716 h 716"/>
                <a:gd name="T10" fmla="*/ 690 w 895"/>
                <a:gd name="T11" fmla="*/ 389 h 716"/>
                <a:gd name="T12" fmla="*/ 586 w 895"/>
                <a:gd name="T13" fmla="*/ 558 h 716"/>
                <a:gd name="T14" fmla="*/ 534 w 895"/>
                <a:gd name="T15" fmla="*/ 558 h 716"/>
                <a:gd name="T16" fmla="*/ 664 w 895"/>
                <a:gd name="T17" fmla="*/ 347 h 716"/>
                <a:gd name="T18" fmla="*/ 628 w 895"/>
                <a:gd name="T19" fmla="*/ 289 h 716"/>
                <a:gd name="T20" fmla="*/ 462 w 895"/>
                <a:gd name="T21" fmla="*/ 558 h 716"/>
                <a:gd name="T22" fmla="*/ 410 w 895"/>
                <a:gd name="T23" fmla="*/ 558 h 716"/>
                <a:gd name="T24" fmla="*/ 602 w 895"/>
                <a:gd name="T25" fmla="*/ 247 h 716"/>
                <a:gd name="T26" fmla="*/ 565 w 895"/>
                <a:gd name="T27" fmla="*/ 188 h 716"/>
                <a:gd name="T28" fmla="*/ 338 w 895"/>
                <a:gd name="T29" fmla="*/ 558 h 716"/>
                <a:gd name="T30" fmla="*/ 286 w 895"/>
                <a:gd name="T31" fmla="*/ 558 h 716"/>
                <a:gd name="T32" fmla="*/ 539 w 895"/>
                <a:gd name="T33" fmla="*/ 146 h 716"/>
                <a:gd name="T34" fmla="*/ 448 w 895"/>
                <a:gd name="T35" fmla="*/ 0 h 716"/>
                <a:gd name="T36" fmla="*/ 122 w 895"/>
                <a:gd name="T37" fmla="*/ 522 h 716"/>
                <a:gd name="T38" fmla="*/ 0 w 895"/>
                <a:gd name="T39" fmla="*/ 716 h 716"/>
                <a:gd name="T40" fmla="*/ 410 w 895"/>
                <a:gd name="T41" fmla="*/ 716 h 716"/>
                <a:gd name="T42" fmla="*/ 325 w 895"/>
                <a:gd name="T43" fmla="*/ 670 h 716"/>
                <a:gd name="T44" fmla="*/ 122 w 895"/>
                <a:gd name="T45" fmla="*/ 52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95" h="716">
                  <a:moveTo>
                    <a:pt x="448" y="0"/>
                  </a:moveTo>
                  <a:cubicBezTo>
                    <a:pt x="131" y="506"/>
                    <a:pt x="131" y="506"/>
                    <a:pt x="131" y="506"/>
                  </a:cubicBezTo>
                  <a:cubicBezTo>
                    <a:pt x="185" y="556"/>
                    <a:pt x="251" y="606"/>
                    <a:pt x="330" y="652"/>
                  </a:cubicBezTo>
                  <a:cubicBezTo>
                    <a:pt x="369" y="676"/>
                    <a:pt x="410" y="697"/>
                    <a:pt x="450" y="716"/>
                  </a:cubicBezTo>
                  <a:cubicBezTo>
                    <a:pt x="895" y="716"/>
                    <a:pt x="895" y="716"/>
                    <a:pt x="895" y="716"/>
                  </a:cubicBezTo>
                  <a:cubicBezTo>
                    <a:pt x="690" y="389"/>
                    <a:pt x="690" y="389"/>
                    <a:pt x="690" y="389"/>
                  </a:cubicBezTo>
                  <a:cubicBezTo>
                    <a:pt x="586" y="558"/>
                    <a:pt x="586" y="558"/>
                    <a:pt x="586" y="558"/>
                  </a:cubicBezTo>
                  <a:cubicBezTo>
                    <a:pt x="534" y="558"/>
                    <a:pt x="534" y="558"/>
                    <a:pt x="534" y="558"/>
                  </a:cubicBezTo>
                  <a:cubicBezTo>
                    <a:pt x="664" y="347"/>
                    <a:pt x="664" y="347"/>
                    <a:pt x="664" y="347"/>
                  </a:cubicBezTo>
                  <a:cubicBezTo>
                    <a:pt x="628" y="289"/>
                    <a:pt x="628" y="289"/>
                    <a:pt x="628" y="289"/>
                  </a:cubicBezTo>
                  <a:cubicBezTo>
                    <a:pt x="462" y="558"/>
                    <a:pt x="462" y="558"/>
                    <a:pt x="462" y="558"/>
                  </a:cubicBezTo>
                  <a:cubicBezTo>
                    <a:pt x="410" y="558"/>
                    <a:pt x="410" y="558"/>
                    <a:pt x="410" y="558"/>
                  </a:cubicBezTo>
                  <a:cubicBezTo>
                    <a:pt x="602" y="247"/>
                    <a:pt x="602" y="247"/>
                    <a:pt x="602" y="247"/>
                  </a:cubicBezTo>
                  <a:cubicBezTo>
                    <a:pt x="565" y="188"/>
                    <a:pt x="565" y="188"/>
                    <a:pt x="565" y="188"/>
                  </a:cubicBezTo>
                  <a:cubicBezTo>
                    <a:pt x="338" y="558"/>
                    <a:pt x="338" y="558"/>
                    <a:pt x="338" y="558"/>
                  </a:cubicBezTo>
                  <a:cubicBezTo>
                    <a:pt x="286" y="558"/>
                    <a:pt x="286" y="558"/>
                    <a:pt x="286" y="558"/>
                  </a:cubicBezTo>
                  <a:cubicBezTo>
                    <a:pt x="539" y="146"/>
                    <a:pt x="539" y="146"/>
                    <a:pt x="539" y="146"/>
                  </a:cubicBezTo>
                  <a:lnTo>
                    <a:pt x="448" y="0"/>
                  </a:lnTo>
                  <a:close/>
                  <a:moveTo>
                    <a:pt x="122" y="522"/>
                  </a:moveTo>
                  <a:cubicBezTo>
                    <a:pt x="0" y="716"/>
                    <a:pt x="0" y="716"/>
                    <a:pt x="0" y="716"/>
                  </a:cubicBezTo>
                  <a:cubicBezTo>
                    <a:pt x="410" y="716"/>
                    <a:pt x="410" y="716"/>
                    <a:pt x="410" y="716"/>
                  </a:cubicBezTo>
                  <a:cubicBezTo>
                    <a:pt x="382" y="702"/>
                    <a:pt x="353" y="686"/>
                    <a:pt x="325" y="670"/>
                  </a:cubicBezTo>
                  <a:cubicBezTo>
                    <a:pt x="246" y="623"/>
                    <a:pt x="178" y="572"/>
                    <a:pt x="122" y="522"/>
                  </a:cubicBezTo>
                  <a:close/>
                </a:path>
              </a:pathLst>
            </a:custGeom>
            <a:solidFill>
              <a:srgbClr val="008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41" name="Freeform 13">
              <a:extLst>
                <a:ext uri="{FF2B5EF4-FFF2-40B4-BE49-F238E27FC236}">
                  <a16:creationId xmlns:a16="http://schemas.microsoft.com/office/drawing/2014/main" id="{ED9C4520-0CFE-CE7C-80F7-48B1AF923BC6}"/>
                </a:ext>
              </a:extLst>
            </p:cNvPr>
            <p:cNvSpPr>
              <a:spLocks noEditPoints="1"/>
            </p:cNvSpPr>
            <p:nvPr/>
          </p:nvSpPr>
          <p:spPr bwMode="auto">
            <a:xfrm>
              <a:off x="6557963" y="5641975"/>
              <a:ext cx="42863" cy="246063"/>
            </a:xfrm>
            <a:custGeom>
              <a:avLst/>
              <a:gdLst>
                <a:gd name="T0" fmla="*/ 17 w 35"/>
                <a:gd name="T1" fmla="*/ 0 h 204"/>
                <a:gd name="T2" fmla="*/ 0 w 35"/>
                <a:gd name="T3" fmla="*/ 18 h 204"/>
                <a:gd name="T4" fmla="*/ 17 w 35"/>
                <a:gd name="T5" fmla="*/ 35 h 204"/>
                <a:gd name="T6" fmla="*/ 35 w 35"/>
                <a:gd name="T7" fmla="*/ 18 h 204"/>
                <a:gd name="T8" fmla="*/ 17 w 35"/>
                <a:gd name="T9" fmla="*/ 0 h 204"/>
                <a:gd name="T10" fmla="*/ 30 w 35"/>
                <a:gd name="T11" fmla="*/ 71 h 204"/>
                <a:gd name="T12" fmla="*/ 30 w 35"/>
                <a:gd name="T13" fmla="*/ 71 h 204"/>
                <a:gd name="T14" fmla="*/ 30 w 35"/>
                <a:gd name="T15" fmla="*/ 71 h 204"/>
                <a:gd name="T16" fmla="*/ 4 w 35"/>
                <a:gd name="T17" fmla="*/ 71 h 204"/>
                <a:gd name="T18" fmla="*/ 4 w 35"/>
                <a:gd name="T19" fmla="*/ 204 h 204"/>
                <a:gd name="T20" fmla="*/ 30 w 35"/>
                <a:gd name="T21" fmla="*/ 204 h 204"/>
                <a:gd name="T22" fmla="*/ 30 w 35"/>
                <a:gd name="T23" fmla="*/ 7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04">
                  <a:moveTo>
                    <a:pt x="17" y="0"/>
                  </a:moveTo>
                  <a:cubicBezTo>
                    <a:pt x="8" y="0"/>
                    <a:pt x="0" y="8"/>
                    <a:pt x="0" y="18"/>
                  </a:cubicBezTo>
                  <a:cubicBezTo>
                    <a:pt x="0" y="28"/>
                    <a:pt x="8" y="35"/>
                    <a:pt x="17" y="35"/>
                  </a:cubicBezTo>
                  <a:cubicBezTo>
                    <a:pt x="27" y="35"/>
                    <a:pt x="35" y="28"/>
                    <a:pt x="35" y="18"/>
                  </a:cubicBezTo>
                  <a:cubicBezTo>
                    <a:pt x="35" y="8"/>
                    <a:pt x="27" y="0"/>
                    <a:pt x="17" y="0"/>
                  </a:cubicBezTo>
                  <a:close/>
                  <a:moveTo>
                    <a:pt x="30" y="71"/>
                  </a:moveTo>
                  <a:cubicBezTo>
                    <a:pt x="30" y="71"/>
                    <a:pt x="30" y="71"/>
                    <a:pt x="30" y="71"/>
                  </a:cubicBezTo>
                  <a:moveTo>
                    <a:pt x="30" y="71"/>
                  </a:moveTo>
                  <a:cubicBezTo>
                    <a:pt x="4" y="71"/>
                    <a:pt x="4" y="71"/>
                    <a:pt x="4" y="71"/>
                  </a:cubicBezTo>
                  <a:cubicBezTo>
                    <a:pt x="4" y="204"/>
                    <a:pt x="4" y="204"/>
                    <a:pt x="4" y="204"/>
                  </a:cubicBezTo>
                  <a:cubicBezTo>
                    <a:pt x="30" y="204"/>
                    <a:pt x="30" y="204"/>
                    <a:pt x="30" y="204"/>
                  </a:cubicBezTo>
                  <a:lnTo>
                    <a:pt x="30"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42" name="Freeform 14">
              <a:extLst>
                <a:ext uri="{FF2B5EF4-FFF2-40B4-BE49-F238E27FC236}">
                  <a16:creationId xmlns:a16="http://schemas.microsoft.com/office/drawing/2014/main" id="{F0BE00D6-8D65-DBB6-B93F-6C1E1D985A4E}"/>
                </a:ext>
              </a:extLst>
            </p:cNvPr>
            <p:cNvSpPr>
              <a:spLocks/>
            </p:cNvSpPr>
            <p:nvPr/>
          </p:nvSpPr>
          <p:spPr bwMode="auto">
            <a:xfrm>
              <a:off x="6657975" y="5722938"/>
              <a:ext cx="136525" cy="165100"/>
            </a:xfrm>
            <a:custGeom>
              <a:avLst/>
              <a:gdLst>
                <a:gd name="T0" fmla="*/ 26 w 114"/>
                <a:gd name="T1" fmla="*/ 4 h 137"/>
                <a:gd name="T2" fmla="*/ 0 w 114"/>
                <a:gd name="T3" fmla="*/ 4 h 137"/>
                <a:gd name="T4" fmla="*/ 0 w 114"/>
                <a:gd name="T5" fmla="*/ 137 h 137"/>
                <a:gd name="T6" fmla="*/ 26 w 114"/>
                <a:gd name="T7" fmla="*/ 137 h 137"/>
                <a:gd name="T8" fmla="*/ 26 w 114"/>
                <a:gd name="T9" fmla="*/ 76 h 137"/>
                <a:gd name="T10" fmla="*/ 59 w 114"/>
                <a:gd name="T11" fmla="*/ 23 h 137"/>
                <a:gd name="T12" fmla="*/ 88 w 114"/>
                <a:gd name="T13" fmla="*/ 61 h 137"/>
                <a:gd name="T14" fmla="*/ 88 w 114"/>
                <a:gd name="T15" fmla="*/ 137 h 137"/>
                <a:gd name="T16" fmla="*/ 114 w 114"/>
                <a:gd name="T17" fmla="*/ 137 h 137"/>
                <a:gd name="T18" fmla="*/ 114 w 114"/>
                <a:gd name="T19" fmla="*/ 58 h 137"/>
                <a:gd name="T20" fmla="*/ 67 w 114"/>
                <a:gd name="T21" fmla="*/ 0 h 137"/>
                <a:gd name="T22" fmla="*/ 26 w 114"/>
                <a:gd name="T23" fmla="*/ 22 h 137"/>
                <a:gd name="T24" fmla="*/ 26 w 114"/>
                <a:gd name="T25" fmla="*/ 22 h 137"/>
                <a:gd name="T26" fmla="*/ 26 w 114"/>
                <a:gd name="T27" fmla="*/ 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137">
                  <a:moveTo>
                    <a:pt x="26" y="4"/>
                  </a:moveTo>
                  <a:cubicBezTo>
                    <a:pt x="0" y="4"/>
                    <a:pt x="0" y="4"/>
                    <a:pt x="0" y="4"/>
                  </a:cubicBezTo>
                  <a:cubicBezTo>
                    <a:pt x="0" y="137"/>
                    <a:pt x="0" y="137"/>
                    <a:pt x="0" y="137"/>
                  </a:cubicBezTo>
                  <a:cubicBezTo>
                    <a:pt x="26" y="137"/>
                    <a:pt x="26" y="137"/>
                    <a:pt x="26" y="137"/>
                  </a:cubicBezTo>
                  <a:cubicBezTo>
                    <a:pt x="26" y="76"/>
                    <a:pt x="26" y="76"/>
                    <a:pt x="26" y="76"/>
                  </a:cubicBezTo>
                  <a:cubicBezTo>
                    <a:pt x="26" y="52"/>
                    <a:pt x="26" y="23"/>
                    <a:pt x="59" y="23"/>
                  </a:cubicBezTo>
                  <a:cubicBezTo>
                    <a:pt x="85" y="23"/>
                    <a:pt x="88" y="38"/>
                    <a:pt x="88" y="61"/>
                  </a:cubicBezTo>
                  <a:cubicBezTo>
                    <a:pt x="88" y="137"/>
                    <a:pt x="88" y="137"/>
                    <a:pt x="88" y="137"/>
                  </a:cubicBezTo>
                  <a:cubicBezTo>
                    <a:pt x="114" y="137"/>
                    <a:pt x="114" y="137"/>
                    <a:pt x="114" y="137"/>
                  </a:cubicBezTo>
                  <a:cubicBezTo>
                    <a:pt x="114" y="58"/>
                    <a:pt x="114" y="58"/>
                    <a:pt x="114" y="58"/>
                  </a:cubicBezTo>
                  <a:cubicBezTo>
                    <a:pt x="114" y="26"/>
                    <a:pt x="104" y="0"/>
                    <a:pt x="67" y="0"/>
                  </a:cubicBezTo>
                  <a:cubicBezTo>
                    <a:pt x="50" y="0"/>
                    <a:pt x="34" y="8"/>
                    <a:pt x="26" y="22"/>
                  </a:cubicBezTo>
                  <a:cubicBezTo>
                    <a:pt x="26" y="22"/>
                    <a:pt x="26" y="22"/>
                    <a:pt x="26" y="22"/>
                  </a:cubicBezTo>
                  <a:lnTo>
                    <a:pt x="26" y="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43" name="Freeform 15">
              <a:extLst>
                <a:ext uri="{FF2B5EF4-FFF2-40B4-BE49-F238E27FC236}">
                  <a16:creationId xmlns:a16="http://schemas.microsoft.com/office/drawing/2014/main" id="{38177DEF-1E2A-9704-6A5C-4BCC8ADCCA4D}"/>
                </a:ext>
              </a:extLst>
            </p:cNvPr>
            <p:cNvSpPr>
              <a:spLocks/>
            </p:cNvSpPr>
            <p:nvPr/>
          </p:nvSpPr>
          <p:spPr bwMode="auto">
            <a:xfrm>
              <a:off x="6843713" y="5586413"/>
              <a:ext cx="87313" cy="301625"/>
            </a:xfrm>
            <a:custGeom>
              <a:avLst/>
              <a:gdLst>
                <a:gd name="T0" fmla="*/ 73 w 73"/>
                <a:gd name="T1" fmla="*/ 4 h 250"/>
                <a:gd name="T2" fmla="*/ 55 w 73"/>
                <a:gd name="T3" fmla="*/ 0 h 250"/>
                <a:gd name="T4" fmla="*/ 12 w 73"/>
                <a:gd name="T5" fmla="*/ 53 h 250"/>
                <a:gd name="T6" fmla="*/ 12 w 73"/>
                <a:gd name="T7" fmla="*/ 117 h 250"/>
                <a:gd name="T8" fmla="*/ 0 w 73"/>
                <a:gd name="T9" fmla="*/ 117 h 250"/>
                <a:gd name="T10" fmla="*/ 0 w 73"/>
                <a:gd name="T11" fmla="*/ 141 h 250"/>
                <a:gd name="T12" fmla="*/ 12 w 73"/>
                <a:gd name="T13" fmla="*/ 141 h 250"/>
                <a:gd name="T14" fmla="*/ 12 w 73"/>
                <a:gd name="T15" fmla="*/ 250 h 250"/>
                <a:gd name="T16" fmla="*/ 38 w 73"/>
                <a:gd name="T17" fmla="*/ 250 h 250"/>
                <a:gd name="T18" fmla="*/ 38 w 73"/>
                <a:gd name="T19" fmla="*/ 141 h 250"/>
                <a:gd name="T20" fmla="*/ 73 w 73"/>
                <a:gd name="T21" fmla="*/ 141 h 250"/>
                <a:gd name="T22" fmla="*/ 73 w 73"/>
                <a:gd name="T23" fmla="*/ 117 h 250"/>
                <a:gd name="T24" fmla="*/ 38 w 73"/>
                <a:gd name="T25" fmla="*/ 117 h 250"/>
                <a:gd name="T26" fmla="*/ 38 w 73"/>
                <a:gd name="T27" fmla="*/ 60 h 250"/>
                <a:gd name="T28" fmla="*/ 56 w 73"/>
                <a:gd name="T29" fmla="*/ 24 h 250"/>
                <a:gd name="T30" fmla="*/ 73 w 73"/>
                <a:gd name="T31" fmla="*/ 29 h 250"/>
                <a:gd name="T32" fmla="*/ 73 w 73"/>
                <a:gd name="T33" fmla="*/ 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250">
                  <a:moveTo>
                    <a:pt x="73" y="4"/>
                  </a:moveTo>
                  <a:cubicBezTo>
                    <a:pt x="67" y="1"/>
                    <a:pt x="61" y="0"/>
                    <a:pt x="55" y="0"/>
                  </a:cubicBezTo>
                  <a:cubicBezTo>
                    <a:pt x="22" y="0"/>
                    <a:pt x="12" y="23"/>
                    <a:pt x="12" y="53"/>
                  </a:cubicBezTo>
                  <a:cubicBezTo>
                    <a:pt x="12" y="117"/>
                    <a:pt x="12" y="117"/>
                    <a:pt x="12" y="117"/>
                  </a:cubicBezTo>
                  <a:cubicBezTo>
                    <a:pt x="0" y="117"/>
                    <a:pt x="0" y="117"/>
                    <a:pt x="0" y="117"/>
                  </a:cubicBezTo>
                  <a:cubicBezTo>
                    <a:pt x="0" y="141"/>
                    <a:pt x="0" y="141"/>
                    <a:pt x="0" y="141"/>
                  </a:cubicBezTo>
                  <a:cubicBezTo>
                    <a:pt x="12" y="141"/>
                    <a:pt x="12" y="141"/>
                    <a:pt x="12" y="141"/>
                  </a:cubicBezTo>
                  <a:cubicBezTo>
                    <a:pt x="12" y="250"/>
                    <a:pt x="12" y="250"/>
                    <a:pt x="12" y="250"/>
                  </a:cubicBezTo>
                  <a:cubicBezTo>
                    <a:pt x="38" y="250"/>
                    <a:pt x="38" y="250"/>
                    <a:pt x="38" y="250"/>
                  </a:cubicBezTo>
                  <a:cubicBezTo>
                    <a:pt x="38" y="141"/>
                    <a:pt x="38" y="141"/>
                    <a:pt x="38" y="141"/>
                  </a:cubicBezTo>
                  <a:cubicBezTo>
                    <a:pt x="73" y="141"/>
                    <a:pt x="73" y="141"/>
                    <a:pt x="73" y="141"/>
                  </a:cubicBezTo>
                  <a:cubicBezTo>
                    <a:pt x="73" y="117"/>
                    <a:pt x="73" y="117"/>
                    <a:pt x="73" y="117"/>
                  </a:cubicBezTo>
                  <a:cubicBezTo>
                    <a:pt x="38" y="117"/>
                    <a:pt x="38" y="117"/>
                    <a:pt x="38" y="117"/>
                  </a:cubicBezTo>
                  <a:cubicBezTo>
                    <a:pt x="38" y="60"/>
                    <a:pt x="38" y="60"/>
                    <a:pt x="38" y="60"/>
                  </a:cubicBezTo>
                  <a:cubicBezTo>
                    <a:pt x="38" y="47"/>
                    <a:pt x="38" y="24"/>
                    <a:pt x="56" y="24"/>
                  </a:cubicBezTo>
                  <a:cubicBezTo>
                    <a:pt x="61" y="24"/>
                    <a:pt x="68" y="27"/>
                    <a:pt x="73" y="29"/>
                  </a:cubicBezTo>
                  <a:lnTo>
                    <a:pt x="73" y="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44" name="Freeform 16">
              <a:extLst>
                <a:ext uri="{FF2B5EF4-FFF2-40B4-BE49-F238E27FC236}">
                  <a16:creationId xmlns:a16="http://schemas.microsoft.com/office/drawing/2014/main" id="{E4824065-D378-7171-88F5-65C9B1C25944}"/>
                </a:ext>
              </a:extLst>
            </p:cNvPr>
            <p:cNvSpPr>
              <a:spLocks noEditPoints="1"/>
            </p:cNvSpPr>
            <p:nvPr/>
          </p:nvSpPr>
          <p:spPr bwMode="auto">
            <a:xfrm>
              <a:off x="6961188" y="5641975"/>
              <a:ext cx="41275" cy="246063"/>
            </a:xfrm>
            <a:custGeom>
              <a:avLst/>
              <a:gdLst>
                <a:gd name="T0" fmla="*/ 18 w 35"/>
                <a:gd name="T1" fmla="*/ 0 h 204"/>
                <a:gd name="T2" fmla="*/ 0 w 35"/>
                <a:gd name="T3" fmla="*/ 18 h 204"/>
                <a:gd name="T4" fmla="*/ 18 w 35"/>
                <a:gd name="T5" fmla="*/ 35 h 204"/>
                <a:gd name="T6" fmla="*/ 35 w 35"/>
                <a:gd name="T7" fmla="*/ 18 h 204"/>
                <a:gd name="T8" fmla="*/ 18 w 35"/>
                <a:gd name="T9" fmla="*/ 0 h 204"/>
                <a:gd name="T10" fmla="*/ 31 w 35"/>
                <a:gd name="T11" fmla="*/ 71 h 204"/>
                <a:gd name="T12" fmla="*/ 31 w 35"/>
                <a:gd name="T13" fmla="*/ 71 h 204"/>
                <a:gd name="T14" fmla="*/ 31 w 35"/>
                <a:gd name="T15" fmla="*/ 71 h 204"/>
                <a:gd name="T16" fmla="*/ 5 w 35"/>
                <a:gd name="T17" fmla="*/ 71 h 204"/>
                <a:gd name="T18" fmla="*/ 5 w 35"/>
                <a:gd name="T19" fmla="*/ 204 h 204"/>
                <a:gd name="T20" fmla="*/ 31 w 35"/>
                <a:gd name="T21" fmla="*/ 204 h 204"/>
                <a:gd name="T22" fmla="*/ 31 w 35"/>
                <a:gd name="T23" fmla="*/ 7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04">
                  <a:moveTo>
                    <a:pt x="18" y="0"/>
                  </a:moveTo>
                  <a:cubicBezTo>
                    <a:pt x="8" y="0"/>
                    <a:pt x="0" y="8"/>
                    <a:pt x="0" y="18"/>
                  </a:cubicBezTo>
                  <a:cubicBezTo>
                    <a:pt x="0" y="28"/>
                    <a:pt x="8" y="35"/>
                    <a:pt x="18" y="35"/>
                  </a:cubicBezTo>
                  <a:cubicBezTo>
                    <a:pt x="28" y="35"/>
                    <a:pt x="35" y="28"/>
                    <a:pt x="35" y="18"/>
                  </a:cubicBezTo>
                  <a:cubicBezTo>
                    <a:pt x="35" y="8"/>
                    <a:pt x="28" y="0"/>
                    <a:pt x="18" y="0"/>
                  </a:cubicBezTo>
                  <a:close/>
                  <a:moveTo>
                    <a:pt x="31" y="71"/>
                  </a:moveTo>
                  <a:cubicBezTo>
                    <a:pt x="31" y="71"/>
                    <a:pt x="31" y="71"/>
                    <a:pt x="31" y="71"/>
                  </a:cubicBezTo>
                  <a:moveTo>
                    <a:pt x="31" y="71"/>
                  </a:moveTo>
                  <a:cubicBezTo>
                    <a:pt x="5" y="71"/>
                    <a:pt x="5" y="71"/>
                    <a:pt x="5" y="71"/>
                  </a:cubicBezTo>
                  <a:cubicBezTo>
                    <a:pt x="5" y="204"/>
                    <a:pt x="5" y="204"/>
                    <a:pt x="5" y="204"/>
                  </a:cubicBezTo>
                  <a:cubicBezTo>
                    <a:pt x="31" y="204"/>
                    <a:pt x="31" y="204"/>
                    <a:pt x="31" y="204"/>
                  </a:cubicBezTo>
                  <a:lnTo>
                    <a:pt x="31"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45" name="Freeform 17">
              <a:extLst>
                <a:ext uri="{FF2B5EF4-FFF2-40B4-BE49-F238E27FC236}">
                  <a16:creationId xmlns:a16="http://schemas.microsoft.com/office/drawing/2014/main" id="{AE5D4C76-1431-DC28-2A3B-F61F91F0F1D7}"/>
                </a:ext>
              </a:extLst>
            </p:cNvPr>
            <p:cNvSpPr>
              <a:spLocks/>
            </p:cNvSpPr>
            <p:nvPr/>
          </p:nvSpPr>
          <p:spPr bwMode="auto">
            <a:xfrm>
              <a:off x="7061200" y="5722938"/>
              <a:ext cx="136525" cy="165099"/>
            </a:xfrm>
            <a:custGeom>
              <a:avLst/>
              <a:gdLst>
                <a:gd name="T0" fmla="*/ 25 w 113"/>
                <a:gd name="T1" fmla="*/ 4 h 137"/>
                <a:gd name="T2" fmla="*/ 0 w 113"/>
                <a:gd name="T3" fmla="*/ 4 h 137"/>
                <a:gd name="T4" fmla="*/ 0 w 113"/>
                <a:gd name="T5" fmla="*/ 137 h 137"/>
                <a:gd name="T6" fmla="*/ 25 w 113"/>
                <a:gd name="T7" fmla="*/ 137 h 137"/>
                <a:gd name="T8" fmla="*/ 25 w 113"/>
                <a:gd name="T9" fmla="*/ 76 h 137"/>
                <a:gd name="T10" fmla="*/ 58 w 113"/>
                <a:gd name="T11" fmla="*/ 23 h 137"/>
                <a:gd name="T12" fmla="*/ 88 w 113"/>
                <a:gd name="T13" fmla="*/ 61 h 137"/>
                <a:gd name="T14" fmla="*/ 88 w 113"/>
                <a:gd name="T15" fmla="*/ 137 h 137"/>
                <a:gd name="T16" fmla="*/ 113 w 113"/>
                <a:gd name="T17" fmla="*/ 137 h 137"/>
                <a:gd name="T18" fmla="*/ 113 w 113"/>
                <a:gd name="T19" fmla="*/ 58 h 137"/>
                <a:gd name="T20" fmla="*/ 66 w 113"/>
                <a:gd name="T21" fmla="*/ 0 h 137"/>
                <a:gd name="T22" fmla="*/ 26 w 113"/>
                <a:gd name="T23" fmla="*/ 22 h 137"/>
                <a:gd name="T24" fmla="*/ 25 w 113"/>
                <a:gd name="T25" fmla="*/ 22 h 137"/>
                <a:gd name="T26" fmla="*/ 25 w 113"/>
                <a:gd name="T27" fmla="*/ 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37">
                  <a:moveTo>
                    <a:pt x="25" y="4"/>
                  </a:moveTo>
                  <a:cubicBezTo>
                    <a:pt x="0" y="4"/>
                    <a:pt x="0" y="4"/>
                    <a:pt x="0" y="4"/>
                  </a:cubicBezTo>
                  <a:cubicBezTo>
                    <a:pt x="0" y="137"/>
                    <a:pt x="0" y="137"/>
                    <a:pt x="0" y="137"/>
                  </a:cubicBezTo>
                  <a:cubicBezTo>
                    <a:pt x="25" y="137"/>
                    <a:pt x="25" y="137"/>
                    <a:pt x="25" y="137"/>
                  </a:cubicBezTo>
                  <a:cubicBezTo>
                    <a:pt x="25" y="76"/>
                    <a:pt x="25" y="76"/>
                    <a:pt x="25" y="76"/>
                  </a:cubicBezTo>
                  <a:cubicBezTo>
                    <a:pt x="25" y="52"/>
                    <a:pt x="25" y="23"/>
                    <a:pt x="58" y="23"/>
                  </a:cubicBezTo>
                  <a:cubicBezTo>
                    <a:pt x="84" y="23"/>
                    <a:pt x="88" y="38"/>
                    <a:pt x="88" y="61"/>
                  </a:cubicBezTo>
                  <a:cubicBezTo>
                    <a:pt x="88" y="137"/>
                    <a:pt x="88" y="137"/>
                    <a:pt x="88" y="137"/>
                  </a:cubicBezTo>
                  <a:cubicBezTo>
                    <a:pt x="113" y="137"/>
                    <a:pt x="113" y="137"/>
                    <a:pt x="113" y="137"/>
                  </a:cubicBezTo>
                  <a:cubicBezTo>
                    <a:pt x="113" y="58"/>
                    <a:pt x="113" y="58"/>
                    <a:pt x="113" y="58"/>
                  </a:cubicBezTo>
                  <a:cubicBezTo>
                    <a:pt x="113" y="26"/>
                    <a:pt x="104" y="0"/>
                    <a:pt x="66" y="0"/>
                  </a:cubicBezTo>
                  <a:cubicBezTo>
                    <a:pt x="50" y="0"/>
                    <a:pt x="34" y="8"/>
                    <a:pt x="26" y="22"/>
                  </a:cubicBezTo>
                  <a:cubicBezTo>
                    <a:pt x="25" y="22"/>
                    <a:pt x="25" y="22"/>
                    <a:pt x="25" y="22"/>
                  </a:cubicBezTo>
                  <a:lnTo>
                    <a:pt x="25" y="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46" name="Freeform 18">
              <a:extLst>
                <a:ext uri="{FF2B5EF4-FFF2-40B4-BE49-F238E27FC236}">
                  <a16:creationId xmlns:a16="http://schemas.microsoft.com/office/drawing/2014/main" id="{0C4C222C-A9DC-CF56-E4AF-FDBC9C8C9AB4}"/>
                </a:ext>
              </a:extLst>
            </p:cNvPr>
            <p:cNvSpPr>
              <a:spLocks noEditPoints="1"/>
            </p:cNvSpPr>
            <p:nvPr/>
          </p:nvSpPr>
          <p:spPr bwMode="auto">
            <a:xfrm>
              <a:off x="7256463" y="5641975"/>
              <a:ext cx="41275" cy="246063"/>
            </a:xfrm>
            <a:custGeom>
              <a:avLst/>
              <a:gdLst>
                <a:gd name="T0" fmla="*/ 17 w 35"/>
                <a:gd name="T1" fmla="*/ 0 h 204"/>
                <a:gd name="T2" fmla="*/ 0 w 35"/>
                <a:gd name="T3" fmla="*/ 18 h 204"/>
                <a:gd name="T4" fmla="*/ 17 w 35"/>
                <a:gd name="T5" fmla="*/ 35 h 204"/>
                <a:gd name="T6" fmla="*/ 35 w 35"/>
                <a:gd name="T7" fmla="*/ 18 h 204"/>
                <a:gd name="T8" fmla="*/ 17 w 35"/>
                <a:gd name="T9" fmla="*/ 0 h 204"/>
                <a:gd name="T10" fmla="*/ 30 w 35"/>
                <a:gd name="T11" fmla="*/ 71 h 204"/>
                <a:gd name="T12" fmla="*/ 30 w 35"/>
                <a:gd name="T13" fmla="*/ 71 h 204"/>
                <a:gd name="T14" fmla="*/ 30 w 35"/>
                <a:gd name="T15" fmla="*/ 71 h 204"/>
                <a:gd name="T16" fmla="*/ 4 w 35"/>
                <a:gd name="T17" fmla="*/ 71 h 204"/>
                <a:gd name="T18" fmla="*/ 4 w 35"/>
                <a:gd name="T19" fmla="*/ 204 h 204"/>
                <a:gd name="T20" fmla="*/ 30 w 35"/>
                <a:gd name="T21" fmla="*/ 204 h 204"/>
                <a:gd name="T22" fmla="*/ 30 w 35"/>
                <a:gd name="T23" fmla="*/ 7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04">
                  <a:moveTo>
                    <a:pt x="17" y="0"/>
                  </a:moveTo>
                  <a:cubicBezTo>
                    <a:pt x="8" y="0"/>
                    <a:pt x="0" y="8"/>
                    <a:pt x="0" y="18"/>
                  </a:cubicBezTo>
                  <a:cubicBezTo>
                    <a:pt x="0" y="28"/>
                    <a:pt x="8" y="35"/>
                    <a:pt x="17" y="35"/>
                  </a:cubicBezTo>
                  <a:cubicBezTo>
                    <a:pt x="27" y="35"/>
                    <a:pt x="35" y="28"/>
                    <a:pt x="35" y="18"/>
                  </a:cubicBezTo>
                  <a:cubicBezTo>
                    <a:pt x="35" y="8"/>
                    <a:pt x="27" y="0"/>
                    <a:pt x="17" y="0"/>
                  </a:cubicBezTo>
                  <a:close/>
                  <a:moveTo>
                    <a:pt x="30" y="71"/>
                  </a:moveTo>
                  <a:cubicBezTo>
                    <a:pt x="30" y="71"/>
                    <a:pt x="30" y="71"/>
                    <a:pt x="30" y="71"/>
                  </a:cubicBezTo>
                  <a:moveTo>
                    <a:pt x="30" y="71"/>
                  </a:moveTo>
                  <a:cubicBezTo>
                    <a:pt x="4" y="71"/>
                    <a:pt x="4" y="71"/>
                    <a:pt x="4" y="71"/>
                  </a:cubicBezTo>
                  <a:cubicBezTo>
                    <a:pt x="4" y="204"/>
                    <a:pt x="4" y="204"/>
                    <a:pt x="4" y="204"/>
                  </a:cubicBezTo>
                  <a:cubicBezTo>
                    <a:pt x="30" y="204"/>
                    <a:pt x="30" y="204"/>
                    <a:pt x="30" y="204"/>
                  </a:cubicBezTo>
                  <a:lnTo>
                    <a:pt x="30"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47" name="Freeform 19">
              <a:extLst>
                <a:ext uri="{FF2B5EF4-FFF2-40B4-BE49-F238E27FC236}">
                  <a16:creationId xmlns:a16="http://schemas.microsoft.com/office/drawing/2014/main" id="{39589E69-3E03-443E-BF3F-D3A0D45DABD2}"/>
                </a:ext>
              </a:extLst>
            </p:cNvPr>
            <p:cNvSpPr>
              <a:spLocks/>
            </p:cNvSpPr>
            <p:nvPr/>
          </p:nvSpPr>
          <p:spPr bwMode="auto">
            <a:xfrm>
              <a:off x="7343775" y="5667375"/>
              <a:ext cx="77788" cy="220663"/>
            </a:xfrm>
            <a:custGeom>
              <a:avLst/>
              <a:gdLst>
                <a:gd name="T0" fmla="*/ 30 w 49"/>
                <a:gd name="T1" fmla="*/ 56 h 139"/>
                <a:gd name="T2" fmla="*/ 49 w 49"/>
                <a:gd name="T3" fmla="*/ 56 h 139"/>
                <a:gd name="T4" fmla="*/ 49 w 49"/>
                <a:gd name="T5" fmla="*/ 38 h 139"/>
                <a:gd name="T6" fmla="*/ 30 w 49"/>
                <a:gd name="T7" fmla="*/ 38 h 139"/>
                <a:gd name="T8" fmla="*/ 30 w 49"/>
                <a:gd name="T9" fmla="*/ 0 h 139"/>
                <a:gd name="T10" fmla="*/ 11 w 49"/>
                <a:gd name="T11" fmla="*/ 0 h 139"/>
                <a:gd name="T12" fmla="*/ 11 w 49"/>
                <a:gd name="T13" fmla="*/ 38 h 139"/>
                <a:gd name="T14" fmla="*/ 0 w 49"/>
                <a:gd name="T15" fmla="*/ 38 h 139"/>
                <a:gd name="T16" fmla="*/ 0 w 49"/>
                <a:gd name="T17" fmla="*/ 56 h 139"/>
                <a:gd name="T18" fmla="*/ 11 w 49"/>
                <a:gd name="T19" fmla="*/ 56 h 139"/>
                <a:gd name="T20" fmla="*/ 11 w 49"/>
                <a:gd name="T21" fmla="*/ 139 h 139"/>
                <a:gd name="T22" fmla="*/ 30 w 49"/>
                <a:gd name="T23" fmla="*/ 139 h 139"/>
                <a:gd name="T24" fmla="*/ 30 w 49"/>
                <a:gd name="T25" fmla="*/ 5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139">
                  <a:moveTo>
                    <a:pt x="30" y="56"/>
                  </a:moveTo>
                  <a:lnTo>
                    <a:pt x="49" y="56"/>
                  </a:lnTo>
                  <a:lnTo>
                    <a:pt x="49" y="38"/>
                  </a:lnTo>
                  <a:lnTo>
                    <a:pt x="30" y="38"/>
                  </a:lnTo>
                  <a:lnTo>
                    <a:pt x="30" y="0"/>
                  </a:lnTo>
                  <a:lnTo>
                    <a:pt x="11" y="0"/>
                  </a:lnTo>
                  <a:lnTo>
                    <a:pt x="11" y="38"/>
                  </a:lnTo>
                  <a:lnTo>
                    <a:pt x="0" y="38"/>
                  </a:lnTo>
                  <a:lnTo>
                    <a:pt x="0" y="56"/>
                  </a:lnTo>
                  <a:lnTo>
                    <a:pt x="11" y="56"/>
                  </a:lnTo>
                  <a:lnTo>
                    <a:pt x="11" y="139"/>
                  </a:lnTo>
                  <a:lnTo>
                    <a:pt x="30" y="139"/>
                  </a:lnTo>
                  <a:lnTo>
                    <a:pt x="30" y="5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sp>
          <p:nvSpPr>
            <p:cNvPr id="48" name="Freeform 20">
              <a:extLst>
                <a:ext uri="{FF2B5EF4-FFF2-40B4-BE49-F238E27FC236}">
                  <a16:creationId xmlns:a16="http://schemas.microsoft.com/office/drawing/2014/main" id="{900F930A-6E3F-1969-4F03-9F8A275D003B}"/>
                </a:ext>
              </a:extLst>
            </p:cNvPr>
            <p:cNvSpPr>
              <a:spLocks noEditPoints="1"/>
            </p:cNvSpPr>
            <p:nvPr/>
          </p:nvSpPr>
          <p:spPr bwMode="auto">
            <a:xfrm>
              <a:off x="7440613" y="5722938"/>
              <a:ext cx="152400" cy="169863"/>
            </a:xfrm>
            <a:custGeom>
              <a:avLst/>
              <a:gdLst>
                <a:gd name="T0" fmla="*/ 27 w 127"/>
                <a:gd name="T1" fmla="*/ 56 h 142"/>
                <a:gd name="T2" fmla="*/ 65 w 127"/>
                <a:gd name="T3" fmla="*/ 23 h 142"/>
                <a:gd name="T4" fmla="*/ 102 w 127"/>
                <a:gd name="T5" fmla="*/ 56 h 142"/>
                <a:gd name="T6" fmla="*/ 27 w 127"/>
                <a:gd name="T7" fmla="*/ 56 h 142"/>
                <a:gd name="T8" fmla="*/ 127 w 127"/>
                <a:gd name="T9" fmla="*/ 75 h 142"/>
                <a:gd name="T10" fmla="*/ 127 w 127"/>
                <a:gd name="T11" fmla="*/ 71 h 142"/>
                <a:gd name="T12" fmla="*/ 65 w 127"/>
                <a:gd name="T13" fmla="*/ 0 h 142"/>
                <a:gd name="T14" fmla="*/ 0 w 127"/>
                <a:gd name="T15" fmla="*/ 72 h 142"/>
                <a:gd name="T16" fmla="*/ 66 w 127"/>
                <a:gd name="T17" fmla="*/ 142 h 142"/>
                <a:gd name="T18" fmla="*/ 127 w 127"/>
                <a:gd name="T19" fmla="*/ 106 h 142"/>
                <a:gd name="T20" fmla="*/ 106 w 127"/>
                <a:gd name="T21" fmla="*/ 93 h 142"/>
                <a:gd name="T22" fmla="*/ 66 w 127"/>
                <a:gd name="T23" fmla="*/ 119 h 142"/>
                <a:gd name="T24" fmla="*/ 26 w 127"/>
                <a:gd name="T25" fmla="*/ 75 h 142"/>
                <a:gd name="T26" fmla="*/ 127 w 127"/>
                <a:gd name="T27" fmla="*/ 7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142">
                  <a:moveTo>
                    <a:pt x="27" y="56"/>
                  </a:moveTo>
                  <a:cubicBezTo>
                    <a:pt x="30" y="37"/>
                    <a:pt x="45" y="23"/>
                    <a:pt x="65" y="23"/>
                  </a:cubicBezTo>
                  <a:cubicBezTo>
                    <a:pt x="86" y="23"/>
                    <a:pt x="99" y="36"/>
                    <a:pt x="102" y="56"/>
                  </a:cubicBezTo>
                  <a:lnTo>
                    <a:pt x="27" y="56"/>
                  </a:lnTo>
                  <a:close/>
                  <a:moveTo>
                    <a:pt x="127" y="75"/>
                  </a:moveTo>
                  <a:cubicBezTo>
                    <a:pt x="127" y="71"/>
                    <a:pt x="127" y="71"/>
                    <a:pt x="127" y="71"/>
                  </a:cubicBezTo>
                  <a:cubicBezTo>
                    <a:pt x="127" y="32"/>
                    <a:pt x="107" y="0"/>
                    <a:pt x="65" y="0"/>
                  </a:cubicBezTo>
                  <a:cubicBezTo>
                    <a:pt x="22" y="0"/>
                    <a:pt x="0" y="31"/>
                    <a:pt x="0" y="72"/>
                  </a:cubicBezTo>
                  <a:cubicBezTo>
                    <a:pt x="0" y="111"/>
                    <a:pt x="25" y="142"/>
                    <a:pt x="66" y="142"/>
                  </a:cubicBezTo>
                  <a:cubicBezTo>
                    <a:pt x="92" y="142"/>
                    <a:pt x="115" y="129"/>
                    <a:pt x="127" y="106"/>
                  </a:cubicBezTo>
                  <a:cubicBezTo>
                    <a:pt x="106" y="93"/>
                    <a:pt x="106" y="93"/>
                    <a:pt x="106" y="93"/>
                  </a:cubicBezTo>
                  <a:cubicBezTo>
                    <a:pt x="96" y="109"/>
                    <a:pt x="86" y="119"/>
                    <a:pt x="66" y="119"/>
                  </a:cubicBezTo>
                  <a:cubicBezTo>
                    <a:pt x="41" y="119"/>
                    <a:pt x="26" y="98"/>
                    <a:pt x="26" y="75"/>
                  </a:cubicBezTo>
                  <a:lnTo>
                    <a:pt x="127" y="7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FF0000"/>
                </a:solidFill>
              </a:endParaRPr>
            </a:p>
          </p:txBody>
        </p:sp>
      </p:grpSp>
      <p:grpSp>
        <p:nvGrpSpPr>
          <p:cNvPr id="50" name="Group 49">
            <a:extLst>
              <a:ext uri="{FF2B5EF4-FFF2-40B4-BE49-F238E27FC236}">
                <a16:creationId xmlns:a16="http://schemas.microsoft.com/office/drawing/2014/main" id="{A0235BD0-2A34-08D0-3EB9-DFE4C118967E}"/>
              </a:ext>
            </a:extLst>
          </p:cNvPr>
          <p:cNvGrpSpPr/>
          <p:nvPr/>
        </p:nvGrpSpPr>
        <p:grpSpPr>
          <a:xfrm>
            <a:off x="4784229" y="1188566"/>
            <a:ext cx="6756924" cy="3207207"/>
            <a:chOff x="-751457" y="873088"/>
            <a:chExt cx="9337406" cy="3845618"/>
          </a:xfrm>
        </p:grpSpPr>
        <p:sp>
          <p:nvSpPr>
            <p:cNvPr id="51" name="TextBox 50">
              <a:extLst>
                <a:ext uri="{FF2B5EF4-FFF2-40B4-BE49-F238E27FC236}">
                  <a16:creationId xmlns:a16="http://schemas.microsoft.com/office/drawing/2014/main" id="{43D8B10A-92B8-2F36-15CF-B003FE5CF978}"/>
                </a:ext>
              </a:extLst>
            </p:cNvPr>
            <p:cNvSpPr txBox="1"/>
            <p:nvPr/>
          </p:nvSpPr>
          <p:spPr>
            <a:xfrm>
              <a:off x="2943682" y="873088"/>
              <a:ext cx="2016889" cy="4797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srgbClr val="013482"/>
                  </a:solidFill>
                </a:rPr>
                <a:t>C</a:t>
              </a:r>
              <a:r>
                <a:rPr kumimoji="0" lang="en-US" sz="2000" b="1" i="0" u="none" strike="noStrike" kern="1200" cap="none" spc="0" normalizeH="0" baseline="0" noProof="0" err="1">
                  <a:ln>
                    <a:noFill/>
                  </a:ln>
                  <a:solidFill>
                    <a:srgbClr val="013482"/>
                  </a:solidFill>
                  <a:effectLst/>
                  <a:uLnTx/>
                  <a:uFillTx/>
                  <a:ea typeface="+mn-ea"/>
                  <a:cs typeface="+mn-cs"/>
                </a:rPr>
                <a:t>ustomers</a:t>
              </a:r>
              <a:endParaRPr kumimoji="0" lang="en-IN" sz="2000" b="1" i="0" u="none" strike="noStrike" kern="1200" cap="none" spc="0" normalizeH="0" baseline="0" noProof="0">
                <a:ln>
                  <a:noFill/>
                </a:ln>
                <a:solidFill>
                  <a:srgbClr val="013482"/>
                </a:solidFill>
                <a:effectLst/>
                <a:uLnTx/>
                <a:uFillTx/>
                <a:ea typeface="+mn-ea"/>
                <a:cs typeface="+mn-cs"/>
              </a:endParaRPr>
            </a:p>
          </p:txBody>
        </p:sp>
        <p:sp>
          <p:nvSpPr>
            <p:cNvPr id="52" name="TextBox 51">
              <a:extLst>
                <a:ext uri="{FF2B5EF4-FFF2-40B4-BE49-F238E27FC236}">
                  <a16:creationId xmlns:a16="http://schemas.microsoft.com/office/drawing/2014/main" id="{FC1F3ECF-E3BC-8A4E-5655-86170CB7C4DD}"/>
                </a:ext>
              </a:extLst>
            </p:cNvPr>
            <p:cNvSpPr txBox="1"/>
            <p:nvPr/>
          </p:nvSpPr>
          <p:spPr>
            <a:xfrm>
              <a:off x="6553199" y="4238952"/>
              <a:ext cx="2032750" cy="4797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srgbClr val="013482"/>
                  </a:solidFill>
                </a:rPr>
                <a:t>E</a:t>
              </a:r>
              <a:r>
                <a:rPr kumimoji="0" lang="en-US" sz="2000" b="1" i="0" u="none" strike="noStrike" kern="1200" cap="none" spc="0" normalizeH="0" baseline="0" noProof="0" err="1">
                  <a:ln>
                    <a:noFill/>
                  </a:ln>
                  <a:solidFill>
                    <a:srgbClr val="013482"/>
                  </a:solidFill>
                  <a:effectLst/>
                  <a:uLnTx/>
                  <a:uFillTx/>
                  <a:ea typeface="+mn-ea"/>
                  <a:cs typeface="+mn-cs"/>
                </a:rPr>
                <a:t>mployees</a:t>
              </a:r>
              <a:endParaRPr kumimoji="0" lang="en-IN" sz="2000" b="1" i="0" u="none" strike="noStrike" kern="1200" cap="none" spc="0" normalizeH="0" baseline="0" noProof="0">
                <a:ln>
                  <a:noFill/>
                </a:ln>
                <a:solidFill>
                  <a:srgbClr val="013482"/>
                </a:solidFill>
                <a:effectLst/>
                <a:uLnTx/>
                <a:uFillTx/>
                <a:ea typeface="+mn-ea"/>
                <a:cs typeface="+mn-cs"/>
              </a:endParaRPr>
            </a:p>
          </p:txBody>
        </p:sp>
        <p:sp>
          <p:nvSpPr>
            <p:cNvPr id="53" name="TextBox 52">
              <a:extLst>
                <a:ext uri="{FF2B5EF4-FFF2-40B4-BE49-F238E27FC236}">
                  <a16:creationId xmlns:a16="http://schemas.microsoft.com/office/drawing/2014/main" id="{8189DEA3-FDD1-11AA-B2D9-1EDA309422A1}"/>
                </a:ext>
              </a:extLst>
            </p:cNvPr>
            <p:cNvSpPr txBox="1"/>
            <p:nvPr/>
          </p:nvSpPr>
          <p:spPr>
            <a:xfrm>
              <a:off x="-751457" y="4227282"/>
              <a:ext cx="2398700" cy="4797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srgbClr val="013482"/>
                  </a:solidFill>
                </a:rPr>
                <a:t>S</a:t>
              </a:r>
              <a:r>
                <a:rPr kumimoji="0" lang="en-US" sz="2000" b="1" i="0" u="none" strike="noStrike" kern="1200" cap="none" spc="0" normalizeH="0" baseline="0" noProof="0" err="1">
                  <a:ln>
                    <a:noFill/>
                  </a:ln>
                  <a:solidFill>
                    <a:srgbClr val="013482"/>
                  </a:solidFill>
                  <a:effectLst/>
                  <a:uLnTx/>
                  <a:uFillTx/>
                  <a:ea typeface="+mn-ea"/>
                  <a:cs typeface="+mn-cs"/>
                </a:rPr>
                <a:t>takeholders</a:t>
              </a:r>
              <a:endParaRPr kumimoji="0" lang="en-IN" sz="2000" b="1" i="0" u="none" strike="noStrike" kern="1200" cap="none" spc="0" normalizeH="0" baseline="0" noProof="0">
                <a:ln>
                  <a:noFill/>
                </a:ln>
                <a:solidFill>
                  <a:srgbClr val="013482"/>
                </a:solidFill>
                <a:effectLst/>
                <a:uLnTx/>
                <a:uFillTx/>
                <a:ea typeface="+mn-ea"/>
                <a:cs typeface="+mn-cs"/>
              </a:endParaRPr>
            </a:p>
          </p:txBody>
        </p:sp>
        <p:sp>
          <p:nvSpPr>
            <p:cNvPr id="54" name="TextBox 53">
              <a:extLst>
                <a:ext uri="{FF2B5EF4-FFF2-40B4-BE49-F238E27FC236}">
                  <a16:creationId xmlns:a16="http://schemas.microsoft.com/office/drawing/2014/main" id="{15A7B133-747C-25FB-72B5-DB59F02A0E0E}"/>
                </a:ext>
              </a:extLst>
            </p:cNvPr>
            <p:cNvSpPr txBox="1"/>
            <p:nvPr/>
          </p:nvSpPr>
          <p:spPr>
            <a:xfrm rot="3136223">
              <a:off x="1068035" y="2810534"/>
              <a:ext cx="2181879" cy="1141658"/>
            </a:xfrm>
            <a:prstGeom prst="rect">
              <a:avLst/>
            </a:prstGeom>
            <a:noFill/>
          </p:spPr>
          <p:txBody>
            <a:bodyPr wrap="none" rtlCol="0">
              <a:prstTxWarp prst="textArchDown">
                <a:avLst>
                  <a:gd name="adj" fmla="val 1195263"/>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ea typeface="+mn-ea"/>
                  <a:cs typeface="+mn-cs"/>
                </a:rPr>
                <a:t>synergy circle </a:t>
              </a:r>
              <a:endParaRPr kumimoji="0" lang="en-IN" sz="2000" b="1" i="0" u="none" strike="noStrike" kern="1200" cap="none" spc="0" normalizeH="0" baseline="0" noProof="0">
                <a:ln>
                  <a:noFill/>
                </a:ln>
                <a:effectLst/>
                <a:uLnTx/>
                <a:uFillTx/>
                <a:ea typeface="+mn-ea"/>
                <a:cs typeface="+mn-cs"/>
              </a:endParaRPr>
            </a:p>
          </p:txBody>
        </p:sp>
        <p:sp>
          <p:nvSpPr>
            <p:cNvPr id="55" name="TextBox 54">
              <a:extLst>
                <a:ext uri="{FF2B5EF4-FFF2-40B4-BE49-F238E27FC236}">
                  <a16:creationId xmlns:a16="http://schemas.microsoft.com/office/drawing/2014/main" id="{3A9380E4-4032-221A-493E-DF173C63DFBC}"/>
                </a:ext>
              </a:extLst>
            </p:cNvPr>
            <p:cNvSpPr txBox="1"/>
            <p:nvPr/>
          </p:nvSpPr>
          <p:spPr>
            <a:xfrm rot="18039134">
              <a:off x="4176502" y="1672855"/>
              <a:ext cx="1194001" cy="498065"/>
            </a:xfrm>
            <a:prstGeom prst="rect">
              <a:avLst/>
            </a:prstGeom>
            <a:noFill/>
          </p:spPr>
          <p:txBody>
            <a:bodyPr wrap="non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ea typeface="+mn-ea"/>
                  <a:cs typeface="+mn-cs"/>
                </a:rPr>
                <a:t>Integrity </a:t>
              </a:r>
            </a:p>
          </p:txBody>
        </p:sp>
        <p:sp>
          <p:nvSpPr>
            <p:cNvPr id="56" name="TextBox 55">
              <a:extLst>
                <a:ext uri="{FF2B5EF4-FFF2-40B4-BE49-F238E27FC236}">
                  <a16:creationId xmlns:a16="http://schemas.microsoft.com/office/drawing/2014/main" id="{33E16438-46B5-EF60-C28F-7C1F9295518A}"/>
                </a:ext>
              </a:extLst>
            </p:cNvPr>
            <p:cNvSpPr txBox="1"/>
            <p:nvPr/>
          </p:nvSpPr>
          <p:spPr>
            <a:xfrm rot="18054535">
              <a:off x="4825076" y="1795183"/>
              <a:ext cx="1332238" cy="498065"/>
            </a:xfrm>
            <a:prstGeom prst="rect">
              <a:avLst/>
            </a:prstGeom>
            <a:noFill/>
          </p:spPr>
          <p:txBody>
            <a:bodyPr wrap="non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ea typeface="+mn-ea"/>
                  <a:cs typeface="+mn-cs"/>
                </a:rPr>
                <a:t>Innovative</a:t>
              </a:r>
            </a:p>
          </p:txBody>
        </p:sp>
        <p:sp>
          <p:nvSpPr>
            <p:cNvPr id="57" name="TextBox 56">
              <a:extLst>
                <a:ext uri="{FF2B5EF4-FFF2-40B4-BE49-F238E27FC236}">
                  <a16:creationId xmlns:a16="http://schemas.microsoft.com/office/drawing/2014/main" id="{2F3F4FFB-7759-991C-749E-AC6F86F9AC44}"/>
                </a:ext>
              </a:extLst>
            </p:cNvPr>
            <p:cNvSpPr txBox="1"/>
            <p:nvPr/>
          </p:nvSpPr>
          <p:spPr>
            <a:xfrm rot="18112693">
              <a:off x="5768735" y="1719826"/>
              <a:ext cx="1078676" cy="498065"/>
            </a:xfrm>
            <a:prstGeom prst="rect">
              <a:avLst/>
            </a:prstGeom>
            <a:noFill/>
          </p:spPr>
          <p:txBody>
            <a:bodyPr wrap="non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ea typeface="+mn-ea"/>
                  <a:cs typeface="+mn-cs"/>
                </a:rPr>
                <a:t>Intellect</a:t>
              </a:r>
            </a:p>
          </p:txBody>
        </p:sp>
      </p:grpSp>
      <p:sp>
        <p:nvSpPr>
          <p:cNvPr id="58" name="TextBox 57">
            <a:extLst>
              <a:ext uri="{FF2B5EF4-FFF2-40B4-BE49-F238E27FC236}">
                <a16:creationId xmlns:a16="http://schemas.microsoft.com/office/drawing/2014/main" id="{0DF5846B-BBC5-C9BC-8F99-DF0667C55376}"/>
              </a:ext>
            </a:extLst>
          </p:cNvPr>
          <p:cNvSpPr txBox="1"/>
          <p:nvPr/>
        </p:nvSpPr>
        <p:spPr>
          <a:xfrm>
            <a:off x="1135813" y="1480641"/>
            <a:ext cx="25370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ission Statement </a:t>
            </a:r>
          </a:p>
        </p:txBody>
      </p:sp>
      <p:sp>
        <p:nvSpPr>
          <p:cNvPr id="59" name="TextBox 58">
            <a:extLst>
              <a:ext uri="{FF2B5EF4-FFF2-40B4-BE49-F238E27FC236}">
                <a16:creationId xmlns:a16="http://schemas.microsoft.com/office/drawing/2014/main" id="{2545B821-6E33-1A5A-58D6-75C2D9CA05AD}"/>
              </a:ext>
            </a:extLst>
          </p:cNvPr>
          <p:cNvSpPr txBox="1"/>
          <p:nvPr/>
        </p:nvSpPr>
        <p:spPr>
          <a:xfrm>
            <a:off x="1135813" y="1932127"/>
            <a:ext cx="208504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lighted Customers, Proud Employees</a:t>
            </a:r>
          </a:p>
        </p:txBody>
      </p:sp>
      <p:sp>
        <p:nvSpPr>
          <p:cNvPr id="60" name="TextBox 59">
            <a:extLst>
              <a:ext uri="{FF2B5EF4-FFF2-40B4-BE49-F238E27FC236}">
                <a16:creationId xmlns:a16="http://schemas.microsoft.com/office/drawing/2014/main" id="{271BF132-908B-3458-DA48-CA445A3BA23F}"/>
              </a:ext>
            </a:extLst>
          </p:cNvPr>
          <p:cNvSpPr txBox="1"/>
          <p:nvPr/>
        </p:nvSpPr>
        <p:spPr>
          <a:xfrm>
            <a:off x="1135813" y="3347795"/>
            <a:ext cx="25370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ision Statement</a:t>
            </a:r>
          </a:p>
        </p:txBody>
      </p:sp>
      <p:sp>
        <p:nvSpPr>
          <p:cNvPr id="61" name="TextBox 60">
            <a:extLst>
              <a:ext uri="{FF2B5EF4-FFF2-40B4-BE49-F238E27FC236}">
                <a16:creationId xmlns:a16="http://schemas.microsoft.com/office/drawing/2014/main" id="{561FDD6E-8829-7A6A-B7B3-CE20CCDB00FF}"/>
              </a:ext>
            </a:extLst>
          </p:cNvPr>
          <p:cNvSpPr txBox="1"/>
          <p:nvPr/>
        </p:nvSpPr>
        <p:spPr>
          <a:xfrm>
            <a:off x="1135814" y="3803477"/>
            <a:ext cx="2537073"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To maximize </a:t>
            </a: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alue for customers </a:t>
            </a: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by delivering high quality solutions and services; driven by Intellect, Innovation and </a:t>
            </a: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tegrity;</a:t>
            </a: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in a fun, and </a:t>
            </a: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healthy environment</a:t>
            </a:r>
          </a:p>
        </p:txBody>
      </p:sp>
      <p:cxnSp>
        <p:nvCxnSpPr>
          <p:cNvPr id="62" name="Straight Connector 61">
            <a:extLst>
              <a:ext uri="{FF2B5EF4-FFF2-40B4-BE49-F238E27FC236}">
                <a16:creationId xmlns:a16="http://schemas.microsoft.com/office/drawing/2014/main" id="{37FB90B8-B348-DAA9-F022-7CAC9A831B2C}"/>
              </a:ext>
            </a:extLst>
          </p:cNvPr>
          <p:cNvCxnSpPr>
            <a:cxnSpLocks/>
          </p:cNvCxnSpPr>
          <p:nvPr/>
        </p:nvCxnSpPr>
        <p:spPr>
          <a:xfrm>
            <a:off x="476944" y="2816343"/>
            <a:ext cx="3439219" cy="0"/>
          </a:xfrm>
          <a:prstGeom prst="line">
            <a:avLst/>
          </a:prstGeom>
          <a:ln w="19050">
            <a:gradFill flip="none" rotWithShape="1">
              <a:gsLst>
                <a:gs pos="0">
                  <a:srgbClr val="3FB6FA"/>
                </a:gs>
                <a:gs pos="100000">
                  <a:srgbClr val="8745A6"/>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63" name="Graphic 62" descr="Target outline">
            <a:extLst>
              <a:ext uri="{FF2B5EF4-FFF2-40B4-BE49-F238E27FC236}">
                <a16:creationId xmlns:a16="http://schemas.microsoft.com/office/drawing/2014/main" id="{009D42B8-FABC-4ACF-3690-FB16C59C8E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6994" y="3221055"/>
            <a:ext cx="655597" cy="655597"/>
          </a:xfrm>
          <a:prstGeom prst="rect">
            <a:avLst/>
          </a:prstGeom>
        </p:spPr>
      </p:pic>
      <p:pic>
        <p:nvPicPr>
          <p:cNvPr id="64" name="Graphic 63" descr="Bullseye outline">
            <a:extLst>
              <a:ext uri="{FF2B5EF4-FFF2-40B4-BE49-F238E27FC236}">
                <a16:creationId xmlns:a16="http://schemas.microsoft.com/office/drawing/2014/main" id="{35AF3A61-AC41-B726-60D9-2160CA8831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6994" y="1298567"/>
            <a:ext cx="655597" cy="655597"/>
          </a:xfrm>
          <a:prstGeom prst="rect">
            <a:avLst/>
          </a:prstGeom>
        </p:spPr>
      </p:pic>
      <p:grpSp>
        <p:nvGrpSpPr>
          <p:cNvPr id="65" name="Graphic 1050" descr="Users outline">
            <a:extLst>
              <a:ext uri="{FF2B5EF4-FFF2-40B4-BE49-F238E27FC236}">
                <a16:creationId xmlns:a16="http://schemas.microsoft.com/office/drawing/2014/main" id="{6F610B8E-5E64-6A68-A190-CD22A8CB8C14}"/>
              </a:ext>
            </a:extLst>
          </p:cNvPr>
          <p:cNvGrpSpPr/>
          <p:nvPr/>
        </p:nvGrpSpPr>
        <p:grpSpPr>
          <a:xfrm>
            <a:off x="7844635" y="861681"/>
            <a:ext cx="566841" cy="344147"/>
            <a:chOff x="7844635" y="788506"/>
            <a:chExt cx="566841" cy="344147"/>
          </a:xfrm>
          <a:gradFill>
            <a:gsLst>
              <a:gs pos="0">
                <a:srgbClr val="3FB6FA"/>
              </a:gs>
              <a:gs pos="100000">
                <a:srgbClr val="8745A6"/>
              </a:gs>
            </a:gsLst>
            <a:lin ang="10800000" scaled="1"/>
          </a:gradFill>
        </p:grpSpPr>
        <p:sp>
          <p:nvSpPr>
            <p:cNvPr id="66" name="Freeform: Shape 65">
              <a:extLst>
                <a:ext uri="{FF2B5EF4-FFF2-40B4-BE49-F238E27FC236}">
                  <a16:creationId xmlns:a16="http://schemas.microsoft.com/office/drawing/2014/main" id="{9621DE4F-F9E0-A2D9-D8E7-2128F448D33B}"/>
                </a:ext>
              </a:extLst>
            </p:cNvPr>
            <p:cNvSpPr/>
            <p:nvPr/>
          </p:nvSpPr>
          <p:spPr>
            <a:xfrm>
              <a:off x="7905319" y="788506"/>
              <a:ext cx="121475" cy="121475"/>
            </a:xfrm>
            <a:custGeom>
              <a:avLst/>
              <a:gdLst>
                <a:gd name="connsiteX0" fmla="*/ 60738 w 121475"/>
                <a:gd name="connsiteY0" fmla="*/ 121476 h 121475"/>
                <a:gd name="connsiteX1" fmla="*/ 121476 w 121475"/>
                <a:gd name="connsiteY1" fmla="*/ 60738 h 121475"/>
                <a:gd name="connsiteX2" fmla="*/ 60738 w 121475"/>
                <a:gd name="connsiteY2" fmla="*/ 0 h 121475"/>
                <a:gd name="connsiteX3" fmla="*/ 0 w 121475"/>
                <a:gd name="connsiteY3" fmla="*/ 60738 h 121475"/>
                <a:gd name="connsiteX4" fmla="*/ 60738 w 121475"/>
                <a:gd name="connsiteY4" fmla="*/ 121476 h 121475"/>
                <a:gd name="connsiteX5" fmla="*/ 60738 w 121475"/>
                <a:gd name="connsiteY5" fmla="*/ 13464 h 121475"/>
                <a:gd name="connsiteX6" fmla="*/ 107979 w 121475"/>
                <a:gd name="connsiteY6" fmla="*/ 60704 h 121475"/>
                <a:gd name="connsiteX7" fmla="*/ 60738 w 121475"/>
                <a:gd name="connsiteY7" fmla="*/ 107945 h 121475"/>
                <a:gd name="connsiteX8" fmla="*/ 13497 w 121475"/>
                <a:gd name="connsiteY8" fmla="*/ 60704 h 121475"/>
                <a:gd name="connsiteX9" fmla="*/ 60738 w 121475"/>
                <a:gd name="connsiteY9" fmla="*/ 13464 h 1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75" h="121475">
                  <a:moveTo>
                    <a:pt x="60738" y="121476"/>
                  </a:moveTo>
                  <a:cubicBezTo>
                    <a:pt x="94283" y="121476"/>
                    <a:pt x="121476" y="94283"/>
                    <a:pt x="121476" y="60738"/>
                  </a:cubicBezTo>
                  <a:cubicBezTo>
                    <a:pt x="121476" y="27193"/>
                    <a:pt x="94283" y="0"/>
                    <a:pt x="60738" y="0"/>
                  </a:cubicBezTo>
                  <a:cubicBezTo>
                    <a:pt x="27193" y="0"/>
                    <a:pt x="0" y="27193"/>
                    <a:pt x="0" y="60738"/>
                  </a:cubicBezTo>
                  <a:cubicBezTo>
                    <a:pt x="0" y="94283"/>
                    <a:pt x="27193" y="121476"/>
                    <a:pt x="60738" y="121476"/>
                  </a:cubicBezTo>
                  <a:close/>
                  <a:moveTo>
                    <a:pt x="60738" y="13464"/>
                  </a:moveTo>
                  <a:cubicBezTo>
                    <a:pt x="86828" y="13464"/>
                    <a:pt x="107979" y="34614"/>
                    <a:pt x="107979" y="60704"/>
                  </a:cubicBezTo>
                  <a:cubicBezTo>
                    <a:pt x="107979" y="86794"/>
                    <a:pt x="86828" y="107945"/>
                    <a:pt x="60738" y="107945"/>
                  </a:cubicBezTo>
                  <a:cubicBezTo>
                    <a:pt x="34648" y="107945"/>
                    <a:pt x="13497" y="86794"/>
                    <a:pt x="13497" y="60704"/>
                  </a:cubicBezTo>
                  <a:cubicBezTo>
                    <a:pt x="13531" y="34628"/>
                    <a:pt x="34662" y="13497"/>
                    <a:pt x="60738" y="13464"/>
                  </a:cubicBezTo>
                  <a:close/>
                </a:path>
              </a:pathLst>
            </a:custGeom>
            <a:grpFill/>
            <a:ln w="6747" cap="flat">
              <a:noFill/>
              <a:prstDash val="solid"/>
              <a:miter/>
            </a:ln>
          </p:spPr>
          <p:txBody>
            <a:bodyPr rtlCol="0" anchor="ctr"/>
            <a:lstStyle/>
            <a:p>
              <a:endParaRPr lang="en-IN"/>
            </a:p>
          </p:txBody>
        </p:sp>
        <p:sp>
          <p:nvSpPr>
            <p:cNvPr id="67" name="Freeform: Shape 66">
              <a:extLst>
                <a:ext uri="{FF2B5EF4-FFF2-40B4-BE49-F238E27FC236}">
                  <a16:creationId xmlns:a16="http://schemas.microsoft.com/office/drawing/2014/main" id="{4FE8222A-F9A5-715B-0E43-F044B1997009}"/>
                </a:ext>
              </a:extLst>
            </p:cNvPr>
            <p:cNvSpPr/>
            <p:nvPr/>
          </p:nvSpPr>
          <p:spPr>
            <a:xfrm>
              <a:off x="8229255" y="788506"/>
              <a:ext cx="121475" cy="121475"/>
            </a:xfrm>
            <a:custGeom>
              <a:avLst/>
              <a:gdLst>
                <a:gd name="connsiteX0" fmla="*/ 60738 w 121475"/>
                <a:gd name="connsiteY0" fmla="*/ 121476 h 121475"/>
                <a:gd name="connsiteX1" fmla="*/ 121476 w 121475"/>
                <a:gd name="connsiteY1" fmla="*/ 60738 h 121475"/>
                <a:gd name="connsiteX2" fmla="*/ 60738 w 121475"/>
                <a:gd name="connsiteY2" fmla="*/ 0 h 121475"/>
                <a:gd name="connsiteX3" fmla="*/ 0 w 121475"/>
                <a:gd name="connsiteY3" fmla="*/ 60738 h 121475"/>
                <a:gd name="connsiteX4" fmla="*/ 60738 w 121475"/>
                <a:gd name="connsiteY4" fmla="*/ 121476 h 121475"/>
                <a:gd name="connsiteX5" fmla="*/ 60738 w 121475"/>
                <a:gd name="connsiteY5" fmla="*/ 13464 h 121475"/>
                <a:gd name="connsiteX6" fmla="*/ 107979 w 121475"/>
                <a:gd name="connsiteY6" fmla="*/ 60704 h 121475"/>
                <a:gd name="connsiteX7" fmla="*/ 60738 w 121475"/>
                <a:gd name="connsiteY7" fmla="*/ 107945 h 121475"/>
                <a:gd name="connsiteX8" fmla="*/ 13497 w 121475"/>
                <a:gd name="connsiteY8" fmla="*/ 60704 h 121475"/>
                <a:gd name="connsiteX9" fmla="*/ 60738 w 121475"/>
                <a:gd name="connsiteY9" fmla="*/ 13464 h 1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75" h="121475">
                  <a:moveTo>
                    <a:pt x="60738" y="121476"/>
                  </a:moveTo>
                  <a:cubicBezTo>
                    <a:pt x="94283" y="121476"/>
                    <a:pt x="121476" y="94283"/>
                    <a:pt x="121476" y="60738"/>
                  </a:cubicBezTo>
                  <a:cubicBezTo>
                    <a:pt x="121476" y="27193"/>
                    <a:pt x="94283" y="0"/>
                    <a:pt x="60738" y="0"/>
                  </a:cubicBezTo>
                  <a:cubicBezTo>
                    <a:pt x="27193" y="0"/>
                    <a:pt x="0" y="27193"/>
                    <a:pt x="0" y="60738"/>
                  </a:cubicBezTo>
                  <a:cubicBezTo>
                    <a:pt x="0" y="94283"/>
                    <a:pt x="27193" y="121476"/>
                    <a:pt x="60738" y="121476"/>
                  </a:cubicBezTo>
                  <a:close/>
                  <a:moveTo>
                    <a:pt x="60738" y="13464"/>
                  </a:moveTo>
                  <a:cubicBezTo>
                    <a:pt x="86828" y="13464"/>
                    <a:pt x="107979" y="34614"/>
                    <a:pt x="107979" y="60704"/>
                  </a:cubicBezTo>
                  <a:cubicBezTo>
                    <a:pt x="107979" y="86794"/>
                    <a:pt x="86828" y="107945"/>
                    <a:pt x="60738" y="107945"/>
                  </a:cubicBezTo>
                  <a:cubicBezTo>
                    <a:pt x="34648" y="107945"/>
                    <a:pt x="13497" y="86794"/>
                    <a:pt x="13497" y="60704"/>
                  </a:cubicBezTo>
                  <a:cubicBezTo>
                    <a:pt x="13531" y="34628"/>
                    <a:pt x="34662" y="13497"/>
                    <a:pt x="60738" y="13464"/>
                  </a:cubicBezTo>
                  <a:close/>
                </a:path>
              </a:pathLst>
            </a:custGeom>
            <a:grpFill/>
            <a:ln w="6747" cap="flat">
              <a:noFill/>
              <a:prstDash val="solid"/>
              <a:miter/>
            </a:ln>
          </p:spPr>
          <p:txBody>
            <a:bodyPr rtlCol="0" anchor="ctr"/>
            <a:lstStyle/>
            <a:p>
              <a:endParaRPr lang="en-IN"/>
            </a:p>
          </p:txBody>
        </p:sp>
        <p:sp>
          <p:nvSpPr>
            <p:cNvPr id="68" name="Freeform: Shape 67">
              <a:extLst>
                <a:ext uri="{FF2B5EF4-FFF2-40B4-BE49-F238E27FC236}">
                  <a16:creationId xmlns:a16="http://schemas.microsoft.com/office/drawing/2014/main" id="{F2EC3027-4057-B648-80B5-56F4EAAB6255}"/>
                </a:ext>
              </a:extLst>
            </p:cNvPr>
            <p:cNvSpPr/>
            <p:nvPr/>
          </p:nvSpPr>
          <p:spPr>
            <a:xfrm>
              <a:off x="8206654" y="924727"/>
              <a:ext cx="204823" cy="114727"/>
            </a:xfrm>
            <a:custGeom>
              <a:avLst/>
              <a:gdLst>
                <a:gd name="connsiteX0" fmla="*/ 190643 w 204823"/>
                <a:gd name="connsiteY0" fmla="*/ 35761 h 114727"/>
                <a:gd name="connsiteX1" fmla="*/ 132287 w 204823"/>
                <a:gd name="connsiteY1" fmla="*/ 7882 h 114727"/>
                <a:gd name="connsiteX2" fmla="*/ 83339 w 204823"/>
                <a:gd name="connsiteY2" fmla="*/ 0 h 114727"/>
                <a:gd name="connsiteX3" fmla="*/ 34540 w 204823"/>
                <a:gd name="connsiteY3" fmla="*/ 7849 h 114727"/>
                <a:gd name="connsiteX4" fmla="*/ 2214 w 204823"/>
                <a:gd name="connsiteY4" fmla="*/ 20165 h 114727"/>
                <a:gd name="connsiteX5" fmla="*/ 0 w 204823"/>
                <a:gd name="connsiteY5" fmla="*/ 36632 h 114727"/>
                <a:gd name="connsiteX6" fmla="*/ 38319 w 204823"/>
                <a:gd name="connsiteY6" fmla="*/ 20799 h 114727"/>
                <a:gd name="connsiteX7" fmla="*/ 83339 w 204823"/>
                <a:gd name="connsiteY7" fmla="*/ 13497 h 114727"/>
                <a:gd name="connsiteX8" fmla="*/ 128852 w 204823"/>
                <a:gd name="connsiteY8" fmla="*/ 20921 h 114727"/>
                <a:gd name="connsiteX9" fmla="*/ 182247 w 204823"/>
                <a:gd name="connsiteY9" fmla="*/ 46330 h 114727"/>
                <a:gd name="connsiteX10" fmla="*/ 182828 w 204823"/>
                <a:gd name="connsiteY10" fmla="*/ 46761 h 114727"/>
                <a:gd name="connsiteX11" fmla="*/ 191318 w 204823"/>
                <a:gd name="connsiteY11" fmla="*/ 64112 h 114727"/>
                <a:gd name="connsiteX12" fmla="*/ 191318 w 204823"/>
                <a:gd name="connsiteY12" fmla="*/ 114727 h 114727"/>
                <a:gd name="connsiteX13" fmla="*/ 204815 w 204823"/>
                <a:gd name="connsiteY13" fmla="*/ 114727 h 114727"/>
                <a:gd name="connsiteX14" fmla="*/ 204815 w 204823"/>
                <a:gd name="connsiteY14" fmla="*/ 64112 h 114727"/>
                <a:gd name="connsiteX15" fmla="*/ 190643 w 204823"/>
                <a:gd name="connsiteY15" fmla="*/ 35761 h 11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4823" h="114727">
                  <a:moveTo>
                    <a:pt x="190643" y="35761"/>
                  </a:moveTo>
                  <a:cubicBezTo>
                    <a:pt x="173442" y="22348"/>
                    <a:pt x="153530" y="12835"/>
                    <a:pt x="132287" y="7882"/>
                  </a:cubicBezTo>
                  <a:cubicBezTo>
                    <a:pt x="116385" y="3133"/>
                    <a:pt x="99929" y="483"/>
                    <a:pt x="83339" y="0"/>
                  </a:cubicBezTo>
                  <a:cubicBezTo>
                    <a:pt x="66760" y="17"/>
                    <a:pt x="50288" y="2666"/>
                    <a:pt x="34540" y="7849"/>
                  </a:cubicBezTo>
                  <a:cubicBezTo>
                    <a:pt x="23342" y="10747"/>
                    <a:pt x="12501" y="14878"/>
                    <a:pt x="2214" y="20165"/>
                  </a:cubicBezTo>
                  <a:cubicBezTo>
                    <a:pt x="2048" y="25716"/>
                    <a:pt x="1307" y="31234"/>
                    <a:pt x="0" y="36632"/>
                  </a:cubicBezTo>
                  <a:cubicBezTo>
                    <a:pt x="12001" y="29652"/>
                    <a:pt x="24891" y="24327"/>
                    <a:pt x="38319" y="20799"/>
                  </a:cubicBezTo>
                  <a:cubicBezTo>
                    <a:pt x="52851" y="16025"/>
                    <a:pt x="68043" y="13561"/>
                    <a:pt x="83339" y="13497"/>
                  </a:cubicBezTo>
                  <a:cubicBezTo>
                    <a:pt x="98767" y="13995"/>
                    <a:pt x="114066" y="16490"/>
                    <a:pt x="128852" y="20921"/>
                  </a:cubicBezTo>
                  <a:cubicBezTo>
                    <a:pt x="148292" y="25390"/>
                    <a:pt x="166517" y="34063"/>
                    <a:pt x="182247" y="46330"/>
                  </a:cubicBezTo>
                  <a:lnTo>
                    <a:pt x="182828" y="46761"/>
                  </a:lnTo>
                  <a:cubicBezTo>
                    <a:pt x="188379" y="50763"/>
                    <a:pt x="191564" y="57274"/>
                    <a:pt x="191318" y="64112"/>
                  </a:cubicBezTo>
                  <a:lnTo>
                    <a:pt x="191318" y="114727"/>
                  </a:lnTo>
                  <a:lnTo>
                    <a:pt x="204815" y="114727"/>
                  </a:lnTo>
                  <a:lnTo>
                    <a:pt x="204815" y="64112"/>
                  </a:lnTo>
                  <a:cubicBezTo>
                    <a:pt x="205061" y="52901"/>
                    <a:pt x="199758" y="42292"/>
                    <a:pt x="190643" y="35761"/>
                  </a:cubicBezTo>
                  <a:close/>
                </a:path>
              </a:pathLst>
            </a:custGeom>
            <a:grpFill/>
            <a:ln w="6747" cap="flat">
              <a:noFill/>
              <a:prstDash val="solid"/>
              <a:miter/>
            </a:ln>
          </p:spPr>
          <p:txBody>
            <a:bodyPr rtlCol="0" anchor="ctr"/>
            <a:lstStyle/>
            <a:p>
              <a:endParaRPr lang="en-IN"/>
            </a:p>
          </p:txBody>
        </p:sp>
        <p:sp>
          <p:nvSpPr>
            <p:cNvPr id="69" name="Freeform: Shape 68">
              <a:extLst>
                <a:ext uri="{FF2B5EF4-FFF2-40B4-BE49-F238E27FC236}">
                  <a16:creationId xmlns:a16="http://schemas.microsoft.com/office/drawing/2014/main" id="{456B06A0-A4DE-5E97-EC20-F78D9C77A717}"/>
                </a:ext>
              </a:extLst>
            </p:cNvPr>
            <p:cNvSpPr/>
            <p:nvPr/>
          </p:nvSpPr>
          <p:spPr>
            <a:xfrm>
              <a:off x="7844635" y="924727"/>
              <a:ext cx="204477" cy="114727"/>
            </a:xfrm>
            <a:custGeom>
              <a:avLst/>
              <a:gdLst>
                <a:gd name="connsiteX0" fmla="*/ 204478 w 204477"/>
                <a:gd name="connsiteY0" fmla="*/ 35586 h 114727"/>
                <a:gd name="connsiteX1" fmla="*/ 202453 w 204477"/>
                <a:gd name="connsiteY1" fmla="*/ 19335 h 114727"/>
                <a:gd name="connsiteX2" fmla="*/ 170356 w 204477"/>
                <a:gd name="connsiteY2" fmla="*/ 7862 h 114727"/>
                <a:gd name="connsiteX3" fmla="*/ 121422 w 204477"/>
                <a:gd name="connsiteY3" fmla="*/ 0 h 114727"/>
                <a:gd name="connsiteX4" fmla="*/ 72622 w 204477"/>
                <a:gd name="connsiteY4" fmla="*/ 7849 h 114727"/>
                <a:gd name="connsiteX5" fmla="*/ 13862 w 204477"/>
                <a:gd name="connsiteY5" fmla="*/ 35984 h 114727"/>
                <a:gd name="connsiteX6" fmla="*/ 0 w 204477"/>
                <a:gd name="connsiteY6" fmla="*/ 64112 h 114727"/>
                <a:gd name="connsiteX7" fmla="*/ 0 w 204477"/>
                <a:gd name="connsiteY7" fmla="*/ 114727 h 114727"/>
                <a:gd name="connsiteX8" fmla="*/ 13497 w 204477"/>
                <a:gd name="connsiteY8" fmla="*/ 114727 h 114727"/>
                <a:gd name="connsiteX9" fmla="*/ 13497 w 204477"/>
                <a:gd name="connsiteY9" fmla="*/ 64112 h 114727"/>
                <a:gd name="connsiteX10" fmla="*/ 22055 w 204477"/>
                <a:gd name="connsiteY10" fmla="*/ 46714 h 114727"/>
                <a:gd name="connsiteX11" fmla="*/ 76429 w 204477"/>
                <a:gd name="connsiteY11" fmla="*/ 20799 h 114727"/>
                <a:gd name="connsiteX12" fmla="*/ 121422 w 204477"/>
                <a:gd name="connsiteY12" fmla="*/ 13497 h 114727"/>
                <a:gd name="connsiteX13" fmla="*/ 166935 w 204477"/>
                <a:gd name="connsiteY13" fmla="*/ 20921 h 114727"/>
                <a:gd name="connsiteX14" fmla="*/ 204478 w 204477"/>
                <a:gd name="connsiteY14" fmla="*/ 35586 h 11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477" h="114727">
                  <a:moveTo>
                    <a:pt x="204478" y="35586"/>
                  </a:moveTo>
                  <a:cubicBezTo>
                    <a:pt x="203249" y="30252"/>
                    <a:pt x="202570" y="24807"/>
                    <a:pt x="202453" y="19335"/>
                  </a:cubicBezTo>
                  <a:cubicBezTo>
                    <a:pt x="192154" y="14472"/>
                    <a:pt x="181404" y="10630"/>
                    <a:pt x="170356" y="7862"/>
                  </a:cubicBezTo>
                  <a:cubicBezTo>
                    <a:pt x="154457" y="3121"/>
                    <a:pt x="138006" y="478"/>
                    <a:pt x="121422" y="0"/>
                  </a:cubicBezTo>
                  <a:cubicBezTo>
                    <a:pt x="104842" y="17"/>
                    <a:pt x="88371" y="2666"/>
                    <a:pt x="72622" y="7849"/>
                  </a:cubicBezTo>
                  <a:cubicBezTo>
                    <a:pt x="51500" y="13608"/>
                    <a:pt x="31592" y="23140"/>
                    <a:pt x="13862" y="35984"/>
                  </a:cubicBezTo>
                  <a:cubicBezTo>
                    <a:pt x="5131" y="42704"/>
                    <a:pt x="10" y="53094"/>
                    <a:pt x="0" y="64112"/>
                  </a:cubicBezTo>
                  <a:lnTo>
                    <a:pt x="0" y="114727"/>
                  </a:lnTo>
                  <a:lnTo>
                    <a:pt x="13497" y="114727"/>
                  </a:lnTo>
                  <a:lnTo>
                    <a:pt x="13497" y="64112"/>
                  </a:lnTo>
                  <a:cubicBezTo>
                    <a:pt x="13510" y="57303"/>
                    <a:pt x="16668" y="50881"/>
                    <a:pt x="22055" y="46714"/>
                  </a:cubicBezTo>
                  <a:cubicBezTo>
                    <a:pt x="38477" y="34882"/>
                    <a:pt x="56895" y="26104"/>
                    <a:pt x="76429" y="20799"/>
                  </a:cubicBezTo>
                  <a:cubicBezTo>
                    <a:pt x="90952" y="16027"/>
                    <a:pt x="106135" y="13563"/>
                    <a:pt x="121422" y="13497"/>
                  </a:cubicBezTo>
                  <a:cubicBezTo>
                    <a:pt x="136850" y="13995"/>
                    <a:pt x="152148" y="16490"/>
                    <a:pt x="166935" y="20921"/>
                  </a:cubicBezTo>
                  <a:cubicBezTo>
                    <a:pt x="180041" y="24133"/>
                    <a:pt x="192664" y="29064"/>
                    <a:pt x="204478" y="35586"/>
                  </a:cubicBezTo>
                  <a:close/>
                </a:path>
              </a:pathLst>
            </a:custGeom>
            <a:grpFill/>
            <a:ln w="6747" cap="flat">
              <a:noFill/>
              <a:prstDash val="solid"/>
              <a:miter/>
            </a:ln>
          </p:spPr>
          <p:txBody>
            <a:bodyPr rtlCol="0" anchor="ctr"/>
            <a:lstStyle/>
            <a:p>
              <a:endParaRPr lang="en-IN"/>
            </a:p>
          </p:txBody>
        </p:sp>
        <p:sp>
          <p:nvSpPr>
            <p:cNvPr id="70" name="Freeform: Shape 69">
              <a:extLst>
                <a:ext uri="{FF2B5EF4-FFF2-40B4-BE49-F238E27FC236}">
                  <a16:creationId xmlns:a16="http://schemas.microsoft.com/office/drawing/2014/main" id="{3428A809-2D68-8177-863F-2B4F8A72A35F}"/>
                </a:ext>
              </a:extLst>
            </p:cNvPr>
            <p:cNvSpPr/>
            <p:nvPr/>
          </p:nvSpPr>
          <p:spPr>
            <a:xfrm>
              <a:off x="8006549" y="1017926"/>
              <a:ext cx="242959" cy="114727"/>
            </a:xfrm>
            <a:custGeom>
              <a:avLst/>
              <a:gdLst>
                <a:gd name="connsiteX0" fmla="*/ 228779 w 242959"/>
                <a:gd name="connsiteY0" fmla="*/ 35768 h 114727"/>
                <a:gd name="connsiteX1" fmla="*/ 170424 w 242959"/>
                <a:gd name="connsiteY1" fmla="*/ 7889 h 114727"/>
                <a:gd name="connsiteX2" fmla="*/ 121476 w 242959"/>
                <a:gd name="connsiteY2" fmla="*/ 0 h 114727"/>
                <a:gd name="connsiteX3" fmla="*/ 72690 w 242959"/>
                <a:gd name="connsiteY3" fmla="*/ 7849 h 114727"/>
                <a:gd name="connsiteX4" fmla="*/ 13929 w 242959"/>
                <a:gd name="connsiteY4" fmla="*/ 35984 h 114727"/>
                <a:gd name="connsiteX5" fmla="*/ 0 w 242959"/>
                <a:gd name="connsiteY5" fmla="*/ 64112 h 114727"/>
                <a:gd name="connsiteX6" fmla="*/ 0 w 242959"/>
                <a:gd name="connsiteY6" fmla="*/ 114727 h 114727"/>
                <a:gd name="connsiteX7" fmla="*/ 13497 w 242959"/>
                <a:gd name="connsiteY7" fmla="*/ 114727 h 114727"/>
                <a:gd name="connsiteX8" fmla="*/ 13497 w 242959"/>
                <a:gd name="connsiteY8" fmla="*/ 64112 h 114727"/>
                <a:gd name="connsiteX9" fmla="*/ 22061 w 242959"/>
                <a:gd name="connsiteY9" fmla="*/ 46714 h 114727"/>
                <a:gd name="connsiteX10" fmla="*/ 76429 w 242959"/>
                <a:gd name="connsiteY10" fmla="*/ 20799 h 114727"/>
                <a:gd name="connsiteX11" fmla="*/ 121476 w 242959"/>
                <a:gd name="connsiteY11" fmla="*/ 13497 h 114727"/>
                <a:gd name="connsiteX12" fmla="*/ 166995 w 242959"/>
                <a:gd name="connsiteY12" fmla="*/ 20921 h 114727"/>
                <a:gd name="connsiteX13" fmla="*/ 220384 w 242959"/>
                <a:gd name="connsiteY13" fmla="*/ 46323 h 114727"/>
                <a:gd name="connsiteX14" fmla="*/ 220965 w 242959"/>
                <a:gd name="connsiteY14" fmla="*/ 46755 h 114727"/>
                <a:gd name="connsiteX15" fmla="*/ 229454 w 242959"/>
                <a:gd name="connsiteY15" fmla="*/ 64112 h 114727"/>
                <a:gd name="connsiteX16" fmla="*/ 229454 w 242959"/>
                <a:gd name="connsiteY16" fmla="*/ 114727 h 114727"/>
                <a:gd name="connsiteX17" fmla="*/ 242952 w 242959"/>
                <a:gd name="connsiteY17" fmla="*/ 114727 h 114727"/>
                <a:gd name="connsiteX18" fmla="*/ 242952 w 242959"/>
                <a:gd name="connsiteY18" fmla="*/ 64112 h 114727"/>
                <a:gd name="connsiteX19" fmla="*/ 228779 w 242959"/>
                <a:gd name="connsiteY19" fmla="*/ 35768 h 11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2959" h="114727">
                  <a:moveTo>
                    <a:pt x="228779" y="35768"/>
                  </a:moveTo>
                  <a:cubicBezTo>
                    <a:pt x="211580" y="22352"/>
                    <a:pt x="191667" y="12839"/>
                    <a:pt x="170424" y="7889"/>
                  </a:cubicBezTo>
                  <a:cubicBezTo>
                    <a:pt x="154521" y="3141"/>
                    <a:pt x="138065" y="489"/>
                    <a:pt x="121476" y="0"/>
                  </a:cubicBezTo>
                  <a:cubicBezTo>
                    <a:pt x="104901" y="16"/>
                    <a:pt x="88434" y="2666"/>
                    <a:pt x="72690" y="7849"/>
                  </a:cubicBezTo>
                  <a:cubicBezTo>
                    <a:pt x="51565" y="13604"/>
                    <a:pt x="31657" y="23136"/>
                    <a:pt x="13929" y="35984"/>
                  </a:cubicBezTo>
                  <a:cubicBezTo>
                    <a:pt x="5170" y="42689"/>
                    <a:pt x="24" y="53082"/>
                    <a:pt x="0" y="64112"/>
                  </a:cubicBezTo>
                  <a:lnTo>
                    <a:pt x="0" y="114727"/>
                  </a:lnTo>
                  <a:lnTo>
                    <a:pt x="13497" y="114727"/>
                  </a:lnTo>
                  <a:lnTo>
                    <a:pt x="13497" y="64112"/>
                  </a:lnTo>
                  <a:cubicBezTo>
                    <a:pt x="13509" y="57301"/>
                    <a:pt x="16671" y="50878"/>
                    <a:pt x="22061" y="46714"/>
                  </a:cubicBezTo>
                  <a:cubicBezTo>
                    <a:pt x="38479" y="34880"/>
                    <a:pt x="56897" y="26101"/>
                    <a:pt x="76429" y="20799"/>
                  </a:cubicBezTo>
                  <a:cubicBezTo>
                    <a:pt x="90969" y="16022"/>
                    <a:pt x="106171" y="13558"/>
                    <a:pt x="121476" y="13497"/>
                  </a:cubicBezTo>
                  <a:cubicBezTo>
                    <a:pt x="136907" y="13992"/>
                    <a:pt x="152207" y="16487"/>
                    <a:pt x="166995" y="20921"/>
                  </a:cubicBezTo>
                  <a:cubicBezTo>
                    <a:pt x="186434" y="25384"/>
                    <a:pt x="204658" y="34055"/>
                    <a:pt x="220384" y="46323"/>
                  </a:cubicBezTo>
                  <a:lnTo>
                    <a:pt x="220965" y="46755"/>
                  </a:lnTo>
                  <a:cubicBezTo>
                    <a:pt x="226517" y="50759"/>
                    <a:pt x="229701" y="57272"/>
                    <a:pt x="229454" y="64112"/>
                  </a:cubicBezTo>
                  <a:lnTo>
                    <a:pt x="229454" y="114727"/>
                  </a:lnTo>
                  <a:lnTo>
                    <a:pt x="242952" y="114727"/>
                  </a:lnTo>
                  <a:lnTo>
                    <a:pt x="242952" y="64112"/>
                  </a:lnTo>
                  <a:cubicBezTo>
                    <a:pt x="243196" y="52904"/>
                    <a:pt x="237893" y="42297"/>
                    <a:pt x="228779" y="35768"/>
                  </a:cubicBezTo>
                  <a:close/>
                </a:path>
              </a:pathLst>
            </a:custGeom>
            <a:grpFill/>
            <a:ln w="6747" cap="flat">
              <a:noFill/>
              <a:prstDash val="solid"/>
              <a:miter/>
            </a:ln>
          </p:spPr>
          <p:txBody>
            <a:bodyPr rtlCol="0" anchor="ctr"/>
            <a:lstStyle/>
            <a:p>
              <a:endParaRPr lang="en-IN"/>
            </a:p>
          </p:txBody>
        </p:sp>
        <p:sp>
          <p:nvSpPr>
            <p:cNvPr id="71" name="Freeform: Shape 70">
              <a:extLst>
                <a:ext uri="{FF2B5EF4-FFF2-40B4-BE49-F238E27FC236}">
                  <a16:creationId xmlns:a16="http://schemas.microsoft.com/office/drawing/2014/main" id="{DBE231CC-1884-34A2-64C5-BB9E1B3BDCF1}"/>
                </a:ext>
              </a:extLst>
            </p:cNvPr>
            <p:cNvSpPr/>
            <p:nvPr/>
          </p:nvSpPr>
          <p:spPr>
            <a:xfrm>
              <a:off x="8067287" y="881705"/>
              <a:ext cx="121475" cy="121475"/>
            </a:xfrm>
            <a:custGeom>
              <a:avLst/>
              <a:gdLst>
                <a:gd name="connsiteX0" fmla="*/ 60738 w 121475"/>
                <a:gd name="connsiteY0" fmla="*/ 121476 h 121475"/>
                <a:gd name="connsiteX1" fmla="*/ 121476 w 121475"/>
                <a:gd name="connsiteY1" fmla="*/ 60738 h 121475"/>
                <a:gd name="connsiteX2" fmla="*/ 60738 w 121475"/>
                <a:gd name="connsiteY2" fmla="*/ 0 h 121475"/>
                <a:gd name="connsiteX3" fmla="*/ 0 w 121475"/>
                <a:gd name="connsiteY3" fmla="*/ 60738 h 121475"/>
                <a:gd name="connsiteX4" fmla="*/ 60738 w 121475"/>
                <a:gd name="connsiteY4" fmla="*/ 121476 h 121475"/>
                <a:gd name="connsiteX5" fmla="*/ 60738 w 121475"/>
                <a:gd name="connsiteY5" fmla="*/ 13497 h 121475"/>
                <a:gd name="connsiteX6" fmla="*/ 107979 w 121475"/>
                <a:gd name="connsiteY6" fmla="*/ 60738 h 121475"/>
                <a:gd name="connsiteX7" fmla="*/ 60738 w 121475"/>
                <a:gd name="connsiteY7" fmla="*/ 107979 h 121475"/>
                <a:gd name="connsiteX8" fmla="*/ 13497 w 121475"/>
                <a:gd name="connsiteY8" fmla="*/ 60738 h 121475"/>
                <a:gd name="connsiteX9" fmla="*/ 60738 w 121475"/>
                <a:gd name="connsiteY9" fmla="*/ 13464 h 1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75" h="121475">
                  <a:moveTo>
                    <a:pt x="60738" y="121476"/>
                  </a:moveTo>
                  <a:cubicBezTo>
                    <a:pt x="94283" y="121476"/>
                    <a:pt x="121476" y="94283"/>
                    <a:pt x="121476" y="60738"/>
                  </a:cubicBezTo>
                  <a:cubicBezTo>
                    <a:pt x="121476" y="27193"/>
                    <a:pt x="94283" y="0"/>
                    <a:pt x="60738" y="0"/>
                  </a:cubicBezTo>
                  <a:cubicBezTo>
                    <a:pt x="27193" y="0"/>
                    <a:pt x="0" y="27193"/>
                    <a:pt x="0" y="60738"/>
                  </a:cubicBezTo>
                  <a:cubicBezTo>
                    <a:pt x="0" y="94283"/>
                    <a:pt x="27193" y="121476"/>
                    <a:pt x="60738" y="121476"/>
                  </a:cubicBezTo>
                  <a:close/>
                  <a:moveTo>
                    <a:pt x="60738" y="13497"/>
                  </a:moveTo>
                  <a:cubicBezTo>
                    <a:pt x="86828" y="13497"/>
                    <a:pt x="107979" y="34648"/>
                    <a:pt x="107979" y="60738"/>
                  </a:cubicBezTo>
                  <a:cubicBezTo>
                    <a:pt x="107979" y="86828"/>
                    <a:pt x="86828" y="107979"/>
                    <a:pt x="60738" y="107979"/>
                  </a:cubicBezTo>
                  <a:cubicBezTo>
                    <a:pt x="34648" y="107979"/>
                    <a:pt x="13497" y="86828"/>
                    <a:pt x="13497" y="60738"/>
                  </a:cubicBezTo>
                  <a:cubicBezTo>
                    <a:pt x="13516" y="34650"/>
                    <a:pt x="34650" y="13501"/>
                    <a:pt x="60738" y="13464"/>
                  </a:cubicBezTo>
                  <a:close/>
                </a:path>
              </a:pathLst>
            </a:custGeom>
            <a:grpFill/>
            <a:ln w="6747" cap="flat">
              <a:noFill/>
              <a:prstDash val="solid"/>
              <a:miter/>
            </a:ln>
          </p:spPr>
          <p:txBody>
            <a:bodyPr rtlCol="0" anchor="ctr"/>
            <a:lstStyle/>
            <a:p>
              <a:endParaRPr lang="en-IN"/>
            </a:p>
          </p:txBody>
        </p:sp>
      </p:grpSp>
      <p:grpSp>
        <p:nvGrpSpPr>
          <p:cNvPr id="72" name="Graphic 1052" descr="Group of men outline">
            <a:extLst>
              <a:ext uri="{FF2B5EF4-FFF2-40B4-BE49-F238E27FC236}">
                <a16:creationId xmlns:a16="http://schemas.microsoft.com/office/drawing/2014/main" id="{A33D3993-3488-2AF6-6F22-FA9196572171}"/>
              </a:ext>
            </a:extLst>
          </p:cNvPr>
          <p:cNvGrpSpPr/>
          <p:nvPr/>
        </p:nvGrpSpPr>
        <p:grpSpPr>
          <a:xfrm>
            <a:off x="10519150" y="3522112"/>
            <a:ext cx="507720" cy="471653"/>
            <a:chOff x="10519150" y="3440357"/>
            <a:chExt cx="507720" cy="471653"/>
          </a:xfrm>
          <a:gradFill>
            <a:gsLst>
              <a:gs pos="0">
                <a:srgbClr val="3FB6FA"/>
              </a:gs>
              <a:gs pos="100000">
                <a:srgbClr val="8745A6"/>
              </a:gs>
            </a:gsLst>
            <a:lin ang="10800000" scaled="1"/>
          </a:gradFill>
        </p:grpSpPr>
        <p:sp>
          <p:nvSpPr>
            <p:cNvPr id="73" name="Freeform: Shape 72">
              <a:extLst>
                <a:ext uri="{FF2B5EF4-FFF2-40B4-BE49-F238E27FC236}">
                  <a16:creationId xmlns:a16="http://schemas.microsoft.com/office/drawing/2014/main" id="{C8E67355-5954-8442-231A-9E6A3A1CD4D3}"/>
                </a:ext>
              </a:extLst>
            </p:cNvPr>
            <p:cNvSpPr/>
            <p:nvPr/>
          </p:nvSpPr>
          <p:spPr>
            <a:xfrm>
              <a:off x="10566662" y="3599416"/>
              <a:ext cx="94336" cy="312594"/>
            </a:xfrm>
            <a:custGeom>
              <a:avLst/>
              <a:gdLst>
                <a:gd name="connsiteX0" fmla="*/ 88441 w 94336"/>
                <a:gd name="connsiteY0" fmla="*/ 0 h 312594"/>
                <a:gd name="connsiteX1" fmla="*/ 82545 w 94336"/>
                <a:gd name="connsiteY1" fmla="*/ 5896 h 312594"/>
                <a:gd name="connsiteX2" fmla="*/ 82480 w 94336"/>
                <a:gd name="connsiteY2" fmla="*/ 300803 h 312594"/>
                <a:gd name="connsiteX3" fmla="*/ 53061 w 94336"/>
                <a:gd name="connsiteY3" fmla="*/ 300803 h 312594"/>
                <a:gd name="connsiteX4" fmla="*/ 53061 w 94336"/>
                <a:gd name="connsiteY4" fmla="*/ 135724 h 312594"/>
                <a:gd name="connsiteX5" fmla="*/ 41270 w 94336"/>
                <a:gd name="connsiteY5" fmla="*/ 135724 h 312594"/>
                <a:gd name="connsiteX6" fmla="*/ 41270 w 94336"/>
                <a:gd name="connsiteY6" fmla="*/ 300803 h 312594"/>
                <a:gd name="connsiteX7" fmla="*/ 11791 w 94336"/>
                <a:gd name="connsiteY7" fmla="*/ 300803 h 312594"/>
                <a:gd name="connsiteX8" fmla="*/ 11791 w 94336"/>
                <a:gd name="connsiteY8" fmla="*/ 5896 h 312594"/>
                <a:gd name="connsiteX9" fmla="*/ 5896 w 94336"/>
                <a:gd name="connsiteY9" fmla="*/ 0 h 312594"/>
                <a:gd name="connsiteX10" fmla="*/ 0 w 94336"/>
                <a:gd name="connsiteY10" fmla="*/ 5896 h 312594"/>
                <a:gd name="connsiteX11" fmla="*/ 0 w 94336"/>
                <a:gd name="connsiteY11" fmla="*/ 312594 h 312594"/>
                <a:gd name="connsiteX12" fmla="*/ 94272 w 94336"/>
                <a:gd name="connsiteY12" fmla="*/ 312594 h 312594"/>
                <a:gd name="connsiteX13" fmla="*/ 94337 w 94336"/>
                <a:gd name="connsiteY13" fmla="*/ 5896 h 312594"/>
                <a:gd name="connsiteX14" fmla="*/ 88441 w 94336"/>
                <a:gd name="connsiteY14" fmla="*/ 0 h 31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336" h="312594">
                  <a:moveTo>
                    <a:pt x="88441" y="0"/>
                  </a:moveTo>
                  <a:cubicBezTo>
                    <a:pt x="85185" y="0"/>
                    <a:pt x="82545" y="2639"/>
                    <a:pt x="82545" y="5896"/>
                  </a:cubicBezTo>
                  <a:lnTo>
                    <a:pt x="82480" y="300803"/>
                  </a:lnTo>
                  <a:lnTo>
                    <a:pt x="53061" y="300803"/>
                  </a:lnTo>
                  <a:lnTo>
                    <a:pt x="53061" y="135724"/>
                  </a:lnTo>
                  <a:lnTo>
                    <a:pt x="41270" y="135724"/>
                  </a:lnTo>
                  <a:lnTo>
                    <a:pt x="41270" y="300803"/>
                  </a:lnTo>
                  <a:lnTo>
                    <a:pt x="11791" y="300803"/>
                  </a:lnTo>
                  <a:lnTo>
                    <a:pt x="11791" y="5896"/>
                  </a:lnTo>
                  <a:cubicBezTo>
                    <a:pt x="11791" y="2639"/>
                    <a:pt x="9152" y="0"/>
                    <a:pt x="5896" y="0"/>
                  </a:cubicBezTo>
                  <a:cubicBezTo>
                    <a:pt x="2639" y="0"/>
                    <a:pt x="0" y="2639"/>
                    <a:pt x="0" y="5896"/>
                  </a:cubicBezTo>
                  <a:lnTo>
                    <a:pt x="0" y="312594"/>
                  </a:lnTo>
                  <a:lnTo>
                    <a:pt x="94272" y="312594"/>
                  </a:lnTo>
                  <a:lnTo>
                    <a:pt x="94337" y="5896"/>
                  </a:lnTo>
                  <a:cubicBezTo>
                    <a:pt x="94337" y="2639"/>
                    <a:pt x="91697" y="0"/>
                    <a:pt x="88441" y="0"/>
                  </a:cubicBezTo>
                  <a:close/>
                </a:path>
              </a:pathLst>
            </a:custGeom>
            <a:grpFill/>
            <a:ln w="5854" cap="flat">
              <a:noFill/>
              <a:prstDash val="solid"/>
              <a:miter/>
            </a:ln>
          </p:spPr>
          <p:txBody>
            <a:bodyPr rtlCol="0" anchor="ctr"/>
            <a:lstStyle/>
            <a:p>
              <a:endParaRPr lang="en-IN"/>
            </a:p>
          </p:txBody>
        </p:sp>
        <p:sp>
          <p:nvSpPr>
            <p:cNvPr id="74" name="Freeform: Shape 73">
              <a:extLst>
                <a:ext uri="{FF2B5EF4-FFF2-40B4-BE49-F238E27FC236}">
                  <a16:creationId xmlns:a16="http://schemas.microsoft.com/office/drawing/2014/main" id="{B426B82C-E123-ADB9-371B-DB96900E1D07}"/>
                </a:ext>
              </a:extLst>
            </p:cNvPr>
            <p:cNvSpPr/>
            <p:nvPr/>
          </p:nvSpPr>
          <p:spPr>
            <a:xfrm>
              <a:off x="10572558" y="3440357"/>
              <a:ext cx="82539" cy="82539"/>
            </a:xfrm>
            <a:custGeom>
              <a:avLst/>
              <a:gdLst>
                <a:gd name="connsiteX0" fmla="*/ 41270 w 82539"/>
                <a:gd name="connsiteY0" fmla="*/ 82539 h 82539"/>
                <a:gd name="connsiteX1" fmla="*/ 82539 w 82539"/>
                <a:gd name="connsiteY1" fmla="*/ 41270 h 82539"/>
                <a:gd name="connsiteX2" fmla="*/ 41270 w 82539"/>
                <a:gd name="connsiteY2" fmla="*/ 0 h 82539"/>
                <a:gd name="connsiteX3" fmla="*/ 0 w 82539"/>
                <a:gd name="connsiteY3" fmla="*/ 41270 h 82539"/>
                <a:gd name="connsiteX4" fmla="*/ 41270 w 82539"/>
                <a:gd name="connsiteY4" fmla="*/ 82539 h 82539"/>
                <a:gd name="connsiteX5" fmla="*/ 41270 w 82539"/>
                <a:gd name="connsiteY5" fmla="*/ 11791 h 82539"/>
                <a:gd name="connsiteX6" fmla="*/ 70748 w 82539"/>
                <a:gd name="connsiteY6" fmla="*/ 41270 h 82539"/>
                <a:gd name="connsiteX7" fmla="*/ 41270 w 82539"/>
                <a:gd name="connsiteY7" fmla="*/ 70748 h 82539"/>
                <a:gd name="connsiteX8" fmla="*/ 11791 w 82539"/>
                <a:gd name="connsiteY8" fmla="*/ 41270 h 82539"/>
                <a:gd name="connsiteX9" fmla="*/ 41270 w 82539"/>
                <a:gd name="connsiteY9" fmla="*/ 11791 h 8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539" h="82539">
                  <a:moveTo>
                    <a:pt x="41270" y="82539"/>
                  </a:moveTo>
                  <a:cubicBezTo>
                    <a:pt x="64062" y="82539"/>
                    <a:pt x="82539" y="64062"/>
                    <a:pt x="82539" y="41270"/>
                  </a:cubicBezTo>
                  <a:cubicBezTo>
                    <a:pt x="82539" y="18477"/>
                    <a:pt x="64062" y="0"/>
                    <a:pt x="41270" y="0"/>
                  </a:cubicBezTo>
                  <a:cubicBezTo>
                    <a:pt x="18477" y="0"/>
                    <a:pt x="0" y="18477"/>
                    <a:pt x="0" y="41270"/>
                  </a:cubicBezTo>
                  <a:cubicBezTo>
                    <a:pt x="26" y="64052"/>
                    <a:pt x="18488" y="82513"/>
                    <a:pt x="41270" y="82539"/>
                  </a:cubicBezTo>
                  <a:close/>
                  <a:moveTo>
                    <a:pt x="41270" y="11791"/>
                  </a:moveTo>
                  <a:cubicBezTo>
                    <a:pt x="57550" y="11791"/>
                    <a:pt x="70748" y="24989"/>
                    <a:pt x="70748" y="41270"/>
                  </a:cubicBezTo>
                  <a:cubicBezTo>
                    <a:pt x="70748" y="57550"/>
                    <a:pt x="57550" y="70748"/>
                    <a:pt x="41270" y="70748"/>
                  </a:cubicBezTo>
                  <a:cubicBezTo>
                    <a:pt x="24989" y="70748"/>
                    <a:pt x="11791" y="57550"/>
                    <a:pt x="11791" y="41270"/>
                  </a:cubicBezTo>
                  <a:cubicBezTo>
                    <a:pt x="11811" y="24997"/>
                    <a:pt x="24997" y="11811"/>
                    <a:pt x="41270" y="11791"/>
                  </a:cubicBezTo>
                  <a:close/>
                </a:path>
              </a:pathLst>
            </a:custGeom>
            <a:grpFill/>
            <a:ln w="5854" cap="flat">
              <a:noFill/>
              <a:prstDash val="solid"/>
              <a:miter/>
            </a:ln>
          </p:spPr>
          <p:txBody>
            <a:bodyPr rtlCol="0" anchor="ctr"/>
            <a:lstStyle/>
            <a:p>
              <a:endParaRPr lang="en-IN"/>
            </a:p>
          </p:txBody>
        </p:sp>
        <p:sp>
          <p:nvSpPr>
            <p:cNvPr id="75" name="Freeform: Shape 74">
              <a:extLst>
                <a:ext uri="{FF2B5EF4-FFF2-40B4-BE49-F238E27FC236}">
                  <a16:creationId xmlns:a16="http://schemas.microsoft.com/office/drawing/2014/main" id="{766D8CB7-C9A4-94DA-4EE4-48B5BCA5023C}"/>
                </a:ext>
              </a:extLst>
            </p:cNvPr>
            <p:cNvSpPr/>
            <p:nvPr/>
          </p:nvSpPr>
          <p:spPr>
            <a:xfrm>
              <a:off x="10885028" y="3599416"/>
              <a:ext cx="94336" cy="312594"/>
            </a:xfrm>
            <a:custGeom>
              <a:avLst/>
              <a:gdLst>
                <a:gd name="connsiteX0" fmla="*/ 88441 w 94336"/>
                <a:gd name="connsiteY0" fmla="*/ 0 h 312594"/>
                <a:gd name="connsiteX1" fmla="*/ 82545 w 94336"/>
                <a:gd name="connsiteY1" fmla="*/ 5896 h 312594"/>
                <a:gd name="connsiteX2" fmla="*/ 82480 w 94336"/>
                <a:gd name="connsiteY2" fmla="*/ 300803 h 312594"/>
                <a:gd name="connsiteX3" fmla="*/ 53061 w 94336"/>
                <a:gd name="connsiteY3" fmla="*/ 300803 h 312594"/>
                <a:gd name="connsiteX4" fmla="*/ 53061 w 94336"/>
                <a:gd name="connsiteY4" fmla="*/ 135724 h 312594"/>
                <a:gd name="connsiteX5" fmla="*/ 41270 w 94336"/>
                <a:gd name="connsiteY5" fmla="*/ 135724 h 312594"/>
                <a:gd name="connsiteX6" fmla="*/ 41270 w 94336"/>
                <a:gd name="connsiteY6" fmla="*/ 300803 h 312594"/>
                <a:gd name="connsiteX7" fmla="*/ 11791 w 94336"/>
                <a:gd name="connsiteY7" fmla="*/ 300803 h 312594"/>
                <a:gd name="connsiteX8" fmla="*/ 11791 w 94336"/>
                <a:gd name="connsiteY8" fmla="*/ 5896 h 312594"/>
                <a:gd name="connsiteX9" fmla="*/ 5896 w 94336"/>
                <a:gd name="connsiteY9" fmla="*/ 0 h 312594"/>
                <a:gd name="connsiteX10" fmla="*/ 0 w 94336"/>
                <a:gd name="connsiteY10" fmla="*/ 5896 h 312594"/>
                <a:gd name="connsiteX11" fmla="*/ 0 w 94336"/>
                <a:gd name="connsiteY11" fmla="*/ 312594 h 312594"/>
                <a:gd name="connsiteX12" fmla="*/ 94272 w 94336"/>
                <a:gd name="connsiteY12" fmla="*/ 312594 h 312594"/>
                <a:gd name="connsiteX13" fmla="*/ 94337 w 94336"/>
                <a:gd name="connsiteY13" fmla="*/ 5896 h 312594"/>
                <a:gd name="connsiteX14" fmla="*/ 88441 w 94336"/>
                <a:gd name="connsiteY14" fmla="*/ 0 h 31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336" h="312594">
                  <a:moveTo>
                    <a:pt x="88441" y="0"/>
                  </a:moveTo>
                  <a:cubicBezTo>
                    <a:pt x="85185" y="0"/>
                    <a:pt x="82545" y="2639"/>
                    <a:pt x="82545" y="5896"/>
                  </a:cubicBezTo>
                  <a:lnTo>
                    <a:pt x="82480" y="300803"/>
                  </a:lnTo>
                  <a:lnTo>
                    <a:pt x="53061" y="300803"/>
                  </a:lnTo>
                  <a:lnTo>
                    <a:pt x="53061" y="135724"/>
                  </a:lnTo>
                  <a:lnTo>
                    <a:pt x="41270" y="135724"/>
                  </a:lnTo>
                  <a:lnTo>
                    <a:pt x="41270" y="300803"/>
                  </a:lnTo>
                  <a:lnTo>
                    <a:pt x="11791" y="300803"/>
                  </a:lnTo>
                  <a:lnTo>
                    <a:pt x="11791" y="5896"/>
                  </a:lnTo>
                  <a:cubicBezTo>
                    <a:pt x="11791" y="2639"/>
                    <a:pt x="9152" y="0"/>
                    <a:pt x="5896" y="0"/>
                  </a:cubicBezTo>
                  <a:cubicBezTo>
                    <a:pt x="2639" y="0"/>
                    <a:pt x="0" y="2639"/>
                    <a:pt x="0" y="5896"/>
                  </a:cubicBezTo>
                  <a:lnTo>
                    <a:pt x="0" y="312594"/>
                  </a:lnTo>
                  <a:lnTo>
                    <a:pt x="94272" y="312594"/>
                  </a:lnTo>
                  <a:lnTo>
                    <a:pt x="94337" y="5896"/>
                  </a:lnTo>
                  <a:cubicBezTo>
                    <a:pt x="94337" y="2639"/>
                    <a:pt x="91697" y="0"/>
                    <a:pt x="88441" y="0"/>
                  </a:cubicBezTo>
                  <a:close/>
                </a:path>
              </a:pathLst>
            </a:custGeom>
            <a:grpFill/>
            <a:ln w="5854" cap="flat">
              <a:noFill/>
              <a:prstDash val="solid"/>
              <a:miter/>
            </a:ln>
          </p:spPr>
          <p:txBody>
            <a:bodyPr rtlCol="0" anchor="ctr"/>
            <a:lstStyle/>
            <a:p>
              <a:endParaRPr lang="en-IN"/>
            </a:p>
          </p:txBody>
        </p:sp>
        <p:sp>
          <p:nvSpPr>
            <p:cNvPr id="76" name="Freeform: Shape 75">
              <a:extLst>
                <a:ext uri="{FF2B5EF4-FFF2-40B4-BE49-F238E27FC236}">
                  <a16:creationId xmlns:a16="http://schemas.microsoft.com/office/drawing/2014/main" id="{C1CC93A0-A9F1-00B0-B5D9-AD092B33FC51}"/>
                </a:ext>
              </a:extLst>
            </p:cNvPr>
            <p:cNvSpPr/>
            <p:nvPr/>
          </p:nvSpPr>
          <p:spPr>
            <a:xfrm>
              <a:off x="10890924" y="3440357"/>
              <a:ext cx="82539" cy="82539"/>
            </a:xfrm>
            <a:custGeom>
              <a:avLst/>
              <a:gdLst>
                <a:gd name="connsiteX0" fmla="*/ 41270 w 82539"/>
                <a:gd name="connsiteY0" fmla="*/ 82539 h 82539"/>
                <a:gd name="connsiteX1" fmla="*/ 82539 w 82539"/>
                <a:gd name="connsiteY1" fmla="*/ 41270 h 82539"/>
                <a:gd name="connsiteX2" fmla="*/ 41270 w 82539"/>
                <a:gd name="connsiteY2" fmla="*/ 0 h 82539"/>
                <a:gd name="connsiteX3" fmla="*/ 0 w 82539"/>
                <a:gd name="connsiteY3" fmla="*/ 41270 h 82539"/>
                <a:gd name="connsiteX4" fmla="*/ 41270 w 82539"/>
                <a:gd name="connsiteY4" fmla="*/ 82539 h 82539"/>
                <a:gd name="connsiteX5" fmla="*/ 41270 w 82539"/>
                <a:gd name="connsiteY5" fmla="*/ 11791 h 82539"/>
                <a:gd name="connsiteX6" fmla="*/ 70748 w 82539"/>
                <a:gd name="connsiteY6" fmla="*/ 41270 h 82539"/>
                <a:gd name="connsiteX7" fmla="*/ 41270 w 82539"/>
                <a:gd name="connsiteY7" fmla="*/ 70748 h 82539"/>
                <a:gd name="connsiteX8" fmla="*/ 11791 w 82539"/>
                <a:gd name="connsiteY8" fmla="*/ 41270 h 82539"/>
                <a:gd name="connsiteX9" fmla="*/ 41270 w 82539"/>
                <a:gd name="connsiteY9" fmla="*/ 11791 h 8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539" h="82539">
                  <a:moveTo>
                    <a:pt x="41270" y="82539"/>
                  </a:moveTo>
                  <a:cubicBezTo>
                    <a:pt x="64062" y="82539"/>
                    <a:pt x="82539" y="64062"/>
                    <a:pt x="82539" y="41270"/>
                  </a:cubicBezTo>
                  <a:cubicBezTo>
                    <a:pt x="82539" y="18477"/>
                    <a:pt x="64062" y="0"/>
                    <a:pt x="41270" y="0"/>
                  </a:cubicBezTo>
                  <a:cubicBezTo>
                    <a:pt x="18477" y="0"/>
                    <a:pt x="0" y="18477"/>
                    <a:pt x="0" y="41270"/>
                  </a:cubicBezTo>
                  <a:cubicBezTo>
                    <a:pt x="26" y="64052"/>
                    <a:pt x="18488" y="82513"/>
                    <a:pt x="41270" y="82539"/>
                  </a:cubicBezTo>
                  <a:close/>
                  <a:moveTo>
                    <a:pt x="41270" y="11791"/>
                  </a:moveTo>
                  <a:cubicBezTo>
                    <a:pt x="57550" y="11791"/>
                    <a:pt x="70748" y="24989"/>
                    <a:pt x="70748" y="41270"/>
                  </a:cubicBezTo>
                  <a:cubicBezTo>
                    <a:pt x="70748" y="57550"/>
                    <a:pt x="57550" y="70748"/>
                    <a:pt x="41270" y="70748"/>
                  </a:cubicBezTo>
                  <a:cubicBezTo>
                    <a:pt x="24989" y="70748"/>
                    <a:pt x="11791" y="57550"/>
                    <a:pt x="11791" y="41270"/>
                  </a:cubicBezTo>
                  <a:cubicBezTo>
                    <a:pt x="11811" y="24997"/>
                    <a:pt x="24997" y="11811"/>
                    <a:pt x="41270" y="11791"/>
                  </a:cubicBezTo>
                  <a:close/>
                </a:path>
              </a:pathLst>
            </a:custGeom>
            <a:grpFill/>
            <a:ln w="5854" cap="flat">
              <a:noFill/>
              <a:prstDash val="solid"/>
              <a:miter/>
            </a:ln>
          </p:spPr>
          <p:txBody>
            <a:bodyPr rtlCol="0" anchor="ctr"/>
            <a:lstStyle/>
            <a:p>
              <a:endParaRPr lang="en-IN"/>
            </a:p>
          </p:txBody>
        </p:sp>
        <p:sp>
          <p:nvSpPr>
            <p:cNvPr id="77" name="Freeform: Shape 76">
              <a:extLst>
                <a:ext uri="{FF2B5EF4-FFF2-40B4-BE49-F238E27FC236}">
                  <a16:creationId xmlns:a16="http://schemas.microsoft.com/office/drawing/2014/main" id="{2DE4AF61-73EA-28BF-01BE-A9B4E2E974A8}"/>
                </a:ext>
              </a:extLst>
            </p:cNvPr>
            <p:cNvSpPr/>
            <p:nvPr/>
          </p:nvSpPr>
          <p:spPr>
            <a:xfrm>
              <a:off x="10860219" y="3534701"/>
              <a:ext cx="166651" cy="194580"/>
            </a:xfrm>
            <a:custGeom>
              <a:avLst/>
              <a:gdLst>
                <a:gd name="connsiteX0" fmla="*/ 166122 w 166651"/>
                <a:gd name="connsiteY0" fmla="*/ 166592 h 194580"/>
                <a:gd name="connsiteX1" fmla="*/ 154920 w 166651"/>
                <a:gd name="connsiteY1" fmla="*/ 49569 h 194580"/>
                <a:gd name="connsiteX2" fmla="*/ 151583 w 166651"/>
                <a:gd name="connsiteY2" fmla="*/ 38851 h 194580"/>
                <a:gd name="connsiteX3" fmla="*/ 147168 w 166651"/>
                <a:gd name="connsiteY3" fmla="*/ 32407 h 194580"/>
                <a:gd name="connsiteX4" fmla="*/ 105043 w 166651"/>
                <a:gd name="connsiteY4" fmla="*/ 5505 h 194580"/>
                <a:gd name="connsiteX5" fmla="*/ 39012 w 166651"/>
                <a:gd name="connsiteY5" fmla="*/ 5505 h 194580"/>
                <a:gd name="connsiteX6" fmla="*/ 0 w 166651"/>
                <a:gd name="connsiteY6" fmla="*/ 29252 h 194580"/>
                <a:gd name="connsiteX7" fmla="*/ 5453 w 166651"/>
                <a:gd name="connsiteY7" fmla="*/ 40454 h 194580"/>
                <a:gd name="connsiteX8" fmla="*/ 42808 w 166651"/>
                <a:gd name="connsiteY8" fmla="*/ 16689 h 194580"/>
                <a:gd name="connsiteX9" fmla="*/ 101240 w 166651"/>
                <a:gd name="connsiteY9" fmla="*/ 16689 h 194580"/>
                <a:gd name="connsiteX10" fmla="*/ 138383 w 166651"/>
                <a:gd name="connsiteY10" fmla="*/ 40271 h 194580"/>
                <a:gd name="connsiteX11" fmla="*/ 141207 w 166651"/>
                <a:gd name="connsiteY11" fmla="*/ 44463 h 194580"/>
                <a:gd name="connsiteX12" fmla="*/ 143247 w 166651"/>
                <a:gd name="connsiteY12" fmla="*/ 51019 h 194580"/>
                <a:gd name="connsiteX13" fmla="*/ 154449 w 166651"/>
                <a:gd name="connsiteY13" fmla="*/ 168001 h 194580"/>
                <a:gd name="connsiteX14" fmla="*/ 152403 w 166651"/>
                <a:gd name="connsiteY14" fmla="*/ 179881 h 194580"/>
                <a:gd name="connsiteX15" fmla="*/ 144025 w 166651"/>
                <a:gd name="connsiteY15" fmla="*/ 182752 h 194580"/>
                <a:gd name="connsiteX16" fmla="*/ 138130 w 166651"/>
                <a:gd name="connsiteY16" fmla="*/ 188648 h 194580"/>
                <a:gd name="connsiteX17" fmla="*/ 144025 w 166651"/>
                <a:gd name="connsiteY17" fmla="*/ 194543 h 194580"/>
                <a:gd name="connsiteX18" fmla="*/ 161258 w 166651"/>
                <a:gd name="connsiteY18" fmla="*/ 187581 h 194580"/>
                <a:gd name="connsiteX19" fmla="*/ 166122 w 166651"/>
                <a:gd name="connsiteY19" fmla="*/ 166592 h 194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651" h="194580">
                  <a:moveTo>
                    <a:pt x="166122" y="166592"/>
                  </a:moveTo>
                  <a:lnTo>
                    <a:pt x="154920" y="49569"/>
                  </a:lnTo>
                  <a:cubicBezTo>
                    <a:pt x="154448" y="45827"/>
                    <a:pt x="153319" y="42199"/>
                    <a:pt x="151583" y="38851"/>
                  </a:cubicBezTo>
                  <a:cubicBezTo>
                    <a:pt x="150344" y="36552"/>
                    <a:pt x="148864" y="34392"/>
                    <a:pt x="147168" y="32407"/>
                  </a:cubicBezTo>
                  <a:cubicBezTo>
                    <a:pt x="135564" y="20097"/>
                    <a:pt x="121091" y="10854"/>
                    <a:pt x="105043" y="5505"/>
                  </a:cubicBezTo>
                  <a:cubicBezTo>
                    <a:pt x="83644" y="-1835"/>
                    <a:pt x="60411" y="-1835"/>
                    <a:pt x="39012" y="5505"/>
                  </a:cubicBezTo>
                  <a:cubicBezTo>
                    <a:pt x="24389" y="10389"/>
                    <a:pt x="11054" y="18506"/>
                    <a:pt x="0" y="29252"/>
                  </a:cubicBezTo>
                  <a:cubicBezTo>
                    <a:pt x="2302" y="32730"/>
                    <a:pt x="4136" y="36497"/>
                    <a:pt x="5453" y="40454"/>
                  </a:cubicBezTo>
                  <a:cubicBezTo>
                    <a:pt x="15751" y="29569"/>
                    <a:pt x="28585" y="21404"/>
                    <a:pt x="42808" y="16689"/>
                  </a:cubicBezTo>
                  <a:cubicBezTo>
                    <a:pt x="61743" y="10184"/>
                    <a:pt x="82306" y="10184"/>
                    <a:pt x="101240" y="16689"/>
                  </a:cubicBezTo>
                  <a:cubicBezTo>
                    <a:pt x="115373" y="21373"/>
                    <a:pt x="128132" y="29473"/>
                    <a:pt x="138383" y="40271"/>
                  </a:cubicBezTo>
                  <a:cubicBezTo>
                    <a:pt x="139466" y="41568"/>
                    <a:pt x="140412" y="42973"/>
                    <a:pt x="141207" y="44463"/>
                  </a:cubicBezTo>
                  <a:cubicBezTo>
                    <a:pt x="142255" y="46517"/>
                    <a:pt x="142945" y="48734"/>
                    <a:pt x="143247" y="51019"/>
                  </a:cubicBezTo>
                  <a:lnTo>
                    <a:pt x="154449" y="168001"/>
                  </a:lnTo>
                  <a:cubicBezTo>
                    <a:pt x="155455" y="172073"/>
                    <a:pt x="154713" y="176380"/>
                    <a:pt x="152403" y="179881"/>
                  </a:cubicBezTo>
                  <a:cubicBezTo>
                    <a:pt x="150162" y="182013"/>
                    <a:pt x="147103" y="183062"/>
                    <a:pt x="144025" y="182752"/>
                  </a:cubicBezTo>
                  <a:cubicBezTo>
                    <a:pt x="140769" y="182752"/>
                    <a:pt x="138130" y="185391"/>
                    <a:pt x="138130" y="188648"/>
                  </a:cubicBezTo>
                  <a:cubicBezTo>
                    <a:pt x="138130" y="191904"/>
                    <a:pt x="140769" y="194543"/>
                    <a:pt x="144025" y="194543"/>
                  </a:cubicBezTo>
                  <a:cubicBezTo>
                    <a:pt x="150523" y="194922"/>
                    <a:pt x="156848" y="192367"/>
                    <a:pt x="161258" y="187581"/>
                  </a:cubicBezTo>
                  <a:cubicBezTo>
                    <a:pt x="165862" y="181628"/>
                    <a:pt x="167638" y="173963"/>
                    <a:pt x="166122" y="166592"/>
                  </a:cubicBezTo>
                  <a:close/>
                </a:path>
              </a:pathLst>
            </a:custGeom>
            <a:grpFill/>
            <a:ln w="5854" cap="flat">
              <a:noFill/>
              <a:prstDash val="solid"/>
              <a:miter/>
            </a:ln>
          </p:spPr>
          <p:txBody>
            <a:bodyPr rtlCol="0" anchor="ctr"/>
            <a:lstStyle/>
            <a:p>
              <a:endParaRPr lang="en-IN"/>
            </a:p>
          </p:txBody>
        </p:sp>
        <p:sp>
          <p:nvSpPr>
            <p:cNvPr id="78" name="Freeform: Shape 77">
              <a:extLst>
                <a:ext uri="{FF2B5EF4-FFF2-40B4-BE49-F238E27FC236}">
                  <a16:creationId xmlns:a16="http://schemas.microsoft.com/office/drawing/2014/main" id="{60769553-4845-AA79-F00A-C3252B8EF17E}"/>
                </a:ext>
              </a:extLst>
            </p:cNvPr>
            <p:cNvSpPr/>
            <p:nvPr/>
          </p:nvSpPr>
          <p:spPr>
            <a:xfrm>
              <a:off x="10519150" y="3534717"/>
              <a:ext cx="166881" cy="194563"/>
            </a:xfrm>
            <a:custGeom>
              <a:avLst/>
              <a:gdLst>
                <a:gd name="connsiteX0" fmla="*/ 22621 w 166881"/>
                <a:gd name="connsiteY0" fmla="*/ 182737 h 194563"/>
                <a:gd name="connsiteX1" fmla="*/ 14278 w 166881"/>
                <a:gd name="connsiteY1" fmla="*/ 179824 h 194563"/>
                <a:gd name="connsiteX2" fmla="*/ 12262 w 166881"/>
                <a:gd name="connsiteY2" fmla="*/ 167697 h 194563"/>
                <a:gd name="connsiteX3" fmla="*/ 23405 w 166881"/>
                <a:gd name="connsiteY3" fmla="*/ 51263 h 194563"/>
                <a:gd name="connsiteX4" fmla="*/ 25474 w 166881"/>
                <a:gd name="connsiteY4" fmla="*/ 44412 h 194563"/>
                <a:gd name="connsiteX5" fmla="*/ 28068 w 166881"/>
                <a:gd name="connsiteY5" fmla="*/ 40486 h 194563"/>
                <a:gd name="connsiteX6" fmla="*/ 65506 w 166881"/>
                <a:gd name="connsiteY6" fmla="*/ 16638 h 194563"/>
                <a:gd name="connsiteX7" fmla="*/ 94731 w 166881"/>
                <a:gd name="connsiteY7" fmla="*/ 11762 h 194563"/>
                <a:gd name="connsiteX8" fmla="*/ 123938 w 166881"/>
                <a:gd name="connsiteY8" fmla="*/ 16656 h 194563"/>
                <a:gd name="connsiteX9" fmla="*/ 161051 w 166881"/>
                <a:gd name="connsiteY9" fmla="*/ 40238 h 194563"/>
                <a:gd name="connsiteX10" fmla="*/ 161428 w 166881"/>
                <a:gd name="connsiteY10" fmla="*/ 40798 h 194563"/>
                <a:gd name="connsiteX11" fmla="*/ 166882 w 166881"/>
                <a:gd name="connsiteY11" fmla="*/ 29449 h 194563"/>
                <a:gd name="connsiteX12" fmla="*/ 127735 w 166881"/>
                <a:gd name="connsiteY12" fmla="*/ 5519 h 194563"/>
                <a:gd name="connsiteX13" fmla="*/ 95308 w 166881"/>
                <a:gd name="connsiteY13" fmla="*/ 0 h 194563"/>
                <a:gd name="connsiteX14" fmla="*/ 94748 w 166881"/>
                <a:gd name="connsiteY14" fmla="*/ 0 h 194563"/>
                <a:gd name="connsiteX15" fmla="*/ 61733 w 166881"/>
                <a:gd name="connsiteY15" fmla="*/ 5489 h 194563"/>
                <a:gd name="connsiteX16" fmla="*/ 19284 w 166881"/>
                <a:gd name="connsiteY16" fmla="*/ 32686 h 194563"/>
                <a:gd name="connsiteX17" fmla="*/ 15115 w 166881"/>
                <a:gd name="connsiteY17" fmla="*/ 38859 h 194563"/>
                <a:gd name="connsiteX18" fmla="*/ 11731 w 166881"/>
                <a:gd name="connsiteY18" fmla="*/ 49842 h 194563"/>
                <a:gd name="connsiteX19" fmla="*/ 559 w 166881"/>
                <a:gd name="connsiteY19" fmla="*/ 166329 h 194563"/>
                <a:gd name="connsiteX20" fmla="*/ 5388 w 166881"/>
                <a:gd name="connsiteY20" fmla="*/ 187553 h 194563"/>
                <a:gd name="connsiteX21" fmla="*/ 22621 w 166881"/>
                <a:gd name="connsiteY21" fmla="*/ 194528 h 194563"/>
                <a:gd name="connsiteX22" fmla="*/ 28516 w 166881"/>
                <a:gd name="connsiteY22" fmla="*/ 188632 h 194563"/>
                <a:gd name="connsiteX23" fmla="*/ 22621 w 166881"/>
                <a:gd name="connsiteY23" fmla="*/ 182737 h 19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6881" h="194563">
                  <a:moveTo>
                    <a:pt x="22621" y="182737"/>
                  </a:moveTo>
                  <a:cubicBezTo>
                    <a:pt x="19549" y="183025"/>
                    <a:pt x="16503" y="181961"/>
                    <a:pt x="14278" y="179824"/>
                  </a:cubicBezTo>
                  <a:cubicBezTo>
                    <a:pt x="11944" y="176240"/>
                    <a:pt x="11213" y="171844"/>
                    <a:pt x="12262" y="167697"/>
                  </a:cubicBezTo>
                  <a:lnTo>
                    <a:pt x="23405" y="51263"/>
                  </a:lnTo>
                  <a:cubicBezTo>
                    <a:pt x="23690" y="48877"/>
                    <a:pt x="24391" y="46558"/>
                    <a:pt x="25474" y="44412"/>
                  </a:cubicBezTo>
                  <a:cubicBezTo>
                    <a:pt x="26213" y="43025"/>
                    <a:pt x="27082" y="41710"/>
                    <a:pt x="28068" y="40486"/>
                  </a:cubicBezTo>
                  <a:cubicBezTo>
                    <a:pt x="38379" y="29558"/>
                    <a:pt x="51244" y="21363"/>
                    <a:pt x="65506" y="16638"/>
                  </a:cubicBezTo>
                  <a:cubicBezTo>
                    <a:pt x="74892" y="13335"/>
                    <a:pt x="84780" y="11685"/>
                    <a:pt x="94731" y="11762"/>
                  </a:cubicBezTo>
                  <a:cubicBezTo>
                    <a:pt x="104677" y="11688"/>
                    <a:pt x="114559" y="13343"/>
                    <a:pt x="123938" y="16656"/>
                  </a:cubicBezTo>
                  <a:cubicBezTo>
                    <a:pt x="138060" y="21344"/>
                    <a:pt x="150808" y="29444"/>
                    <a:pt x="161051" y="40238"/>
                  </a:cubicBezTo>
                  <a:cubicBezTo>
                    <a:pt x="161192" y="40409"/>
                    <a:pt x="161287" y="40621"/>
                    <a:pt x="161428" y="40798"/>
                  </a:cubicBezTo>
                  <a:cubicBezTo>
                    <a:pt x="162736" y="36790"/>
                    <a:pt x="164570" y="32974"/>
                    <a:pt x="166882" y="29449"/>
                  </a:cubicBezTo>
                  <a:cubicBezTo>
                    <a:pt x="155811" y="18614"/>
                    <a:pt x="142426" y="10432"/>
                    <a:pt x="127735" y="5519"/>
                  </a:cubicBezTo>
                  <a:cubicBezTo>
                    <a:pt x="117312" y="1871"/>
                    <a:pt x="106350" y="6"/>
                    <a:pt x="95308" y="0"/>
                  </a:cubicBezTo>
                  <a:lnTo>
                    <a:pt x="94748" y="0"/>
                  </a:lnTo>
                  <a:cubicBezTo>
                    <a:pt x="83513" y="-29"/>
                    <a:pt x="72354" y="1827"/>
                    <a:pt x="61733" y="5489"/>
                  </a:cubicBezTo>
                  <a:cubicBezTo>
                    <a:pt x="45544" y="10888"/>
                    <a:pt x="30955" y="20235"/>
                    <a:pt x="19284" y="32686"/>
                  </a:cubicBezTo>
                  <a:cubicBezTo>
                    <a:pt x="17690" y="34598"/>
                    <a:pt x="16293" y="36666"/>
                    <a:pt x="15115" y="38859"/>
                  </a:cubicBezTo>
                  <a:cubicBezTo>
                    <a:pt x="13342" y="42289"/>
                    <a:pt x="12196" y="46008"/>
                    <a:pt x="11731" y="49842"/>
                  </a:cubicBezTo>
                  <a:lnTo>
                    <a:pt x="559" y="166329"/>
                  </a:lnTo>
                  <a:cubicBezTo>
                    <a:pt x="-1008" y="173769"/>
                    <a:pt x="756" y="181523"/>
                    <a:pt x="5388" y="187553"/>
                  </a:cubicBezTo>
                  <a:cubicBezTo>
                    <a:pt x="9797" y="192342"/>
                    <a:pt x="16122" y="194902"/>
                    <a:pt x="22621" y="194528"/>
                  </a:cubicBezTo>
                  <a:cubicBezTo>
                    <a:pt x="25877" y="194528"/>
                    <a:pt x="28516" y="191888"/>
                    <a:pt x="28516" y="188632"/>
                  </a:cubicBezTo>
                  <a:cubicBezTo>
                    <a:pt x="28516" y="185376"/>
                    <a:pt x="25877" y="182737"/>
                    <a:pt x="22621" y="182737"/>
                  </a:cubicBezTo>
                  <a:close/>
                </a:path>
              </a:pathLst>
            </a:custGeom>
            <a:grpFill/>
            <a:ln w="5854"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8C09D84C-7516-4039-2A50-10F54BAC4731}"/>
                </a:ext>
              </a:extLst>
            </p:cNvPr>
            <p:cNvSpPr/>
            <p:nvPr/>
          </p:nvSpPr>
          <p:spPr>
            <a:xfrm>
              <a:off x="10725845" y="3599416"/>
              <a:ext cx="94336" cy="312594"/>
            </a:xfrm>
            <a:custGeom>
              <a:avLst/>
              <a:gdLst>
                <a:gd name="connsiteX0" fmla="*/ 88441 w 94336"/>
                <a:gd name="connsiteY0" fmla="*/ 0 h 312594"/>
                <a:gd name="connsiteX1" fmla="*/ 82545 w 94336"/>
                <a:gd name="connsiteY1" fmla="*/ 5896 h 312594"/>
                <a:gd name="connsiteX2" fmla="*/ 82480 w 94336"/>
                <a:gd name="connsiteY2" fmla="*/ 300803 h 312594"/>
                <a:gd name="connsiteX3" fmla="*/ 53061 w 94336"/>
                <a:gd name="connsiteY3" fmla="*/ 300803 h 312594"/>
                <a:gd name="connsiteX4" fmla="*/ 53061 w 94336"/>
                <a:gd name="connsiteY4" fmla="*/ 135724 h 312594"/>
                <a:gd name="connsiteX5" fmla="*/ 41270 w 94336"/>
                <a:gd name="connsiteY5" fmla="*/ 135724 h 312594"/>
                <a:gd name="connsiteX6" fmla="*/ 41270 w 94336"/>
                <a:gd name="connsiteY6" fmla="*/ 300803 h 312594"/>
                <a:gd name="connsiteX7" fmla="*/ 11791 w 94336"/>
                <a:gd name="connsiteY7" fmla="*/ 300803 h 312594"/>
                <a:gd name="connsiteX8" fmla="*/ 11791 w 94336"/>
                <a:gd name="connsiteY8" fmla="*/ 5896 h 312594"/>
                <a:gd name="connsiteX9" fmla="*/ 5896 w 94336"/>
                <a:gd name="connsiteY9" fmla="*/ 0 h 312594"/>
                <a:gd name="connsiteX10" fmla="*/ 0 w 94336"/>
                <a:gd name="connsiteY10" fmla="*/ 5896 h 312594"/>
                <a:gd name="connsiteX11" fmla="*/ 0 w 94336"/>
                <a:gd name="connsiteY11" fmla="*/ 312594 h 312594"/>
                <a:gd name="connsiteX12" fmla="*/ 94272 w 94336"/>
                <a:gd name="connsiteY12" fmla="*/ 312594 h 312594"/>
                <a:gd name="connsiteX13" fmla="*/ 94337 w 94336"/>
                <a:gd name="connsiteY13" fmla="*/ 5896 h 312594"/>
                <a:gd name="connsiteX14" fmla="*/ 88441 w 94336"/>
                <a:gd name="connsiteY14" fmla="*/ 0 h 31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336" h="312594">
                  <a:moveTo>
                    <a:pt x="88441" y="0"/>
                  </a:moveTo>
                  <a:cubicBezTo>
                    <a:pt x="85185" y="0"/>
                    <a:pt x="82545" y="2639"/>
                    <a:pt x="82545" y="5896"/>
                  </a:cubicBezTo>
                  <a:lnTo>
                    <a:pt x="82480" y="300803"/>
                  </a:lnTo>
                  <a:lnTo>
                    <a:pt x="53061" y="300803"/>
                  </a:lnTo>
                  <a:lnTo>
                    <a:pt x="53061" y="135724"/>
                  </a:lnTo>
                  <a:lnTo>
                    <a:pt x="41270" y="135724"/>
                  </a:lnTo>
                  <a:lnTo>
                    <a:pt x="41270" y="300803"/>
                  </a:lnTo>
                  <a:lnTo>
                    <a:pt x="11791" y="300803"/>
                  </a:lnTo>
                  <a:lnTo>
                    <a:pt x="11791" y="5896"/>
                  </a:lnTo>
                  <a:cubicBezTo>
                    <a:pt x="11791" y="2639"/>
                    <a:pt x="9152" y="0"/>
                    <a:pt x="5896" y="0"/>
                  </a:cubicBezTo>
                  <a:cubicBezTo>
                    <a:pt x="2639" y="0"/>
                    <a:pt x="0" y="2639"/>
                    <a:pt x="0" y="5896"/>
                  </a:cubicBezTo>
                  <a:lnTo>
                    <a:pt x="0" y="312594"/>
                  </a:lnTo>
                  <a:lnTo>
                    <a:pt x="94272" y="312594"/>
                  </a:lnTo>
                  <a:lnTo>
                    <a:pt x="94337" y="5896"/>
                  </a:lnTo>
                  <a:cubicBezTo>
                    <a:pt x="94337" y="2639"/>
                    <a:pt x="91697" y="0"/>
                    <a:pt x="88441" y="0"/>
                  </a:cubicBezTo>
                  <a:close/>
                </a:path>
              </a:pathLst>
            </a:custGeom>
            <a:grpFill/>
            <a:ln w="5854"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337552ED-3EF3-1BC6-7D3D-4D7DC70E5C9F}"/>
                </a:ext>
              </a:extLst>
            </p:cNvPr>
            <p:cNvSpPr/>
            <p:nvPr/>
          </p:nvSpPr>
          <p:spPr>
            <a:xfrm>
              <a:off x="10731741" y="3440357"/>
              <a:ext cx="82539" cy="82539"/>
            </a:xfrm>
            <a:custGeom>
              <a:avLst/>
              <a:gdLst>
                <a:gd name="connsiteX0" fmla="*/ 41270 w 82539"/>
                <a:gd name="connsiteY0" fmla="*/ 82539 h 82539"/>
                <a:gd name="connsiteX1" fmla="*/ 82539 w 82539"/>
                <a:gd name="connsiteY1" fmla="*/ 41270 h 82539"/>
                <a:gd name="connsiteX2" fmla="*/ 41270 w 82539"/>
                <a:gd name="connsiteY2" fmla="*/ 0 h 82539"/>
                <a:gd name="connsiteX3" fmla="*/ 0 w 82539"/>
                <a:gd name="connsiteY3" fmla="*/ 41270 h 82539"/>
                <a:gd name="connsiteX4" fmla="*/ 41270 w 82539"/>
                <a:gd name="connsiteY4" fmla="*/ 82539 h 82539"/>
                <a:gd name="connsiteX5" fmla="*/ 41270 w 82539"/>
                <a:gd name="connsiteY5" fmla="*/ 11791 h 82539"/>
                <a:gd name="connsiteX6" fmla="*/ 70748 w 82539"/>
                <a:gd name="connsiteY6" fmla="*/ 41270 h 82539"/>
                <a:gd name="connsiteX7" fmla="*/ 41270 w 82539"/>
                <a:gd name="connsiteY7" fmla="*/ 70748 h 82539"/>
                <a:gd name="connsiteX8" fmla="*/ 11791 w 82539"/>
                <a:gd name="connsiteY8" fmla="*/ 41270 h 82539"/>
                <a:gd name="connsiteX9" fmla="*/ 41270 w 82539"/>
                <a:gd name="connsiteY9" fmla="*/ 11791 h 8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539" h="82539">
                  <a:moveTo>
                    <a:pt x="41270" y="82539"/>
                  </a:moveTo>
                  <a:cubicBezTo>
                    <a:pt x="64062" y="82539"/>
                    <a:pt x="82539" y="64062"/>
                    <a:pt x="82539" y="41270"/>
                  </a:cubicBezTo>
                  <a:cubicBezTo>
                    <a:pt x="82539" y="18477"/>
                    <a:pt x="64062" y="0"/>
                    <a:pt x="41270" y="0"/>
                  </a:cubicBezTo>
                  <a:cubicBezTo>
                    <a:pt x="18477" y="0"/>
                    <a:pt x="0" y="18477"/>
                    <a:pt x="0" y="41270"/>
                  </a:cubicBezTo>
                  <a:cubicBezTo>
                    <a:pt x="26" y="64052"/>
                    <a:pt x="18488" y="82513"/>
                    <a:pt x="41270" y="82539"/>
                  </a:cubicBezTo>
                  <a:close/>
                  <a:moveTo>
                    <a:pt x="41270" y="11791"/>
                  </a:moveTo>
                  <a:cubicBezTo>
                    <a:pt x="57550" y="11791"/>
                    <a:pt x="70748" y="24989"/>
                    <a:pt x="70748" y="41270"/>
                  </a:cubicBezTo>
                  <a:cubicBezTo>
                    <a:pt x="70748" y="57550"/>
                    <a:pt x="57550" y="70748"/>
                    <a:pt x="41270" y="70748"/>
                  </a:cubicBezTo>
                  <a:cubicBezTo>
                    <a:pt x="24989" y="70748"/>
                    <a:pt x="11791" y="57550"/>
                    <a:pt x="11791" y="41270"/>
                  </a:cubicBezTo>
                  <a:cubicBezTo>
                    <a:pt x="11811" y="24997"/>
                    <a:pt x="24998" y="11811"/>
                    <a:pt x="41270" y="11791"/>
                  </a:cubicBezTo>
                  <a:close/>
                </a:path>
              </a:pathLst>
            </a:custGeom>
            <a:grpFill/>
            <a:ln w="5854"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1D327E41-EC42-4673-8F25-C9D6B90D74B2}"/>
                </a:ext>
              </a:extLst>
            </p:cNvPr>
            <p:cNvSpPr/>
            <p:nvPr/>
          </p:nvSpPr>
          <p:spPr>
            <a:xfrm>
              <a:off x="10678333" y="3534687"/>
              <a:ext cx="189354" cy="194594"/>
            </a:xfrm>
            <a:custGeom>
              <a:avLst/>
              <a:gdLst>
                <a:gd name="connsiteX0" fmla="*/ 177612 w 189354"/>
                <a:gd name="connsiteY0" fmla="*/ 49583 h 194594"/>
                <a:gd name="connsiteX1" fmla="*/ 174275 w 189354"/>
                <a:gd name="connsiteY1" fmla="*/ 38865 h 194594"/>
                <a:gd name="connsiteX2" fmla="*/ 169859 w 189354"/>
                <a:gd name="connsiteY2" fmla="*/ 32421 h 194594"/>
                <a:gd name="connsiteX3" fmla="*/ 94731 w 189354"/>
                <a:gd name="connsiteY3" fmla="*/ 0 h 194594"/>
                <a:gd name="connsiteX4" fmla="*/ 61715 w 189354"/>
                <a:gd name="connsiteY4" fmla="*/ 5489 h 194594"/>
                <a:gd name="connsiteX5" fmla="*/ 19266 w 189354"/>
                <a:gd name="connsiteY5" fmla="*/ 32686 h 194594"/>
                <a:gd name="connsiteX6" fmla="*/ 15098 w 189354"/>
                <a:gd name="connsiteY6" fmla="*/ 38859 h 194594"/>
                <a:gd name="connsiteX7" fmla="*/ 11725 w 189354"/>
                <a:gd name="connsiteY7" fmla="*/ 49872 h 194594"/>
                <a:gd name="connsiteX8" fmla="*/ 559 w 189354"/>
                <a:gd name="connsiteY8" fmla="*/ 166358 h 194594"/>
                <a:gd name="connsiteX9" fmla="*/ 5388 w 189354"/>
                <a:gd name="connsiteY9" fmla="*/ 187583 h 194594"/>
                <a:gd name="connsiteX10" fmla="*/ 22621 w 189354"/>
                <a:gd name="connsiteY10" fmla="*/ 194557 h 194594"/>
                <a:gd name="connsiteX11" fmla="*/ 28516 w 189354"/>
                <a:gd name="connsiteY11" fmla="*/ 188662 h 194594"/>
                <a:gd name="connsiteX12" fmla="*/ 22621 w 189354"/>
                <a:gd name="connsiteY12" fmla="*/ 182766 h 194594"/>
                <a:gd name="connsiteX13" fmla="*/ 14278 w 189354"/>
                <a:gd name="connsiteY13" fmla="*/ 179854 h 194594"/>
                <a:gd name="connsiteX14" fmla="*/ 12262 w 189354"/>
                <a:gd name="connsiteY14" fmla="*/ 167726 h 194594"/>
                <a:gd name="connsiteX15" fmla="*/ 23405 w 189354"/>
                <a:gd name="connsiteY15" fmla="*/ 51293 h 194594"/>
                <a:gd name="connsiteX16" fmla="*/ 25474 w 189354"/>
                <a:gd name="connsiteY16" fmla="*/ 44442 h 194594"/>
                <a:gd name="connsiteX17" fmla="*/ 28068 w 189354"/>
                <a:gd name="connsiteY17" fmla="*/ 40515 h 194594"/>
                <a:gd name="connsiteX18" fmla="*/ 65506 w 189354"/>
                <a:gd name="connsiteY18" fmla="*/ 16667 h 194594"/>
                <a:gd name="connsiteX19" fmla="*/ 94731 w 189354"/>
                <a:gd name="connsiteY19" fmla="*/ 11792 h 194594"/>
                <a:gd name="connsiteX20" fmla="*/ 123938 w 189354"/>
                <a:gd name="connsiteY20" fmla="*/ 16685 h 194594"/>
                <a:gd name="connsiteX21" fmla="*/ 161051 w 189354"/>
                <a:gd name="connsiteY21" fmla="*/ 40268 h 194594"/>
                <a:gd name="connsiteX22" fmla="*/ 163875 w 189354"/>
                <a:gd name="connsiteY22" fmla="*/ 44460 h 194594"/>
                <a:gd name="connsiteX23" fmla="*/ 165915 w 189354"/>
                <a:gd name="connsiteY23" fmla="*/ 51016 h 194594"/>
                <a:gd name="connsiteX24" fmla="*/ 177117 w 189354"/>
                <a:gd name="connsiteY24" fmla="*/ 167997 h 194594"/>
                <a:gd name="connsiteX25" fmla="*/ 175071 w 189354"/>
                <a:gd name="connsiteY25" fmla="*/ 179877 h 194594"/>
                <a:gd name="connsiteX26" fmla="*/ 166728 w 189354"/>
                <a:gd name="connsiteY26" fmla="*/ 182766 h 194594"/>
                <a:gd name="connsiteX27" fmla="*/ 160833 w 189354"/>
                <a:gd name="connsiteY27" fmla="*/ 188662 h 194594"/>
                <a:gd name="connsiteX28" fmla="*/ 166728 w 189354"/>
                <a:gd name="connsiteY28" fmla="*/ 194557 h 194594"/>
                <a:gd name="connsiteX29" fmla="*/ 183961 w 189354"/>
                <a:gd name="connsiteY29" fmla="*/ 187595 h 194594"/>
                <a:gd name="connsiteX30" fmla="*/ 188825 w 189354"/>
                <a:gd name="connsiteY30" fmla="*/ 166606 h 194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9354" h="194594">
                  <a:moveTo>
                    <a:pt x="177612" y="49583"/>
                  </a:moveTo>
                  <a:cubicBezTo>
                    <a:pt x="177140" y="45842"/>
                    <a:pt x="176010" y="42213"/>
                    <a:pt x="174275" y="38865"/>
                  </a:cubicBezTo>
                  <a:cubicBezTo>
                    <a:pt x="173036" y="36566"/>
                    <a:pt x="171555" y="34406"/>
                    <a:pt x="169859" y="32421"/>
                  </a:cubicBezTo>
                  <a:cubicBezTo>
                    <a:pt x="150271" y="11841"/>
                    <a:pt x="123142" y="134"/>
                    <a:pt x="94731" y="0"/>
                  </a:cubicBezTo>
                  <a:cubicBezTo>
                    <a:pt x="83496" y="-30"/>
                    <a:pt x="72336" y="1826"/>
                    <a:pt x="61715" y="5489"/>
                  </a:cubicBezTo>
                  <a:cubicBezTo>
                    <a:pt x="45526" y="10888"/>
                    <a:pt x="30937" y="20235"/>
                    <a:pt x="19266" y="32686"/>
                  </a:cubicBezTo>
                  <a:cubicBezTo>
                    <a:pt x="17672" y="34598"/>
                    <a:pt x="16276" y="36666"/>
                    <a:pt x="15098" y="38859"/>
                  </a:cubicBezTo>
                  <a:cubicBezTo>
                    <a:pt x="13325" y="42299"/>
                    <a:pt x="12182" y="46029"/>
                    <a:pt x="11725" y="49872"/>
                  </a:cubicBezTo>
                  <a:lnTo>
                    <a:pt x="559" y="166358"/>
                  </a:lnTo>
                  <a:cubicBezTo>
                    <a:pt x="-1008" y="173799"/>
                    <a:pt x="756" y="181553"/>
                    <a:pt x="5388" y="187583"/>
                  </a:cubicBezTo>
                  <a:cubicBezTo>
                    <a:pt x="9798" y="192371"/>
                    <a:pt x="16122" y="194931"/>
                    <a:pt x="22621" y="194557"/>
                  </a:cubicBezTo>
                  <a:cubicBezTo>
                    <a:pt x="25877" y="194557"/>
                    <a:pt x="28516" y="191918"/>
                    <a:pt x="28516" y="188662"/>
                  </a:cubicBezTo>
                  <a:cubicBezTo>
                    <a:pt x="28516" y="185406"/>
                    <a:pt x="25877" y="182766"/>
                    <a:pt x="22621" y="182766"/>
                  </a:cubicBezTo>
                  <a:cubicBezTo>
                    <a:pt x="19548" y="183054"/>
                    <a:pt x="16503" y="181991"/>
                    <a:pt x="14278" y="179854"/>
                  </a:cubicBezTo>
                  <a:cubicBezTo>
                    <a:pt x="11944" y="176270"/>
                    <a:pt x="11213" y="171873"/>
                    <a:pt x="12262" y="167726"/>
                  </a:cubicBezTo>
                  <a:lnTo>
                    <a:pt x="23405" y="51293"/>
                  </a:lnTo>
                  <a:cubicBezTo>
                    <a:pt x="23690" y="48906"/>
                    <a:pt x="24391" y="46587"/>
                    <a:pt x="25474" y="44442"/>
                  </a:cubicBezTo>
                  <a:cubicBezTo>
                    <a:pt x="26213" y="43054"/>
                    <a:pt x="27081" y="41739"/>
                    <a:pt x="28068" y="40515"/>
                  </a:cubicBezTo>
                  <a:cubicBezTo>
                    <a:pt x="38379" y="29587"/>
                    <a:pt x="51244" y="21392"/>
                    <a:pt x="65506" y="16667"/>
                  </a:cubicBezTo>
                  <a:cubicBezTo>
                    <a:pt x="74897" y="13382"/>
                    <a:pt x="84782" y="11733"/>
                    <a:pt x="94731" y="11792"/>
                  </a:cubicBezTo>
                  <a:cubicBezTo>
                    <a:pt x="104676" y="11719"/>
                    <a:pt x="114559" y="13375"/>
                    <a:pt x="123938" y="16685"/>
                  </a:cubicBezTo>
                  <a:cubicBezTo>
                    <a:pt x="138060" y="21373"/>
                    <a:pt x="150808" y="29473"/>
                    <a:pt x="161051" y="40268"/>
                  </a:cubicBezTo>
                  <a:cubicBezTo>
                    <a:pt x="162133" y="41564"/>
                    <a:pt x="163080" y="42969"/>
                    <a:pt x="163875" y="44460"/>
                  </a:cubicBezTo>
                  <a:cubicBezTo>
                    <a:pt x="164923" y="46513"/>
                    <a:pt x="165612" y="48730"/>
                    <a:pt x="165915" y="51016"/>
                  </a:cubicBezTo>
                  <a:lnTo>
                    <a:pt x="177117" y="167997"/>
                  </a:lnTo>
                  <a:cubicBezTo>
                    <a:pt x="178123" y="172070"/>
                    <a:pt x="177381" y="176376"/>
                    <a:pt x="175071" y="179877"/>
                  </a:cubicBezTo>
                  <a:cubicBezTo>
                    <a:pt x="172842" y="182006"/>
                    <a:pt x="169797" y="183060"/>
                    <a:pt x="166728" y="182766"/>
                  </a:cubicBezTo>
                  <a:cubicBezTo>
                    <a:pt x="163472" y="182766"/>
                    <a:pt x="160833" y="185406"/>
                    <a:pt x="160833" y="188662"/>
                  </a:cubicBezTo>
                  <a:cubicBezTo>
                    <a:pt x="160833" y="191918"/>
                    <a:pt x="163472" y="194557"/>
                    <a:pt x="166728" y="194557"/>
                  </a:cubicBezTo>
                  <a:cubicBezTo>
                    <a:pt x="173226" y="194936"/>
                    <a:pt x="179551" y="192381"/>
                    <a:pt x="183961" y="187595"/>
                  </a:cubicBezTo>
                  <a:cubicBezTo>
                    <a:pt x="188565" y="181642"/>
                    <a:pt x="190341" y="173977"/>
                    <a:pt x="188825" y="166606"/>
                  </a:cubicBezTo>
                  <a:close/>
                </a:path>
              </a:pathLst>
            </a:custGeom>
            <a:grpFill/>
            <a:ln w="5854" cap="flat">
              <a:noFill/>
              <a:prstDash val="solid"/>
              <a:miter/>
            </a:ln>
          </p:spPr>
          <p:txBody>
            <a:bodyPr rtlCol="0" anchor="ctr"/>
            <a:lstStyle/>
            <a:p>
              <a:endParaRPr lang="en-IN"/>
            </a:p>
          </p:txBody>
        </p:sp>
      </p:grpSp>
      <p:grpSp>
        <p:nvGrpSpPr>
          <p:cNvPr id="82" name="Graphic 1054" descr="Cycle with people outline">
            <a:extLst>
              <a:ext uri="{FF2B5EF4-FFF2-40B4-BE49-F238E27FC236}">
                <a16:creationId xmlns:a16="http://schemas.microsoft.com/office/drawing/2014/main" id="{A99EA53E-35D3-FF76-A77C-A0D13D1D7608}"/>
              </a:ext>
            </a:extLst>
          </p:cNvPr>
          <p:cNvGrpSpPr/>
          <p:nvPr/>
        </p:nvGrpSpPr>
        <p:grpSpPr>
          <a:xfrm>
            <a:off x="5378758" y="3534857"/>
            <a:ext cx="458908" cy="458908"/>
            <a:chOff x="5378758" y="3461682"/>
            <a:chExt cx="458908" cy="458908"/>
          </a:xfrm>
          <a:gradFill>
            <a:gsLst>
              <a:gs pos="0">
                <a:srgbClr val="3FB6FA"/>
              </a:gs>
              <a:gs pos="100000">
                <a:srgbClr val="8745A6"/>
              </a:gs>
            </a:gsLst>
            <a:lin ang="10800000" scaled="1"/>
          </a:gradFill>
        </p:grpSpPr>
        <p:sp>
          <p:nvSpPr>
            <p:cNvPr id="83" name="Freeform: Shape 82">
              <a:extLst>
                <a:ext uri="{FF2B5EF4-FFF2-40B4-BE49-F238E27FC236}">
                  <a16:creationId xmlns:a16="http://schemas.microsoft.com/office/drawing/2014/main" id="{F4729282-612F-C584-6575-1E94C1BFB9E0}"/>
                </a:ext>
              </a:extLst>
            </p:cNvPr>
            <p:cNvSpPr/>
            <p:nvPr/>
          </p:nvSpPr>
          <p:spPr>
            <a:xfrm>
              <a:off x="5567045" y="3832858"/>
              <a:ext cx="82333" cy="13497"/>
            </a:xfrm>
            <a:custGeom>
              <a:avLst/>
              <a:gdLst>
                <a:gd name="connsiteX0" fmla="*/ 82334 w 82333"/>
                <a:gd name="connsiteY0" fmla="*/ 13497 h 13497"/>
                <a:gd name="connsiteX1" fmla="*/ 81659 w 82333"/>
                <a:gd name="connsiteY1" fmla="*/ 3374 h 13497"/>
                <a:gd name="connsiteX2" fmla="*/ 81659 w 82333"/>
                <a:gd name="connsiteY2" fmla="*/ 0 h 13497"/>
                <a:gd name="connsiteX3" fmla="*/ 675 w 82333"/>
                <a:gd name="connsiteY3" fmla="*/ 0 h 13497"/>
                <a:gd name="connsiteX4" fmla="*/ 675 w 82333"/>
                <a:gd name="connsiteY4" fmla="*/ 3374 h 13497"/>
                <a:gd name="connsiteX5" fmla="*/ 0 w 82333"/>
                <a:gd name="connsiteY5" fmla="*/ 13497 h 13497"/>
                <a:gd name="connsiteX6" fmla="*/ 82334 w 82333"/>
                <a:gd name="connsiteY6" fmla="*/ 13497 h 1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33" h="13497">
                  <a:moveTo>
                    <a:pt x="82334" y="13497"/>
                  </a:moveTo>
                  <a:cubicBezTo>
                    <a:pt x="82334" y="10123"/>
                    <a:pt x="81659" y="6749"/>
                    <a:pt x="81659" y="3374"/>
                  </a:cubicBezTo>
                  <a:cubicBezTo>
                    <a:pt x="81659" y="2025"/>
                    <a:pt x="81659" y="1350"/>
                    <a:pt x="81659" y="0"/>
                  </a:cubicBezTo>
                  <a:lnTo>
                    <a:pt x="675" y="0"/>
                  </a:lnTo>
                  <a:cubicBezTo>
                    <a:pt x="675" y="1350"/>
                    <a:pt x="675" y="2025"/>
                    <a:pt x="675" y="3374"/>
                  </a:cubicBezTo>
                  <a:cubicBezTo>
                    <a:pt x="675" y="6749"/>
                    <a:pt x="675" y="10123"/>
                    <a:pt x="0" y="13497"/>
                  </a:cubicBezTo>
                  <a:lnTo>
                    <a:pt x="82334" y="13497"/>
                  </a:lnTo>
                  <a:close/>
                </a:path>
              </a:pathLst>
            </a:custGeom>
            <a:grpFill/>
            <a:ln w="6747" cap="flat">
              <a:noFill/>
              <a:prstDash val="solid"/>
              <a:miter/>
            </a:ln>
          </p:spPr>
          <p:txBody>
            <a:bodyPr rtlCol="0" anchor="ctr"/>
            <a:lstStyle/>
            <a:p>
              <a:endParaRPr lang="en-IN"/>
            </a:p>
          </p:txBody>
        </p:sp>
        <p:sp>
          <p:nvSpPr>
            <p:cNvPr id="84" name="Freeform: Shape 83">
              <a:extLst>
                <a:ext uri="{FF2B5EF4-FFF2-40B4-BE49-F238E27FC236}">
                  <a16:creationId xmlns:a16="http://schemas.microsoft.com/office/drawing/2014/main" id="{5E8049E2-B131-6AA4-6455-424770628329}"/>
                </a:ext>
              </a:extLst>
            </p:cNvPr>
            <p:cNvSpPr/>
            <p:nvPr/>
          </p:nvSpPr>
          <p:spPr>
            <a:xfrm>
              <a:off x="5493485" y="3668191"/>
              <a:ext cx="50614" cy="72885"/>
            </a:xfrm>
            <a:custGeom>
              <a:avLst/>
              <a:gdLst>
                <a:gd name="connsiteX0" fmla="*/ 12822 w 50614"/>
                <a:gd name="connsiteY0" fmla="*/ 72886 h 72885"/>
                <a:gd name="connsiteX1" fmla="*/ 50615 w 50614"/>
                <a:gd name="connsiteY1" fmla="*/ 7424 h 72885"/>
                <a:gd name="connsiteX2" fmla="*/ 39142 w 50614"/>
                <a:gd name="connsiteY2" fmla="*/ 0 h 72885"/>
                <a:gd name="connsiteX3" fmla="*/ 0 w 50614"/>
                <a:gd name="connsiteY3" fmla="*/ 68161 h 72885"/>
                <a:gd name="connsiteX4" fmla="*/ 12822 w 50614"/>
                <a:gd name="connsiteY4" fmla="*/ 72886 h 7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14" h="72885">
                  <a:moveTo>
                    <a:pt x="12822" y="72886"/>
                  </a:moveTo>
                  <a:lnTo>
                    <a:pt x="50615" y="7424"/>
                  </a:lnTo>
                  <a:cubicBezTo>
                    <a:pt x="46566" y="5399"/>
                    <a:pt x="43191" y="2699"/>
                    <a:pt x="39142" y="0"/>
                  </a:cubicBezTo>
                  <a:lnTo>
                    <a:pt x="0" y="68161"/>
                  </a:lnTo>
                  <a:cubicBezTo>
                    <a:pt x="4724" y="69511"/>
                    <a:pt x="8773" y="70861"/>
                    <a:pt x="12822" y="72886"/>
                  </a:cubicBezTo>
                  <a:close/>
                </a:path>
              </a:pathLst>
            </a:custGeom>
            <a:grpFill/>
            <a:ln w="6747" cap="flat">
              <a:noFill/>
              <a:prstDash val="solid"/>
              <a:miter/>
            </a:ln>
          </p:spPr>
          <p:txBody>
            <a:bodyPr rtlCol="0" anchor="ctr"/>
            <a:lstStyle/>
            <a:p>
              <a:endParaRPr lang="en-IN"/>
            </a:p>
          </p:txBody>
        </p:sp>
        <p:sp>
          <p:nvSpPr>
            <p:cNvPr id="85" name="Freeform: Shape 84">
              <a:extLst>
                <a:ext uri="{FF2B5EF4-FFF2-40B4-BE49-F238E27FC236}">
                  <a16:creationId xmlns:a16="http://schemas.microsoft.com/office/drawing/2014/main" id="{C20606B9-CF5C-E72D-A289-5AC3A93D24C1}"/>
                </a:ext>
              </a:extLst>
            </p:cNvPr>
            <p:cNvSpPr/>
            <p:nvPr/>
          </p:nvSpPr>
          <p:spPr>
            <a:xfrm>
              <a:off x="5665576" y="3668191"/>
              <a:ext cx="51964" cy="75584"/>
            </a:xfrm>
            <a:custGeom>
              <a:avLst/>
              <a:gdLst>
                <a:gd name="connsiteX0" fmla="*/ 51965 w 51964"/>
                <a:gd name="connsiteY0" fmla="*/ 70186 h 75584"/>
                <a:gd name="connsiteX1" fmla="*/ 11473 w 51964"/>
                <a:gd name="connsiteY1" fmla="*/ 0 h 75584"/>
                <a:gd name="connsiteX2" fmla="*/ 0 w 51964"/>
                <a:gd name="connsiteY2" fmla="*/ 7424 h 75584"/>
                <a:gd name="connsiteX3" fmla="*/ 39142 w 51964"/>
                <a:gd name="connsiteY3" fmla="*/ 75585 h 75584"/>
                <a:gd name="connsiteX4" fmla="*/ 51965 w 51964"/>
                <a:gd name="connsiteY4" fmla="*/ 70186 h 75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64" h="75584">
                  <a:moveTo>
                    <a:pt x="51965" y="70186"/>
                  </a:moveTo>
                  <a:lnTo>
                    <a:pt x="11473" y="0"/>
                  </a:lnTo>
                  <a:cubicBezTo>
                    <a:pt x="8098" y="2699"/>
                    <a:pt x="4049" y="4724"/>
                    <a:pt x="0" y="7424"/>
                  </a:cubicBezTo>
                  <a:lnTo>
                    <a:pt x="39142" y="75585"/>
                  </a:lnTo>
                  <a:cubicBezTo>
                    <a:pt x="43191" y="73560"/>
                    <a:pt x="47915" y="71536"/>
                    <a:pt x="51965" y="70186"/>
                  </a:cubicBezTo>
                  <a:close/>
                </a:path>
              </a:pathLst>
            </a:custGeom>
            <a:grpFill/>
            <a:ln w="6747" cap="flat">
              <a:noFill/>
              <a:prstDash val="solid"/>
              <a:miter/>
            </a:ln>
          </p:spPr>
          <p:txBody>
            <a:bodyPr rtlCol="0" anchor="ctr"/>
            <a:lstStyle/>
            <a:p>
              <a:endParaRPr lang="en-IN"/>
            </a:p>
          </p:txBody>
        </p:sp>
        <p:sp>
          <p:nvSpPr>
            <p:cNvPr id="86" name="Freeform: Shape 85">
              <a:extLst>
                <a:ext uri="{FF2B5EF4-FFF2-40B4-BE49-F238E27FC236}">
                  <a16:creationId xmlns:a16="http://schemas.microsoft.com/office/drawing/2014/main" id="{A3256BC3-554D-CF69-0310-22F006FFE0DA}"/>
                </a:ext>
              </a:extLst>
            </p:cNvPr>
            <p:cNvSpPr/>
            <p:nvPr/>
          </p:nvSpPr>
          <p:spPr>
            <a:xfrm>
              <a:off x="5378758" y="3751874"/>
              <a:ext cx="168716" cy="168716"/>
            </a:xfrm>
            <a:custGeom>
              <a:avLst/>
              <a:gdLst>
                <a:gd name="connsiteX0" fmla="*/ 84358 w 168716"/>
                <a:gd name="connsiteY0" fmla="*/ 0 h 168716"/>
                <a:gd name="connsiteX1" fmla="*/ 0 w 168716"/>
                <a:gd name="connsiteY1" fmla="*/ 84358 h 168716"/>
                <a:gd name="connsiteX2" fmla="*/ 84358 w 168716"/>
                <a:gd name="connsiteY2" fmla="*/ 168716 h 168716"/>
                <a:gd name="connsiteX3" fmla="*/ 168716 w 168716"/>
                <a:gd name="connsiteY3" fmla="*/ 84358 h 168716"/>
                <a:gd name="connsiteX4" fmla="*/ 84358 w 168716"/>
                <a:gd name="connsiteY4" fmla="*/ 0 h 168716"/>
                <a:gd name="connsiteX5" fmla="*/ 43866 w 168716"/>
                <a:gd name="connsiteY5" fmla="*/ 142397 h 168716"/>
                <a:gd name="connsiteX6" fmla="*/ 88407 w 168716"/>
                <a:gd name="connsiteY6" fmla="*/ 105279 h 168716"/>
                <a:gd name="connsiteX7" fmla="*/ 125525 w 168716"/>
                <a:gd name="connsiteY7" fmla="*/ 142397 h 168716"/>
                <a:gd name="connsiteX8" fmla="*/ 43866 w 168716"/>
                <a:gd name="connsiteY8" fmla="*/ 142397 h 168716"/>
                <a:gd name="connsiteX9" fmla="*/ 65462 w 168716"/>
                <a:gd name="connsiteY9" fmla="*/ 72886 h 168716"/>
                <a:gd name="connsiteX10" fmla="*/ 84358 w 168716"/>
                <a:gd name="connsiteY10" fmla="*/ 53989 h 168716"/>
                <a:gd name="connsiteX11" fmla="*/ 103254 w 168716"/>
                <a:gd name="connsiteY11" fmla="*/ 72886 h 168716"/>
                <a:gd name="connsiteX12" fmla="*/ 84358 w 168716"/>
                <a:gd name="connsiteY12" fmla="*/ 91782 h 168716"/>
                <a:gd name="connsiteX13" fmla="*/ 65462 w 168716"/>
                <a:gd name="connsiteY13" fmla="*/ 72886 h 168716"/>
                <a:gd name="connsiteX14" fmla="*/ 136998 w 168716"/>
                <a:gd name="connsiteY14" fmla="*/ 131599 h 168716"/>
                <a:gd name="connsiteX15" fmla="*/ 106629 w 168716"/>
                <a:gd name="connsiteY15" fmla="*/ 95831 h 168716"/>
                <a:gd name="connsiteX16" fmla="*/ 107979 w 168716"/>
                <a:gd name="connsiteY16" fmla="*/ 49940 h 168716"/>
                <a:gd name="connsiteX17" fmla="*/ 62088 w 168716"/>
                <a:gd name="connsiteY17" fmla="*/ 48590 h 168716"/>
                <a:gd name="connsiteX18" fmla="*/ 60738 w 168716"/>
                <a:gd name="connsiteY18" fmla="*/ 94481 h 168716"/>
                <a:gd name="connsiteX19" fmla="*/ 62088 w 168716"/>
                <a:gd name="connsiteY19" fmla="*/ 95831 h 168716"/>
                <a:gd name="connsiteX20" fmla="*/ 31719 w 168716"/>
                <a:gd name="connsiteY20" fmla="*/ 131599 h 168716"/>
                <a:gd name="connsiteX21" fmla="*/ 36443 w 168716"/>
                <a:gd name="connsiteY21" fmla="*/ 31719 h 168716"/>
                <a:gd name="connsiteX22" fmla="*/ 136323 w 168716"/>
                <a:gd name="connsiteY22" fmla="*/ 36443 h 168716"/>
                <a:gd name="connsiteX23" fmla="*/ 136998 w 168716"/>
                <a:gd name="connsiteY23" fmla="*/ 131599 h 16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8716" h="168716">
                  <a:moveTo>
                    <a:pt x="84358" y="0"/>
                  </a:moveTo>
                  <a:cubicBezTo>
                    <a:pt x="37792" y="0"/>
                    <a:pt x="0" y="37792"/>
                    <a:pt x="0" y="84358"/>
                  </a:cubicBezTo>
                  <a:cubicBezTo>
                    <a:pt x="0" y="130924"/>
                    <a:pt x="37792" y="168716"/>
                    <a:pt x="84358" y="168716"/>
                  </a:cubicBezTo>
                  <a:cubicBezTo>
                    <a:pt x="130924" y="168716"/>
                    <a:pt x="168716" y="130924"/>
                    <a:pt x="168716" y="84358"/>
                  </a:cubicBezTo>
                  <a:cubicBezTo>
                    <a:pt x="168716" y="37792"/>
                    <a:pt x="130924" y="0"/>
                    <a:pt x="84358" y="0"/>
                  </a:cubicBezTo>
                  <a:close/>
                  <a:moveTo>
                    <a:pt x="43866" y="142397"/>
                  </a:moveTo>
                  <a:cubicBezTo>
                    <a:pt x="45891" y="120126"/>
                    <a:pt x="66137" y="103254"/>
                    <a:pt x="88407" y="105279"/>
                  </a:cubicBezTo>
                  <a:cubicBezTo>
                    <a:pt x="107979" y="107304"/>
                    <a:pt x="123500" y="122826"/>
                    <a:pt x="125525" y="142397"/>
                  </a:cubicBezTo>
                  <a:cubicBezTo>
                    <a:pt x="100555" y="159268"/>
                    <a:pt x="68161" y="159268"/>
                    <a:pt x="43866" y="142397"/>
                  </a:cubicBezTo>
                  <a:close/>
                  <a:moveTo>
                    <a:pt x="65462" y="72886"/>
                  </a:moveTo>
                  <a:cubicBezTo>
                    <a:pt x="65462" y="62763"/>
                    <a:pt x="73560" y="53989"/>
                    <a:pt x="84358" y="53989"/>
                  </a:cubicBezTo>
                  <a:cubicBezTo>
                    <a:pt x="94481" y="53989"/>
                    <a:pt x="103254" y="62088"/>
                    <a:pt x="103254" y="72886"/>
                  </a:cubicBezTo>
                  <a:cubicBezTo>
                    <a:pt x="103254" y="83008"/>
                    <a:pt x="95156" y="91782"/>
                    <a:pt x="84358" y="91782"/>
                  </a:cubicBezTo>
                  <a:cubicBezTo>
                    <a:pt x="74235" y="91782"/>
                    <a:pt x="65462" y="83008"/>
                    <a:pt x="65462" y="72886"/>
                  </a:cubicBezTo>
                  <a:close/>
                  <a:moveTo>
                    <a:pt x="136998" y="131599"/>
                  </a:moveTo>
                  <a:cubicBezTo>
                    <a:pt x="132949" y="116077"/>
                    <a:pt x="121476" y="102580"/>
                    <a:pt x="106629" y="95831"/>
                  </a:cubicBezTo>
                  <a:cubicBezTo>
                    <a:pt x="119451" y="83683"/>
                    <a:pt x="120126" y="63437"/>
                    <a:pt x="107979" y="49940"/>
                  </a:cubicBezTo>
                  <a:cubicBezTo>
                    <a:pt x="95831" y="37118"/>
                    <a:pt x="75585" y="36443"/>
                    <a:pt x="62088" y="48590"/>
                  </a:cubicBezTo>
                  <a:cubicBezTo>
                    <a:pt x="49265" y="60738"/>
                    <a:pt x="48590" y="80984"/>
                    <a:pt x="60738" y="94481"/>
                  </a:cubicBezTo>
                  <a:cubicBezTo>
                    <a:pt x="61413" y="95156"/>
                    <a:pt x="62088" y="95831"/>
                    <a:pt x="62088" y="95831"/>
                  </a:cubicBezTo>
                  <a:cubicBezTo>
                    <a:pt x="47241" y="102580"/>
                    <a:pt x="35768" y="115402"/>
                    <a:pt x="31719" y="131599"/>
                  </a:cubicBezTo>
                  <a:cubicBezTo>
                    <a:pt x="5399" y="102580"/>
                    <a:pt x="7424" y="58038"/>
                    <a:pt x="36443" y="31719"/>
                  </a:cubicBezTo>
                  <a:cubicBezTo>
                    <a:pt x="65462" y="5399"/>
                    <a:pt x="110003" y="7424"/>
                    <a:pt x="136323" y="36443"/>
                  </a:cubicBezTo>
                  <a:cubicBezTo>
                    <a:pt x="161293" y="63437"/>
                    <a:pt x="161293" y="104604"/>
                    <a:pt x="136998" y="131599"/>
                  </a:cubicBezTo>
                  <a:close/>
                </a:path>
              </a:pathLst>
            </a:custGeom>
            <a:grpFill/>
            <a:ln w="6747" cap="flat">
              <a:noFill/>
              <a:prstDash val="solid"/>
              <a:miter/>
            </a:ln>
          </p:spPr>
          <p:txBody>
            <a:bodyPr rtlCol="0" anchor="ctr"/>
            <a:lstStyle/>
            <a:p>
              <a:endParaRPr lang="en-IN"/>
            </a:p>
          </p:txBody>
        </p:sp>
        <p:sp>
          <p:nvSpPr>
            <p:cNvPr id="87" name="Freeform: Shape 86">
              <a:extLst>
                <a:ext uri="{FF2B5EF4-FFF2-40B4-BE49-F238E27FC236}">
                  <a16:creationId xmlns:a16="http://schemas.microsoft.com/office/drawing/2014/main" id="{85DE99A0-9036-E513-22AA-E67AD47EEB12}"/>
                </a:ext>
              </a:extLst>
            </p:cNvPr>
            <p:cNvSpPr/>
            <p:nvPr/>
          </p:nvSpPr>
          <p:spPr>
            <a:xfrm>
              <a:off x="5668950" y="3751874"/>
              <a:ext cx="168716" cy="168716"/>
            </a:xfrm>
            <a:custGeom>
              <a:avLst/>
              <a:gdLst>
                <a:gd name="connsiteX0" fmla="*/ 84358 w 168716"/>
                <a:gd name="connsiteY0" fmla="*/ 0 h 168716"/>
                <a:gd name="connsiteX1" fmla="*/ 0 w 168716"/>
                <a:gd name="connsiteY1" fmla="*/ 84358 h 168716"/>
                <a:gd name="connsiteX2" fmla="*/ 84358 w 168716"/>
                <a:gd name="connsiteY2" fmla="*/ 168716 h 168716"/>
                <a:gd name="connsiteX3" fmla="*/ 168716 w 168716"/>
                <a:gd name="connsiteY3" fmla="*/ 84358 h 168716"/>
                <a:gd name="connsiteX4" fmla="*/ 84358 w 168716"/>
                <a:gd name="connsiteY4" fmla="*/ 0 h 168716"/>
                <a:gd name="connsiteX5" fmla="*/ 43866 w 168716"/>
                <a:gd name="connsiteY5" fmla="*/ 142397 h 168716"/>
                <a:gd name="connsiteX6" fmla="*/ 88407 w 168716"/>
                <a:gd name="connsiteY6" fmla="*/ 105279 h 168716"/>
                <a:gd name="connsiteX7" fmla="*/ 125525 w 168716"/>
                <a:gd name="connsiteY7" fmla="*/ 142397 h 168716"/>
                <a:gd name="connsiteX8" fmla="*/ 43866 w 168716"/>
                <a:gd name="connsiteY8" fmla="*/ 142397 h 168716"/>
                <a:gd name="connsiteX9" fmla="*/ 65462 w 168716"/>
                <a:gd name="connsiteY9" fmla="*/ 72886 h 168716"/>
                <a:gd name="connsiteX10" fmla="*/ 84358 w 168716"/>
                <a:gd name="connsiteY10" fmla="*/ 53989 h 168716"/>
                <a:gd name="connsiteX11" fmla="*/ 103254 w 168716"/>
                <a:gd name="connsiteY11" fmla="*/ 72886 h 168716"/>
                <a:gd name="connsiteX12" fmla="*/ 84358 w 168716"/>
                <a:gd name="connsiteY12" fmla="*/ 91782 h 168716"/>
                <a:gd name="connsiteX13" fmla="*/ 65462 w 168716"/>
                <a:gd name="connsiteY13" fmla="*/ 72886 h 168716"/>
                <a:gd name="connsiteX14" fmla="*/ 136998 w 168716"/>
                <a:gd name="connsiteY14" fmla="*/ 131599 h 168716"/>
                <a:gd name="connsiteX15" fmla="*/ 106629 w 168716"/>
                <a:gd name="connsiteY15" fmla="*/ 95831 h 168716"/>
                <a:gd name="connsiteX16" fmla="*/ 107979 w 168716"/>
                <a:gd name="connsiteY16" fmla="*/ 49940 h 168716"/>
                <a:gd name="connsiteX17" fmla="*/ 62088 w 168716"/>
                <a:gd name="connsiteY17" fmla="*/ 48590 h 168716"/>
                <a:gd name="connsiteX18" fmla="*/ 60738 w 168716"/>
                <a:gd name="connsiteY18" fmla="*/ 94481 h 168716"/>
                <a:gd name="connsiteX19" fmla="*/ 62088 w 168716"/>
                <a:gd name="connsiteY19" fmla="*/ 95831 h 168716"/>
                <a:gd name="connsiteX20" fmla="*/ 31719 w 168716"/>
                <a:gd name="connsiteY20" fmla="*/ 131599 h 168716"/>
                <a:gd name="connsiteX21" fmla="*/ 36443 w 168716"/>
                <a:gd name="connsiteY21" fmla="*/ 31719 h 168716"/>
                <a:gd name="connsiteX22" fmla="*/ 136323 w 168716"/>
                <a:gd name="connsiteY22" fmla="*/ 36443 h 168716"/>
                <a:gd name="connsiteX23" fmla="*/ 136998 w 168716"/>
                <a:gd name="connsiteY23" fmla="*/ 131599 h 16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8716" h="168716">
                  <a:moveTo>
                    <a:pt x="84358" y="0"/>
                  </a:moveTo>
                  <a:cubicBezTo>
                    <a:pt x="37792" y="0"/>
                    <a:pt x="0" y="37792"/>
                    <a:pt x="0" y="84358"/>
                  </a:cubicBezTo>
                  <a:cubicBezTo>
                    <a:pt x="0" y="130924"/>
                    <a:pt x="37792" y="168716"/>
                    <a:pt x="84358" y="168716"/>
                  </a:cubicBezTo>
                  <a:cubicBezTo>
                    <a:pt x="130924" y="168716"/>
                    <a:pt x="168716" y="130924"/>
                    <a:pt x="168716" y="84358"/>
                  </a:cubicBezTo>
                  <a:cubicBezTo>
                    <a:pt x="168716" y="37792"/>
                    <a:pt x="130924" y="0"/>
                    <a:pt x="84358" y="0"/>
                  </a:cubicBezTo>
                  <a:close/>
                  <a:moveTo>
                    <a:pt x="43866" y="142397"/>
                  </a:moveTo>
                  <a:cubicBezTo>
                    <a:pt x="45891" y="120126"/>
                    <a:pt x="66137" y="103254"/>
                    <a:pt x="88407" y="105279"/>
                  </a:cubicBezTo>
                  <a:cubicBezTo>
                    <a:pt x="107979" y="107304"/>
                    <a:pt x="123500" y="122826"/>
                    <a:pt x="125525" y="142397"/>
                  </a:cubicBezTo>
                  <a:cubicBezTo>
                    <a:pt x="100555" y="159268"/>
                    <a:pt x="68161" y="159268"/>
                    <a:pt x="43866" y="142397"/>
                  </a:cubicBezTo>
                  <a:close/>
                  <a:moveTo>
                    <a:pt x="65462" y="72886"/>
                  </a:moveTo>
                  <a:cubicBezTo>
                    <a:pt x="65462" y="62763"/>
                    <a:pt x="73560" y="53989"/>
                    <a:pt x="84358" y="53989"/>
                  </a:cubicBezTo>
                  <a:cubicBezTo>
                    <a:pt x="94481" y="53989"/>
                    <a:pt x="103254" y="62088"/>
                    <a:pt x="103254" y="72886"/>
                  </a:cubicBezTo>
                  <a:cubicBezTo>
                    <a:pt x="103254" y="83008"/>
                    <a:pt x="95156" y="91782"/>
                    <a:pt x="84358" y="91782"/>
                  </a:cubicBezTo>
                  <a:cubicBezTo>
                    <a:pt x="74235" y="91782"/>
                    <a:pt x="65462" y="83008"/>
                    <a:pt x="65462" y="72886"/>
                  </a:cubicBezTo>
                  <a:close/>
                  <a:moveTo>
                    <a:pt x="136998" y="131599"/>
                  </a:moveTo>
                  <a:cubicBezTo>
                    <a:pt x="132949" y="116077"/>
                    <a:pt x="121476" y="102580"/>
                    <a:pt x="106629" y="95831"/>
                  </a:cubicBezTo>
                  <a:cubicBezTo>
                    <a:pt x="119451" y="83683"/>
                    <a:pt x="120126" y="63437"/>
                    <a:pt x="107979" y="49940"/>
                  </a:cubicBezTo>
                  <a:cubicBezTo>
                    <a:pt x="95831" y="37118"/>
                    <a:pt x="75585" y="36443"/>
                    <a:pt x="62088" y="48590"/>
                  </a:cubicBezTo>
                  <a:cubicBezTo>
                    <a:pt x="48590" y="60738"/>
                    <a:pt x="48590" y="80984"/>
                    <a:pt x="60738" y="94481"/>
                  </a:cubicBezTo>
                  <a:cubicBezTo>
                    <a:pt x="61413" y="95156"/>
                    <a:pt x="62088" y="95831"/>
                    <a:pt x="62088" y="95831"/>
                  </a:cubicBezTo>
                  <a:cubicBezTo>
                    <a:pt x="47241" y="102580"/>
                    <a:pt x="35768" y="115402"/>
                    <a:pt x="31719" y="131599"/>
                  </a:cubicBezTo>
                  <a:cubicBezTo>
                    <a:pt x="5399" y="102580"/>
                    <a:pt x="7424" y="58038"/>
                    <a:pt x="36443" y="31719"/>
                  </a:cubicBezTo>
                  <a:cubicBezTo>
                    <a:pt x="65462" y="5399"/>
                    <a:pt x="110003" y="7424"/>
                    <a:pt x="136323" y="36443"/>
                  </a:cubicBezTo>
                  <a:cubicBezTo>
                    <a:pt x="161293" y="63437"/>
                    <a:pt x="161293" y="104604"/>
                    <a:pt x="136998" y="131599"/>
                  </a:cubicBezTo>
                  <a:close/>
                </a:path>
              </a:pathLst>
            </a:custGeom>
            <a:grpFill/>
            <a:ln w="6747" cap="flat">
              <a:noFill/>
              <a:prstDash val="solid"/>
              <a:miter/>
            </a:ln>
          </p:spPr>
          <p:txBody>
            <a:bodyPr rtlCol="0" anchor="ctr"/>
            <a:lstStyle/>
            <a:p>
              <a:endParaRPr lang="en-IN"/>
            </a:p>
          </p:txBody>
        </p:sp>
        <p:sp>
          <p:nvSpPr>
            <p:cNvPr id="88" name="Freeform: Shape 87">
              <a:extLst>
                <a:ext uri="{FF2B5EF4-FFF2-40B4-BE49-F238E27FC236}">
                  <a16:creationId xmlns:a16="http://schemas.microsoft.com/office/drawing/2014/main" id="{C55D9048-72FE-C359-21F8-A5FDB6435D87}"/>
                </a:ext>
              </a:extLst>
            </p:cNvPr>
            <p:cNvSpPr/>
            <p:nvPr/>
          </p:nvSpPr>
          <p:spPr>
            <a:xfrm>
              <a:off x="5500234" y="3461682"/>
              <a:ext cx="209208" cy="209208"/>
            </a:xfrm>
            <a:custGeom>
              <a:avLst/>
              <a:gdLst>
                <a:gd name="connsiteX0" fmla="*/ 104604 w 209208"/>
                <a:gd name="connsiteY0" fmla="*/ 0 h 209208"/>
                <a:gd name="connsiteX1" fmla="*/ 0 w 209208"/>
                <a:gd name="connsiteY1" fmla="*/ 104604 h 209208"/>
                <a:gd name="connsiteX2" fmla="*/ 104604 w 209208"/>
                <a:gd name="connsiteY2" fmla="*/ 209208 h 209208"/>
                <a:gd name="connsiteX3" fmla="*/ 209208 w 209208"/>
                <a:gd name="connsiteY3" fmla="*/ 104604 h 209208"/>
                <a:gd name="connsiteX4" fmla="*/ 104604 w 209208"/>
                <a:gd name="connsiteY4" fmla="*/ 0 h 209208"/>
                <a:gd name="connsiteX5" fmla="*/ 51290 w 209208"/>
                <a:gd name="connsiteY5" fmla="*/ 178165 h 209208"/>
                <a:gd name="connsiteX6" fmla="*/ 108653 w 209208"/>
                <a:gd name="connsiteY6" fmla="*/ 128899 h 209208"/>
                <a:gd name="connsiteX7" fmla="*/ 157919 w 209208"/>
                <a:gd name="connsiteY7" fmla="*/ 178165 h 209208"/>
                <a:gd name="connsiteX8" fmla="*/ 51290 w 209208"/>
                <a:gd name="connsiteY8" fmla="*/ 178165 h 209208"/>
                <a:gd name="connsiteX9" fmla="*/ 78959 w 209208"/>
                <a:gd name="connsiteY9" fmla="*/ 89757 h 209208"/>
                <a:gd name="connsiteX10" fmla="*/ 104604 w 209208"/>
                <a:gd name="connsiteY10" fmla="*/ 64112 h 209208"/>
                <a:gd name="connsiteX11" fmla="*/ 130249 w 209208"/>
                <a:gd name="connsiteY11" fmla="*/ 89757 h 209208"/>
                <a:gd name="connsiteX12" fmla="*/ 104604 w 209208"/>
                <a:gd name="connsiteY12" fmla="*/ 115402 h 209208"/>
                <a:gd name="connsiteX13" fmla="*/ 78959 w 209208"/>
                <a:gd name="connsiteY13" fmla="*/ 89757 h 209208"/>
                <a:gd name="connsiteX14" fmla="*/ 78959 w 209208"/>
                <a:gd name="connsiteY14" fmla="*/ 89757 h 209208"/>
                <a:gd name="connsiteX15" fmla="*/ 170066 w 209208"/>
                <a:gd name="connsiteY15" fmla="*/ 166692 h 209208"/>
                <a:gd name="connsiteX16" fmla="*/ 129574 w 209208"/>
                <a:gd name="connsiteY16" fmla="*/ 120126 h 209208"/>
                <a:gd name="connsiteX17" fmla="*/ 134973 w 209208"/>
                <a:gd name="connsiteY17" fmla="*/ 65462 h 209208"/>
                <a:gd name="connsiteX18" fmla="*/ 80309 w 209208"/>
                <a:gd name="connsiteY18" fmla="*/ 60063 h 209208"/>
                <a:gd name="connsiteX19" fmla="*/ 74235 w 209208"/>
                <a:gd name="connsiteY19" fmla="*/ 114727 h 209208"/>
                <a:gd name="connsiteX20" fmla="*/ 79634 w 209208"/>
                <a:gd name="connsiteY20" fmla="*/ 120126 h 209208"/>
                <a:gd name="connsiteX21" fmla="*/ 39142 w 209208"/>
                <a:gd name="connsiteY21" fmla="*/ 168042 h 209208"/>
                <a:gd name="connsiteX22" fmla="*/ 41167 w 209208"/>
                <a:gd name="connsiteY22" fmla="*/ 39142 h 209208"/>
                <a:gd name="connsiteX23" fmla="*/ 170066 w 209208"/>
                <a:gd name="connsiteY23" fmla="*/ 41167 h 209208"/>
                <a:gd name="connsiteX24" fmla="*/ 170066 w 209208"/>
                <a:gd name="connsiteY24" fmla="*/ 168042 h 209208"/>
                <a:gd name="connsiteX25" fmla="*/ 170066 w 209208"/>
                <a:gd name="connsiteY25" fmla="*/ 166692 h 20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208" h="209208">
                  <a:moveTo>
                    <a:pt x="104604" y="0"/>
                  </a:moveTo>
                  <a:cubicBezTo>
                    <a:pt x="46566" y="0"/>
                    <a:pt x="0" y="46566"/>
                    <a:pt x="0" y="104604"/>
                  </a:cubicBezTo>
                  <a:cubicBezTo>
                    <a:pt x="0" y="162643"/>
                    <a:pt x="46566" y="209208"/>
                    <a:pt x="104604" y="209208"/>
                  </a:cubicBezTo>
                  <a:cubicBezTo>
                    <a:pt x="162643" y="209208"/>
                    <a:pt x="209208" y="162643"/>
                    <a:pt x="209208" y="104604"/>
                  </a:cubicBezTo>
                  <a:cubicBezTo>
                    <a:pt x="209208" y="46566"/>
                    <a:pt x="162643" y="0"/>
                    <a:pt x="104604" y="0"/>
                  </a:cubicBezTo>
                  <a:close/>
                  <a:moveTo>
                    <a:pt x="51290" y="178165"/>
                  </a:moveTo>
                  <a:cubicBezTo>
                    <a:pt x="53314" y="148470"/>
                    <a:pt x="78959" y="126875"/>
                    <a:pt x="108653" y="128899"/>
                  </a:cubicBezTo>
                  <a:cubicBezTo>
                    <a:pt x="134973" y="130924"/>
                    <a:pt x="155894" y="151845"/>
                    <a:pt x="157919" y="178165"/>
                  </a:cubicBezTo>
                  <a:cubicBezTo>
                    <a:pt x="126200" y="201785"/>
                    <a:pt x="83008" y="201785"/>
                    <a:pt x="51290" y="178165"/>
                  </a:cubicBezTo>
                  <a:close/>
                  <a:moveTo>
                    <a:pt x="78959" y="89757"/>
                  </a:moveTo>
                  <a:cubicBezTo>
                    <a:pt x="78959" y="75585"/>
                    <a:pt x="90432" y="64112"/>
                    <a:pt x="104604" y="64112"/>
                  </a:cubicBezTo>
                  <a:cubicBezTo>
                    <a:pt x="118776" y="64112"/>
                    <a:pt x="130249" y="75585"/>
                    <a:pt x="130249" y="89757"/>
                  </a:cubicBezTo>
                  <a:cubicBezTo>
                    <a:pt x="130249" y="103929"/>
                    <a:pt x="118776" y="115402"/>
                    <a:pt x="104604" y="115402"/>
                  </a:cubicBezTo>
                  <a:cubicBezTo>
                    <a:pt x="90432" y="115402"/>
                    <a:pt x="78959" y="103929"/>
                    <a:pt x="78959" y="89757"/>
                  </a:cubicBezTo>
                  <a:lnTo>
                    <a:pt x="78959" y="89757"/>
                  </a:lnTo>
                  <a:close/>
                  <a:moveTo>
                    <a:pt x="170066" y="166692"/>
                  </a:moveTo>
                  <a:cubicBezTo>
                    <a:pt x="165342" y="145096"/>
                    <a:pt x="149820" y="127550"/>
                    <a:pt x="129574" y="120126"/>
                  </a:cubicBezTo>
                  <a:cubicBezTo>
                    <a:pt x="146446" y="106629"/>
                    <a:pt x="148470" y="82334"/>
                    <a:pt x="134973" y="65462"/>
                  </a:cubicBezTo>
                  <a:cubicBezTo>
                    <a:pt x="121476" y="48590"/>
                    <a:pt x="97181" y="46566"/>
                    <a:pt x="80309" y="60063"/>
                  </a:cubicBezTo>
                  <a:cubicBezTo>
                    <a:pt x="63437" y="73560"/>
                    <a:pt x="60738" y="97856"/>
                    <a:pt x="74235" y="114727"/>
                  </a:cubicBezTo>
                  <a:cubicBezTo>
                    <a:pt x="75585" y="116752"/>
                    <a:pt x="77610" y="118776"/>
                    <a:pt x="79634" y="120126"/>
                  </a:cubicBezTo>
                  <a:cubicBezTo>
                    <a:pt x="58713" y="128224"/>
                    <a:pt x="43866" y="146446"/>
                    <a:pt x="39142" y="168042"/>
                  </a:cubicBezTo>
                  <a:cubicBezTo>
                    <a:pt x="4049" y="132274"/>
                    <a:pt x="4724" y="74235"/>
                    <a:pt x="41167" y="39142"/>
                  </a:cubicBezTo>
                  <a:cubicBezTo>
                    <a:pt x="77610" y="4049"/>
                    <a:pt x="134973" y="4724"/>
                    <a:pt x="170066" y="41167"/>
                  </a:cubicBezTo>
                  <a:cubicBezTo>
                    <a:pt x="204484" y="76260"/>
                    <a:pt x="204484" y="132949"/>
                    <a:pt x="170066" y="168042"/>
                  </a:cubicBezTo>
                  <a:cubicBezTo>
                    <a:pt x="170066" y="168042"/>
                    <a:pt x="170066" y="167367"/>
                    <a:pt x="170066" y="166692"/>
                  </a:cubicBezTo>
                  <a:close/>
                </a:path>
              </a:pathLst>
            </a:custGeom>
            <a:grpFill/>
            <a:ln w="6747" cap="flat">
              <a:noFill/>
              <a:prstDash val="solid"/>
              <a:miter/>
            </a:ln>
          </p:spPr>
          <p:txBody>
            <a:bodyPr rtlCol="0" anchor="ctr"/>
            <a:lstStyle/>
            <a:p>
              <a:endParaRPr lang="en-IN"/>
            </a:p>
          </p:txBody>
        </p:sp>
      </p:grpSp>
      <p:grpSp>
        <p:nvGrpSpPr>
          <p:cNvPr id="89" name="Graphic 1082" descr="Gears outline">
            <a:extLst>
              <a:ext uri="{FF2B5EF4-FFF2-40B4-BE49-F238E27FC236}">
                <a16:creationId xmlns:a16="http://schemas.microsoft.com/office/drawing/2014/main" id="{8722FC2E-3CEA-FE16-E802-A2D8A621C998}"/>
              </a:ext>
            </a:extLst>
          </p:cNvPr>
          <p:cNvGrpSpPr/>
          <p:nvPr/>
        </p:nvGrpSpPr>
        <p:grpSpPr>
          <a:xfrm>
            <a:off x="7117814" y="3935952"/>
            <a:ext cx="261780" cy="316859"/>
            <a:chOff x="6421829" y="2607830"/>
            <a:chExt cx="261780" cy="316859"/>
          </a:xfrm>
          <a:solidFill>
            <a:schemeClr val="bg1"/>
          </a:solidFill>
        </p:grpSpPr>
        <p:sp>
          <p:nvSpPr>
            <p:cNvPr id="90" name="Freeform: Shape 89">
              <a:extLst>
                <a:ext uri="{FF2B5EF4-FFF2-40B4-BE49-F238E27FC236}">
                  <a16:creationId xmlns:a16="http://schemas.microsoft.com/office/drawing/2014/main" id="{ED34E94F-4E75-E54E-D826-F324793F468B}"/>
                </a:ext>
              </a:extLst>
            </p:cNvPr>
            <p:cNvSpPr/>
            <p:nvPr/>
          </p:nvSpPr>
          <p:spPr>
            <a:xfrm>
              <a:off x="6512569" y="2607830"/>
              <a:ext cx="171040" cy="170639"/>
            </a:xfrm>
            <a:custGeom>
              <a:avLst/>
              <a:gdLst>
                <a:gd name="connsiteX0" fmla="*/ 146549 w 171040"/>
                <a:gd name="connsiteY0" fmla="*/ 120094 h 170639"/>
                <a:gd name="connsiteX1" fmla="*/ 153375 w 171040"/>
                <a:gd name="connsiteY1" fmla="*/ 104435 h 170639"/>
                <a:gd name="connsiteX2" fmla="*/ 171041 w 171040"/>
                <a:gd name="connsiteY2" fmla="*/ 95602 h 170639"/>
                <a:gd name="connsiteX3" fmla="*/ 171041 w 171040"/>
                <a:gd name="connsiteY3" fmla="*/ 75527 h 170639"/>
                <a:gd name="connsiteX4" fmla="*/ 153375 w 171040"/>
                <a:gd name="connsiteY4" fmla="*/ 66694 h 170639"/>
                <a:gd name="connsiteX5" fmla="*/ 146951 w 171040"/>
                <a:gd name="connsiteY5" fmla="*/ 51035 h 170639"/>
                <a:gd name="connsiteX6" fmla="*/ 153375 w 171040"/>
                <a:gd name="connsiteY6" fmla="*/ 32164 h 170639"/>
                <a:gd name="connsiteX7" fmla="*/ 138920 w 171040"/>
                <a:gd name="connsiteY7" fmla="*/ 17710 h 170639"/>
                <a:gd name="connsiteX8" fmla="*/ 120050 w 171040"/>
                <a:gd name="connsiteY8" fmla="*/ 24134 h 170639"/>
                <a:gd name="connsiteX9" fmla="*/ 104391 w 171040"/>
                <a:gd name="connsiteY9" fmla="*/ 17666 h 170639"/>
                <a:gd name="connsiteX10" fmla="*/ 95558 w 171040"/>
                <a:gd name="connsiteY10" fmla="*/ 0 h 170639"/>
                <a:gd name="connsiteX11" fmla="*/ 75483 w 171040"/>
                <a:gd name="connsiteY11" fmla="*/ 0 h 170639"/>
                <a:gd name="connsiteX12" fmla="*/ 66650 w 171040"/>
                <a:gd name="connsiteY12" fmla="*/ 17666 h 170639"/>
                <a:gd name="connsiteX13" fmla="*/ 50991 w 171040"/>
                <a:gd name="connsiteY13" fmla="*/ 24090 h 170639"/>
                <a:gd name="connsiteX14" fmla="*/ 32120 w 171040"/>
                <a:gd name="connsiteY14" fmla="*/ 17666 h 170639"/>
                <a:gd name="connsiteX15" fmla="*/ 17666 w 171040"/>
                <a:gd name="connsiteY15" fmla="*/ 32120 h 170639"/>
                <a:gd name="connsiteX16" fmla="*/ 24090 w 171040"/>
                <a:gd name="connsiteY16" fmla="*/ 50991 h 170639"/>
                <a:gd name="connsiteX17" fmla="*/ 17666 w 171040"/>
                <a:gd name="connsiteY17" fmla="*/ 66650 h 170639"/>
                <a:gd name="connsiteX18" fmla="*/ 0 w 171040"/>
                <a:gd name="connsiteY18" fmla="*/ 75483 h 170639"/>
                <a:gd name="connsiteX19" fmla="*/ 0 w 171040"/>
                <a:gd name="connsiteY19" fmla="*/ 95558 h 170639"/>
                <a:gd name="connsiteX20" fmla="*/ 17666 w 171040"/>
                <a:gd name="connsiteY20" fmla="*/ 104391 h 170639"/>
                <a:gd name="connsiteX21" fmla="*/ 24090 w 171040"/>
                <a:gd name="connsiteY21" fmla="*/ 120050 h 170639"/>
                <a:gd name="connsiteX22" fmla="*/ 17666 w 171040"/>
                <a:gd name="connsiteY22" fmla="*/ 138920 h 170639"/>
                <a:gd name="connsiteX23" fmla="*/ 31719 w 171040"/>
                <a:gd name="connsiteY23" fmla="*/ 152973 h 170639"/>
                <a:gd name="connsiteX24" fmla="*/ 50590 w 171040"/>
                <a:gd name="connsiteY24" fmla="*/ 146549 h 170639"/>
                <a:gd name="connsiteX25" fmla="*/ 66248 w 171040"/>
                <a:gd name="connsiteY25" fmla="*/ 152973 h 170639"/>
                <a:gd name="connsiteX26" fmla="*/ 75081 w 171040"/>
                <a:gd name="connsiteY26" fmla="*/ 170639 h 170639"/>
                <a:gd name="connsiteX27" fmla="*/ 95156 w 171040"/>
                <a:gd name="connsiteY27" fmla="*/ 170639 h 170639"/>
                <a:gd name="connsiteX28" fmla="*/ 103990 w 171040"/>
                <a:gd name="connsiteY28" fmla="*/ 152973 h 170639"/>
                <a:gd name="connsiteX29" fmla="*/ 119648 w 171040"/>
                <a:gd name="connsiteY29" fmla="*/ 146549 h 170639"/>
                <a:gd name="connsiteX30" fmla="*/ 138519 w 171040"/>
                <a:gd name="connsiteY30" fmla="*/ 152973 h 170639"/>
                <a:gd name="connsiteX31" fmla="*/ 152973 w 171040"/>
                <a:gd name="connsiteY31" fmla="*/ 138920 h 170639"/>
                <a:gd name="connsiteX32" fmla="*/ 138945 w 171040"/>
                <a:gd name="connsiteY32" fmla="*/ 122680 h 170639"/>
                <a:gd name="connsiteX33" fmla="*/ 143739 w 171040"/>
                <a:gd name="connsiteY33" fmla="*/ 136752 h 170639"/>
                <a:gd name="connsiteX34" fmla="*/ 136451 w 171040"/>
                <a:gd name="connsiteY34" fmla="*/ 143839 h 170639"/>
                <a:gd name="connsiteX35" fmla="*/ 122238 w 171040"/>
                <a:gd name="connsiteY35" fmla="*/ 138997 h 170639"/>
                <a:gd name="connsiteX36" fmla="*/ 118769 w 171040"/>
                <a:gd name="connsiteY36" fmla="*/ 137816 h 170639"/>
                <a:gd name="connsiteX37" fmla="*/ 115601 w 171040"/>
                <a:gd name="connsiteY37" fmla="*/ 139663 h 170639"/>
                <a:gd name="connsiteX38" fmla="*/ 101785 w 171040"/>
                <a:gd name="connsiteY38" fmla="*/ 145304 h 170639"/>
                <a:gd name="connsiteX39" fmla="*/ 98389 w 171040"/>
                <a:gd name="connsiteY39" fmla="*/ 146276 h 170639"/>
                <a:gd name="connsiteX40" fmla="*/ 96807 w 171040"/>
                <a:gd name="connsiteY40" fmla="*/ 149436 h 170639"/>
                <a:gd name="connsiteX41" fmla="*/ 90194 w 171040"/>
                <a:gd name="connsiteY41" fmla="*/ 162685 h 170639"/>
                <a:gd name="connsiteX42" fmla="*/ 80056 w 171040"/>
                <a:gd name="connsiteY42" fmla="*/ 162685 h 170639"/>
                <a:gd name="connsiteX43" fmla="*/ 73443 w 171040"/>
                <a:gd name="connsiteY43" fmla="*/ 149436 h 170639"/>
                <a:gd name="connsiteX44" fmla="*/ 71861 w 171040"/>
                <a:gd name="connsiteY44" fmla="*/ 146276 h 170639"/>
                <a:gd name="connsiteX45" fmla="*/ 68464 w 171040"/>
                <a:gd name="connsiteY45" fmla="*/ 145304 h 170639"/>
                <a:gd name="connsiteX46" fmla="*/ 54645 w 171040"/>
                <a:gd name="connsiteY46" fmla="*/ 139663 h 170639"/>
                <a:gd name="connsiteX47" fmla="*/ 51481 w 171040"/>
                <a:gd name="connsiteY47" fmla="*/ 137816 h 170639"/>
                <a:gd name="connsiteX48" fmla="*/ 48012 w 171040"/>
                <a:gd name="connsiteY48" fmla="*/ 138997 h 170639"/>
                <a:gd name="connsiteX49" fmla="*/ 33871 w 171040"/>
                <a:gd name="connsiteY49" fmla="*/ 143815 h 170639"/>
                <a:gd name="connsiteX50" fmla="*/ 26885 w 171040"/>
                <a:gd name="connsiteY50" fmla="*/ 136829 h 170639"/>
                <a:gd name="connsiteX51" fmla="*/ 31703 w 171040"/>
                <a:gd name="connsiteY51" fmla="*/ 122684 h 170639"/>
                <a:gd name="connsiteX52" fmla="*/ 32883 w 171040"/>
                <a:gd name="connsiteY52" fmla="*/ 119215 h 170639"/>
                <a:gd name="connsiteX53" fmla="*/ 31036 w 171040"/>
                <a:gd name="connsiteY53" fmla="*/ 116051 h 170639"/>
                <a:gd name="connsiteX54" fmla="*/ 25415 w 171040"/>
                <a:gd name="connsiteY54" fmla="*/ 102227 h 170639"/>
                <a:gd name="connsiteX55" fmla="*/ 24444 w 171040"/>
                <a:gd name="connsiteY55" fmla="*/ 98830 h 170639"/>
                <a:gd name="connsiteX56" fmla="*/ 21288 w 171040"/>
                <a:gd name="connsiteY56" fmla="*/ 97252 h 170639"/>
                <a:gd name="connsiteX57" fmla="*/ 8030 w 171040"/>
                <a:gd name="connsiteY57" fmla="*/ 90632 h 170639"/>
                <a:gd name="connsiteX58" fmla="*/ 8030 w 171040"/>
                <a:gd name="connsiteY58" fmla="*/ 80478 h 170639"/>
                <a:gd name="connsiteX59" fmla="*/ 21280 w 171040"/>
                <a:gd name="connsiteY59" fmla="*/ 73877 h 170639"/>
                <a:gd name="connsiteX60" fmla="*/ 24436 w 171040"/>
                <a:gd name="connsiteY60" fmla="*/ 72295 h 170639"/>
                <a:gd name="connsiteX61" fmla="*/ 25407 w 171040"/>
                <a:gd name="connsiteY61" fmla="*/ 68898 h 170639"/>
                <a:gd name="connsiteX62" fmla="*/ 31028 w 171040"/>
                <a:gd name="connsiteY62" fmla="*/ 55078 h 170639"/>
                <a:gd name="connsiteX63" fmla="*/ 32875 w 171040"/>
                <a:gd name="connsiteY63" fmla="*/ 51910 h 170639"/>
                <a:gd name="connsiteX64" fmla="*/ 31695 w 171040"/>
                <a:gd name="connsiteY64" fmla="*/ 48445 h 170639"/>
                <a:gd name="connsiteX65" fmla="*/ 26877 w 171040"/>
                <a:gd name="connsiteY65" fmla="*/ 34296 h 170639"/>
                <a:gd name="connsiteX66" fmla="*/ 34264 w 171040"/>
                <a:gd name="connsiteY66" fmla="*/ 26909 h 170639"/>
                <a:gd name="connsiteX67" fmla="*/ 48405 w 171040"/>
                <a:gd name="connsiteY67" fmla="*/ 31727 h 170639"/>
                <a:gd name="connsiteX68" fmla="*/ 51874 w 171040"/>
                <a:gd name="connsiteY68" fmla="*/ 32931 h 170639"/>
                <a:gd name="connsiteX69" fmla="*/ 55038 w 171040"/>
                <a:gd name="connsiteY69" fmla="*/ 31080 h 170639"/>
                <a:gd name="connsiteX70" fmla="*/ 68858 w 171040"/>
                <a:gd name="connsiteY70" fmla="*/ 25459 h 170639"/>
                <a:gd name="connsiteX71" fmla="*/ 72271 w 171040"/>
                <a:gd name="connsiteY71" fmla="*/ 24432 h 170639"/>
                <a:gd name="connsiteX72" fmla="*/ 73853 w 171040"/>
                <a:gd name="connsiteY72" fmla="*/ 21272 h 170639"/>
                <a:gd name="connsiteX73" fmla="*/ 80465 w 171040"/>
                <a:gd name="connsiteY73" fmla="*/ 8022 h 170639"/>
                <a:gd name="connsiteX74" fmla="*/ 90615 w 171040"/>
                <a:gd name="connsiteY74" fmla="*/ 8022 h 170639"/>
                <a:gd name="connsiteX75" fmla="*/ 97228 w 171040"/>
                <a:gd name="connsiteY75" fmla="*/ 21272 h 170639"/>
                <a:gd name="connsiteX76" fmla="*/ 98810 w 171040"/>
                <a:gd name="connsiteY76" fmla="*/ 24432 h 170639"/>
                <a:gd name="connsiteX77" fmla="*/ 102203 w 171040"/>
                <a:gd name="connsiteY77" fmla="*/ 25403 h 170639"/>
                <a:gd name="connsiteX78" fmla="*/ 116023 w 171040"/>
                <a:gd name="connsiteY78" fmla="*/ 31024 h 170639"/>
                <a:gd name="connsiteX79" fmla="*/ 119191 w 171040"/>
                <a:gd name="connsiteY79" fmla="*/ 32875 h 170639"/>
                <a:gd name="connsiteX80" fmla="*/ 122660 w 171040"/>
                <a:gd name="connsiteY80" fmla="*/ 31671 h 170639"/>
                <a:gd name="connsiteX81" fmla="*/ 136796 w 171040"/>
                <a:gd name="connsiteY81" fmla="*/ 26853 h 170639"/>
                <a:gd name="connsiteX82" fmla="*/ 144184 w 171040"/>
                <a:gd name="connsiteY82" fmla="*/ 34240 h 170639"/>
                <a:gd name="connsiteX83" fmla="*/ 139366 w 171040"/>
                <a:gd name="connsiteY83" fmla="*/ 48389 h 170639"/>
                <a:gd name="connsiteX84" fmla="*/ 138186 w 171040"/>
                <a:gd name="connsiteY84" fmla="*/ 51854 h 170639"/>
                <a:gd name="connsiteX85" fmla="*/ 140033 w 171040"/>
                <a:gd name="connsiteY85" fmla="*/ 55022 h 170639"/>
                <a:gd name="connsiteX86" fmla="*/ 145674 w 171040"/>
                <a:gd name="connsiteY86" fmla="*/ 68842 h 170639"/>
                <a:gd name="connsiteX87" fmla="*/ 146641 w 171040"/>
                <a:gd name="connsiteY87" fmla="*/ 72239 h 170639"/>
                <a:gd name="connsiteX88" fmla="*/ 149801 w 171040"/>
                <a:gd name="connsiteY88" fmla="*/ 73821 h 170639"/>
                <a:gd name="connsiteX89" fmla="*/ 163051 w 171040"/>
                <a:gd name="connsiteY89" fmla="*/ 80437 h 170639"/>
                <a:gd name="connsiteX90" fmla="*/ 163051 w 171040"/>
                <a:gd name="connsiteY90" fmla="*/ 90591 h 170639"/>
                <a:gd name="connsiteX91" fmla="*/ 149801 w 171040"/>
                <a:gd name="connsiteY91" fmla="*/ 97208 h 170639"/>
                <a:gd name="connsiteX92" fmla="*/ 146730 w 171040"/>
                <a:gd name="connsiteY92" fmla="*/ 98746 h 170639"/>
                <a:gd name="connsiteX93" fmla="*/ 145718 w 171040"/>
                <a:gd name="connsiteY93" fmla="*/ 102030 h 170639"/>
                <a:gd name="connsiteX94" fmla="*/ 139627 w 171040"/>
                <a:gd name="connsiteY94" fmla="*/ 116035 h 170639"/>
                <a:gd name="connsiteX95" fmla="*/ 137780 w 171040"/>
                <a:gd name="connsiteY95" fmla="*/ 119199 h 170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71040" h="170639">
                  <a:moveTo>
                    <a:pt x="146549" y="120094"/>
                  </a:moveTo>
                  <a:cubicBezTo>
                    <a:pt x="149396" y="115143"/>
                    <a:pt x="151685" y="109891"/>
                    <a:pt x="153375" y="104435"/>
                  </a:cubicBezTo>
                  <a:lnTo>
                    <a:pt x="171041" y="95602"/>
                  </a:lnTo>
                  <a:lnTo>
                    <a:pt x="171041" y="75527"/>
                  </a:lnTo>
                  <a:lnTo>
                    <a:pt x="153375" y="66694"/>
                  </a:lnTo>
                  <a:cubicBezTo>
                    <a:pt x="151898" y="61226"/>
                    <a:pt x="149740" y="55965"/>
                    <a:pt x="146951" y="51035"/>
                  </a:cubicBezTo>
                  <a:lnTo>
                    <a:pt x="153375" y="32164"/>
                  </a:lnTo>
                  <a:lnTo>
                    <a:pt x="138920" y="17710"/>
                  </a:lnTo>
                  <a:lnTo>
                    <a:pt x="120050" y="24134"/>
                  </a:lnTo>
                  <a:cubicBezTo>
                    <a:pt x="115122" y="21330"/>
                    <a:pt x="109862" y="19157"/>
                    <a:pt x="104391" y="17666"/>
                  </a:cubicBezTo>
                  <a:lnTo>
                    <a:pt x="95558" y="0"/>
                  </a:lnTo>
                  <a:lnTo>
                    <a:pt x="75483" y="0"/>
                  </a:lnTo>
                  <a:lnTo>
                    <a:pt x="66650" y="17666"/>
                  </a:lnTo>
                  <a:cubicBezTo>
                    <a:pt x="61181" y="19142"/>
                    <a:pt x="55920" y="21300"/>
                    <a:pt x="50991" y="24090"/>
                  </a:cubicBezTo>
                  <a:lnTo>
                    <a:pt x="32120" y="17666"/>
                  </a:lnTo>
                  <a:lnTo>
                    <a:pt x="17666" y="32120"/>
                  </a:lnTo>
                  <a:lnTo>
                    <a:pt x="24090" y="50991"/>
                  </a:lnTo>
                  <a:cubicBezTo>
                    <a:pt x="21301" y="55921"/>
                    <a:pt x="19143" y="61182"/>
                    <a:pt x="17666" y="66650"/>
                  </a:cubicBezTo>
                  <a:lnTo>
                    <a:pt x="0" y="75483"/>
                  </a:lnTo>
                  <a:lnTo>
                    <a:pt x="0" y="95558"/>
                  </a:lnTo>
                  <a:lnTo>
                    <a:pt x="17666" y="104391"/>
                  </a:lnTo>
                  <a:cubicBezTo>
                    <a:pt x="19143" y="109859"/>
                    <a:pt x="21302" y="115120"/>
                    <a:pt x="24090" y="120050"/>
                  </a:cubicBezTo>
                  <a:lnTo>
                    <a:pt x="17666" y="138920"/>
                  </a:lnTo>
                  <a:lnTo>
                    <a:pt x="31719" y="152973"/>
                  </a:lnTo>
                  <a:lnTo>
                    <a:pt x="50590" y="146549"/>
                  </a:lnTo>
                  <a:cubicBezTo>
                    <a:pt x="55519" y="149338"/>
                    <a:pt x="60780" y="151496"/>
                    <a:pt x="66248" y="152973"/>
                  </a:cubicBezTo>
                  <a:lnTo>
                    <a:pt x="75081" y="170639"/>
                  </a:lnTo>
                  <a:lnTo>
                    <a:pt x="95156" y="170639"/>
                  </a:lnTo>
                  <a:lnTo>
                    <a:pt x="103990" y="152973"/>
                  </a:lnTo>
                  <a:cubicBezTo>
                    <a:pt x="109458" y="151497"/>
                    <a:pt x="114719" y="149339"/>
                    <a:pt x="119648" y="146549"/>
                  </a:cubicBezTo>
                  <a:lnTo>
                    <a:pt x="138519" y="152973"/>
                  </a:lnTo>
                  <a:lnTo>
                    <a:pt x="152973" y="138920"/>
                  </a:lnTo>
                  <a:close/>
                  <a:moveTo>
                    <a:pt x="138945" y="122680"/>
                  </a:moveTo>
                  <a:lnTo>
                    <a:pt x="143739" y="136752"/>
                  </a:lnTo>
                  <a:lnTo>
                    <a:pt x="136451" y="143839"/>
                  </a:lnTo>
                  <a:lnTo>
                    <a:pt x="122238" y="138997"/>
                  </a:lnTo>
                  <a:lnTo>
                    <a:pt x="118769" y="137816"/>
                  </a:lnTo>
                  <a:lnTo>
                    <a:pt x="115601" y="139663"/>
                  </a:lnTo>
                  <a:cubicBezTo>
                    <a:pt x="111253" y="142120"/>
                    <a:pt x="106611" y="144016"/>
                    <a:pt x="101785" y="145304"/>
                  </a:cubicBezTo>
                  <a:lnTo>
                    <a:pt x="98389" y="146276"/>
                  </a:lnTo>
                  <a:lnTo>
                    <a:pt x="96807" y="149436"/>
                  </a:lnTo>
                  <a:lnTo>
                    <a:pt x="90194" y="162685"/>
                  </a:lnTo>
                  <a:lnTo>
                    <a:pt x="80056" y="162685"/>
                  </a:lnTo>
                  <a:lnTo>
                    <a:pt x="73443" y="149436"/>
                  </a:lnTo>
                  <a:lnTo>
                    <a:pt x="71861" y="146276"/>
                  </a:lnTo>
                  <a:lnTo>
                    <a:pt x="68464" y="145304"/>
                  </a:lnTo>
                  <a:cubicBezTo>
                    <a:pt x="63638" y="144016"/>
                    <a:pt x="58994" y="142120"/>
                    <a:pt x="54645" y="139663"/>
                  </a:cubicBezTo>
                  <a:lnTo>
                    <a:pt x="51481" y="137816"/>
                  </a:lnTo>
                  <a:lnTo>
                    <a:pt x="48012" y="138997"/>
                  </a:lnTo>
                  <a:lnTo>
                    <a:pt x="33871" y="143815"/>
                  </a:lnTo>
                  <a:lnTo>
                    <a:pt x="26885" y="136829"/>
                  </a:lnTo>
                  <a:lnTo>
                    <a:pt x="31703" y="122684"/>
                  </a:lnTo>
                  <a:lnTo>
                    <a:pt x="32883" y="119215"/>
                  </a:lnTo>
                  <a:lnTo>
                    <a:pt x="31036" y="116051"/>
                  </a:lnTo>
                  <a:cubicBezTo>
                    <a:pt x="28585" y="111700"/>
                    <a:pt x="26696" y="107054"/>
                    <a:pt x="25415" y="102227"/>
                  </a:cubicBezTo>
                  <a:lnTo>
                    <a:pt x="24444" y="98830"/>
                  </a:lnTo>
                  <a:lnTo>
                    <a:pt x="21288" y="97252"/>
                  </a:lnTo>
                  <a:lnTo>
                    <a:pt x="8030" y="90632"/>
                  </a:lnTo>
                  <a:lnTo>
                    <a:pt x="8030" y="80478"/>
                  </a:lnTo>
                  <a:lnTo>
                    <a:pt x="21280" y="73877"/>
                  </a:lnTo>
                  <a:lnTo>
                    <a:pt x="24436" y="72295"/>
                  </a:lnTo>
                  <a:lnTo>
                    <a:pt x="25407" y="68898"/>
                  </a:lnTo>
                  <a:cubicBezTo>
                    <a:pt x="26688" y="64072"/>
                    <a:pt x="28577" y="59429"/>
                    <a:pt x="31028" y="55078"/>
                  </a:cubicBezTo>
                  <a:lnTo>
                    <a:pt x="32875" y="51910"/>
                  </a:lnTo>
                  <a:lnTo>
                    <a:pt x="31695" y="48445"/>
                  </a:lnTo>
                  <a:lnTo>
                    <a:pt x="26877" y="34296"/>
                  </a:lnTo>
                  <a:lnTo>
                    <a:pt x="34264" y="26909"/>
                  </a:lnTo>
                  <a:lnTo>
                    <a:pt x="48405" y="31727"/>
                  </a:lnTo>
                  <a:lnTo>
                    <a:pt x="51874" y="32931"/>
                  </a:lnTo>
                  <a:lnTo>
                    <a:pt x="55038" y="31080"/>
                  </a:lnTo>
                  <a:cubicBezTo>
                    <a:pt x="59388" y="28630"/>
                    <a:pt x="64032" y="26741"/>
                    <a:pt x="68858" y="25459"/>
                  </a:cubicBezTo>
                  <a:lnTo>
                    <a:pt x="72271" y="24432"/>
                  </a:lnTo>
                  <a:lnTo>
                    <a:pt x="73853" y="21272"/>
                  </a:lnTo>
                  <a:lnTo>
                    <a:pt x="80465" y="8022"/>
                  </a:lnTo>
                  <a:lnTo>
                    <a:pt x="90615" y="8022"/>
                  </a:lnTo>
                  <a:lnTo>
                    <a:pt x="97228" y="21272"/>
                  </a:lnTo>
                  <a:lnTo>
                    <a:pt x="98810" y="24432"/>
                  </a:lnTo>
                  <a:lnTo>
                    <a:pt x="102203" y="25403"/>
                  </a:lnTo>
                  <a:cubicBezTo>
                    <a:pt x="107029" y="26684"/>
                    <a:pt x="111672" y="28573"/>
                    <a:pt x="116023" y="31024"/>
                  </a:cubicBezTo>
                  <a:lnTo>
                    <a:pt x="119191" y="32875"/>
                  </a:lnTo>
                  <a:lnTo>
                    <a:pt x="122660" y="31671"/>
                  </a:lnTo>
                  <a:lnTo>
                    <a:pt x="136796" y="26853"/>
                  </a:lnTo>
                  <a:lnTo>
                    <a:pt x="144184" y="34240"/>
                  </a:lnTo>
                  <a:lnTo>
                    <a:pt x="139366" y="48389"/>
                  </a:lnTo>
                  <a:lnTo>
                    <a:pt x="138186" y="51854"/>
                  </a:lnTo>
                  <a:lnTo>
                    <a:pt x="140033" y="55022"/>
                  </a:lnTo>
                  <a:cubicBezTo>
                    <a:pt x="142489" y="59372"/>
                    <a:pt x="144385" y="64016"/>
                    <a:pt x="145674" y="68842"/>
                  </a:cubicBezTo>
                  <a:lnTo>
                    <a:pt x="146641" y="72239"/>
                  </a:lnTo>
                  <a:lnTo>
                    <a:pt x="149801" y="73821"/>
                  </a:lnTo>
                  <a:lnTo>
                    <a:pt x="163051" y="80437"/>
                  </a:lnTo>
                  <a:lnTo>
                    <a:pt x="163051" y="90591"/>
                  </a:lnTo>
                  <a:lnTo>
                    <a:pt x="149801" y="97208"/>
                  </a:lnTo>
                  <a:lnTo>
                    <a:pt x="146730" y="98746"/>
                  </a:lnTo>
                  <a:lnTo>
                    <a:pt x="145718" y="102030"/>
                  </a:lnTo>
                  <a:cubicBezTo>
                    <a:pt x="144208" y="106908"/>
                    <a:pt x="142166" y="111605"/>
                    <a:pt x="139627" y="116035"/>
                  </a:cubicBezTo>
                  <a:lnTo>
                    <a:pt x="137780" y="119199"/>
                  </a:lnTo>
                  <a:close/>
                </a:path>
              </a:pathLst>
            </a:custGeom>
            <a:grpFill/>
            <a:ln w="3969" cap="flat">
              <a:noFill/>
              <a:prstDash val="solid"/>
              <a:miter/>
            </a:ln>
          </p:spPr>
          <p:txBody>
            <a:bodyPr rtlCol="0" anchor="ctr"/>
            <a:lstStyle/>
            <a:p>
              <a:endParaRPr lang="en-IN"/>
            </a:p>
          </p:txBody>
        </p:sp>
        <p:sp>
          <p:nvSpPr>
            <p:cNvPr id="91" name="Freeform: Shape 90">
              <a:extLst>
                <a:ext uri="{FF2B5EF4-FFF2-40B4-BE49-F238E27FC236}">
                  <a16:creationId xmlns:a16="http://schemas.microsoft.com/office/drawing/2014/main" id="{A0C5C37B-DF9C-FAAE-68F7-9A0DC2F6F9FB}"/>
                </a:ext>
              </a:extLst>
            </p:cNvPr>
            <p:cNvSpPr/>
            <p:nvPr/>
          </p:nvSpPr>
          <p:spPr>
            <a:xfrm>
              <a:off x="6421829" y="2754050"/>
              <a:ext cx="171040" cy="170639"/>
            </a:xfrm>
            <a:custGeom>
              <a:avLst/>
              <a:gdLst>
                <a:gd name="connsiteX0" fmla="*/ 0 w 171040"/>
                <a:gd name="connsiteY0" fmla="*/ 75081 h 170639"/>
                <a:gd name="connsiteX1" fmla="*/ 0 w 171040"/>
                <a:gd name="connsiteY1" fmla="*/ 95156 h 170639"/>
                <a:gd name="connsiteX2" fmla="*/ 17666 w 171040"/>
                <a:gd name="connsiteY2" fmla="*/ 103990 h 170639"/>
                <a:gd name="connsiteX3" fmla="*/ 24090 w 171040"/>
                <a:gd name="connsiteY3" fmla="*/ 119648 h 170639"/>
                <a:gd name="connsiteX4" fmla="*/ 18068 w 171040"/>
                <a:gd name="connsiteY4" fmla="*/ 138519 h 170639"/>
                <a:gd name="connsiteX5" fmla="*/ 32120 w 171040"/>
                <a:gd name="connsiteY5" fmla="*/ 152572 h 170639"/>
                <a:gd name="connsiteX6" fmla="*/ 50991 w 171040"/>
                <a:gd name="connsiteY6" fmla="*/ 146549 h 170639"/>
                <a:gd name="connsiteX7" fmla="*/ 66650 w 171040"/>
                <a:gd name="connsiteY7" fmla="*/ 152973 h 170639"/>
                <a:gd name="connsiteX8" fmla="*/ 75483 w 171040"/>
                <a:gd name="connsiteY8" fmla="*/ 170639 h 170639"/>
                <a:gd name="connsiteX9" fmla="*/ 95558 w 171040"/>
                <a:gd name="connsiteY9" fmla="*/ 170639 h 170639"/>
                <a:gd name="connsiteX10" fmla="*/ 104391 w 171040"/>
                <a:gd name="connsiteY10" fmla="*/ 152973 h 170639"/>
                <a:gd name="connsiteX11" fmla="*/ 120050 w 171040"/>
                <a:gd name="connsiteY11" fmla="*/ 146549 h 170639"/>
                <a:gd name="connsiteX12" fmla="*/ 138920 w 171040"/>
                <a:gd name="connsiteY12" fmla="*/ 152973 h 170639"/>
                <a:gd name="connsiteX13" fmla="*/ 152973 w 171040"/>
                <a:gd name="connsiteY13" fmla="*/ 138519 h 170639"/>
                <a:gd name="connsiteX14" fmla="*/ 146951 w 171040"/>
                <a:gd name="connsiteY14" fmla="*/ 120050 h 170639"/>
                <a:gd name="connsiteX15" fmla="*/ 153375 w 171040"/>
                <a:gd name="connsiteY15" fmla="*/ 104391 h 170639"/>
                <a:gd name="connsiteX16" fmla="*/ 171041 w 171040"/>
                <a:gd name="connsiteY16" fmla="*/ 95558 h 170639"/>
                <a:gd name="connsiteX17" fmla="*/ 171041 w 171040"/>
                <a:gd name="connsiteY17" fmla="*/ 75483 h 170639"/>
                <a:gd name="connsiteX18" fmla="*/ 153375 w 171040"/>
                <a:gd name="connsiteY18" fmla="*/ 66650 h 170639"/>
                <a:gd name="connsiteX19" fmla="*/ 146951 w 171040"/>
                <a:gd name="connsiteY19" fmla="*/ 50991 h 170639"/>
                <a:gd name="connsiteX20" fmla="*/ 153375 w 171040"/>
                <a:gd name="connsiteY20" fmla="*/ 32120 h 170639"/>
                <a:gd name="connsiteX21" fmla="*/ 138920 w 171040"/>
                <a:gd name="connsiteY21" fmla="*/ 17666 h 170639"/>
                <a:gd name="connsiteX22" fmla="*/ 120050 w 171040"/>
                <a:gd name="connsiteY22" fmla="*/ 24090 h 170639"/>
                <a:gd name="connsiteX23" fmla="*/ 104391 w 171040"/>
                <a:gd name="connsiteY23" fmla="*/ 17666 h 170639"/>
                <a:gd name="connsiteX24" fmla="*/ 95558 w 171040"/>
                <a:gd name="connsiteY24" fmla="*/ 0 h 170639"/>
                <a:gd name="connsiteX25" fmla="*/ 75483 w 171040"/>
                <a:gd name="connsiteY25" fmla="*/ 0 h 170639"/>
                <a:gd name="connsiteX26" fmla="*/ 66650 w 171040"/>
                <a:gd name="connsiteY26" fmla="*/ 17666 h 170639"/>
                <a:gd name="connsiteX27" fmla="*/ 50991 w 171040"/>
                <a:gd name="connsiteY27" fmla="*/ 24090 h 170639"/>
                <a:gd name="connsiteX28" fmla="*/ 32120 w 171040"/>
                <a:gd name="connsiteY28" fmla="*/ 17666 h 170639"/>
                <a:gd name="connsiteX29" fmla="*/ 18068 w 171040"/>
                <a:gd name="connsiteY29" fmla="*/ 31719 h 170639"/>
                <a:gd name="connsiteX30" fmla="*/ 24090 w 171040"/>
                <a:gd name="connsiteY30" fmla="*/ 50590 h 170639"/>
                <a:gd name="connsiteX31" fmla="*/ 17666 w 171040"/>
                <a:gd name="connsiteY31" fmla="*/ 66248 h 170639"/>
                <a:gd name="connsiteX32" fmla="*/ 24331 w 171040"/>
                <a:gd name="connsiteY32" fmla="*/ 71869 h 170639"/>
                <a:gd name="connsiteX33" fmla="*/ 25343 w 171040"/>
                <a:gd name="connsiteY33" fmla="*/ 68585 h 170639"/>
                <a:gd name="connsiteX34" fmla="*/ 31028 w 171040"/>
                <a:gd name="connsiteY34" fmla="*/ 54609 h 170639"/>
                <a:gd name="connsiteX35" fmla="*/ 32827 w 171040"/>
                <a:gd name="connsiteY35" fmla="*/ 51521 h 170639"/>
                <a:gd name="connsiteX36" fmla="*/ 31739 w 171040"/>
                <a:gd name="connsiteY36" fmla="*/ 48120 h 170639"/>
                <a:gd name="connsiteX37" fmla="*/ 27206 w 171040"/>
                <a:gd name="connsiteY37" fmla="*/ 33903 h 170639"/>
                <a:gd name="connsiteX38" fmla="*/ 34264 w 171040"/>
                <a:gd name="connsiteY38" fmla="*/ 26841 h 170639"/>
                <a:gd name="connsiteX39" fmla="*/ 48405 w 171040"/>
                <a:gd name="connsiteY39" fmla="*/ 31659 h 170639"/>
                <a:gd name="connsiteX40" fmla="*/ 51874 w 171040"/>
                <a:gd name="connsiteY40" fmla="*/ 32843 h 170639"/>
                <a:gd name="connsiteX41" fmla="*/ 55038 w 171040"/>
                <a:gd name="connsiteY41" fmla="*/ 30996 h 170639"/>
                <a:gd name="connsiteX42" fmla="*/ 68858 w 171040"/>
                <a:gd name="connsiteY42" fmla="*/ 25355 h 170639"/>
                <a:gd name="connsiteX43" fmla="*/ 72271 w 171040"/>
                <a:gd name="connsiteY43" fmla="*/ 24419 h 170639"/>
                <a:gd name="connsiteX44" fmla="*/ 73853 w 171040"/>
                <a:gd name="connsiteY44" fmla="*/ 21260 h 170639"/>
                <a:gd name="connsiteX45" fmla="*/ 80465 w 171040"/>
                <a:gd name="connsiteY45" fmla="*/ 8010 h 170639"/>
                <a:gd name="connsiteX46" fmla="*/ 90615 w 171040"/>
                <a:gd name="connsiteY46" fmla="*/ 8010 h 170639"/>
                <a:gd name="connsiteX47" fmla="*/ 97228 w 171040"/>
                <a:gd name="connsiteY47" fmla="*/ 21260 h 170639"/>
                <a:gd name="connsiteX48" fmla="*/ 98766 w 171040"/>
                <a:gd name="connsiteY48" fmla="*/ 24335 h 170639"/>
                <a:gd name="connsiteX49" fmla="*/ 102050 w 171040"/>
                <a:gd name="connsiteY49" fmla="*/ 25343 h 170639"/>
                <a:gd name="connsiteX50" fmla="*/ 116023 w 171040"/>
                <a:gd name="connsiteY50" fmla="*/ 31032 h 170639"/>
                <a:gd name="connsiteX51" fmla="*/ 119191 w 171040"/>
                <a:gd name="connsiteY51" fmla="*/ 32879 h 170639"/>
                <a:gd name="connsiteX52" fmla="*/ 122660 w 171040"/>
                <a:gd name="connsiteY52" fmla="*/ 31695 h 170639"/>
                <a:gd name="connsiteX53" fmla="*/ 136796 w 171040"/>
                <a:gd name="connsiteY53" fmla="*/ 26877 h 170639"/>
                <a:gd name="connsiteX54" fmla="*/ 144184 w 171040"/>
                <a:gd name="connsiteY54" fmla="*/ 34268 h 170639"/>
                <a:gd name="connsiteX55" fmla="*/ 139366 w 171040"/>
                <a:gd name="connsiteY55" fmla="*/ 48413 h 170639"/>
                <a:gd name="connsiteX56" fmla="*/ 138186 w 171040"/>
                <a:gd name="connsiteY56" fmla="*/ 51878 h 170639"/>
                <a:gd name="connsiteX57" fmla="*/ 140033 w 171040"/>
                <a:gd name="connsiteY57" fmla="*/ 55046 h 170639"/>
                <a:gd name="connsiteX58" fmla="*/ 145674 w 171040"/>
                <a:gd name="connsiteY58" fmla="*/ 68870 h 170639"/>
                <a:gd name="connsiteX59" fmla="*/ 146641 w 171040"/>
                <a:gd name="connsiteY59" fmla="*/ 72263 h 170639"/>
                <a:gd name="connsiteX60" fmla="*/ 149801 w 171040"/>
                <a:gd name="connsiteY60" fmla="*/ 73845 h 170639"/>
                <a:gd name="connsiteX61" fmla="*/ 163011 w 171040"/>
                <a:gd name="connsiteY61" fmla="*/ 80445 h 170639"/>
                <a:gd name="connsiteX62" fmla="*/ 163011 w 171040"/>
                <a:gd name="connsiteY62" fmla="*/ 90599 h 170639"/>
                <a:gd name="connsiteX63" fmla="*/ 149761 w 171040"/>
                <a:gd name="connsiteY63" fmla="*/ 97216 h 170639"/>
                <a:gd name="connsiteX64" fmla="*/ 146601 w 171040"/>
                <a:gd name="connsiteY64" fmla="*/ 98798 h 170639"/>
                <a:gd name="connsiteX65" fmla="*/ 145634 w 171040"/>
                <a:gd name="connsiteY65" fmla="*/ 102191 h 170639"/>
                <a:gd name="connsiteX66" fmla="*/ 139992 w 171040"/>
                <a:gd name="connsiteY66" fmla="*/ 116015 h 170639"/>
                <a:gd name="connsiteX67" fmla="*/ 138178 w 171040"/>
                <a:gd name="connsiteY67" fmla="*/ 119126 h 170639"/>
                <a:gd name="connsiteX68" fmla="*/ 139294 w 171040"/>
                <a:gd name="connsiteY68" fmla="*/ 122551 h 170639"/>
                <a:gd name="connsiteX69" fmla="*/ 143815 w 171040"/>
                <a:gd name="connsiteY69" fmla="*/ 136415 h 170639"/>
                <a:gd name="connsiteX70" fmla="*/ 136712 w 171040"/>
                <a:gd name="connsiteY70" fmla="*/ 143755 h 170639"/>
                <a:gd name="connsiteX71" fmla="*/ 122660 w 171040"/>
                <a:gd name="connsiteY71" fmla="*/ 138965 h 170639"/>
                <a:gd name="connsiteX72" fmla="*/ 119191 w 171040"/>
                <a:gd name="connsiteY72" fmla="*/ 137784 h 170639"/>
                <a:gd name="connsiteX73" fmla="*/ 116023 w 171040"/>
                <a:gd name="connsiteY73" fmla="*/ 139631 h 170639"/>
                <a:gd name="connsiteX74" fmla="*/ 102191 w 171040"/>
                <a:gd name="connsiteY74" fmla="*/ 145272 h 170639"/>
                <a:gd name="connsiteX75" fmla="*/ 98794 w 171040"/>
                <a:gd name="connsiteY75" fmla="*/ 146244 h 170639"/>
                <a:gd name="connsiteX76" fmla="*/ 97216 w 171040"/>
                <a:gd name="connsiteY76" fmla="*/ 149404 h 170639"/>
                <a:gd name="connsiteX77" fmla="*/ 90603 w 171040"/>
                <a:gd name="connsiteY77" fmla="*/ 162653 h 170639"/>
                <a:gd name="connsiteX78" fmla="*/ 80453 w 171040"/>
                <a:gd name="connsiteY78" fmla="*/ 162653 h 170639"/>
                <a:gd name="connsiteX79" fmla="*/ 73841 w 171040"/>
                <a:gd name="connsiteY79" fmla="*/ 149404 h 170639"/>
                <a:gd name="connsiteX80" fmla="*/ 72259 w 171040"/>
                <a:gd name="connsiteY80" fmla="*/ 146244 h 170639"/>
                <a:gd name="connsiteX81" fmla="*/ 68862 w 171040"/>
                <a:gd name="connsiteY81" fmla="*/ 145272 h 170639"/>
                <a:gd name="connsiteX82" fmla="*/ 55042 w 171040"/>
                <a:gd name="connsiteY82" fmla="*/ 139631 h 170639"/>
                <a:gd name="connsiteX83" fmla="*/ 51959 w 171040"/>
                <a:gd name="connsiteY83" fmla="*/ 137832 h 170639"/>
                <a:gd name="connsiteX84" fmla="*/ 48554 w 171040"/>
                <a:gd name="connsiteY84" fmla="*/ 138916 h 170639"/>
                <a:gd name="connsiteX85" fmla="*/ 34345 w 171040"/>
                <a:gd name="connsiteY85" fmla="*/ 143453 h 170639"/>
                <a:gd name="connsiteX86" fmla="*/ 27210 w 171040"/>
                <a:gd name="connsiteY86" fmla="*/ 136319 h 170639"/>
                <a:gd name="connsiteX87" fmla="*/ 31743 w 171040"/>
                <a:gd name="connsiteY87" fmla="*/ 122101 h 170639"/>
                <a:gd name="connsiteX88" fmla="*/ 32831 w 171040"/>
                <a:gd name="connsiteY88" fmla="*/ 118701 h 170639"/>
                <a:gd name="connsiteX89" fmla="*/ 31032 w 171040"/>
                <a:gd name="connsiteY89" fmla="*/ 115613 h 170639"/>
                <a:gd name="connsiteX90" fmla="*/ 25391 w 171040"/>
                <a:gd name="connsiteY90" fmla="*/ 101793 h 170639"/>
                <a:gd name="connsiteX91" fmla="*/ 24419 w 171040"/>
                <a:gd name="connsiteY91" fmla="*/ 98397 h 170639"/>
                <a:gd name="connsiteX92" fmla="*/ 21264 w 171040"/>
                <a:gd name="connsiteY92" fmla="*/ 96815 h 170639"/>
                <a:gd name="connsiteX93" fmla="*/ 8014 w 171040"/>
                <a:gd name="connsiteY93" fmla="*/ 90198 h 170639"/>
                <a:gd name="connsiteX94" fmla="*/ 8014 w 171040"/>
                <a:gd name="connsiteY94" fmla="*/ 80044 h 170639"/>
                <a:gd name="connsiteX95" fmla="*/ 21264 w 171040"/>
                <a:gd name="connsiteY95" fmla="*/ 73427 h 170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71040" h="170639">
                  <a:moveTo>
                    <a:pt x="0" y="75081"/>
                  </a:moveTo>
                  <a:lnTo>
                    <a:pt x="0" y="95156"/>
                  </a:lnTo>
                  <a:lnTo>
                    <a:pt x="17666" y="103990"/>
                  </a:lnTo>
                  <a:cubicBezTo>
                    <a:pt x="19143" y="109458"/>
                    <a:pt x="21301" y="114719"/>
                    <a:pt x="24090" y="119648"/>
                  </a:cubicBezTo>
                  <a:lnTo>
                    <a:pt x="18068" y="138519"/>
                  </a:lnTo>
                  <a:lnTo>
                    <a:pt x="32120" y="152572"/>
                  </a:lnTo>
                  <a:lnTo>
                    <a:pt x="50991" y="146549"/>
                  </a:lnTo>
                  <a:cubicBezTo>
                    <a:pt x="55920" y="149339"/>
                    <a:pt x="61181" y="151497"/>
                    <a:pt x="66650" y="152973"/>
                  </a:cubicBezTo>
                  <a:lnTo>
                    <a:pt x="75483" y="170639"/>
                  </a:lnTo>
                  <a:lnTo>
                    <a:pt x="95558" y="170639"/>
                  </a:lnTo>
                  <a:lnTo>
                    <a:pt x="104391" y="152973"/>
                  </a:lnTo>
                  <a:cubicBezTo>
                    <a:pt x="109859" y="151497"/>
                    <a:pt x="115120" y="149338"/>
                    <a:pt x="120050" y="146549"/>
                  </a:cubicBezTo>
                  <a:lnTo>
                    <a:pt x="138920" y="152973"/>
                  </a:lnTo>
                  <a:lnTo>
                    <a:pt x="152973" y="138519"/>
                  </a:lnTo>
                  <a:lnTo>
                    <a:pt x="146951" y="120050"/>
                  </a:lnTo>
                  <a:cubicBezTo>
                    <a:pt x="149740" y="115120"/>
                    <a:pt x="151898" y="109859"/>
                    <a:pt x="153375" y="104391"/>
                  </a:cubicBezTo>
                  <a:lnTo>
                    <a:pt x="171041" y="95558"/>
                  </a:lnTo>
                  <a:lnTo>
                    <a:pt x="171041" y="75483"/>
                  </a:lnTo>
                  <a:lnTo>
                    <a:pt x="153375" y="66650"/>
                  </a:lnTo>
                  <a:cubicBezTo>
                    <a:pt x="151898" y="61182"/>
                    <a:pt x="149740" y="55921"/>
                    <a:pt x="146951" y="50991"/>
                  </a:cubicBezTo>
                  <a:lnTo>
                    <a:pt x="153375" y="32120"/>
                  </a:lnTo>
                  <a:lnTo>
                    <a:pt x="138920" y="17666"/>
                  </a:lnTo>
                  <a:lnTo>
                    <a:pt x="120050" y="24090"/>
                  </a:lnTo>
                  <a:cubicBezTo>
                    <a:pt x="115087" y="21370"/>
                    <a:pt x="109835" y="19215"/>
                    <a:pt x="104391" y="17666"/>
                  </a:cubicBezTo>
                  <a:lnTo>
                    <a:pt x="95558" y="0"/>
                  </a:lnTo>
                  <a:lnTo>
                    <a:pt x="75483" y="0"/>
                  </a:lnTo>
                  <a:lnTo>
                    <a:pt x="66650" y="17666"/>
                  </a:lnTo>
                  <a:cubicBezTo>
                    <a:pt x="61181" y="19142"/>
                    <a:pt x="55920" y="21300"/>
                    <a:pt x="50991" y="24090"/>
                  </a:cubicBezTo>
                  <a:lnTo>
                    <a:pt x="32120" y="17666"/>
                  </a:lnTo>
                  <a:lnTo>
                    <a:pt x="18068" y="31719"/>
                  </a:lnTo>
                  <a:lnTo>
                    <a:pt x="24090" y="50590"/>
                  </a:lnTo>
                  <a:cubicBezTo>
                    <a:pt x="21370" y="55553"/>
                    <a:pt x="19215" y="60805"/>
                    <a:pt x="17666" y="66248"/>
                  </a:cubicBezTo>
                  <a:close/>
                  <a:moveTo>
                    <a:pt x="24331" y="71869"/>
                  </a:moveTo>
                  <a:lnTo>
                    <a:pt x="25343" y="68585"/>
                  </a:lnTo>
                  <a:cubicBezTo>
                    <a:pt x="26725" y="63734"/>
                    <a:pt x="28631" y="59047"/>
                    <a:pt x="31028" y="54609"/>
                  </a:cubicBezTo>
                  <a:lnTo>
                    <a:pt x="32827" y="51521"/>
                  </a:lnTo>
                  <a:lnTo>
                    <a:pt x="31739" y="48120"/>
                  </a:lnTo>
                  <a:lnTo>
                    <a:pt x="27206" y="33903"/>
                  </a:lnTo>
                  <a:lnTo>
                    <a:pt x="34264" y="26841"/>
                  </a:lnTo>
                  <a:lnTo>
                    <a:pt x="48405" y="31659"/>
                  </a:lnTo>
                  <a:lnTo>
                    <a:pt x="51874" y="32843"/>
                  </a:lnTo>
                  <a:lnTo>
                    <a:pt x="55038" y="30996"/>
                  </a:lnTo>
                  <a:cubicBezTo>
                    <a:pt x="59387" y="28537"/>
                    <a:pt x="64031" y="26641"/>
                    <a:pt x="68858" y="25355"/>
                  </a:cubicBezTo>
                  <a:lnTo>
                    <a:pt x="72271" y="24419"/>
                  </a:lnTo>
                  <a:lnTo>
                    <a:pt x="73853" y="21260"/>
                  </a:lnTo>
                  <a:lnTo>
                    <a:pt x="80465" y="8010"/>
                  </a:lnTo>
                  <a:lnTo>
                    <a:pt x="90615" y="8010"/>
                  </a:lnTo>
                  <a:lnTo>
                    <a:pt x="97228" y="21260"/>
                  </a:lnTo>
                  <a:lnTo>
                    <a:pt x="98766" y="24335"/>
                  </a:lnTo>
                  <a:lnTo>
                    <a:pt x="102050" y="25343"/>
                  </a:lnTo>
                  <a:cubicBezTo>
                    <a:pt x="106900" y="26728"/>
                    <a:pt x="111585" y="28636"/>
                    <a:pt x="116023" y="31032"/>
                  </a:cubicBezTo>
                  <a:lnTo>
                    <a:pt x="119191" y="32879"/>
                  </a:lnTo>
                  <a:lnTo>
                    <a:pt x="122660" y="31695"/>
                  </a:lnTo>
                  <a:lnTo>
                    <a:pt x="136796" y="26877"/>
                  </a:lnTo>
                  <a:lnTo>
                    <a:pt x="144184" y="34268"/>
                  </a:lnTo>
                  <a:lnTo>
                    <a:pt x="139366" y="48413"/>
                  </a:lnTo>
                  <a:lnTo>
                    <a:pt x="138186" y="51878"/>
                  </a:lnTo>
                  <a:lnTo>
                    <a:pt x="140033" y="55046"/>
                  </a:lnTo>
                  <a:cubicBezTo>
                    <a:pt x="142490" y="59397"/>
                    <a:pt x="144385" y="64042"/>
                    <a:pt x="145674" y="68870"/>
                  </a:cubicBezTo>
                  <a:lnTo>
                    <a:pt x="146641" y="72263"/>
                  </a:lnTo>
                  <a:lnTo>
                    <a:pt x="149801" y="73845"/>
                  </a:lnTo>
                  <a:lnTo>
                    <a:pt x="163011" y="80445"/>
                  </a:lnTo>
                  <a:lnTo>
                    <a:pt x="163011" y="90599"/>
                  </a:lnTo>
                  <a:lnTo>
                    <a:pt x="149761" y="97216"/>
                  </a:lnTo>
                  <a:lnTo>
                    <a:pt x="146601" y="98798"/>
                  </a:lnTo>
                  <a:lnTo>
                    <a:pt x="145634" y="102191"/>
                  </a:lnTo>
                  <a:cubicBezTo>
                    <a:pt x="144345" y="107019"/>
                    <a:pt x="142450" y="111664"/>
                    <a:pt x="139992" y="116015"/>
                  </a:cubicBezTo>
                  <a:lnTo>
                    <a:pt x="138178" y="119126"/>
                  </a:lnTo>
                  <a:lnTo>
                    <a:pt x="139294" y="122551"/>
                  </a:lnTo>
                  <a:lnTo>
                    <a:pt x="143815" y="136415"/>
                  </a:lnTo>
                  <a:lnTo>
                    <a:pt x="136712" y="143755"/>
                  </a:lnTo>
                  <a:lnTo>
                    <a:pt x="122660" y="138965"/>
                  </a:lnTo>
                  <a:lnTo>
                    <a:pt x="119191" y="137784"/>
                  </a:lnTo>
                  <a:lnTo>
                    <a:pt x="116023" y="139631"/>
                  </a:lnTo>
                  <a:cubicBezTo>
                    <a:pt x="111671" y="142092"/>
                    <a:pt x="107023" y="143987"/>
                    <a:pt x="102191" y="145272"/>
                  </a:cubicBezTo>
                  <a:lnTo>
                    <a:pt x="98794" y="146244"/>
                  </a:lnTo>
                  <a:lnTo>
                    <a:pt x="97216" y="149404"/>
                  </a:lnTo>
                  <a:lnTo>
                    <a:pt x="90603" y="162653"/>
                  </a:lnTo>
                  <a:lnTo>
                    <a:pt x="80453" y="162653"/>
                  </a:lnTo>
                  <a:lnTo>
                    <a:pt x="73841" y="149404"/>
                  </a:lnTo>
                  <a:lnTo>
                    <a:pt x="72259" y="146244"/>
                  </a:lnTo>
                  <a:lnTo>
                    <a:pt x="68862" y="145272"/>
                  </a:lnTo>
                  <a:cubicBezTo>
                    <a:pt x="64035" y="143986"/>
                    <a:pt x="59391" y="142090"/>
                    <a:pt x="55042" y="139631"/>
                  </a:cubicBezTo>
                  <a:lnTo>
                    <a:pt x="51959" y="137832"/>
                  </a:lnTo>
                  <a:lnTo>
                    <a:pt x="48554" y="138916"/>
                  </a:lnTo>
                  <a:lnTo>
                    <a:pt x="34345" y="143453"/>
                  </a:lnTo>
                  <a:lnTo>
                    <a:pt x="27210" y="136319"/>
                  </a:lnTo>
                  <a:lnTo>
                    <a:pt x="31743" y="122101"/>
                  </a:lnTo>
                  <a:lnTo>
                    <a:pt x="32831" y="118701"/>
                  </a:lnTo>
                  <a:lnTo>
                    <a:pt x="31032" y="115613"/>
                  </a:lnTo>
                  <a:cubicBezTo>
                    <a:pt x="28574" y="111264"/>
                    <a:pt x="26678" y="106620"/>
                    <a:pt x="25391" y="101793"/>
                  </a:cubicBezTo>
                  <a:lnTo>
                    <a:pt x="24419" y="98397"/>
                  </a:lnTo>
                  <a:lnTo>
                    <a:pt x="21264" y="96815"/>
                  </a:lnTo>
                  <a:lnTo>
                    <a:pt x="8014" y="90198"/>
                  </a:lnTo>
                  <a:lnTo>
                    <a:pt x="8014" y="80044"/>
                  </a:lnTo>
                  <a:lnTo>
                    <a:pt x="21264" y="73427"/>
                  </a:lnTo>
                  <a:close/>
                </a:path>
              </a:pathLst>
            </a:custGeom>
            <a:grpFill/>
            <a:ln w="3969" cap="flat">
              <a:noFill/>
              <a:prstDash val="solid"/>
              <a:miter/>
            </a:ln>
          </p:spPr>
          <p:txBody>
            <a:bodyPr rtlCol="0" anchor="ctr"/>
            <a:lstStyle/>
            <a:p>
              <a:endParaRPr lang="en-IN"/>
            </a:p>
          </p:txBody>
        </p:sp>
        <p:sp>
          <p:nvSpPr>
            <p:cNvPr id="92" name="Freeform: Shape 91">
              <a:extLst>
                <a:ext uri="{FF2B5EF4-FFF2-40B4-BE49-F238E27FC236}">
                  <a16:creationId xmlns:a16="http://schemas.microsoft.com/office/drawing/2014/main" id="{9817A28D-F877-5F07-8076-B70B9DF06C24}"/>
                </a:ext>
              </a:extLst>
            </p:cNvPr>
            <p:cNvSpPr/>
            <p:nvPr/>
          </p:nvSpPr>
          <p:spPr>
            <a:xfrm>
              <a:off x="6567977" y="2663262"/>
              <a:ext cx="60225" cy="60225"/>
            </a:xfrm>
            <a:custGeom>
              <a:avLst/>
              <a:gdLst>
                <a:gd name="connsiteX0" fmla="*/ 30113 w 60225"/>
                <a:gd name="connsiteY0" fmla="*/ 0 h 60225"/>
                <a:gd name="connsiteX1" fmla="*/ 0 w 60225"/>
                <a:gd name="connsiteY1" fmla="*/ 30113 h 60225"/>
                <a:gd name="connsiteX2" fmla="*/ 30113 w 60225"/>
                <a:gd name="connsiteY2" fmla="*/ 60226 h 60225"/>
                <a:gd name="connsiteX3" fmla="*/ 60226 w 60225"/>
                <a:gd name="connsiteY3" fmla="*/ 30113 h 60225"/>
                <a:gd name="connsiteX4" fmla="*/ 30113 w 60225"/>
                <a:gd name="connsiteY4" fmla="*/ 0 h 60225"/>
                <a:gd name="connsiteX5" fmla="*/ 30113 w 60225"/>
                <a:gd name="connsiteY5" fmla="*/ 52196 h 60225"/>
                <a:gd name="connsiteX6" fmla="*/ 8030 w 60225"/>
                <a:gd name="connsiteY6" fmla="*/ 30113 h 60225"/>
                <a:gd name="connsiteX7" fmla="*/ 30113 w 60225"/>
                <a:gd name="connsiteY7" fmla="*/ 8030 h 60225"/>
                <a:gd name="connsiteX8" fmla="*/ 52196 w 60225"/>
                <a:gd name="connsiteY8" fmla="*/ 30113 h 60225"/>
                <a:gd name="connsiteX9" fmla="*/ 30113 w 60225"/>
                <a:gd name="connsiteY9" fmla="*/ 52212 h 6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25" h="60225">
                  <a:moveTo>
                    <a:pt x="30113" y="0"/>
                  </a:moveTo>
                  <a:cubicBezTo>
                    <a:pt x="13482" y="0"/>
                    <a:pt x="0" y="13482"/>
                    <a:pt x="0" y="30113"/>
                  </a:cubicBezTo>
                  <a:cubicBezTo>
                    <a:pt x="0" y="46744"/>
                    <a:pt x="13482" y="60226"/>
                    <a:pt x="30113" y="60226"/>
                  </a:cubicBezTo>
                  <a:cubicBezTo>
                    <a:pt x="46744" y="60226"/>
                    <a:pt x="60226" y="46744"/>
                    <a:pt x="60226" y="30113"/>
                  </a:cubicBezTo>
                  <a:cubicBezTo>
                    <a:pt x="60101" y="13534"/>
                    <a:pt x="46692" y="124"/>
                    <a:pt x="30113" y="0"/>
                  </a:cubicBezTo>
                  <a:close/>
                  <a:moveTo>
                    <a:pt x="30113" y="52196"/>
                  </a:moveTo>
                  <a:cubicBezTo>
                    <a:pt x="17924" y="52178"/>
                    <a:pt x="8048" y="42301"/>
                    <a:pt x="8030" y="30113"/>
                  </a:cubicBezTo>
                  <a:cubicBezTo>
                    <a:pt x="8192" y="17985"/>
                    <a:pt x="17985" y="8192"/>
                    <a:pt x="30113" y="8030"/>
                  </a:cubicBezTo>
                  <a:cubicBezTo>
                    <a:pt x="42301" y="8048"/>
                    <a:pt x="52178" y="17924"/>
                    <a:pt x="52196" y="30113"/>
                  </a:cubicBezTo>
                  <a:cubicBezTo>
                    <a:pt x="52044" y="42248"/>
                    <a:pt x="42248" y="52051"/>
                    <a:pt x="30113" y="52212"/>
                  </a:cubicBezTo>
                  <a:close/>
                </a:path>
              </a:pathLst>
            </a:custGeom>
            <a:grpFill/>
            <a:ln w="3969" cap="flat">
              <a:noFill/>
              <a:prstDash val="solid"/>
              <a:miter/>
            </a:ln>
          </p:spPr>
          <p:txBody>
            <a:bodyPr rtlCol="0" anchor="ctr"/>
            <a:lstStyle/>
            <a:p>
              <a:endParaRPr lang="en-IN"/>
            </a:p>
          </p:txBody>
        </p:sp>
        <p:sp>
          <p:nvSpPr>
            <p:cNvPr id="93" name="Freeform: Shape 92">
              <a:extLst>
                <a:ext uri="{FF2B5EF4-FFF2-40B4-BE49-F238E27FC236}">
                  <a16:creationId xmlns:a16="http://schemas.microsoft.com/office/drawing/2014/main" id="{7A693924-6F77-55A4-E498-74D207B0DD7B}"/>
                </a:ext>
              </a:extLst>
            </p:cNvPr>
            <p:cNvSpPr/>
            <p:nvPr/>
          </p:nvSpPr>
          <p:spPr>
            <a:xfrm>
              <a:off x="6477237" y="2809470"/>
              <a:ext cx="60225" cy="60225"/>
            </a:xfrm>
            <a:custGeom>
              <a:avLst/>
              <a:gdLst>
                <a:gd name="connsiteX0" fmla="*/ 30113 w 60225"/>
                <a:gd name="connsiteY0" fmla="*/ 60226 h 60225"/>
                <a:gd name="connsiteX1" fmla="*/ 60226 w 60225"/>
                <a:gd name="connsiteY1" fmla="*/ 30113 h 60225"/>
                <a:gd name="connsiteX2" fmla="*/ 30113 w 60225"/>
                <a:gd name="connsiteY2" fmla="*/ 0 h 60225"/>
                <a:gd name="connsiteX3" fmla="*/ 0 w 60225"/>
                <a:gd name="connsiteY3" fmla="*/ 30113 h 60225"/>
                <a:gd name="connsiteX4" fmla="*/ 30041 w 60225"/>
                <a:gd name="connsiteY4" fmla="*/ 60226 h 60225"/>
                <a:gd name="connsiteX5" fmla="*/ 30113 w 60225"/>
                <a:gd name="connsiteY5" fmla="*/ 60226 h 60225"/>
                <a:gd name="connsiteX6" fmla="*/ 30113 w 60225"/>
                <a:gd name="connsiteY6" fmla="*/ 8010 h 60225"/>
                <a:gd name="connsiteX7" fmla="*/ 52196 w 60225"/>
                <a:gd name="connsiteY7" fmla="*/ 30093 h 60225"/>
                <a:gd name="connsiteX8" fmla="*/ 30113 w 60225"/>
                <a:gd name="connsiteY8" fmla="*/ 52175 h 60225"/>
                <a:gd name="connsiteX9" fmla="*/ 8030 w 60225"/>
                <a:gd name="connsiteY9" fmla="*/ 30093 h 60225"/>
                <a:gd name="connsiteX10" fmla="*/ 30113 w 60225"/>
                <a:gd name="connsiteY10" fmla="*/ 8010 h 6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225" h="60225">
                  <a:moveTo>
                    <a:pt x="30113" y="60226"/>
                  </a:moveTo>
                  <a:cubicBezTo>
                    <a:pt x="46744" y="60226"/>
                    <a:pt x="60226" y="46744"/>
                    <a:pt x="60226" y="30113"/>
                  </a:cubicBezTo>
                  <a:cubicBezTo>
                    <a:pt x="60226" y="13482"/>
                    <a:pt x="46744" y="0"/>
                    <a:pt x="30113" y="0"/>
                  </a:cubicBezTo>
                  <a:cubicBezTo>
                    <a:pt x="13482" y="0"/>
                    <a:pt x="0" y="13482"/>
                    <a:pt x="0" y="30113"/>
                  </a:cubicBezTo>
                  <a:cubicBezTo>
                    <a:pt x="-20" y="46724"/>
                    <a:pt x="13430" y="60206"/>
                    <a:pt x="30041" y="60226"/>
                  </a:cubicBezTo>
                  <a:cubicBezTo>
                    <a:pt x="30065" y="60226"/>
                    <a:pt x="30089" y="60226"/>
                    <a:pt x="30113" y="60226"/>
                  </a:cubicBezTo>
                  <a:close/>
                  <a:moveTo>
                    <a:pt x="30113" y="8010"/>
                  </a:moveTo>
                  <a:cubicBezTo>
                    <a:pt x="42309" y="8010"/>
                    <a:pt x="52196" y="17897"/>
                    <a:pt x="52196" y="30093"/>
                  </a:cubicBezTo>
                  <a:cubicBezTo>
                    <a:pt x="52196" y="42289"/>
                    <a:pt x="42309" y="52175"/>
                    <a:pt x="30113" y="52175"/>
                  </a:cubicBezTo>
                  <a:cubicBezTo>
                    <a:pt x="17917" y="52175"/>
                    <a:pt x="8030" y="42289"/>
                    <a:pt x="8030" y="30093"/>
                  </a:cubicBezTo>
                  <a:cubicBezTo>
                    <a:pt x="8048" y="17904"/>
                    <a:pt x="17924" y="8028"/>
                    <a:pt x="30113" y="8010"/>
                  </a:cubicBezTo>
                  <a:close/>
                </a:path>
              </a:pathLst>
            </a:custGeom>
            <a:grpFill/>
            <a:ln w="3969" cap="flat">
              <a:noFill/>
              <a:prstDash val="solid"/>
              <a:miter/>
            </a:ln>
          </p:spPr>
          <p:txBody>
            <a:bodyPr rtlCol="0" anchor="ctr"/>
            <a:lstStyle/>
            <a:p>
              <a:endParaRPr lang="en-IN"/>
            </a:p>
          </p:txBody>
        </p:sp>
      </p:grpSp>
      <p:grpSp>
        <p:nvGrpSpPr>
          <p:cNvPr id="94" name="Graphic 1084" descr="Head with gears outline">
            <a:extLst>
              <a:ext uri="{FF2B5EF4-FFF2-40B4-BE49-F238E27FC236}">
                <a16:creationId xmlns:a16="http://schemas.microsoft.com/office/drawing/2014/main" id="{8E57A544-4E59-ADBD-43B1-3E98E91C7616}"/>
              </a:ext>
            </a:extLst>
          </p:cNvPr>
          <p:cNvGrpSpPr/>
          <p:nvPr/>
        </p:nvGrpSpPr>
        <p:grpSpPr>
          <a:xfrm>
            <a:off x="10049848" y="1366111"/>
            <a:ext cx="209186" cy="248286"/>
            <a:chOff x="10049848" y="1320608"/>
            <a:chExt cx="209186" cy="248286"/>
          </a:xfrm>
          <a:gradFill>
            <a:gsLst>
              <a:gs pos="0">
                <a:srgbClr val="3FB6FA"/>
              </a:gs>
              <a:gs pos="100000">
                <a:srgbClr val="8745A6"/>
              </a:gs>
            </a:gsLst>
            <a:lin ang="10800000" scaled="1"/>
          </a:gradFill>
        </p:grpSpPr>
        <p:sp>
          <p:nvSpPr>
            <p:cNvPr id="95" name="Freeform: Shape 94">
              <a:extLst>
                <a:ext uri="{FF2B5EF4-FFF2-40B4-BE49-F238E27FC236}">
                  <a16:creationId xmlns:a16="http://schemas.microsoft.com/office/drawing/2014/main" id="{F10A41A3-415E-AD6F-69FF-6F8882B08F67}"/>
                </a:ext>
              </a:extLst>
            </p:cNvPr>
            <p:cNvSpPr/>
            <p:nvPr/>
          </p:nvSpPr>
          <p:spPr>
            <a:xfrm>
              <a:off x="10138472" y="1366282"/>
              <a:ext cx="24598" cy="24598"/>
            </a:xfrm>
            <a:custGeom>
              <a:avLst/>
              <a:gdLst>
                <a:gd name="connsiteX0" fmla="*/ 12299 w 24598"/>
                <a:gd name="connsiteY0" fmla="*/ 24598 h 24598"/>
                <a:gd name="connsiteX1" fmla="*/ 24598 w 24598"/>
                <a:gd name="connsiteY1" fmla="*/ 12299 h 24598"/>
                <a:gd name="connsiteX2" fmla="*/ 12299 w 24598"/>
                <a:gd name="connsiteY2" fmla="*/ 0 h 24598"/>
                <a:gd name="connsiteX3" fmla="*/ 0 w 24598"/>
                <a:gd name="connsiteY3" fmla="*/ 12299 h 24598"/>
                <a:gd name="connsiteX4" fmla="*/ 12299 w 24598"/>
                <a:gd name="connsiteY4" fmla="*/ 24598 h 24598"/>
                <a:gd name="connsiteX5" fmla="*/ 12299 w 24598"/>
                <a:gd name="connsiteY5" fmla="*/ 6150 h 24598"/>
                <a:gd name="connsiteX6" fmla="*/ 18449 w 24598"/>
                <a:gd name="connsiteY6" fmla="*/ 12299 h 24598"/>
                <a:gd name="connsiteX7" fmla="*/ 12299 w 24598"/>
                <a:gd name="connsiteY7" fmla="*/ 18449 h 24598"/>
                <a:gd name="connsiteX8" fmla="*/ 6150 w 24598"/>
                <a:gd name="connsiteY8" fmla="*/ 12299 h 24598"/>
                <a:gd name="connsiteX9" fmla="*/ 12299 w 24598"/>
                <a:gd name="connsiteY9" fmla="*/ 6150 h 2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98" h="24598">
                  <a:moveTo>
                    <a:pt x="12299" y="24598"/>
                  </a:moveTo>
                  <a:cubicBezTo>
                    <a:pt x="19092" y="24598"/>
                    <a:pt x="24598" y="19092"/>
                    <a:pt x="24598" y="12299"/>
                  </a:cubicBezTo>
                  <a:cubicBezTo>
                    <a:pt x="24598" y="5507"/>
                    <a:pt x="19092" y="0"/>
                    <a:pt x="12299" y="0"/>
                  </a:cubicBezTo>
                  <a:cubicBezTo>
                    <a:pt x="5507" y="0"/>
                    <a:pt x="0" y="5507"/>
                    <a:pt x="0" y="12299"/>
                  </a:cubicBezTo>
                  <a:cubicBezTo>
                    <a:pt x="40" y="19075"/>
                    <a:pt x="5523" y="24558"/>
                    <a:pt x="12299" y="24598"/>
                  </a:cubicBezTo>
                  <a:close/>
                  <a:moveTo>
                    <a:pt x="12299" y="6150"/>
                  </a:moveTo>
                  <a:cubicBezTo>
                    <a:pt x="15696" y="6150"/>
                    <a:pt x="18449" y="8903"/>
                    <a:pt x="18449" y="12299"/>
                  </a:cubicBezTo>
                  <a:cubicBezTo>
                    <a:pt x="18449" y="15696"/>
                    <a:pt x="15696" y="18449"/>
                    <a:pt x="12299" y="18449"/>
                  </a:cubicBezTo>
                  <a:cubicBezTo>
                    <a:pt x="8903" y="18449"/>
                    <a:pt x="6150" y="15696"/>
                    <a:pt x="6150" y="12299"/>
                  </a:cubicBezTo>
                  <a:cubicBezTo>
                    <a:pt x="6193" y="8921"/>
                    <a:pt x="8921" y="6193"/>
                    <a:pt x="12299" y="6150"/>
                  </a:cubicBezTo>
                  <a:close/>
                </a:path>
              </a:pathLst>
            </a:custGeom>
            <a:grpFill/>
            <a:ln w="2977" cap="flat">
              <a:noFill/>
              <a:prstDash val="solid"/>
              <a:miter/>
            </a:ln>
          </p:spPr>
          <p:txBody>
            <a:bodyPr rtlCol="0" anchor="ctr"/>
            <a:lstStyle/>
            <a:p>
              <a:endParaRPr lang="en-IN"/>
            </a:p>
          </p:txBody>
        </p:sp>
        <p:sp>
          <p:nvSpPr>
            <p:cNvPr id="96" name="Freeform: Shape 95">
              <a:extLst>
                <a:ext uri="{FF2B5EF4-FFF2-40B4-BE49-F238E27FC236}">
                  <a16:creationId xmlns:a16="http://schemas.microsoft.com/office/drawing/2014/main" id="{DBB2661E-2336-ED04-AD79-BBE86D153EB0}"/>
                </a:ext>
              </a:extLst>
            </p:cNvPr>
            <p:cNvSpPr/>
            <p:nvPr/>
          </p:nvSpPr>
          <p:spPr>
            <a:xfrm>
              <a:off x="10101575" y="1425727"/>
              <a:ext cx="24598" cy="24598"/>
            </a:xfrm>
            <a:custGeom>
              <a:avLst/>
              <a:gdLst>
                <a:gd name="connsiteX0" fmla="*/ 12299 w 24598"/>
                <a:gd name="connsiteY0" fmla="*/ 24598 h 24598"/>
                <a:gd name="connsiteX1" fmla="*/ 24598 w 24598"/>
                <a:gd name="connsiteY1" fmla="*/ 12299 h 24598"/>
                <a:gd name="connsiteX2" fmla="*/ 12299 w 24598"/>
                <a:gd name="connsiteY2" fmla="*/ 0 h 24598"/>
                <a:gd name="connsiteX3" fmla="*/ 0 w 24598"/>
                <a:gd name="connsiteY3" fmla="*/ 12299 h 24598"/>
                <a:gd name="connsiteX4" fmla="*/ 12299 w 24598"/>
                <a:gd name="connsiteY4" fmla="*/ 24598 h 24598"/>
                <a:gd name="connsiteX5" fmla="*/ 12299 w 24598"/>
                <a:gd name="connsiteY5" fmla="*/ 6150 h 24598"/>
                <a:gd name="connsiteX6" fmla="*/ 18449 w 24598"/>
                <a:gd name="connsiteY6" fmla="*/ 12299 h 24598"/>
                <a:gd name="connsiteX7" fmla="*/ 12299 w 24598"/>
                <a:gd name="connsiteY7" fmla="*/ 18449 h 24598"/>
                <a:gd name="connsiteX8" fmla="*/ 6150 w 24598"/>
                <a:gd name="connsiteY8" fmla="*/ 12299 h 24598"/>
                <a:gd name="connsiteX9" fmla="*/ 12299 w 24598"/>
                <a:gd name="connsiteY9" fmla="*/ 6150 h 2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98" h="24598">
                  <a:moveTo>
                    <a:pt x="12299" y="24598"/>
                  </a:moveTo>
                  <a:cubicBezTo>
                    <a:pt x="19092" y="24598"/>
                    <a:pt x="24598" y="19092"/>
                    <a:pt x="24598" y="12299"/>
                  </a:cubicBezTo>
                  <a:cubicBezTo>
                    <a:pt x="24598" y="5507"/>
                    <a:pt x="19092" y="0"/>
                    <a:pt x="12299" y="0"/>
                  </a:cubicBezTo>
                  <a:cubicBezTo>
                    <a:pt x="5507" y="0"/>
                    <a:pt x="0" y="5507"/>
                    <a:pt x="0" y="12299"/>
                  </a:cubicBezTo>
                  <a:cubicBezTo>
                    <a:pt x="0" y="19092"/>
                    <a:pt x="5507" y="24598"/>
                    <a:pt x="12299" y="24598"/>
                  </a:cubicBezTo>
                  <a:close/>
                  <a:moveTo>
                    <a:pt x="12299" y="6150"/>
                  </a:moveTo>
                  <a:cubicBezTo>
                    <a:pt x="15696" y="6150"/>
                    <a:pt x="18449" y="8903"/>
                    <a:pt x="18449" y="12299"/>
                  </a:cubicBezTo>
                  <a:cubicBezTo>
                    <a:pt x="18449" y="15696"/>
                    <a:pt x="15696" y="18449"/>
                    <a:pt x="12299" y="18449"/>
                  </a:cubicBezTo>
                  <a:cubicBezTo>
                    <a:pt x="8903" y="18449"/>
                    <a:pt x="6150" y="15696"/>
                    <a:pt x="6150" y="12299"/>
                  </a:cubicBezTo>
                  <a:cubicBezTo>
                    <a:pt x="6150" y="8903"/>
                    <a:pt x="8903" y="6150"/>
                    <a:pt x="12299" y="6150"/>
                  </a:cubicBezTo>
                  <a:close/>
                </a:path>
              </a:pathLst>
            </a:custGeom>
            <a:grpFill/>
            <a:ln w="2977" cap="flat">
              <a:noFill/>
              <a:prstDash val="solid"/>
              <a:miter/>
            </a:ln>
          </p:spPr>
          <p:txBody>
            <a:bodyPr rtlCol="0" anchor="ctr"/>
            <a:lstStyle/>
            <a:p>
              <a:endParaRPr lang="en-IN"/>
            </a:p>
          </p:txBody>
        </p:sp>
        <p:sp>
          <p:nvSpPr>
            <p:cNvPr id="97" name="Freeform: Shape 96">
              <a:extLst>
                <a:ext uri="{FF2B5EF4-FFF2-40B4-BE49-F238E27FC236}">
                  <a16:creationId xmlns:a16="http://schemas.microsoft.com/office/drawing/2014/main" id="{5884374D-85E9-3A0B-C017-9B06C362922C}"/>
                </a:ext>
              </a:extLst>
            </p:cNvPr>
            <p:cNvSpPr/>
            <p:nvPr/>
          </p:nvSpPr>
          <p:spPr>
            <a:xfrm>
              <a:off x="10079046" y="1402592"/>
              <a:ext cx="69978" cy="69988"/>
            </a:xfrm>
            <a:custGeom>
              <a:avLst/>
              <a:gdLst>
                <a:gd name="connsiteX0" fmla="*/ 9953 w 69978"/>
                <a:gd name="connsiteY0" fmla="*/ 48904 h 69988"/>
                <a:gd name="connsiteX1" fmla="*/ 7318 w 69978"/>
                <a:gd name="connsiteY1" fmla="*/ 56518 h 69988"/>
                <a:gd name="connsiteX2" fmla="*/ 13160 w 69978"/>
                <a:gd name="connsiteY2" fmla="*/ 62375 h 69988"/>
                <a:gd name="connsiteX3" fmla="*/ 20773 w 69978"/>
                <a:gd name="connsiteY3" fmla="*/ 60032 h 69988"/>
                <a:gd name="connsiteX4" fmla="*/ 27230 w 69978"/>
                <a:gd name="connsiteY4" fmla="*/ 62667 h 69988"/>
                <a:gd name="connsiteX5" fmla="*/ 30739 w 69978"/>
                <a:gd name="connsiteY5" fmla="*/ 69988 h 69988"/>
                <a:gd name="connsiteX6" fmla="*/ 38936 w 69978"/>
                <a:gd name="connsiteY6" fmla="*/ 69988 h 69988"/>
                <a:gd name="connsiteX7" fmla="*/ 42158 w 69978"/>
                <a:gd name="connsiteY7" fmla="*/ 62959 h 69988"/>
                <a:gd name="connsiteX8" fmla="*/ 48615 w 69978"/>
                <a:gd name="connsiteY8" fmla="*/ 60324 h 69988"/>
                <a:gd name="connsiteX9" fmla="*/ 56225 w 69978"/>
                <a:gd name="connsiteY9" fmla="*/ 62959 h 69988"/>
                <a:gd name="connsiteX10" fmla="*/ 62068 w 69978"/>
                <a:gd name="connsiteY10" fmla="*/ 57117 h 69988"/>
                <a:gd name="connsiteX11" fmla="*/ 59734 w 69978"/>
                <a:gd name="connsiteY11" fmla="*/ 49489 h 69988"/>
                <a:gd name="connsiteX12" fmla="*/ 62369 w 69978"/>
                <a:gd name="connsiteY12" fmla="*/ 43047 h 69988"/>
                <a:gd name="connsiteX13" fmla="*/ 69687 w 69978"/>
                <a:gd name="connsiteY13" fmla="*/ 39532 h 69988"/>
                <a:gd name="connsiteX14" fmla="*/ 69979 w 69978"/>
                <a:gd name="connsiteY14" fmla="*/ 30748 h 69988"/>
                <a:gd name="connsiteX15" fmla="*/ 62652 w 69978"/>
                <a:gd name="connsiteY15" fmla="*/ 27249 h 69988"/>
                <a:gd name="connsiteX16" fmla="*/ 60017 w 69978"/>
                <a:gd name="connsiteY16" fmla="*/ 20792 h 69988"/>
                <a:gd name="connsiteX17" fmla="*/ 62652 w 69978"/>
                <a:gd name="connsiteY17" fmla="*/ 13179 h 69988"/>
                <a:gd name="connsiteX18" fmla="*/ 56810 w 69978"/>
                <a:gd name="connsiteY18" fmla="*/ 7321 h 69988"/>
                <a:gd name="connsiteX19" fmla="*/ 49197 w 69978"/>
                <a:gd name="connsiteY19" fmla="*/ 9956 h 69988"/>
                <a:gd name="connsiteX20" fmla="*/ 42755 w 69978"/>
                <a:gd name="connsiteY20" fmla="*/ 7321 h 69988"/>
                <a:gd name="connsiteX21" fmla="*/ 39243 w 69978"/>
                <a:gd name="connsiteY21" fmla="*/ 0 h 69988"/>
                <a:gd name="connsiteX22" fmla="*/ 30739 w 69978"/>
                <a:gd name="connsiteY22" fmla="*/ 0 h 69988"/>
                <a:gd name="connsiteX23" fmla="*/ 27227 w 69978"/>
                <a:gd name="connsiteY23" fmla="*/ 7321 h 69988"/>
                <a:gd name="connsiteX24" fmla="*/ 20770 w 69978"/>
                <a:gd name="connsiteY24" fmla="*/ 9956 h 69988"/>
                <a:gd name="connsiteX25" fmla="*/ 13157 w 69978"/>
                <a:gd name="connsiteY25" fmla="*/ 7321 h 69988"/>
                <a:gd name="connsiteX26" fmla="*/ 7315 w 69978"/>
                <a:gd name="connsiteY26" fmla="*/ 13179 h 69988"/>
                <a:gd name="connsiteX27" fmla="*/ 9953 w 69978"/>
                <a:gd name="connsiteY27" fmla="*/ 20792 h 69988"/>
                <a:gd name="connsiteX28" fmla="*/ 7318 w 69978"/>
                <a:gd name="connsiteY28" fmla="*/ 27233 h 69988"/>
                <a:gd name="connsiteX29" fmla="*/ 0 w 69978"/>
                <a:gd name="connsiteY29" fmla="*/ 30748 h 69988"/>
                <a:gd name="connsiteX30" fmla="*/ 0 w 69978"/>
                <a:gd name="connsiteY30" fmla="*/ 38948 h 69988"/>
                <a:gd name="connsiteX31" fmla="*/ 7318 w 69978"/>
                <a:gd name="connsiteY31" fmla="*/ 42463 h 69988"/>
                <a:gd name="connsiteX32" fmla="*/ 9953 w 69978"/>
                <a:gd name="connsiteY32" fmla="*/ 48904 h 69988"/>
                <a:gd name="connsiteX33" fmla="*/ 6150 w 69978"/>
                <a:gd name="connsiteY33" fmla="*/ 34628 h 69988"/>
                <a:gd name="connsiteX34" fmla="*/ 9981 w 69978"/>
                <a:gd name="connsiteY34" fmla="*/ 32783 h 69988"/>
                <a:gd name="connsiteX35" fmla="*/ 12585 w 69978"/>
                <a:gd name="connsiteY35" fmla="*/ 31535 h 69988"/>
                <a:gd name="connsiteX36" fmla="*/ 13283 w 69978"/>
                <a:gd name="connsiteY36" fmla="*/ 28731 h 69988"/>
                <a:gd name="connsiteX37" fmla="*/ 15294 w 69978"/>
                <a:gd name="connsiteY37" fmla="*/ 23848 h 69988"/>
                <a:gd name="connsiteX38" fmla="*/ 16678 w 69978"/>
                <a:gd name="connsiteY38" fmla="*/ 21425 h 69988"/>
                <a:gd name="connsiteX39" fmla="*/ 15755 w 69978"/>
                <a:gd name="connsiteY39" fmla="*/ 18787 h 69988"/>
                <a:gd name="connsiteX40" fmla="*/ 14378 w 69978"/>
                <a:gd name="connsiteY40" fmla="*/ 14811 h 69988"/>
                <a:gd name="connsiteX41" fmla="*/ 14790 w 69978"/>
                <a:gd name="connsiteY41" fmla="*/ 14399 h 69988"/>
                <a:gd name="connsiteX42" fmla="*/ 18765 w 69978"/>
                <a:gd name="connsiteY42" fmla="*/ 15774 h 69988"/>
                <a:gd name="connsiteX43" fmla="*/ 21404 w 69978"/>
                <a:gd name="connsiteY43" fmla="*/ 16696 h 69988"/>
                <a:gd name="connsiteX44" fmla="*/ 23826 w 69978"/>
                <a:gd name="connsiteY44" fmla="*/ 15312 h 69988"/>
                <a:gd name="connsiteX45" fmla="*/ 28709 w 69978"/>
                <a:gd name="connsiteY45" fmla="*/ 13302 h 69988"/>
                <a:gd name="connsiteX46" fmla="*/ 31510 w 69978"/>
                <a:gd name="connsiteY46" fmla="*/ 12600 h 69988"/>
                <a:gd name="connsiteX47" fmla="*/ 32762 w 69978"/>
                <a:gd name="connsiteY47" fmla="*/ 9996 h 69988"/>
                <a:gd name="connsiteX48" fmla="*/ 34607 w 69978"/>
                <a:gd name="connsiteY48" fmla="*/ 6165 h 69988"/>
                <a:gd name="connsiteX49" fmla="*/ 35357 w 69978"/>
                <a:gd name="connsiteY49" fmla="*/ 6165 h 69988"/>
                <a:gd name="connsiteX50" fmla="*/ 37202 w 69978"/>
                <a:gd name="connsiteY50" fmla="*/ 9996 h 69988"/>
                <a:gd name="connsiteX51" fmla="*/ 38453 w 69978"/>
                <a:gd name="connsiteY51" fmla="*/ 12600 h 69988"/>
                <a:gd name="connsiteX52" fmla="*/ 41254 w 69978"/>
                <a:gd name="connsiteY52" fmla="*/ 13302 h 69988"/>
                <a:gd name="connsiteX53" fmla="*/ 46137 w 69978"/>
                <a:gd name="connsiteY53" fmla="*/ 15312 h 69988"/>
                <a:gd name="connsiteX54" fmla="*/ 48560 w 69978"/>
                <a:gd name="connsiteY54" fmla="*/ 16696 h 69988"/>
                <a:gd name="connsiteX55" fmla="*/ 51198 w 69978"/>
                <a:gd name="connsiteY55" fmla="*/ 15774 h 69988"/>
                <a:gd name="connsiteX56" fmla="*/ 55174 w 69978"/>
                <a:gd name="connsiteY56" fmla="*/ 14399 h 69988"/>
                <a:gd name="connsiteX57" fmla="*/ 55583 w 69978"/>
                <a:gd name="connsiteY57" fmla="*/ 14811 h 69988"/>
                <a:gd name="connsiteX58" fmla="*/ 54199 w 69978"/>
                <a:gd name="connsiteY58" fmla="*/ 18781 h 69988"/>
                <a:gd name="connsiteX59" fmla="*/ 53277 w 69978"/>
                <a:gd name="connsiteY59" fmla="*/ 21419 h 69988"/>
                <a:gd name="connsiteX60" fmla="*/ 54660 w 69978"/>
                <a:gd name="connsiteY60" fmla="*/ 23842 h 69988"/>
                <a:gd name="connsiteX61" fmla="*/ 56671 w 69978"/>
                <a:gd name="connsiteY61" fmla="*/ 28725 h 69988"/>
                <a:gd name="connsiteX62" fmla="*/ 57369 w 69978"/>
                <a:gd name="connsiteY62" fmla="*/ 31529 h 69988"/>
                <a:gd name="connsiteX63" fmla="*/ 59974 w 69978"/>
                <a:gd name="connsiteY63" fmla="*/ 32777 h 69988"/>
                <a:gd name="connsiteX64" fmla="*/ 63663 w 69978"/>
                <a:gd name="connsiteY64" fmla="*/ 34554 h 69988"/>
                <a:gd name="connsiteX65" fmla="*/ 63630 w 69978"/>
                <a:gd name="connsiteY65" fmla="*/ 35603 h 69988"/>
                <a:gd name="connsiteX66" fmla="*/ 59669 w 69978"/>
                <a:gd name="connsiteY66" fmla="*/ 37503 h 69988"/>
                <a:gd name="connsiteX67" fmla="*/ 57065 w 69978"/>
                <a:gd name="connsiteY67" fmla="*/ 38755 h 69988"/>
                <a:gd name="connsiteX68" fmla="*/ 56364 w 69978"/>
                <a:gd name="connsiteY68" fmla="*/ 41556 h 69988"/>
                <a:gd name="connsiteX69" fmla="*/ 54356 w 69978"/>
                <a:gd name="connsiteY69" fmla="*/ 46438 h 69988"/>
                <a:gd name="connsiteX70" fmla="*/ 53034 w 69978"/>
                <a:gd name="connsiteY70" fmla="*/ 48751 h 69988"/>
                <a:gd name="connsiteX71" fmla="*/ 53818 w 69978"/>
                <a:gd name="connsiteY71" fmla="*/ 51297 h 69988"/>
                <a:gd name="connsiteX72" fmla="*/ 55072 w 69978"/>
                <a:gd name="connsiteY72" fmla="*/ 55374 h 69988"/>
                <a:gd name="connsiteX73" fmla="*/ 54556 w 69978"/>
                <a:gd name="connsiteY73" fmla="*/ 55890 h 69988"/>
                <a:gd name="connsiteX74" fmla="*/ 50583 w 69978"/>
                <a:gd name="connsiteY74" fmla="*/ 54513 h 69988"/>
                <a:gd name="connsiteX75" fmla="*/ 47945 w 69978"/>
                <a:gd name="connsiteY75" fmla="*/ 53590 h 69988"/>
                <a:gd name="connsiteX76" fmla="*/ 45519 w 69978"/>
                <a:gd name="connsiteY76" fmla="*/ 54977 h 69988"/>
                <a:gd name="connsiteX77" fmla="*/ 40639 w 69978"/>
                <a:gd name="connsiteY77" fmla="*/ 56985 h 69988"/>
                <a:gd name="connsiteX78" fmla="*/ 37771 w 69978"/>
                <a:gd name="connsiteY78" fmla="*/ 57701 h 69988"/>
                <a:gd name="connsiteX79" fmla="*/ 36541 w 69978"/>
                <a:gd name="connsiteY79" fmla="*/ 60389 h 69988"/>
                <a:gd name="connsiteX80" fmla="*/ 34991 w 69978"/>
                <a:gd name="connsiteY80" fmla="*/ 63839 h 69988"/>
                <a:gd name="connsiteX81" fmla="*/ 34610 w 69978"/>
                <a:gd name="connsiteY81" fmla="*/ 63839 h 69988"/>
                <a:gd name="connsiteX82" fmla="*/ 32765 w 69978"/>
                <a:gd name="connsiteY82" fmla="*/ 60007 h 69988"/>
                <a:gd name="connsiteX83" fmla="*/ 31513 w 69978"/>
                <a:gd name="connsiteY83" fmla="*/ 57403 h 69988"/>
                <a:gd name="connsiteX84" fmla="*/ 28712 w 69978"/>
                <a:gd name="connsiteY84" fmla="*/ 56702 h 69988"/>
                <a:gd name="connsiteX85" fmla="*/ 23830 w 69978"/>
                <a:gd name="connsiteY85" fmla="*/ 54691 h 69988"/>
                <a:gd name="connsiteX86" fmla="*/ 21517 w 69978"/>
                <a:gd name="connsiteY86" fmla="*/ 53369 h 69988"/>
                <a:gd name="connsiteX87" fmla="*/ 18971 w 69978"/>
                <a:gd name="connsiteY87" fmla="*/ 54153 h 69988"/>
                <a:gd name="connsiteX88" fmla="*/ 14897 w 69978"/>
                <a:gd name="connsiteY88" fmla="*/ 55408 h 69988"/>
                <a:gd name="connsiteX89" fmla="*/ 14381 w 69978"/>
                <a:gd name="connsiteY89" fmla="*/ 54891 h 69988"/>
                <a:gd name="connsiteX90" fmla="*/ 15764 w 69978"/>
                <a:gd name="connsiteY90" fmla="*/ 50925 h 69988"/>
                <a:gd name="connsiteX91" fmla="*/ 16687 w 69978"/>
                <a:gd name="connsiteY91" fmla="*/ 48286 h 69988"/>
                <a:gd name="connsiteX92" fmla="*/ 15303 w 69978"/>
                <a:gd name="connsiteY92" fmla="*/ 45863 h 69988"/>
                <a:gd name="connsiteX93" fmla="*/ 13292 w 69978"/>
                <a:gd name="connsiteY93" fmla="*/ 40981 h 69988"/>
                <a:gd name="connsiteX94" fmla="*/ 12594 w 69978"/>
                <a:gd name="connsiteY94" fmla="*/ 38176 h 69988"/>
                <a:gd name="connsiteX95" fmla="*/ 9990 w 69978"/>
                <a:gd name="connsiteY95" fmla="*/ 36928 h 69988"/>
                <a:gd name="connsiteX96" fmla="*/ 6159 w 69978"/>
                <a:gd name="connsiteY96" fmla="*/ 35083 h 6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69978" h="69988">
                  <a:moveTo>
                    <a:pt x="9953" y="48904"/>
                  </a:moveTo>
                  <a:lnTo>
                    <a:pt x="7318" y="56518"/>
                  </a:lnTo>
                  <a:lnTo>
                    <a:pt x="13160" y="62375"/>
                  </a:lnTo>
                  <a:lnTo>
                    <a:pt x="20773" y="60032"/>
                  </a:lnTo>
                  <a:cubicBezTo>
                    <a:pt x="22791" y="61210"/>
                    <a:pt x="24964" y="62097"/>
                    <a:pt x="27230" y="62667"/>
                  </a:cubicBezTo>
                  <a:lnTo>
                    <a:pt x="30739" y="69988"/>
                  </a:lnTo>
                  <a:lnTo>
                    <a:pt x="38936" y="69988"/>
                  </a:lnTo>
                  <a:lnTo>
                    <a:pt x="42158" y="62959"/>
                  </a:lnTo>
                  <a:cubicBezTo>
                    <a:pt x="44424" y="62389"/>
                    <a:pt x="46598" y="61502"/>
                    <a:pt x="48615" y="60324"/>
                  </a:cubicBezTo>
                  <a:lnTo>
                    <a:pt x="56225" y="62959"/>
                  </a:lnTo>
                  <a:lnTo>
                    <a:pt x="62068" y="57117"/>
                  </a:lnTo>
                  <a:lnTo>
                    <a:pt x="59734" y="49489"/>
                  </a:lnTo>
                  <a:cubicBezTo>
                    <a:pt x="60910" y="47476"/>
                    <a:pt x="61797" y="45307"/>
                    <a:pt x="62369" y="43047"/>
                  </a:cubicBezTo>
                  <a:lnTo>
                    <a:pt x="69687" y="39532"/>
                  </a:lnTo>
                  <a:lnTo>
                    <a:pt x="69979" y="30748"/>
                  </a:lnTo>
                  <a:lnTo>
                    <a:pt x="62652" y="27249"/>
                  </a:lnTo>
                  <a:cubicBezTo>
                    <a:pt x="62080" y="24984"/>
                    <a:pt x="61193" y="22810"/>
                    <a:pt x="60017" y="20792"/>
                  </a:cubicBezTo>
                  <a:lnTo>
                    <a:pt x="62652" y="13179"/>
                  </a:lnTo>
                  <a:lnTo>
                    <a:pt x="56810" y="7321"/>
                  </a:lnTo>
                  <a:lnTo>
                    <a:pt x="49197" y="9956"/>
                  </a:lnTo>
                  <a:cubicBezTo>
                    <a:pt x="47183" y="8781"/>
                    <a:pt x="45015" y="7894"/>
                    <a:pt x="42755" y="7321"/>
                  </a:cubicBezTo>
                  <a:lnTo>
                    <a:pt x="39243" y="0"/>
                  </a:lnTo>
                  <a:lnTo>
                    <a:pt x="30739" y="0"/>
                  </a:lnTo>
                  <a:lnTo>
                    <a:pt x="27227" y="7321"/>
                  </a:lnTo>
                  <a:cubicBezTo>
                    <a:pt x="24962" y="7892"/>
                    <a:pt x="22788" y="8779"/>
                    <a:pt x="20770" y="9956"/>
                  </a:cubicBezTo>
                  <a:lnTo>
                    <a:pt x="13157" y="7321"/>
                  </a:lnTo>
                  <a:lnTo>
                    <a:pt x="7315" y="13179"/>
                  </a:lnTo>
                  <a:lnTo>
                    <a:pt x="9953" y="20792"/>
                  </a:lnTo>
                  <a:cubicBezTo>
                    <a:pt x="8776" y="22804"/>
                    <a:pt x="7889" y="24973"/>
                    <a:pt x="7318" y="27233"/>
                  </a:cubicBezTo>
                  <a:lnTo>
                    <a:pt x="0" y="30748"/>
                  </a:lnTo>
                  <a:lnTo>
                    <a:pt x="0" y="38948"/>
                  </a:lnTo>
                  <a:lnTo>
                    <a:pt x="7318" y="42463"/>
                  </a:lnTo>
                  <a:cubicBezTo>
                    <a:pt x="7889" y="44723"/>
                    <a:pt x="8776" y="46892"/>
                    <a:pt x="9953" y="48904"/>
                  </a:cubicBezTo>
                  <a:close/>
                  <a:moveTo>
                    <a:pt x="6150" y="34628"/>
                  </a:moveTo>
                  <a:lnTo>
                    <a:pt x="9981" y="32783"/>
                  </a:lnTo>
                  <a:lnTo>
                    <a:pt x="12585" y="31535"/>
                  </a:lnTo>
                  <a:lnTo>
                    <a:pt x="13283" y="28731"/>
                  </a:lnTo>
                  <a:cubicBezTo>
                    <a:pt x="13717" y="27016"/>
                    <a:pt x="14394" y="25371"/>
                    <a:pt x="15294" y="23848"/>
                  </a:cubicBezTo>
                  <a:lnTo>
                    <a:pt x="16678" y="21425"/>
                  </a:lnTo>
                  <a:lnTo>
                    <a:pt x="15755" y="18787"/>
                  </a:lnTo>
                  <a:lnTo>
                    <a:pt x="14378" y="14811"/>
                  </a:lnTo>
                  <a:lnTo>
                    <a:pt x="14790" y="14399"/>
                  </a:lnTo>
                  <a:lnTo>
                    <a:pt x="18765" y="15774"/>
                  </a:lnTo>
                  <a:lnTo>
                    <a:pt x="21404" y="16696"/>
                  </a:lnTo>
                  <a:lnTo>
                    <a:pt x="23826" y="15312"/>
                  </a:lnTo>
                  <a:cubicBezTo>
                    <a:pt x="25350" y="14413"/>
                    <a:pt x="26994" y="13736"/>
                    <a:pt x="28709" y="13302"/>
                  </a:cubicBezTo>
                  <a:lnTo>
                    <a:pt x="31510" y="12600"/>
                  </a:lnTo>
                  <a:lnTo>
                    <a:pt x="32762" y="9996"/>
                  </a:lnTo>
                  <a:lnTo>
                    <a:pt x="34607" y="6165"/>
                  </a:lnTo>
                  <a:lnTo>
                    <a:pt x="35357" y="6165"/>
                  </a:lnTo>
                  <a:lnTo>
                    <a:pt x="37202" y="9996"/>
                  </a:lnTo>
                  <a:lnTo>
                    <a:pt x="38453" y="12600"/>
                  </a:lnTo>
                  <a:lnTo>
                    <a:pt x="41254" y="13302"/>
                  </a:lnTo>
                  <a:cubicBezTo>
                    <a:pt x="42969" y="13736"/>
                    <a:pt x="44614" y="14413"/>
                    <a:pt x="46137" y="15312"/>
                  </a:cubicBezTo>
                  <a:lnTo>
                    <a:pt x="48560" y="16696"/>
                  </a:lnTo>
                  <a:lnTo>
                    <a:pt x="51198" y="15774"/>
                  </a:lnTo>
                  <a:lnTo>
                    <a:pt x="55174" y="14399"/>
                  </a:lnTo>
                  <a:lnTo>
                    <a:pt x="55583" y="14811"/>
                  </a:lnTo>
                  <a:lnTo>
                    <a:pt x="54199" y="18781"/>
                  </a:lnTo>
                  <a:lnTo>
                    <a:pt x="53277" y="21419"/>
                  </a:lnTo>
                  <a:lnTo>
                    <a:pt x="54660" y="23842"/>
                  </a:lnTo>
                  <a:cubicBezTo>
                    <a:pt x="55558" y="25366"/>
                    <a:pt x="56235" y="27010"/>
                    <a:pt x="56671" y="28725"/>
                  </a:cubicBezTo>
                  <a:lnTo>
                    <a:pt x="57369" y="31529"/>
                  </a:lnTo>
                  <a:lnTo>
                    <a:pt x="59974" y="32777"/>
                  </a:lnTo>
                  <a:lnTo>
                    <a:pt x="63663" y="34554"/>
                  </a:lnTo>
                  <a:lnTo>
                    <a:pt x="63630" y="35603"/>
                  </a:lnTo>
                  <a:lnTo>
                    <a:pt x="59669" y="37503"/>
                  </a:lnTo>
                  <a:lnTo>
                    <a:pt x="57065" y="38755"/>
                  </a:lnTo>
                  <a:lnTo>
                    <a:pt x="56364" y="41556"/>
                  </a:lnTo>
                  <a:cubicBezTo>
                    <a:pt x="55932" y="43271"/>
                    <a:pt x="55255" y="44915"/>
                    <a:pt x="54356" y="46438"/>
                  </a:cubicBezTo>
                  <a:lnTo>
                    <a:pt x="53034" y="48751"/>
                  </a:lnTo>
                  <a:lnTo>
                    <a:pt x="53818" y="51297"/>
                  </a:lnTo>
                  <a:lnTo>
                    <a:pt x="55072" y="55374"/>
                  </a:lnTo>
                  <a:lnTo>
                    <a:pt x="54556" y="55890"/>
                  </a:lnTo>
                  <a:lnTo>
                    <a:pt x="50583" y="54513"/>
                  </a:lnTo>
                  <a:lnTo>
                    <a:pt x="47945" y="53590"/>
                  </a:lnTo>
                  <a:lnTo>
                    <a:pt x="45519" y="54977"/>
                  </a:lnTo>
                  <a:cubicBezTo>
                    <a:pt x="43996" y="55875"/>
                    <a:pt x="42353" y="56550"/>
                    <a:pt x="40639" y="56985"/>
                  </a:cubicBezTo>
                  <a:lnTo>
                    <a:pt x="37771" y="57701"/>
                  </a:lnTo>
                  <a:lnTo>
                    <a:pt x="36541" y="60389"/>
                  </a:lnTo>
                  <a:lnTo>
                    <a:pt x="34991" y="63839"/>
                  </a:lnTo>
                  <a:lnTo>
                    <a:pt x="34610" y="63839"/>
                  </a:lnTo>
                  <a:lnTo>
                    <a:pt x="32765" y="60007"/>
                  </a:lnTo>
                  <a:lnTo>
                    <a:pt x="31513" y="57403"/>
                  </a:lnTo>
                  <a:lnTo>
                    <a:pt x="28712" y="56702"/>
                  </a:lnTo>
                  <a:cubicBezTo>
                    <a:pt x="26997" y="56268"/>
                    <a:pt x="25353" y="55591"/>
                    <a:pt x="23830" y="54691"/>
                  </a:cubicBezTo>
                  <a:lnTo>
                    <a:pt x="21517" y="53369"/>
                  </a:lnTo>
                  <a:lnTo>
                    <a:pt x="18971" y="54153"/>
                  </a:lnTo>
                  <a:lnTo>
                    <a:pt x="14897" y="55408"/>
                  </a:lnTo>
                  <a:lnTo>
                    <a:pt x="14381" y="54891"/>
                  </a:lnTo>
                  <a:lnTo>
                    <a:pt x="15764" y="50925"/>
                  </a:lnTo>
                  <a:lnTo>
                    <a:pt x="16687" y="48286"/>
                  </a:lnTo>
                  <a:lnTo>
                    <a:pt x="15303" y="45863"/>
                  </a:lnTo>
                  <a:cubicBezTo>
                    <a:pt x="14404" y="44340"/>
                    <a:pt x="13727" y="42695"/>
                    <a:pt x="13292" y="40981"/>
                  </a:cubicBezTo>
                  <a:lnTo>
                    <a:pt x="12594" y="38176"/>
                  </a:lnTo>
                  <a:lnTo>
                    <a:pt x="9990" y="36928"/>
                  </a:lnTo>
                  <a:lnTo>
                    <a:pt x="6159" y="35083"/>
                  </a:lnTo>
                  <a:close/>
                </a:path>
              </a:pathLst>
            </a:custGeom>
            <a:grpFill/>
            <a:ln w="2977" cap="flat">
              <a:noFill/>
              <a:prstDash val="solid"/>
              <a:miter/>
            </a:ln>
          </p:spPr>
          <p:txBody>
            <a:bodyPr rtlCol="0" anchor="ctr"/>
            <a:lstStyle/>
            <a:p>
              <a:endParaRPr lang="en-IN"/>
            </a:p>
          </p:txBody>
        </p:sp>
        <p:sp>
          <p:nvSpPr>
            <p:cNvPr id="98" name="Freeform: Shape 97">
              <a:extLst>
                <a:ext uri="{FF2B5EF4-FFF2-40B4-BE49-F238E27FC236}">
                  <a16:creationId xmlns:a16="http://schemas.microsoft.com/office/drawing/2014/main" id="{70CD0CE9-4E0B-B08B-832A-9C4A5C91BC93}"/>
                </a:ext>
              </a:extLst>
            </p:cNvPr>
            <p:cNvSpPr/>
            <p:nvPr/>
          </p:nvSpPr>
          <p:spPr>
            <a:xfrm>
              <a:off x="10115642" y="1343440"/>
              <a:ext cx="69972" cy="69696"/>
            </a:xfrm>
            <a:custGeom>
              <a:avLst/>
              <a:gdLst>
                <a:gd name="connsiteX0" fmla="*/ 9953 w 69972"/>
                <a:gd name="connsiteY0" fmla="*/ 48904 h 69696"/>
                <a:gd name="connsiteX1" fmla="*/ 7318 w 69972"/>
                <a:gd name="connsiteY1" fmla="*/ 56518 h 69696"/>
                <a:gd name="connsiteX2" fmla="*/ 13160 w 69972"/>
                <a:gd name="connsiteY2" fmla="*/ 62375 h 69696"/>
                <a:gd name="connsiteX3" fmla="*/ 20773 w 69972"/>
                <a:gd name="connsiteY3" fmla="*/ 59740 h 69696"/>
                <a:gd name="connsiteX4" fmla="*/ 27215 w 69972"/>
                <a:gd name="connsiteY4" fmla="*/ 62375 h 69696"/>
                <a:gd name="connsiteX5" fmla="*/ 30726 w 69972"/>
                <a:gd name="connsiteY5" fmla="*/ 69696 h 69696"/>
                <a:gd name="connsiteX6" fmla="*/ 38924 w 69972"/>
                <a:gd name="connsiteY6" fmla="*/ 69696 h 69696"/>
                <a:gd name="connsiteX7" fmla="*/ 42438 w 69972"/>
                <a:gd name="connsiteY7" fmla="*/ 62667 h 69696"/>
                <a:gd name="connsiteX8" fmla="*/ 48895 w 69972"/>
                <a:gd name="connsiteY8" fmla="*/ 60032 h 69696"/>
                <a:gd name="connsiteX9" fmla="*/ 56505 w 69972"/>
                <a:gd name="connsiteY9" fmla="*/ 62667 h 69696"/>
                <a:gd name="connsiteX10" fmla="*/ 62363 w 69972"/>
                <a:gd name="connsiteY10" fmla="*/ 56810 h 69696"/>
                <a:gd name="connsiteX11" fmla="*/ 59728 w 69972"/>
                <a:gd name="connsiteY11" fmla="*/ 49197 h 69696"/>
                <a:gd name="connsiteX12" fmla="*/ 62655 w 69972"/>
                <a:gd name="connsiteY12" fmla="*/ 42755 h 69696"/>
                <a:gd name="connsiteX13" fmla="*/ 69973 w 69972"/>
                <a:gd name="connsiteY13" fmla="*/ 39240 h 69696"/>
                <a:gd name="connsiteX14" fmla="*/ 69973 w 69972"/>
                <a:gd name="connsiteY14" fmla="*/ 30456 h 69696"/>
                <a:gd name="connsiteX15" fmla="*/ 62655 w 69972"/>
                <a:gd name="connsiteY15" fmla="*/ 26941 h 69696"/>
                <a:gd name="connsiteX16" fmla="*/ 60020 w 69972"/>
                <a:gd name="connsiteY16" fmla="*/ 20500 h 69696"/>
                <a:gd name="connsiteX17" fmla="*/ 62655 w 69972"/>
                <a:gd name="connsiteY17" fmla="*/ 12883 h 69696"/>
                <a:gd name="connsiteX18" fmla="*/ 56813 w 69972"/>
                <a:gd name="connsiteY18" fmla="*/ 7041 h 69696"/>
                <a:gd name="connsiteX19" fmla="*/ 49200 w 69972"/>
                <a:gd name="connsiteY19" fmla="*/ 9676 h 69696"/>
                <a:gd name="connsiteX20" fmla="*/ 42758 w 69972"/>
                <a:gd name="connsiteY20" fmla="*/ 7041 h 69696"/>
                <a:gd name="connsiteX21" fmla="*/ 39231 w 69972"/>
                <a:gd name="connsiteY21" fmla="*/ 0 h 69696"/>
                <a:gd name="connsiteX22" fmla="*/ 31034 w 69972"/>
                <a:gd name="connsiteY22" fmla="*/ 0 h 69696"/>
                <a:gd name="connsiteX23" fmla="*/ 27519 w 69972"/>
                <a:gd name="connsiteY23" fmla="*/ 7321 h 69696"/>
                <a:gd name="connsiteX24" fmla="*/ 21062 w 69972"/>
                <a:gd name="connsiteY24" fmla="*/ 9956 h 69696"/>
                <a:gd name="connsiteX25" fmla="*/ 13452 w 69972"/>
                <a:gd name="connsiteY25" fmla="*/ 7321 h 69696"/>
                <a:gd name="connsiteX26" fmla="*/ 7610 w 69972"/>
                <a:gd name="connsiteY26" fmla="*/ 13179 h 69696"/>
                <a:gd name="connsiteX27" fmla="*/ 9953 w 69972"/>
                <a:gd name="connsiteY27" fmla="*/ 20792 h 69696"/>
                <a:gd name="connsiteX28" fmla="*/ 7318 w 69972"/>
                <a:gd name="connsiteY28" fmla="*/ 27233 h 69696"/>
                <a:gd name="connsiteX29" fmla="*/ 0 w 69972"/>
                <a:gd name="connsiteY29" fmla="*/ 30748 h 69696"/>
                <a:gd name="connsiteX30" fmla="*/ 0 w 69972"/>
                <a:gd name="connsiteY30" fmla="*/ 38948 h 69696"/>
                <a:gd name="connsiteX31" fmla="*/ 7318 w 69972"/>
                <a:gd name="connsiteY31" fmla="*/ 42463 h 69696"/>
                <a:gd name="connsiteX32" fmla="*/ 9953 w 69972"/>
                <a:gd name="connsiteY32" fmla="*/ 48904 h 69696"/>
                <a:gd name="connsiteX33" fmla="*/ 6150 w 69972"/>
                <a:gd name="connsiteY33" fmla="*/ 34616 h 69696"/>
                <a:gd name="connsiteX34" fmla="*/ 9981 w 69972"/>
                <a:gd name="connsiteY34" fmla="*/ 32771 h 69696"/>
                <a:gd name="connsiteX35" fmla="*/ 12585 w 69972"/>
                <a:gd name="connsiteY35" fmla="*/ 31523 h 69696"/>
                <a:gd name="connsiteX36" fmla="*/ 13283 w 69972"/>
                <a:gd name="connsiteY36" fmla="*/ 28718 h 69696"/>
                <a:gd name="connsiteX37" fmla="*/ 15294 w 69972"/>
                <a:gd name="connsiteY37" fmla="*/ 23836 h 69696"/>
                <a:gd name="connsiteX38" fmla="*/ 16613 w 69972"/>
                <a:gd name="connsiteY38" fmla="*/ 21523 h 69696"/>
                <a:gd name="connsiteX39" fmla="*/ 15832 w 69972"/>
                <a:gd name="connsiteY39" fmla="*/ 18978 h 69696"/>
                <a:gd name="connsiteX40" fmla="*/ 14578 w 69972"/>
                <a:gd name="connsiteY40" fmla="*/ 14900 h 69696"/>
                <a:gd name="connsiteX41" fmla="*/ 15094 w 69972"/>
                <a:gd name="connsiteY41" fmla="*/ 14387 h 69696"/>
                <a:gd name="connsiteX42" fmla="*/ 19067 w 69972"/>
                <a:gd name="connsiteY42" fmla="*/ 15761 h 69696"/>
                <a:gd name="connsiteX43" fmla="*/ 21705 w 69972"/>
                <a:gd name="connsiteY43" fmla="*/ 16684 h 69696"/>
                <a:gd name="connsiteX44" fmla="*/ 24131 w 69972"/>
                <a:gd name="connsiteY44" fmla="*/ 15300 h 69696"/>
                <a:gd name="connsiteX45" fmla="*/ 29011 w 69972"/>
                <a:gd name="connsiteY45" fmla="*/ 13289 h 69696"/>
                <a:gd name="connsiteX46" fmla="*/ 31815 w 69972"/>
                <a:gd name="connsiteY46" fmla="*/ 12588 h 69696"/>
                <a:gd name="connsiteX47" fmla="*/ 33063 w 69972"/>
                <a:gd name="connsiteY47" fmla="*/ 9984 h 69696"/>
                <a:gd name="connsiteX48" fmla="*/ 34908 w 69972"/>
                <a:gd name="connsiteY48" fmla="*/ 6153 h 69696"/>
                <a:gd name="connsiteX49" fmla="*/ 35437 w 69972"/>
                <a:gd name="connsiteY49" fmla="*/ 6153 h 69696"/>
                <a:gd name="connsiteX50" fmla="*/ 37251 w 69972"/>
                <a:gd name="connsiteY50" fmla="*/ 9781 h 69696"/>
                <a:gd name="connsiteX51" fmla="*/ 38512 w 69972"/>
                <a:gd name="connsiteY51" fmla="*/ 12299 h 69696"/>
                <a:gd name="connsiteX52" fmla="*/ 41254 w 69972"/>
                <a:gd name="connsiteY52" fmla="*/ 12985 h 69696"/>
                <a:gd name="connsiteX53" fmla="*/ 46137 w 69972"/>
                <a:gd name="connsiteY53" fmla="*/ 14993 h 69696"/>
                <a:gd name="connsiteX54" fmla="*/ 48560 w 69972"/>
                <a:gd name="connsiteY54" fmla="*/ 16379 h 69696"/>
                <a:gd name="connsiteX55" fmla="*/ 51198 w 69972"/>
                <a:gd name="connsiteY55" fmla="*/ 15457 h 69696"/>
                <a:gd name="connsiteX56" fmla="*/ 55174 w 69972"/>
                <a:gd name="connsiteY56" fmla="*/ 14079 h 69696"/>
                <a:gd name="connsiteX57" fmla="*/ 55583 w 69972"/>
                <a:gd name="connsiteY57" fmla="*/ 14491 h 69696"/>
                <a:gd name="connsiteX58" fmla="*/ 54193 w 69972"/>
                <a:gd name="connsiteY58" fmla="*/ 18489 h 69696"/>
                <a:gd name="connsiteX59" fmla="*/ 53271 w 69972"/>
                <a:gd name="connsiteY59" fmla="*/ 21124 h 69696"/>
                <a:gd name="connsiteX60" fmla="*/ 54654 w 69972"/>
                <a:gd name="connsiteY60" fmla="*/ 23550 h 69696"/>
                <a:gd name="connsiteX61" fmla="*/ 56665 w 69972"/>
                <a:gd name="connsiteY61" fmla="*/ 28433 h 69696"/>
                <a:gd name="connsiteX62" fmla="*/ 57363 w 69972"/>
                <a:gd name="connsiteY62" fmla="*/ 31234 h 69696"/>
                <a:gd name="connsiteX63" fmla="*/ 59967 w 69972"/>
                <a:gd name="connsiteY63" fmla="*/ 32485 h 69696"/>
                <a:gd name="connsiteX64" fmla="*/ 63799 w 69972"/>
                <a:gd name="connsiteY64" fmla="*/ 34330 h 69696"/>
                <a:gd name="connsiteX65" fmla="*/ 63799 w 69972"/>
                <a:gd name="connsiteY65" fmla="*/ 35360 h 69696"/>
                <a:gd name="connsiteX66" fmla="*/ 59967 w 69972"/>
                <a:gd name="connsiteY66" fmla="*/ 37205 h 69696"/>
                <a:gd name="connsiteX67" fmla="*/ 57363 w 69972"/>
                <a:gd name="connsiteY67" fmla="*/ 38453 h 69696"/>
                <a:gd name="connsiteX68" fmla="*/ 56665 w 69972"/>
                <a:gd name="connsiteY68" fmla="*/ 41257 h 69696"/>
                <a:gd name="connsiteX69" fmla="*/ 54362 w 69972"/>
                <a:gd name="connsiteY69" fmla="*/ 46140 h 69696"/>
                <a:gd name="connsiteX70" fmla="*/ 52978 w 69972"/>
                <a:gd name="connsiteY70" fmla="*/ 48563 h 69696"/>
                <a:gd name="connsiteX71" fmla="*/ 53901 w 69972"/>
                <a:gd name="connsiteY71" fmla="*/ 51201 h 69696"/>
                <a:gd name="connsiteX72" fmla="*/ 55275 w 69972"/>
                <a:gd name="connsiteY72" fmla="*/ 55177 h 69696"/>
                <a:gd name="connsiteX73" fmla="*/ 54863 w 69972"/>
                <a:gd name="connsiteY73" fmla="*/ 55589 h 69696"/>
                <a:gd name="connsiteX74" fmla="*/ 50891 w 69972"/>
                <a:gd name="connsiteY74" fmla="*/ 54215 h 69696"/>
                <a:gd name="connsiteX75" fmla="*/ 48253 w 69972"/>
                <a:gd name="connsiteY75" fmla="*/ 53292 h 69696"/>
                <a:gd name="connsiteX76" fmla="*/ 45827 w 69972"/>
                <a:gd name="connsiteY76" fmla="*/ 54676 h 69696"/>
                <a:gd name="connsiteX77" fmla="*/ 40947 w 69972"/>
                <a:gd name="connsiteY77" fmla="*/ 56687 h 69696"/>
                <a:gd name="connsiteX78" fmla="*/ 38201 w 69972"/>
                <a:gd name="connsiteY78" fmla="*/ 57372 h 69696"/>
                <a:gd name="connsiteX79" fmla="*/ 36937 w 69972"/>
                <a:gd name="connsiteY79" fmla="*/ 59903 h 69696"/>
                <a:gd name="connsiteX80" fmla="*/ 35123 w 69972"/>
                <a:gd name="connsiteY80" fmla="*/ 63531 h 69696"/>
                <a:gd name="connsiteX81" fmla="*/ 34597 w 69972"/>
                <a:gd name="connsiteY81" fmla="*/ 63531 h 69696"/>
                <a:gd name="connsiteX82" fmla="*/ 32753 w 69972"/>
                <a:gd name="connsiteY82" fmla="*/ 59697 h 69696"/>
                <a:gd name="connsiteX83" fmla="*/ 31501 w 69972"/>
                <a:gd name="connsiteY83" fmla="*/ 57093 h 69696"/>
                <a:gd name="connsiteX84" fmla="*/ 28700 w 69972"/>
                <a:gd name="connsiteY84" fmla="*/ 56391 h 69696"/>
                <a:gd name="connsiteX85" fmla="*/ 23817 w 69972"/>
                <a:gd name="connsiteY85" fmla="*/ 54384 h 69696"/>
                <a:gd name="connsiteX86" fmla="*/ 21394 w 69972"/>
                <a:gd name="connsiteY86" fmla="*/ 53000 h 69696"/>
                <a:gd name="connsiteX87" fmla="*/ 18756 w 69972"/>
                <a:gd name="connsiteY87" fmla="*/ 53922 h 69696"/>
                <a:gd name="connsiteX88" fmla="*/ 14780 w 69972"/>
                <a:gd name="connsiteY88" fmla="*/ 55297 h 69696"/>
                <a:gd name="connsiteX89" fmla="*/ 14372 w 69972"/>
                <a:gd name="connsiteY89" fmla="*/ 54885 h 69696"/>
                <a:gd name="connsiteX90" fmla="*/ 15746 w 69972"/>
                <a:gd name="connsiteY90" fmla="*/ 50909 h 69696"/>
                <a:gd name="connsiteX91" fmla="*/ 16668 w 69972"/>
                <a:gd name="connsiteY91" fmla="*/ 48271 h 69696"/>
                <a:gd name="connsiteX92" fmla="*/ 15285 w 69972"/>
                <a:gd name="connsiteY92" fmla="*/ 45848 h 69696"/>
                <a:gd name="connsiteX93" fmla="*/ 13274 w 69972"/>
                <a:gd name="connsiteY93" fmla="*/ 40965 h 69696"/>
                <a:gd name="connsiteX94" fmla="*/ 12576 w 69972"/>
                <a:gd name="connsiteY94" fmla="*/ 38161 h 69696"/>
                <a:gd name="connsiteX95" fmla="*/ 9972 w 69972"/>
                <a:gd name="connsiteY95" fmla="*/ 36913 h 69696"/>
                <a:gd name="connsiteX96" fmla="*/ 6140 w 69972"/>
                <a:gd name="connsiteY96" fmla="*/ 35068 h 6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69972" h="69696">
                  <a:moveTo>
                    <a:pt x="9953" y="48904"/>
                  </a:moveTo>
                  <a:lnTo>
                    <a:pt x="7318" y="56518"/>
                  </a:lnTo>
                  <a:lnTo>
                    <a:pt x="13160" y="62375"/>
                  </a:lnTo>
                  <a:lnTo>
                    <a:pt x="20773" y="59740"/>
                  </a:lnTo>
                  <a:cubicBezTo>
                    <a:pt x="22787" y="60915"/>
                    <a:pt x="24955" y="61802"/>
                    <a:pt x="27215" y="62375"/>
                  </a:cubicBezTo>
                  <a:lnTo>
                    <a:pt x="30726" y="69696"/>
                  </a:lnTo>
                  <a:lnTo>
                    <a:pt x="38924" y="69696"/>
                  </a:lnTo>
                  <a:lnTo>
                    <a:pt x="42438" y="62667"/>
                  </a:lnTo>
                  <a:cubicBezTo>
                    <a:pt x="44703" y="62096"/>
                    <a:pt x="46877" y="61209"/>
                    <a:pt x="48895" y="60032"/>
                  </a:cubicBezTo>
                  <a:lnTo>
                    <a:pt x="56505" y="62667"/>
                  </a:lnTo>
                  <a:lnTo>
                    <a:pt x="62363" y="56810"/>
                  </a:lnTo>
                  <a:lnTo>
                    <a:pt x="59728" y="49197"/>
                  </a:lnTo>
                  <a:cubicBezTo>
                    <a:pt x="60996" y="47195"/>
                    <a:pt x="61981" y="45027"/>
                    <a:pt x="62655" y="42755"/>
                  </a:cubicBezTo>
                  <a:lnTo>
                    <a:pt x="69973" y="39240"/>
                  </a:lnTo>
                  <a:lnTo>
                    <a:pt x="69973" y="30456"/>
                  </a:lnTo>
                  <a:lnTo>
                    <a:pt x="62655" y="26941"/>
                  </a:lnTo>
                  <a:cubicBezTo>
                    <a:pt x="62083" y="24681"/>
                    <a:pt x="61196" y="22513"/>
                    <a:pt x="60020" y="20500"/>
                  </a:cubicBezTo>
                  <a:lnTo>
                    <a:pt x="62655" y="12883"/>
                  </a:lnTo>
                  <a:lnTo>
                    <a:pt x="56813" y="7041"/>
                  </a:lnTo>
                  <a:lnTo>
                    <a:pt x="49200" y="9676"/>
                  </a:lnTo>
                  <a:cubicBezTo>
                    <a:pt x="47187" y="8500"/>
                    <a:pt x="45018" y="7613"/>
                    <a:pt x="42758" y="7041"/>
                  </a:cubicBezTo>
                  <a:lnTo>
                    <a:pt x="39231" y="0"/>
                  </a:lnTo>
                  <a:lnTo>
                    <a:pt x="31034" y="0"/>
                  </a:lnTo>
                  <a:lnTo>
                    <a:pt x="27519" y="7321"/>
                  </a:lnTo>
                  <a:cubicBezTo>
                    <a:pt x="25253" y="7891"/>
                    <a:pt x="23080" y="8778"/>
                    <a:pt x="21062" y="9956"/>
                  </a:cubicBezTo>
                  <a:lnTo>
                    <a:pt x="13452" y="7321"/>
                  </a:lnTo>
                  <a:lnTo>
                    <a:pt x="7610" y="13179"/>
                  </a:lnTo>
                  <a:lnTo>
                    <a:pt x="9953" y="20792"/>
                  </a:lnTo>
                  <a:cubicBezTo>
                    <a:pt x="8778" y="22805"/>
                    <a:pt x="7891" y="24973"/>
                    <a:pt x="7318" y="27233"/>
                  </a:cubicBezTo>
                  <a:lnTo>
                    <a:pt x="0" y="30748"/>
                  </a:lnTo>
                  <a:lnTo>
                    <a:pt x="0" y="38948"/>
                  </a:lnTo>
                  <a:lnTo>
                    <a:pt x="7318" y="42463"/>
                  </a:lnTo>
                  <a:cubicBezTo>
                    <a:pt x="7891" y="44722"/>
                    <a:pt x="8778" y="46891"/>
                    <a:pt x="9953" y="48904"/>
                  </a:cubicBezTo>
                  <a:close/>
                  <a:moveTo>
                    <a:pt x="6150" y="34616"/>
                  </a:moveTo>
                  <a:lnTo>
                    <a:pt x="9981" y="32771"/>
                  </a:lnTo>
                  <a:lnTo>
                    <a:pt x="12585" y="31523"/>
                  </a:lnTo>
                  <a:lnTo>
                    <a:pt x="13283" y="28718"/>
                  </a:lnTo>
                  <a:cubicBezTo>
                    <a:pt x="13718" y="27004"/>
                    <a:pt x="14396" y="25360"/>
                    <a:pt x="15294" y="23836"/>
                  </a:cubicBezTo>
                  <a:lnTo>
                    <a:pt x="16613" y="21523"/>
                  </a:lnTo>
                  <a:lnTo>
                    <a:pt x="15832" y="18978"/>
                  </a:lnTo>
                  <a:lnTo>
                    <a:pt x="14578" y="14900"/>
                  </a:lnTo>
                  <a:lnTo>
                    <a:pt x="15094" y="14387"/>
                  </a:lnTo>
                  <a:lnTo>
                    <a:pt x="19067" y="15761"/>
                  </a:lnTo>
                  <a:lnTo>
                    <a:pt x="21705" y="16684"/>
                  </a:lnTo>
                  <a:lnTo>
                    <a:pt x="24131" y="15300"/>
                  </a:lnTo>
                  <a:cubicBezTo>
                    <a:pt x="25653" y="14400"/>
                    <a:pt x="27296" y="13723"/>
                    <a:pt x="29011" y="13289"/>
                  </a:cubicBezTo>
                  <a:lnTo>
                    <a:pt x="31815" y="12588"/>
                  </a:lnTo>
                  <a:lnTo>
                    <a:pt x="33063" y="9984"/>
                  </a:lnTo>
                  <a:lnTo>
                    <a:pt x="34908" y="6153"/>
                  </a:lnTo>
                  <a:lnTo>
                    <a:pt x="35437" y="6153"/>
                  </a:lnTo>
                  <a:lnTo>
                    <a:pt x="37251" y="9781"/>
                  </a:lnTo>
                  <a:lnTo>
                    <a:pt x="38512" y="12299"/>
                  </a:lnTo>
                  <a:lnTo>
                    <a:pt x="41254" y="12985"/>
                  </a:lnTo>
                  <a:cubicBezTo>
                    <a:pt x="42969" y="13419"/>
                    <a:pt x="44613" y="14095"/>
                    <a:pt x="46137" y="14993"/>
                  </a:cubicBezTo>
                  <a:lnTo>
                    <a:pt x="48560" y="16379"/>
                  </a:lnTo>
                  <a:lnTo>
                    <a:pt x="51198" y="15457"/>
                  </a:lnTo>
                  <a:lnTo>
                    <a:pt x="55174" y="14079"/>
                  </a:lnTo>
                  <a:lnTo>
                    <a:pt x="55583" y="14491"/>
                  </a:lnTo>
                  <a:lnTo>
                    <a:pt x="54193" y="18489"/>
                  </a:lnTo>
                  <a:lnTo>
                    <a:pt x="53271" y="21124"/>
                  </a:lnTo>
                  <a:lnTo>
                    <a:pt x="54654" y="23550"/>
                  </a:lnTo>
                  <a:cubicBezTo>
                    <a:pt x="55553" y="25074"/>
                    <a:pt x="56230" y="26718"/>
                    <a:pt x="56665" y="28433"/>
                  </a:cubicBezTo>
                  <a:lnTo>
                    <a:pt x="57363" y="31234"/>
                  </a:lnTo>
                  <a:lnTo>
                    <a:pt x="59967" y="32485"/>
                  </a:lnTo>
                  <a:lnTo>
                    <a:pt x="63799" y="34330"/>
                  </a:lnTo>
                  <a:lnTo>
                    <a:pt x="63799" y="35360"/>
                  </a:lnTo>
                  <a:lnTo>
                    <a:pt x="59967" y="37205"/>
                  </a:lnTo>
                  <a:lnTo>
                    <a:pt x="57363" y="38453"/>
                  </a:lnTo>
                  <a:lnTo>
                    <a:pt x="56665" y="41257"/>
                  </a:lnTo>
                  <a:cubicBezTo>
                    <a:pt x="56112" y="42978"/>
                    <a:pt x="55338" y="44619"/>
                    <a:pt x="54362" y="46140"/>
                  </a:cubicBezTo>
                  <a:lnTo>
                    <a:pt x="52978" y="48563"/>
                  </a:lnTo>
                  <a:lnTo>
                    <a:pt x="53901" y="51201"/>
                  </a:lnTo>
                  <a:lnTo>
                    <a:pt x="55275" y="55177"/>
                  </a:lnTo>
                  <a:lnTo>
                    <a:pt x="54863" y="55589"/>
                  </a:lnTo>
                  <a:lnTo>
                    <a:pt x="50891" y="54215"/>
                  </a:lnTo>
                  <a:lnTo>
                    <a:pt x="48253" y="53292"/>
                  </a:lnTo>
                  <a:lnTo>
                    <a:pt x="45827" y="54676"/>
                  </a:lnTo>
                  <a:cubicBezTo>
                    <a:pt x="44304" y="55575"/>
                    <a:pt x="42661" y="56253"/>
                    <a:pt x="40947" y="56687"/>
                  </a:cubicBezTo>
                  <a:lnTo>
                    <a:pt x="38201" y="57372"/>
                  </a:lnTo>
                  <a:lnTo>
                    <a:pt x="36937" y="59903"/>
                  </a:lnTo>
                  <a:lnTo>
                    <a:pt x="35123" y="63531"/>
                  </a:lnTo>
                  <a:lnTo>
                    <a:pt x="34597" y="63531"/>
                  </a:lnTo>
                  <a:lnTo>
                    <a:pt x="32753" y="59697"/>
                  </a:lnTo>
                  <a:lnTo>
                    <a:pt x="31501" y="57093"/>
                  </a:lnTo>
                  <a:lnTo>
                    <a:pt x="28700" y="56391"/>
                  </a:lnTo>
                  <a:cubicBezTo>
                    <a:pt x="26985" y="55959"/>
                    <a:pt x="25341" y="55282"/>
                    <a:pt x="23817" y="54384"/>
                  </a:cubicBezTo>
                  <a:lnTo>
                    <a:pt x="21394" y="53000"/>
                  </a:lnTo>
                  <a:lnTo>
                    <a:pt x="18756" y="53922"/>
                  </a:lnTo>
                  <a:lnTo>
                    <a:pt x="14780" y="55297"/>
                  </a:lnTo>
                  <a:lnTo>
                    <a:pt x="14372" y="54885"/>
                  </a:lnTo>
                  <a:lnTo>
                    <a:pt x="15746" y="50909"/>
                  </a:lnTo>
                  <a:lnTo>
                    <a:pt x="16668" y="48271"/>
                  </a:lnTo>
                  <a:lnTo>
                    <a:pt x="15285" y="45848"/>
                  </a:lnTo>
                  <a:cubicBezTo>
                    <a:pt x="14387" y="44324"/>
                    <a:pt x="13710" y="42680"/>
                    <a:pt x="13274" y="40965"/>
                  </a:cubicBezTo>
                  <a:lnTo>
                    <a:pt x="12576" y="38161"/>
                  </a:lnTo>
                  <a:lnTo>
                    <a:pt x="9972" y="36913"/>
                  </a:lnTo>
                  <a:lnTo>
                    <a:pt x="6140" y="35068"/>
                  </a:lnTo>
                  <a:close/>
                </a:path>
              </a:pathLst>
            </a:custGeom>
            <a:grpFill/>
            <a:ln w="2977" cap="flat">
              <a:noFill/>
              <a:prstDash val="solid"/>
              <a:miter/>
            </a:ln>
          </p:spPr>
          <p:txBody>
            <a:bodyPr rtlCol="0" anchor="ctr"/>
            <a:lstStyle/>
            <a:p>
              <a:endParaRPr lang="en-IN"/>
            </a:p>
          </p:txBody>
        </p:sp>
        <p:sp>
          <p:nvSpPr>
            <p:cNvPr id="99" name="Freeform: Shape 98">
              <a:extLst>
                <a:ext uri="{FF2B5EF4-FFF2-40B4-BE49-F238E27FC236}">
                  <a16:creationId xmlns:a16="http://schemas.microsoft.com/office/drawing/2014/main" id="{F31A1AE8-9F4E-5225-5183-187FB45E1E2A}"/>
                </a:ext>
              </a:extLst>
            </p:cNvPr>
            <p:cNvSpPr/>
            <p:nvPr/>
          </p:nvSpPr>
          <p:spPr>
            <a:xfrm>
              <a:off x="10049848" y="1320608"/>
              <a:ext cx="209186" cy="248286"/>
            </a:xfrm>
            <a:custGeom>
              <a:avLst/>
              <a:gdLst>
                <a:gd name="connsiteX0" fmla="*/ 36353 w 209186"/>
                <a:gd name="connsiteY0" fmla="*/ 170473 h 248286"/>
                <a:gd name="connsiteX1" fmla="*/ 36353 w 209186"/>
                <a:gd name="connsiteY1" fmla="*/ 248287 h 248286"/>
                <a:gd name="connsiteX2" fmla="*/ 133516 w 209186"/>
                <a:gd name="connsiteY2" fmla="*/ 248287 h 248286"/>
                <a:gd name="connsiteX3" fmla="*/ 133516 w 209186"/>
                <a:gd name="connsiteY3" fmla="*/ 211389 h 248286"/>
                <a:gd name="connsiteX4" fmla="*/ 148583 w 209186"/>
                <a:gd name="connsiteY4" fmla="*/ 211389 h 248286"/>
                <a:gd name="connsiteX5" fmla="*/ 174411 w 209186"/>
                <a:gd name="connsiteY5" fmla="*/ 200628 h 248286"/>
                <a:gd name="connsiteX6" fmla="*/ 184865 w 209186"/>
                <a:gd name="connsiteY6" fmla="*/ 174492 h 248286"/>
                <a:gd name="connsiteX7" fmla="*/ 184865 w 209186"/>
                <a:gd name="connsiteY7" fmla="*/ 156043 h 248286"/>
                <a:gd name="connsiteX8" fmla="*/ 198394 w 209186"/>
                <a:gd name="connsiteY8" fmla="*/ 156043 h 248286"/>
                <a:gd name="connsiteX9" fmla="*/ 206081 w 209186"/>
                <a:gd name="connsiteY9" fmla="*/ 134520 h 248286"/>
                <a:gd name="connsiteX10" fmla="*/ 184865 w 209186"/>
                <a:gd name="connsiteY10" fmla="*/ 97622 h 248286"/>
                <a:gd name="connsiteX11" fmla="*/ 184865 w 209186"/>
                <a:gd name="connsiteY11" fmla="*/ 96085 h 248286"/>
                <a:gd name="connsiteX12" fmla="*/ 96084 w 209186"/>
                <a:gd name="connsiteY12" fmla="*/ 72 h 248286"/>
                <a:gd name="connsiteX13" fmla="*/ 71 w 209186"/>
                <a:gd name="connsiteY13" fmla="*/ 88853 h 248286"/>
                <a:gd name="connsiteX14" fmla="*/ 71 w 209186"/>
                <a:gd name="connsiteY14" fmla="*/ 96085 h 248286"/>
                <a:gd name="connsiteX15" fmla="*/ 36353 w 209186"/>
                <a:gd name="connsiteY15" fmla="*/ 170473 h 248286"/>
                <a:gd name="connsiteX16" fmla="*/ 48394 w 209186"/>
                <a:gd name="connsiteY16" fmla="*/ 18299 h 248286"/>
                <a:gd name="connsiteX17" fmla="*/ 166690 w 209186"/>
                <a:gd name="connsiteY17" fmla="*/ 48431 h 248286"/>
                <a:gd name="connsiteX18" fmla="*/ 178731 w 209186"/>
                <a:gd name="connsiteY18" fmla="*/ 95821 h 248286"/>
                <a:gd name="connsiteX19" fmla="*/ 178731 w 209186"/>
                <a:gd name="connsiteY19" fmla="*/ 99221 h 248286"/>
                <a:gd name="connsiteX20" fmla="*/ 179549 w 209186"/>
                <a:gd name="connsiteY20" fmla="*/ 100645 h 248286"/>
                <a:gd name="connsiteX21" fmla="*/ 200765 w 209186"/>
                <a:gd name="connsiteY21" fmla="*/ 137542 h 248286"/>
                <a:gd name="connsiteX22" fmla="*/ 200848 w 209186"/>
                <a:gd name="connsiteY22" fmla="*/ 137684 h 248286"/>
                <a:gd name="connsiteX23" fmla="*/ 200937 w 209186"/>
                <a:gd name="connsiteY23" fmla="*/ 137822 h 248286"/>
                <a:gd name="connsiteX24" fmla="*/ 202493 w 209186"/>
                <a:gd name="connsiteY24" fmla="*/ 146465 h 248286"/>
                <a:gd name="connsiteX25" fmla="*/ 197991 w 209186"/>
                <a:gd name="connsiteY25" fmla="*/ 149848 h 248286"/>
                <a:gd name="connsiteX26" fmla="*/ 178716 w 209186"/>
                <a:gd name="connsiteY26" fmla="*/ 149848 h 248286"/>
                <a:gd name="connsiteX27" fmla="*/ 178716 w 209186"/>
                <a:gd name="connsiteY27" fmla="*/ 174446 h 248286"/>
                <a:gd name="connsiteX28" fmla="*/ 170060 w 209186"/>
                <a:gd name="connsiteY28" fmla="*/ 196243 h 248286"/>
                <a:gd name="connsiteX29" fmla="*/ 148583 w 209186"/>
                <a:gd name="connsiteY29" fmla="*/ 205231 h 248286"/>
                <a:gd name="connsiteX30" fmla="*/ 127367 w 209186"/>
                <a:gd name="connsiteY30" fmla="*/ 205231 h 248286"/>
                <a:gd name="connsiteX31" fmla="*/ 127367 w 209186"/>
                <a:gd name="connsiteY31" fmla="*/ 242128 h 248286"/>
                <a:gd name="connsiteX32" fmla="*/ 42503 w 209186"/>
                <a:gd name="connsiteY32" fmla="*/ 242128 h 248286"/>
                <a:gd name="connsiteX33" fmla="*/ 42503 w 209186"/>
                <a:gd name="connsiteY33" fmla="*/ 167457 h 248286"/>
                <a:gd name="connsiteX34" fmla="*/ 40117 w 209186"/>
                <a:gd name="connsiteY34" fmla="*/ 165612 h 248286"/>
                <a:gd name="connsiteX35" fmla="*/ 6220 w 209186"/>
                <a:gd name="connsiteY35" fmla="*/ 96042 h 248286"/>
                <a:gd name="connsiteX36" fmla="*/ 6220 w 209186"/>
                <a:gd name="connsiteY36" fmla="*/ 95931 h 248286"/>
                <a:gd name="connsiteX37" fmla="*/ 6220 w 209186"/>
                <a:gd name="connsiteY37" fmla="*/ 95821 h 248286"/>
                <a:gd name="connsiteX38" fmla="*/ 48397 w 209186"/>
                <a:gd name="connsiteY38" fmla="*/ 18299 h 24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9186" h="248286">
                  <a:moveTo>
                    <a:pt x="36353" y="170473"/>
                  </a:moveTo>
                  <a:lnTo>
                    <a:pt x="36353" y="248287"/>
                  </a:lnTo>
                  <a:lnTo>
                    <a:pt x="133516" y="248287"/>
                  </a:lnTo>
                  <a:lnTo>
                    <a:pt x="133516" y="211389"/>
                  </a:lnTo>
                  <a:lnTo>
                    <a:pt x="148583" y="211389"/>
                  </a:lnTo>
                  <a:cubicBezTo>
                    <a:pt x="158279" y="211372"/>
                    <a:pt x="167571" y="207500"/>
                    <a:pt x="174411" y="200628"/>
                  </a:cubicBezTo>
                  <a:cubicBezTo>
                    <a:pt x="181156" y="193603"/>
                    <a:pt x="184905" y="184231"/>
                    <a:pt x="184865" y="174492"/>
                  </a:cubicBezTo>
                  <a:lnTo>
                    <a:pt x="184865" y="156043"/>
                  </a:lnTo>
                  <a:lnTo>
                    <a:pt x="198394" y="156043"/>
                  </a:lnTo>
                  <a:cubicBezTo>
                    <a:pt x="206389" y="155121"/>
                    <a:pt x="213461" y="145896"/>
                    <a:pt x="206081" y="134520"/>
                  </a:cubicBezTo>
                  <a:lnTo>
                    <a:pt x="184865" y="97622"/>
                  </a:lnTo>
                  <a:lnTo>
                    <a:pt x="184865" y="96085"/>
                  </a:lnTo>
                  <a:cubicBezTo>
                    <a:pt x="186862" y="45055"/>
                    <a:pt x="147113" y="2069"/>
                    <a:pt x="96084" y="72"/>
                  </a:cubicBezTo>
                  <a:cubicBezTo>
                    <a:pt x="45054" y="-1925"/>
                    <a:pt x="2068" y="37824"/>
                    <a:pt x="71" y="88853"/>
                  </a:cubicBezTo>
                  <a:cubicBezTo>
                    <a:pt x="-24" y="91263"/>
                    <a:pt x="-24" y="93675"/>
                    <a:pt x="71" y="96085"/>
                  </a:cubicBezTo>
                  <a:cubicBezTo>
                    <a:pt x="-35" y="125168"/>
                    <a:pt x="13370" y="152652"/>
                    <a:pt x="36353" y="170473"/>
                  </a:cubicBezTo>
                  <a:close/>
                  <a:moveTo>
                    <a:pt x="48394" y="18299"/>
                  </a:moveTo>
                  <a:cubicBezTo>
                    <a:pt x="89381" y="-6047"/>
                    <a:pt x="142344" y="7444"/>
                    <a:pt x="166690" y="48431"/>
                  </a:cubicBezTo>
                  <a:cubicBezTo>
                    <a:pt x="175187" y="62737"/>
                    <a:pt x="179369" y="79193"/>
                    <a:pt x="178731" y="95821"/>
                  </a:cubicBezTo>
                  <a:lnTo>
                    <a:pt x="178731" y="99221"/>
                  </a:lnTo>
                  <a:lnTo>
                    <a:pt x="179549" y="100645"/>
                  </a:lnTo>
                  <a:lnTo>
                    <a:pt x="200765" y="137542"/>
                  </a:lnTo>
                  <a:lnTo>
                    <a:pt x="200848" y="137684"/>
                  </a:lnTo>
                  <a:lnTo>
                    <a:pt x="200937" y="137822"/>
                  </a:lnTo>
                  <a:cubicBezTo>
                    <a:pt x="202934" y="140232"/>
                    <a:pt x="203524" y="143510"/>
                    <a:pt x="202493" y="146465"/>
                  </a:cubicBezTo>
                  <a:cubicBezTo>
                    <a:pt x="201621" y="148249"/>
                    <a:pt x="199947" y="149507"/>
                    <a:pt x="197991" y="149848"/>
                  </a:cubicBezTo>
                  <a:lnTo>
                    <a:pt x="178716" y="149848"/>
                  </a:lnTo>
                  <a:lnTo>
                    <a:pt x="178716" y="174446"/>
                  </a:lnTo>
                  <a:cubicBezTo>
                    <a:pt x="178749" y="182556"/>
                    <a:pt x="175648" y="190365"/>
                    <a:pt x="170060" y="196243"/>
                  </a:cubicBezTo>
                  <a:cubicBezTo>
                    <a:pt x="164390" y="201989"/>
                    <a:pt x="156655" y="205226"/>
                    <a:pt x="148583" y="205231"/>
                  </a:cubicBezTo>
                  <a:lnTo>
                    <a:pt x="127367" y="205231"/>
                  </a:lnTo>
                  <a:lnTo>
                    <a:pt x="127367" y="242128"/>
                  </a:lnTo>
                  <a:lnTo>
                    <a:pt x="42503" y="242128"/>
                  </a:lnTo>
                  <a:lnTo>
                    <a:pt x="42503" y="167457"/>
                  </a:lnTo>
                  <a:lnTo>
                    <a:pt x="40117" y="165612"/>
                  </a:lnTo>
                  <a:cubicBezTo>
                    <a:pt x="18587" y="148976"/>
                    <a:pt x="6052" y="123249"/>
                    <a:pt x="6220" y="96042"/>
                  </a:cubicBezTo>
                  <a:lnTo>
                    <a:pt x="6220" y="95931"/>
                  </a:lnTo>
                  <a:lnTo>
                    <a:pt x="6220" y="95821"/>
                  </a:lnTo>
                  <a:cubicBezTo>
                    <a:pt x="4972" y="64194"/>
                    <a:pt x="21166" y="34430"/>
                    <a:pt x="48397" y="18299"/>
                  </a:cubicBezTo>
                  <a:close/>
                </a:path>
              </a:pathLst>
            </a:custGeom>
            <a:grpFill/>
            <a:ln w="2977" cap="flat">
              <a:noFill/>
              <a:prstDash val="solid"/>
              <a:miter/>
            </a:ln>
          </p:spPr>
          <p:txBody>
            <a:bodyPr rtlCol="0" anchor="ctr"/>
            <a:lstStyle/>
            <a:p>
              <a:endParaRPr lang="en-IN"/>
            </a:p>
          </p:txBody>
        </p:sp>
      </p:grpSp>
      <p:grpSp>
        <p:nvGrpSpPr>
          <p:cNvPr id="100" name="Graphic 1086" descr="Lightbulb and gear outline">
            <a:extLst>
              <a:ext uri="{FF2B5EF4-FFF2-40B4-BE49-F238E27FC236}">
                <a16:creationId xmlns:a16="http://schemas.microsoft.com/office/drawing/2014/main" id="{B90AC7FF-9D88-5547-A172-D8C6E83708C0}"/>
              </a:ext>
            </a:extLst>
          </p:cNvPr>
          <p:cNvGrpSpPr/>
          <p:nvPr/>
        </p:nvGrpSpPr>
        <p:grpSpPr>
          <a:xfrm>
            <a:off x="9470183" y="1342408"/>
            <a:ext cx="271900" cy="295692"/>
            <a:chOff x="9470183" y="1303756"/>
            <a:chExt cx="271900" cy="295692"/>
          </a:xfrm>
          <a:gradFill>
            <a:gsLst>
              <a:gs pos="0">
                <a:srgbClr val="3FB6FA"/>
              </a:gs>
              <a:gs pos="100000">
                <a:srgbClr val="8745A6"/>
              </a:gs>
            </a:gsLst>
            <a:lin ang="10800000" scaled="1"/>
          </a:gradFill>
        </p:grpSpPr>
        <p:sp>
          <p:nvSpPr>
            <p:cNvPr id="101" name="Freeform: Shape 100">
              <a:extLst>
                <a:ext uri="{FF2B5EF4-FFF2-40B4-BE49-F238E27FC236}">
                  <a16:creationId xmlns:a16="http://schemas.microsoft.com/office/drawing/2014/main" id="{C17BCE85-373D-9E8E-7253-7701EADFD550}"/>
                </a:ext>
              </a:extLst>
            </p:cNvPr>
            <p:cNvSpPr/>
            <p:nvPr/>
          </p:nvSpPr>
          <p:spPr>
            <a:xfrm>
              <a:off x="9589139" y="1422032"/>
              <a:ext cx="33987" cy="33987"/>
            </a:xfrm>
            <a:custGeom>
              <a:avLst/>
              <a:gdLst>
                <a:gd name="connsiteX0" fmla="*/ 16994 w 33987"/>
                <a:gd name="connsiteY0" fmla="*/ 0 h 33987"/>
                <a:gd name="connsiteX1" fmla="*/ 0 w 33987"/>
                <a:gd name="connsiteY1" fmla="*/ 16994 h 33987"/>
                <a:gd name="connsiteX2" fmla="*/ 16994 w 33987"/>
                <a:gd name="connsiteY2" fmla="*/ 33988 h 33987"/>
                <a:gd name="connsiteX3" fmla="*/ 33988 w 33987"/>
                <a:gd name="connsiteY3" fmla="*/ 16994 h 33987"/>
                <a:gd name="connsiteX4" fmla="*/ 33988 w 33987"/>
                <a:gd name="connsiteY4" fmla="*/ 16994 h 33987"/>
                <a:gd name="connsiteX5" fmla="*/ 16994 w 33987"/>
                <a:gd name="connsiteY5" fmla="*/ 0 h 33987"/>
                <a:gd name="connsiteX6" fmla="*/ 16994 w 33987"/>
                <a:gd name="connsiteY6" fmla="*/ 27190 h 33987"/>
                <a:gd name="connsiteX7" fmla="*/ 6798 w 33987"/>
                <a:gd name="connsiteY7" fmla="*/ 16994 h 33987"/>
                <a:gd name="connsiteX8" fmla="*/ 16994 w 33987"/>
                <a:gd name="connsiteY8" fmla="*/ 6798 h 33987"/>
                <a:gd name="connsiteX9" fmla="*/ 27190 w 33987"/>
                <a:gd name="connsiteY9" fmla="*/ 16994 h 33987"/>
                <a:gd name="connsiteX10" fmla="*/ 16994 w 33987"/>
                <a:gd name="connsiteY10" fmla="*/ 27190 h 33987"/>
                <a:gd name="connsiteX11" fmla="*/ 16994 w 33987"/>
                <a:gd name="connsiteY11" fmla="*/ 27190 h 33987"/>
                <a:gd name="connsiteX12" fmla="*/ 16994 w 33987"/>
                <a:gd name="connsiteY12" fmla="*/ 27190 h 3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987" h="33987">
                  <a:moveTo>
                    <a:pt x="16994" y="0"/>
                  </a:moveTo>
                  <a:cubicBezTo>
                    <a:pt x="7477" y="0"/>
                    <a:pt x="0" y="7477"/>
                    <a:pt x="0" y="16994"/>
                  </a:cubicBezTo>
                  <a:cubicBezTo>
                    <a:pt x="0" y="26510"/>
                    <a:pt x="7477" y="33988"/>
                    <a:pt x="16994" y="33988"/>
                  </a:cubicBezTo>
                  <a:cubicBezTo>
                    <a:pt x="26510" y="33988"/>
                    <a:pt x="33988" y="26510"/>
                    <a:pt x="33988" y="16994"/>
                  </a:cubicBezTo>
                  <a:cubicBezTo>
                    <a:pt x="33988" y="16994"/>
                    <a:pt x="33988" y="16994"/>
                    <a:pt x="33988" y="16994"/>
                  </a:cubicBezTo>
                  <a:cubicBezTo>
                    <a:pt x="33988" y="7477"/>
                    <a:pt x="26510" y="0"/>
                    <a:pt x="16994" y="0"/>
                  </a:cubicBezTo>
                  <a:close/>
                  <a:moveTo>
                    <a:pt x="16994" y="27190"/>
                  </a:moveTo>
                  <a:cubicBezTo>
                    <a:pt x="11216" y="27190"/>
                    <a:pt x="6798" y="22772"/>
                    <a:pt x="6798" y="16994"/>
                  </a:cubicBezTo>
                  <a:cubicBezTo>
                    <a:pt x="6798" y="11216"/>
                    <a:pt x="11216" y="6798"/>
                    <a:pt x="16994" y="6798"/>
                  </a:cubicBezTo>
                  <a:cubicBezTo>
                    <a:pt x="22772" y="6798"/>
                    <a:pt x="27190" y="11216"/>
                    <a:pt x="27190" y="16994"/>
                  </a:cubicBezTo>
                  <a:cubicBezTo>
                    <a:pt x="27190" y="22772"/>
                    <a:pt x="22772" y="27190"/>
                    <a:pt x="16994" y="27190"/>
                  </a:cubicBezTo>
                  <a:cubicBezTo>
                    <a:pt x="16994" y="27190"/>
                    <a:pt x="16994" y="27190"/>
                    <a:pt x="16994" y="27190"/>
                  </a:cubicBezTo>
                  <a:lnTo>
                    <a:pt x="16994" y="27190"/>
                  </a:lnTo>
                  <a:close/>
                </a:path>
              </a:pathLst>
            </a:custGeom>
            <a:grpFill/>
            <a:ln w="3373" cap="flat">
              <a:noFill/>
              <a:prstDash val="solid"/>
              <a:miter/>
            </a:ln>
          </p:spPr>
          <p:txBody>
            <a:bodyPr rtlCol="0" anchor="ctr"/>
            <a:lstStyle/>
            <a:p>
              <a:endParaRPr lang="en-IN"/>
            </a:p>
          </p:txBody>
        </p:sp>
        <p:sp>
          <p:nvSpPr>
            <p:cNvPr id="102" name="Freeform: Shape 101">
              <a:extLst>
                <a:ext uri="{FF2B5EF4-FFF2-40B4-BE49-F238E27FC236}">
                  <a16:creationId xmlns:a16="http://schemas.microsoft.com/office/drawing/2014/main" id="{9101A86B-E531-BB90-C9D0-F7BEB13B34F3}"/>
                </a:ext>
              </a:extLst>
            </p:cNvPr>
            <p:cNvSpPr/>
            <p:nvPr/>
          </p:nvSpPr>
          <p:spPr>
            <a:xfrm>
              <a:off x="9563649" y="1396882"/>
              <a:ext cx="84629" cy="84629"/>
            </a:xfrm>
            <a:custGeom>
              <a:avLst/>
              <a:gdLst>
                <a:gd name="connsiteX0" fmla="*/ 74093 w 84629"/>
                <a:gd name="connsiteY0" fmla="*/ 26170 h 84629"/>
                <a:gd name="connsiteX1" fmla="*/ 77152 w 84629"/>
                <a:gd name="connsiteY1" fmla="*/ 16994 h 84629"/>
                <a:gd name="connsiteX2" fmla="*/ 67635 w 84629"/>
                <a:gd name="connsiteY2" fmla="*/ 7477 h 84629"/>
                <a:gd name="connsiteX3" fmla="*/ 58459 w 84629"/>
                <a:gd name="connsiteY3" fmla="*/ 10536 h 84629"/>
                <a:gd name="connsiteX4" fmla="*/ 53361 w 84629"/>
                <a:gd name="connsiteY4" fmla="*/ 8497 h 84629"/>
                <a:gd name="connsiteX5" fmla="*/ 48942 w 84629"/>
                <a:gd name="connsiteY5" fmla="*/ 0 h 84629"/>
                <a:gd name="connsiteX6" fmla="*/ 35687 w 84629"/>
                <a:gd name="connsiteY6" fmla="*/ 0 h 84629"/>
                <a:gd name="connsiteX7" fmla="*/ 31269 w 84629"/>
                <a:gd name="connsiteY7" fmla="*/ 8497 h 84629"/>
                <a:gd name="connsiteX8" fmla="*/ 26170 w 84629"/>
                <a:gd name="connsiteY8" fmla="*/ 10536 h 84629"/>
                <a:gd name="connsiteX9" fmla="*/ 16994 w 84629"/>
                <a:gd name="connsiteY9" fmla="*/ 7477 h 84629"/>
                <a:gd name="connsiteX10" fmla="*/ 7477 w 84629"/>
                <a:gd name="connsiteY10" fmla="*/ 16994 h 84629"/>
                <a:gd name="connsiteX11" fmla="*/ 10536 w 84629"/>
                <a:gd name="connsiteY11" fmla="*/ 26170 h 84629"/>
                <a:gd name="connsiteX12" fmla="*/ 8497 w 84629"/>
                <a:gd name="connsiteY12" fmla="*/ 31269 h 84629"/>
                <a:gd name="connsiteX13" fmla="*/ 0 w 84629"/>
                <a:gd name="connsiteY13" fmla="*/ 35687 h 84629"/>
                <a:gd name="connsiteX14" fmla="*/ 0 w 84629"/>
                <a:gd name="connsiteY14" fmla="*/ 48942 h 84629"/>
                <a:gd name="connsiteX15" fmla="*/ 8497 w 84629"/>
                <a:gd name="connsiteY15" fmla="*/ 53361 h 84629"/>
                <a:gd name="connsiteX16" fmla="*/ 10536 w 84629"/>
                <a:gd name="connsiteY16" fmla="*/ 58459 h 84629"/>
                <a:gd name="connsiteX17" fmla="*/ 7477 w 84629"/>
                <a:gd name="connsiteY17" fmla="*/ 67635 h 84629"/>
                <a:gd name="connsiteX18" fmla="*/ 17334 w 84629"/>
                <a:gd name="connsiteY18" fmla="*/ 77152 h 84629"/>
                <a:gd name="connsiteX19" fmla="*/ 26510 w 84629"/>
                <a:gd name="connsiteY19" fmla="*/ 74093 h 84629"/>
                <a:gd name="connsiteX20" fmla="*/ 31608 w 84629"/>
                <a:gd name="connsiteY20" fmla="*/ 76132 h 84629"/>
                <a:gd name="connsiteX21" fmla="*/ 36027 w 84629"/>
                <a:gd name="connsiteY21" fmla="*/ 84629 h 84629"/>
                <a:gd name="connsiteX22" fmla="*/ 49282 w 84629"/>
                <a:gd name="connsiteY22" fmla="*/ 84629 h 84629"/>
                <a:gd name="connsiteX23" fmla="*/ 53700 w 84629"/>
                <a:gd name="connsiteY23" fmla="*/ 76132 h 84629"/>
                <a:gd name="connsiteX24" fmla="*/ 58459 w 84629"/>
                <a:gd name="connsiteY24" fmla="*/ 74093 h 84629"/>
                <a:gd name="connsiteX25" fmla="*/ 67635 w 84629"/>
                <a:gd name="connsiteY25" fmla="*/ 77152 h 84629"/>
                <a:gd name="connsiteX26" fmla="*/ 77152 w 84629"/>
                <a:gd name="connsiteY26" fmla="*/ 67635 h 84629"/>
                <a:gd name="connsiteX27" fmla="*/ 74093 w 84629"/>
                <a:gd name="connsiteY27" fmla="*/ 58459 h 84629"/>
                <a:gd name="connsiteX28" fmla="*/ 76132 w 84629"/>
                <a:gd name="connsiteY28" fmla="*/ 53361 h 84629"/>
                <a:gd name="connsiteX29" fmla="*/ 84629 w 84629"/>
                <a:gd name="connsiteY29" fmla="*/ 48942 h 84629"/>
                <a:gd name="connsiteX30" fmla="*/ 84629 w 84629"/>
                <a:gd name="connsiteY30" fmla="*/ 35687 h 84629"/>
                <a:gd name="connsiteX31" fmla="*/ 76132 w 84629"/>
                <a:gd name="connsiteY31" fmla="*/ 31269 h 84629"/>
                <a:gd name="connsiteX32" fmla="*/ 74093 w 84629"/>
                <a:gd name="connsiteY32" fmla="*/ 26170 h 84629"/>
                <a:gd name="connsiteX33" fmla="*/ 77832 w 84629"/>
                <a:gd name="connsiteY33" fmla="*/ 44524 h 84629"/>
                <a:gd name="connsiteX34" fmla="*/ 70354 w 84629"/>
                <a:gd name="connsiteY34" fmla="*/ 48262 h 84629"/>
                <a:gd name="connsiteX35" fmla="*/ 70014 w 84629"/>
                <a:gd name="connsiteY35" fmla="*/ 49622 h 84629"/>
                <a:gd name="connsiteX36" fmla="*/ 67295 w 84629"/>
                <a:gd name="connsiteY36" fmla="*/ 56080 h 84629"/>
                <a:gd name="connsiteX37" fmla="*/ 66616 w 84629"/>
                <a:gd name="connsiteY37" fmla="*/ 57439 h 84629"/>
                <a:gd name="connsiteX38" fmla="*/ 69335 w 84629"/>
                <a:gd name="connsiteY38" fmla="*/ 65596 h 84629"/>
                <a:gd name="connsiteX39" fmla="*/ 65936 w 84629"/>
                <a:gd name="connsiteY39" fmla="*/ 68995 h 84629"/>
                <a:gd name="connsiteX40" fmla="*/ 58119 w 84629"/>
                <a:gd name="connsiteY40" fmla="*/ 66276 h 84629"/>
                <a:gd name="connsiteX41" fmla="*/ 56759 w 84629"/>
                <a:gd name="connsiteY41" fmla="*/ 66956 h 84629"/>
                <a:gd name="connsiteX42" fmla="*/ 50642 w 84629"/>
                <a:gd name="connsiteY42" fmla="*/ 69335 h 84629"/>
                <a:gd name="connsiteX43" fmla="*/ 48942 w 84629"/>
                <a:gd name="connsiteY43" fmla="*/ 70014 h 84629"/>
                <a:gd name="connsiteX44" fmla="*/ 45204 w 84629"/>
                <a:gd name="connsiteY44" fmla="*/ 77492 h 84629"/>
                <a:gd name="connsiteX45" fmla="*/ 40105 w 84629"/>
                <a:gd name="connsiteY45" fmla="*/ 77492 h 84629"/>
                <a:gd name="connsiteX46" fmla="*/ 36367 w 84629"/>
                <a:gd name="connsiteY46" fmla="*/ 70014 h 84629"/>
                <a:gd name="connsiteX47" fmla="*/ 35007 w 84629"/>
                <a:gd name="connsiteY47" fmla="*/ 69675 h 84629"/>
                <a:gd name="connsiteX48" fmla="*/ 28889 w 84629"/>
                <a:gd name="connsiteY48" fmla="*/ 66956 h 84629"/>
                <a:gd name="connsiteX49" fmla="*/ 27530 w 84629"/>
                <a:gd name="connsiteY49" fmla="*/ 66276 h 84629"/>
                <a:gd name="connsiteX50" fmla="*/ 19373 w 84629"/>
                <a:gd name="connsiteY50" fmla="*/ 68995 h 84629"/>
                <a:gd name="connsiteX51" fmla="*/ 15634 w 84629"/>
                <a:gd name="connsiteY51" fmla="*/ 65256 h 84629"/>
                <a:gd name="connsiteX52" fmla="*/ 18353 w 84629"/>
                <a:gd name="connsiteY52" fmla="*/ 57439 h 84629"/>
                <a:gd name="connsiteX53" fmla="*/ 17674 w 84629"/>
                <a:gd name="connsiteY53" fmla="*/ 56080 h 84629"/>
                <a:gd name="connsiteX54" fmla="*/ 14955 w 84629"/>
                <a:gd name="connsiteY54" fmla="*/ 49962 h 84629"/>
                <a:gd name="connsiteX55" fmla="*/ 14615 w 84629"/>
                <a:gd name="connsiteY55" fmla="*/ 48602 h 84629"/>
                <a:gd name="connsiteX56" fmla="*/ 7137 w 84629"/>
                <a:gd name="connsiteY56" fmla="*/ 44864 h 84629"/>
                <a:gd name="connsiteX57" fmla="*/ 7137 w 84629"/>
                <a:gd name="connsiteY57" fmla="*/ 40105 h 84629"/>
                <a:gd name="connsiteX58" fmla="*/ 14615 w 84629"/>
                <a:gd name="connsiteY58" fmla="*/ 36367 h 84629"/>
                <a:gd name="connsiteX59" fmla="*/ 14955 w 84629"/>
                <a:gd name="connsiteY59" fmla="*/ 35007 h 84629"/>
                <a:gd name="connsiteX60" fmla="*/ 17674 w 84629"/>
                <a:gd name="connsiteY60" fmla="*/ 28889 h 84629"/>
                <a:gd name="connsiteX61" fmla="*/ 18353 w 84629"/>
                <a:gd name="connsiteY61" fmla="*/ 27530 h 84629"/>
                <a:gd name="connsiteX62" fmla="*/ 15634 w 84629"/>
                <a:gd name="connsiteY62" fmla="*/ 19033 h 84629"/>
                <a:gd name="connsiteX63" fmla="*/ 19033 w 84629"/>
                <a:gd name="connsiteY63" fmla="*/ 15294 h 84629"/>
                <a:gd name="connsiteX64" fmla="*/ 27190 w 84629"/>
                <a:gd name="connsiteY64" fmla="*/ 18013 h 84629"/>
                <a:gd name="connsiteX65" fmla="*/ 28550 w 84629"/>
                <a:gd name="connsiteY65" fmla="*/ 17334 h 84629"/>
                <a:gd name="connsiteX66" fmla="*/ 35007 w 84629"/>
                <a:gd name="connsiteY66" fmla="*/ 14615 h 84629"/>
                <a:gd name="connsiteX67" fmla="*/ 36367 w 84629"/>
                <a:gd name="connsiteY67" fmla="*/ 14275 h 84629"/>
                <a:gd name="connsiteX68" fmla="*/ 40105 w 84629"/>
                <a:gd name="connsiteY68" fmla="*/ 6798 h 84629"/>
                <a:gd name="connsiteX69" fmla="*/ 44864 w 84629"/>
                <a:gd name="connsiteY69" fmla="*/ 6798 h 84629"/>
                <a:gd name="connsiteX70" fmla="*/ 48602 w 84629"/>
                <a:gd name="connsiteY70" fmla="*/ 14275 h 84629"/>
                <a:gd name="connsiteX71" fmla="*/ 49962 w 84629"/>
                <a:gd name="connsiteY71" fmla="*/ 14615 h 84629"/>
                <a:gd name="connsiteX72" fmla="*/ 56080 w 84629"/>
                <a:gd name="connsiteY72" fmla="*/ 17334 h 84629"/>
                <a:gd name="connsiteX73" fmla="*/ 57439 w 84629"/>
                <a:gd name="connsiteY73" fmla="*/ 18013 h 84629"/>
                <a:gd name="connsiteX74" fmla="*/ 65596 w 84629"/>
                <a:gd name="connsiteY74" fmla="*/ 15294 h 84629"/>
                <a:gd name="connsiteX75" fmla="*/ 68995 w 84629"/>
                <a:gd name="connsiteY75" fmla="*/ 18693 h 84629"/>
                <a:gd name="connsiteX76" fmla="*/ 66276 w 84629"/>
                <a:gd name="connsiteY76" fmla="*/ 26850 h 84629"/>
                <a:gd name="connsiteX77" fmla="*/ 66956 w 84629"/>
                <a:gd name="connsiteY77" fmla="*/ 28210 h 84629"/>
                <a:gd name="connsiteX78" fmla="*/ 69675 w 84629"/>
                <a:gd name="connsiteY78" fmla="*/ 34327 h 84629"/>
                <a:gd name="connsiteX79" fmla="*/ 70014 w 84629"/>
                <a:gd name="connsiteY79" fmla="*/ 35687 h 84629"/>
                <a:gd name="connsiteX80" fmla="*/ 77492 w 84629"/>
                <a:gd name="connsiteY80" fmla="*/ 39426 h 84629"/>
                <a:gd name="connsiteX81" fmla="*/ 77832 w 84629"/>
                <a:gd name="connsiteY81" fmla="*/ 44524 h 8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4629" h="84629">
                  <a:moveTo>
                    <a:pt x="74093" y="26170"/>
                  </a:moveTo>
                  <a:lnTo>
                    <a:pt x="77152" y="16994"/>
                  </a:lnTo>
                  <a:lnTo>
                    <a:pt x="67635" y="7477"/>
                  </a:lnTo>
                  <a:lnTo>
                    <a:pt x="58459" y="10536"/>
                  </a:lnTo>
                  <a:cubicBezTo>
                    <a:pt x="56759" y="9856"/>
                    <a:pt x="55060" y="9177"/>
                    <a:pt x="53361" y="8497"/>
                  </a:cubicBezTo>
                  <a:lnTo>
                    <a:pt x="48942" y="0"/>
                  </a:lnTo>
                  <a:lnTo>
                    <a:pt x="35687" y="0"/>
                  </a:lnTo>
                  <a:lnTo>
                    <a:pt x="31269" y="8497"/>
                  </a:lnTo>
                  <a:cubicBezTo>
                    <a:pt x="29569" y="9177"/>
                    <a:pt x="27870" y="9856"/>
                    <a:pt x="26170" y="10536"/>
                  </a:cubicBezTo>
                  <a:lnTo>
                    <a:pt x="16994" y="7477"/>
                  </a:lnTo>
                  <a:lnTo>
                    <a:pt x="7477" y="16994"/>
                  </a:lnTo>
                  <a:lnTo>
                    <a:pt x="10536" y="26170"/>
                  </a:lnTo>
                  <a:cubicBezTo>
                    <a:pt x="9517" y="27870"/>
                    <a:pt x="8837" y="29569"/>
                    <a:pt x="8497" y="31269"/>
                  </a:cubicBezTo>
                  <a:lnTo>
                    <a:pt x="0" y="35687"/>
                  </a:lnTo>
                  <a:lnTo>
                    <a:pt x="0" y="48942"/>
                  </a:lnTo>
                  <a:lnTo>
                    <a:pt x="8497" y="53361"/>
                  </a:lnTo>
                  <a:cubicBezTo>
                    <a:pt x="9177" y="55060"/>
                    <a:pt x="9856" y="56759"/>
                    <a:pt x="10536" y="58459"/>
                  </a:cubicBezTo>
                  <a:lnTo>
                    <a:pt x="7477" y="67635"/>
                  </a:lnTo>
                  <a:lnTo>
                    <a:pt x="17334" y="77152"/>
                  </a:lnTo>
                  <a:lnTo>
                    <a:pt x="26510" y="74093"/>
                  </a:lnTo>
                  <a:cubicBezTo>
                    <a:pt x="28210" y="74773"/>
                    <a:pt x="29909" y="75452"/>
                    <a:pt x="31608" y="76132"/>
                  </a:cubicBezTo>
                  <a:lnTo>
                    <a:pt x="36027" y="84629"/>
                  </a:lnTo>
                  <a:lnTo>
                    <a:pt x="49282" y="84629"/>
                  </a:lnTo>
                  <a:lnTo>
                    <a:pt x="53700" y="76132"/>
                  </a:lnTo>
                  <a:cubicBezTo>
                    <a:pt x="55400" y="75452"/>
                    <a:pt x="57099" y="74773"/>
                    <a:pt x="58459" y="74093"/>
                  </a:cubicBezTo>
                  <a:lnTo>
                    <a:pt x="67635" y="77152"/>
                  </a:lnTo>
                  <a:lnTo>
                    <a:pt x="77152" y="67635"/>
                  </a:lnTo>
                  <a:lnTo>
                    <a:pt x="74093" y="58459"/>
                  </a:lnTo>
                  <a:cubicBezTo>
                    <a:pt x="74773" y="56759"/>
                    <a:pt x="75792" y="55060"/>
                    <a:pt x="76132" y="53361"/>
                  </a:cubicBezTo>
                  <a:lnTo>
                    <a:pt x="84629" y="48942"/>
                  </a:lnTo>
                  <a:lnTo>
                    <a:pt x="84629" y="35687"/>
                  </a:lnTo>
                  <a:lnTo>
                    <a:pt x="76132" y="31269"/>
                  </a:lnTo>
                  <a:cubicBezTo>
                    <a:pt x="75792" y="29569"/>
                    <a:pt x="75113" y="27870"/>
                    <a:pt x="74093" y="26170"/>
                  </a:cubicBezTo>
                  <a:close/>
                  <a:moveTo>
                    <a:pt x="77832" y="44524"/>
                  </a:moveTo>
                  <a:lnTo>
                    <a:pt x="70354" y="48262"/>
                  </a:lnTo>
                  <a:lnTo>
                    <a:pt x="70014" y="49622"/>
                  </a:lnTo>
                  <a:cubicBezTo>
                    <a:pt x="69335" y="52001"/>
                    <a:pt x="68315" y="54040"/>
                    <a:pt x="67295" y="56080"/>
                  </a:cubicBezTo>
                  <a:lnTo>
                    <a:pt x="66616" y="57439"/>
                  </a:lnTo>
                  <a:lnTo>
                    <a:pt x="69335" y="65596"/>
                  </a:lnTo>
                  <a:lnTo>
                    <a:pt x="65936" y="68995"/>
                  </a:lnTo>
                  <a:lnTo>
                    <a:pt x="58119" y="66276"/>
                  </a:lnTo>
                  <a:lnTo>
                    <a:pt x="56759" y="66956"/>
                  </a:lnTo>
                  <a:cubicBezTo>
                    <a:pt x="54720" y="67975"/>
                    <a:pt x="52681" y="68995"/>
                    <a:pt x="50642" y="69335"/>
                  </a:cubicBezTo>
                  <a:lnTo>
                    <a:pt x="48942" y="70014"/>
                  </a:lnTo>
                  <a:lnTo>
                    <a:pt x="45204" y="77492"/>
                  </a:lnTo>
                  <a:lnTo>
                    <a:pt x="40105" y="77492"/>
                  </a:lnTo>
                  <a:lnTo>
                    <a:pt x="36367" y="70014"/>
                  </a:lnTo>
                  <a:lnTo>
                    <a:pt x="35007" y="69675"/>
                  </a:lnTo>
                  <a:cubicBezTo>
                    <a:pt x="32968" y="68995"/>
                    <a:pt x="30589" y="68315"/>
                    <a:pt x="28889" y="66956"/>
                  </a:cubicBezTo>
                  <a:lnTo>
                    <a:pt x="27530" y="66276"/>
                  </a:lnTo>
                  <a:lnTo>
                    <a:pt x="19373" y="68995"/>
                  </a:lnTo>
                  <a:lnTo>
                    <a:pt x="15634" y="65256"/>
                  </a:lnTo>
                  <a:lnTo>
                    <a:pt x="18353" y="57439"/>
                  </a:lnTo>
                  <a:lnTo>
                    <a:pt x="17674" y="56080"/>
                  </a:lnTo>
                  <a:cubicBezTo>
                    <a:pt x="16654" y="54040"/>
                    <a:pt x="15634" y="52001"/>
                    <a:pt x="14955" y="49962"/>
                  </a:cubicBezTo>
                  <a:lnTo>
                    <a:pt x="14615" y="48602"/>
                  </a:lnTo>
                  <a:lnTo>
                    <a:pt x="7137" y="44864"/>
                  </a:lnTo>
                  <a:lnTo>
                    <a:pt x="7137" y="40105"/>
                  </a:lnTo>
                  <a:lnTo>
                    <a:pt x="14615" y="36367"/>
                  </a:lnTo>
                  <a:lnTo>
                    <a:pt x="14955" y="35007"/>
                  </a:lnTo>
                  <a:cubicBezTo>
                    <a:pt x="15634" y="32968"/>
                    <a:pt x="16314" y="30589"/>
                    <a:pt x="17674" y="28889"/>
                  </a:cubicBezTo>
                  <a:lnTo>
                    <a:pt x="18353" y="27530"/>
                  </a:lnTo>
                  <a:lnTo>
                    <a:pt x="15634" y="19033"/>
                  </a:lnTo>
                  <a:lnTo>
                    <a:pt x="19033" y="15294"/>
                  </a:lnTo>
                  <a:lnTo>
                    <a:pt x="27190" y="18013"/>
                  </a:lnTo>
                  <a:lnTo>
                    <a:pt x="28550" y="17334"/>
                  </a:lnTo>
                  <a:cubicBezTo>
                    <a:pt x="30589" y="16314"/>
                    <a:pt x="32628" y="15294"/>
                    <a:pt x="35007" y="14615"/>
                  </a:cubicBezTo>
                  <a:lnTo>
                    <a:pt x="36367" y="14275"/>
                  </a:lnTo>
                  <a:lnTo>
                    <a:pt x="40105" y="6798"/>
                  </a:lnTo>
                  <a:lnTo>
                    <a:pt x="44864" y="6798"/>
                  </a:lnTo>
                  <a:lnTo>
                    <a:pt x="48602" y="14275"/>
                  </a:lnTo>
                  <a:lnTo>
                    <a:pt x="49962" y="14615"/>
                  </a:lnTo>
                  <a:cubicBezTo>
                    <a:pt x="52001" y="15294"/>
                    <a:pt x="54380" y="15974"/>
                    <a:pt x="56080" y="17334"/>
                  </a:cubicBezTo>
                  <a:lnTo>
                    <a:pt x="57439" y="18013"/>
                  </a:lnTo>
                  <a:lnTo>
                    <a:pt x="65596" y="15294"/>
                  </a:lnTo>
                  <a:lnTo>
                    <a:pt x="68995" y="18693"/>
                  </a:lnTo>
                  <a:lnTo>
                    <a:pt x="66276" y="26850"/>
                  </a:lnTo>
                  <a:lnTo>
                    <a:pt x="66956" y="28210"/>
                  </a:lnTo>
                  <a:cubicBezTo>
                    <a:pt x="67975" y="30249"/>
                    <a:pt x="68995" y="32288"/>
                    <a:pt x="69675" y="34327"/>
                  </a:cubicBezTo>
                  <a:lnTo>
                    <a:pt x="70014" y="35687"/>
                  </a:lnTo>
                  <a:lnTo>
                    <a:pt x="77492" y="39426"/>
                  </a:lnTo>
                  <a:lnTo>
                    <a:pt x="77832" y="44524"/>
                  </a:lnTo>
                  <a:close/>
                </a:path>
              </a:pathLst>
            </a:custGeom>
            <a:grpFill/>
            <a:ln w="3373" cap="flat">
              <a:noFill/>
              <a:prstDash val="solid"/>
              <a:miter/>
            </a:ln>
          </p:spPr>
          <p:txBody>
            <a:bodyPr rtlCol="0" anchor="ctr"/>
            <a:lstStyle/>
            <a:p>
              <a:endParaRPr lang="en-IN"/>
            </a:p>
          </p:txBody>
        </p:sp>
        <p:sp>
          <p:nvSpPr>
            <p:cNvPr id="103" name="Freeform: Shape 102">
              <a:extLst>
                <a:ext uri="{FF2B5EF4-FFF2-40B4-BE49-F238E27FC236}">
                  <a16:creationId xmlns:a16="http://schemas.microsoft.com/office/drawing/2014/main" id="{B51ABC11-6EB4-1D77-CB02-D8D7515D4049}"/>
                </a:ext>
              </a:extLst>
            </p:cNvPr>
            <p:cNvSpPr/>
            <p:nvPr/>
          </p:nvSpPr>
          <p:spPr>
            <a:xfrm>
              <a:off x="9521164" y="1353377"/>
              <a:ext cx="169938" cy="177755"/>
            </a:xfrm>
            <a:custGeom>
              <a:avLst/>
              <a:gdLst>
                <a:gd name="connsiteX0" fmla="*/ 169938 w 169938"/>
                <a:gd name="connsiteY0" fmla="*/ 88028 h 177755"/>
                <a:gd name="connsiteX1" fmla="*/ 169938 w 169938"/>
                <a:gd name="connsiteY1" fmla="*/ 84969 h 177755"/>
                <a:gd name="connsiteX2" fmla="*/ 84969 w 169938"/>
                <a:gd name="connsiteY2" fmla="*/ 0 h 177755"/>
                <a:gd name="connsiteX3" fmla="*/ 0 w 169938"/>
                <a:gd name="connsiteY3" fmla="*/ 84969 h 177755"/>
                <a:gd name="connsiteX4" fmla="*/ 0 w 169938"/>
                <a:gd name="connsiteY4" fmla="*/ 88028 h 177755"/>
                <a:gd name="connsiteX5" fmla="*/ 5778 w 169938"/>
                <a:gd name="connsiteY5" fmla="*/ 117597 h 177755"/>
                <a:gd name="connsiteX6" fmla="*/ 20393 w 169938"/>
                <a:gd name="connsiteY6" fmla="*/ 141728 h 177755"/>
                <a:gd name="connsiteX7" fmla="*/ 40445 w 169938"/>
                <a:gd name="connsiteY7" fmla="*/ 174017 h 177755"/>
                <a:gd name="connsiteX8" fmla="*/ 46223 w 169938"/>
                <a:gd name="connsiteY8" fmla="*/ 177755 h 177755"/>
                <a:gd name="connsiteX9" fmla="*/ 123375 w 169938"/>
                <a:gd name="connsiteY9" fmla="*/ 177755 h 177755"/>
                <a:gd name="connsiteX10" fmla="*/ 129153 w 169938"/>
                <a:gd name="connsiteY10" fmla="*/ 174017 h 177755"/>
                <a:gd name="connsiteX11" fmla="*/ 148866 w 169938"/>
                <a:gd name="connsiteY11" fmla="*/ 141728 h 177755"/>
                <a:gd name="connsiteX12" fmla="*/ 163480 w 169938"/>
                <a:gd name="connsiteY12" fmla="*/ 117597 h 177755"/>
                <a:gd name="connsiteX13" fmla="*/ 169938 w 169938"/>
                <a:gd name="connsiteY13" fmla="*/ 88028 h 177755"/>
                <a:gd name="connsiteX14" fmla="*/ 163141 w 169938"/>
                <a:gd name="connsiteY14" fmla="*/ 88028 h 177755"/>
                <a:gd name="connsiteX15" fmla="*/ 157702 w 169938"/>
                <a:gd name="connsiteY15" fmla="*/ 115218 h 177755"/>
                <a:gd name="connsiteX16" fmla="*/ 144107 w 169938"/>
                <a:gd name="connsiteY16" fmla="*/ 137310 h 177755"/>
                <a:gd name="connsiteX17" fmla="*/ 123375 w 169938"/>
                <a:gd name="connsiteY17" fmla="*/ 170958 h 177755"/>
                <a:gd name="connsiteX18" fmla="*/ 46563 w 169938"/>
                <a:gd name="connsiteY18" fmla="*/ 170958 h 177755"/>
                <a:gd name="connsiteX19" fmla="*/ 25831 w 169938"/>
                <a:gd name="connsiteY19" fmla="*/ 137310 h 177755"/>
                <a:gd name="connsiteX20" fmla="*/ 12236 w 169938"/>
                <a:gd name="connsiteY20" fmla="*/ 115218 h 177755"/>
                <a:gd name="connsiteX21" fmla="*/ 6798 w 169938"/>
                <a:gd name="connsiteY21" fmla="*/ 88028 h 177755"/>
                <a:gd name="connsiteX22" fmla="*/ 6798 w 169938"/>
                <a:gd name="connsiteY22" fmla="*/ 85309 h 177755"/>
                <a:gd name="connsiteX23" fmla="*/ 84969 w 169938"/>
                <a:gd name="connsiteY23" fmla="*/ 7137 h 177755"/>
                <a:gd name="connsiteX24" fmla="*/ 163141 w 169938"/>
                <a:gd name="connsiteY24" fmla="*/ 85309 h 177755"/>
                <a:gd name="connsiteX25" fmla="*/ 163141 w 169938"/>
                <a:gd name="connsiteY25" fmla="*/ 85309 h 177755"/>
                <a:gd name="connsiteX26" fmla="*/ 163141 w 169938"/>
                <a:gd name="connsiteY26" fmla="*/ 88028 h 17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9938" h="177755">
                  <a:moveTo>
                    <a:pt x="169938" y="88028"/>
                  </a:moveTo>
                  <a:lnTo>
                    <a:pt x="169938" y="84969"/>
                  </a:lnTo>
                  <a:cubicBezTo>
                    <a:pt x="169938" y="38066"/>
                    <a:pt x="131872" y="0"/>
                    <a:pt x="84969" y="0"/>
                  </a:cubicBezTo>
                  <a:cubicBezTo>
                    <a:pt x="38066" y="0"/>
                    <a:pt x="0" y="38066"/>
                    <a:pt x="0" y="84969"/>
                  </a:cubicBezTo>
                  <a:lnTo>
                    <a:pt x="0" y="88028"/>
                  </a:lnTo>
                  <a:cubicBezTo>
                    <a:pt x="340" y="98224"/>
                    <a:pt x="2379" y="108081"/>
                    <a:pt x="5778" y="117597"/>
                  </a:cubicBezTo>
                  <a:cubicBezTo>
                    <a:pt x="9177" y="126434"/>
                    <a:pt x="14275" y="134591"/>
                    <a:pt x="20393" y="141728"/>
                  </a:cubicBezTo>
                  <a:cubicBezTo>
                    <a:pt x="28210" y="150225"/>
                    <a:pt x="36707" y="166539"/>
                    <a:pt x="40445" y="174017"/>
                  </a:cubicBezTo>
                  <a:cubicBezTo>
                    <a:pt x="41465" y="176056"/>
                    <a:pt x="43844" y="177755"/>
                    <a:pt x="46223" y="177755"/>
                  </a:cubicBezTo>
                  <a:lnTo>
                    <a:pt x="123375" y="177755"/>
                  </a:lnTo>
                  <a:cubicBezTo>
                    <a:pt x="125754" y="177755"/>
                    <a:pt x="128133" y="176396"/>
                    <a:pt x="129153" y="174017"/>
                  </a:cubicBezTo>
                  <a:cubicBezTo>
                    <a:pt x="132892" y="166539"/>
                    <a:pt x="141388" y="150225"/>
                    <a:pt x="148866" y="141728"/>
                  </a:cubicBezTo>
                  <a:cubicBezTo>
                    <a:pt x="155323" y="134591"/>
                    <a:pt x="160082" y="126434"/>
                    <a:pt x="163480" y="117597"/>
                  </a:cubicBezTo>
                  <a:cubicBezTo>
                    <a:pt x="167559" y="108081"/>
                    <a:pt x="169598" y="97884"/>
                    <a:pt x="169938" y="88028"/>
                  </a:cubicBezTo>
                  <a:close/>
                  <a:moveTo>
                    <a:pt x="163141" y="88028"/>
                  </a:moveTo>
                  <a:cubicBezTo>
                    <a:pt x="162801" y="97205"/>
                    <a:pt x="161101" y="106381"/>
                    <a:pt x="157702" y="115218"/>
                  </a:cubicBezTo>
                  <a:cubicBezTo>
                    <a:pt x="154644" y="123375"/>
                    <a:pt x="149885" y="130852"/>
                    <a:pt x="144107" y="137310"/>
                  </a:cubicBezTo>
                  <a:cubicBezTo>
                    <a:pt x="135950" y="146147"/>
                    <a:pt x="127454" y="162121"/>
                    <a:pt x="123375" y="170958"/>
                  </a:cubicBezTo>
                  <a:lnTo>
                    <a:pt x="46563" y="170958"/>
                  </a:lnTo>
                  <a:cubicBezTo>
                    <a:pt x="42145" y="162121"/>
                    <a:pt x="33648" y="146147"/>
                    <a:pt x="25831" y="137310"/>
                  </a:cubicBezTo>
                  <a:cubicBezTo>
                    <a:pt x="20053" y="130852"/>
                    <a:pt x="15634" y="123375"/>
                    <a:pt x="12236" y="115218"/>
                  </a:cubicBezTo>
                  <a:cubicBezTo>
                    <a:pt x="8837" y="106721"/>
                    <a:pt x="7137" y="97544"/>
                    <a:pt x="6798" y="88028"/>
                  </a:cubicBezTo>
                  <a:lnTo>
                    <a:pt x="6798" y="85309"/>
                  </a:lnTo>
                  <a:cubicBezTo>
                    <a:pt x="6798" y="42145"/>
                    <a:pt x="41805" y="7137"/>
                    <a:pt x="84969" y="7137"/>
                  </a:cubicBezTo>
                  <a:cubicBezTo>
                    <a:pt x="128133" y="7137"/>
                    <a:pt x="163141" y="42145"/>
                    <a:pt x="163141" y="85309"/>
                  </a:cubicBezTo>
                  <a:lnTo>
                    <a:pt x="163141" y="85309"/>
                  </a:lnTo>
                  <a:lnTo>
                    <a:pt x="163141" y="88028"/>
                  </a:lnTo>
                  <a:close/>
                </a:path>
              </a:pathLst>
            </a:custGeom>
            <a:grpFill/>
            <a:ln w="3373" cap="flat">
              <a:noFill/>
              <a:prstDash val="solid"/>
              <a:miter/>
            </a:ln>
          </p:spPr>
          <p:txBody>
            <a:bodyPr rtlCol="0" anchor="ctr"/>
            <a:lstStyle/>
            <a:p>
              <a:endParaRPr lang="en-IN"/>
            </a:p>
          </p:txBody>
        </p:sp>
        <p:sp>
          <p:nvSpPr>
            <p:cNvPr id="104" name="Freeform: Shape 103">
              <a:extLst>
                <a:ext uri="{FF2B5EF4-FFF2-40B4-BE49-F238E27FC236}">
                  <a16:creationId xmlns:a16="http://schemas.microsoft.com/office/drawing/2014/main" id="{D25F12C0-DBED-F31C-87FB-E059CE0DF418}"/>
                </a:ext>
              </a:extLst>
            </p:cNvPr>
            <p:cNvSpPr/>
            <p:nvPr/>
          </p:nvSpPr>
          <p:spPr>
            <a:xfrm>
              <a:off x="9565688" y="1551525"/>
              <a:ext cx="81570" cy="6797"/>
            </a:xfrm>
            <a:custGeom>
              <a:avLst/>
              <a:gdLst>
                <a:gd name="connsiteX0" fmla="*/ 78171 w 81570"/>
                <a:gd name="connsiteY0" fmla="*/ 0 h 6797"/>
                <a:gd name="connsiteX1" fmla="*/ 3399 w 81570"/>
                <a:gd name="connsiteY1" fmla="*/ 0 h 6797"/>
                <a:gd name="connsiteX2" fmla="*/ 0 w 81570"/>
                <a:gd name="connsiteY2" fmla="*/ 3399 h 6797"/>
                <a:gd name="connsiteX3" fmla="*/ 3399 w 81570"/>
                <a:gd name="connsiteY3" fmla="*/ 6798 h 6797"/>
                <a:gd name="connsiteX4" fmla="*/ 78171 w 81570"/>
                <a:gd name="connsiteY4" fmla="*/ 6798 h 6797"/>
                <a:gd name="connsiteX5" fmla="*/ 81570 w 81570"/>
                <a:gd name="connsiteY5" fmla="*/ 3399 h 6797"/>
                <a:gd name="connsiteX6" fmla="*/ 78171 w 81570"/>
                <a:gd name="connsiteY6" fmla="*/ 0 h 6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70" h="6797">
                  <a:moveTo>
                    <a:pt x="78171" y="0"/>
                  </a:moveTo>
                  <a:lnTo>
                    <a:pt x="3399" y="0"/>
                  </a:lnTo>
                  <a:cubicBezTo>
                    <a:pt x="1359" y="0"/>
                    <a:pt x="0" y="1360"/>
                    <a:pt x="0" y="3399"/>
                  </a:cubicBezTo>
                  <a:cubicBezTo>
                    <a:pt x="0" y="5438"/>
                    <a:pt x="1359" y="6798"/>
                    <a:pt x="3399" y="6798"/>
                  </a:cubicBezTo>
                  <a:lnTo>
                    <a:pt x="78171" y="6798"/>
                  </a:lnTo>
                  <a:cubicBezTo>
                    <a:pt x="80211" y="6798"/>
                    <a:pt x="81570" y="5438"/>
                    <a:pt x="81570" y="3399"/>
                  </a:cubicBezTo>
                  <a:cubicBezTo>
                    <a:pt x="81570" y="1360"/>
                    <a:pt x="80211" y="0"/>
                    <a:pt x="78171" y="0"/>
                  </a:cubicBezTo>
                  <a:close/>
                </a:path>
              </a:pathLst>
            </a:custGeom>
            <a:grpFill/>
            <a:ln w="3373" cap="flat">
              <a:noFill/>
              <a:prstDash val="solid"/>
              <a:miter/>
            </a:ln>
          </p:spPr>
          <p:txBody>
            <a:bodyPr rtlCol="0" anchor="ctr"/>
            <a:lstStyle/>
            <a:p>
              <a:endParaRPr lang="en-IN"/>
            </a:p>
          </p:txBody>
        </p:sp>
        <p:sp>
          <p:nvSpPr>
            <p:cNvPr id="105" name="Freeform: Shape 104">
              <a:extLst>
                <a:ext uri="{FF2B5EF4-FFF2-40B4-BE49-F238E27FC236}">
                  <a16:creationId xmlns:a16="http://schemas.microsoft.com/office/drawing/2014/main" id="{C38AC5E1-B891-98C3-0824-884D9C127DE3}"/>
                </a:ext>
              </a:extLst>
            </p:cNvPr>
            <p:cNvSpPr/>
            <p:nvPr/>
          </p:nvSpPr>
          <p:spPr>
            <a:xfrm>
              <a:off x="9603754" y="1303756"/>
              <a:ext cx="6797" cy="37386"/>
            </a:xfrm>
            <a:custGeom>
              <a:avLst/>
              <a:gdLst>
                <a:gd name="connsiteX0" fmla="*/ 3399 w 6797"/>
                <a:gd name="connsiteY0" fmla="*/ 37386 h 37386"/>
                <a:gd name="connsiteX1" fmla="*/ 6798 w 6797"/>
                <a:gd name="connsiteY1" fmla="*/ 33988 h 37386"/>
                <a:gd name="connsiteX2" fmla="*/ 6798 w 6797"/>
                <a:gd name="connsiteY2" fmla="*/ 3399 h 37386"/>
                <a:gd name="connsiteX3" fmla="*/ 3399 w 6797"/>
                <a:gd name="connsiteY3" fmla="*/ 0 h 37386"/>
                <a:gd name="connsiteX4" fmla="*/ 0 w 6797"/>
                <a:gd name="connsiteY4" fmla="*/ 3399 h 37386"/>
                <a:gd name="connsiteX5" fmla="*/ 0 w 6797"/>
                <a:gd name="connsiteY5" fmla="*/ 33988 h 37386"/>
                <a:gd name="connsiteX6" fmla="*/ 3399 w 6797"/>
                <a:gd name="connsiteY6" fmla="*/ 37386 h 37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7" h="37386">
                  <a:moveTo>
                    <a:pt x="3399" y="37386"/>
                  </a:moveTo>
                  <a:cubicBezTo>
                    <a:pt x="5438" y="37386"/>
                    <a:pt x="6798" y="36027"/>
                    <a:pt x="6798" y="33988"/>
                  </a:cubicBezTo>
                  <a:lnTo>
                    <a:pt x="6798" y="3399"/>
                  </a:lnTo>
                  <a:cubicBezTo>
                    <a:pt x="6798" y="1360"/>
                    <a:pt x="5438" y="0"/>
                    <a:pt x="3399" y="0"/>
                  </a:cubicBezTo>
                  <a:cubicBezTo>
                    <a:pt x="1359" y="0"/>
                    <a:pt x="0" y="1360"/>
                    <a:pt x="0" y="3399"/>
                  </a:cubicBezTo>
                  <a:lnTo>
                    <a:pt x="0" y="33988"/>
                  </a:lnTo>
                  <a:cubicBezTo>
                    <a:pt x="0" y="36027"/>
                    <a:pt x="1359" y="37386"/>
                    <a:pt x="3399" y="37386"/>
                  </a:cubicBezTo>
                  <a:close/>
                </a:path>
              </a:pathLst>
            </a:custGeom>
            <a:grpFill/>
            <a:ln w="3373" cap="flat">
              <a:noFill/>
              <a:prstDash val="solid"/>
              <a:miter/>
            </a:ln>
          </p:spPr>
          <p:txBody>
            <a:bodyPr rtlCol="0" anchor="ctr"/>
            <a:lstStyle/>
            <a:p>
              <a:endParaRPr lang="en-IN"/>
            </a:p>
          </p:txBody>
        </p:sp>
        <p:sp>
          <p:nvSpPr>
            <p:cNvPr id="106" name="Freeform: Shape 105">
              <a:extLst>
                <a:ext uri="{FF2B5EF4-FFF2-40B4-BE49-F238E27FC236}">
                  <a16:creationId xmlns:a16="http://schemas.microsoft.com/office/drawing/2014/main" id="{A20C9E52-B5AF-722C-6D16-9A43C402C104}"/>
                </a:ext>
              </a:extLst>
            </p:cNvPr>
            <p:cNvSpPr/>
            <p:nvPr/>
          </p:nvSpPr>
          <p:spPr>
            <a:xfrm>
              <a:off x="9470183" y="1436307"/>
              <a:ext cx="37386" cy="6797"/>
            </a:xfrm>
            <a:custGeom>
              <a:avLst/>
              <a:gdLst>
                <a:gd name="connsiteX0" fmla="*/ 33988 w 37386"/>
                <a:gd name="connsiteY0" fmla="*/ 0 h 6797"/>
                <a:gd name="connsiteX1" fmla="*/ 3399 w 37386"/>
                <a:gd name="connsiteY1" fmla="*/ 0 h 6797"/>
                <a:gd name="connsiteX2" fmla="*/ 0 w 37386"/>
                <a:gd name="connsiteY2" fmla="*/ 3399 h 6797"/>
                <a:gd name="connsiteX3" fmla="*/ 3399 w 37386"/>
                <a:gd name="connsiteY3" fmla="*/ 6798 h 6797"/>
                <a:gd name="connsiteX4" fmla="*/ 33988 w 37386"/>
                <a:gd name="connsiteY4" fmla="*/ 6798 h 6797"/>
                <a:gd name="connsiteX5" fmla="*/ 37386 w 37386"/>
                <a:gd name="connsiteY5" fmla="*/ 3399 h 6797"/>
                <a:gd name="connsiteX6" fmla="*/ 33988 w 37386"/>
                <a:gd name="connsiteY6" fmla="*/ 0 h 6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86" h="6797">
                  <a:moveTo>
                    <a:pt x="33988" y="0"/>
                  </a:moveTo>
                  <a:lnTo>
                    <a:pt x="3399" y="0"/>
                  </a:lnTo>
                  <a:cubicBezTo>
                    <a:pt x="1360" y="0"/>
                    <a:pt x="0" y="1360"/>
                    <a:pt x="0" y="3399"/>
                  </a:cubicBezTo>
                  <a:cubicBezTo>
                    <a:pt x="0" y="5438"/>
                    <a:pt x="1360" y="6798"/>
                    <a:pt x="3399" y="6798"/>
                  </a:cubicBezTo>
                  <a:lnTo>
                    <a:pt x="33988" y="6798"/>
                  </a:lnTo>
                  <a:cubicBezTo>
                    <a:pt x="36027" y="6798"/>
                    <a:pt x="37386" y="5438"/>
                    <a:pt x="37386" y="3399"/>
                  </a:cubicBezTo>
                  <a:cubicBezTo>
                    <a:pt x="37386" y="1360"/>
                    <a:pt x="35687" y="0"/>
                    <a:pt x="33988" y="0"/>
                  </a:cubicBezTo>
                  <a:close/>
                </a:path>
              </a:pathLst>
            </a:custGeom>
            <a:grpFill/>
            <a:ln w="3373" cap="flat">
              <a:noFill/>
              <a:prstDash val="solid"/>
              <a:miter/>
            </a:ln>
          </p:spPr>
          <p:txBody>
            <a:bodyPr rtlCol="0" anchor="ctr"/>
            <a:lstStyle/>
            <a:p>
              <a:endParaRPr lang="en-IN"/>
            </a:p>
          </p:txBody>
        </p:sp>
        <p:sp>
          <p:nvSpPr>
            <p:cNvPr id="107" name="Freeform: Shape 106">
              <a:extLst>
                <a:ext uri="{FF2B5EF4-FFF2-40B4-BE49-F238E27FC236}">
                  <a16:creationId xmlns:a16="http://schemas.microsoft.com/office/drawing/2014/main" id="{A303805D-906E-7514-CCFF-395EF6A99B33}"/>
                </a:ext>
              </a:extLst>
            </p:cNvPr>
            <p:cNvSpPr/>
            <p:nvPr/>
          </p:nvSpPr>
          <p:spPr>
            <a:xfrm>
              <a:off x="9704697" y="1436307"/>
              <a:ext cx="37386" cy="6797"/>
            </a:xfrm>
            <a:custGeom>
              <a:avLst/>
              <a:gdLst>
                <a:gd name="connsiteX0" fmla="*/ 33988 w 37386"/>
                <a:gd name="connsiteY0" fmla="*/ 0 h 6797"/>
                <a:gd name="connsiteX1" fmla="*/ 3399 w 37386"/>
                <a:gd name="connsiteY1" fmla="*/ 0 h 6797"/>
                <a:gd name="connsiteX2" fmla="*/ 0 w 37386"/>
                <a:gd name="connsiteY2" fmla="*/ 3399 h 6797"/>
                <a:gd name="connsiteX3" fmla="*/ 3399 w 37386"/>
                <a:gd name="connsiteY3" fmla="*/ 6798 h 6797"/>
                <a:gd name="connsiteX4" fmla="*/ 33988 w 37386"/>
                <a:gd name="connsiteY4" fmla="*/ 6798 h 6797"/>
                <a:gd name="connsiteX5" fmla="*/ 37386 w 37386"/>
                <a:gd name="connsiteY5" fmla="*/ 3399 h 6797"/>
                <a:gd name="connsiteX6" fmla="*/ 33988 w 37386"/>
                <a:gd name="connsiteY6" fmla="*/ 0 h 6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86" h="6797">
                  <a:moveTo>
                    <a:pt x="33988" y="0"/>
                  </a:moveTo>
                  <a:lnTo>
                    <a:pt x="3399" y="0"/>
                  </a:lnTo>
                  <a:cubicBezTo>
                    <a:pt x="1360" y="0"/>
                    <a:pt x="0" y="1360"/>
                    <a:pt x="0" y="3399"/>
                  </a:cubicBezTo>
                  <a:cubicBezTo>
                    <a:pt x="0" y="5438"/>
                    <a:pt x="1360" y="6798"/>
                    <a:pt x="3399" y="6798"/>
                  </a:cubicBezTo>
                  <a:lnTo>
                    <a:pt x="33988" y="6798"/>
                  </a:lnTo>
                  <a:cubicBezTo>
                    <a:pt x="36027" y="6798"/>
                    <a:pt x="37386" y="5438"/>
                    <a:pt x="37386" y="3399"/>
                  </a:cubicBezTo>
                  <a:cubicBezTo>
                    <a:pt x="37386" y="1360"/>
                    <a:pt x="35687" y="0"/>
                    <a:pt x="33988" y="0"/>
                  </a:cubicBezTo>
                  <a:close/>
                </a:path>
              </a:pathLst>
            </a:custGeom>
            <a:grpFill/>
            <a:ln w="3373" cap="flat">
              <a:noFill/>
              <a:prstDash val="solid"/>
              <a:miter/>
            </a:ln>
          </p:spPr>
          <p:txBody>
            <a:bodyPr rtlCol="0" anchor="ctr"/>
            <a:lstStyle/>
            <a:p>
              <a:endParaRPr lang="en-IN"/>
            </a:p>
          </p:txBody>
        </p:sp>
        <p:sp>
          <p:nvSpPr>
            <p:cNvPr id="108" name="Freeform: Shape 107">
              <a:extLst>
                <a:ext uri="{FF2B5EF4-FFF2-40B4-BE49-F238E27FC236}">
                  <a16:creationId xmlns:a16="http://schemas.microsoft.com/office/drawing/2014/main" id="{9510938C-F5B6-3FC7-B0EF-8FFBD48AEC0A}"/>
                </a:ext>
              </a:extLst>
            </p:cNvPr>
            <p:cNvSpPr/>
            <p:nvPr/>
          </p:nvSpPr>
          <p:spPr>
            <a:xfrm>
              <a:off x="9508882" y="1342454"/>
              <a:ext cx="28596" cy="28596"/>
            </a:xfrm>
            <a:custGeom>
              <a:avLst/>
              <a:gdLst>
                <a:gd name="connsiteX0" fmla="*/ 22819 w 28596"/>
                <a:gd name="connsiteY0" fmla="*/ 27577 h 28596"/>
                <a:gd name="connsiteX1" fmla="*/ 27577 w 28596"/>
                <a:gd name="connsiteY1" fmla="*/ 27577 h 28596"/>
                <a:gd name="connsiteX2" fmla="*/ 27577 w 28596"/>
                <a:gd name="connsiteY2" fmla="*/ 22819 h 28596"/>
                <a:gd name="connsiteX3" fmla="*/ 5825 w 28596"/>
                <a:gd name="connsiteY3" fmla="*/ 1067 h 28596"/>
                <a:gd name="connsiteX4" fmla="*/ 1067 w 28596"/>
                <a:gd name="connsiteY4" fmla="*/ 727 h 28596"/>
                <a:gd name="connsiteX5" fmla="*/ 727 w 28596"/>
                <a:gd name="connsiteY5" fmla="*/ 5485 h 28596"/>
                <a:gd name="connsiteX6" fmla="*/ 1067 w 28596"/>
                <a:gd name="connsiteY6" fmla="*/ 5825 h 28596"/>
                <a:gd name="connsiteX7" fmla="*/ 22819 w 28596"/>
                <a:gd name="connsiteY7" fmla="*/ 27577 h 2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96" h="28596">
                  <a:moveTo>
                    <a:pt x="22819" y="27577"/>
                  </a:moveTo>
                  <a:cubicBezTo>
                    <a:pt x="24178" y="28937"/>
                    <a:pt x="26218" y="28937"/>
                    <a:pt x="27577" y="27577"/>
                  </a:cubicBezTo>
                  <a:cubicBezTo>
                    <a:pt x="28937" y="26218"/>
                    <a:pt x="28937" y="24178"/>
                    <a:pt x="27577" y="22819"/>
                  </a:cubicBezTo>
                  <a:lnTo>
                    <a:pt x="5825" y="1067"/>
                  </a:lnTo>
                  <a:cubicBezTo>
                    <a:pt x="4465" y="-293"/>
                    <a:pt x="2426" y="-293"/>
                    <a:pt x="1067" y="727"/>
                  </a:cubicBezTo>
                  <a:cubicBezTo>
                    <a:pt x="-293" y="2086"/>
                    <a:pt x="-293" y="4126"/>
                    <a:pt x="727" y="5485"/>
                  </a:cubicBezTo>
                  <a:cubicBezTo>
                    <a:pt x="727" y="5485"/>
                    <a:pt x="727" y="5485"/>
                    <a:pt x="1067" y="5825"/>
                  </a:cubicBezTo>
                  <a:lnTo>
                    <a:pt x="22819" y="27577"/>
                  </a:lnTo>
                  <a:close/>
                </a:path>
              </a:pathLst>
            </a:custGeom>
            <a:grpFill/>
            <a:ln w="3373" cap="flat">
              <a:noFill/>
              <a:prstDash val="solid"/>
              <a:miter/>
            </a:ln>
          </p:spPr>
          <p:txBody>
            <a:bodyPr rtlCol="0" anchor="ctr"/>
            <a:lstStyle/>
            <a:p>
              <a:endParaRPr lang="en-IN"/>
            </a:p>
          </p:txBody>
        </p:sp>
        <p:sp>
          <p:nvSpPr>
            <p:cNvPr id="109" name="Freeform: Shape 108">
              <a:extLst>
                <a:ext uri="{FF2B5EF4-FFF2-40B4-BE49-F238E27FC236}">
                  <a16:creationId xmlns:a16="http://schemas.microsoft.com/office/drawing/2014/main" id="{CD5E3113-41BF-C19F-0539-6D8BA16CEC7F}"/>
                </a:ext>
              </a:extLst>
            </p:cNvPr>
            <p:cNvSpPr/>
            <p:nvPr/>
          </p:nvSpPr>
          <p:spPr>
            <a:xfrm>
              <a:off x="9674788" y="1508361"/>
              <a:ext cx="28549" cy="28549"/>
            </a:xfrm>
            <a:custGeom>
              <a:avLst/>
              <a:gdLst>
                <a:gd name="connsiteX0" fmla="*/ 5778 w 28549"/>
                <a:gd name="connsiteY0" fmla="*/ 1020 h 28549"/>
                <a:gd name="connsiteX1" fmla="*/ 1020 w 28549"/>
                <a:gd name="connsiteY1" fmla="*/ 1020 h 28549"/>
                <a:gd name="connsiteX2" fmla="*/ 1020 w 28549"/>
                <a:gd name="connsiteY2" fmla="*/ 5778 h 28549"/>
                <a:gd name="connsiteX3" fmla="*/ 1020 w 28549"/>
                <a:gd name="connsiteY3" fmla="*/ 5778 h 28549"/>
                <a:gd name="connsiteX4" fmla="*/ 22772 w 28549"/>
                <a:gd name="connsiteY4" fmla="*/ 27530 h 28549"/>
                <a:gd name="connsiteX5" fmla="*/ 27530 w 28549"/>
                <a:gd name="connsiteY5" fmla="*/ 27530 h 28549"/>
                <a:gd name="connsiteX6" fmla="*/ 27530 w 28549"/>
                <a:gd name="connsiteY6" fmla="*/ 22772 h 28549"/>
                <a:gd name="connsiteX7" fmla="*/ 5778 w 28549"/>
                <a:gd name="connsiteY7" fmla="*/ 1020 h 2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49" h="28549">
                  <a:moveTo>
                    <a:pt x="5778" y="1020"/>
                  </a:moveTo>
                  <a:cubicBezTo>
                    <a:pt x="4418" y="-340"/>
                    <a:pt x="2379" y="-340"/>
                    <a:pt x="1020" y="1020"/>
                  </a:cubicBezTo>
                  <a:cubicBezTo>
                    <a:pt x="-340" y="2379"/>
                    <a:pt x="-340" y="4418"/>
                    <a:pt x="1020" y="5778"/>
                  </a:cubicBezTo>
                  <a:cubicBezTo>
                    <a:pt x="1020" y="5778"/>
                    <a:pt x="1020" y="5778"/>
                    <a:pt x="1020" y="5778"/>
                  </a:cubicBezTo>
                  <a:lnTo>
                    <a:pt x="22772" y="27530"/>
                  </a:lnTo>
                  <a:cubicBezTo>
                    <a:pt x="24131" y="28889"/>
                    <a:pt x="26170" y="28889"/>
                    <a:pt x="27530" y="27530"/>
                  </a:cubicBezTo>
                  <a:cubicBezTo>
                    <a:pt x="28889" y="26170"/>
                    <a:pt x="28889" y="24131"/>
                    <a:pt x="27530" y="22772"/>
                  </a:cubicBezTo>
                  <a:lnTo>
                    <a:pt x="5778" y="1020"/>
                  </a:lnTo>
                  <a:close/>
                </a:path>
              </a:pathLst>
            </a:custGeom>
            <a:grpFill/>
            <a:ln w="3373" cap="flat">
              <a:noFill/>
              <a:prstDash val="solid"/>
              <a:miter/>
            </a:ln>
          </p:spPr>
          <p:txBody>
            <a:bodyPr rtlCol="0" anchor="ctr"/>
            <a:lstStyle/>
            <a:p>
              <a:endParaRPr lang="en-IN"/>
            </a:p>
          </p:txBody>
        </p:sp>
        <p:sp>
          <p:nvSpPr>
            <p:cNvPr id="110" name="Freeform: Shape 109">
              <a:extLst>
                <a:ext uri="{FF2B5EF4-FFF2-40B4-BE49-F238E27FC236}">
                  <a16:creationId xmlns:a16="http://schemas.microsoft.com/office/drawing/2014/main" id="{314727EA-28D8-36AA-0A79-48F84ADE4453}"/>
                </a:ext>
              </a:extLst>
            </p:cNvPr>
            <p:cNvSpPr/>
            <p:nvPr/>
          </p:nvSpPr>
          <p:spPr>
            <a:xfrm>
              <a:off x="9674741" y="1342162"/>
              <a:ext cx="28596" cy="28596"/>
            </a:xfrm>
            <a:custGeom>
              <a:avLst/>
              <a:gdLst>
                <a:gd name="connsiteX0" fmla="*/ 22139 w 28596"/>
                <a:gd name="connsiteY0" fmla="*/ 1699 h 28596"/>
                <a:gd name="connsiteX1" fmla="*/ 1067 w 28596"/>
                <a:gd name="connsiteY1" fmla="*/ 22772 h 28596"/>
                <a:gd name="connsiteX2" fmla="*/ 727 w 28596"/>
                <a:gd name="connsiteY2" fmla="*/ 27530 h 28596"/>
                <a:gd name="connsiteX3" fmla="*/ 5485 w 28596"/>
                <a:gd name="connsiteY3" fmla="*/ 27870 h 28596"/>
                <a:gd name="connsiteX4" fmla="*/ 5825 w 28596"/>
                <a:gd name="connsiteY4" fmla="*/ 27530 h 28596"/>
                <a:gd name="connsiteX5" fmla="*/ 27577 w 28596"/>
                <a:gd name="connsiteY5" fmla="*/ 5778 h 28596"/>
                <a:gd name="connsiteX6" fmla="*/ 27577 w 28596"/>
                <a:gd name="connsiteY6" fmla="*/ 1020 h 28596"/>
                <a:gd name="connsiteX7" fmla="*/ 22819 w 28596"/>
                <a:gd name="connsiteY7" fmla="*/ 1020 h 28596"/>
                <a:gd name="connsiteX8" fmla="*/ 22139 w 28596"/>
                <a:gd name="connsiteY8" fmla="*/ 1699 h 2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96" h="28596">
                  <a:moveTo>
                    <a:pt x="22139" y="1699"/>
                  </a:moveTo>
                  <a:lnTo>
                    <a:pt x="1067" y="22772"/>
                  </a:lnTo>
                  <a:cubicBezTo>
                    <a:pt x="-293" y="24131"/>
                    <a:pt x="-293" y="26170"/>
                    <a:pt x="727" y="27530"/>
                  </a:cubicBezTo>
                  <a:cubicBezTo>
                    <a:pt x="2086" y="28889"/>
                    <a:pt x="4126" y="28889"/>
                    <a:pt x="5485" y="27870"/>
                  </a:cubicBezTo>
                  <a:cubicBezTo>
                    <a:pt x="5485" y="27870"/>
                    <a:pt x="5485" y="27870"/>
                    <a:pt x="5825" y="27530"/>
                  </a:cubicBezTo>
                  <a:lnTo>
                    <a:pt x="27577" y="5778"/>
                  </a:lnTo>
                  <a:cubicBezTo>
                    <a:pt x="28937" y="4418"/>
                    <a:pt x="28937" y="2379"/>
                    <a:pt x="27577" y="1020"/>
                  </a:cubicBezTo>
                  <a:cubicBezTo>
                    <a:pt x="26218" y="-340"/>
                    <a:pt x="24178" y="-340"/>
                    <a:pt x="22819" y="1020"/>
                  </a:cubicBezTo>
                  <a:lnTo>
                    <a:pt x="22139" y="1699"/>
                  </a:lnTo>
                  <a:close/>
                </a:path>
              </a:pathLst>
            </a:custGeom>
            <a:grpFill/>
            <a:ln w="3373" cap="flat">
              <a:noFill/>
              <a:prstDash val="solid"/>
              <a:miter/>
            </a:ln>
          </p:spPr>
          <p:txBody>
            <a:bodyPr rtlCol="0" anchor="ctr"/>
            <a:lstStyle/>
            <a:p>
              <a:endParaRPr lang="en-IN"/>
            </a:p>
          </p:txBody>
        </p:sp>
        <p:sp>
          <p:nvSpPr>
            <p:cNvPr id="111" name="Freeform: Shape 110">
              <a:extLst>
                <a:ext uri="{FF2B5EF4-FFF2-40B4-BE49-F238E27FC236}">
                  <a16:creationId xmlns:a16="http://schemas.microsoft.com/office/drawing/2014/main" id="{FDFF65E2-24A8-07C5-EFEF-EBDAA71F113C}"/>
                </a:ext>
              </a:extLst>
            </p:cNvPr>
            <p:cNvSpPr/>
            <p:nvPr/>
          </p:nvSpPr>
          <p:spPr>
            <a:xfrm>
              <a:off x="9508929" y="1508361"/>
              <a:ext cx="28549" cy="28549"/>
            </a:xfrm>
            <a:custGeom>
              <a:avLst/>
              <a:gdLst>
                <a:gd name="connsiteX0" fmla="*/ 22772 w 28549"/>
                <a:gd name="connsiteY0" fmla="*/ 1020 h 28549"/>
                <a:gd name="connsiteX1" fmla="*/ 1020 w 28549"/>
                <a:gd name="connsiteY1" fmla="*/ 22772 h 28549"/>
                <a:gd name="connsiteX2" fmla="*/ 1020 w 28549"/>
                <a:gd name="connsiteY2" fmla="*/ 27530 h 28549"/>
                <a:gd name="connsiteX3" fmla="*/ 5778 w 28549"/>
                <a:gd name="connsiteY3" fmla="*/ 27530 h 28549"/>
                <a:gd name="connsiteX4" fmla="*/ 5778 w 28549"/>
                <a:gd name="connsiteY4" fmla="*/ 27530 h 28549"/>
                <a:gd name="connsiteX5" fmla="*/ 27530 w 28549"/>
                <a:gd name="connsiteY5" fmla="*/ 5778 h 28549"/>
                <a:gd name="connsiteX6" fmla="*/ 27530 w 28549"/>
                <a:gd name="connsiteY6" fmla="*/ 1020 h 28549"/>
                <a:gd name="connsiteX7" fmla="*/ 22772 w 28549"/>
                <a:gd name="connsiteY7" fmla="*/ 1020 h 28549"/>
                <a:gd name="connsiteX8" fmla="*/ 22772 w 28549"/>
                <a:gd name="connsiteY8" fmla="*/ 1020 h 2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49" h="28549">
                  <a:moveTo>
                    <a:pt x="22772" y="1020"/>
                  </a:moveTo>
                  <a:lnTo>
                    <a:pt x="1020" y="22772"/>
                  </a:lnTo>
                  <a:cubicBezTo>
                    <a:pt x="-340" y="24131"/>
                    <a:pt x="-340" y="26170"/>
                    <a:pt x="1020" y="27530"/>
                  </a:cubicBezTo>
                  <a:cubicBezTo>
                    <a:pt x="2379" y="28889"/>
                    <a:pt x="4418" y="28889"/>
                    <a:pt x="5778" y="27530"/>
                  </a:cubicBezTo>
                  <a:cubicBezTo>
                    <a:pt x="5778" y="27530"/>
                    <a:pt x="5778" y="27530"/>
                    <a:pt x="5778" y="27530"/>
                  </a:cubicBezTo>
                  <a:lnTo>
                    <a:pt x="27530" y="5778"/>
                  </a:lnTo>
                  <a:cubicBezTo>
                    <a:pt x="28889" y="4418"/>
                    <a:pt x="28889" y="2379"/>
                    <a:pt x="27530" y="1020"/>
                  </a:cubicBezTo>
                  <a:cubicBezTo>
                    <a:pt x="26170" y="-340"/>
                    <a:pt x="24131" y="-340"/>
                    <a:pt x="22772" y="1020"/>
                  </a:cubicBezTo>
                  <a:lnTo>
                    <a:pt x="22772" y="1020"/>
                  </a:lnTo>
                  <a:close/>
                </a:path>
              </a:pathLst>
            </a:custGeom>
            <a:grpFill/>
            <a:ln w="3373" cap="flat">
              <a:noFill/>
              <a:prstDash val="solid"/>
              <a:miter/>
            </a:ln>
          </p:spPr>
          <p:txBody>
            <a:bodyPr rtlCol="0" anchor="ctr"/>
            <a:lstStyle/>
            <a:p>
              <a:endParaRPr lang="en-IN"/>
            </a:p>
          </p:txBody>
        </p:sp>
        <p:sp>
          <p:nvSpPr>
            <p:cNvPr id="112" name="Freeform: Shape 111">
              <a:extLst>
                <a:ext uri="{FF2B5EF4-FFF2-40B4-BE49-F238E27FC236}">
                  <a16:creationId xmlns:a16="http://schemas.microsoft.com/office/drawing/2014/main" id="{188A0617-5C78-DF29-4B96-DA59B54D4229}"/>
                </a:ext>
              </a:extLst>
            </p:cNvPr>
            <p:cNvSpPr/>
            <p:nvPr/>
          </p:nvSpPr>
          <p:spPr>
            <a:xfrm>
              <a:off x="9586420" y="1577696"/>
              <a:ext cx="39425" cy="21752"/>
            </a:xfrm>
            <a:custGeom>
              <a:avLst/>
              <a:gdLst>
                <a:gd name="connsiteX0" fmla="*/ 19713 w 39425"/>
                <a:gd name="connsiteY0" fmla="*/ 21752 h 21752"/>
                <a:gd name="connsiteX1" fmla="*/ 0 w 39425"/>
                <a:gd name="connsiteY1" fmla="*/ 3739 h 21752"/>
                <a:gd name="connsiteX2" fmla="*/ 3059 w 39425"/>
                <a:gd name="connsiteY2" fmla="*/ 0 h 21752"/>
                <a:gd name="connsiteX3" fmla="*/ 3399 w 39425"/>
                <a:gd name="connsiteY3" fmla="*/ 0 h 21752"/>
                <a:gd name="connsiteX4" fmla="*/ 36027 w 39425"/>
                <a:gd name="connsiteY4" fmla="*/ 0 h 21752"/>
                <a:gd name="connsiteX5" fmla="*/ 39426 w 39425"/>
                <a:gd name="connsiteY5" fmla="*/ 3399 h 21752"/>
                <a:gd name="connsiteX6" fmla="*/ 39426 w 39425"/>
                <a:gd name="connsiteY6" fmla="*/ 3739 h 21752"/>
                <a:gd name="connsiteX7" fmla="*/ 19713 w 39425"/>
                <a:gd name="connsiteY7" fmla="*/ 21752 h 21752"/>
                <a:gd name="connsiteX8" fmla="*/ 7817 w 39425"/>
                <a:gd name="connsiteY8" fmla="*/ 6798 h 21752"/>
                <a:gd name="connsiteX9" fmla="*/ 24471 w 39425"/>
                <a:gd name="connsiteY9" fmla="*/ 14275 h 21752"/>
                <a:gd name="connsiteX10" fmla="*/ 31948 w 39425"/>
                <a:gd name="connsiteY10" fmla="*/ 6798 h 21752"/>
                <a:gd name="connsiteX11" fmla="*/ 7817 w 39425"/>
                <a:gd name="connsiteY11" fmla="*/ 6798 h 2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425" h="21752">
                  <a:moveTo>
                    <a:pt x="19713" y="21752"/>
                  </a:moveTo>
                  <a:cubicBezTo>
                    <a:pt x="9517" y="21752"/>
                    <a:pt x="1020" y="13935"/>
                    <a:pt x="0" y="3739"/>
                  </a:cubicBezTo>
                  <a:cubicBezTo>
                    <a:pt x="0" y="1699"/>
                    <a:pt x="1360" y="340"/>
                    <a:pt x="3059" y="0"/>
                  </a:cubicBezTo>
                  <a:cubicBezTo>
                    <a:pt x="3059" y="0"/>
                    <a:pt x="3399" y="0"/>
                    <a:pt x="3399" y="0"/>
                  </a:cubicBezTo>
                  <a:lnTo>
                    <a:pt x="36027" y="0"/>
                  </a:lnTo>
                  <a:cubicBezTo>
                    <a:pt x="38066" y="0"/>
                    <a:pt x="39426" y="1360"/>
                    <a:pt x="39426" y="3399"/>
                  </a:cubicBezTo>
                  <a:cubicBezTo>
                    <a:pt x="39426" y="3399"/>
                    <a:pt x="39426" y="3739"/>
                    <a:pt x="39426" y="3739"/>
                  </a:cubicBezTo>
                  <a:cubicBezTo>
                    <a:pt x="38406" y="13935"/>
                    <a:pt x="29909" y="21752"/>
                    <a:pt x="19713" y="21752"/>
                  </a:cubicBezTo>
                  <a:close/>
                  <a:moveTo>
                    <a:pt x="7817" y="6798"/>
                  </a:moveTo>
                  <a:cubicBezTo>
                    <a:pt x="10536" y="13255"/>
                    <a:pt x="18013" y="16654"/>
                    <a:pt x="24471" y="14275"/>
                  </a:cubicBezTo>
                  <a:cubicBezTo>
                    <a:pt x="27870" y="12915"/>
                    <a:pt x="30589" y="10196"/>
                    <a:pt x="31948" y="6798"/>
                  </a:cubicBezTo>
                  <a:lnTo>
                    <a:pt x="7817" y="6798"/>
                  </a:lnTo>
                  <a:close/>
                </a:path>
              </a:pathLst>
            </a:custGeom>
            <a:grpFill/>
            <a:ln w="3373" cap="flat">
              <a:noFill/>
              <a:prstDash val="solid"/>
              <a:miter/>
            </a:ln>
          </p:spPr>
          <p:txBody>
            <a:bodyPr rtlCol="0" anchor="ctr"/>
            <a:lstStyle/>
            <a:p>
              <a:endParaRPr lang="en-IN"/>
            </a:p>
          </p:txBody>
        </p:sp>
      </p:grpSp>
      <p:sp>
        <p:nvSpPr>
          <p:cNvPr id="113" name="Graphic 1080" descr="Connected outline">
            <a:extLst>
              <a:ext uri="{FF2B5EF4-FFF2-40B4-BE49-F238E27FC236}">
                <a16:creationId xmlns:a16="http://schemas.microsoft.com/office/drawing/2014/main" id="{ED9CA9B8-79F6-34AC-2577-D166CC5C61CA}"/>
              </a:ext>
            </a:extLst>
          </p:cNvPr>
          <p:cNvSpPr/>
          <p:nvPr/>
        </p:nvSpPr>
        <p:spPr>
          <a:xfrm>
            <a:off x="8919008" y="1345034"/>
            <a:ext cx="256325" cy="290440"/>
          </a:xfrm>
          <a:custGeom>
            <a:avLst/>
            <a:gdLst>
              <a:gd name="connsiteX0" fmla="*/ 222127 w 256325"/>
              <a:gd name="connsiteY0" fmla="*/ 222100 h 290440"/>
              <a:gd name="connsiteX1" fmla="*/ 188257 w 256325"/>
              <a:gd name="connsiteY1" fmla="*/ 251998 h 290440"/>
              <a:gd name="connsiteX2" fmla="*/ 132434 w 256325"/>
              <a:gd name="connsiteY2" fmla="*/ 251998 h 290440"/>
              <a:gd name="connsiteX3" fmla="*/ 132434 w 256325"/>
              <a:gd name="connsiteY3" fmla="*/ 179095 h 290440"/>
              <a:gd name="connsiteX4" fmla="*/ 162064 w 256325"/>
              <a:gd name="connsiteY4" fmla="*/ 140977 h 290440"/>
              <a:gd name="connsiteX5" fmla="*/ 132434 w 256325"/>
              <a:gd name="connsiteY5" fmla="*/ 111347 h 290440"/>
              <a:gd name="connsiteX6" fmla="*/ 132434 w 256325"/>
              <a:gd name="connsiteY6" fmla="*/ 29901 h 290440"/>
              <a:gd name="connsiteX7" fmla="*/ 68073 w 256325"/>
              <a:gd name="connsiteY7" fmla="*/ 29901 h 290440"/>
              <a:gd name="connsiteX8" fmla="*/ 29901 w 256325"/>
              <a:gd name="connsiteY8" fmla="*/ 272 h 290440"/>
              <a:gd name="connsiteX9" fmla="*/ 272 w 256325"/>
              <a:gd name="connsiteY9" fmla="*/ 38444 h 290440"/>
              <a:gd name="connsiteX10" fmla="*/ 38443 w 256325"/>
              <a:gd name="connsiteY10" fmla="*/ 68073 h 290440"/>
              <a:gd name="connsiteX11" fmla="*/ 68073 w 256325"/>
              <a:gd name="connsiteY11" fmla="*/ 38444 h 290440"/>
              <a:gd name="connsiteX12" fmla="*/ 123892 w 256325"/>
              <a:gd name="connsiteY12" fmla="*/ 38444 h 290440"/>
              <a:gd name="connsiteX13" fmla="*/ 123892 w 256325"/>
              <a:gd name="connsiteY13" fmla="*/ 111347 h 290440"/>
              <a:gd name="connsiteX14" fmla="*/ 94262 w 256325"/>
              <a:gd name="connsiteY14" fmla="*/ 149464 h 290440"/>
              <a:gd name="connsiteX15" fmla="*/ 123892 w 256325"/>
              <a:gd name="connsiteY15" fmla="*/ 179095 h 290440"/>
              <a:gd name="connsiteX16" fmla="*/ 123892 w 256325"/>
              <a:gd name="connsiteY16" fmla="*/ 260540 h 290440"/>
              <a:gd name="connsiteX17" fmla="*/ 188253 w 256325"/>
              <a:gd name="connsiteY17" fmla="*/ 260540 h 290440"/>
              <a:gd name="connsiteX18" fmla="*/ 226425 w 256325"/>
              <a:gd name="connsiteY18" fmla="*/ 290169 h 290440"/>
              <a:gd name="connsiteX19" fmla="*/ 256054 w 256325"/>
              <a:gd name="connsiteY19" fmla="*/ 251998 h 290440"/>
              <a:gd name="connsiteX20" fmla="*/ 222127 w 256325"/>
              <a:gd name="connsiteY20" fmla="*/ 222100 h 290440"/>
              <a:gd name="connsiteX21" fmla="*/ 34199 w 256325"/>
              <a:gd name="connsiteY21" fmla="*/ 59799 h 290440"/>
              <a:gd name="connsiteX22" fmla="*/ 8573 w 256325"/>
              <a:gd name="connsiteY22" fmla="*/ 34172 h 290440"/>
              <a:gd name="connsiteX23" fmla="*/ 34199 w 256325"/>
              <a:gd name="connsiteY23" fmla="*/ 8546 h 290440"/>
              <a:gd name="connsiteX24" fmla="*/ 59826 w 256325"/>
              <a:gd name="connsiteY24" fmla="*/ 34172 h 290440"/>
              <a:gd name="connsiteX25" fmla="*/ 34199 w 256325"/>
              <a:gd name="connsiteY25" fmla="*/ 59799 h 290440"/>
              <a:gd name="connsiteX26" fmla="*/ 102536 w 256325"/>
              <a:gd name="connsiteY26" fmla="*/ 145221 h 290440"/>
              <a:gd name="connsiteX27" fmla="*/ 128163 w 256325"/>
              <a:gd name="connsiteY27" fmla="*/ 119594 h 290440"/>
              <a:gd name="connsiteX28" fmla="*/ 153789 w 256325"/>
              <a:gd name="connsiteY28" fmla="*/ 145221 h 290440"/>
              <a:gd name="connsiteX29" fmla="*/ 128163 w 256325"/>
              <a:gd name="connsiteY29" fmla="*/ 170847 h 290440"/>
              <a:gd name="connsiteX30" fmla="*/ 102536 w 256325"/>
              <a:gd name="connsiteY30" fmla="*/ 145221 h 290440"/>
              <a:gd name="connsiteX31" fmla="*/ 222127 w 256325"/>
              <a:gd name="connsiteY31" fmla="*/ 281895 h 290440"/>
              <a:gd name="connsiteX32" fmla="*/ 196500 w 256325"/>
              <a:gd name="connsiteY32" fmla="*/ 256269 h 290440"/>
              <a:gd name="connsiteX33" fmla="*/ 222127 w 256325"/>
              <a:gd name="connsiteY33" fmla="*/ 230642 h 290440"/>
              <a:gd name="connsiteX34" fmla="*/ 247753 w 256325"/>
              <a:gd name="connsiteY34" fmla="*/ 256269 h 290440"/>
              <a:gd name="connsiteX35" fmla="*/ 222127 w 256325"/>
              <a:gd name="connsiteY35" fmla="*/ 281895 h 29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6325" h="290440">
                <a:moveTo>
                  <a:pt x="222127" y="222100"/>
                </a:moveTo>
                <a:cubicBezTo>
                  <a:pt x="204919" y="222116"/>
                  <a:pt x="190408" y="234925"/>
                  <a:pt x="188257" y="251998"/>
                </a:cubicBezTo>
                <a:lnTo>
                  <a:pt x="132434" y="251998"/>
                </a:lnTo>
                <a:lnTo>
                  <a:pt x="132434" y="179095"/>
                </a:lnTo>
                <a:cubicBezTo>
                  <a:pt x="151142" y="176751"/>
                  <a:pt x="164408" y="159685"/>
                  <a:pt x="162064" y="140977"/>
                </a:cubicBezTo>
                <a:cubicBezTo>
                  <a:pt x="160123" y="125487"/>
                  <a:pt x="147923" y="113287"/>
                  <a:pt x="132434" y="111347"/>
                </a:cubicBezTo>
                <a:lnTo>
                  <a:pt x="132434" y="29901"/>
                </a:lnTo>
                <a:lnTo>
                  <a:pt x="68073" y="29901"/>
                </a:lnTo>
                <a:cubicBezTo>
                  <a:pt x="65714" y="11179"/>
                  <a:pt x="48624" y="-2087"/>
                  <a:pt x="29901" y="272"/>
                </a:cubicBezTo>
                <a:cubicBezTo>
                  <a:pt x="11178" y="2630"/>
                  <a:pt x="-2087" y="19721"/>
                  <a:pt x="272" y="38444"/>
                </a:cubicBezTo>
                <a:cubicBezTo>
                  <a:pt x="2631" y="57166"/>
                  <a:pt x="19720" y="70432"/>
                  <a:pt x="38443" y="68073"/>
                </a:cubicBezTo>
                <a:cubicBezTo>
                  <a:pt x="53928" y="66122"/>
                  <a:pt x="66122" y="53928"/>
                  <a:pt x="68073" y="38444"/>
                </a:cubicBezTo>
                <a:lnTo>
                  <a:pt x="123892" y="38444"/>
                </a:lnTo>
                <a:lnTo>
                  <a:pt x="123892" y="111347"/>
                </a:lnTo>
                <a:cubicBezTo>
                  <a:pt x="105184" y="113691"/>
                  <a:pt x="91918" y="130757"/>
                  <a:pt x="94262" y="149464"/>
                </a:cubicBezTo>
                <a:cubicBezTo>
                  <a:pt x="96202" y="164954"/>
                  <a:pt x="108402" y="177154"/>
                  <a:pt x="123892" y="179095"/>
                </a:cubicBezTo>
                <a:lnTo>
                  <a:pt x="123892" y="260540"/>
                </a:lnTo>
                <a:lnTo>
                  <a:pt x="188253" y="260540"/>
                </a:lnTo>
                <a:cubicBezTo>
                  <a:pt x="190612" y="279263"/>
                  <a:pt x="207702" y="292528"/>
                  <a:pt x="226425" y="290169"/>
                </a:cubicBezTo>
                <a:cubicBezTo>
                  <a:pt x="245147" y="287811"/>
                  <a:pt x="258413" y="270720"/>
                  <a:pt x="256054" y="251998"/>
                </a:cubicBezTo>
                <a:cubicBezTo>
                  <a:pt x="253901" y="234903"/>
                  <a:pt x="239356" y="222086"/>
                  <a:pt x="222127" y="222100"/>
                </a:cubicBezTo>
                <a:close/>
                <a:moveTo>
                  <a:pt x="34199" y="59799"/>
                </a:moveTo>
                <a:cubicBezTo>
                  <a:pt x="20046" y="59799"/>
                  <a:pt x="8573" y="48326"/>
                  <a:pt x="8573" y="34172"/>
                </a:cubicBezTo>
                <a:cubicBezTo>
                  <a:pt x="8573" y="20019"/>
                  <a:pt x="20046" y="8546"/>
                  <a:pt x="34199" y="8546"/>
                </a:cubicBezTo>
                <a:cubicBezTo>
                  <a:pt x="48352" y="8546"/>
                  <a:pt x="59826" y="20019"/>
                  <a:pt x="59826" y="34172"/>
                </a:cubicBezTo>
                <a:cubicBezTo>
                  <a:pt x="59809" y="48319"/>
                  <a:pt x="48345" y="59782"/>
                  <a:pt x="34199" y="59799"/>
                </a:cubicBezTo>
                <a:close/>
                <a:moveTo>
                  <a:pt x="102536" y="145221"/>
                </a:moveTo>
                <a:cubicBezTo>
                  <a:pt x="102536" y="131068"/>
                  <a:pt x="114010" y="119594"/>
                  <a:pt x="128163" y="119594"/>
                </a:cubicBezTo>
                <a:cubicBezTo>
                  <a:pt x="142316" y="119594"/>
                  <a:pt x="153789" y="131068"/>
                  <a:pt x="153789" y="145221"/>
                </a:cubicBezTo>
                <a:cubicBezTo>
                  <a:pt x="153789" y="159374"/>
                  <a:pt x="142316" y="170847"/>
                  <a:pt x="128163" y="170847"/>
                </a:cubicBezTo>
                <a:cubicBezTo>
                  <a:pt x="114017" y="170830"/>
                  <a:pt x="102553" y="159367"/>
                  <a:pt x="102536" y="145221"/>
                </a:cubicBezTo>
                <a:close/>
                <a:moveTo>
                  <a:pt x="222127" y="281895"/>
                </a:moveTo>
                <a:cubicBezTo>
                  <a:pt x="207974" y="281895"/>
                  <a:pt x="196500" y="270422"/>
                  <a:pt x="196500" y="256269"/>
                </a:cubicBezTo>
                <a:cubicBezTo>
                  <a:pt x="196500" y="242116"/>
                  <a:pt x="207974" y="230642"/>
                  <a:pt x="222127" y="230642"/>
                </a:cubicBezTo>
                <a:cubicBezTo>
                  <a:pt x="236280" y="230642"/>
                  <a:pt x="247753" y="242116"/>
                  <a:pt x="247753" y="256269"/>
                </a:cubicBezTo>
                <a:cubicBezTo>
                  <a:pt x="247737" y="270415"/>
                  <a:pt x="236273" y="281879"/>
                  <a:pt x="222127" y="281895"/>
                </a:cubicBezTo>
                <a:close/>
              </a:path>
            </a:pathLst>
          </a:custGeom>
          <a:gradFill>
            <a:gsLst>
              <a:gs pos="0">
                <a:srgbClr val="3FB6FA"/>
              </a:gs>
              <a:gs pos="100000">
                <a:srgbClr val="8745A6"/>
              </a:gs>
            </a:gsLst>
            <a:lin ang="10800000" scaled="1"/>
          </a:gradFill>
          <a:ln w="4266" cap="flat">
            <a:noFill/>
            <a:prstDash val="solid"/>
            <a:miter/>
          </a:ln>
        </p:spPr>
        <p:txBody>
          <a:bodyPr rtlCol="0" anchor="ctr"/>
          <a:lstStyle/>
          <a:p>
            <a:endParaRPr lang="en-IN"/>
          </a:p>
        </p:txBody>
      </p:sp>
      <p:pic>
        <p:nvPicPr>
          <p:cNvPr id="4" name="Picture 3">
            <a:extLst>
              <a:ext uri="{FF2B5EF4-FFF2-40B4-BE49-F238E27FC236}">
                <a16:creationId xmlns:a16="http://schemas.microsoft.com/office/drawing/2014/main" id="{6D7F8E73-DA8C-62C8-7299-1425A4FB30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60987" y="6454737"/>
            <a:ext cx="338970" cy="338970"/>
          </a:xfrm>
          <a:prstGeom prst="rect">
            <a:avLst/>
          </a:prstGeom>
        </p:spPr>
      </p:pic>
      <p:sp>
        <p:nvSpPr>
          <p:cNvPr id="5" name="TextBox 4">
            <a:extLst>
              <a:ext uri="{FF2B5EF4-FFF2-40B4-BE49-F238E27FC236}">
                <a16:creationId xmlns:a16="http://schemas.microsoft.com/office/drawing/2014/main" id="{31FD9DE7-7C33-F52F-343E-BF1B0214CC30}"/>
              </a:ext>
            </a:extLst>
          </p:cNvPr>
          <p:cNvSpPr txBox="1"/>
          <p:nvPr/>
        </p:nvSpPr>
        <p:spPr>
          <a:xfrm>
            <a:off x="658874" y="6504388"/>
            <a:ext cx="175240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2025 Infinite Confidential</a:t>
            </a:r>
            <a:endParaRPr kumimoji="0" lang="en-IN"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60557639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B235C8-A3FF-452F-AC1D-799A4B3D8853}"/>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TIME </a:t>
            </a:r>
            <a:r>
              <a:rPr lang="en-US" sz="3200" spc="-150" dirty="0">
                <a:solidFill>
                  <a:srgbClr val="1E3ADA"/>
                </a:solidFill>
                <a:latin typeface="Work Sans" panose="00000500000000000000" pitchFamily="50" charset="0"/>
                <a:cs typeface="Segoe UI" panose="020B0502040204020203" pitchFamily="34" charset="0"/>
              </a:rPr>
              <a:t>SHEET &amp; PAYROLL</a:t>
            </a:r>
          </a:p>
        </p:txBody>
      </p:sp>
      <p:sp>
        <p:nvSpPr>
          <p:cNvPr id="5" name="TextBox 4">
            <a:extLst>
              <a:ext uri="{FF2B5EF4-FFF2-40B4-BE49-F238E27FC236}">
                <a16:creationId xmlns:a16="http://schemas.microsoft.com/office/drawing/2014/main" id="{AE02F245-348B-428F-9B10-CFCB4E7D41CA}"/>
              </a:ext>
            </a:extLst>
          </p:cNvPr>
          <p:cNvSpPr txBox="1"/>
          <p:nvPr/>
        </p:nvSpPr>
        <p:spPr>
          <a:xfrm>
            <a:off x="337096" y="877474"/>
            <a:ext cx="7404392" cy="4912114"/>
          </a:xfrm>
          <a:prstGeom prst="rect">
            <a:avLst/>
          </a:prstGeom>
          <a:noFill/>
        </p:spPr>
        <p:txBody>
          <a:bodyPr wrap="square" rtlCol="0">
            <a:spAutoFit/>
          </a:bodyPr>
          <a:lstStyle/>
          <a:p>
            <a:pPr marL="241294" indent="-241294">
              <a:lnSpc>
                <a:spcPct val="90000"/>
              </a:lnSpc>
              <a:buFont typeface="Arial" pitchFamily="34" charset="0"/>
              <a:buChar char="•"/>
            </a:pPr>
            <a:r>
              <a:rPr lang="en-US" dirty="0">
                <a:solidFill>
                  <a:schemeClr val="tx1">
                    <a:lumMod val="75000"/>
                    <a:lumOff val="25000"/>
                  </a:schemeClr>
                </a:solidFill>
                <a:ea typeface="Roboto" pitchFamily="2" charset="0"/>
              </a:rPr>
              <a:t>Attendance for all Infinite employees is tracked through a web-based Time Management System (TMS).</a:t>
            </a:r>
          </a:p>
          <a:p>
            <a:pPr marL="241294" indent="-241294">
              <a:lnSpc>
                <a:spcPct val="90000"/>
              </a:lnSpc>
              <a:buFont typeface="Arial" pitchFamily="34" charset="0"/>
              <a:buChar char="•"/>
            </a:pPr>
            <a:endParaRPr lang="en-US"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US" dirty="0">
                <a:solidFill>
                  <a:schemeClr val="tx1">
                    <a:lumMod val="75000"/>
                    <a:lumOff val="25000"/>
                  </a:schemeClr>
                </a:solidFill>
                <a:ea typeface="Roboto" pitchFamily="2" charset="0"/>
              </a:rPr>
              <a:t>You will be notified regarding your User ID and password  to access TMS within your first week of employment. Until you receive your login information you will need to complete a manual timesheet.</a:t>
            </a:r>
          </a:p>
          <a:p>
            <a:pPr marL="0" lvl="1">
              <a:lnSpc>
                <a:spcPct val="90000"/>
              </a:lnSpc>
            </a:pPr>
            <a:endParaRPr lang="en-US"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US" dirty="0">
                <a:solidFill>
                  <a:schemeClr val="tx1">
                    <a:lumMod val="75000"/>
                    <a:lumOff val="25000"/>
                  </a:schemeClr>
                </a:solidFill>
                <a:ea typeface="Roboto" pitchFamily="2" charset="0"/>
              </a:rPr>
              <a:t>TMS can be accessed through BizX at </a:t>
            </a:r>
            <a:r>
              <a:rPr lang="en-IN" sz="1800" u="sng" dirty="0">
                <a:solidFill>
                  <a:srgbClr val="467886"/>
                </a:solidFill>
                <a:effectLst/>
                <a:latin typeface="Aptos" panose="020B0004020202020204" pitchFamily="34" charset="0"/>
                <a:ea typeface="Aptos" panose="020B0004020202020204" pitchFamily="34" charset="0"/>
              </a:rPr>
              <a:t>https://bizx.infinite.com/bizx/home</a:t>
            </a:r>
          </a:p>
          <a:p>
            <a:pPr>
              <a:lnSpc>
                <a:spcPct val="90000"/>
              </a:lnSpc>
            </a:pPr>
            <a:endParaRPr lang="en-US" u="sng" dirty="0">
              <a:solidFill>
                <a:srgbClr val="1E3ADA"/>
              </a:solidFill>
              <a:ea typeface="Roboto" pitchFamily="2" charset="0"/>
            </a:endParaRPr>
          </a:p>
          <a:p>
            <a:pPr marL="241294" indent="-241294">
              <a:lnSpc>
                <a:spcPct val="90000"/>
              </a:lnSpc>
              <a:buFont typeface="Arial" pitchFamily="34" charset="0"/>
              <a:buChar char="•"/>
            </a:pPr>
            <a:r>
              <a:rPr lang="en-US" dirty="0">
                <a:solidFill>
                  <a:schemeClr val="tx1">
                    <a:lumMod val="75000"/>
                    <a:lumOff val="25000"/>
                  </a:schemeClr>
                </a:solidFill>
                <a:ea typeface="Roboto" pitchFamily="2" charset="0"/>
              </a:rPr>
              <a:t>The best browser to use is Google Chrome.</a:t>
            </a:r>
          </a:p>
          <a:p>
            <a:pPr marL="241294" indent="-241294">
              <a:lnSpc>
                <a:spcPct val="90000"/>
              </a:lnSpc>
            </a:pPr>
            <a:endParaRPr lang="en-US"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US" dirty="0">
                <a:solidFill>
                  <a:schemeClr val="tx1">
                    <a:lumMod val="75000"/>
                    <a:lumOff val="25000"/>
                  </a:schemeClr>
                </a:solidFill>
                <a:ea typeface="Roboto" pitchFamily="2" charset="0"/>
              </a:rPr>
              <a:t>The BizX Timesheet allows employees to complete their timesheets for the current two-week payroll period.</a:t>
            </a:r>
          </a:p>
          <a:p>
            <a:pPr marL="241294" indent="-241294">
              <a:lnSpc>
                <a:spcPct val="90000"/>
              </a:lnSpc>
              <a:buFont typeface="Arial" pitchFamily="34" charset="0"/>
              <a:buChar char="•"/>
            </a:pPr>
            <a:endParaRPr lang="en-US"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US" dirty="0">
                <a:solidFill>
                  <a:schemeClr val="tx1">
                    <a:lumMod val="75000"/>
                    <a:lumOff val="25000"/>
                  </a:schemeClr>
                </a:solidFill>
                <a:ea typeface="Roboto" pitchFamily="2" charset="0"/>
              </a:rPr>
              <a:t>Missed hours can be logged by contacting </a:t>
            </a:r>
            <a:r>
              <a:rPr lang="en-US" dirty="0">
                <a:solidFill>
                  <a:srgbClr val="1E3ADA"/>
                </a:solidFill>
                <a:ea typeface="Roboto" pitchFamily="2" charset="0"/>
                <a:hlinkClick r:id="rId2">
                  <a:extLst>
                    <a:ext uri="{A12FA001-AC4F-418D-AE19-62706E023703}">
                      <ahyp:hlinkClr xmlns:ahyp="http://schemas.microsoft.com/office/drawing/2018/hyperlinkcolor" val="tx"/>
                    </a:ext>
                  </a:extLst>
                </a:hlinkClick>
              </a:rPr>
              <a:t>USPayroll@infinite.com</a:t>
            </a:r>
            <a:r>
              <a:rPr lang="en-US" dirty="0">
                <a:solidFill>
                  <a:srgbClr val="1E3ADA"/>
                </a:solidFill>
                <a:ea typeface="Roboto" pitchFamily="2" charset="0"/>
              </a:rPr>
              <a:t> </a:t>
            </a:r>
          </a:p>
          <a:p>
            <a:pPr>
              <a:lnSpc>
                <a:spcPct val="90000"/>
              </a:lnSpc>
            </a:pPr>
            <a:endParaRPr lang="en-US" sz="2000" b="1" dirty="0">
              <a:solidFill>
                <a:srgbClr val="1E3ADA"/>
              </a:solidFill>
              <a:ea typeface="Roboto" pitchFamily="2" charset="0"/>
            </a:endParaRPr>
          </a:p>
          <a:p>
            <a:pPr marL="241294" indent="-241294">
              <a:lnSpc>
                <a:spcPct val="90000"/>
              </a:lnSpc>
              <a:buFont typeface="Arial" pitchFamily="34" charset="0"/>
              <a:buChar char="•"/>
            </a:pPr>
            <a:r>
              <a:rPr lang="en-US" sz="2000" b="1" dirty="0">
                <a:solidFill>
                  <a:schemeClr val="tx1">
                    <a:lumMod val="75000"/>
                    <a:lumOff val="25000"/>
                  </a:schemeClr>
                </a:solidFill>
                <a:ea typeface="Roboto" pitchFamily="2" charset="0"/>
              </a:rPr>
              <a:t>HR does </a:t>
            </a:r>
            <a:r>
              <a:rPr lang="en-US" sz="2000" b="1" dirty="0">
                <a:solidFill>
                  <a:srgbClr val="FF0000"/>
                </a:solidFill>
                <a:ea typeface="Roboto" pitchFamily="2" charset="0"/>
              </a:rPr>
              <a:t>NOT</a:t>
            </a:r>
            <a:r>
              <a:rPr lang="en-US" sz="2000" b="1" dirty="0">
                <a:solidFill>
                  <a:schemeClr val="tx1">
                    <a:lumMod val="75000"/>
                    <a:lumOff val="25000"/>
                  </a:schemeClr>
                </a:solidFill>
                <a:ea typeface="Roboto" pitchFamily="2" charset="0"/>
              </a:rPr>
              <a:t> handle timesheets or payroll. </a:t>
            </a:r>
          </a:p>
          <a:p>
            <a:pPr marL="241294" indent="-241294">
              <a:buFont typeface="Arial" pitchFamily="34" charset="0"/>
              <a:buChar char="•"/>
            </a:pPr>
            <a:endParaRPr lang="en-US" dirty="0">
              <a:solidFill>
                <a:schemeClr val="tx1">
                  <a:lumMod val="75000"/>
                  <a:lumOff val="25000"/>
                </a:schemeClr>
              </a:solidFill>
              <a:ea typeface="Roboto" pitchFamily="2" charset="0"/>
            </a:endParaRPr>
          </a:p>
        </p:txBody>
      </p:sp>
      <p:sp>
        <p:nvSpPr>
          <p:cNvPr id="6" name="Shape 6406">
            <a:extLst>
              <a:ext uri="{FF2B5EF4-FFF2-40B4-BE49-F238E27FC236}">
                <a16:creationId xmlns:a16="http://schemas.microsoft.com/office/drawing/2014/main" id="{96C1E595-244F-4F6F-B39E-9167024DD479}"/>
              </a:ext>
            </a:extLst>
          </p:cNvPr>
          <p:cNvSpPr/>
          <p:nvPr/>
        </p:nvSpPr>
        <p:spPr>
          <a:xfrm>
            <a:off x="381446" y="821475"/>
            <a:ext cx="7380000" cy="5466711"/>
          </a:xfrm>
          <a:prstGeom prst="rect">
            <a:avLst/>
          </a:prstGeom>
          <a:ln w="28575" cmpd="sng">
            <a:solidFill>
              <a:srgbClr val="00B6AD"/>
            </a:solidFill>
            <a:miter lim="400000"/>
          </a:ln>
        </p:spPr>
        <p:txBody>
          <a:bodyPr lIns="25400" tIns="25400" rIns="25400" bIns="25400" anchor="ctr"/>
          <a:lstStyle/>
          <a:p>
            <a:pPr defTabSz="1219170">
              <a:defRPr sz="3200">
                <a:solidFill>
                  <a:srgbClr val="FFFFFF"/>
                </a:solidFill>
              </a:defRPr>
            </a:pPr>
            <a:endParaRPr sz="1600" kern="0">
              <a:solidFill>
                <a:srgbClr val="FFFFFF"/>
              </a:solidFill>
            </a:endParaRPr>
          </a:p>
        </p:txBody>
      </p:sp>
      <p:grpSp>
        <p:nvGrpSpPr>
          <p:cNvPr id="7" name="Group 20531">
            <a:extLst>
              <a:ext uri="{FF2B5EF4-FFF2-40B4-BE49-F238E27FC236}">
                <a16:creationId xmlns:a16="http://schemas.microsoft.com/office/drawing/2014/main" id="{DB999B22-83A4-4E87-993C-4E7E64590974}"/>
              </a:ext>
            </a:extLst>
          </p:cNvPr>
          <p:cNvGrpSpPr/>
          <p:nvPr/>
        </p:nvGrpSpPr>
        <p:grpSpPr>
          <a:xfrm>
            <a:off x="8265929" y="1016001"/>
            <a:ext cx="3196689" cy="4932004"/>
            <a:chOff x="-2" y="0"/>
            <a:chExt cx="7418868" cy="11446190"/>
          </a:xfrm>
        </p:grpSpPr>
        <p:grpSp>
          <p:nvGrpSpPr>
            <p:cNvPr id="8" name="Group 20528">
              <a:extLst>
                <a:ext uri="{FF2B5EF4-FFF2-40B4-BE49-F238E27FC236}">
                  <a16:creationId xmlns:a16="http://schemas.microsoft.com/office/drawing/2014/main" id="{89B5BC69-DA2B-4BB9-A2CF-A3F162C0D3AF}"/>
                </a:ext>
              </a:extLst>
            </p:cNvPr>
            <p:cNvGrpSpPr/>
            <p:nvPr/>
          </p:nvGrpSpPr>
          <p:grpSpPr>
            <a:xfrm>
              <a:off x="-2" y="0"/>
              <a:ext cx="7418868" cy="11446190"/>
              <a:chOff x="-1" y="0"/>
              <a:chExt cx="7418866" cy="11446189"/>
            </a:xfrm>
          </p:grpSpPr>
          <p:sp>
            <p:nvSpPr>
              <p:cNvPr id="11" name="Shape 20503">
                <a:extLst>
                  <a:ext uri="{FF2B5EF4-FFF2-40B4-BE49-F238E27FC236}">
                    <a16:creationId xmlns:a16="http://schemas.microsoft.com/office/drawing/2014/main" id="{6D65024E-B062-4F21-ADA0-0ADFB72278F1}"/>
                  </a:ext>
                </a:extLst>
              </p:cNvPr>
              <p:cNvSpPr/>
              <p:nvPr/>
            </p:nvSpPr>
            <p:spPr>
              <a:xfrm>
                <a:off x="3000838" y="5535162"/>
                <a:ext cx="4411556" cy="5911027"/>
              </a:xfrm>
              <a:custGeom>
                <a:avLst/>
                <a:gdLst/>
                <a:ahLst/>
                <a:cxnLst>
                  <a:cxn ang="0">
                    <a:pos x="wd2" y="hd2"/>
                  </a:cxn>
                  <a:cxn ang="5400000">
                    <a:pos x="wd2" y="hd2"/>
                  </a:cxn>
                  <a:cxn ang="10800000">
                    <a:pos x="wd2" y="hd2"/>
                  </a:cxn>
                  <a:cxn ang="16200000">
                    <a:pos x="wd2" y="hd2"/>
                  </a:cxn>
                </a:cxnLst>
                <a:rect l="0" t="0" r="r" b="b"/>
                <a:pathLst>
                  <a:path w="21600" h="21600" extrusionOk="0">
                    <a:moveTo>
                      <a:pt x="6544" y="21600"/>
                    </a:moveTo>
                    <a:lnTo>
                      <a:pt x="11953" y="15394"/>
                    </a:lnTo>
                    <a:lnTo>
                      <a:pt x="21600" y="17117"/>
                    </a:lnTo>
                    <a:lnTo>
                      <a:pt x="8856" y="0"/>
                    </a:lnTo>
                    <a:lnTo>
                      <a:pt x="0" y="2637"/>
                    </a:lnTo>
                    <a:cubicBezTo>
                      <a:pt x="0" y="2637"/>
                      <a:pt x="6544" y="21600"/>
                      <a:pt x="6544" y="21600"/>
                    </a:cubicBezTo>
                    <a:close/>
                  </a:path>
                </a:pathLst>
              </a:custGeom>
              <a:gradFill flip="none" rotWithShape="1">
                <a:gsLst>
                  <a:gs pos="3000">
                    <a:srgbClr val="F50000"/>
                  </a:gs>
                  <a:gs pos="72000">
                    <a:srgbClr val="F50000">
                      <a:lumMod val="50000"/>
                    </a:srgbClr>
                  </a:gs>
                </a:gsLst>
                <a:path path="shape">
                  <a:fillToRect l="40987" t="27262" r="59012" b="72737"/>
                </a:path>
              </a:gra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2" name="Shape 20504">
                <a:extLst>
                  <a:ext uri="{FF2B5EF4-FFF2-40B4-BE49-F238E27FC236}">
                    <a16:creationId xmlns:a16="http://schemas.microsoft.com/office/drawing/2014/main" id="{882FC014-C750-4EB5-8240-AA6983FD0C8B}"/>
                  </a:ext>
                </a:extLst>
              </p:cNvPr>
              <p:cNvSpPr/>
              <p:nvPr/>
            </p:nvSpPr>
            <p:spPr>
              <a:xfrm>
                <a:off x="3000838" y="5900810"/>
                <a:ext cx="1782313" cy="381557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013"/>
                    </a:lnTo>
                    <a:lnTo>
                      <a:pt x="10800" y="21600"/>
                    </a:lnTo>
                    <a:lnTo>
                      <a:pt x="21600" y="2013"/>
                    </a:lnTo>
                    <a:cubicBezTo>
                      <a:pt x="21600" y="2013"/>
                      <a:pt x="10800" y="0"/>
                      <a:pt x="10800" y="0"/>
                    </a:cubicBezTo>
                    <a:close/>
                  </a:path>
                </a:pathLst>
              </a:custGeom>
              <a:solidFill>
                <a:srgbClr val="000000">
                  <a:alpha val="4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3" name="Shape 20505">
                <a:extLst>
                  <a:ext uri="{FF2B5EF4-FFF2-40B4-BE49-F238E27FC236}">
                    <a16:creationId xmlns:a16="http://schemas.microsoft.com/office/drawing/2014/main" id="{D0C979F8-5BA3-498E-B283-14427DC68D99}"/>
                  </a:ext>
                </a:extLst>
              </p:cNvPr>
              <p:cNvSpPr/>
              <p:nvPr/>
            </p:nvSpPr>
            <p:spPr>
              <a:xfrm>
                <a:off x="6305" y="5535162"/>
                <a:ext cx="4411546" cy="5911026"/>
              </a:xfrm>
              <a:custGeom>
                <a:avLst/>
                <a:gdLst/>
                <a:ahLst/>
                <a:cxnLst>
                  <a:cxn ang="0">
                    <a:pos x="wd2" y="hd2"/>
                  </a:cxn>
                  <a:cxn ang="5400000">
                    <a:pos x="wd2" y="hd2"/>
                  </a:cxn>
                  <a:cxn ang="10800000">
                    <a:pos x="wd2" y="hd2"/>
                  </a:cxn>
                  <a:cxn ang="16200000">
                    <a:pos x="wd2" y="hd2"/>
                  </a:cxn>
                </a:cxnLst>
                <a:rect l="0" t="0" r="r" b="b"/>
                <a:pathLst>
                  <a:path w="21600" h="21600" extrusionOk="0">
                    <a:moveTo>
                      <a:pt x="21600" y="2637"/>
                    </a:moveTo>
                    <a:lnTo>
                      <a:pt x="12743" y="0"/>
                    </a:lnTo>
                    <a:lnTo>
                      <a:pt x="0" y="17117"/>
                    </a:lnTo>
                    <a:lnTo>
                      <a:pt x="9647" y="15394"/>
                    </a:lnTo>
                    <a:lnTo>
                      <a:pt x="15056" y="21600"/>
                    </a:lnTo>
                    <a:cubicBezTo>
                      <a:pt x="15056" y="21600"/>
                      <a:pt x="21600" y="2637"/>
                      <a:pt x="21600" y="2637"/>
                    </a:cubicBezTo>
                    <a:close/>
                  </a:path>
                </a:pathLst>
              </a:custGeom>
              <a:gradFill flip="none" rotWithShape="1">
                <a:gsLst>
                  <a:gs pos="3000">
                    <a:srgbClr val="F50000">
                      <a:lumMod val="60000"/>
                      <a:lumOff val="40000"/>
                    </a:srgbClr>
                  </a:gs>
                  <a:gs pos="72000">
                    <a:srgbClr val="F50000"/>
                  </a:gs>
                </a:gsLst>
                <a:path path="shape">
                  <a:fillToRect l="66389" t="30249" r="33610" b="69750"/>
                </a:path>
              </a:gra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4" name="Shape 20506">
                <a:extLst>
                  <a:ext uri="{FF2B5EF4-FFF2-40B4-BE49-F238E27FC236}">
                    <a16:creationId xmlns:a16="http://schemas.microsoft.com/office/drawing/2014/main" id="{E9A64BC2-9C1B-40EA-8A96-97B3D3497A00}"/>
                  </a:ext>
                </a:extLst>
              </p:cNvPr>
              <p:cNvSpPr/>
              <p:nvPr/>
            </p:nvSpPr>
            <p:spPr>
              <a:xfrm>
                <a:off x="1794436" y="5535105"/>
                <a:ext cx="3829995" cy="1997676"/>
              </a:xfrm>
              <a:custGeom>
                <a:avLst/>
                <a:gdLst/>
                <a:ahLst/>
                <a:cxnLst>
                  <a:cxn ang="0">
                    <a:pos x="wd2" y="hd2"/>
                  </a:cxn>
                  <a:cxn ang="5400000">
                    <a:pos x="wd2" y="hd2"/>
                  </a:cxn>
                  <a:cxn ang="10800000">
                    <a:pos x="wd2" y="hd2"/>
                  </a:cxn>
                  <a:cxn ang="16200000">
                    <a:pos x="wd2" y="hd2"/>
                  </a:cxn>
                </a:cxnLst>
                <a:rect l="0" t="0" r="r" b="b"/>
                <a:pathLst>
                  <a:path w="21600" h="21386" extrusionOk="0">
                    <a:moveTo>
                      <a:pt x="4607" y="0"/>
                    </a:moveTo>
                    <a:lnTo>
                      <a:pt x="0" y="15745"/>
                    </a:lnTo>
                    <a:cubicBezTo>
                      <a:pt x="1415" y="17665"/>
                      <a:pt x="3018" y="19028"/>
                      <a:pt x="4718" y="19741"/>
                    </a:cubicBezTo>
                    <a:cubicBezTo>
                      <a:pt x="4967" y="19846"/>
                      <a:pt x="5219" y="19936"/>
                      <a:pt x="5471" y="20012"/>
                    </a:cubicBezTo>
                    <a:lnTo>
                      <a:pt x="6732" y="19580"/>
                    </a:lnTo>
                    <a:lnTo>
                      <a:pt x="6702" y="20331"/>
                    </a:lnTo>
                    <a:cubicBezTo>
                      <a:pt x="8575" y="21293"/>
                      <a:pt x="10525" y="21600"/>
                      <a:pt x="12456" y="21241"/>
                    </a:cubicBezTo>
                    <a:cubicBezTo>
                      <a:pt x="12573" y="21219"/>
                      <a:pt x="12687" y="21194"/>
                      <a:pt x="12803" y="21168"/>
                    </a:cubicBezTo>
                    <a:lnTo>
                      <a:pt x="13981" y="19822"/>
                    </a:lnTo>
                    <a:lnTo>
                      <a:pt x="14377" y="20768"/>
                    </a:lnTo>
                    <a:cubicBezTo>
                      <a:pt x="16160" y="20273"/>
                      <a:pt x="17901" y="19316"/>
                      <a:pt x="19548" y="17923"/>
                    </a:cubicBezTo>
                    <a:cubicBezTo>
                      <a:pt x="19641" y="17844"/>
                      <a:pt x="19734" y="17762"/>
                      <a:pt x="19827" y="17680"/>
                    </a:cubicBezTo>
                    <a:lnTo>
                      <a:pt x="20851" y="15425"/>
                    </a:lnTo>
                    <a:lnTo>
                      <a:pt x="21279" y="16233"/>
                    </a:lnTo>
                    <a:lnTo>
                      <a:pt x="21600" y="15648"/>
                    </a:lnTo>
                    <a:lnTo>
                      <a:pt x="17019" y="0"/>
                    </a:lnTo>
                    <a:lnTo>
                      <a:pt x="10813" y="4700"/>
                    </a:lnTo>
                    <a:lnTo>
                      <a:pt x="4607" y="0"/>
                    </a:lnTo>
                    <a:close/>
                  </a:path>
                </a:pathLst>
              </a:custGeom>
              <a:solidFill>
                <a:srgbClr val="000000">
                  <a:alpha val="5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5" name="Shape 20507">
                <a:extLst>
                  <a:ext uri="{FF2B5EF4-FFF2-40B4-BE49-F238E27FC236}">
                    <a16:creationId xmlns:a16="http://schemas.microsoft.com/office/drawing/2014/main" id="{B4026354-CB1F-457A-A4B6-688B0F7275F1}"/>
                  </a:ext>
                </a:extLst>
              </p:cNvPr>
              <p:cNvSpPr/>
              <p:nvPr/>
            </p:nvSpPr>
            <p:spPr>
              <a:xfrm>
                <a:off x="3095403" y="0"/>
                <a:ext cx="1258998" cy="1442315"/>
              </a:xfrm>
              <a:custGeom>
                <a:avLst/>
                <a:gdLst/>
                <a:ahLst/>
                <a:cxnLst>
                  <a:cxn ang="0">
                    <a:pos x="wd2" y="hd2"/>
                  </a:cxn>
                  <a:cxn ang="5400000">
                    <a:pos x="wd2" y="hd2"/>
                  </a:cxn>
                  <a:cxn ang="10800000">
                    <a:pos x="wd2" y="hd2"/>
                  </a:cxn>
                  <a:cxn ang="16200000">
                    <a:pos x="wd2" y="hd2"/>
                  </a:cxn>
                </a:cxnLst>
                <a:rect l="0" t="0" r="r" b="b"/>
                <a:pathLst>
                  <a:path w="21600" h="21600" extrusionOk="0">
                    <a:moveTo>
                      <a:pt x="10573" y="0"/>
                    </a:moveTo>
                    <a:cubicBezTo>
                      <a:pt x="9054" y="0"/>
                      <a:pt x="7548" y="49"/>
                      <a:pt x="6056" y="141"/>
                    </a:cubicBezTo>
                    <a:lnTo>
                      <a:pt x="0" y="2620"/>
                    </a:lnTo>
                    <a:lnTo>
                      <a:pt x="5250" y="21115"/>
                    </a:lnTo>
                    <a:cubicBezTo>
                      <a:pt x="6992" y="20912"/>
                      <a:pt x="8768" y="20805"/>
                      <a:pt x="10573" y="20805"/>
                    </a:cubicBezTo>
                    <a:cubicBezTo>
                      <a:pt x="13488" y="20805"/>
                      <a:pt x="16328" y="21081"/>
                      <a:pt x="19064" y="21600"/>
                    </a:cubicBezTo>
                    <a:lnTo>
                      <a:pt x="21600" y="833"/>
                    </a:lnTo>
                    <a:cubicBezTo>
                      <a:pt x="18018" y="287"/>
                      <a:pt x="14334" y="0"/>
                      <a:pt x="10573" y="0"/>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6" name="Shape 20508">
                <a:extLst>
                  <a:ext uri="{FF2B5EF4-FFF2-40B4-BE49-F238E27FC236}">
                    <a16:creationId xmlns:a16="http://schemas.microsoft.com/office/drawing/2014/main" id="{393272D1-65C7-4412-9280-3279ACA5D29F}"/>
                  </a:ext>
                </a:extLst>
              </p:cNvPr>
              <p:cNvSpPr/>
              <p:nvPr/>
            </p:nvSpPr>
            <p:spPr>
              <a:xfrm>
                <a:off x="4015829" y="5762115"/>
                <a:ext cx="1474914" cy="1598186"/>
              </a:xfrm>
              <a:custGeom>
                <a:avLst/>
                <a:gdLst/>
                <a:ahLst/>
                <a:cxnLst>
                  <a:cxn ang="0">
                    <a:pos x="wd2" y="hd2"/>
                  </a:cxn>
                  <a:cxn ang="5400000">
                    <a:pos x="wd2" y="hd2"/>
                  </a:cxn>
                  <a:cxn ang="10800000">
                    <a:pos x="wd2" y="hd2"/>
                  </a:cxn>
                  <a:cxn ang="16200000">
                    <a:pos x="wd2" y="hd2"/>
                  </a:cxn>
                </a:cxnLst>
                <a:rect l="0" t="0" r="r" b="b"/>
                <a:pathLst>
                  <a:path w="21600" h="21600" extrusionOk="0">
                    <a:moveTo>
                      <a:pt x="21561" y="14166"/>
                    </a:moveTo>
                    <a:lnTo>
                      <a:pt x="21600" y="14204"/>
                    </a:lnTo>
                    <a:lnTo>
                      <a:pt x="11251" y="0"/>
                    </a:lnTo>
                    <a:cubicBezTo>
                      <a:pt x="7807" y="1669"/>
                      <a:pt x="4014" y="2809"/>
                      <a:pt x="0" y="3302"/>
                    </a:cubicBezTo>
                    <a:lnTo>
                      <a:pt x="4869" y="21439"/>
                    </a:lnTo>
                    <a:lnTo>
                      <a:pt x="4869" y="21439"/>
                    </a:lnTo>
                    <a:lnTo>
                      <a:pt x="4913" y="21600"/>
                    </a:lnTo>
                    <a:cubicBezTo>
                      <a:pt x="9301" y="20891"/>
                      <a:pt x="13509" y="19695"/>
                      <a:pt x="17467" y="18076"/>
                    </a:cubicBezTo>
                    <a:lnTo>
                      <a:pt x="17318" y="18099"/>
                    </a:lnTo>
                    <a:cubicBezTo>
                      <a:pt x="17318" y="18099"/>
                      <a:pt x="21561" y="14166"/>
                      <a:pt x="21561" y="14166"/>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7" name="Shape 20509">
                <a:extLst>
                  <a:ext uri="{FF2B5EF4-FFF2-40B4-BE49-F238E27FC236}">
                    <a16:creationId xmlns:a16="http://schemas.microsoft.com/office/drawing/2014/main" id="{0F61D686-A945-4327-90FC-EA0D23FAC4B3}"/>
                  </a:ext>
                </a:extLst>
              </p:cNvPr>
              <p:cNvSpPr/>
              <p:nvPr/>
            </p:nvSpPr>
            <p:spPr>
              <a:xfrm>
                <a:off x="958250" y="498038"/>
                <a:ext cx="1670491" cy="1649972"/>
              </a:xfrm>
              <a:custGeom>
                <a:avLst/>
                <a:gdLst/>
                <a:ahLst/>
                <a:cxnLst>
                  <a:cxn ang="0">
                    <a:pos x="wd2" y="hd2"/>
                  </a:cxn>
                  <a:cxn ang="5400000">
                    <a:pos x="wd2" y="hd2"/>
                  </a:cxn>
                  <a:cxn ang="10800000">
                    <a:pos x="wd2" y="hd2"/>
                  </a:cxn>
                  <a:cxn ang="16200000">
                    <a:pos x="wd2" y="hd2"/>
                  </a:cxn>
                </a:cxnLst>
                <a:rect l="0" t="0" r="r" b="b"/>
                <a:pathLst>
                  <a:path w="21600" h="21600" extrusionOk="0">
                    <a:moveTo>
                      <a:pt x="11538" y="0"/>
                    </a:moveTo>
                    <a:cubicBezTo>
                      <a:pt x="8069" y="2034"/>
                      <a:pt x="4877" y="4498"/>
                      <a:pt x="2029" y="7316"/>
                    </a:cubicBezTo>
                    <a:lnTo>
                      <a:pt x="0" y="11745"/>
                    </a:lnTo>
                    <a:lnTo>
                      <a:pt x="13357" y="21600"/>
                    </a:lnTo>
                    <a:cubicBezTo>
                      <a:pt x="15703" y="18994"/>
                      <a:pt x="18491" y="16805"/>
                      <a:pt x="21600" y="15150"/>
                    </a:cubicBezTo>
                    <a:cubicBezTo>
                      <a:pt x="21600" y="15150"/>
                      <a:pt x="11538" y="0"/>
                      <a:pt x="11538" y="0"/>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8" name="Shape 20510">
                <a:extLst>
                  <a:ext uri="{FF2B5EF4-FFF2-40B4-BE49-F238E27FC236}">
                    <a16:creationId xmlns:a16="http://schemas.microsoft.com/office/drawing/2014/main" id="{FFBF47B0-121D-485E-B0C1-1308D7F2920B}"/>
                  </a:ext>
                </a:extLst>
              </p:cNvPr>
              <p:cNvSpPr/>
              <p:nvPr/>
            </p:nvSpPr>
            <p:spPr>
              <a:xfrm>
                <a:off x="5421683" y="4589518"/>
                <a:ext cx="1649279" cy="1502212"/>
              </a:xfrm>
              <a:custGeom>
                <a:avLst/>
                <a:gdLst/>
                <a:ahLst/>
                <a:cxnLst>
                  <a:cxn ang="0">
                    <a:pos x="wd2" y="hd2"/>
                  </a:cxn>
                  <a:cxn ang="5400000">
                    <a:pos x="wd2" y="hd2"/>
                  </a:cxn>
                  <a:cxn ang="10800000">
                    <a:pos x="wd2" y="hd2"/>
                  </a:cxn>
                  <a:cxn ang="16200000">
                    <a:pos x="wd2" y="hd2"/>
                  </a:cxn>
                </a:cxnLst>
                <a:rect l="0" t="0" r="r" b="b"/>
                <a:pathLst>
                  <a:path w="21600" h="21600" extrusionOk="0">
                    <a:moveTo>
                      <a:pt x="5653" y="0"/>
                    </a:moveTo>
                    <a:cubicBezTo>
                      <a:pt x="4294" y="3629"/>
                      <a:pt x="2370" y="6938"/>
                      <a:pt x="0" y="9792"/>
                    </a:cubicBezTo>
                    <a:lnTo>
                      <a:pt x="14757" y="21600"/>
                    </a:lnTo>
                    <a:cubicBezTo>
                      <a:pt x="17261" y="18327"/>
                      <a:pt x="19412" y="14719"/>
                      <a:pt x="21149" y="10847"/>
                    </a:cubicBezTo>
                    <a:lnTo>
                      <a:pt x="21600" y="5048"/>
                    </a:lnTo>
                    <a:cubicBezTo>
                      <a:pt x="21600" y="5048"/>
                      <a:pt x="5653" y="0"/>
                      <a:pt x="5653" y="0"/>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9" name="Shape 20511">
                <a:extLst>
                  <a:ext uri="{FF2B5EF4-FFF2-40B4-BE49-F238E27FC236}">
                    <a16:creationId xmlns:a16="http://schemas.microsoft.com/office/drawing/2014/main" id="{6DA6FDC2-8ADB-4419-86BD-E6F2D8D3A922}"/>
                  </a:ext>
                </a:extLst>
              </p:cNvPr>
              <p:cNvSpPr/>
              <p:nvPr/>
            </p:nvSpPr>
            <p:spPr>
              <a:xfrm>
                <a:off x="18912" y="2439758"/>
                <a:ext cx="1544956" cy="1261018"/>
              </a:xfrm>
              <a:custGeom>
                <a:avLst/>
                <a:gdLst/>
                <a:ahLst/>
                <a:cxnLst>
                  <a:cxn ang="0">
                    <a:pos x="wd2" y="hd2"/>
                  </a:cxn>
                  <a:cxn ang="5400000">
                    <a:pos x="wd2" y="hd2"/>
                  </a:cxn>
                  <a:cxn ang="10800000">
                    <a:pos x="wd2" y="hd2"/>
                  </a:cxn>
                  <a:cxn ang="16200000">
                    <a:pos x="wd2" y="hd2"/>
                  </a:cxn>
                </a:cxnLst>
                <a:rect l="0" t="0" r="r" b="b"/>
                <a:pathLst>
                  <a:path w="21600" h="21600" extrusionOk="0">
                    <a:moveTo>
                      <a:pt x="21600" y="6620"/>
                    </a:moveTo>
                    <a:lnTo>
                      <a:pt x="3016" y="55"/>
                    </a:lnTo>
                    <a:lnTo>
                      <a:pt x="3015" y="54"/>
                    </a:lnTo>
                    <a:lnTo>
                      <a:pt x="2862" y="0"/>
                    </a:lnTo>
                    <a:cubicBezTo>
                      <a:pt x="1404" y="4907"/>
                      <a:pt x="429" y="10097"/>
                      <a:pt x="0" y="15483"/>
                    </a:cubicBezTo>
                    <a:lnTo>
                      <a:pt x="1349" y="21600"/>
                    </a:lnTo>
                    <a:lnTo>
                      <a:pt x="19201" y="20103"/>
                    </a:lnTo>
                    <a:cubicBezTo>
                      <a:pt x="19357" y="15345"/>
                      <a:pt x="20196" y="10804"/>
                      <a:pt x="21600" y="6620"/>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0" name="Shape 20512">
                <a:extLst>
                  <a:ext uri="{FF2B5EF4-FFF2-40B4-BE49-F238E27FC236}">
                    <a16:creationId xmlns:a16="http://schemas.microsoft.com/office/drawing/2014/main" id="{97ADA3BD-269B-47A7-952A-B359BECFF9AC}"/>
                  </a:ext>
                </a:extLst>
              </p:cNvPr>
              <p:cNvSpPr/>
              <p:nvPr/>
            </p:nvSpPr>
            <p:spPr>
              <a:xfrm>
                <a:off x="5919723" y="2490192"/>
                <a:ext cx="1498396" cy="1313761"/>
              </a:xfrm>
              <a:custGeom>
                <a:avLst/>
                <a:gdLst/>
                <a:ahLst/>
                <a:cxnLst>
                  <a:cxn ang="0">
                    <a:pos x="wd2" y="hd2"/>
                  </a:cxn>
                  <a:cxn ang="5400000">
                    <a:pos x="wd2" y="hd2"/>
                  </a:cxn>
                  <a:cxn ang="10800000">
                    <a:pos x="wd2" y="hd2"/>
                  </a:cxn>
                  <a:cxn ang="16200000">
                    <a:pos x="wd2" y="hd2"/>
                  </a:cxn>
                </a:cxnLst>
                <a:rect l="0" t="0" r="r" b="b"/>
                <a:pathLst>
                  <a:path w="21600" h="21600" extrusionOk="0">
                    <a:moveTo>
                      <a:pt x="21600" y="20034"/>
                    </a:moveTo>
                    <a:cubicBezTo>
                      <a:pt x="21599" y="14976"/>
                      <a:pt x="21056" y="10063"/>
                      <a:pt x="20037" y="5364"/>
                    </a:cubicBezTo>
                    <a:lnTo>
                      <a:pt x="16729" y="0"/>
                    </a:lnTo>
                    <a:lnTo>
                      <a:pt x="0" y="8462"/>
                    </a:lnTo>
                    <a:cubicBezTo>
                      <a:pt x="1021" y="12117"/>
                      <a:pt x="1574" y="16011"/>
                      <a:pt x="1574" y="20052"/>
                    </a:cubicBezTo>
                    <a:cubicBezTo>
                      <a:pt x="1574" y="20571"/>
                      <a:pt x="1562" y="21086"/>
                      <a:pt x="1544" y="21600"/>
                    </a:cubicBezTo>
                    <a:cubicBezTo>
                      <a:pt x="1544" y="21600"/>
                      <a:pt x="21600" y="20034"/>
                      <a:pt x="21600" y="20034"/>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1" name="Shape 20513">
                <a:extLst>
                  <a:ext uri="{FF2B5EF4-FFF2-40B4-BE49-F238E27FC236}">
                    <a16:creationId xmlns:a16="http://schemas.microsoft.com/office/drawing/2014/main" id="{EEBF824E-9DB2-4B3B-8DEE-191112177A21}"/>
                  </a:ext>
                </a:extLst>
              </p:cNvPr>
              <p:cNvSpPr/>
              <p:nvPr/>
            </p:nvSpPr>
            <p:spPr>
              <a:xfrm>
                <a:off x="220648" y="4412998"/>
                <a:ext cx="1649541" cy="1598811"/>
              </a:xfrm>
              <a:custGeom>
                <a:avLst/>
                <a:gdLst/>
                <a:ahLst/>
                <a:cxnLst>
                  <a:cxn ang="0">
                    <a:pos x="wd2" y="hd2"/>
                  </a:cxn>
                  <a:cxn ang="5400000">
                    <a:pos x="wd2" y="hd2"/>
                  </a:cxn>
                  <a:cxn ang="10800000">
                    <a:pos x="wd2" y="hd2"/>
                  </a:cxn>
                  <a:cxn ang="16200000">
                    <a:pos x="wd2" y="hd2"/>
                  </a:cxn>
                </a:cxnLst>
                <a:rect l="0" t="0" r="r" b="b"/>
                <a:pathLst>
                  <a:path w="21600" h="21600" extrusionOk="0">
                    <a:moveTo>
                      <a:pt x="21600" y="9639"/>
                    </a:moveTo>
                    <a:cubicBezTo>
                      <a:pt x="19457" y="6778"/>
                      <a:pt x="17783" y="3524"/>
                      <a:pt x="16697" y="0"/>
                    </a:cubicBezTo>
                    <a:lnTo>
                      <a:pt x="141" y="7575"/>
                    </a:lnTo>
                    <a:lnTo>
                      <a:pt x="140" y="7576"/>
                    </a:lnTo>
                    <a:lnTo>
                      <a:pt x="0" y="7639"/>
                    </a:lnTo>
                    <a:cubicBezTo>
                      <a:pt x="1388" y="11571"/>
                      <a:pt x="3242" y="15271"/>
                      <a:pt x="5488" y="18672"/>
                    </a:cubicBezTo>
                    <a:lnTo>
                      <a:pt x="9560" y="21600"/>
                    </a:lnTo>
                    <a:cubicBezTo>
                      <a:pt x="9560" y="21600"/>
                      <a:pt x="21600" y="9639"/>
                      <a:pt x="21600" y="9639"/>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2" name="Shape 20514">
                <a:extLst>
                  <a:ext uri="{FF2B5EF4-FFF2-40B4-BE49-F238E27FC236}">
                    <a16:creationId xmlns:a16="http://schemas.microsoft.com/office/drawing/2014/main" id="{4839BD1A-65F1-4216-88A1-94D03B515BC7}"/>
                  </a:ext>
                </a:extLst>
              </p:cNvPr>
              <p:cNvSpPr/>
              <p:nvPr/>
            </p:nvSpPr>
            <p:spPr>
              <a:xfrm>
                <a:off x="4948863" y="605211"/>
                <a:ext cx="1600199" cy="1684562"/>
              </a:xfrm>
              <a:custGeom>
                <a:avLst/>
                <a:gdLst/>
                <a:ahLst/>
                <a:cxnLst>
                  <a:cxn ang="0">
                    <a:pos x="wd2" y="hd2"/>
                  </a:cxn>
                  <a:cxn ang="5400000">
                    <a:pos x="wd2" y="hd2"/>
                  </a:cxn>
                  <a:cxn ang="10800000">
                    <a:pos x="wd2" y="hd2"/>
                  </a:cxn>
                  <a:cxn ang="16200000">
                    <a:pos x="wd2" y="hd2"/>
                  </a:cxn>
                </a:cxnLst>
                <a:rect l="0" t="0" r="r" b="b"/>
                <a:pathLst>
                  <a:path w="21600" h="21600" extrusionOk="0">
                    <a:moveTo>
                      <a:pt x="12668" y="1293"/>
                    </a:moveTo>
                    <a:lnTo>
                      <a:pt x="7545" y="0"/>
                    </a:lnTo>
                    <a:lnTo>
                      <a:pt x="0" y="14641"/>
                    </a:lnTo>
                    <a:cubicBezTo>
                      <a:pt x="3089" y="16501"/>
                      <a:pt x="5812" y="18861"/>
                      <a:pt x="8043" y="21600"/>
                    </a:cubicBezTo>
                    <a:lnTo>
                      <a:pt x="21600" y="9200"/>
                    </a:lnTo>
                    <a:cubicBezTo>
                      <a:pt x="18974" y="6233"/>
                      <a:pt x="15974" y="3576"/>
                      <a:pt x="12668" y="1293"/>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3" name="Shape 20515">
                <a:extLst>
                  <a:ext uri="{FF2B5EF4-FFF2-40B4-BE49-F238E27FC236}">
                    <a16:creationId xmlns:a16="http://schemas.microsoft.com/office/drawing/2014/main" id="{366B0E7A-3A84-4F30-B19F-B502D92F6D13}"/>
                  </a:ext>
                </a:extLst>
              </p:cNvPr>
              <p:cNvSpPr/>
              <p:nvPr/>
            </p:nvSpPr>
            <p:spPr>
              <a:xfrm>
                <a:off x="1853458" y="5667551"/>
                <a:ext cx="1358658" cy="1604503"/>
              </a:xfrm>
              <a:custGeom>
                <a:avLst/>
                <a:gdLst/>
                <a:ahLst/>
                <a:cxnLst>
                  <a:cxn ang="0">
                    <a:pos x="wd2" y="hd2"/>
                  </a:cxn>
                  <a:cxn ang="5400000">
                    <a:pos x="wd2" y="hd2"/>
                  </a:cxn>
                  <a:cxn ang="10800000">
                    <a:pos x="wd2" y="hd2"/>
                  </a:cxn>
                  <a:cxn ang="16200000">
                    <a:pos x="wd2" y="hd2"/>
                  </a:cxn>
                </a:cxnLst>
                <a:rect l="0" t="0" r="r" b="b"/>
                <a:pathLst>
                  <a:path w="21600" h="21600" extrusionOk="0">
                    <a:moveTo>
                      <a:pt x="19448" y="21225"/>
                    </a:moveTo>
                    <a:lnTo>
                      <a:pt x="21600" y="4128"/>
                    </a:lnTo>
                    <a:cubicBezTo>
                      <a:pt x="17326" y="3339"/>
                      <a:pt x="13329" y="1924"/>
                      <a:pt x="9750" y="0"/>
                    </a:cubicBezTo>
                    <a:lnTo>
                      <a:pt x="83" y="16721"/>
                    </a:lnTo>
                    <a:lnTo>
                      <a:pt x="82" y="16722"/>
                    </a:lnTo>
                    <a:lnTo>
                      <a:pt x="0" y="16864"/>
                    </a:lnTo>
                    <a:cubicBezTo>
                      <a:pt x="4093" y="18870"/>
                      <a:pt x="8499" y="20469"/>
                      <a:pt x="13138" y="21600"/>
                    </a:cubicBezTo>
                    <a:lnTo>
                      <a:pt x="19440" y="21122"/>
                    </a:lnTo>
                    <a:cubicBezTo>
                      <a:pt x="19440" y="21122"/>
                      <a:pt x="19448" y="21225"/>
                      <a:pt x="19448" y="21225"/>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4" name="Shape 20516">
                <a:extLst>
                  <a:ext uri="{FF2B5EF4-FFF2-40B4-BE49-F238E27FC236}">
                    <a16:creationId xmlns:a16="http://schemas.microsoft.com/office/drawing/2014/main" id="{81B6EBA4-FC56-43A0-9C81-BF131D0F0972}"/>
                  </a:ext>
                </a:extLst>
              </p:cNvPr>
              <p:cNvSpPr/>
              <p:nvPr/>
            </p:nvSpPr>
            <p:spPr>
              <a:xfrm>
                <a:off x="3063882" y="5976462"/>
                <a:ext cx="1259882" cy="1442636"/>
              </a:xfrm>
              <a:custGeom>
                <a:avLst/>
                <a:gdLst/>
                <a:ahLst/>
                <a:cxnLst>
                  <a:cxn ang="0">
                    <a:pos x="wd2" y="hd2"/>
                  </a:cxn>
                  <a:cxn ang="5400000">
                    <a:pos x="wd2" y="hd2"/>
                  </a:cxn>
                  <a:cxn ang="10800000">
                    <a:pos x="wd2" y="hd2"/>
                  </a:cxn>
                  <a:cxn ang="16200000">
                    <a:pos x="wd2" y="hd2"/>
                  </a:cxn>
                </a:cxnLst>
                <a:rect l="0" t="0" r="r" b="b"/>
                <a:pathLst>
                  <a:path w="21600" h="21600" extrusionOk="0">
                    <a:moveTo>
                      <a:pt x="21600" y="19024"/>
                    </a:moveTo>
                    <a:lnTo>
                      <a:pt x="16343" y="492"/>
                    </a:lnTo>
                    <a:cubicBezTo>
                      <a:pt x="14609" y="694"/>
                      <a:pt x="12842" y="800"/>
                      <a:pt x="11045" y="800"/>
                    </a:cubicBezTo>
                    <a:cubicBezTo>
                      <a:pt x="8124" y="800"/>
                      <a:pt x="5277" y="522"/>
                      <a:pt x="2535" y="0"/>
                    </a:cubicBezTo>
                    <a:lnTo>
                      <a:pt x="23" y="20584"/>
                    </a:lnTo>
                    <a:lnTo>
                      <a:pt x="21" y="20589"/>
                    </a:lnTo>
                    <a:lnTo>
                      <a:pt x="0" y="20763"/>
                    </a:lnTo>
                    <a:cubicBezTo>
                      <a:pt x="3588" y="21312"/>
                      <a:pt x="7278" y="21600"/>
                      <a:pt x="11045" y="21600"/>
                    </a:cubicBezTo>
                    <a:cubicBezTo>
                      <a:pt x="12454" y="21600"/>
                      <a:pt x="13851" y="21560"/>
                      <a:pt x="15236" y="21481"/>
                    </a:cubicBezTo>
                    <a:lnTo>
                      <a:pt x="21538" y="18900"/>
                    </a:lnTo>
                    <a:cubicBezTo>
                      <a:pt x="21538" y="18900"/>
                      <a:pt x="21600" y="19024"/>
                      <a:pt x="21600" y="19024"/>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5" name="Shape 20517">
                <a:extLst>
                  <a:ext uri="{FF2B5EF4-FFF2-40B4-BE49-F238E27FC236}">
                    <a16:creationId xmlns:a16="http://schemas.microsoft.com/office/drawing/2014/main" id="{0787601E-CCD6-4AC3-9529-E2E38ADCB952}"/>
                  </a:ext>
                </a:extLst>
              </p:cNvPr>
              <p:cNvSpPr/>
              <p:nvPr/>
            </p:nvSpPr>
            <p:spPr>
              <a:xfrm>
                <a:off x="1916503" y="56738"/>
                <a:ext cx="1479448" cy="1598393"/>
              </a:xfrm>
              <a:custGeom>
                <a:avLst/>
                <a:gdLst/>
                <a:ahLst/>
                <a:cxnLst>
                  <a:cxn ang="0">
                    <a:pos x="wd2" y="hd2"/>
                  </a:cxn>
                  <a:cxn ang="5400000">
                    <a:pos x="wd2" y="hd2"/>
                  </a:cxn>
                  <a:cxn ang="10800000">
                    <a:pos x="wd2" y="hd2"/>
                  </a:cxn>
                  <a:cxn ang="16200000">
                    <a:pos x="wd2" y="hd2"/>
                  </a:cxn>
                </a:cxnLst>
                <a:rect l="0" t="0" r="r" b="b"/>
                <a:pathLst>
                  <a:path w="21600" h="21600" extrusionOk="0">
                    <a:moveTo>
                      <a:pt x="21600" y="18295"/>
                    </a:moveTo>
                    <a:lnTo>
                      <a:pt x="16702" y="0"/>
                    </a:lnTo>
                    <a:cubicBezTo>
                      <a:pt x="12237" y="726"/>
                      <a:pt x="7960" y="1960"/>
                      <a:pt x="3943" y="3631"/>
                    </a:cubicBezTo>
                    <a:lnTo>
                      <a:pt x="0" y="7297"/>
                    </a:lnTo>
                    <a:lnTo>
                      <a:pt x="10390" y="21600"/>
                    </a:lnTo>
                    <a:cubicBezTo>
                      <a:pt x="13822" y="19930"/>
                      <a:pt x="17600" y="18790"/>
                      <a:pt x="21600" y="18295"/>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6" name="Shape 20518">
                <a:extLst>
                  <a:ext uri="{FF2B5EF4-FFF2-40B4-BE49-F238E27FC236}">
                    <a16:creationId xmlns:a16="http://schemas.microsoft.com/office/drawing/2014/main" id="{FA75B9ED-A9EB-402A-86CB-B564CA6AD8C5}"/>
                  </a:ext>
                </a:extLst>
              </p:cNvPr>
              <p:cNvSpPr/>
              <p:nvPr/>
            </p:nvSpPr>
            <p:spPr>
              <a:xfrm>
                <a:off x="4784951" y="5270381"/>
                <a:ext cx="1661260" cy="1650136"/>
              </a:xfrm>
              <a:custGeom>
                <a:avLst/>
                <a:gdLst/>
                <a:ahLst/>
                <a:cxnLst>
                  <a:cxn ang="0">
                    <a:pos x="wd2" y="hd2"/>
                  </a:cxn>
                  <a:cxn ang="5400000">
                    <a:pos x="wd2" y="hd2"/>
                  </a:cxn>
                  <a:cxn ang="10800000">
                    <a:pos x="wd2" y="hd2"/>
                  </a:cxn>
                  <a:cxn ang="16200000">
                    <a:pos x="wd2" y="hd2"/>
                  </a:cxn>
                </a:cxnLst>
                <a:rect l="0" t="0" r="r" b="b"/>
                <a:pathLst>
                  <a:path w="21600" h="21600" extrusionOk="0">
                    <a:moveTo>
                      <a:pt x="8296" y="0"/>
                    </a:moveTo>
                    <a:cubicBezTo>
                      <a:pt x="5935" y="2607"/>
                      <a:pt x="3129" y="4796"/>
                      <a:pt x="0" y="6451"/>
                    </a:cubicBezTo>
                    <a:lnTo>
                      <a:pt x="10027" y="21464"/>
                    </a:lnTo>
                    <a:lnTo>
                      <a:pt x="10118" y="21600"/>
                    </a:lnTo>
                    <a:cubicBezTo>
                      <a:pt x="13483" y="19640"/>
                      <a:pt x="16590" y="17281"/>
                      <a:pt x="19377" y="14589"/>
                    </a:cubicBezTo>
                    <a:lnTo>
                      <a:pt x="21600" y="9761"/>
                    </a:lnTo>
                    <a:cubicBezTo>
                      <a:pt x="21600" y="9761"/>
                      <a:pt x="8296" y="0"/>
                      <a:pt x="8296" y="0"/>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7" name="Shape 20519">
                <a:extLst>
                  <a:ext uri="{FF2B5EF4-FFF2-40B4-BE49-F238E27FC236}">
                    <a16:creationId xmlns:a16="http://schemas.microsoft.com/office/drawing/2014/main" id="{F16CD928-C902-4D07-8795-5526B079C386}"/>
                  </a:ext>
                </a:extLst>
              </p:cNvPr>
              <p:cNvSpPr/>
              <p:nvPr/>
            </p:nvSpPr>
            <p:spPr>
              <a:xfrm>
                <a:off x="334126" y="1323899"/>
                <a:ext cx="1660389" cy="1501778"/>
              </a:xfrm>
              <a:custGeom>
                <a:avLst/>
                <a:gdLst/>
                <a:ahLst/>
                <a:cxnLst>
                  <a:cxn ang="0">
                    <a:pos x="wd2" y="hd2"/>
                  </a:cxn>
                  <a:cxn ang="5400000">
                    <a:pos x="wd2" y="hd2"/>
                  </a:cxn>
                  <a:cxn ang="10800000">
                    <a:pos x="wd2" y="hd2"/>
                  </a:cxn>
                  <a:cxn ang="16200000">
                    <a:pos x="wd2" y="hd2"/>
                  </a:cxn>
                </a:cxnLst>
                <a:rect l="0" t="0" r="r" b="b"/>
                <a:pathLst>
                  <a:path w="21600" h="21600" extrusionOk="0">
                    <a:moveTo>
                      <a:pt x="21600" y="11811"/>
                    </a:moveTo>
                    <a:lnTo>
                      <a:pt x="7052" y="89"/>
                    </a:lnTo>
                    <a:lnTo>
                      <a:pt x="7051" y="88"/>
                    </a:lnTo>
                    <a:lnTo>
                      <a:pt x="6942" y="0"/>
                    </a:lnTo>
                    <a:cubicBezTo>
                      <a:pt x="4366" y="3392"/>
                      <a:pt x="2167" y="7144"/>
                      <a:pt x="411" y="11176"/>
                    </a:cubicBezTo>
                    <a:lnTo>
                      <a:pt x="0" y="16503"/>
                    </a:lnTo>
                    <a:lnTo>
                      <a:pt x="15989" y="21600"/>
                    </a:lnTo>
                    <a:cubicBezTo>
                      <a:pt x="17339" y="17972"/>
                      <a:pt x="19248" y="14665"/>
                      <a:pt x="21600" y="11811"/>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8" name="Shape 20520">
                <a:extLst>
                  <a:ext uri="{FF2B5EF4-FFF2-40B4-BE49-F238E27FC236}">
                    <a16:creationId xmlns:a16="http://schemas.microsoft.com/office/drawing/2014/main" id="{40DBD2D7-5A87-412B-8C78-76D6EDDFB337}"/>
                  </a:ext>
                </a:extLst>
              </p:cNvPr>
              <p:cNvSpPr/>
              <p:nvPr/>
            </p:nvSpPr>
            <p:spPr>
              <a:xfrm>
                <a:off x="5856679" y="3713223"/>
                <a:ext cx="1542089" cy="1260821"/>
              </a:xfrm>
              <a:custGeom>
                <a:avLst/>
                <a:gdLst/>
                <a:ahLst/>
                <a:cxnLst>
                  <a:cxn ang="0">
                    <a:pos x="wd2" y="hd2"/>
                  </a:cxn>
                  <a:cxn ang="5400000">
                    <a:pos x="wd2" y="hd2"/>
                  </a:cxn>
                  <a:cxn ang="10800000">
                    <a:pos x="wd2" y="hd2"/>
                  </a:cxn>
                  <a:cxn ang="16200000">
                    <a:pos x="wd2" y="hd2"/>
                  </a:cxn>
                </a:cxnLst>
                <a:rect l="0" t="0" r="r" b="b"/>
                <a:pathLst>
                  <a:path w="21600" h="21600" extrusionOk="0">
                    <a:moveTo>
                      <a:pt x="2403" y="1485"/>
                    </a:moveTo>
                    <a:cubicBezTo>
                      <a:pt x="2248" y="6247"/>
                      <a:pt x="1408" y="10792"/>
                      <a:pt x="0" y="14980"/>
                    </a:cubicBezTo>
                    <a:lnTo>
                      <a:pt x="18773" y="21600"/>
                    </a:lnTo>
                    <a:cubicBezTo>
                      <a:pt x="20189" y="16840"/>
                      <a:pt x="21151" y="11814"/>
                      <a:pt x="21600" y="6602"/>
                    </a:cubicBezTo>
                    <a:lnTo>
                      <a:pt x="20141" y="0"/>
                    </a:lnTo>
                    <a:cubicBezTo>
                      <a:pt x="20141" y="0"/>
                      <a:pt x="2403" y="1485"/>
                      <a:pt x="2403" y="1485"/>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9" name="Shape 20521">
                <a:extLst>
                  <a:ext uri="{FF2B5EF4-FFF2-40B4-BE49-F238E27FC236}">
                    <a16:creationId xmlns:a16="http://schemas.microsoft.com/office/drawing/2014/main" id="{08051C47-1B77-4E14-9155-78E2B2EF0587}"/>
                  </a:ext>
                </a:extLst>
              </p:cNvPr>
              <p:cNvSpPr/>
              <p:nvPr/>
            </p:nvSpPr>
            <p:spPr>
              <a:xfrm>
                <a:off x="0" y="3612355"/>
                <a:ext cx="1498040" cy="1316842"/>
              </a:xfrm>
              <a:custGeom>
                <a:avLst/>
                <a:gdLst/>
                <a:ahLst/>
                <a:cxnLst>
                  <a:cxn ang="0">
                    <a:pos x="wd2" y="hd2"/>
                  </a:cxn>
                  <a:cxn ang="5400000">
                    <a:pos x="wd2" y="hd2"/>
                  </a:cxn>
                  <a:cxn ang="10800000">
                    <a:pos x="wd2" y="hd2"/>
                  </a:cxn>
                  <a:cxn ang="16200000">
                    <a:pos x="wd2" y="hd2"/>
                  </a:cxn>
                </a:cxnLst>
                <a:rect l="0" t="0" r="r" b="b"/>
                <a:pathLst>
                  <a:path w="21600" h="21600" extrusionOk="0">
                    <a:moveTo>
                      <a:pt x="21600" y="13101"/>
                    </a:moveTo>
                    <a:cubicBezTo>
                      <a:pt x="20582" y="9459"/>
                      <a:pt x="20031" y="5580"/>
                      <a:pt x="20031" y="1555"/>
                    </a:cubicBezTo>
                    <a:cubicBezTo>
                      <a:pt x="20031" y="1034"/>
                      <a:pt x="20043" y="516"/>
                      <a:pt x="20061" y="0"/>
                    </a:cubicBezTo>
                    <a:lnTo>
                      <a:pt x="153" y="1550"/>
                    </a:lnTo>
                    <a:lnTo>
                      <a:pt x="152" y="1550"/>
                    </a:lnTo>
                    <a:lnTo>
                      <a:pt x="0" y="1562"/>
                    </a:lnTo>
                    <a:cubicBezTo>
                      <a:pt x="0" y="6743"/>
                      <a:pt x="573" y="11772"/>
                      <a:pt x="1646" y="16574"/>
                    </a:cubicBezTo>
                    <a:lnTo>
                      <a:pt x="4753" y="21600"/>
                    </a:lnTo>
                    <a:cubicBezTo>
                      <a:pt x="4753" y="21600"/>
                      <a:pt x="21600" y="13101"/>
                      <a:pt x="21600" y="13101"/>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0" name="Shape 20522">
                <a:extLst>
                  <a:ext uri="{FF2B5EF4-FFF2-40B4-BE49-F238E27FC236}">
                    <a16:creationId xmlns:a16="http://schemas.microsoft.com/office/drawing/2014/main" id="{A7E23610-23D5-44F4-9719-12367204C4A2}"/>
                  </a:ext>
                </a:extLst>
              </p:cNvPr>
              <p:cNvSpPr/>
              <p:nvPr/>
            </p:nvSpPr>
            <p:spPr>
              <a:xfrm>
                <a:off x="5547771" y="1412159"/>
                <a:ext cx="1650000" cy="1593689"/>
              </a:xfrm>
              <a:custGeom>
                <a:avLst/>
                <a:gdLst/>
                <a:ahLst/>
                <a:cxnLst>
                  <a:cxn ang="0">
                    <a:pos x="wd2" y="hd2"/>
                  </a:cxn>
                  <a:cxn ang="5400000">
                    <a:pos x="wd2" y="hd2"/>
                  </a:cxn>
                  <a:cxn ang="10800000">
                    <a:pos x="wd2" y="hd2"/>
                  </a:cxn>
                  <a:cxn ang="16200000">
                    <a:pos x="wd2" y="hd2"/>
                  </a:cxn>
                </a:cxnLst>
                <a:rect l="0" t="0" r="r" b="b"/>
                <a:pathLst>
                  <a:path w="21600" h="21600" extrusionOk="0">
                    <a:moveTo>
                      <a:pt x="16263" y="3101"/>
                    </a:moveTo>
                    <a:lnTo>
                      <a:pt x="11966" y="0"/>
                    </a:lnTo>
                    <a:lnTo>
                      <a:pt x="0" y="11929"/>
                    </a:lnTo>
                    <a:cubicBezTo>
                      <a:pt x="2145" y="14799"/>
                      <a:pt x="3820" y="18064"/>
                      <a:pt x="4908" y="21600"/>
                    </a:cubicBezTo>
                    <a:lnTo>
                      <a:pt x="21600" y="13936"/>
                    </a:lnTo>
                    <a:cubicBezTo>
                      <a:pt x="20243" y="10081"/>
                      <a:pt x="18442" y="6448"/>
                      <a:pt x="16263" y="3101"/>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1" name="Shape 20523">
                <a:extLst>
                  <a:ext uri="{FF2B5EF4-FFF2-40B4-BE49-F238E27FC236}">
                    <a16:creationId xmlns:a16="http://schemas.microsoft.com/office/drawing/2014/main" id="{6CE7A714-EE84-41A0-A24E-5D77AE1377FA}"/>
                  </a:ext>
                </a:extLst>
              </p:cNvPr>
              <p:cNvSpPr/>
              <p:nvPr/>
            </p:nvSpPr>
            <p:spPr>
              <a:xfrm>
                <a:off x="869990" y="5125383"/>
                <a:ext cx="1599839" cy="1686470"/>
              </a:xfrm>
              <a:custGeom>
                <a:avLst/>
                <a:gdLst/>
                <a:ahLst/>
                <a:cxnLst>
                  <a:cxn ang="0">
                    <a:pos x="wd2" y="hd2"/>
                  </a:cxn>
                  <a:cxn ang="5400000">
                    <a:pos x="wd2" y="hd2"/>
                  </a:cxn>
                  <a:cxn ang="10800000">
                    <a:pos x="wd2" y="hd2"/>
                  </a:cxn>
                  <a:cxn ang="16200000">
                    <a:pos x="wd2" y="hd2"/>
                  </a:cxn>
                </a:cxnLst>
                <a:rect l="0" t="0" r="r" b="b"/>
                <a:pathLst>
                  <a:path w="21600" h="21600" extrusionOk="0">
                    <a:moveTo>
                      <a:pt x="21600" y="6956"/>
                    </a:moveTo>
                    <a:cubicBezTo>
                      <a:pt x="18512" y="5096"/>
                      <a:pt x="15791" y="2737"/>
                      <a:pt x="13561" y="0"/>
                    </a:cubicBezTo>
                    <a:lnTo>
                      <a:pt x="106" y="12290"/>
                    </a:lnTo>
                    <a:lnTo>
                      <a:pt x="105" y="12290"/>
                    </a:lnTo>
                    <a:lnTo>
                      <a:pt x="0" y="12386"/>
                    </a:lnTo>
                    <a:cubicBezTo>
                      <a:pt x="2640" y="15368"/>
                      <a:pt x="5659" y="18035"/>
                      <a:pt x="8986" y="20326"/>
                    </a:cubicBezTo>
                    <a:lnTo>
                      <a:pt x="14042" y="21600"/>
                    </a:lnTo>
                    <a:cubicBezTo>
                      <a:pt x="14042" y="21600"/>
                      <a:pt x="21600" y="6956"/>
                      <a:pt x="21600" y="6956"/>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2" name="Shape 20524">
                <a:extLst>
                  <a:ext uri="{FF2B5EF4-FFF2-40B4-BE49-F238E27FC236}">
                    <a16:creationId xmlns:a16="http://schemas.microsoft.com/office/drawing/2014/main" id="{24FFB7AC-F227-4F83-8DC3-3B158ACE3DF2}"/>
                  </a:ext>
                </a:extLst>
              </p:cNvPr>
              <p:cNvSpPr/>
              <p:nvPr/>
            </p:nvSpPr>
            <p:spPr>
              <a:xfrm>
                <a:off x="4204957" y="138694"/>
                <a:ext cx="1358783" cy="1607214"/>
              </a:xfrm>
              <a:custGeom>
                <a:avLst/>
                <a:gdLst/>
                <a:ahLst/>
                <a:cxnLst>
                  <a:cxn ang="0">
                    <a:pos x="wd2" y="hd2"/>
                  </a:cxn>
                  <a:cxn ang="5400000">
                    <a:pos x="wd2" y="hd2"/>
                  </a:cxn>
                  <a:cxn ang="10800000">
                    <a:pos x="wd2" y="hd2"/>
                  </a:cxn>
                  <a:cxn ang="16200000">
                    <a:pos x="wd2" y="hd2"/>
                  </a:cxn>
                </a:cxnLst>
                <a:rect l="0" t="0" r="r" b="b"/>
                <a:pathLst>
                  <a:path w="21600" h="21600" extrusionOk="0">
                    <a:moveTo>
                      <a:pt x="8284" y="0"/>
                    </a:moveTo>
                    <a:lnTo>
                      <a:pt x="2146" y="465"/>
                    </a:lnTo>
                    <a:lnTo>
                      <a:pt x="0" y="17486"/>
                    </a:lnTo>
                    <a:cubicBezTo>
                      <a:pt x="4274" y="18271"/>
                      <a:pt x="8271" y="19682"/>
                      <a:pt x="11851" y="21600"/>
                    </a:cubicBezTo>
                    <a:lnTo>
                      <a:pt x="21600" y="4765"/>
                    </a:lnTo>
                    <a:cubicBezTo>
                      <a:pt x="17454" y="2739"/>
                      <a:pt x="12988" y="1130"/>
                      <a:pt x="8284" y="0"/>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3" name="Shape 20525">
                <a:extLst>
                  <a:ext uri="{FF2B5EF4-FFF2-40B4-BE49-F238E27FC236}">
                    <a16:creationId xmlns:a16="http://schemas.microsoft.com/office/drawing/2014/main" id="{6B3406A1-9614-49C9-BECA-8C61EBD9C590}"/>
                  </a:ext>
                </a:extLst>
              </p:cNvPr>
              <p:cNvSpPr/>
              <p:nvPr/>
            </p:nvSpPr>
            <p:spPr>
              <a:xfrm>
                <a:off x="-1" y="31521"/>
                <a:ext cx="7418866" cy="7348506"/>
              </a:xfrm>
              <a:custGeom>
                <a:avLst/>
                <a:gdLst/>
                <a:ahLst/>
                <a:cxnLst>
                  <a:cxn ang="0">
                    <a:pos x="wd2" y="hd2"/>
                  </a:cxn>
                  <a:cxn ang="5400000">
                    <a:pos x="wd2" y="hd2"/>
                  </a:cxn>
                  <a:cxn ang="10800000">
                    <a:pos x="wd2" y="hd2"/>
                  </a:cxn>
                  <a:cxn ang="16200000">
                    <a:pos x="wd2" y="hd2"/>
                  </a:cxn>
                </a:cxnLst>
                <a:rect l="0" t="0" r="r" b="b"/>
                <a:pathLst>
                  <a:path w="21600" h="21600" extrusionOk="0">
                    <a:moveTo>
                      <a:pt x="12245" y="4096"/>
                    </a:moveTo>
                    <a:lnTo>
                      <a:pt x="12668" y="94"/>
                    </a:lnTo>
                    <a:lnTo>
                      <a:pt x="12676" y="61"/>
                    </a:lnTo>
                    <a:cubicBezTo>
                      <a:pt x="12551" y="39"/>
                      <a:pt x="12425" y="18"/>
                      <a:pt x="12299" y="0"/>
                    </a:cubicBezTo>
                    <a:lnTo>
                      <a:pt x="12292" y="34"/>
                    </a:lnTo>
                    <a:lnTo>
                      <a:pt x="12007" y="4088"/>
                    </a:lnTo>
                    <a:cubicBezTo>
                      <a:pt x="12083" y="4102"/>
                      <a:pt x="12159" y="4118"/>
                      <a:pt x="12234" y="4134"/>
                    </a:cubicBezTo>
                    <a:cubicBezTo>
                      <a:pt x="12234" y="4134"/>
                      <a:pt x="12245" y="4096"/>
                      <a:pt x="12245" y="4096"/>
                    </a:cubicBezTo>
                    <a:close/>
                    <a:moveTo>
                      <a:pt x="9355" y="17464"/>
                    </a:moveTo>
                    <a:lnTo>
                      <a:pt x="8928" y="21506"/>
                    </a:lnTo>
                    <a:lnTo>
                      <a:pt x="8920" y="21539"/>
                    </a:lnTo>
                    <a:cubicBezTo>
                      <a:pt x="9045" y="21561"/>
                      <a:pt x="9171" y="21582"/>
                      <a:pt x="9297" y="21600"/>
                    </a:cubicBezTo>
                    <a:lnTo>
                      <a:pt x="9304" y="21566"/>
                    </a:lnTo>
                    <a:lnTo>
                      <a:pt x="9589" y="17512"/>
                    </a:lnTo>
                    <a:cubicBezTo>
                      <a:pt x="9505" y="17496"/>
                      <a:pt x="9422" y="17479"/>
                      <a:pt x="9339" y="17460"/>
                    </a:cubicBezTo>
                    <a:cubicBezTo>
                      <a:pt x="9344" y="17462"/>
                      <a:pt x="9349" y="17463"/>
                      <a:pt x="9355" y="17464"/>
                    </a:cubicBezTo>
                    <a:close/>
                    <a:moveTo>
                      <a:pt x="7185" y="16563"/>
                    </a:moveTo>
                    <a:lnTo>
                      <a:pt x="5414" y="20214"/>
                    </a:lnTo>
                    <a:lnTo>
                      <a:pt x="5396" y="20242"/>
                    </a:lnTo>
                    <a:cubicBezTo>
                      <a:pt x="5506" y="20306"/>
                      <a:pt x="5617" y="20369"/>
                      <a:pt x="5729" y="20430"/>
                    </a:cubicBezTo>
                    <a:lnTo>
                      <a:pt x="5747" y="20400"/>
                    </a:lnTo>
                    <a:lnTo>
                      <a:pt x="7389" y="16688"/>
                    </a:lnTo>
                    <a:cubicBezTo>
                      <a:pt x="7308" y="16640"/>
                      <a:pt x="7228" y="16591"/>
                      <a:pt x="7149" y="16540"/>
                    </a:cubicBezTo>
                    <a:cubicBezTo>
                      <a:pt x="7161" y="16547"/>
                      <a:pt x="7173" y="16555"/>
                      <a:pt x="7185" y="16563"/>
                    </a:cubicBezTo>
                    <a:close/>
                    <a:moveTo>
                      <a:pt x="14424" y="5010"/>
                    </a:moveTo>
                    <a:lnTo>
                      <a:pt x="16182" y="1385"/>
                    </a:lnTo>
                    <a:lnTo>
                      <a:pt x="16201" y="1357"/>
                    </a:lnTo>
                    <a:cubicBezTo>
                      <a:pt x="16091" y="1292"/>
                      <a:pt x="15980" y="1229"/>
                      <a:pt x="15867" y="1169"/>
                    </a:cubicBezTo>
                    <a:lnTo>
                      <a:pt x="15849" y="1199"/>
                    </a:lnTo>
                    <a:lnTo>
                      <a:pt x="14208" y="4910"/>
                    </a:lnTo>
                    <a:cubicBezTo>
                      <a:pt x="14275" y="4950"/>
                      <a:pt x="14341" y="4991"/>
                      <a:pt x="14407" y="5033"/>
                    </a:cubicBezTo>
                    <a:cubicBezTo>
                      <a:pt x="14407" y="5033"/>
                      <a:pt x="14424" y="5010"/>
                      <a:pt x="14424" y="5010"/>
                    </a:cubicBezTo>
                    <a:close/>
                    <a:moveTo>
                      <a:pt x="5445" y="14958"/>
                    </a:moveTo>
                    <a:cubicBezTo>
                      <a:pt x="5447" y="14961"/>
                      <a:pt x="5449" y="14964"/>
                      <a:pt x="5451" y="14967"/>
                    </a:cubicBezTo>
                    <a:lnTo>
                      <a:pt x="2549" y="17787"/>
                    </a:lnTo>
                    <a:lnTo>
                      <a:pt x="2524" y="17806"/>
                    </a:lnTo>
                    <a:cubicBezTo>
                      <a:pt x="2606" y="17904"/>
                      <a:pt x="2689" y="18002"/>
                      <a:pt x="2774" y="18097"/>
                    </a:cubicBezTo>
                    <a:lnTo>
                      <a:pt x="2799" y="18077"/>
                    </a:lnTo>
                    <a:lnTo>
                      <a:pt x="5600" y="15155"/>
                    </a:lnTo>
                    <a:cubicBezTo>
                      <a:pt x="5547" y="15090"/>
                      <a:pt x="5495" y="15025"/>
                      <a:pt x="5445" y="14958"/>
                    </a:cubicBezTo>
                    <a:close/>
                    <a:moveTo>
                      <a:pt x="16147" y="6631"/>
                    </a:moveTo>
                    <a:lnTo>
                      <a:pt x="16147" y="6631"/>
                    </a:lnTo>
                    <a:cubicBezTo>
                      <a:pt x="16147" y="6631"/>
                      <a:pt x="16147" y="6631"/>
                      <a:pt x="16147" y="6631"/>
                    </a:cubicBezTo>
                    <a:lnTo>
                      <a:pt x="19047" y="3812"/>
                    </a:lnTo>
                    <a:lnTo>
                      <a:pt x="19073" y="3792"/>
                    </a:lnTo>
                    <a:cubicBezTo>
                      <a:pt x="18991" y="3694"/>
                      <a:pt x="18908" y="3596"/>
                      <a:pt x="18823" y="3501"/>
                    </a:cubicBezTo>
                    <a:lnTo>
                      <a:pt x="18797" y="3522"/>
                    </a:lnTo>
                    <a:lnTo>
                      <a:pt x="15997" y="6442"/>
                    </a:lnTo>
                    <a:cubicBezTo>
                      <a:pt x="16048" y="6504"/>
                      <a:pt x="16098" y="6567"/>
                      <a:pt x="16147" y="6631"/>
                    </a:cubicBezTo>
                    <a:close/>
                    <a:moveTo>
                      <a:pt x="4353" y="12842"/>
                    </a:moveTo>
                    <a:cubicBezTo>
                      <a:pt x="4355" y="12851"/>
                      <a:pt x="4358" y="12860"/>
                      <a:pt x="4361" y="12869"/>
                    </a:cubicBezTo>
                    <a:lnTo>
                      <a:pt x="679" y="14518"/>
                    </a:lnTo>
                    <a:lnTo>
                      <a:pt x="648" y="14527"/>
                    </a:lnTo>
                    <a:cubicBezTo>
                      <a:pt x="691" y="14648"/>
                      <a:pt x="736" y="14768"/>
                      <a:pt x="784" y="14887"/>
                    </a:cubicBezTo>
                    <a:lnTo>
                      <a:pt x="816" y="14877"/>
                    </a:lnTo>
                    <a:lnTo>
                      <a:pt x="4437" y="13098"/>
                    </a:lnTo>
                    <a:cubicBezTo>
                      <a:pt x="4407" y="13013"/>
                      <a:pt x="4379" y="12928"/>
                      <a:pt x="4353" y="12842"/>
                    </a:cubicBezTo>
                    <a:close/>
                    <a:moveTo>
                      <a:pt x="17241" y="8737"/>
                    </a:moveTo>
                    <a:lnTo>
                      <a:pt x="17241" y="8736"/>
                    </a:lnTo>
                    <a:cubicBezTo>
                      <a:pt x="17240" y="8734"/>
                      <a:pt x="17239" y="8731"/>
                      <a:pt x="17238" y="8728"/>
                    </a:cubicBezTo>
                    <a:lnTo>
                      <a:pt x="20916" y="7081"/>
                    </a:lnTo>
                    <a:lnTo>
                      <a:pt x="20951" y="7071"/>
                    </a:lnTo>
                    <a:cubicBezTo>
                      <a:pt x="20908" y="6950"/>
                      <a:pt x="20863" y="6830"/>
                      <a:pt x="20815" y="6711"/>
                    </a:cubicBezTo>
                    <a:lnTo>
                      <a:pt x="20780" y="6722"/>
                    </a:lnTo>
                    <a:lnTo>
                      <a:pt x="17162" y="8500"/>
                    </a:lnTo>
                    <a:cubicBezTo>
                      <a:pt x="17189" y="8578"/>
                      <a:pt x="17216" y="8657"/>
                      <a:pt x="17241" y="8737"/>
                    </a:cubicBezTo>
                    <a:close/>
                    <a:moveTo>
                      <a:pt x="4051" y="10511"/>
                    </a:moveTo>
                    <a:cubicBezTo>
                      <a:pt x="4050" y="10515"/>
                      <a:pt x="4050" y="10518"/>
                      <a:pt x="4050" y="10522"/>
                    </a:cubicBezTo>
                    <a:lnTo>
                      <a:pt x="30" y="10799"/>
                    </a:lnTo>
                    <a:lnTo>
                      <a:pt x="0" y="10797"/>
                    </a:lnTo>
                    <a:cubicBezTo>
                      <a:pt x="0" y="10925"/>
                      <a:pt x="1" y="11054"/>
                      <a:pt x="6" y="11183"/>
                    </a:cubicBezTo>
                    <a:lnTo>
                      <a:pt x="37" y="11184"/>
                    </a:lnTo>
                    <a:lnTo>
                      <a:pt x="4044" y="10763"/>
                    </a:lnTo>
                    <a:cubicBezTo>
                      <a:pt x="4045" y="10679"/>
                      <a:pt x="4047" y="10595"/>
                      <a:pt x="4051" y="10511"/>
                    </a:cubicBezTo>
                    <a:close/>
                    <a:moveTo>
                      <a:pt x="21594" y="10416"/>
                    </a:moveTo>
                    <a:lnTo>
                      <a:pt x="21559" y="10415"/>
                    </a:lnTo>
                    <a:lnTo>
                      <a:pt x="17556" y="10836"/>
                    </a:lnTo>
                    <a:cubicBezTo>
                      <a:pt x="17555" y="10923"/>
                      <a:pt x="17553" y="11009"/>
                      <a:pt x="17549" y="11095"/>
                    </a:cubicBezTo>
                    <a:lnTo>
                      <a:pt x="17549" y="11095"/>
                    </a:lnTo>
                    <a:cubicBezTo>
                      <a:pt x="17550" y="11089"/>
                      <a:pt x="17550" y="11083"/>
                      <a:pt x="17550" y="11077"/>
                    </a:cubicBezTo>
                    <a:lnTo>
                      <a:pt x="21566" y="10799"/>
                    </a:lnTo>
                    <a:lnTo>
                      <a:pt x="21600" y="10802"/>
                    </a:lnTo>
                    <a:cubicBezTo>
                      <a:pt x="21600" y="10674"/>
                      <a:pt x="21599" y="10545"/>
                      <a:pt x="21594" y="10416"/>
                    </a:cubicBezTo>
                    <a:close/>
                    <a:moveTo>
                      <a:pt x="4463" y="8433"/>
                    </a:moveTo>
                    <a:cubicBezTo>
                      <a:pt x="4492" y="8352"/>
                      <a:pt x="4524" y="8272"/>
                      <a:pt x="4556" y="8193"/>
                    </a:cubicBezTo>
                    <a:lnTo>
                      <a:pt x="4556" y="8193"/>
                    </a:lnTo>
                    <a:cubicBezTo>
                      <a:pt x="4554" y="8198"/>
                      <a:pt x="4552" y="8203"/>
                      <a:pt x="4550" y="8208"/>
                    </a:cubicBezTo>
                    <a:lnTo>
                      <a:pt x="679" y="7081"/>
                    </a:lnTo>
                    <a:lnTo>
                      <a:pt x="650" y="7068"/>
                    </a:lnTo>
                    <a:cubicBezTo>
                      <a:pt x="606" y="7189"/>
                      <a:pt x="564" y="7310"/>
                      <a:pt x="524" y="7432"/>
                    </a:cubicBezTo>
                    <a:lnTo>
                      <a:pt x="555" y="7445"/>
                    </a:lnTo>
                    <a:cubicBezTo>
                      <a:pt x="555" y="7445"/>
                      <a:pt x="4463" y="8433"/>
                      <a:pt x="4463" y="8433"/>
                    </a:cubicBezTo>
                    <a:close/>
                    <a:moveTo>
                      <a:pt x="17138" y="13167"/>
                    </a:moveTo>
                    <a:cubicBezTo>
                      <a:pt x="17107" y="13252"/>
                      <a:pt x="17074" y="13336"/>
                      <a:pt x="17039" y="13419"/>
                    </a:cubicBezTo>
                    <a:lnTo>
                      <a:pt x="17040" y="13419"/>
                    </a:lnTo>
                    <a:cubicBezTo>
                      <a:pt x="17043" y="13410"/>
                      <a:pt x="17047" y="13401"/>
                      <a:pt x="17051" y="13392"/>
                    </a:cubicBezTo>
                    <a:lnTo>
                      <a:pt x="20916" y="14518"/>
                    </a:lnTo>
                    <a:lnTo>
                      <a:pt x="20950" y="14533"/>
                    </a:lnTo>
                    <a:cubicBezTo>
                      <a:pt x="20994" y="14412"/>
                      <a:pt x="21036" y="14291"/>
                      <a:pt x="21076" y="14168"/>
                    </a:cubicBezTo>
                    <a:lnTo>
                      <a:pt x="21040" y="14154"/>
                    </a:lnTo>
                    <a:cubicBezTo>
                      <a:pt x="21040" y="14154"/>
                      <a:pt x="17138" y="13167"/>
                      <a:pt x="17138" y="13167"/>
                    </a:cubicBezTo>
                    <a:close/>
                    <a:moveTo>
                      <a:pt x="2310" y="4111"/>
                    </a:moveTo>
                    <a:lnTo>
                      <a:pt x="2834" y="4469"/>
                    </a:lnTo>
                    <a:lnTo>
                      <a:pt x="5647" y="6389"/>
                    </a:lnTo>
                    <a:cubicBezTo>
                      <a:pt x="5700" y="6326"/>
                      <a:pt x="5755" y="6264"/>
                      <a:pt x="5810" y="6203"/>
                    </a:cubicBezTo>
                    <a:lnTo>
                      <a:pt x="5810" y="6202"/>
                    </a:lnTo>
                    <a:cubicBezTo>
                      <a:pt x="5808" y="6204"/>
                      <a:pt x="5807" y="6206"/>
                      <a:pt x="5805" y="6207"/>
                    </a:cubicBezTo>
                    <a:lnTo>
                      <a:pt x="3061" y="4188"/>
                    </a:lnTo>
                    <a:lnTo>
                      <a:pt x="2549" y="3812"/>
                    </a:lnTo>
                    <a:lnTo>
                      <a:pt x="2549" y="3812"/>
                    </a:lnTo>
                    <a:lnTo>
                      <a:pt x="2528" y="3791"/>
                    </a:lnTo>
                    <a:cubicBezTo>
                      <a:pt x="2446" y="3890"/>
                      <a:pt x="2365" y="3989"/>
                      <a:pt x="2287" y="4090"/>
                    </a:cubicBezTo>
                    <a:lnTo>
                      <a:pt x="2310" y="4111"/>
                    </a:lnTo>
                    <a:cubicBezTo>
                      <a:pt x="2310" y="4111"/>
                      <a:pt x="2310" y="4111"/>
                      <a:pt x="2310" y="4111"/>
                    </a:cubicBezTo>
                    <a:close/>
                    <a:moveTo>
                      <a:pt x="15952" y="15213"/>
                    </a:moveTo>
                    <a:cubicBezTo>
                      <a:pt x="15892" y="15284"/>
                      <a:pt x="15831" y="15353"/>
                      <a:pt x="15769" y="15421"/>
                    </a:cubicBezTo>
                    <a:cubicBezTo>
                      <a:pt x="15777" y="15412"/>
                      <a:pt x="15786" y="15403"/>
                      <a:pt x="15794" y="15394"/>
                    </a:cubicBezTo>
                    <a:lnTo>
                      <a:pt x="19047" y="17787"/>
                    </a:lnTo>
                    <a:lnTo>
                      <a:pt x="19071" y="17811"/>
                    </a:lnTo>
                    <a:cubicBezTo>
                      <a:pt x="19153" y="17712"/>
                      <a:pt x="19234" y="17613"/>
                      <a:pt x="19312" y="17512"/>
                    </a:cubicBezTo>
                    <a:lnTo>
                      <a:pt x="19286" y="17488"/>
                    </a:lnTo>
                    <a:cubicBezTo>
                      <a:pt x="19286" y="17488"/>
                      <a:pt x="15952" y="15213"/>
                      <a:pt x="15952" y="15213"/>
                    </a:cubicBezTo>
                    <a:close/>
                    <a:moveTo>
                      <a:pt x="14146" y="16727"/>
                    </a:moveTo>
                    <a:cubicBezTo>
                      <a:pt x="14072" y="16770"/>
                      <a:pt x="13996" y="16811"/>
                      <a:pt x="13920" y="16851"/>
                    </a:cubicBezTo>
                    <a:cubicBezTo>
                      <a:pt x="13926" y="16848"/>
                      <a:pt x="13931" y="16845"/>
                      <a:pt x="13937" y="16843"/>
                    </a:cubicBezTo>
                    <a:lnTo>
                      <a:pt x="16182" y="20214"/>
                    </a:lnTo>
                    <a:lnTo>
                      <a:pt x="16198" y="20247"/>
                    </a:lnTo>
                    <a:cubicBezTo>
                      <a:pt x="16308" y="20182"/>
                      <a:pt x="16418" y="20117"/>
                      <a:pt x="16525" y="20048"/>
                    </a:cubicBezTo>
                    <a:lnTo>
                      <a:pt x="16508" y="20016"/>
                    </a:lnTo>
                    <a:cubicBezTo>
                      <a:pt x="16508" y="20016"/>
                      <a:pt x="14146" y="16727"/>
                      <a:pt x="14146" y="16727"/>
                    </a:cubicBezTo>
                    <a:close/>
                    <a:moveTo>
                      <a:pt x="5414" y="1385"/>
                    </a:moveTo>
                    <a:lnTo>
                      <a:pt x="5400" y="1356"/>
                    </a:lnTo>
                    <a:cubicBezTo>
                      <a:pt x="5289" y="1420"/>
                      <a:pt x="5180" y="1486"/>
                      <a:pt x="5072" y="1554"/>
                    </a:cubicBezTo>
                    <a:lnTo>
                      <a:pt x="5088" y="1583"/>
                    </a:lnTo>
                    <a:lnTo>
                      <a:pt x="7452" y="4875"/>
                    </a:lnTo>
                    <a:cubicBezTo>
                      <a:pt x="7520" y="4835"/>
                      <a:pt x="7590" y="4797"/>
                      <a:pt x="7661" y="4760"/>
                    </a:cubicBezTo>
                    <a:lnTo>
                      <a:pt x="7659" y="4756"/>
                    </a:lnTo>
                    <a:cubicBezTo>
                      <a:pt x="7659" y="4756"/>
                      <a:pt x="5414" y="1385"/>
                      <a:pt x="5414" y="1385"/>
                    </a:cubicBezTo>
                    <a:close/>
                    <a:moveTo>
                      <a:pt x="11936" y="17524"/>
                    </a:moveTo>
                    <a:cubicBezTo>
                      <a:pt x="11841" y="17541"/>
                      <a:pt x="11746" y="17554"/>
                      <a:pt x="11650" y="17566"/>
                    </a:cubicBezTo>
                    <a:lnTo>
                      <a:pt x="11650" y="17567"/>
                    </a:lnTo>
                    <a:cubicBezTo>
                      <a:pt x="11666" y="17565"/>
                      <a:pt x="11683" y="17563"/>
                      <a:pt x="11700" y="17561"/>
                    </a:cubicBezTo>
                    <a:lnTo>
                      <a:pt x="12668" y="21505"/>
                    </a:lnTo>
                    <a:lnTo>
                      <a:pt x="12671" y="21540"/>
                    </a:lnTo>
                    <a:cubicBezTo>
                      <a:pt x="12797" y="21518"/>
                      <a:pt x="12922" y="21494"/>
                      <a:pt x="13046" y="21467"/>
                    </a:cubicBezTo>
                    <a:lnTo>
                      <a:pt x="13041" y="21432"/>
                    </a:lnTo>
                    <a:cubicBezTo>
                      <a:pt x="13041" y="21432"/>
                      <a:pt x="11936" y="17524"/>
                      <a:pt x="11936" y="17524"/>
                    </a:cubicBezTo>
                    <a:close/>
                    <a:moveTo>
                      <a:pt x="8928" y="94"/>
                    </a:moveTo>
                    <a:lnTo>
                      <a:pt x="8925" y="62"/>
                    </a:lnTo>
                    <a:cubicBezTo>
                      <a:pt x="8799" y="84"/>
                      <a:pt x="8674" y="107"/>
                      <a:pt x="8549" y="134"/>
                    </a:cubicBezTo>
                    <a:lnTo>
                      <a:pt x="8554" y="167"/>
                    </a:lnTo>
                    <a:lnTo>
                      <a:pt x="9660" y="4077"/>
                    </a:lnTo>
                    <a:cubicBezTo>
                      <a:pt x="9737" y="4064"/>
                      <a:pt x="9814" y="4052"/>
                      <a:pt x="9891" y="4041"/>
                    </a:cubicBezTo>
                    <a:lnTo>
                      <a:pt x="9889" y="4010"/>
                    </a:lnTo>
                    <a:cubicBezTo>
                      <a:pt x="9889" y="4010"/>
                      <a:pt x="8928" y="94"/>
                      <a:pt x="8928" y="94"/>
                    </a:cubicBezTo>
                    <a:close/>
                  </a:path>
                </a:pathLst>
              </a:custGeom>
              <a:solidFill>
                <a:srgbClr val="FFFFFF">
                  <a:alpha val="2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4" name="Shape 20526">
                <a:extLst>
                  <a:ext uri="{FF2B5EF4-FFF2-40B4-BE49-F238E27FC236}">
                    <a16:creationId xmlns:a16="http://schemas.microsoft.com/office/drawing/2014/main" id="{F2D77765-5964-49EA-A099-E93D2E4A7FA7}"/>
                  </a:ext>
                </a:extLst>
              </p:cNvPr>
              <p:cNvSpPr/>
              <p:nvPr/>
            </p:nvSpPr>
            <p:spPr>
              <a:xfrm>
                <a:off x="18912" y="6304"/>
                <a:ext cx="7379706" cy="7400806"/>
              </a:xfrm>
              <a:custGeom>
                <a:avLst/>
                <a:gdLst/>
                <a:ahLst/>
                <a:cxnLst>
                  <a:cxn ang="0">
                    <a:pos x="wd2" y="hd2"/>
                  </a:cxn>
                  <a:cxn ang="5400000">
                    <a:pos x="wd2" y="hd2"/>
                  </a:cxn>
                  <a:cxn ang="10800000">
                    <a:pos x="wd2" y="hd2"/>
                  </a:cxn>
                  <a:cxn ang="16200000">
                    <a:pos x="wd2" y="hd2"/>
                  </a:cxn>
                </a:cxnLst>
                <a:rect l="0" t="0" r="r" b="b"/>
                <a:pathLst>
                  <a:path w="21600" h="21600" extrusionOk="0">
                    <a:moveTo>
                      <a:pt x="7771" y="21195"/>
                    </a:moveTo>
                    <a:cubicBezTo>
                      <a:pt x="7779" y="21197"/>
                      <a:pt x="7787" y="21199"/>
                      <a:pt x="7795" y="21202"/>
                    </a:cubicBezTo>
                    <a:lnTo>
                      <a:pt x="8955" y="21098"/>
                    </a:lnTo>
                    <a:lnTo>
                      <a:pt x="8956" y="21120"/>
                    </a:lnTo>
                    <a:lnTo>
                      <a:pt x="9352" y="17413"/>
                    </a:lnTo>
                    <a:cubicBezTo>
                      <a:pt x="9257" y="17393"/>
                      <a:pt x="9162" y="17370"/>
                      <a:pt x="9068" y="17345"/>
                    </a:cubicBezTo>
                    <a:cubicBezTo>
                      <a:pt x="9068" y="17345"/>
                      <a:pt x="7771" y="21195"/>
                      <a:pt x="7771" y="21195"/>
                    </a:cubicBezTo>
                    <a:close/>
                    <a:moveTo>
                      <a:pt x="17168" y="2030"/>
                    </a:moveTo>
                    <a:lnTo>
                      <a:pt x="16072" y="1740"/>
                    </a:lnTo>
                    <a:lnTo>
                      <a:pt x="14436" y="5072"/>
                    </a:lnTo>
                    <a:cubicBezTo>
                      <a:pt x="14502" y="5114"/>
                      <a:pt x="14568" y="5158"/>
                      <a:pt x="14632" y="5202"/>
                    </a:cubicBezTo>
                    <a:cubicBezTo>
                      <a:pt x="14632" y="5202"/>
                      <a:pt x="17168" y="2030"/>
                      <a:pt x="17168" y="2030"/>
                    </a:cubicBezTo>
                    <a:close/>
                    <a:moveTo>
                      <a:pt x="5259" y="14705"/>
                    </a:moveTo>
                    <a:lnTo>
                      <a:pt x="1784" y="16823"/>
                    </a:lnTo>
                    <a:cubicBezTo>
                      <a:pt x="1798" y="16844"/>
                      <a:pt x="1813" y="16865"/>
                      <a:pt x="1827" y="16886"/>
                    </a:cubicBezTo>
                    <a:lnTo>
                      <a:pt x="2736" y="17518"/>
                    </a:lnTo>
                    <a:lnTo>
                      <a:pt x="5428" y="14934"/>
                    </a:lnTo>
                    <a:cubicBezTo>
                      <a:pt x="5370" y="14859"/>
                      <a:pt x="5313" y="14783"/>
                      <a:pt x="5259" y="14705"/>
                    </a:cubicBezTo>
                    <a:close/>
                    <a:moveTo>
                      <a:pt x="17349" y="8977"/>
                    </a:moveTo>
                    <a:lnTo>
                      <a:pt x="21335" y="8173"/>
                    </a:lnTo>
                    <a:lnTo>
                      <a:pt x="20674" y="7237"/>
                    </a:lnTo>
                    <a:lnTo>
                      <a:pt x="17278" y="8739"/>
                    </a:lnTo>
                    <a:cubicBezTo>
                      <a:pt x="17303" y="8818"/>
                      <a:pt x="17327" y="8897"/>
                      <a:pt x="17349" y="8977"/>
                    </a:cubicBezTo>
                    <a:close/>
                    <a:moveTo>
                      <a:pt x="4019" y="10520"/>
                    </a:moveTo>
                    <a:cubicBezTo>
                      <a:pt x="4023" y="10431"/>
                      <a:pt x="4029" y="10343"/>
                      <a:pt x="4036" y="10255"/>
                    </a:cubicBezTo>
                    <a:lnTo>
                      <a:pt x="8" y="9650"/>
                    </a:lnTo>
                    <a:cubicBezTo>
                      <a:pt x="5" y="9678"/>
                      <a:pt x="3" y="9706"/>
                      <a:pt x="0" y="9735"/>
                    </a:cubicBezTo>
                    <a:lnTo>
                      <a:pt x="282" y="10775"/>
                    </a:lnTo>
                    <a:cubicBezTo>
                      <a:pt x="282" y="10775"/>
                      <a:pt x="4019" y="10520"/>
                      <a:pt x="4019" y="10520"/>
                    </a:cubicBezTo>
                    <a:close/>
                    <a:moveTo>
                      <a:pt x="16982" y="13616"/>
                    </a:moveTo>
                    <a:lnTo>
                      <a:pt x="20554" y="15555"/>
                    </a:lnTo>
                    <a:lnTo>
                      <a:pt x="20653" y="14395"/>
                    </a:lnTo>
                    <a:lnTo>
                      <a:pt x="17089" y="13370"/>
                    </a:lnTo>
                    <a:cubicBezTo>
                      <a:pt x="17055" y="13453"/>
                      <a:pt x="17019" y="13535"/>
                      <a:pt x="16982" y="13616"/>
                    </a:cubicBezTo>
                    <a:close/>
                    <a:moveTo>
                      <a:pt x="5784" y="6236"/>
                    </a:moveTo>
                    <a:cubicBezTo>
                      <a:pt x="5839" y="6176"/>
                      <a:pt x="5896" y="6116"/>
                      <a:pt x="5954" y="6058"/>
                    </a:cubicBezTo>
                    <a:lnTo>
                      <a:pt x="3259" y="3013"/>
                    </a:lnTo>
                    <a:cubicBezTo>
                      <a:pt x="3246" y="3026"/>
                      <a:pt x="3233" y="3039"/>
                      <a:pt x="3219" y="3052"/>
                    </a:cubicBezTo>
                    <a:lnTo>
                      <a:pt x="2761" y="4039"/>
                    </a:lnTo>
                    <a:lnTo>
                      <a:pt x="3025" y="4231"/>
                    </a:lnTo>
                    <a:cubicBezTo>
                      <a:pt x="3025" y="4231"/>
                      <a:pt x="5784" y="6236"/>
                      <a:pt x="5784" y="6236"/>
                    </a:cubicBezTo>
                    <a:close/>
                    <a:moveTo>
                      <a:pt x="13702" y="16923"/>
                    </a:moveTo>
                    <a:lnTo>
                      <a:pt x="15185" y="20690"/>
                    </a:lnTo>
                    <a:lnTo>
                      <a:pt x="16019" y="19856"/>
                    </a:lnTo>
                    <a:lnTo>
                      <a:pt x="16027" y="19864"/>
                    </a:lnTo>
                    <a:lnTo>
                      <a:pt x="13958" y="16796"/>
                    </a:lnTo>
                    <a:cubicBezTo>
                      <a:pt x="13874" y="16840"/>
                      <a:pt x="13789" y="16883"/>
                      <a:pt x="13702" y="16923"/>
                    </a:cubicBezTo>
                    <a:close/>
                    <a:moveTo>
                      <a:pt x="11421" y="17541"/>
                    </a:moveTo>
                    <a:lnTo>
                      <a:pt x="11523" y="21600"/>
                    </a:lnTo>
                    <a:lnTo>
                      <a:pt x="12597" y="21098"/>
                    </a:lnTo>
                    <a:lnTo>
                      <a:pt x="12607" y="21122"/>
                    </a:lnTo>
                    <a:lnTo>
                      <a:pt x="11710" y="17509"/>
                    </a:lnTo>
                    <a:cubicBezTo>
                      <a:pt x="11614" y="17522"/>
                      <a:pt x="11518" y="17532"/>
                      <a:pt x="11421" y="17541"/>
                    </a:cubicBezTo>
                    <a:close/>
                    <a:moveTo>
                      <a:pt x="9001" y="480"/>
                    </a:moveTo>
                    <a:lnTo>
                      <a:pt x="9897" y="4084"/>
                    </a:lnTo>
                    <a:cubicBezTo>
                      <a:pt x="9974" y="4074"/>
                      <a:pt x="10052" y="4065"/>
                      <a:pt x="10130" y="4058"/>
                    </a:cubicBezTo>
                    <a:lnTo>
                      <a:pt x="10028" y="0"/>
                    </a:lnTo>
                    <a:cubicBezTo>
                      <a:pt x="10028" y="0"/>
                      <a:pt x="9001" y="480"/>
                      <a:pt x="9001" y="480"/>
                    </a:cubicBezTo>
                    <a:close/>
                    <a:moveTo>
                      <a:pt x="13778" y="382"/>
                    </a:moveTo>
                    <a:lnTo>
                      <a:pt x="12649" y="483"/>
                    </a:lnTo>
                    <a:lnTo>
                      <a:pt x="12254" y="4179"/>
                    </a:lnTo>
                    <a:cubicBezTo>
                      <a:pt x="12330" y="4195"/>
                      <a:pt x="12406" y="4214"/>
                      <a:pt x="12481" y="4233"/>
                    </a:cubicBezTo>
                    <a:cubicBezTo>
                      <a:pt x="12481" y="4233"/>
                      <a:pt x="13778" y="382"/>
                      <a:pt x="13778" y="382"/>
                    </a:cubicBezTo>
                    <a:close/>
                    <a:moveTo>
                      <a:pt x="4391" y="19533"/>
                    </a:moveTo>
                    <a:cubicBezTo>
                      <a:pt x="4406" y="19544"/>
                      <a:pt x="4422" y="19555"/>
                      <a:pt x="4437" y="19566"/>
                    </a:cubicBezTo>
                    <a:lnTo>
                      <a:pt x="5532" y="19856"/>
                    </a:lnTo>
                    <a:lnTo>
                      <a:pt x="7171" y="16519"/>
                    </a:lnTo>
                    <a:cubicBezTo>
                      <a:pt x="7089" y="16467"/>
                      <a:pt x="7008" y="16413"/>
                      <a:pt x="6929" y="16358"/>
                    </a:cubicBezTo>
                    <a:cubicBezTo>
                      <a:pt x="6929" y="16358"/>
                      <a:pt x="4391" y="19533"/>
                      <a:pt x="4391" y="19533"/>
                    </a:cubicBezTo>
                    <a:close/>
                    <a:moveTo>
                      <a:pt x="16324" y="6849"/>
                    </a:moveTo>
                    <a:lnTo>
                      <a:pt x="19789" y="4737"/>
                    </a:lnTo>
                    <a:lnTo>
                      <a:pt x="18856" y="4088"/>
                    </a:lnTo>
                    <a:lnTo>
                      <a:pt x="16180" y="6657"/>
                    </a:lnTo>
                    <a:cubicBezTo>
                      <a:pt x="16229" y="6720"/>
                      <a:pt x="16277" y="6784"/>
                      <a:pt x="16324" y="6849"/>
                    </a:cubicBezTo>
                    <a:close/>
                    <a:moveTo>
                      <a:pt x="4254" y="12586"/>
                    </a:moveTo>
                    <a:lnTo>
                      <a:pt x="261" y="13392"/>
                    </a:lnTo>
                    <a:cubicBezTo>
                      <a:pt x="268" y="13418"/>
                      <a:pt x="275" y="13444"/>
                      <a:pt x="282" y="13470"/>
                    </a:cubicBezTo>
                    <a:lnTo>
                      <a:pt x="912" y="14363"/>
                    </a:lnTo>
                    <a:lnTo>
                      <a:pt x="4332" y="12851"/>
                    </a:lnTo>
                    <a:cubicBezTo>
                      <a:pt x="4304" y="12764"/>
                      <a:pt x="4278" y="12675"/>
                      <a:pt x="4254" y="12586"/>
                    </a:cubicBezTo>
                    <a:close/>
                    <a:moveTo>
                      <a:pt x="17591" y="11071"/>
                    </a:moveTo>
                    <a:cubicBezTo>
                      <a:pt x="17588" y="11158"/>
                      <a:pt x="17582" y="11243"/>
                      <a:pt x="17576" y="11328"/>
                    </a:cubicBezTo>
                    <a:lnTo>
                      <a:pt x="21600" y="11933"/>
                    </a:lnTo>
                    <a:lnTo>
                      <a:pt x="21298" y="10818"/>
                    </a:lnTo>
                    <a:cubicBezTo>
                      <a:pt x="21298" y="10818"/>
                      <a:pt x="17591" y="11071"/>
                      <a:pt x="17591" y="11071"/>
                    </a:cubicBezTo>
                    <a:close/>
                    <a:moveTo>
                      <a:pt x="4624" y="7988"/>
                    </a:moveTo>
                    <a:lnTo>
                      <a:pt x="1047" y="6046"/>
                    </a:lnTo>
                    <a:cubicBezTo>
                      <a:pt x="1036" y="6066"/>
                      <a:pt x="1027" y="6088"/>
                      <a:pt x="1017" y="6109"/>
                    </a:cubicBezTo>
                    <a:lnTo>
                      <a:pt x="924" y="7188"/>
                    </a:lnTo>
                    <a:lnTo>
                      <a:pt x="4522" y="8223"/>
                    </a:lnTo>
                    <a:cubicBezTo>
                      <a:pt x="4554" y="8144"/>
                      <a:pt x="4589" y="8065"/>
                      <a:pt x="4624" y="7988"/>
                    </a:cubicBezTo>
                    <a:close/>
                    <a:moveTo>
                      <a:pt x="15634" y="15559"/>
                    </a:moveTo>
                    <a:lnTo>
                      <a:pt x="18326" y="18600"/>
                    </a:lnTo>
                    <a:lnTo>
                      <a:pt x="18821" y="17535"/>
                    </a:lnTo>
                    <a:lnTo>
                      <a:pt x="15826" y="15358"/>
                    </a:lnTo>
                    <a:cubicBezTo>
                      <a:pt x="15763" y="15426"/>
                      <a:pt x="15699" y="15493"/>
                      <a:pt x="15634" y="15559"/>
                    </a:cubicBezTo>
                    <a:close/>
                    <a:moveTo>
                      <a:pt x="6375" y="909"/>
                    </a:moveTo>
                    <a:cubicBezTo>
                      <a:pt x="6369" y="912"/>
                      <a:pt x="6363" y="915"/>
                      <a:pt x="6358" y="918"/>
                    </a:cubicBezTo>
                    <a:lnTo>
                      <a:pt x="5567" y="1709"/>
                    </a:lnTo>
                    <a:lnTo>
                      <a:pt x="7650" y="4798"/>
                    </a:lnTo>
                    <a:cubicBezTo>
                      <a:pt x="7720" y="4761"/>
                      <a:pt x="7792" y="4726"/>
                      <a:pt x="7864" y="4691"/>
                    </a:cubicBezTo>
                    <a:cubicBezTo>
                      <a:pt x="7864" y="4691"/>
                      <a:pt x="6375" y="909"/>
                      <a:pt x="6375" y="909"/>
                    </a:cubicBezTo>
                    <a:close/>
                  </a:path>
                </a:pathLst>
              </a:custGeom>
              <a:solidFill>
                <a:srgbClr val="000000">
                  <a:alpha val="15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5" name="Shape 20527">
                <a:extLst>
                  <a:ext uri="{FF2B5EF4-FFF2-40B4-BE49-F238E27FC236}">
                    <a16:creationId xmlns:a16="http://schemas.microsoft.com/office/drawing/2014/main" id="{925F69CD-D8EA-469D-A0F7-7BF660E44926}"/>
                  </a:ext>
                </a:extLst>
              </p:cNvPr>
              <p:cNvSpPr/>
              <p:nvPr/>
            </p:nvSpPr>
            <p:spPr>
              <a:xfrm>
                <a:off x="1159988" y="1159988"/>
                <a:ext cx="5097199" cy="5097206"/>
              </a:xfrm>
              <a:prstGeom prst="ellipse">
                <a:avLst/>
              </a:prstGeom>
              <a:solidFill>
                <a:srgbClr val="FFFFFF"/>
              </a:solidFill>
              <a:ln w="12700" cap="flat">
                <a:noFill/>
                <a:miter lim="400000"/>
              </a:ln>
              <a:effectLst>
                <a:outerShdw blurRad="139700" dist="112228" dir="5400000" rotWithShape="0">
                  <a:srgbClr val="000000">
                    <a:alpha val="64026"/>
                  </a:srgbClr>
                </a:outerShdw>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grpSp>
        <p:pic>
          <p:nvPicPr>
            <p:cNvPr id="9" name="White Shadow.png">
              <a:extLst>
                <a:ext uri="{FF2B5EF4-FFF2-40B4-BE49-F238E27FC236}">
                  <a16:creationId xmlns:a16="http://schemas.microsoft.com/office/drawing/2014/main" id="{6DC24CC5-A93E-4240-A749-0DB591ED85F5}"/>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235982" y="792827"/>
              <a:ext cx="6718303" cy="6413504"/>
            </a:xfrm>
            <a:prstGeom prst="rect">
              <a:avLst/>
            </a:prstGeom>
            <a:ln w="12700" cap="flat">
              <a:noFill/>
              <a:miter lim="400000"/>
            </a:ln>
            <a:effectLst/>
          </p:spPr>
        </p:pic>
        <p:sp>
          <p:nvSpPr>
            <p:cNvPr id="10" name="Shape 20530">
              <a:extLst>
                <a:ext uri="{FF2B5EF4-FFF2-40B4-BE49-F238E27FC236}">
                  <a16:creationId xmlns:a16="http://schemas.microsoft.com/office/drawing/2014/main" id="{724FB5A2-27F8-4AE2-A082-610F98D9CC4C}"/>
                </a:ext>
              </a:extLst>
            </p:cNvPr>
            <p:cNvSpPr/>
            <p:nvPr/>
          </p:nvSpPr>
          <p:spPr>
            <a:xfrm>
              <a:off x="1513867" y="1506425"/>
              <a:ext cx="4391131" cy="4391131"/>
            </a:xfrm>
            <a:prstGeom prst="ellipse">
              <a:avLst/>
            </a:prstGeom>
            <a:noFill/>
            <a:ln w="28575" cap="rnd" cmpd="sng">
              <a:solidFill>
                <a:srgbClr val="C2C6CA"/>
              </a:solidFill>
              <a:custDash>
                <a:ds d="100000" sp="200000"/>
              </a:custDash>
              <a:round/>
            </a:ln>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grpSp>
      <p:sp>
        <p:nvSpPr>
          <p:cNvPr id="37" name="AutoShape 7">
            <a:extLst>
              <a:ext uri="{FF2B5EF4-FFF2-40B4-BE49-F238E27FC236}">
                <a16:creationId xmlns:a16="http://schemas.microsoft.com/office/drawing/2014/main" id="{D5C06DF2-623F-4E08-8E55-9C196A31E5E1}"/>
              </a:ext>
            </a:extLst>
          </p:cNvPr>
          <p:cNvSpPr>
            <a:spLocks noChangeAspect="1" noChangeArrowheads="1" noTextEdit="1"/>
          </p:cNvSpPr>
          <p:nvPr/>
        </p:nvSpPr>
        <p:spPr bwMode="auto">
          <a:xfrm>
            <a:off x="9207500" y="1968500"/>
            <a:ext cx="1320801" cy="1320801"/>
          </a:xfrm>
          <a:prstGeom prst="rect">
            <a:avLst/>
          </a:prstGeom>
          <a:noFill/>
          <a:ln w="9525">
            <a:noFill/>
            <a:miter lim="800000"/>
            <a:headEnd/>
            <a:tailEnd/>
          </a:ln>
        </p:spPr>
        <p:txBody>
          <a:bodyPr vert="horz" wrap="square" lIns="121920" tIns="60960" rIns="121920" bIns="60960" numCol="1" anchor="t" anchorCtr="0" compatLnSpc="1">
            <a:prstTxWarp prst="textNoShape">
              <a:avLst/>
            </a:prstTxWarp>
          </a:bodyPr>
          <a:lstStyle/>
          <a:p>
            <a:endParaRPr lang="en-GB" sz="2400"/>
          </a:p>
        </p:txBody>
      </p:sp>
      <p:sp>
        <p:nvSpPr>
          <p:cNvPr id="38" name="Freeform 9">
            <a:extLst>
              <a:ext uri="{FF2B5EF4-FFF2-40B4-BE49-F238E27FC236}">
                <a16:creationId xmlns:a16="http://schemas.microsoft.com/office/drawing/2014/main" id="{E47497E1-AFC3-4228-B2D0-2288B8BB696B}"/>
              </a:ext>
            </a:extLst>
          </p:cNvPr>
          <p:cNvSpPr>
            <a:spLocks noEditPoints="1"/>
          </p:cNvSpPr>
          <p:nvPr/>
        </p:nvSpPr>
        <p:spPr bwMode="auto">
          <a:xfrm>
            <a:off x="9207500" y="1968500"/>
            <a:ext cx="1320801" cy="1320801"/>
          </a:xfrm>
          <a:custGeom>
            <a:avLst/>
            <a:gdLst/>
            <a:ahLst/>
            <a:cxnLst>
              <a:cxn ang="0">
                <a:pos x="320" y="12"/>
              </a:cxn>
              <a:cxn ang="0">
                <a:pos x="388" y="6"/>
              </a:cxn>
              <a:cxn ang="0">
                <a:pos x="432" y="360"/>
              </a:cxn>
              <a:cxn ang="0">
                <a:pos x="388" y="426"/>
              </a:cxn>
              <a:cxn ang="0">
                <a:pos x="320" y="420"/>
              </a:cxn>
              <a:cxn ang="0">
                <a:pos x="1512" y="432"/>
              </a:cxn>
              <a:cxn ang="0">
                <a:pos x="1581" y="381"/>
              </a:cxn>
              <a:cxn ang="0">
                <a:pos x="1572" y="32"/>
              </a:cxn>
              <a:cxn ang="0">
                <a:pos x="1497" y="1"/>
              </a:cxn>
              <a:cxn ang="0">
                <a:pos x="1440" y="64"/>
              </a:cxn>
              <a:cxn ang="0">
                <a:pos x="1472" y="420"/>
              </a:cxn>
              <a:cxn ang="0">
                <a:pos x="2301" y="1787"/>
              </a:cxn>
              <a:cxn ang="0">
                <a:pos x="2189" y="2072"/>
              </a:cxn>
              <a:cxn ang="0">
                <a:pos x="1952" y="2259"/>
              </a:cxn>
              <a:cxn ang="0">
                <a:pos x="1670" y="2301"/>
              </a:cxn>
              <a:cxn ang="0">
                <a:pos x="1384" y="2189"/>
              </a:cxn>
              <a:cxn ang="0">
                <a:pos x="1197" y="1952"/>
              </a:cxn>
              <a:cxn ang="0">
                <a:pos x="1155" y="1670"/>
              </a:cxn>
              <a:cxn ang="0">
                <a:pos x="1267" y="1384"/>
              </a:cxn>
              <a:cxn ang="0">
                <a:pos x="1504" y="1197"/>
              </a:cxn>
              <a:cxn ang="0">
                <a:pos x="1787" y="1155"/>
              </a:cxn>
              <a:cxn ang="0">
                <a:pos x="2072" y="1267"/>
              </a:cxn>
              <a:cxn ang="0">
                <a:pos x="2259" y="1504"/>
              </a:cxn>
              <a:cxn ang="0">
                <a:pos x="2160" y="1728"/>
              </a:cxn>
              <a:cxn ang="0">
                <a:pos x="2097" y="1504"/>
              </a:cxn>
              <a:cxn ang="0">
                <a:pos x="1934" y="1348"/>
              </a:cxn>
              <a:cxn ang="0">
                <a:pos x="1728" y="1296"/>
              </a:cxn>
              <a:cxn ang="0">
                <a:pos x="1504" y="1359"/>
              </a:cxn>
              <a:cxn ang="0">
                <a:pos x="1348" y="1522"/>
              </a:cxn>
              <a:cxn ang="0">
                <a:pos x="1296" y="1728"/>
              </a:cxn>
              <a:cxn ang="0">
                <a:pos x="1359" y="1952"/>
              </a:cxn>
              <a:cxn ang="0">
                <a:pos x="1522" y="2108"/>
              </a:cxn>
              <a:cxn ang="0">
                <a:pos x="1728" y="2160"/>
              </a:cxn>
              <a:cxn ang="0">
                <a:pos x="1952" y="2097"/>
              </a:cxn>
              <a:cxn ang="0">
                <a:pos x="2108" y="1934"/>
              </a:cxn>
              <a:cxn ang="0">
                <a:pos x="2160" y="1728"/>
              </a:cxn>
              <a:cxn ang="0">
                <a:pos x="720" y="1152"/>
              </a:cxn>
              <a:cxn ang="0">
                <a:pos x="144" y="720"/>
              </a:cxn>
              <a:cxn ang="0">
                <a:pos x="1845" y="358"/>
              </a:cxn>
              <a:cxn ang="0">
                <a:pos x="1656" y="288"/>
              </a:cxn>
              <a:cxn ang="0">
                <a:pos x="1603" y="471"/>
              </a:cxn>
              <a:cxn ang="0">
                <a:pos x="1469" y="497"/>
              </a:cxn>
              <a:cxn ang="0">
                <a:pos x="1371" y="389"/>
              </a:cxn>
              <a:cxn ang="0">
                <a:pos x="487" y="429"/>
              </a:cxn>
              <a:cxn ang="0">
                <a:pos x="360" y="504"/>
              </a:cxn>
              <a:cxn ang="0">
                <a:pos x="241" y="440"/>
              </a:cxn>
              <a:cxn ang="0">
                <a:pos x="125" y="291"/>
              </a:cxn>
              <a:cxn ang="0">
                <a:pos x="7" y="399"/>
              </a:cxn>
              <a:cxn ang="0">
                <a:pos x="27" y="1802"/>
              </a:cxn>
              <a:cxn ang="0">
                <a:pos x="1008" y="1872"/>
              </a:cxn>
              <a:cxn ang="0">
                <a:pos x="1152" y="864"/>
              </a:cxn>
              <a:cxn ang="0">
                <a:pos x="1719" y="1477"/>
              </a:cxn>
              <a:cxn ang="0">
                <a:pos x="1648" y="1440"/>
              </a:cxn>
              <a:cxn ang="0">
                <a:pos x="1585" y="1497"/>
              </a:cxn>
              <a:cxn ang="0">
                <a:pos x="1605" y="1851"/>
              </a:cxn>
              <a:cxn ang="0">
                <a:pos x="1959" y="1871"/>
              </a:cxn>
              <a:cxn ang="0">
                <a:pos x="2016" y="1808"/>
              </a:cxn>
              <a:cxn ang="0">
                <a:pos x="1979" y="1737"/>
              </a:cxn>
            </a:cxnLst>
            <a:rect l="0" t="0" r="r" b="b"/>
            <a:pathLst>
              <a:path w="2304" h="2304">
                <a:moveTo>
                  <a:pt x="288" y="360"/>
                </a:moveTo>
                <a:lnTo>
                  <a:pt x="288" y="72"/>
                </a:lnTo>
                <a:lnTo>
                  <a:pt x="288" y="72"/>
                </a:lnTo>
                <a:lnTo>
                  <a:pt x="288" y="64"/>
                </a:lnTo>
                <a:lnTo>
                  <a:pt x="289" y="57"/>
                </a:lnTo>
                <a:lnTo>
                  <a:pt x="291" y="51"/>
                </a:lnTo>
                <a:lnTo>
                  <a:pt x="294" y="44"/>
                </a:lnTo>
                <a:lnTo>
                  <a:pt x="297" y="37"/>
                </a:lnTo>
                <a:lnTo>
                  <a:pt x="300" y="32"/>
                </a:lnTo>
                <a:lnTo>
                  <a:pt x="309" y="21"/>
                </a:lnTo>
                <a:lnTo>
                  <a:pt x="320" y="12"/>
                </a:lnTo>
                <a:lnTo>
                  <a:pt x="325" y="9"/>
                </a:lnTo>
                <a:lnTo>
                  <a:pt x="332" y="6"/>
                </a:lnTo>
                <a:lnTo>
                  <a:pt x="339" y="3"/>
                </a:lnTo>
                <a:lnTo>
                  <a:pt x="345" y="1"/>
                </a:lnTo>
                <a:lnTo>
                  <a:pt x="352" y="0"/>
                </a:lnTo>
                <a:lnTo>
                  <a:pt x="360" y="0"/>
                </a:lnTo>
                <a:lnTo>
                  <a:pt x="360" y="0"/>
                </a:lnTo>
                <a:lnTo>
                  <a:pt x="368" y="0"/>
                </a:lnTo>
                <a:lnTo>
                  <a:pt x="375" y="1"/>
                </a:lnTo>
                <a:lnTo>
                  <a:pt x="381" y="3"/>
                </a:lnTo>
                <a:lnTo>
                  <a:pt x="388" y="6"/>
                </a:lnTo>
                <a:lnTo>
                  <a:pt x="395" y="9"/>
                </a:lnTo>
                <a:lnTo>
                  <a:pt x="401" y="12"/>
                </a:lnTo>
                <a:lnTo>
                  <a:pt x="411" y="21"/>
                </a:lnTo>
                <a:lnTo>
                  <a:pt x="420" y="32"/>
                </a:lnTo>
                <a:lnTo>
                  <a:pt x="423" y="37"/>
                </a:lnTo>
                <a:lnTo>
                  <a:pt x="426" y="44"/>
                </a:lnTo>
                <a:lnTo>
                  <a:pt x="429" y="51"/>
                </a:lnTo>
                <a:lnTo>
                  <a:pt x="431" y="57"/>
                </a:lnTo>
                <a:lnTo>
                  <a:pt x="432" y="64"/>
                </a:lnTo>
                <a:lnTo>
                  <a:pt x="432" y="72"/>
                </a:lnTo>
                <a:lnTo>
                  <a:pt x="432" y="360"/>
                </a:lnTo>
                <a:lnTo>
                  <a:pt x="432" y="360"/>
                </a:lnTo>
                <a:lnTo>
                  <a:pt x="432" y="368"/>
                </a:lnTo>
                <a:lnTo>
                  <a:pt x="431" y="375"/>
                </a:lnTo>
                <a:lnTo>
                  <a:pt x="429" y="381"/>
                </a:lnTo>
                <a:lnTo>
                  <a:pt x="426" y="388"/>
                </a:lnTo>
                <a:lnTo>
                  <a:pt x="423" y="395"/>
                </a:lnTo>
                <a:lnTo>
                  <a:pt x="420" y="401"/>
                </a:lnTo>
                <a:lnTo>
                  <a:pt x="411" y="411"/>
                </a:lnTo>
                <a:lnTo>
                  <a:pt x="401" y="420"/>
                </a:lnTo>
                <a:lnTo>
                  <a:pt x="395" y="423"/>
                </a:lnTo>
                <a:lnTo>
                  <a:pt x="388" y="426"/>
                </a:lnTo>
                <a:lnTo>
                  <a:pt x="381" y="429"/>
                </a:lnTo>
                <a:lnTo>
                  <a:pt x="375" y="431"/>
                </a:lnTo>
                <a:lnTo>
                  <a:pt x="368" y="432"/>
                </a:lnTo>
                <a:lnTo>
                  <a:pt x="360" y="432"/>
                </a:lnTo>
                <a:lnTo>
                  <a:pt x="360" y="432"/>
                </a:lnTo>
                <a:lnTo>
                  <a:pt x="352" y="432"/>
                </a:lnTo>
                <a:lnTo>
                  <a:pt x="345" y="431"/>
                </a:lnTo>
                <a:lnTo>
                  <a:pt x="339" y="429"/>
                </a:lnTo>
                <a:lnTo>
                  <a:pt x="332" y="426"/>
                </a:lnTo>
                <a:lnTo>
                  <a:pt x="325" y="423"/>
                </a:lnTo>
                <a:lnTo>
                  <a:pt x="320" y="420"/>
                </a:lnTo>
                <a:lnTo>
                  <a:pt x="309" y="411"/>
                </a:lnTo>
                <a:lnTo>
                  <a:pt x="300" y="401"/>
                </a:lnTo>
                <a:lnTo>
                  <a:pt x="297" y="395"/>
                </a:lnTo>
                <a:lnTo>
                  <a:pt x="294" y="388"/>
                </a:lnTo>
                <a:lnTo>
                  <a:pt x="291" y="381"/>
                </a:lnTo>
                <a:lnTo>
                  <a:pt x="289" y="375"/>
                </a:lnTo>
                <a:lnTo>
                  <a:pt x="288" y="368"/>
                </a:lnTo>
                <a:lnTo>
                  <a:pt x="288" y="360"/>
                </a:lnTo>
                <a:lnTo>
                  <a:pt x="288" y="360"/>
                </a:lnTo>
                <a:close/>
                <a:moveTo>
                  <a:pt x="1512" y="432"/>
                </a:moveTo>
                <a:lnTo>
                  <a:pt x="1512" y="432"/>
                </a:lnTo>
                <a:lnTo>
                  <a:pt x="1520" y="432"/>
                </a:lnTo>
                <a:lnTo>
                  <a:pt x="1527" y="431"/>
                </a:lnTo>
                <a:lnTo>
                  <a:pt x="1533" y="429"/>
                </a:lnTo>
                <a:lnTo>
                  <a:pt x="1540" y="426"/>
                </a:lnTo>
                <a:lnTo>
                  <a:pt x="1547" y="423"/>
                </a:lnTo>
                <a:lnTo>
                  <a:pt x="1553" y="420"/>
                </a:lnTo>
                <a:lnTo>
                  <a:pt x="1563" y="411"/>
                </a:lnTo>
                <a:lnTo>
                  <a:pt x="1572" y="401"/>
                </a:lnTo>
                <a:lnTo>
                  <a:pt x="1575" y="395"/>
                </a:lnTo>
                <a:lnTo>
                  <a:pt x="1578" y="388"/>
                </a:lnTo>
                <a:lnTo>
                  <a:pt x="1581" y="381"/>
                </a:lnTo>
                <a:lnTo>
                  <a:pt x="1583" y="375"/>
                </a:lnTo>
                <a:lnTo>
                  <a:pt x="1584" y="368"/>
                </a:lnTo>
                <a:lnTo>
                  <a:pt x="1584" y="360"/>
                </a:lnTo>
                <a:lnTo>
                  <a:pt x="1584" y="72"/>
                </a:lnTo>
                <a:lnTo>
                  <a:pt x="1584" y="72"/>
                </a:lnTo>
                <a:lnTo>
                  <a:pt x="1584" y="64"/>
                </a:lnTo>
                <a:lnTo>
                  <a:pt x="1583" y="57"/>
                </a:lnTo>
                <a:lnTo>
                  <a:pt x="1581" y="51"/>
                </a:lnTo>
                <a:lnTo>
                  <a:pt x="1578" y="44"/>
                </a:lnTo>
                <a:lnTo>
                  <a:pt x="1575" y="37"/>
                </a:lnTo>
                <a:lnTo>
                  <a:pt x="1572" y="32"/>
                </a:lnTo>
                <a:lnTo>
                  <a:pt x="1563" y="21"/>
                </a:lnTo>
                <a:lnTo>
                  <a:pt x="1553" y="12"/>
                </a:lnTo>
                <a:lnTo>
                  <a:pt x="1547" y="9"/>
                </a:lnTo>
                <a:lnTo>
                  <a:pt x="1540" y="6"/>
                </a:lnTo>
                <a:lnTo>
                  <a:pt x="1533" y="3"/>
                </a:lnTo>
                <a:lnTo>
                  <a:pt x="1527" y="1"/>
                </a:lnTo>
                <a:lnTo>
                  <a:pt x="1520" y="0"/>
                </a:lnTo>
                <a:lnTo>
                  <a:pt x="1512" y="0"/>
                </a:lnTo>
                <a:lnTo>
                  <a:pt x="1512" y="0"/>
                </a:lnTo>
                <a:lnTo>
                  <a:pt x="1504" y="0"/>
                </a:lnTo>
                <a:lnTo>
                  <a:pt x="1497" y="1"/>
                </a:lnTo>
                <a:lnTo>
                  <a:pt x="1491" y="3"/>
                </a:lnTo>
                <a:lnTo>
                  <a:pt x="1484" y="6"/>
                </a:lnTo>
                <a:lnTo>
                  <a:pt x="1477" y="9"/>
                </a:lnTo>
                <a:lnTo>
                  <a:pt x="1472" y="12"/>
                </a:lnTo>
                <a:lnTo>
                  <a:pt x="1461" y="21"/>
                </a:lnTo>
                <a:lnTo>
                  <a:pt x="1452" y="32"/>
                </a:lnTo>
                <a:lnTo>
                  <a:pt x="1449" y="37"/>
                </a:lnTo>
                <a:lnTo>
                  <a:pt x="1446" y="44"/>
                </a:lnTo>
                <a:lnTo>
                  <a:pt x="1443" y="51"/>
                </a:lnTo>
                <a:lnTo>
                  <a:pt x="1441" y="57"/>
                </a:lnTo>
                <a:lnTo>
                  <a:pt x="1440" y="64"/>
                </a:lnTo>
                <a:lnTo>
                  <a:pt x="1440" y="72"/>
                </a:lnTo>
                <a:lnTo>
                  <a:pt x="1440" y="360"/>
                </a:lnTo>
                <a:lnTo>
                  <a:pt x="1440" y="360"/>
                </a:lnTo>
                <a:lnTo>
                  <a:pt x="1440" y="368"/>
                </a:lnTo>
                <a:lnTo>
                  <a:pt x="1441" y="375"/>
                </a:lnTo>
                <a:lnTo>
                  <a:pt x="1443" y="381"/>
                </a:lnTo>
                <a:lnTo>
                  <a:pt x="1446" y="388"/>
                </a:lnTo>
                <a:lnTo>
                  <a:pt x="1449" y="395"/>
                </a:lnTo>
                <a:lnTo>
                  <a:pt x="1452" y="401"/>
                </a:lnTo>
                <a:lnTo>
                  <a:pt x="1461" y="411"/>
                </a:lnTo>
                <a:lnTo>
                  <a:pt x="1472" y="420"/>
                </a:lnTo>
                <a:lnTo>
                  <a:pt x="1477" y="423"/>
                </a:lnTo>
                <a:lnTo>
                  <a:pt x="1484" y="426"/>
                </a:lnTo>
                <a:lnTo>
                  <a:pt x="1491" y="429"/>
                </a:lnTo>
                <a:lnTo>
                  <a:pt x="1497" y="431"/>
                </a:lnTo>
                <a:lnTo>
                  <a:pt x="1504" y="432"/>
                </a:lnTo>
                <a:lnTo>
                  <a:pt x="1512" y="432"/>
                </a:lnTo>
                <a:lnTo>
                  <a:pt x="1512" y="432"/>
                </a:lnTo>
                <a:close/>
                <a:moveTo>
                  <a:pt x="2304" y="1728"/>
                </a:moveTo>
                <a:lnTo>
                  <a:pt x="2304" y="1728"/>
                </a:lnTo>
                <a:lnTo>
                  <a:pt x="2303" y="1757"/>
                </a:lnTo>
                <a:lnTo>
                  <a:pt x="2301" y="1787"/>
                </a:lnTo>
                <a:lnTo>
                  <a:pt x="2297" y="1816"/>
                </a:lnTo>
                <a:lnTo>
                  <a:pt x="2293" y="1844"/>
                </a:lnTo>
                <a:lnTo>
                  <a:pt x="2286" y="1872"/>
                </a:lnTo>
                <a:lnTo>
                  <a:pt x="2278" y="1899"/>
                </a:lnTo>
                <a:lnTo>
                  <a:pt x="2269" y="1926"/>
                </a:lnTo>
                <a:lnTo>
                  <a:pt x="2259" y="1952"/>
                </a:lnTo>
                <a:lnTo>
                  <a:pt x="2248" y="1978"/>
                </a:lnTo>
                <a:lnTo>
                  <a:pt x="2234" y="2003"/>
                </a:lnTo>
                <a:lnTo>
                  <a:pt x="2221" y="2026"/>
                </a:lnTo>
                <a:lnTo>
                  <a:pt x="2206" y="2050"/>
                </a:lnTo>
                <a:lnTo>
                  <a:pt x="2189" y="2072"/>
                </a:lnTo>
                <a:lnTo>
                  <a:pt x="2172" y="2095"/>
                </a:lnTo>
                <a:lnTo>
                  <a:pt x="2154" y="2115"/>
                </a:lnTo>
                <a:lnTo>
                  <a:pt x="2135" y="2135"/>
                </a:lnTo>
                <a:lnTo>
                  <a:pt x="2115" y="2154"/>
                </a:lnTo>
                <a:lnTo>
                  <a:pt x="2095" y="2172"/>
                </a:lnTo>
                <a:lnTo>
                  <a:pt x="2072" y="2189"/>
                </a:lnTo>
                <a:lnTo>
                  <a:pt x="2050" y="2206"/>
                </a:lnTo>
                <a:lnTo>
                  <a:pt x="2026" y="2221"/>
                </a:lnTo>
                <a:lnTo>
                  <a:pt x="2003" y="2234"/>
                </a:lnTo>
                <a:lnTo>
                  <a:pt x="1978" y="2248"/>
                </a:lnTo>
                <a:lnTo>
                  <a:pt x="1952" y="2259"/>
                </a:lnTo>
                <a:lnTo>
                  <a:pt x="1926" y="2269"/>
                </a:lnTo>
                <a:lnTo>
                  <a:pt x="1899" y="2278"/>
                </a:lnTo>
                <a:lnTo>
                  <a:pt x="1872" y="2286"/>
                </a:lnTo>
                <a:lnTo>
                  <a:pt x="1844" y="2293"/>
                </a:lnTo>
                <a:lnTo>
                  <a:pt x="1816" y="2297"/>
                </a:lnTo>
                <a:lnTo>
                  <a:pt x="1787" y="2301"/>
                </a:lnTo>
                <a:lnTo>
                  <a:pt x="1757" y="2303"/>
                </a:lnTo>
                <a:lnTo>
                  <a:pt x="1728" y="2304"/>
                </a:lnTo>
                <a:lnTo>
                  <a:pt x="1728" y="2304"/>
                </a:lnTo>
                <a:lnTo>
                  <a:pt x="1699" y="2303"/>
                </a:lnTo>
                <a:lnTo>
                  <a:pt x="1670" y="2301"/>
                </a:lnTo>
                <a:lnTo>
                  <a:pt x="1640" y="2297"/>
                </a:lnTo>
                <a:lnTo>
                  <a:pt x="1612" y="2293"/>
                </a:lnTo>
                <a:lnTo>
                  <a:pt x="1584" y="2286"/>
                </a:lnTo>
                <a:lnTo>
                  <a:pt x="1557" y="2278"/>
                </a:lnTo>
                <a:lnTo>
                  <a:pt x="1530" y="2269"/>
                </a:lnTo>
                <a:lnTo>
                  <a:pt x="1504" y="2259"/>
                </a:lnTo>
                <a:lnTo>
                  <a:pt x="1478" y="2248"/>
                </a:lnTo>
                <a:lnTo>
                  <a:pt x="1454" y="2234"/>
                </a:lnTo>
                <a:lnTo>
                  <a:pt x="1430" y="2221"/>
                </a:lnTo>
                <a:lnTo>
                  <a:pt x="1406" y="2206"/>
                </a:lnTo>
                <a:lnTo>
                  <a:pt x="1384" y="2189"/>
                </a:lnTo>
                <a:lnTo>
                  <a:pt x="1361" y="2172"/>
                </a:lnTo>
                <a:lnTo>
                  <a:pt x="1341" y="2154"/>
                </a:lnTo>
                <a:lnTo>
                  <a:pt x="1321" y="2135"/>
                </a:lnTo>
                <a:lnTo>
                  <a:pt x="1302" y="2115"/>
                </a:lnTo>
                <a:lnTo>
                  <a:pt x="1284" y="2095"/>
                </a:lnTo>
                <a:lnTo>
                  <a:pt x="1267" y="2072"/>
                </a:lnTo>
                <a:lnTo>
                  <a:pt x="1250" y="2050"/>
                </a:lnTo>
                <a:lnTo>
                  <a:pt x="1235" y="2026"/>
                </a:lnTo>
                <a:lnTo>
                  <a:pt x="1222" y="2003"/>
                </a:lnTo>
                <a:lnTo>
                  <a:pt x="1208" y="1978"/>
                </a:lnTo>
                <a:lnTo>
                  <a:pt x="1197" y="1952"/>
                </a:lnTo>
                <a:lnTo>
                  <a:pt x="1187" y="1926"/>
                </a:lnTo>
                <a:lnTo>
                  <a:pt x="1178" y="1899"/>
                </a:lnTo>
                <a:lnTo>
                  <a:pt x="1170" y="1872"/>
                </a:lnTo>
                <a:lnTo>
                  <a:pt x="1163" y="1844"/>
                </a:lnTo>
                <a:lnTo>
                  <a:pt x="1159" y="1816"/>
                </a:lnTo>
                <a:lnTo>
                  <a:pt x="1155" y="1787"/>
                </a:lnTo>
                <a:lnTo>
                  <a:pt x="1153" y="1757"/>
                </a:lnTo>
                <a:lnTo>
                  <a:pt x="1152" y="1728"/>
                </a:lnTo>
                <a:lnTo>
                  <a:pt x="1152" y="1728"/>
                </a:lnTo>
                <a:lnTo>
                  <a:pt x="1153" y="1699"/>
                </a:lnTo>
                <a:lnTo>
                  <a:pt x="1155" y="1670"/>
                </a:lnTo>
                <a:lnTo>
                  <a:pt x="1159" y="1640"/>
                </a:lnTo>
                <a:lnTo>
                  <a:pt x="1163" y="1612"/>
                </a:lnTo>
                <a:lnTo>
                  <a:pt x="1170" y="1584"/>
                </a:lnTo>
                <a:lnTo>
                  <a:pt x="1178" y="1557"/>
                </a:lnTo>
                <a:lnTo>
                  <a:pt x="1187" y="1530"/>
                </a:lnTo>
                <a:lnTo>
                  <a:pt x="1197" y="1504"/>
                </a:lnTo>
                <a:lnTo>
                  <a:pt x="1208" y="1478"/>
                </a:lnTo>
                <a:lnTo>
                  <a:pt x="1222" y="1454"/>
                </a:lnTo>
                <a:lnTo>
                  <a:pt x="1235" y="1430"/>
                </a:lnTo>
                <a:lnTo>
                  <a:pt x="1250" y="1406"/>
                </a:lnTo>
                <a:lnTo>
                  <a:pt x="1267" y="1384"/>
                </a:lnTo>
                <a:lnTo>
                  <a:pt x="1284" y="1361"/>
                </a:lnTo>
                <a:lnTo>
                  <a:pt x="1302" y="1341"/>
                </a:lnTo>
                <a:lnTo>
                  <a:pt x="1321" y="1321"/>
                </a:lnTo>
                <a:lnTo>
                  <a:pt x="1341" y="1302"/>
                </a:lnTo>
                <a:lnTo>
                  <a:pt x="1361" y="1284"/>
                </a:lnTo>
                <a:lnTo>
                  <a:pt x="1384" y="1267"/>
                </a:lnTo>
                <a:lnTo>
                  <a:pt x="1406" y="1250"/>
                </a:lnTo>
                <a:lnTo>
                  <a:pt x="1430" y="1235"/>
                </a:lnTo>
                <a:lnTo>
                  <a:pt x="1454" y="1222"/>
                </a:lnTo>
                <a:lnTo>
                  <a:pt x="1478" y="1208"/>
                </a:lnTo>
                <a:lnTo>
                  <a:pt x="1504" y="1197"/>
                </a:lnTo>
                <a:lnTo>
                  <a:pt x="1530" y="1187"/>
                </a:lnTo>
                <a:lnTo>
                  <a:pt x="1557" y="1178"/>
                </a:lnTo>
                <a:lnTo>
                  <a:pt x="1584" y="1170"/>
                </a:lnTo>
                <a:lnTo>
                  <a:pt x="1612" y="1163"/>
                </a:lnTo>
                <a:lnTo>
                  <a:pt x="1640" y="1159"/>
                </a:lnTo>
                <a:lnTo>
                  <a:pt x="1670" y="1155"/>
                </a:lnTo>
                <a:lnTo>
                  <a:pt x="1699" y="1153"/>
                </a:lnTo>
                <a:lnTo>
                  <a:pt x="1728" y="1152"/>
                </a:lnTo>
                <a:lnTo>
                  <a:pt x="1728" y="1152"/>
                </a:lnTo>
                <a:lnTo>
                  <a:pt x="1757" y="1153"/>
                </a:lnTo>
                <a:lnTo>
                  <a:pt x="1787" y="1155"/>
                </a:lnTo>
                <a:lnTo>
                  <a:pt x="1816" y="1159"/>
                </a:lnTo>
                <a:lnTo>
                  <a:pt x="1844" y="1163"/>
                </a:lnTo>
                <a:lnTo>
                  <a:pt x="1872" y="1170"/>
                </a:lnTo>
                <a:lnTo>
                  <a:pt x="1899" y="1178"/>
                </a:lnTo>
                <a:lnTo>
                  <a:pt x="1926" y="1187"/>
                </a:lnTo>
                <a:lnTo>
                  <a:pt x="1952" y="1197"/>
                </a:lnTo>
                <a:lnTo>
                  <a:pt x="1978" y="1208"/>
                </a:lnTo>
                <a:lnTo>
                  <a:pt x="2003" y="1222"/>
                </a:lnTo>
                <a:lnTo>
                  <a:pt x="2026" y="1235"/>
                </a:lnTo>
                <a:lnTo>
                  <a:pt x="2050" y="1250"/>
                </a:lnTo>
                <a:lnTo>
                  <a:pt x="2072" y="1267"/>
                </a:lnTo>
                <a:lnTo>
                  <a:pt x="2095" y="1284"/>
                </a:lnTo>
                <a:lnTo>
                  <a:pt x="2115" y="1302"/>
                </a:lnTo>
                <a:lnTo>
                  <a:pt x="2135" y="1321"/>
                </a:lnTo>
                <a:lnTo>
                  <a:pt x="2154" y="1341"/>
                </a:lnTo>
                <a:lnTo>
                  <a:pt x="2172" y="1361"/>
                </a:lnTo>
                <a:lnTo>
                  <a:pt x="2189" y="1384"/>
                </a:lnTo>
                <a:lnTo>
                  <a:pt x="2206" y="1406"/>
                </a:lnTo>
                <a:lnTo>
                  <a:pt x="2221" y="1430"/>
                </a:lnTo>
                <a:lnTo>
                  <a:pt x="2234" y="1454"/>
                </a:lnTo>
                <a:lnTo>
                  <a:pt x="2248" y="1478"/>
                </a:lnTo>
                <a:lnTo>
                  <a:pt x="2259" y="1504"/>
                </a:lnTo>
                <a:lnTo>
                  <a:pt x="2269" y="1530"/>
                </a:lnTo>
                <a:lnTo>
                  <a:pt x="2278" y="1557"/>
                </a:lnTo>
                <a:lnTo>
                  <a:pt x="2286" y="1584"/>
                </a:lnTo>
                <a:lnTo>
                  <a:pt x="2293" y="1612"/>
                </a:lnTo>
                <a:lnTo>
                  <a:pt x="2297" y="1640"/>
                </a:lnTo>
                <a:lnTo>
                  <a:pt x="2301" y="1670"/>
                </a:lnTo>
                <a:lnTo>
                  <a:pt x="2303" y="1699"/>
                </a:lnTo>
                <a:lnTo>
                  <a:pt x="2304" y="1728"/>
                </a:lnTo>
                <a:lnTo>
                  <a:pt x="2304" y="1728"/>
                </a:lnTo>
                <a:close/>
                <a:moveTo>
                  <a:pt x="2160" y="1728"/>
                </a:moveTo>
                <a:lnTo>
                  <a:pt x="2160" y="1728"/>
                </a:lnTo>
                <a:lnTo>
                  <a:pt x="2159" y="1706"/>
                </a:lnTo>
                <a:lnTo>
                  <a:pt x="2158" y="1684"/>
                </a:lnTo>
                <a:lnTo>
                  <a:pt x="2156" y="1663"/>
                </a:lnTo>
                <a:lnTo>
                  <a:pt x="2151" y="1641"/>
                </a:lnTo>
                <a:lnTo>
                  <a:pt x="2147" y="1620"/>
                </a:lnTo>
                <a:lnTo>
                  <a:pt x="2141" y="1600"/>
                </a:lnTo>
                <a:lnTo>
                  <a:pt x="2134" y="1580"/>
                </a:lnTo>
                <a:lnTo>
                  <a:pt x="2126" y="1560"/>
                </a:lnTo>
                <a:lnTo>
                  <a:pt x="2117" y="1541"/>
                </a:lnTo>
                <a:lnTo>
                  <a:pt x="2108" y="1522"/>
                </a:lnTo>
                <a:lnTo>
                  <a:pt x="2097" y="1504"/>
                </a:lnTo>
                <a:lnTo>
                  <a:pt x="2086" y="1486"/>
                </a:lnTo>
                <a:lnTo>
                  <a:pt x="2075" y="1469"/>
                </a:lnTo>
                <a:lnTo>
                  <a:pt x="2061" y="1454"/>
                </a:lnTo>
                <a:lnTo>
                  <a:pt x="2048" y="1438"/>
                </a:lnTo>
                <a:lnTo>
                  <a:pt x="2033" y="1423"/>
                </a:lnTo>
                <a:lnTo>
                  <a:pt x="2018" y="1409"/>
                </a:lnTo>
                <a:lnTo>
                  <a:pt x="2003" y="1395"/>
                </a:lnTo>
                <a:lnTo>
                  <a:pt x="1987" y="1382"/>
                </a:lnTo>
                <a:lnTo>
                  <a:pt x="1970" y="1370"/>
                </a:lnTo>
                <a:lnTo>
                  <a:pt x="1952" y="1359"/>
                </a:lnTo>
                <a:lnTo>
                  <a:pt x="1934" y="1348"/>
                </a:lnTo>
                <a:lnTo>
                  <a:pt x="1915" y="1339"/>
                </a:lnTo>
                <a:lnTo>
                  <a:pt x="1896" y="1330"/>
                </a:lnTo>
                <a:lnTo>
                  <a:pt x="1877" y="1322"/>
                </a:lnTo>
                <a:lnTo>
                  <a:pt x="1856" y="1315"/>
                </a:lnTo>
                <a:lnTo>
                  <a:pt x="1836" y="1310"/>
                </a:lnTo>
                <a:lnTo>
                  <a:pt x="1815" y="1305"/>
                </a:lnTo>
                <a:lnTo>
                  <a:pt x="1793" y="1301"/>
                </a:lnTo>
                <a:lnTo>
                  <a:pt x="1772" y="1298"/>
                </a:lnTo>
                <a:lnTo>
                  <a:pt x="1751" y="1297"/>
                </a:lnTo>
                <a:lnTo>
                  <a:pt x="1728" y="1296"/>
                </a:lnTo>
                <a:lnTo>
                  <a:pt x="1728" y="1296"/>
                </a:lnTo>
                <a:lnTo>
                  <a:pt x="1706" y="1297"/>
                </a:lnTo>
                <a:lnTo>
                  <a:pt x="1684" y="1298"/>
                </a:lnTo>
                <a:lnTo>
                  <a:pt x="1663" y="1301"/>
                </a:lnTo>
                <a:lnTo>
                  <a:pt x="1641" y="1305"/>
                </a:lnTo>
                <a:lnTo>
                  <a:pt x="1620" y="1310"/>
                </a:lnTo>
                <a:lnTo>
                  <a:pt x="1600" y="1315"/>
                </a:lnTo>
                <a:lnTo>
                  <a:pt x="1580" y="1322"/>
                </a:lnTo>
                <a:lnTo>
                  <a:pt x="1560" y="1330"/>
                </a:lnTo>
                <a:lnTo>
                  <a:pt x="1541" y="1339"/>
                </a:lnTo>
                <a:lnTo>
                  <a:pt x="1522" y="1348"/>
                </a:lnTo>
                <a:lnTo>
                  <a:pt x="1504" y="1359"/>
                </a:lnTo>
                <a:lnTo>
                  <a:pt x="1486" y="1370"/>
                </a:lnTo>
                <a:lnTo>
                  <a:pt x="1469" y="1382"/>
                </a:lnTo>
                <a:lnTo>
                  <a:pt x="1454" y="1395"/>
                </a:lnTo>
                <a:lnTo>
                  <a:pt x="1438" y="1409"/>
                </a:lnTo>
                <a:lnTo>
                  <a:pt x="1423" y="1423"/>
                </a:lnTo>
                <a:lnTo>
                  <a:pt x="1409" y="1438"/>
                </a:lnTo>
                <a:lnTo>
                  <a:pt x="1395" y="1454"/>
                </a:lnTo>
                <a:lnTo>
                  <a:pt x="1382" y="1469"/>
                </a:lnTo>
                <a:lnTo>
                  <a:pt x="1370" y="1486"/>
                </a:lnTo>
                <a:lnTo>
                  <a:pt x="1359" y="1504"/>
                </a:lnTo>
                <a:lnTo>
                  <a:pt x="1348" y="1522"/>
                </a:lnTo>
                <a:lnTo>
                  <a:pt x="1339" y="1541"/>
                </a:lnTo>
                <a:lnTo>
                  <a:pt x="1330" y="1560"/>
                </a:lnTo>
                <a:lnTo>
                  <a:pt x="1322" y="1580"/>
                </a:lnTo>
                <a:lnTo>
                  <a:pt x="1315" y="1600"/>
                </a:lnTo>
                <a:lnTo>
                  <a:pt x="1310" y="1620"/>
                </a:lnTo>
                <a:lnTo>
                  <a:pt x="1305" y="1641"/>
                </a:lnTo>
                <a:lnTo>
                  <a:pt x="1301" y="1663"/>
                </a:lnTo>
                <a:lnTo>
                  <a:pt x="1298" y="1684"/>
                </a:lnTo>
                <a:lnTo>
                  <a:pt x="1297" y="1706"/>
                </a:lnTo>
                <a:lnTo>
                  <a:pt x="1296" y="1728"/>
                </a:lnTo>
                <a:lnTo>
                  <a:pt x="1296" y="1728"/>
                </a:lnTo>
                <a:lnTo>
                  <a:pt x="1297" y="1751"/>
                </a:lnTo>
                <a:lnTo>
                  <a:pt x="1298" y="1772"/>
                </a:lnTo>
                <a:lnTo>
                  <a:pt x="1301" y="1793"/>
                </a:lnTo>
                <a:lnTo>
                  <a:pt x="1305" y="1815"/>
                </a:lnTo>
                <a:lnTo>
                  <a:pt x="1310" y="1836"/>
                </a:lnTo>
                <a:lnTo>
                  <a:pt x="1315" y="1856"/>
                </a:lnTo>
                <a:lnTo>
                  <a:pt x="1322" y="1877"/>
                </a:lnTo>
                <a:lnTo>
                  <a:pt x="1330" y="1896"/>
                </a:lnTo>
                <a:lnTo>
                  <a:pt x="1339" y="1915"/>
                </a:lnTo>
                <a:lnTo>
                  <a:pt x="1348" y="1934"/>
                </a:lnTo>
                <a:lnTo>
                  <a:pt x="1359" y="1952"/>
                </a:lnTo>
                <a:lnTo>
                  <a:pt x="1370" y="1970"/>
                </a:lnTo>
                <a:lnTo>
                  <a:pt x="1382" y="1987"/>
                </a:lnTo>
                <a:lnTo>
                  <a:pt x="1395" y="2003"/>
                </a:lnTo>
                <a:lnTo>
                  <a:pt x="1409" y="2018"/>
                </a:lnTo>
                <a:lnTo>
                  <a:pt x="1423" y="2033"/>
                </a:lnTo>
                <a:lnTo>
                  <a:pt x="1438" y="2048"/>
                </a:lnTo>
                <a:lnTo>
                  <a:pt x="1454" y="2061"/>
                </a:lnTo>
                <a:lnTo>
                  <a:pt x="1469" y="2075"/>
                </a:lnTo>
                <a:lnTo>
                  <a:pt x="1486" y="2086"/>
                </a:lnTo>
                <a:lnTo>
                  <a:pt x="1504" y="2097"/>
                </a:lnTo>
                <a:lnTo>
                  <a:pt x="1522" y="2108"/>
                </a:lnTo>
                <a:lnTo>
                  <a:pt x="1541" y="2117"/>
                </a:lnTo>
                <a:lnTo>
                  <a:pt x="1560" y="2126"/>
                </a:lnTo>
                <a:lnTo>
                  <a:pt x="1580" y="2134"/>
                </a:lnTo>
                <a:lnTo>
                  <a:pt x="1600" y="2141"/>
                </a:lnTo>
                <a:lnTo>
                  <a:pt x="1620" y="2147"/>
                </a:lnTo>
                <a:lnTo>
                  <a:pt x="1641" y="2151"/>
                </a:lnTo>
                <a:lnTo>
                  <a:pt x="1663" y="2156"/>
                </a:lnTo>
                <a:lnTo>
                  <a:pt x="1684" y="2158"/>
                </a:lnTo>
                <a:lnTo>
                  <a:pt x="1706" y="2159"/>
                </a:lnTo>
                <a:lnTo>
                  <a:pt x="1728" y="2160"/>
                </a:lnTo>
                <a:lnTo>
                  <a:pt x="1728" y="2160"/>
                </a:lnTo>
                <a:lnTo>
                  <a:pt x="1751" y="2159"/>
                </a:lnTo>
                <a:lnTo>
                  <a:pt x="1772" y="2158"/>
                </a:lnTo>
                <a:lnTo>
                  <a:pt x="1793" y="2156"/>
                </a:lnTo>
                <a:lnTo>
                  <a:pt x="1815" y="2151"/>
                </a:lnTo>
                <a:lnTo>
                  <a:pt x="1836" y="2147"/>
                </a:lnTo>
                <a:lnTo>
                  <a:pt x="1856" y="2141"/>
                </a:lnTo>
                <a:lnTo>
                  <a:pt x="1877" y="2134"/>
                </a:lnTo>
                <a:lnTo>
                  <a:pt x="1896" y="2126"/>
                </a:lnTo>
                <a:lnTo>
                  <a:pt x="1915" y="2117"/>
                </a:lnTo>
                <a:lnTo>
                  <a:pt x="1934" y="2108"/>
                </a:lnTo>
                <a:lnTo>
                  <a:pt x="1952" y="2097"/>
                </a:lnTo>
                <a:lnTo>
                  <a:pt x="1970" y="2086"/>
                </a:lnTo>
                <a:lnTo>
                  <a:pt x="1987" y="2075"/>
                </a:lnTo>
                <a:lnTo>
                  <a:pt x="2003" y="2061"/>
                </a:lnTo>
                <a:lnTo>
                  <a:pt x="2018" y="2048"/>
                </a:lnTo>
                <a:lnTo>
                  <a:pt x="2033" y="2033"/>
                </a:lnTo>
                <a:lnTo>
                  <a:pt x="2048" y="2018"/>
                </a:lnTo>
                <a:lnTo>
                  <a:pt x="2061" y="2003"/>
                </a:lnTo>
                <a:lnTo>
                  <a:pt x="2075" y="1987"/>
                </a:lnTo>
                <a:lnTo>
                  <a:pt x="2086" y="1970"/>
                </a:lnTo>
                <a:lnTo>
                  <a:pt x="2097" y="1952"/>
                </a:lnTo>
                <a:lnTo>
                  <a:pt x="2108" y="1934"/>
                </a:lnTo>
                <a:lnTo>
                  <a:pt x="2117" y="1915"/>
                </a:lnTo>
                <a:lnTo>
                  <a:pt x="2126" y="1896"/>
                </a:lnTo>
                <a:lnTo>
                  <a:pt x="2134" y="1877"/>
                </a:lnTo>
                <a:lnTo>
                  <a:pt x="2141" y="1856"/>
                </a:lnTo>
                <a:lnTo>
                  <a:pt x="2147" y="1836"/>
                </a:lnTo>
                <a:lnTo>
                  <a:pt x="2151" y="1815"/>
                </a:lnTo>
                <a:lnTo>
                  <a:pt x="2156" y="1793"/>
                </a:lnTo>
                <a:lnTo>
                  <a:pt x="2158" y="1772"/>
                </a:lnTo>
                <a:lnTo>
                  <a:pt x="2159" y="1751"/>
                </a:lnTo>
                <a:lnTo>
                  <a:pt x="2160" y="1728"/>
                </a:lnTo>
                <a:lnTo>
                  <a:pt x="2160" y="1728"/>
                </a:lnTo>
                <a:close/>
                <a:moveTo>
                  <a:pt x="576" y="864"/>
                </a:moveTo>
                <a:lnTo>
                  <a:pt x="288" y="864"/>
                </a:lnTo>
                <a:lnTo>
                  <a:pt x="288" y="1152"/>
                </a:lnTo>
                <a:lnTo>
                  <a:pt x="576" y="1152"/>
                </a:lnTo>
                <a:lnTo>
                  <a:pt x="576" y="864"/>
                </a:lnTo>
                <a:close/>
                <a:moveTo>
                  <a:pt x="288" y="1584"/>
                </a:moveTo>
                <a:lnTo>
                  <a:pt x="576" y="1584"/>
                </a:lnTo>
                <a:lnTo>
                  <a:pt x="576" y="1296"/>
                </a:lnTo>
                <a:lnTo>
                  <a:pt x="288" y="1296"/>
                </a:lnTo>
                <a:lnTo>
                  <a:pt x="288" y="1584"/>
                </a:lnTo>
                <a:close/>
                <a:moveTo>
                  <a:pt x="720" y="1152"/>
                </a:moveTo>
                <a:lnTo>
                  <a:pt x="1008" y="1152"/>
                </a:lnTo>
                <a:lnTo>
                  <a:pt x="1008" y="864"/>
                </a:lnTo>
                <a:lnTo>
                  <a:pt x="720" y="864"/>
                </a:lnTo>
                <a:lnTo>
                  <a:pt x="720" y="1152"/>
                </a:lnTo>
                <a:close/>
                <a:moveTo>
                  <a:pt x="720" y="1584"/>
                </a:moveTo>
                <a:lnTo>
                  <a:pt x="1008" y="1584"/>
                </a:lnTo>
                <a:lnTo>
                  <a:pt x="1008" y="1296"/>
                </a:lnTo>
                <a:lnTo>
                  <a:pt x="720" y="1296"/>
                </a:lnTo>
                <a:lnTo>
                  <a:pt x="720" y="1584"/>
                </a:lnTo>
                <a:close/>
                <a:moveTo>
                  <a:pt x="144" y="1713"/>
                </a:moveTo>
                <a:lnTo>
                  <a:pt x="144" y="720"/>
                </a:lnTo>
                <a:lnTo>
                  <a:pt x="1728" y="720"/>
                </a:lnTo>
                <a:lnTo>
                  <a:pt x="1728" y="1008"/>
                </a:lnTo>
                <a:lnTo>
                  <a:pt x="1872" y="1008"/>
                </a:lnTo>
                <a:lnTo>
                  <a:pt x="1872" y="447"/>
                </a:lnTo>
                <a:lnTo>
                  <a:pt x="1872" y="447"/>
                </a:lnTo>
                <a:lnTo>
                  <a:pt x="1871" y="430"/>
                </a:lnTo>
                <a:lnTo>
                  <a:pt x="1869" y="414"/>
                </a:lnTo>
                <a:lnTo>
                  <a:pt x="1865" y="399"/>
                </a:lnTo>
                <a:lnTo>
                  <a:pt x="1860" y="385"/>
                </a:lnTo>
                <a:lnTo>
                  <a:pt x="1853" y="371"/>
                </a:lnTo>
                <a:lnTo>
                  <a:pt x="1845" y="358"/>
                </a:lnTo>
                <a:lnTo>
                  <a:pt x="1836" y="345"/>
                </a:lnTo>
                <a:lnTo>
                  <a:pt x="1826" y="334"/>
                </a:lnTo>
                <a:lnTo>
                  <a:pt x="1816" y="324"/>
                </a:lnTo>
                <a:lnTo>
                  <a:pt x="1803" y="315"/>
                </a:lnTo>
                <a:lnTo>
                  <a:pt x="1790" y="307"/>
                </a:lnTo>
                <a:lnTo>
                  <a:pt x="1776" y="300"/>
                </a:lnTo>
                <a:lnTo>
                  <a:pt x="1763" y="295"/>
                </a:lnTo>
                <a:lnTo>
                  <a:pt x="1747" y="291"/>
                </a:lnTo>
                <a:lnTo>
                  <a:pt x="1733" y="289"/>
                </a:lnTo>
                <a:lnTo>
                  <a:pt x="1716" y="288"/>
                </a:lnTo>
                <a:lnTo>
                  <a:pt x="1656" y="288"/>
                </a:lnTo>
                <a:lnTo>
                  <a:pt x="1656" y="360"/>
                </a:lnTo>
                <a:lnTo>
                  <a:pt x="1656" y="360"/>
                </a:lnTo>
                <a:lnTo>
                  <a:pt x="1655" y="375"/>
                </a:lnTo>
                <a:lnTo>
                  <a:pt x="1653" y="389"/>
                </a:lnTo>
                <a:lnTo>
                  <a:pt x="1649" y="403"/>
                </a:lnTo>
                <a:lnTo>
                  <a:pt x="1645" y="416"/>
                </a:lnTo>
                <a:lnTo>
                  <a:pt x="1639" y="429"/>
                </a:lnTo>
                <a:lnTo>
                  <a:pt x="1631" y="440"/>
                </a:lnTo>
                <a:lnTo>
                  <a:pt x="1623" y="451"/>
                </a:lnTo>
                <a:lnTo>
                  <a:pt x="1613" y="461"/>
                </a:lnTo>
                <a:lnTo>
                  <a:pt x="1603" y="471"/>
                </a:lnTo>
                <a:lnTo>
                  <a:pt x="1593" y="479"/>
                </a:lnTo>
                <a:lnTo>
                  <a:pt x="1581" y="487"/>
                </a:lnTo>
                <a:lnTo>
                  <a:pt x="1568" y="493"/>
                </a:lnTo>
                <a:lnTo>
                  <a:pt x="1555" y="497"/>
                </a:lnTo>
                <a:lnTo>
                  <a:pt x="1541" y="501"/>
                </a:lnTo>
                <a:lnTo>
                  <a:pt x="1527" y="503"/>
                </a:lnTo>
                <a:lnTo>
                  <a:pt x="1512" y="504"/>
                </a:lnTo>
                <a:lnTo>
                  <a:pt x="1512" y="504"/>
                </a:lnTo>
                <a:lnTo>
                  <a:pt x="1497" y="503"/>
                </a:lnTo>
                <a:lnTo>
                  <a:pt x="1483" y="501"/>
                </a:lnTo>
                <a:lnTo>
                  <a:pt x="1469" y="497"/>
                </a:lnTo>
                <a:lnTo>
                  <a:pt x="1456" y="493"/>
                </a:lnTo>
                <a:lnTo>
                  <a:pt x="1443" y="487"/>
                </a:lnTo>
                <a:lnTo>
                  <a:pt x="1431" y="479"/>
                </a:lnTo>
                <a:lnTo>
                  <a:pt x="1421" y="471"/>
                </a:lnTo>
                <a:lnTo>
                  <a:pt x="1411" y="461"/>
                </a:lnTo>
                <a:lnTo>
                  <a:pt x="1401" y="451"/>
                </a:lnTo>
                <a:lnTo>
                  <a:pt x="1393" y="440"/>
                </a:lnTo>
                <a:lnTo>
                  <a:pt x="1385" y="429"/>
                </a:lnTo>
                <a:lnTo>
                  <a:pt x="1379" y="416"/>
                </a:lnTo>
                <a:lnTo>
                  <a:pt x="1375" y="403"/>
                </a:lnTo>
                <a:lnTo>
                  <a:pt x="1371" y="389"/>
                </a:lnTo>
                <a:lnTo>
                  <a:pt x="1369" y="375"/>
                </a:lnTo>
                <a:lnTo>
                  <a:pt x="1368" y="360"/>
                </a:lnTo>
                <a:lnTo>
                  <a:pt x="1368" y="288"/>
                </a:lnTo>
                <a:lnTo>
                  <a:pt x="504" y="288"/>
                </a:lnTo>
                <a:lnTo>
                  <a:pt x="504" y="360"/>
                </a:lnTo>
                <a:lnTo>
                  <a:pt x="504" y="360"/>
                </a:lnTo>
                <a:lnTo>
                  <a:pt x="503" y="375"/>
                </a:lnTo>
                <a:lnTo>
                  <a:pt x="501" y="389"/>
                </a:lnTo>
                <a:lnTo>
                  <a:pt x="497" y="403"/>
                </a:lnTo>
                <a:lnTo>
                  <a:pt x="493" y="416"/>
                </a:lnTo>
                <a:lnTo>
                  <a:pt x="487" y="429"/>
                </a:lnTo>
                <a:lnTo>
                  <a:pt x="479" y="440"/>
                </a:lnTo>
                <a:lnTo>
                  <a:pt x="471" y="451"/>
                </a:lnTo>
                <a:lnTo>
                  <a:pt x="461" y="461"/>
                </a:lnTo>
                <a:lnTo>
                  <a:pt x="451" y="471"/>
                </a:lnTo>
                <a:lnTo>
                  <a:pt x="441" y="479"/>
                </a:lnTo>
                <a:lnTo>
                  <a:pt x="429" y="487"/>
                </a:lnTo>
                <a:lnTo>
                  <a:pt x="416" y="493"/>
                </a:lnTo>
                <a:lnTo>
                  <a:pt x="403" y="497"/>
                </a:lnTo>
                <a:lnTo>
                  <a:pt x="389" y="501"/>
                </a:lnTo>
                <a:lnTo>
                  <a:pt x="375" y="503"/>
                </a:lnTo>
                <a:lnTo>
                  <a:pt x="360" y="504"/>
                </a:lnTo>
                <a:lnTo>
                  <a:pt x="360" y="504"/>
                </a:lnTo>
                <a:lnTo>
                  <a:pt x="345" y="503"/>
                </a:lnTo>
                <a:lnTo>
                  <a:pt x="331" y="501"/>
                </a:lnTo>
                <a:lnTo>
                  <a:pt x="317" y="497"/>
                </a:lnTo>
                <a:lnTo>
                  <a:pt x="304" y="493"/>
                </a:lnTo>
                <a:lnTo>
                  <a:pt x="291" y="487"/>
                </a:lnTo>
                <a:lnTo>
                  <a:pt x="279" y="479"/>
                </a:lnTo>
                <a:lnTo>
                  <a:pt x="269" y="471"/>
                </a:lnTo>
                <a:lnTo>
                  <a:pt x="259" y="461"/>
                </a:lnTo>
                <a:lnTo>
                  <a:pt x="249" y="451"/>
                </a:lnTo>
                <a:lnTo>
                  <a:pt x="241" y="440"/>
                </a:lnTo>
                <a:lnTo>
                  <a:pt x="233" y="429"/>
                </a:lnTo>
                <a:lnTo>
                  <a:pt x="227" y="416"/>
                </a:lnTo>
                <a:lnTo>
                  <a:pt x="223" y="403"/>
                </a:lnTo>
                <a:lnTo>
                  <a:pt x="219" y="389"/>
                </a:lnTo>
                <a:lnTo>
                  <a:pt x="217" y="375"/>
                </a:lnTo>
                <a:lnTo>
                  <a:pt x="216" y="360"/>
                </a:lnTo>
                <a:lnTo>
                  <a:pt x="216" y="288"/>
                </a:lnTo>
                <a:lnTo>
                  <a:pt x="156" y="288"/>
                </a:lnTo>
                <a:lnTo>
                  <a:pt x="156" y="288"/>
                </a:lnTo>
                <a:lnTo>
                  <a:pt x="141" y="289"/>
                </a:lnTo>
                <a:lnTo>
                  <a:pt x="125" y="291"/>
                </a:lnTo>
                <a:lnTo>
                  <a:pt x="109" y="295"/>
                </a:lnTo>
                <a:lnTo>
                  <a:pt x="96" y="300"/>
                </a:lnTo>
                <a:lnTo>
                  <a:pt x="82" y="307"/>
                </a:lnTo>
                <a:lnTo>
                  <a:pt x="69" y="315"/>
                </a:lnTo>
                <a:lnTo>
                  <a:pt x="56" y="324"/>
                </a:lnTo>
                <a:lnTo>
                  <a:pt x="46" y="334"/>
                </a:lnTo>
                <a:lnTo>
                  <a:pt x="36" y="345"/>
                </a:lnTo>
                <a:lnTo>
                  <a:pt x="27" y="358"/>
                </a:lnTo>
                <a:lnTo>
                  <a:pt x="19" y="371"/>
                </a:lnTo>
                <a:lnTo>
                  <a:pt x="12" y="385"/>
                </a:lnTo>
                <a:lnTo>
                  <a:pt x="7" y="399"/>
                </a:lnTo>
                <a:lnTo>
                  <a:pt x="3" y="414"/>
                </a:lnTo>
                <a:lnTo>
                  <a:pt x="1" y="430"/>
                </a:lnTo>
                <a:lnTo>
                  <a:pt x="0" y="447"/>
                </a:lnTo>
                <a:lnTo>
                  <a:pt x="0" y="1713"/>
                </a:lnTo>
                <a:lnTo>
                  <a:pt x="0" y="1713"/>
                </a:lnTo>
                <a:lnTo>
                  <a:pt x="1" y="1730"/>
                </a:lnTo>
                <a:lnTo>
                  <a:pt x="3" y="1746"/>
                </a:lnTo>
                <a:lnTo>
                  <a:pt x="7" y="1761"/>
                </a:lnTo>
                <a:lnTo>
                  <a:pt x="12" y="1775"/>
                </a:lnTo>
                <a:lnTo>
                  <a:pt x="19" y="1789"/>
                </a:lnTo>
                <a:lnTo>
                  <a:pt x="27" y="1802"/>
                </a:lnTo>
                <a:lnTo>
                  <a:pt x="36" y="1815"/>
                </a:lnTo>
                <a:lnTo>
                  <a:pt x="46" y="1826"/>
                </a:lnTo>
                <a:lnTo>
                  <a:pt x="56" y="1836"/>
                </a:lnTo>
                <a:lnTo>
                  <a:pt x="69" y="1845"/>
                </a:lnTo>
                <a:lnTo>
                  <a:pt x="82" y="1853"/>
                </a:lnTo>
                <a:lnTo>
                  <a:pt x="96" y="1860"/>
                </a:lnTo>
                <a:lnTo>
                  <a:pt x="109" y="1865"/>
                </a:lnTo>
                <a:lnTo>
                  <a:pt x="125" y="1869"/>
                </a:lnTo>
                <a:lnTo>
                  <a:pt x="141" y="1871"/>
                </a:lnTo>
                <a:lnTo>
                  <a:pt x="156" y="1872"/>
                </a:lnTo>
                <a:lnTo>
                  <a:pt x="1008" y="1872"/>
                </a:lnTo>
                <a:lnTo>
                  <a:pt x="1008" y="1728"/>
                </a:lnTo>
                <a:lnTo>
                  <a:pt x="156" y="1728"/>
                </a:lnTo>
                <a:lnTo>
                  <a:pt x="156" y="1728"/>
                </a:lnTo>
                <a:lnTo>
                  <a:pt x="152" y="1727"/>
                </a:lnTo>
                <a:lnTo>
                  <a:pt x="147" y="1724"/>
                </a:lnTo>
                <a:lnTo>
                  <a:pt x="145" y="1719"/>
                </a:lnTo>
                <a:lnTo>
                  <a:pt x="144" y="1713"/>
                </a:lnTo>
                <a:lnTo>
                  <a:pt x="144" y="1713"/>
                </a:lnTo>
                <a:close/>
                <a:moveTo>
                  <a:pt x="1440" y="1152"/>
                </a:moveTo>
                <a:lnTo>
                  <a:pt x="1440" y="864"/>
                </a:lnTo>
                <a:lnTo>
                  <a:pt x="1152" y="864"/>
                </a:lnTo>
                <a:lnTo>
                  <a:pt x="1152" y="1152"/>
                </a:lnTo>
                <a:lnTo>
                  <a:pt x="1440" y="1152"/>
                </a:lnTo>
                <a:close/>
                <a:moveTo>
                  <a:pt x="1944" y="1728"/>
                </a:moveTo>
                <a:lnTo>
                  <a:pt x="1728" y="1728"/>
                </a:lnTo>
                <a:lnTo>
                  <a:pt x="1728" y="1512"/>
                </a:lnTo>
                <a:lnTo>
                  <a:pt x="1728" y="1512"/>
                </a:lnTo>
                <a:lnTo>
                  <a:pt x="1728" y="1504"/>
                </a:lnTo>
                <a:lnTo>
                  <a:pt x="1727" y="1497"/>
                </a:lnTo>
                <a:lnTo>
                  <a:pt x="1725" y="1491"/>
                </a:lnTo>
                <a:lnTo>
                  <a:pt x="1722" y="1484"/>
                </a:lnTo>
                <a:lnTo>
                  <a:pt x="1719" y="1477"/>
                </a:lnTo>
                <a:lnTo>
                  <a:pt x="1716" y="1472"/>
                </a:lnTo>
                <a:lnTo>
                  <a:pt x="1707" y="1461"/>
                </a:lnTo>
                <a:lnTo>
                  <a:pt x="1697" y="1452"/>
                </a:lnTo>
                <a:lnTo>
                  <a:pt x="1691" y="1449"/>
                </a:lnTo>
                <a:lnTo>
                  <a:pt x="1684" y="1446"/>
                </a:lnTo>
                <a:lnTo>
                  <a:pt x="1677" y="1443"/>
                </a:lnTo>
                <a:lnTo>
                  <a:pt x="1671" y="1441"/>
                </a:lnTo>
                <a:lnTo>
                  <a:pt x="1664" y="1440"/>
                </a:lnTo>
                <a:lnTo>
                  <a:pt x="1656" y="1440"/>
                </a:lnTo>
                <a:lnTo>
                  <a:pt x="1656" y="1440"/>
                </a:lnTo>
                <a:lnTo>
                  <a:pt x="1648" y="1440"/>
                </a:lnTo>
                <a:lnTo>
                  <a:pt x="1641" y="1441"/>
                </a:lnTo>
                <a:lnTo>
                  <a:pt x="1635" y="1443"/>
                </a:lnTo>
                <a:lnTo>
                  <a:pt x="1628" y="1446"/>
                </a:lnTo>
                <a:lnTo>
                  <a:pt x="1621" y="1449"/>
                </a:lnTo>
                <a:lnTo>
                  <a:pt x="1616" y="1452"/>
                </a:lnTo>
                <a:lnTo>
                  <a:pt x="1605" y="1461"/>
                </a:lnTo>
                <a:lnTo>
                  <a:pt x="1596" y="1472"/>
                </a:lnTo>
                <a:lnTo>
                  <a:pt x="1593" y="1477"/>
                </a:lnTo>
                <a:lnTo>
                  <a:pt x="1590" y="1484"/>
                </a:lnTo>
                <a:lnTo>
                  <a:pt x="1587" y="1491"/>
                </a:lnTo>
                <a:lnTo>
                  <a:pt x="1585" y="1497"/>
                </a:lnTo>
                <a:lnTo>
                  <a:pt x="1584" y="1504"/>
                </a:lnTo>
                <a:lnTo>
                  <a:pt x="1584" y="1512"/>
                </a:lnTo>
                <a:lnTo>
                  <a:pt x="1584" y="1800"/>
                </a:lnTo>
                <a:lnTo>
                  <a:pt x="1584" y="1800"/>
                </a:lnTo>
                <a:lnTo>
                  <a:pt x="1584" y="1808"/>
                </a:lnTo>
                <a:lnTo>
                  <a:pt x="1585" y="1815"/>
                </a:lnTo>
                <a:lnTo>
                  <a:pt x="1587" y="1821"/>
                </a:lnTo>
                <a:lnTo>
                  <a:pt x="1590" y="1828"/>
                </a:lnTo>
                <a:lnTo>
                  <a:pt x="1593" y="1835"/>
                </a:lnTo>
                <a:lnTo>
                  <a:pt x="1596" y="1841"/>
                </a:lnTo>
                <a:lnTo>
                  <a:pt x="1605" y="1851"/>
                </a:lnTo>
                <a:lnTo>
                  <a:pt x="1616" y="1860"/>
                </a:lnTo>
                <a:lnTo>
                  <a:pt x="1621" y="1863"/>
                </a:lnTo>
                <a:lnTo>
                  <a:pt x="1628" y="1866"/>
                </a:lnTo>
                <a:lnTo>
                  <a:pt x="1635" y="1869"/>
                </a:lnTo>
                <a:lnTo>
                  <a:pt x="1641" y="1871"/>
                </a:lnTo>
                <a:lnTo>
                  <a:pt x="1648" y="1872"/>
                </a:lnTo>
                <a:lnTo>
                  <a:pt x="1656" y="1872"/>
                </a:lnTo>
                <a:lnTo>
                  <a:pt x="1944" y="1872"/>
                </a:lnTo>
                <a:lnTo>
                  <a:pt x="1944" y="1872"/>
                </a:lnTo>
                <a:lnTo>
                  <a:pt x="1952" y="1872"/>
                </a:lnTo>
                <a:lnTo>
                  <a:pt x="1959" y="1871"/>
                </a:lnTo>
                <a:lnTo>
                  <a:pt x="1965" y="1869"/>
                </a:lnTo>
                <a:lnTo>
                  <a:pt x="1972" y="1866"/>
                </a:lnTo>
                <a:lnTo>
                  <a:pt x="1979" y="1863"/>
                </a:lnTo>
                <a:lnTo>
                  <a:pt x="1985" y="1860"/>
                </a:lnTo>
                <a:lnTo>
                  <a:pt x="1995" y="1851"/>
                </a:lnTo>
                <a:lnTo>
                  <a:pt x="2004" y="1841"/>
                </a:lnTo>
                <a:lnTo>
                  <a:pt x="2007" y="1835"/>
                </a:lnTo>
                <a:lnTo>
                  <a:pt x="2010" y="1828"/>
                </a:lnTo>
                <a:lnTo>
                  <a:pt x="2013" y="1821"/>
                </a:lnTo>
                <a:lnTo>
                  <a:pt x="2015" y="1815"/>
                </a:lnTo>
                <a:lnTo>
                  <a:pt x="2016" y="1808"/>
                </a:lnTo>
                <a:lnTo>
                  <a:pt x="2016" y="1800"/>
                </a:lnTo>
                <a:lnTo>
                  <a:pt x="2016" y="1800"/>
                </a:lnTo>
                <a:lnTo>
                  <a:pt x="2016" y="1792"/>
                </a:lnTo>
                <a:lnTo>
                  <a:pt x="2015" y="1785"/>
                </a:lnTo>
                <a:lnTo>
                  <a:pt x="2013" y="1779"/>
                </a:lnTo>
                <a:lnTo>
                  <a:pt x="2010" y="1772"/>
                </a:lnTo>
                <a:lnTo>
                  <a:pt x="2007" y="1765"/>
                </a:lnTo>
                <a:lnTo>
                  <a:pt x="2004" y="1760"/>
                </a:lnTo>
                <a:lnTo>
                  <a:pt x="1995" y="1749"/>
                </a:lnTo>
                <a:lnTo>
                  <a:pt x="1985" y="1740"/>
                </a:lnTo>
                <a:lnTo>
                  <a:pt x="1979" y="1737"/>
                </a:lnTo>
                <a:lnTo>
                  <a:pt x="1972" y="1734"/>
                </a:lnTo>
                <a:lnTo>
                  <a:pt x="1965" y="1731"/>
                </a:lnTo>
                <a:lnTo>
                  <a:pt x="1959" y="1729"/>
                </a:lnTo>
                <a:lnTo>
                  <a:pt x="1952" y="1728"/>
                </a:lnTo>
                <a:lnTo>
                  <a:pt x="1944" y="1728"/>
                </a:lnTo>
                <a:lnTo>
                  <a:pt x="1944" y="1728"/>
                </a:lnTo>
                <a:close/>
              </a:path>
            </a:pathLst>
          </a:custGeom>
          <a:solidFill>
            <a:srgbClr val="7E249F"/>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Tree>
    <p:extLst>
      <p:ext uri="{BB962C8B-B14F-4D97-AF65-F5344CB8AC3E}">
        <p14:creationId xmlns:p14="http://schemas.microsoft.com/office/powerpoint/2010/main" val="1532817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6ABE8D-6BA4-8FF0-71D0-265FC8B1A2EB}"/>
              </a:ext>
            </a:extLst>
          </p:cNvPr>
          <p:cNvPicPr>
            <a:picLocks noChangeAspect="1"/>
          </p:cNvPicPr>
          <p:nvPr/>
        </p:nvPicPr>
        <p:blipFill>
          <a:blip r:embed="rId3"/>
          <a:stretch>
            <a:fillRect/>
          </a:stretch>
        </p:blipFill>
        <p:spPr>
          <a:xfrm>
            <a:off x="431912" y="1633298"/>
            <a:ext cx="11250687" cy="3395901"/>
          </a:xfrm>
          <a:prstGeom prst="rect">
            <a:avLst/>
          </a:prstGeom>
        </p:spPr>
      </p:pic>
      <p:sp>
        <p:nvSpPr>
          <p:cNvPr id="10" name="Rectangle 9">
            <a:extLst>
              <a:ext uri="{FF2B5EF4-FFF2-40B4-BE49-F238E27FC236}">
                <a16:creationId xmlns:a16="http://schemas.microsoft.com/office/drawing/2014/main" id="{B1E11AFD-234C-4608-45C1-BCBFF4F78463}"/>
              </a:ext>
            </a:extLst>
          </p:cNvPr>
          <p:cNvSpPr/>
          <p:nvPr/>
        </p:nvSpPr>
        <p:spPr>
          <a:xfrm>
            <a:off x="8380694" y="2701544"/>
            <a:ext cx="1306285" cy="347133"/>
          </a:xfrm>
          <a:prstGeom prst="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FF4501C9-9EB6-7AED-3C77-7182062FF386}"/>
              </a:ext>
            </a:extLst>
          </p:cNvPr>
          <p:cNvSpPr txBox="1">
            <a:spLocks/>
          </p:cNvSpPr>
          <p:nvPr/>
        </p:nvSpPr>
        <p:spPr>
          <a:xfrm>
            <a:off x="838200" y="365126"/>
            <a:ext cx="9287933" cy="98954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a:t>Timesheet in BizX</a:t>
            </a:r>
            <a:endParaRPr lang="en-US" dirty="0"/>
          </a:p>
        </p:txBody>
      </p:sp>
      <p:sp>
        <p:nvSpPr>
          <p:cNvPr id="2" name="Rectangle 1">
            <a:extLst>
              <a:ext uri="{FF2B5EF4-FFF2-40B4-BE49-F238E27FC236}">
                <a16:creationId xmlns:a16="http://schemas.microsoft.com/office/drawing/2014/main" id="{7F8BA2AD-9392-A7C3-6B23-9E802E5A5C5E}"/>
              </a:ext>
            </a:extLst>
          </p:cNvPr>
          <p:cNvSpPr/>
          <p:nvPr/>
        </p:nvSpPr>
        <p:spPr>
          <a:xfrm>
            <a:off x="6914606" y="3923792"/>
            <a:ext cx="1306285" cy="1023112"/>
          </a:xfrm>
          <a:prstGeom prst="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3858307-76FC-92B6-221E-D68042E5B86F}"/>
              </a:ext>
            </a:extLst>
          </p:cNvPr>
          <p:cNvSpPr txBox="1"/>
          <p:nvPr/>
        </p:nvSpPr>
        <p:spPr>
          <a:xfrm>
            <a:off x="1609344" y="5307829"/>
            <a:ext cx="8242193" cy="923330"/>
          </a:xfrm>
          <a:prstGeom prst="rect">
            <a:avLst/>
          </a:prstGeom>
          <a:noFill/>
          <a:ln w="38100">
            <a:solidFill>
              <a:schemeClr val="accent1"/>
            </a:solidFill>
          </a:ln>
        </p:spPr>
        <p:txBody>
          <a:bodyPr wrap="none" rtlCol="0">
            <a:spAutoFit/>
          </a:bodyPr>
          <a:lstStyle/>
          <a:p>
            <a:r>
              <a:rPr lang="en-US" dirty="0"/>
              <a:t>Once you log in to BizX, Click on the “Timesheet” icon, then click “My Timesheet”. </a:t>
            </a:r>
          </a:p>
          <a:p>
            <a:endParaRPr lang="en-US" dirty="0"/>
          </a:p>
          <a:p>
            <a:pPr algn="ctr"/>
            <a:r>
              <a:rPr lang="en-US" dirty="0">
                <a:hlinkClick r:id="rId4"/>
              </a:rPr>
              <a:t>https://bizx.infinite.com/bizx/home</a:t>
            </a:r>
            <a:r>
              <a:rPr lang="en-US" dirty="0"/>
              <a:t> </a:t>
            </a:r>
          </a:p>
        </p:txBody>
      </p:sp>
    </p:spTree>
    <p:extLst>
      <p:ext uri="{BB962C8B-B14F-4D97-AF65-F5344CB8AC3E}">
        <p14:creationId xmlns:p14="http://schemas.microsoft.com/office/powerpoint/2010/main" val="14588251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D14B21-8539-BD95-456E-DF6796B3396F}"/>
              </a:ext>
            </a:extLst>
          </p:cNvPr>
          <p:cNvPicPr>
            <a:picLocks noChangeAspect="1"/>
          </p:cNvPicPr>
          <p:nvPr/>
        </p:nvPicPr>
        <p:blipFill>
          <a:blip r:embed="rId2"/>
          <a:stretch>
            <a:fillRect/>
          </a:stretch>
        </p:blipFill>
        <p:spPr>
          <a:xfrm>
            <a:off x="116136" y="767755"/>
            <a:ext cx="8737838" cy="3837171"/>
          </a:xfrm>
          <a:prstGeom prst="rect">
            <a:avLst/>
          </a:prstGeom>
        </p:spPr>
      </p:pic>
      <p:sp>
        <p:nvSpPr>
          <p:cNvPr id="18" name="Rectangle 17">
            <a:extLst>
              <a:ext uri="{FF2B5EF4-FFF2-40B4-BE49-F238E27FC236}">
                <a16:creationId xmlns:a16="http://schemas.microsoft.com/office/drawing/2014/main" id="{44543909-5E6E-2238-AA69-73E94D3D524B}"/>
              </a:ext>
            </a:extLst>
          </p:cNvPr>
          <p:cNvSpPr/>
          <p:nvPr/>
        </p:nvSpPr>
        <p:spPr>
          <a:xfrm>
            <a:off x="116136" y="774411"/>
            <a:ext cx="3141442" cy="397934"/>
          </a:xfrm>
          <a:prstGeom prst="rect">
            <a:avLst/>
          </a:prstGeom>
          <a:noFill/>
          <a:ln w="5715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2E803BF-DB16-6E39-E630-2C9DED413A66}"/>
              </a:ext>
            </a:extLst>
          </p:cNvPr>
          <p:cNvSpPr/>
          <p:nvPr/>
        </p:nvSpPr>
        <p:spPr>
          <a:xfrm>
            <a:off x="8064822" y="702119"/>
            <a:ext cx="665110" cy="397934"/>
          </a:xfrm>
          <a:prstGeom prst="rect">
            <a:avLst/>
          </a:prstGeom>
          <a:noFill/>
          <a:ln w="5715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8AAC17DA-E64B-E91A-0771-067D004E56A0}"/>
              </a:ext>
            </a:extLst>
          </p:cNvPr>
          <p:cNvPicPr>
            <a:picLocks noChangeAspect="1"/>
          </p:cNvPicPr>
          <p:nvPr/>
        </p:nvPicPr>
        <p:blipFill>
          <a:blip r:embed="rId3"/>
          <a:stretch>
            <a:fillRect/>
          </a:stretch>
        </p:blipFill>
        <p:spPr>
          <a:xfrm>
            <a:off x="9199288" y="685801"/>
            <a:ext cx="2876576" cy="3386665"/>
          </a:xfrm>
          <a:prstGeom prst="rect">
            <a:avLst/>
          </a:prstGeom>
          <a:ln w="57150">
            <a:solidFill>
              <a:srgbClr val="92D050"/>
            </a:solidFill>
          </a:ln>
        </p:spPr>
      </p:pic>
      <p:pic>
        <p:nvPicPr>
          <p:cNvPr id="23" name="Picture 22">
            <a:extLst>
              <a:ext uri="{FF2B5EF4-FFF2-40B4-BE49-F238E27FC236}">
                <a16:creationId xmlns:a16="http://schemas.microsoft.com/office/drawing/2014/main" id="{C56C8489-ADD8-69C1-D8E3-D9069864A74A}"/>
              </a:ext>
            </a:extLst>
          </p:cNvPr>
          <p:cNvPicPr>
            <a:picLocks noChangeAspect="1"/>
          </p:cNvPicPr>
          <p:nvPr/>
        </p:nvPicPr>
        <p:blipFill>
          <a:blip r:embed="rId4"/>
          <a:stretch>
            <a:fillRect/>
          </a:stretch>
        </p:blipFill>
        <p:spPr>
          <a:xfrm>
            <a:off x="4166203" y="5104793"/>
            <a:ext cx="3020840" cy="1551629"/>
          </a:xfrm>
          <a:prstGeom prst="rect">
            <a:avLst/>
          </a:prstGeom>
          <a:ln w="57150">
            <a:solidFill>
              <a:srgbClr val="FF0000"/>
            </a:solidFill>
          </a:ln>
        </p:spPr>
      </p:pic>
      <p:sp>
        <p:nvSpPr>
          <p:cNvPr id="26" name="Rectangle 25">
            <a:extLst>
              <a:ext uri="{FF2B5EF4-FFF2-40B4-BE49-F238E27FC236}">
                <a16:creationId xmlns:a16="http://schemas.microsoft.com/office/drawing/2014/main" id="{87736750-75AB-12F7-1063-3E93467AB485}"/>
              </a:ext>
            </a:extLst>
          </p:cNvPr>
          <p:cNvSpPr/>
          <p:nvPr/>
        </p:nvSpPr>
        <p:spPr>
          <a:xfrm>
            <a:off x="3536684" y="1475117"/>
            <a:ext cx="1130207" cy="78500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463BC1CB-701D-4762-E387-4758BCB3C17C}"/>
              </a:ext>
            </a:extLst>
          </p:cNvPr>
          <p:cNvSpPr/>
          <p:nvPr/>
        </p:nvSpPr>
        <p:spPr>
          <a:xfrm>
            <a:off x="7574308" y="4155236"/>
            <a:ext cx="1172876" cy="397934"/>
          </a:xfrm>
          <a:prstGeom prst="rect">
            <a:avLst/>
          </a:prstGeom>
          <a:noFill/>
          <a:ln w="571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Arrow Connector 28">
            <a:extLst>
              <a:ext uri="{FF2B5EF4-FFF2-40B4-BE49-F238E27FC236}">
                <a16:creationId xmlns:a16="http://schemas.microsoft.com/office/drawing/2014/main" id="{4B56F7EC-4921-F338-B498-F437B8DA91BA}"/>
              </a:ext>
            </a:extLst>
          </p:cNvPr>
          <p:cNvCxnSpPr>
            <a:cxnSpLocks/>
            <a:stCxn id="19" idx="3"/>
          </p:cNvCxnSpPr>
          <p:nvPr/>
        </p:nvCxnSpPr>
        <p:spPr>
          <a:xfrm>
            <a:off x="8729932" y="901086"/>
            <a:ext cx="444018" cy="0"/>
          </a:xfrm>
          <a:prstGeom prst="straightConnector1">
            <a:avLst/>
          </a:prstGeom>
          <a:ln>
            <a:solidFill>
              <a:schemeClr val="accent6">
                <a:lumMod val="60000"/>
                <a:lumOff val="4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A1532A15-717E-3105-D103-DAD61B7C594E}"/>
              </a:ext>
            </a:extLst>
          </p:cNvPr>
          <p:cNvSpPr txBox="1"/>
          <p:nvPr/>
        </p:nvSpPr>
        <p:spPr>
          <a:xfrm>
            <a:off x="7484613" y="5310583"/>
            <a:ext cx="4479065" cy="646331"/>
          </a:xfrm>
          <a:prstGeom prst="rect">
            <a:avLst/>
          </a:prstGeom>
          <a:noFill/>
          <a:ln>
            <a:solidFill>
              <a:schemeClr val="tx1"/>
            </a:solidFill>
          </a:ln>
        </p:spPr>
        <p:txBody>
          <a:bodyPr wrap="square" rtlCol="0">
            <a:spAutoFit/>
          </a:bodyPr>
          <a:lstStyle/>
          <a:p>
            <a:r>
              <a:rPr lang="en-US" dirty="0">
                <a:highlight>
                  <a:srgbClr val="FFFF00"/>
                </a:highlight>
              </a:rPr>
              <a:t>Note: If you take a break, you must add in break time as they are unpaid. </a:t>
            </a:r>
          </a:p>
        </p:txBody>
      </p:sp>
      <p:cxnSp>
        <p:nvCxnSpPr>
          <p:cNvPr id="11" name="Connector: Elbow 10">
            <a:extLst>
              <a:ext uri="{FF2B5EF4-FFF2-40B4-BE49-F238E27FC236}">
                <a16:creationId xmlns:a16="http://schemas.microsoft.com/office/drawing/2014/main" id="{58F407D8-BD22-9024-2096-CD67AF689F05}"/>
              </a:ext>
            </a:extLst>
          </p:cNvPr>
          <p:cNvCxnSpPr>
            <a:cxnSpLocks/>
            <a:stCxn id="26" idx="2"/>
            <a:endCxn id="23" idx="0"/>
          </p:cNvCxnSpPr>
          <p:nvPr/>
        </p:nvCxnSpPr>
        <p:spPr>
          <a:xfrm rot="16200000" flipH="1">
            <a:off x="3466869" y="2895038"/>
            <a:ext cx="2844673" cy="1574835"/>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9826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92BA944-156C-480D-8110-5F6FC4C88C70}"/>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TIME </a:t>
            </a:r>
            <a:r>
              <a:rPr lang="en-US" sz="3200" spc="-150" dirty="0">
                <a:solidFill>
                  <a:srgbClr val="1E3ADA"/>
                </a:solidFill>
                <a:latin typeface="Work Sans" panose="00000500000000000000" pitchFamily="50" charset="0"/>
                <a:cs typeface="Segoe UI" panose="020B0502040204020203" pitchFamily="34" charset="0"/>
              </a:rPr>
              <a:t>SHEET &amp; PAYROLL</a:t>
            </a:r>
          </a:p>
        </p:txBody>
      </p:sp>
      <p:sp>
        <p:nvSpPr>
          <p:cNvPr id="5" name="TextBox 4">
            <a:extLst>
              <a:ext uri="{FF2B5EF4-FFF2-40B4-BE49-F238E27FC236}">
                <a16:creationId xmlns:a16="http://schemas.microsoft.com/office/drawing/2014/main" id="{1CF8E5AE-3815-49D0-A15A-C7E0D77DAE91}"/>
              </a:ext>
            </a:extLst>
          </p:cNvPr>
          <p:cNvSpPr txBox="1"/>
          <p:nvPr/>
        </p:nvSpPr>
        <p:spPr>
          <a:xfrm>
            <a:off x="292977" y="1067249"/>
            <a:ext cx="7821130" cy="5327612"/>
          </a:xfrm>
          <a:prstGeom prst="rect">
            <a:avLst/>
          </a:prstGeom>
          <a:noFill/>
        </p:spPr>
        <p:txBody>
          <a:bodyPr wrap="square" rtlCol="0">
            <a:spAutoFit/>
          </a:bodyPr>
          <a:lstStyle/>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Payroll is bi-weekly and pay dates are typically on Fridays. </a:t>
            </a:r>
            <a:r>
              <a:rPr lang="en-GB" b="1" dirty="0">
                <a:solidFill>
                  <a:srgbClr val="FF0000"/>
                </a:solidFill>
                <a:ea typeface="Roboto" pitchFamily="2" charset="0"/>
              </a:rPr>
              <a:t>We have 26 pay periods per year. </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A payroll calendar is included in New Hire Packet 3</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ALL employees must submit their time by the payroll deadline shown on the payroll calendar</a:t>
            </a:r>
          </a:p>
          <a:p>
            <a:pPr>
              <a:lnSpc>
                <a:spcPct val="90000"/>
              </a:lnSpc>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Please note that you </a:t>
            </a:r>
            <a:r>
              <a:rPr lang="en-GB" b="1" dirty="0">
                <a:solidFill>
                  <a:srgbClr val="FF0000"/>
                </a:solidFill>
                <a:ea typeface="Roboto" pitchFamily="2" charset="0"/>
              </a:rPr>
              <a:t>CANNOT</a:t>
            </a:r>
            <a:r>
              <a:rPr lang="en-GB" dirty="0">
                <a:solidFill>
                  <a:schemeClr val="tx1">
                    <a:lumMod val="75000"/>
                    <a:lumOff val="25000"/>
                  </a:schemeClr>
                </a:solidFill>
                <a:ea typeface="Roboto" pitchFamily="2" charset="0"/>
              </a:rPr>
              <a:t> enter your hours in advance</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The TMS will lock after the cut off period (Monday 11:00 AM EST).</a:t>
            </a:r>
            <a:endParaRPr lang="en-GB" b="1" dirty="0">
              <a:solidFill>
                <a:schemeClr val="tx1">
                  <a:lumMod val="75000"/>
                  <a:lumOff val="25000"/>
                </a:schemeClr>
              </a:solidFill>
              <a:ea typeface="Roboto" pitchFamily="2" charset="0"/>
            </a:endParaRP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If your time is not submitted by the close of the payroll period, you may experience pay delays. </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Time can be handwritten onto the form or typed in, but MUST be signed before submitting it to Payroll! </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If you have any questions, please contact </a:t>
            </a:r>
            <a:r>
              <a:rPr lang="en-GB" dirty="0">
                <a:solidFill>
                  <a:schemeClr val="tx1">
                    <a:lumMod val="75000"/>
                    <a:lumOff val="25000"/>
                  </a:schemeClr>
                </a:solidFill>
                <a:ea typeface="Roboto" pitchFamily="2" charset="0"/>
                <a:hlinkClick r:id="rId2">
                  <a:extLst>
                    <a:ext uri="{A12FA001-AC4F-418D-AE19-62706E023703}">
                      <ahyp:hlinkClr xmlns:ahyp="http://schemas.microsoft.com/office/drawing/2018/hyperlinkcolor" val="tx"/>
                    </a:ext>
                  </a:extLst>
                </a:hlinkClick>
              </a:rPr>
              <a:t>USPayroll@infinite.com</a:t>
            </a:r>
            <a:r>
              <a:rPr lang="en-GB" dirty="0">
                <a:solidFill>
                  <a:schemeClr val="tx1">
                    <a:lumMod val="75000"/>
                    <a:lumOff val="25000"/>
                  </a:schemeClr>
                </a:solidFill>
                <a:ea typeface="Roboto" pitchFamily="2" charset="0"/>
              </a:rPr>
              <a:t>.</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First payment will be Direct Deposit. </a:t>
            </a:r>
          </a:p>
        </p:txBody>
      </p:sp>
      <p:sp>
        <p:nvSpPr>
          <p:cNvPr id="6" name="Shape 6406">
            <a:extLst>
              <a:ext uri="{FF2B5EF4-FFF2-40B4-BE49-F238E27FC236}">
                <a16:creationId xmlns:a16="http://schemas.microsoft.com/office/drawing/2014/main" id="{5C0A852C-DA29-486A-B750-EB9E36E45773}"/>
              </a:ext>
            </a:extLst>
          </p:cNvPr>
          <p:cNvSpPr/>
          <p:nvPr/>
        </p:nvSpPr>
        <p:spPr>
          <a:xfrm>
            <a:off x="230932" y="1016001"/>
            <a:ext cx="7727688" cy="5378860"/>
          </a:xfrm>
          <a:prstGeom prst="rect">
            <a:avLst/>
          </a:prstGeom>
          <a:ln w="28575" cmpd="sng">
            <a:solidFill>
              <a:srgbClr val="00B6AD"/>
            </a:solidFill>
            <a:miter lim="400000"/>
          </a:ln>
        </p:spPr>
        <p:txBody>
          <a:bodyPr lIns="25400" tIns="25400" rIns="25400" bIns="25400" anchor="ctr"/>
          <a:lstStyle/>
          <a:p>
            <a:pPr defTabSz="1219170">
              <a:defRPr sz="3200">
                <a:solidFill>
                  <a:srgbClr val="FFFFFF"/>
                </a:solidFill>
              </a:defRPr>
            </a:pPr>
            <a:endParaRPr kern="0">
              <a:solidFill>
                <a:srgbClr val="FFFFFF"/>
              </a:solidFill>
            </a:endParaRPr>
          </a:p>
        </p:txBody>
      </p:sp>
      <p:grpSp>
        <p:nvGrpSpPr>
          <p:cNvPr id="7" name="Group 20531">
            <a:extLst>
              <a:ext uri="{FF2B5EF4-FFF2-40B4-BE49-F238E27FC236}">
                <a16:creationId xmlns:a16="http://schemas.microsoft.com/office/drawing/2014/main" id="{0CFFC909-7111-4532-A5E7-2C7D91B01EC0}"/>
              </a:ext>
            </a:extLst>
          </p:cNvPr>
          <p:cNvGrpSpPr/>
          <p:nvPr/>
        </p:nvGrpSpPr>
        <p:grpSpPr>
          <a:xfrm>
            <a:off x="8265929" y="1016001"/>
            <a:ext cx="3196689" cy="4932004"/>
            <a:chOff x="-2" y="0"/>
            <a:chExt cx="7418868" cy="11446190"/>
          </a:xfrm>
        </p:grpSpPr>
        <p:grpSp>
          <p:nvGrpSpPr>
            <p:cNvPr id="8" name="Group 20528">
              <a:extLst>
                <a:ext uri="{FF2B5EF4-FFF2-40B4-BE49-F238E27FC236}">
                  <a16:creationId xmlns:a16="http://schemas.microsoft.com/office/drawing/2014/main" id="{C2F0738B-BE49-42C7-B32E-6E245DA4986F}"/>
                </a:ext>
              </a:extLst>
            </p:cNvPr>
            <p:cNvGrpSpPr/>
            <p:nvPr/>
          </p:nvGrpSpPr>
          <p:grpSpPr>
            <a:xfrm>
              <a:off x="-2" y="0"/>
              <a:ext cx="7418868" cy="11446190"/>
              <a:chOff x="-1" y="0"/>
              <a:chExt cx="7418866" cy="11446189"/>
            </a:xfrm>
          </p:grpSpPr>
          <p:sp>
            <p:nvSpPr>
              <p:cNvPr id="11" name="Shape 20503">
                <a:extLst>
                  <a:ext uri="{FF2B5EF4-FFF2-40B4-BE49-F238E27FC236}">
                    <a16:creationId xmlns:a16="http://schemas.microsoft.com/office/drawing/2014/main" id="{DFDDF2E3-1D02-485B-A38D-DE3231F36559}"/>
                  </a:ext>
                </a:extLst>
              </p:cNvPr>
              <p:cNvSpPr/>
              <p:nvPr/>
            </p:nvSpPr>
            <p:spPr>
              <a:xfrm>
                <a:off x="3000838" y="5535162"/>
                <a:ext cx="4411556" cy="5911027"/>
              </a:xfrm>
              <a:custGeom>
                <a:avLst/>
                <a:gdLst/>
                <a:ahLst/>
                <a:cxnLst>
                  <a:cxn ang="0">
                    <a:pos x="wd2" y="hd2"/>
                  </a:cxn>
                  <a:cxn ang="5400000">
                    <a:pos x="wd2" y="hd2"/>
                  </a:cxn>
                  <a:cxn ang="10800000">
                    <a:pos x="wd2" y="hd2"/>
                  </a:cxn>
                  <a:cxn ang="16200000">
                    <a:pos x="wd2" y="hd2"/>
                  </a:cxn>
                </a:cxnLst>
                <a:rect l="0" t="0" r="r" b="b"/>
                <a:pathLst>
                  <a:path w="21600" h="21600" extrusionOk="0">
                    <a:moveTo>
                      <a:pt x="6544" y="21600"/>
                    </a:moveTo>
                    <a:lnTo>
                      <a:pt x="11953" y="15394"/>
                    </a:lnTo>
                    <a:lnTo>
                      <a:pt x="21600" y="17117"/>
                    </a:lnTo>
                    <a:lnTo>
                      <a:pt x="8856" y="0"/>
                    </a:lnTo>
                    <a:lnTo>
                      <a:pt x="0" y="2637"/>
                    </a:lnTo>
                    <a:cubicBezTo>
                      <a:pt x="0" y="2637"/>
                      <a:pt x="6544" y="21600"/>
                      <a:pt x="6544" y="21600"/>
                    </a:cubicBezTo>
                    <a:close/>
                  </a:path>
                </a:pathLst>
              </a:custGeom>
              <a:gradFill flip="none" rotWithShape="1">
                <a:gsLst>
                  <a:gs pos="3000">
                    <a:srgbClr val="F50000"/>
                  </a:gs>
                  <a:gs pos="72000">
                    <a:srgbClr val="F50000">
                      <a:lumMod val="50000"/>
                    </a:srgbClr>
                  </a:gs>
                </a:gsLst>
                <a:path path="shape">
                  <a:fillToRect l="40987" t="27262" r="59012" b="72737"/>
                </a:path>
              </a:gra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2" name="Shape 20504">
                <a:extLst>
                  <a:ext uri="{FF2B5EF4-FFF2-40B4-BE49-F238E27FC236}">
                    <a16:creationId xmlns:a16="http://schemas.microsoft.com/office/drawing/2014/main" id="{4B606929-96CF-4EE6-8F51-7E20F0EBDD59}"/>
                  </a:ext>
                </a:extLst>
              </p:cNvPr>
              <p:cNvSpPr/>
              <p:nvPr/>
            </p:nvSpPr>
            <p:spPr>
              <a:xfrm>
                <a:off x="3000838" y="5900810"/>
                <a:ext cx="1782313" cy="381557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013"/>
                    </a:lnTo>
                    <a:lnTo>
                      <a:pt x="10800" y="21600"/>
                    </a:lnTo>
                    <a:lnTo>
                      <a:pt x="21600" y="2013"/>
                    </a:lnTo>
                    <a:cubicBezTo>
                      <a:pt x="21600" y="2013"/>
                      <a:pt x="10800" y="0"/>
                      <a:pt x="10800" y="0"/>
                    </a:cubicBezTo>
                    <a:close/>
                  </a:path>
                </a:pathLst>
              </a:custGeom>
              <a:solidFill>
                <a:srgbClr val="000000">
                  <a:alpha val="4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3" name="Shape 20505">
                <a:extLst>
                  <a:ext uri="{FF2B5EF4-FFF2-40B4-BE49-F238E27FC236}">
                    <a16:creationId xmlns:a16="http://schemas.microsoft.com/office/drawing/2014/main" id="{97E2CF8C-0DB6-4D08-AE27-D86C0718BA72}"/>
                  </a:ext>
                </a:extLst>
              </p:cNvPr>
              <p:cNvSpPr/>
              <p:nvPr/>
            </p:nvSpPr>
            <p:spPr>
              <a:xfrm>
                <a:off x="6305" y="5535162"/>
                <a:ext cx="4411546" cy="5911026"/>
              </a:xfrm>
              <a:custGeom>
                <a:avLst/>
                <a:gdLst/>
                <a:ahLst/>
                <a:cxnLst>
                  <a:cxn ang="0">
                    <a:pos x="wd2" y="hd2"/>
                  </a:cxn>
                  <a:cxn ang="5400000">
                    <a:pos x="wd2" y="hd2"/>
                  </a:cxn>
                  <a:cxn ang="10800000">
                    <a:pos x="wd2" y="hd2"/>
                  </a:cxn>
                  <a:cxn ang="16200000">
                    <a:pos x="wd2" y="hd2"/>
                  </a:cxn>
                </a:cxnLst>
                <a:rect l="0" t="0" r="r" b="b"/>
                <a:pathLst>
                  <a:path w="21600" h="21600" extrusionOk="0">
                    <a:moveTo>
                      <a:pt x="21600" y="2637"/>
                    </a:moveTo>
                    <a:lnTo>
                      <a:pt x="12743" y="0"/>
                    </a:lnTo>
                    <a:lnTo>
                      <a:pt x="0" y="17117"/>
                    </a:lnTo>
                    <a:lnTo>
                      <a:pt x="9647" y="15394"/>
                    </a:lnTo>
                    <a:lnTo>
                      <a:pt x="15056" y="21600"/>
                    </a:lnTo>
                    <a:cubicBezTo>
                      <a:pt x="15056" y="21600"/>
                      <a:pt x="21600" y="2637"/>
                      <a:pt x="21600" y="2637"/>
                    </a:cubicBezTo>
                    <a:close/>
                  </a:path>
                </a:pathLst>
              </a:custGeom>
              <a:gradFill flip="none" rotWithShape="1">
                <a:gsLst>
                  <a:gs pos="3000">
                    <a:srgbClr val="F50000">
                      <a:lumMod val="60000"/>
                      <a:lumOff val="40000"/>
                    </a:srgbClr>
                  </a:gs>
                  <a:gs pos="72000">
                    <a:srgbClr val="F50000"/>
                  </a:gs>
                </a:gsLst>
                <a:path path="shape">
                  <a:fillToRect l="66389" t="30249" r="33610" b="69750"/>
                </a:path>
              </a:gra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4" name="Shape 20506">
                <a:extLst>
                  <a:ext uri="{FF2B5EF4-FFF2-40B4-BE49-F238E27FC236}">
                    <a16:creationId xmlns:a16="http://schemas.microsoft.com/office/drawing/2014/main" id="{80F130FA-BE2D-4504-B989-AF5F86183685}"/>
                  </a:ext>
                </a:extLst>
              </p:cNvPr>
              <p:cNvSpPr/>
              <p:nvPr/>
            </p:nvSpPr>
            <p:spPr>
              <a:xfrm>
                <a:off x="1794436" y="5535105"/>
                <a:ext cx="3829995" cy="1997676"/>
              </a:xfrm>
              <a:custGeom>
                <a:avLst/>
                <a:gdLst/>
                <a:ahLst/>
                <a:cxnLst>
                  <a:cxn ang="0">
                    <a:pos x="wd2" y="hd2"/>
                  </a:cxn>
                  <a:cxn ang="5400000">
                    <a:pos x="wd2" y="hd2"/>
                  </a:cxn>
                  <a:cxn ang="10800000">
                    <a:pos x="wd2" y="hd2"/>
                  </a:cxn>
                  <a:cxn ang="16200000">
                    <a:pos x="wd2" y="hd2"/>
                  </a:cxn>
                </a:cxnLst>
                <a:rect l="0" t="0" r="r" b="b"/>
                <a:pathLst>
                  <a:path w="21600" h="21386" extrusionOk="0">
                    <a:moveTo>
                      <a:pt x="4607" y="0"/>
                    </a:moveTo>
                    <a:lnTo>
                      <a:pt x="0" y="15745"/>
                    </a:lnTo>
                    <a:cubicBezTo>
                      <a:pt x="1415" y="17665"/>
                      <a:pt x="3018" y="19028"/>
                      <a:pt x="4718" y="19741"/>
                    </a:cubicBezTo>
                    <a:cubicBezTo>
                      <a:pt x="4967" y="19846"/>
                      <a:pt x="5219" y="19936"/>
                      <a:pt x="5471" y="20012"/>
                    </a:cubicBezTo>
                    <a:lnTo>
                      <a:pt x="6732" y="19580"/>
                    </a:lnTo>
                    <a:lnTo>
                      <a:pt x="6702" y="20331"/>
                    </a:lnTo>
                    <a:cubicBezTo>
                      <a:pt x="8575" y="21293"/>
                      <a:pt x="10525" y="21600"/>
                      <a:pt x="12456" y="21241"/>
                    </a:cubicBezTo>
                    <a:cubicBezTo>
                      <a:pt x="12573" y="21219"/>
                      <a:pt x="12687" y="21194"/>
                      <a:pt x="12803" y="21168"/>
                    </a:cubicBezTo>
                    <a:lnTo>
                      <a:pt x="13981" y="19822"/>
                    </a:lnTo>
                    <a:lnTo>
                      <a:pt x="14377" y="20768"/>
                    </a:lnTo>
                    <a:cubicBezTo>
                      <a:pt x="16160" y="20273"/>
                      <a:pt x="17901" y="19316"/>
                      <a:pt x="19548" y="17923"/>
                    </a:cubicBezTo>
                    <a:cubicBezTo>
                      <a:pt x="19641" y="17844"/>
                      <a:pt x="19734" y="17762"/>
                      <a:pt x="19827" y="17680"/>
                    </a:cubicBezTo>
                    <a:lnTo>
                      <a:pt x="20851" y="15425"/>
                    </a:lnTo>
                    <a:lnTo>
                      <a:pt x="21279" y="16233"/>
                    </a:lnTo>
                    <a:lnTo>
                      <a:pt x="21600" y="15648"/>
                    </a:lnTo>
                    <a:lnTo>
                      <a:pt x="17019" y="0"/>
                    </a:lnTo>
                    <a:lnTo>
                      <a:pt x="10813" y="4700"/>
                    </a:lnTo>
                    <a:lnTo>
                      <a:pt x="4607" y="0"/>
                    </a:lnTo>
                    <a:close/>
                  </a:path>
                </a:pathLst>
              </a:custGeom>
              <a:solidFill>
                <a:srgbClr val="000000">
                  <a:alpha val="5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5" name="Shape 20507">
                <a:extLst>
                  <a:ext uri="{FF2B5EF4-FFF2-40B4-BE49-F238E27FC236}">
                    <a16:creationId xmlns:a16="http://schemas.microsoft.com/office/drawing/2014/main" id="{D1CA642B-99B0-4E22-9862-657DC4604B81}"/>
                  </a:ext>
                </a:extLst>
              </p:cNvPr>
              <p:cNvSpPr/>
              <p:nvPr/>
            </p:nvSpPr>
            <p:spPr>
              <a:xfrm>
                <a:off x="3095403" y="0"/>
                <a:ext cx="1258998" cy="1442315"/>
              </a:xfrm>
              <a:custGeom>
                <a:avLst/>
                <a:gdLst/>
                <a:ahLst/>
                <a:cxnLst>
                  <a:cxn ang="0">
                    <a:pos x="wd2" y="hd2"/>
                  </a:cxn>
                  <a:cxn ang="5400000">
                    <a:pos x="wd2" y="hd2"/>
                  </a:cxn>
                  <a:cxn ang="10800000">
                    <a:pos x="wd2" y="hd2"/>
                  </a:cxn>
                  <a:cxn ang="16200000">
                    <a:pos x="wd2" y="hd2"/>
                  </a:cxn>
                </a:cxnLst>
                <a:rect l="0" t="0" r="r" b="b"/>
                <a:pathLst>
                  <a:path w="21600" h="21600" extrusionOk="0">
                    <a:moveTo>
                      <a:pt x="10573" y="0"/>
                    </a:moveTo>
                    <a:cubicBezTo>
                      <a:pt x="9054" y="0"/>
                      <a:pt x="7548" y="49"/>
                      <a:pt x="6056" y="141"/>
                    </a:cubicBezTo>
                    <a:lnTo>
                      <a:pt x="0" y="2620"/>
                    </a:lnTo>
                    <a:lnTo>
                      <a:pt x="5250" y="21115"/>
                    </a:lnTo>
                    <a:cubicBezTo>
                      <a:pt x="6992" y="20912"/>
                      <a:pt x="8768" y="20805"/>
                      <a:pt x="10573" y="20805"/>
                    </a:cubicBezTo>
                    <a:cubicBezTo>
                      <a:pt x="13488" y="20805"/>
                      <a:pt x="16328" y="21081"/>
                      <a:pt x="19064" y="21600"/>
                    </a:cubicBezTo>
                    <a:lnTo>
                      <a:pt x="21600" y="833"/>
                    </a:lnTo>
                    <a:cubicBezTo>
                      <a:pt x="18018" y="287"/>
                      <a:pt x="14334" y="0"/>
                      <a:pt x="10573" y="0"/>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6" name="Shape 20508">
                <a:extLst>
                  <a:ext uri="{FF2B5EF4-FFF2-40B4-BE49-F238E27FC236}">
                    <a16:creationId xmlns:a16="http://schemas.microsoft.com/office/drawing/2014/main" id="{40BD2F43-8ACC-4004-829F-7879B37F8669}"/>
                  </a:ext>
                </a:extLst>
              </p:cNvPr>
              <p:cNvSpPr/>
              <p:nvPr/>
            </p:nvSpPr>
            <p:spPr>
              <a:xfrm>
                <a:off x="4015829" y="5762115"/>
                <a:ext cx="1474914" cy="1598186"/>
              </a:xfrm>
              <a:custGeom>
                <a:avLst/>
                <a:gdLst/>
                <a:ahLst/>
                <a:cxnLst>
                  <a:cxn ang="0">
                    <a:pos x="wd2" y="hd2"/>
                  </a:cxn>
                  <a:cxn ang="5400000">
                    <a:pos x="wd2" y="hd2"/>
                  </a:cxn>
                  <a:cxn ang="10800000">
                    <a:pos x="wd2" y="hd2"/>
                  </a:cxn>
                  <a:cxn ang="16200000">
                    <a:pos x="wd2" y="hd2"/>
                  </a:cxn>
                </a:cxnLst>
                <a:rect l="0" t="0" r="r" b="b"/>
                <a:pathLst>
                  <a:path w="21600" h="21600" extrusionOk="0">
                    <a:moveTo>
                      <a:pt x="21561" y="14166"/>
                    </a:moveTo>
                    <a:lnTo>
                      <a:pt x="21600" y="14204"/>
                    </a:lnTo>
                    <a:lnTo>
                      <a:pt x="11251" y="0"/>
                    </a:lnTo>
                    <a:cubicBezTo>
                      <a:pt x="7807" y="1669"/>
                      <a:pt x="4014" y="2809"/>
                      <a:pt x="0" y="3302"/>
                    </a:cubicBezTo>
                    <a:lnTo>
                      <a:pt x="4869" y="21439"/>
                    </a:lnTo>
                    <a:lnTo>
                      <a:pt x="4869" y="21439"/>
                    </a:lnTo>
                    <a:lnTo>
                      <a:pt x="4913" y="21600"/>
                    </a:lnTo>
                    <a:cubicBezTo>
                      <a:pt x="9301" y="20891"/>
                      <a:pt x="13509" y="19695"/>
                      <a:pt x="17467" y="18076"/>
                    </a:cubicBezTo>
                    <a:lnTo>
                      <a:pt x="17318" y="18099"/>
                    </a:lnTo>
                    <a:cubicBezTo>
                      <a:pt x="17318" y="18099"/>
                      <a:pt x="21561" y="14166"/>
                      <a:pt x="21561" y="14166"/>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7" name="Shape 20509">
                <a:extLst>
                  <a:ext uri="{FF2B5EF4-FFF2-40B4-BE49-F238E27FC236}">
                    <a16:creationId xmlns:a16="http://schemas.microsoft.com/office/drawing/2014/main" id="{231E5DA3-AF1A-4560-8193-9F5E225D8D35}"/>
                  </a:ext>
                </a:extLst>
              </p:cNvPr>
              <p:cNvSpPr/>
              <p:nvPr/>
            </p:nvSpPr>
            <p:spPr>
              <a:xfrm>
                <a:off x="958250" y="498038"/>
                <a:ext cx="1670491" cy="1649972"/>
              </a:xfrm>
              <a:custGeom>
                <a:avLst/>
                <a:gdLst/>
                <a:ahLst/>
                <a:cxnLst>
                  <a:cxn ang="0">
                    <a:pos x="wd2" y="hd2"/>
                  </a:cxn>
                  <a:cxn ang="5400000">
                    <a:pos x="wd2" y="hd2"/>
                  </a:cxn>
                  <a:cxn ang="10800000">
                    <a:pos x="wd2" y="hd2"/>
                  </a:cxn>
                  <a:cxn ang="16200000">
                    <a:pos x="wd2" y="hd2"/>
                  </a:cxn>
                </a:cxnLst>
                <a:rect l="0" t="0" r="r" b="b"/>
                <a:pathLst>
                  <a:path w="21600" h="21600" extrusionOk="0">
                    <a:moveTo>
                      <a:pt x="11538" y="0"/>
                    </a:moveTo>
                    <a:cubicBezTo>
                      <a:pt x="8069" y="2034"/>
                      <a:pt x="4877" y="4498"/>
                      <a:pt x="2029" y="7316"/>
                    </a:cubicBezTo>
                    <a:lnTo>
                      <a:pt x="0" y="11745"/>
                    </a:lnTo>
                    <a:lnTo>
                      <a:pt x="13357" y="21600"/>
                    </a:lnTo>
                    <a:cubicBezTo>
                      <a:pt x="15703" y="18994"/>
                      <a:pt x="18491" y="16805"/>
                      <a:pt x="21600" y="15150"/>
                    </a:cubicBezTo>
                    <a:cubicBezTo>
                      <a:pt x="21600" y="15150"/>
                      <a:pt x="11538" y="0"/>
                      <a:pt x="11538" y="0"/>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8" name="Shape 20510">
                <a:extLst>
                  <a:ext uri="{FF2B5EF4-FFF2-40B4-BE49-F238E27FC236}">
                    <a16:creationId xmlns:a16="http://schemas.microsoft.com/office/drawing/2014/main" id="{0D592813-9A18-4764-9543-94F458E0B9CF}"/>
                  </a:ext>
                </a:extLst>
              </p:cNvPr>
              <p:cNvSpPr/>
              <p:nvPr/>
            </p:nvSpPr>
            <p:spPr>
              <a:xfrm>
                <a:off x="5421683" y="4589518"/>
                <a:ext cx="1649279" cy="1502212"/>
              </a:xfrm>
              <a:custGeom>
                <a:avLst/>
                <a:gdLst/>
                <a:ahLst/>
                <a:cxnLst>
                  <a:cxn ang="0">
                    <a:pos x="wd2" y="hd2"/>
                  </a:cxn>
                  <a:cxn ang="5400000">
                    <a:pos x="wd2" y="hd2"/>
                  </a:cxn>
                  <a:cxn ang="10800000">
                    <a:pos x="wd2" y="hd2"/>
                  </a:cxn>
                  <a:cxn ang="16200000">
                    <a:pos x="wd2" y="hd2"/>
                  </a:cxn>
                </a:cxnLst>
                <a:rect l="0" t="0" r="r" b="b"/>
                <a:pathLst>
                  <a:path w="21600" h="21600" extrusionOk="0">
                    <a:moveTo>
                      <a:pt x="5653" y="0"/>
                    </a:moveTo>
                    <a:cubicBezTo>
                      <a:pt x="4294" y="3629"/>
                      <a:pt x="2370" y="6938"/>
                      <a:pt x="0" y="9792"/>
                    </a:cubicBezTo>
                    <a:lnTo>
                      <a:pt x="14757" y="21600"/>
                    </a:lnTo>
                    <a:cubicBezTo>
                      <a:pt x="17261" y="18327"/>
                      <a:pt x="19412" y="14719"/>
                      <a:pt x="21149" y="10847"/>
                    </a:cubicBezTo>
                    <a:lnTo>
                      <a:pt x="21600" y="5048"/>
                    </a:lnTo>
                    <a:cubicBezTo>
                      <a:pt x="21600" y="5048"/>
                      <a:pt x="5653" y="0"/>
                      <a:pt x="5653" y="0"/>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9" name="Shape 20511">
                <a:extLst>
                  <a:ext uri="{FF2B5EF4-FFF2-40B4-BE49-F238E27FC236}">
                    <a16:creationId xmlns:a16="http://schemas.microsoft.com/office/drawing/2014/main" id="{A9D0CF4C-5EA5-48A4-8CA4-FE9CE7144C83}"/>
                  </a:ext>
                </a:extLst>
              </p:cNvPr>
              <p:cNvSpPr/>
              <p:nvPr/>
            </p:nvSpPr>
            <p:spPr>
              <a:xfrm>
                <a:off x="18912" y="2439758"/>
                <a:ext cx="1544956" cy="1261018"/>
              </a:xfrm>
              <a:custGeom>
                <a:avLst/>
                <a:gdLst/>
                <a:ahLst/>
                <a:cxnLst>
                  <a:cxn ang="0">
                    <a:pos x="wd2" y="hd2"/>
                  </a:cxn>
                  <a:cxn ang="5400000">
                    <a:pos x="wd2" y="hd2"/>
                  </a:cxn>
                  <a:cxn ang="10800000">
                    <a:pos x="wd2" y="hd2"/>
                  </a:cxn>
                  <a:cxn ang="16200000">
                    <a:pos x="wd2" y="hd2"/>
                  </a:cxn>
                </a:cxnLst>
                <a:rect l="0" t="0" r="r" b="b"/>
                <a:pathLst>
                  <a:path w="21600" h="21600" extrusionOk="0">
                    <a:moveTo>
                      <a:pt x="21600" y="6620"/>
                    </a:moveTo>
                    <a:lnTo>
                      <a:pt x="3016" y="55"/>
                    </a:lnTo>
                    <a:lnTo>
                      <a:pt x="3015" y="54"/>
                    </a:lnTo>
                    <a:lnTo>
                      <a:pt x="2862" y="0"/>
                    </a:lnTo>
                    <a:cubicBezTo>
                      <a:pt x="1404" y="4907"/>
                      <a:pt x="429" y="10097"/>
                      <a:pt x="0" y="15483"/>
                    </a:cubicBezTo>
                    <a:lnTo>
                      <a:pt x="1349" y="21600"/>
                    </a:lnTo>
                    <a:lnTo>
                      <a:pt x="19201" y="20103"/>
                    </a:lnTo>
                    <a:cubicBezTo>
                      <a:pt x="19357" y="15345"/>
                      <a:pt x="20196" y="10804"/>
                      <a:pt x="21600" y="6620"/>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0" name="Shape 20512">
                <a:extLst>
                  <a:ext uri="{FF2B5EF4-FFF2-40B4-BE49-F238E27FC236}">
                    <a16:creationId xmlns:a16="http://schemas.microsoft.com/office/drawing/2014/main" id="{D397CE74-A784-452A-AB55-0ADBEFF2B71C}"/>
                  </a:ext>
                </a:extLst>
              </p:cNvPr>
              <p:cNvSpPr/>
              <p:nvPr/>
            </p:nvSpPr>
            <p:spPr>
              <a:xfrm>
                <a:off x="5919723" y="2490192"/>
                <a:ext cx="1498396" cy="1313761"/>
              </a:xfrm>
              <a:custGeom>
                <a:avLst/>
                <a:gdLst/>
                <a:ahLst/>
                <a:cxnLst>
                  <a:cxn ang="0">
                    <a:pos x="wd2" y="hd2"/>
                  </a:cxn>
                  <a:cxn ang="5400000">
                    <a:pos x="wd2" y="hd2"/>
                  </a:cxn>
                  <a:cxn ang="10800000">
                    <a:pos x="wd2" y="hd2"/>
                  </a:cxn>
                  <a:cxn ang="16200000">
                    <a:pos x="wd2" y="hd2"/>
                  </a:cxn>
                </a:cxnLst>
                <a:rect l="0" t="0" r="r" b="b"/>
                <a:pathLst>
                  <a:path w="21600" h="21600" extrusionOk="0">
                    <a:moveTo>
                      <a:pt x="21600" y="20034"/>
                    </a:moveTo>
                    <a:cubicBezTo>
                      <a:pt x="21599" y="14976"/>
                      <a:pt x="21056" y="10063"/>
                      <a:pt x="20037" y="5364"/>
                    </a:cubicBezTo>
                    <a:lnTo>
                      <a:pt x="16729" y="0"/>
                    </a:lnTo>
                    <a:lnTo>
                      <a:pt x="0" y="8462"/>
                    </a:lnTo>
                    <a:cubicBezTo>
                      <a:pt x="1021" y="12117"/>
                      <a:pt x="1574" y="16011"/>
                      <a:pt x="1574" y="20052"/>
                    </a:cubicBezTo>
                    <a:cubicBezTo>
                      <a:pt x="1574" y="20571"/>
                      <a:pt x="1562" y="21086"/>
                      <a:pt x="1544" y="21600"/>
                    </a:cubicBezTo>
                    <a:cubicBezTo>
                      <a:pt x="1544" y="21600"/>
                      <a:pt x="21600" y="20034"/>
                      <a:pt x="21600" y="20034"/>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1" name="Shape 20513">
                <a:extLst>
                  <a:ext uri="{FF2B5EF4-FFF2-40B4-BE49-F238E27FC236}">
                    <a16:creationId xmlns:a16="http://schemas.microsoft.com/office/drawing/2014/main" id="{824B35AB-9F84-43C4-AE87-9DDCB7DA90FA}"/>
                  </a:ext>
                </a:extLst>
              </p:cNvPr>
              <p:cNvSpPr/>
              <p:nvPr/>
            </p:nvSpPr>
            <p:spPr>
              <a:xfrm>
                <a:off x="220648" y="4412998"/>
                <a:ext cx="1649541" cy="1598811"/>
              </a:xfrm>
              <a:custGeom>
                <a:avLst/>
                <a:gdLst/>
                <a:ahLst/>
                <a:cxnLst>
                  <a:cxn ang="0">
                    <a:pos x="wd2" y="hd2"/>
                  </a:cxn>
                  <a:cxn ang="5400000">
                    <a:pos x="wd2" y="hd2"/>
                  </a:cxn>
                  <a:cxn ang="10800000">
                    <a:pos x="wd2" y="hd2"/>
                  </a:cxn>
                  <a:cxn ang="16200000">
                    <a:pos x="wd2" y="hd2"/>
                  </a:cxn>
                </a:cxnLst>
                <a:rect l="0" t="0" r="r" b="b"/>
                <a:pathLst>
                  <a:path w="21600" h="21600" extrusionOk="0">
                    <a:moveTo>
                      <a:pt x="21600" y="9639"/>
                    </a:moveTo>
                    <a:cubicBezTo>
                      <a:pt x="19457" y="6778"/>
                      <a:pt x="17783" y="3524"/>
                      <a:pt x="16697" y="0"/>
                    </a:cubicBezTo>
                    <a:lnTo>
                      <a:pt x="141" y="7575"/>
                    </a:lnTo>
                    <a:lnTo>
                      <a:pt x="140" y="7576"/>
                    </a:lnTo>
                    <a:lnTo>
                      <a:pt x="0" y="7639"/>
                    </a:lnTo>
                    <a:cubicBezTo>
                      <a:pt x="1388" y="11571"/>
                      <a:pt x="3242" y="15271"/>
                      <a:pt x="5488" y="18672"/>
                    </a:cubicBezTo>
                    <a:lnTo>
                      <a:pt x="9560" y="21600"/>
                    </a:lnTo>
                    <a:cubicBezTo>
                      <a:pt x="9560" y="21600"/>
                      <a:pt x="21600" y="9639"/>
                      <a:pt x="21600" y="9639"/>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2" name="Shape 20514">
                <a:extLst>
                  <a:ext uri="{FF2B5EF4-FFF2-40B4-BE49-F238E27FC236}">
                    <a16:creationId xmlns:a16="http://schemas.microsoft.com/office/drawing/2014/main" id="{4192C412-87C1-4D63-BB58-08BE72B1E7A5}"/>
                  </a:ext>
                </a:extLst>
              </p:cNvPr>
              <p:cNvSpPr/>
              <p:nvPr/>
            </p:nvSpPr>
            <p:spPr>
              <a:xfrm>
                <a:off x="4948863" y="605211"/>
                <a:ext cx="1600199" cy="1684562"/>
              </a:xfrm>
              <a:custGeom>
                <a:avLst/>
                <a:gdLst/>
                <a:ahLst/>
                <a:cxnLst>
                  <a:cxn ang="0">
                    <a:pos x="wd2" y="hd2"/>
                  </a:cxn>
                  <a:cxn ang="5400000">
                    <a:pos x="wd2" y="hd2"/>
                  </a:cxn>
                  <a:cxn ang="10800000">
                    <a:pos x="wd2" y="hd2"/>
                  </a:cxn>
                  <a:cxn ang="16200000">
                    <a:pos x="wd2" y="hd2"/>
                  </a:cxn>
                </a:cxnLst>
                <a:rect l="0" t="0" r="r" b="b"/>
                <a:pathLst>
                  <a:path w="21600" h="21600" extrusionOk="0">
                    <a:moveTo>
                      <a:pt x="12668" y="1293"/>
                    </a:moveTo>
                    <a:lnTo>
                      <a:pt x="7545" y="0"/>
                    </a:lnTo>
                    <a:lnTo>
                      <a:pt x="0" y="14641"/>
                    </a:lnTo>
                    <a:cubicBezTo>
                      <a:pt x="3089" y="16501"/>
                      <a:pt x="5812" y="18861"/>
                      <a:pt x="8043" y="21600"/>
                    </a:cubicBezTo>
                    <a:lnTo>
                      <a:pt x="21600" y="9200"/>
                    </a:lnTo>
                    <a:cubicBezTo>
                      <a:pt x="18974" y="6233"/>
                      <a:pt x="15974" y="3576"/>
                      <a:pt x="12668" y="1293"/>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3" name="Shape 20515">
                <a:extLst>
                  <a:ext uri="{FF2B5EF4-FFF2-40B4-BE49-F238E27FC236}">
                    <a16:creationId xmlns:a16="http://schemas.microsoft.com/office/drawing/2014/main" id="{E79BACD8-3AC6-4EAC-BA08-FF3D53F2AB4B}"/>
                  </a:ext>
                </a:extLst>
              </p:cNvPr>
              <p:cNvSpPr/>
              <p:nvPr/>
            </p:nvSpPr>
            <p:spPr>
              <a:xfrm>
                <a:off x="1853458" y="5667551"/>
                <a:ext cx="1358658" cy="1604503"/>
              </a:xfrm>
              <a:custGeom>
                <a:avLst/>
                <a:gdLst/>
                <a:ahLst/>
                <a:cxnLst>
                  <a:cxn ang="0">
                    <a:pos x="wd2" y="hd2"/>
                  </a:cxn>
                  <a:cxn ang="5400000">
                    <a:pos x="wd2" y="hd2"/>
                  </a:cxn>
                  <a:cxn ang="10800000">
                    <a:pos x="wd2" y="hd2"/>
                  </a:cxn>
                  <a:cxn ang="16200000">
                    <a:pos x="wd2" y="hd2"/>
                  </a:cxn>
                </a:cxnLst>
                <a:rect l="0" t="0" r="r" b="b"/>
                <a:pathLst>
                  <a:path w="21600" h="21600" extrusionOk="0">
                    <a:moveTo>
                      <a:pt x="19448" y="21225"/>
                    </a:moveTo>
                    <a:lnTo>
                      <a:pt x="21600" y="4128"/>
                    </a:lnTo>
                    <a:cubicBezTo>
                      <a:pt x="17326" y="3339"/>
                      <a:pt x="13329" y="1924"/>
                      <a:pt x="9750" y="0"/>
                    </a:cubicBezTo>
                    <a:lnTo>
                      <a:pt x="83" y="16721"/>
                    </a:lnTo>
                    <a:lnTo>
                      <a:pt x="82" y="16722"/>
                    </a:lnTo>
                    <a:lnTo>
                      <a:pt x="0" y="16864"/>
                    </a:lnTo>
                    <a:cubicBezTo>
                      <a:pt x="4093" y="18870"/>
                      <a:pt x="8499" y="20469"/>
                      <a:pt x="13138" y="21600"/>
                    </a:cubicBezTo>
                    <a:lnTo>
                      <a:pt x="19440" y="21122"/>
                    </a:lnTo>
                    <a:cubicBezTo>
                      <a:pt x="19440" y="21122"/>
                      <a:pt x="19448" y="21225"/>
                      <a:pt x="19448" y="21225"/>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4" name="Shape 20516">
                <a:extLst>
                  <a:ext uri="{FF2B5EF4-FFF2-40B4-BE49-F238E27FC236}">
                    <a16:creationId xmlns:a16="http://schemas.microsoft.com/office/drawing/2014/main" id="{5E162167-4FBC-4204-A39F-55F07089F476}"/>
                  </a:ext>
                </a:extLst>
              </p:cNvPr>
              <p:cNvSpPr/>
              <p:nvPr/>
            </p:nvSpPr>
            <p:spPr>
              <a:xfrm>
                <a:off x="3063882" y="5976462"/>
                <a:ext cx="1259882" cy="1442636"/>
              </a:xfrm>
              <a:custGeom>
                <a:avLst/>
                <a:gdLst/>
                <a:ahLst/>
                <a:cxnLst>
                  <a:cxn ang="0">
                    <a:pos x="wd2" y="hd2"/>
                  </a:cxn>
                  <a:cxn ang="5400000">
                    <a:pos x="wd2" y="hd2"/>
                  </a:cxn>
                  <a:cxn ang="10800000">
                    <a:pos x="wd2" y="hd2"/>
                  </a:cxn>
                  <a:cxn ang="16200000">
                    <a:pos x="wd2" y="hd2"/>
                  </a:cxn>
                </a:cxnLst>
                <a:rect l="0" t="0" r="r" b="b"/>
                <a:pathLst>
                  <a:path w="21600" h="21600" extrusionOk="0">
                    <a:moveTo>
                      <a:pt x="21600" y="19024"/>
                    </a:moveTo>
                    <a:lnTo>
                      <a:pt x="16343" y="492"/>
                    </a:lnTo>
                    <a:cubicBezTo>
                      <a:pt x="14609" y="694"/>
                      <a:pt x="12842" y="800"/>
                      <a:pt x="11045" y="800"/>
                    </a:cubicBezTo>
                    <a:cubicBezTo>
                      <a:pt x="8124" y="800"/>
                      <a:pt x="5277" y="522"/>
                      <a:pt x="2535" y="0"/>
                    </a:cubicBezTo>
                    <a:lnTo>
                      <a:pt x="23" y="20584"/>
                    </a:lnTo>
                    <a:lnTo>
                      <a:pt x="21" y="20589"/>
                    </a:lnTo>
                    <a:lnTo>
                      <a:pt x="0" y="20763"/>
                    </a:lnTo>
                    <a:cubicBezTo>
                      <a:pt x="3588" y="21312"/>
                      <a:pt x="7278" y="21600"/>
                      <a:pt x="11045" y="21600"/>
                    </a:cubicBezTo>
                    <a:cubicBezTo>
                      <a:pt x="12454" y="21600"/>
                      <a:pt x="13851" y="21560"/>
                      <a:pt x="15236" y="21481"/>
                    </a:cubicBezTo>
                    <a:lnTo>
                      <a:pt x="21538" y="18900"/>
                    </a:lnTo>
                    <a:cubicBezTo>
                      <a:pt x="21538" y="18900"/>
                      <a:pt x="21600" y="19024"/>
                      <a:pt x="21600" y="19024"/>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5" name="Shape 20517">
                <a:extLst>
                  <a:ext uri="{FF2B5EF4-FFF2-40B4-BE49-F238E27FC236}">
                    <a16:creationId xmlns:a16="http://schemas.microsoft.com/office/drawing/2014/main" id="{E38A87E0-1EC9-4970-AD31-15A6D5F31E88}"/>
                  </a:ext>
                </a:extLst>
              </p:cNvPr>
              <p:cNvSpPr/>
              <p:nvPr/>
            </p:nvSpPr>
            <p:spPr>
              <a:xfrm>
                <a:off x="1916503" y="56738"/>
                <a:ext cx="1479448" cy="1598393"/>
              </a:xfrm>
              <a:custGeom>
                <a:avLst/>
                <a:gdLst/>
                <a:ahLst/>
                <a:cxnLst>
                  <a:cxn ang="0">
                    <a:pos x="wd2" y="hd2"/>
                  </a:cxn>
                  <a:cxn ang="5400000">
                    <a:pos x="wd2" y="hd2"/>
                  </a:cxn>
                  <a:cxn ang="10800000">
                    <a:pos x="wd2" y="hd2"/>
                  </a:cxn>
                  <a:cxn ang="16200000">
                    <a:pos x="wd2" y="hd2"/>
                  </a:cxn>
                </a:cxnLst>
                <a:rect l="0" t="0" r="r" b="b"/>
                <a:pathLst>
                  <a:path w="21600" h="21600" extrusionOk="0">
                    <a:moveTo>
                      <a:pt x="21600" y="18295"/>
                    </a:moveTo>
                    <a:lnTo>
                      <a:pt x="16702" y="0"/>
                    </a:lnTo>
                    <a:cubicBezTo>
                      <a:pt x="12237" y="726"/>
                      <a:pt x="7960" y="1960"/>
                      <a:pt x="3943" y="3631"/>
                    </a:cubicBezTo>
                    <a:lnTo>
                      <a:pt x="0" y="7297"/>
                    </a:lnTo>
                    <a:lnTo>
                      <a:pt x="10390" y="21600"/>
                    </a:lnTo>
                    <a:cubicBezTo>
                      <a:pt x="13822" y="19930"/>
                      <a:pt x="17600" y="18790"/>
                      <a:pt x="21600" y="18295"/>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6" name="Shape 20518">
                <a:extLst>
                  <a:ext uri="{FF2B5EF4-FFF2-40B4-BE49-F238E27FC236}">
                    <a16:creationId xmlns:a16="http://schemas.microsoft.com/office/drawing/2014/main" id="{9D7DA2BB-F1B5-402E-98E3-4B920A3C849E}"/>
                  </a:ext>
                </a:extLst>
              </p:cNvPr>
              <p:cNvSpPr/>
              <p:nvPr/>
            </p:nvSpPr>
            <p:spPr>
              <a:xfrm>
                <a:off x="4784951" y="5270381"/>
                <a:ext cx="1661260" cy="1650136"/>
              </a:xfrm>
              <a:custGeom>
                <a:avLst/>
                <a:gdLst/>
                <a:ahLst/>
                <a:cxnLst>
                  <a:cxn ang="0">
                    <a:pos x="wd2" y="hd2"/>
                  </a:cxn>
                  <a:cxn ang="5400000">
                    <a:pos x="wd2" y="hd2"/>
                  </a:cxn>
                  <a:cxn ang="10800000">
                    <a:pos x="wd2" y="hd2"/>
                  </a:cxn>
                  <a:cxn ang="16200000">
                    <a:pos x="wd2" y="hd2"/>
                  </a:cxn>
                </a:cxnLst>
                <a:rect l="0" t="0" r="r" b="b"/>
                <a:pathLst>
                  <a:path w="21600" h="21600" extrusionOk="0">
                    <a:moveTo>
                      <a:pt x="8296" y="0"/>
                    </a:moveTo>
                    <a:cubicBezTo>
                      <a:pt x="5935" y="2607"/>
                      <a:pt x="3129" y="4796"/>
                      <a:pt x="0" y="6451"/>
                    </a:cubicBezTo>
                    <a:lnTo>
                      <a:pt x="10027" y="21464"/>
                    </a:lnTo>
                    <a:lnTo>
                      <a:pt x="10118" y="21600"/>
                    </a:lnTo>
                    <a:cubicBezTo>
                      <a:pt x="13483" y="19640"/>
                      <a:pt x="16590" y="17281"/>
                      <a:pt x="19377" y="14589"/>
                    </a:cubicBezTo>
                    <a:lnTo>
                      <a:pt x="21600" y="9761"/>
                    </a:lnTo>
                    <a:cubicBezTo>
                      <a:pt x="21600" y="9761"/>
                      <a:pt x="8296" y="0"/>
                      <a:pt x="8296" y="0"/>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7" name="Shape 20519">
                <a:extLst>
                  <a:ext uri="{FF2B5EF4-FFF2-40B4-BE49-F238E27FC236}">
                    <a16:creationId xmlns:a16="http://schemas.microsoft.com/office/drawing/2014/main" id="{3E426BB7-C1F9-40BC-A2CC-1C2D9E2003DD}"/>
                  </a:ext>
                </a:extLst>
              </p:cNvPr>
              <p:cNvSpPr/>
              <p:nvPr/>
            </p:nvSpPr>
            <p:spPr>
              <a:xfrm>
                <a:off x="334126" y="1323899"/>
                <a:ext cx="1660389" cy="1501778"/>
              </a:xfrm>
              <a:custGeom>
                <a:avLst/>
                <a:gdLst/>
                <a:ahLst/>
                <a:cxnLst>
                  <a:cxn ang="0">
                    <a:pos x="wd2" y="hd2"/>
                  </a:cxn>
                  <a:cxn ang="5400000">
                    <a:pos x="wd2" y="hd2"/>
                  </a:cxn>
                  <a:cxn ang="10800000">
                    <a:pos x="wd2" y="hd2"/>
                  </a:cxn>
                  <a:cxn ang="16200000">
                    <a:pos x="wd2" y="hd2"/>
                  </a:cxn>
                </a:cxnLst>
                <a:rect l="0" t="0" r="r" b="b"/>
                <a:pathLst>
                  <a:path w="21600" h="21600" extrusionOk="0">
                    <a:moveTo>
                      <a:pt x="21600" y="11811"/>
                    </a:moveTo>
                    <a:lnTo>
                      <a:pt x="7052" y="89"/>
                    </a:lnTo>
                    <a:lnTo>
                      <a:pt x="7051" y="88"/>
                    </a:lnTo>
                    <a:lnTo>
                      <a:pt x="6942" y="0"/>
                    </a:lnTo>
                    <a:cubicBezTo>
                      <a:pt x="4366" y="3392"/>
                      <a:pt x="2167" y="7144"/>
                      <a:pt x="411" y="11176"/>
                    </a:cubicBezTo>
                    <a:lnTo>
                      <a:pt x="0" y="16503"/>
                    </a:lnTo>
                    <a:lnTo>
                      <a:pt x="15989" y="21600"/>
                    </a:lnTo>
                    <a:cubicBezTo>
                      <a:pt x="17339" y="17972"/>
                      <a:pt x="19248" y="14665"/>
                      <a:pt x="21600" y="11811"/>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8" name="Shape 20520">
                <a:extLst>
                  <a:ext uri="{FF2B5EF4-FFF2-40B4-BE49-F238E27FC236}">
                    <a16:creationId xmlns:a16="http://schemas.microsoft.com/office/drawing/2014/main" id="{DD81D4E3-0185-4BE3-B4AD-7FF5B071DDF4}"/>
                  </a:ext>
                </a:extLst>
              </p:cNvPr>
              <p:cNvSpPr/>
              <p:nvPr/>
            </p:nvSpPr>
            <p:spPr>
              <a:xfrm>
                <a:off x="5856679" y="3713223"/>
                <a:ext cx="1542089" cy="1260821"/>
              </a:xfrm>
              <a:custGeom>
                <a:avLst/>
                <a:gdLst/>
                <a:ahLst/>
                <a:cxnLst>
                  <a:cxn ang="0">
                    <a:pos x="wd2" y="hd2"/>
                  </a:cxn>
                  <a:cxn ang="5400000">
                    <a:pos x="wd2" y="hd2"/>
                  </a:cxn>
                  <a:cxn ang="10800000">
                    <a:pos x="wd2" y="hd2"/>
                  </a:cxn>
                  <a:cxn ang="16200000">
                    <a:pos x="wd2" y="hd2"/>
                  </a:cxn>
                </a:cxnLst>
                <a:rect l="0" t="0" r="r" b="b"/>
                <a:pathLst>
                  <a:path w="21600" h="21600" extrusionOk="0">
                    <a:moveTo>
                      <a:pt x="2403" y="1485"/>
                    </a:moveTo>
                    <a:cubicBezTo>
                      <a:pt x="2248" y="6247"/>
                      <a:pt x="1408" y="10792"/>
                      <a:pt x="0" y="14980"/>
                    </a:cubicBezTo>
                    <a:lnTo>
                      <a:pt x="18773" y="21600"/>
                    </a:lnTo>
                    <a:cubicBezTo>
                      <a:pt x="20189" y="16840"/>
                      <a:pt x="21151" y="11814"/>
                      <a:pt x="21600" y="6602"/>
                    </a:cubicBezTo>
                    <a:lnTo>
                      <a:pt x="20141" y="0"/>
                    </a:lnTo>
                    <a:cubicBezTo>
                      <a:pt x="20141" y="0"/>
                      <a:pt x="2403" y="1485"/>
                      <a:pt x="2403" y="1485"/>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9" name="Shape 20521">
                <a:extLst>
                  <a:ext uri="{FF2B5EF4-FFF2-40B4-BE49-F238E27FC236}">
                    <a16:creationId xmlns:a16="http://schemas.microsoft.com/office/drawing/2014/main" id="{C998F523-BB6D-47DB-9143-0805B9C21DC8}"/>
                  </a:ext>
                </a:extLst>
              </p:cNvPr>
              <p:cNvSpPr/>
              <p:nvPr/>
            </p:nvSpPr>
            <p:spPr>
              <a:xfrm>
                <a:off x="0" y="3612355"/>
                <a:ext cx="1498040" cy="1316842"/>
              </a:xfrm>
              <a:custGeom>
                <a:avLst/>
                <a:gdLst/>
                <a:ahLst/>
                <a:cxnLst>
                  <a:cxn ang="0">
                    <a:pos x="wd2" y="hd2"/>
                  </a:cxn>
                  <a:cxn ang="5400000">
                    <a:pos x="wd2" y="hd2"/>
                  </a:cxn>
                  <a:cxn ang="10800000">
                    <a:pos x="wd2" y="hd2"/>
                  </a:cxn>
                  <a:cxn ang="16200000">
                    <a:pos x="wd2" y="hd2"/>
                  </a:cxn>
                </a:cxnLst>
                <a:rect l="0" t="0" r="r" b="b"/>
                <a:pathLst>
                  <a:path w="21600" h="21600" extrusionOk="0">
                    <a:moveTo>
                      <a:pt x="21600" y="13101"/>
                    </a:moveTo>
                    <a:cubicBezTo>
                      <a:pt x="20582" y="9459"/>
                      <a:pt x="20031" y="5580"/>
                      <a:pt x="20031" y="1555"/>
                    </a:cubicBezTo>
                    <a:cubicBezTo>
                      <a:pt x="20031" y="1034"/>
                      <a:pt x="20043" y="516"/>
                      <a:pt x="20061" y="0"/>
                    </a:cubicBezTo>
                    <a:lnTo>
                      <a:pt x="153" y="1550"/>
                    </a:lnTo>
                    <a:lnTo>
                      <a:pt x="152" y="1550"/>
                    </a:lnTo>
                    <a:lnTo>
                      <a:pt x="0" y="1562"/>
                    </a:lnTo>
                    <a:cubicBezTo>
                      <a:pt x="0" y="6743"/>
                      <a:pt x="573" y="11772"/>
                      <a:pt x="1646" y="16574"/>
                    </a:cubicBezTo>
                    <a:lnTo>
                      <a:pt x="4753" y="21600"/>
                    </a:lnTo>
                    <a:cubicBezTo>
                      <a:pt x="4753" y="21600"/>
                      <a:pt x="21600" y="13101"/>
                      <a:pt x="21600" y="13101"/>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0" name="Shape 20522">
                <a:extLst>
                  <a:ext uri="{FF2B5EF4-FFF2-40B4-BE49-F238E27FC236}">
                    <a16:creationId xmlns:a16="http://schemas.microsoft.com/office/drawing/2014/main" id="{9F915E5B-40FF-4975-BE83-342FB5B8873D}"/>
                  </a:ext>
                </a:extLst>
              </p:cNvPr>
              <p:cNvSpPr/>
              <p:nvPr/>
            </p:nvSpPr>
            <p:spPr>
              <a:xfrm>
                <a:off x="5547771" y="1412159"/>
                <a:ext cx="1650000" cy="1593689"/>
              </a:xfrm>
              <a:custGeom>
                <a:avLst/>
                <a:gdLst/>
                <a:ahLst/>
                <a:cxnLst>
                  <a:cxn ang="0">
                    <a:pos x="wd2" y="hd2"/>
                  </a:cxn>
                  <a:cxn ang="5400000">
                    <a:pos x="wd2" y="hd2"/>
                  </a:cxn>
                  <a:cxn ang="10800000">
                    <a:pos x="wd2" y="hd2"/>
                  </a:cxn>
                  <a:cxn ang="16200000">
                    <a:pos x="wd2" y="hd2"/>
                  </a:cxn>
                </a:cxnLst>
                <a:rect l="0" t="0" r="r" b="b"/>
                <a:pathLst>
                  <a:path w="21600" h="21600" extrusionOk="0">
                    <a:moveTo>
                      <a:pt x="16263" y="3101"/>
                    </a:moveTo>
                    <a:lnTo>
                      <a:pt x="11966" y="0"/>
                    </a:lnTo>
                    <a:lnTo>
                      <a:pt x="0" y="11929"/>
                    </a:lnTo>
                    <a:cubicBezTo>
                      <a:pt x="2145" y="14799"/>
                      <a:pt x="3820" y="18064"/>
                      <a:pt x="4908" y="21600"/>
                    </a:cubicBezTo>
                    <a:lnTo>
                      <a:pt x="21600" y="13936"/>
                    </a:lnTo>
                    <a:cubicBezTo>
                      <a:pt x="20243" y="10081"/>
                      <a:pt x="18442" y="6448"/>
                      <a:pt x="16263" y="3101"/>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1" name="Shape 20523">
                <a:extLst>
                  <a:ext uri="{FF2B5EF4-FFF2-40B4-BE49-F238E27FC236}">
                    <a16:creationId xmlns:a16="http://schemas.microsoft.com/office/drawing/2014/main" id="{741B2B4E-4476-4071-AB3B-C40E8337F4C6}"/>
                  </a:ext>
                </a:extLst>
              </p:cNvPr>
              <p:cNvSpPr/>
              <p:nvPr/>
            </p:nvSpPr>
            <p:spPr>
              <a:xfrm>
                <a:off x="869990" y="5125383"/>
                <a:ext cx="1599839" cy="1686470"/>
              </a:xfrm>
              <a:custGeom>
                <a:avLst/>
                <a:gdLst/>
                <a:ahLst/>
                <a:cxnLst>
                  <a:cxn ang="0">
                    <a:pos x="wd2" y="hd2"/>
                  </a:cxn>
                  <a:cxn ang="5400000">
                    <a:pos x="wd2" y="hd2"/>
                  </a:cxn>
                  <a:cxn ang="10800000">
                    <a:pos x="wd2" y="hd2"/>
                  </a:cxn>
                  <a:cxn ang="16200000">
                    <a:pos x="wd2" y="hd2"/>
                  </a:cxn>
                </a:cxnLst>
                <a:rect l="0" t="0" r="r" b="b"/>
                <a:pathLst>
                  <a:path w="21600" h="21600" extrusionOk="0">
                    <a:moveTo>
                      <a:pt x="21600" y="6956"/>
                    </a:moveTo>
                    <a:cubicBezTo>
                      <a:pt x="18512" y="5096"/>
                      <a:pt x="15791" y="2737"/>
                      <a:pt x="13561" y="0"/>
                    </a:cubicBezTo>
                    <a:lnTo>
                      <a:pt x="106" y="12290"/>
                    </a:lnTo>
                    <a:lnTo>
                      <a:pt x="105" y="12290"/>
                    </a:lnTo>
                    <a:lnTo>
                      <a:pt x="0" y="12386"/>
                    </a:lnTo>
                    <a:cubicBezTo>
                      <a:pt x="2640" y="15368"/>
                      <a:pt x="5659" y="18035"/>
                      <a:pt x="8986" y="20326"/>
                    </a:cubicBezTo>
                    <a:lnTo>
                      <a:pt x="14042" y="21600"/>
                    </a:lnTo>
                    <a:cubicBezTo>
                      <a:pt x="14042" y="21600"/>
                      <a:pt x="21600" y="6956"/>
                      <a:pt x="21600" y="6956"/>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2" name="Shape 20524">
                <a:extLst>
                  <a:ext uri="{FF2B5EF4-FFF2-40B4-BE49-F238E27FC236}">
                    <a16:creationId xmlns:a16="http://schemas.microsoft.com/office/drawing/2014/main" id="{9E732173-B4D0-4FB1-9EC4-700714A8C145}"/>
                  </a:ext>
                </a:extLst>
              </p:cNvPr>
              <p:cNvSpPr/>
              <p:nvPr/>
            </p:nvSpPr>
            <p:spPr>
              <a:xfrm>
                <a:off x="4204957" y="138694"/>
                <a:ext cx="1358783" cy="1607214"/>
              </a:xfrm>
              <a:custGeom>
                <a:avLst/>
                <a:gdLst/>
                <a:ahLst/>
                <a:cxnLst>
                  <a:cxn ang="0">
                    <a:pos x="wd2" y="hd2"/>
                  </a:cxn>
                  <a:cxn ang="5400000">
                    <a:pos x="wd2" y="hd2"/>
                  </a:cxn>
                  <a:cxn ang="10800000">
                    <a:pos x="wd2" y="hd2"/>
                  </a:cxn>
                  <a:cxn ang="16200000">
                    <a:pos x="wd2" y="hd2"/>
                  </a:cxn>
                </a:cxnLst>
                <a:rect l="0" t="0" r="r" b="b"/>
                <a:pathLst>
                  <a:path w="21600" h="21600" extrusionOk="0">
                    <a:moveTo>
                      <a:pt x="8284" y="0"/>
                    </a:moveTo>
                    <a:lnTo>
                      <a:pt x="2146" y="465"/>
                    </a:lnTo>
                    <a:lnTo>
                      <a:pt x="0" y="17486"/>
                    </a:lnTo>
                    <a:cubicBezTo>
                      <a:pt x="4274" y="18271"/>
                      <a:pt x="8271" y="19682"/>
                      <a:pt x="11851" y="21600"/>
                    </a:cubicBezTo>
                    <a:lnTo>
                      <a:pt x="21600" y="4765"/>
                    </a:lnTo>
                    <a:cubicBezTo>
                      <a:pt x="17454" y="2739"/>
                      <a:pt x="12988" y="1130"/>
                      <a:pt x="8284" y="0"/>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3" name="Shape 20525">
                <a:extLst>
                  <a:ext uri="{FF2B5EF4-FFF2-40B4-BE49-F238E27FC236}">
                    <a16:creationId xmlns:a16="http://schemas.microsoft.com/office/drawing/2014/main" id="{C2AA76B6-2367-4239-A11E-BFB6EFAD3735}"/>
                  </a:ext>
                </a:extLst>
              </p:cNvPr>
              <p:cNvSpPr/>
              <p:nvPr/>
            </p:nvSpPr>
            <p:spPr>
              <a:xfrm>
                <a:off x="-1" y="31521"/>
                <a:ext cx="7418866" cy="7348506"/>
              </a:xfrm>
              <a:custGeom>
                <a:avLst/>
                <a:gdLst/>
                <a:ahLst/>
                <a:cxnLst>
                  <a:cxn ang="0">
                    <a:pos x="wd2" y="hd2"/>
                  </a:cxn>
                  <a:cxn ang="5400000">
                    <a:pos x="wd2" y="hd2"/>
                  </a:cxn>
                  <a:cxn ang="10800000">
                    <a:pos x="wd2" y="hd2"/>
                  </a:cxn>
                  <a:cxn ang="16200000">
                    <a:pos x="wd2" y="hd2"/>
                  </a:cxn>
                </a:cxnLst>
                <a:rect l="0" t="0" r="r" b="b"/>
                <a:pathLst>
                  <a:path w="21600" h="21600" extrusionOk="0">
                    <a:moveTo>
                      <a:pt x="12245" y="4096"/>
                    </a:moveTo>
                    <a:lnTo>
                      <a:pt x="12668" y="94"/>
                    </a:lnTo>
                    <a:lnTo>
                      <a:pt x="12676" y="61"/>
                    </a:lnTo>
                    <a:cubicBezTo>
                      <a:pt x="12551" y="39"/>
                      <a:pt x="12425" y="18"/>
                      <a:pt x="12299" y="0"/>
                    </a:cubicBezTo>
                    <a:lnTo>
                      <a:pt x="12292" y="34"/>
                    </a:lnTo>
                    <a:lnTo>
                      <a:pt x="12007" y="4088"/>
                    </a:lnTo>
                    <a:cubicBezTo>
                      <a:pt x="12083" y="4102"/>
                      <a:pt x="12159" y="4118"/>
                      <a:pt x="12234" y="4134"/>
                    </a:cubicBezTo>
                    <a:cubicBezTo>
                      <a:pt x="12234" y="4134"/>
                      <a:pt x="12245" y="4096"/>
                      <a:pt x="12245" y="4096"/>
                    </a:cubicBezTo>
                    <a:close/>
                    <a:moveTo>
                      <a:pt x="9355" y="17464"/>
                    </a:moveTo>
                    <a:lnTo>
                      <a:pt x="8928" y="21506"/>
                    </a:lnTo>
                    <a:lnTo>
                      <a:pt x="8920" y="21539"/>
                    </a:lnTo>
                    <a:cubicBezTo>
                      <a:pt x="9045" y="21561"/>
                      <a:pt x="9171" y="21582"/>
                      <a:pt x="9297" y="21600"/>
                    </a:cubicBezTo>
                    <a:lnTo>
                      <a:pt x="9304" y="21566"/>
                    </a:lnTo>
                    <a:lnTo>
                      <a:pt x="9589" y="17512"/>
                    </a:lnTo>
                    <a:cubicBezTo>
                      <a:pt x="9505" y="17496"/>
                      <a:pt x="9422" y="17479"/>
                      <a:pt x="9339" y="17460"/>
                    </a:cubicBezTo>
                    <a:cubicBezTo>
                      <a:pt x="9344" y="17462"/>
                      <a:pt x="9349" y="17463"/>
                      <a:pt x="9355" y="17464"/>
                    </a:cubicBezTo>
                    <a:close/>
                    <a:moveTo>
                      <a:pt x="7185" y="16563"/>
                    </a:moveTo>
                    <a:lnTo>
                      <a:pt x="5414" y="20214"/>
                    </a:lnTo>
                    <a:lnTo>
                      <a:pt x="5396" y="20242"/>
                    </a:lnTo>
                    <a:cubicBezTo>
                      <a:pt x="5506" y="20306"/>
                      <a:pt x="5617" y="20369"/>
                      <a:pt x="5729" y="20430"/>
                    </a:cubicBezTo>
                    <a:lnTo>
                      <a:pt x="5747" y="20400"/>
                    </a:lnTo>
                    <a:lnTo>
                      <a:pt x="7389" y="16688"/>
                    </a:lnTo>
                    <a:cubicBezTo>
                      <a:pt x="7308" y="16640"/>
                      <a:pt x="7228" y="16591"/>
                      <a:pt x="7149" y="16540"/>
                    </a:cubicBezTo>
                    <a:cubicBezTo>
                      <a:pt x="7161" y="16547"/>
                      <a:pt x="7173" y="16555"/>
                      <a:pt x="7185" y="16563"/>
                    </a:cubicBezTo>
                    <a:close/>
                    <a:moveTo>
                      <a:pt x="14424" y="5010"/>
                    </a:moveTo>
                    <a:lnTo>
                      <a:pt x="16182" y="1385"/>
                    </a:lnTo>
                    <a:lnTo>
                      <a:pt x="16201" y="1357"/>
                    </a:lnTo>
                    <a:cubicBezTo>
                      <a:pt x="16091" y="1292"/>
                      <a:pt x="15980" y="1229"/>
                      <a:pt x="15867" y="1169"/>
                    </a:cubicBezTo>
                    <a:lnTo>
                      <a:pt x="15849" y="1199"/>
                    </a:lnTo>
                    <a:lnTo>
                      <a:pt x="14208" y="4910"/>
                    </a:lnTo>
                    <a:cubicBezTo>
                      <a:pt x="14275" y="4950"/>
                      <a:pt x="14341" y="4991"/>
                      <a:pt x="14407" y="5033"/>
                    </a:cubicBezTo>
                    <a:cubicBezTo>
                      <a:pt x="14407" y="5033"/>
                      <a:pt x="14424" y="5010"/>
                      <a:pt x="14424" y="5010"/>
                    </a:cubicBezTo>
                    <a:close/>
                    <a:moveTo>
                      <a:pt x="5445" y="14958"/>
                    </a:moveTo>
                    <a:cubicBezTo>
                      <a:pt x="5447" y="14961"/>
                      <a:pt x="5449" y="14964"/>
                      <a:pt x="5451" y="14967"/>
                    </a:cubicBezTo>
                    <a:lnTo>
                      <a:pt x="2549" y="17787"/>
                    </a:lnTo>
                    <a:lnTo>
                      <a:pt x="2524" y="17806"/>
                    </a:lnTo>
                    <a:cubicBezTo>
                      <a:pt x="2606" y="17904"/>
                      <a:pt x="2689" y="18002"/>
                      <a:pt x="2774" y="18097"/>
                    </a:cubicBezTo>
                    <a:lnTo>
                      <a:pt x="2799" y="18077"/>
                    </a:lnTo>
                    <a:lnTo>
                      <a:pt x="5600" y="15155"/>
                    </a:lnTo>
                    <a:cubicBezTo>
                      <a:pt x="5547" y="15090"/>
                      <a:pt x="5495" y="15025"/>
                      <a:pt x="5445" y="14958"/>
                    </a:cubicBezTo>
                    <a:close/>
                    <a:moveTo>
                      <a:pt x="16147" y="6631"/>
                    </a:moveTo>
                    <a:lnTo>
                      <a:pt x="16147" y="6631"/>
                    </a:lnTo>
                    <a:cubicBezTo>
                      <a:pt x="16147" y="6631"/>
                      <a:pt x="16147" y="6631"/>
                      <a:pt x="16147" y="6631"/>
                    </a:cubicBezTo>
                    <a:lnTo>
                      <a:pt x="19047" y="3812"/>
                    </a:lnTo>
                    <a:lnTo>
                      <a:pt x="19073" y="3792"/>
                    </a:lnTo>
                    <a:cubicBezTo>
                      <a:pt x="18991" y="3694"/>
                      <a:pt x="18908" y="3596"/>
                      <a:pt x="18823" y="3501"/>
                    </a:cubicBezTo>
                    <a:lnTo>
                      <a:pt x="18797" y="3522"/>
                    </a:lnTo>
                    <a:lnTo>
                      <a:pt x="15997" y="6442"/>
                    </a:lnTo>
                    <a:cubicBezTo>
                      <a:pt x="16048" y="6504"/>
                      <a:pt x="16098" y="6567"/>
                      <a:pt x="16147" y="6631"/>
                    </a:cubicBezTo>
                    <a:close/>
                    <a:moveTo>
                      <a:pt x="4353" y="12842"/>
                    </a:moveTo>
                    <a:cubicBezTo>
                      <a:pt x="4355" y="12851"/>
                      <a:pt x="4358" y="12860"/>
                      <a:pt x="4361" y="12869"/>
                    </a:cubicBezTo>
                    <a:lnTo>
                      <a:pt x="679" y="14518"/>
                    </a:lnTo>
                    <a:lnTo>
                      <a:pt x="648" y="14527"/>
                    </a:lnTo>
                    <a:cubicBezTo>
                      <a:pt x="691" y="14648"/>
                      <a:pt x="736" y="14768"/>
                      <a:pt x="784" y="14887"/>
                    </a:cubicBezTo>
                    <a:lnTo>
                      <a:pt x="816" y="14877"/>
                    </a:lnTo>
                    <a:lnTo>
                      <a:pt x="4437" y="13098"/>
                    </a:lnTo>
                    <a:cubicBezTo>
                      <a:pt x="4407" y="13013"/>
                      <a:pt x="4379" y="12928"/>
                      <a:pt x="4353" y="12842"/>
                    </a:cubicBezTo>
                    <a:close/>
                    <a:moveTo>
                      <a:pt x="17241" y="8737"/>
                    </a:moveTo>
                    <a:lnTo>
                      <a:pt x="17241" y="8736"/>
                    </a:lnTo>
                    <a:cubicBezTo>
                      <a:pt x="17240" y="8734"/>
                      <a:pt x="17239" y="8731"/>
                      <a:pt x="17238" y="8728"/>
                    </a:cubicBezTo>
                    <a:lnTo>
                      <a:pt x="20916" y="7081"/>
                    </a:lnTo>
                    <a:lnTo>
                      <a:pt x="20951" y="7071"/>
                    </a:lnTo>
                    <a:cubicBezTo>
                      <a:pt x="20908" y="6950"/>
                      <a:pt x="20863" y="6830"/>
                      <a:pt x="20815" y="6711"/>
                    </a:cubicBezTo>
                    <a:lnTo>
                      <a:pt x="20780" y="6722"/>
                    </a:lnTo>
                    <a:lnTo>
                      <a:pt x="17162" y="8500"/>
                    </a:lnTo>
                    <a:cubicBezTo>
                      <a:pt x="17189" y="8578"/>
                      <a:pt x="17216" y="8657"/>
                      <a:pt x="17241" y="8737"/>
                    </a:cubicBezTo>
                    <a:close/>
                    <a:moveTo>
                      <a:pt x="4051" y="10511"/>
                    </a:moveTo>
                    <a:cubicBezTo>
                      <a:pt x="4050" y="10515"/>
                      <a:pt x="4050" y="10518"/>
                      <a:pt x="4050" y="10522"/>
                    </a:cubicBezTo>
                    <a:lnTo>
                      <a:pt x="30" y="10799"/>
                    </a:lnTo>
                    <a:lnTo>
                      <a:pt x="0" y="10797"/>
                    </a:lnTo>
                    <a:cubicBezTo>
                      <a:pt x="0" y="10925"/>
                      <a:pt x="1" y="11054"/>
                      <a:pt x="6" y="11183"/>
                    </a:cubicBezTo>
                    <a:lnTo>
                      <a:pt x="37" y="11184"/>
                    </a:lnTo>
                    <a:lnTo>
                      <a:pt x="4044" y="10763"/>
                    </a:lnTo>
                    <a:cubicBezTo>
                      <a:pt x="4045" y="10679"/>
                      <a:pt x="4047" y="10595"/>
                      <a:pt x="4051" y="10511"/>
                    </a:cubicBezTo>
                    <a:close/>
                    <a:moveTo>
                      <a:pt x="21594" y="10416"/>
                    </a:moveTo>
                    <a:lnTo>
                      <a:pt x="21559" y="10415"/>
                    </a:lnTo>
                    <a:lnTo>
                      <a:pt x="17556" y="10836"/>
                    </a:lnTo>
                    <a:cubicBezTo>
                      <a:pt x="17555" y="10923"/>
                      <a:pt x="17553" y="11009"/>
                      <a:pt x="17549" y="11095"/>
                    </a:cubicBezTo>
                    <a:lnTo>
                      <a:pt x="17549" y="11095"/>
                    </a:lnTo>
                    <a:cubicBezTo>
                      <a:pt x="17550" y="11089"/>
                      <a:pt x="17550" y="11083"/>
                      <a:pt x="17550" y="11077"/>
                    </a:cubicBezTo>
                    <a:lnTo>
                      <a:pt x="21566" y="10799"/>
                    </a:lnTo>
                    <a:lnTo>
                      <a:pt x="21600" y="10802"/>
                    </a:lnTo>
                    <a:cubicBezTo>
                      <a:pt x="21600" y="10674"/>
                      <a:pt x="21599" y="10545"/>
                      <a:pt x="21594" y="10416"/>
                    </a:cubicBezTo>
                    <a:close/>
                    <a:moveTo>
                      <a:pt x="4463" y="8433"/>
                    </a:moveTo>
                    <a:cubicBezTo>
                      <a:pt x="4492" y="8352"/>
                      <a:pt x="4524" y="8272"/>
                      <a:pt x="4556" y="8193"/>
                    </a:cubicBezTo>
                    <a:lnTo>
                      <a:pt x="4556" y="8193"/>
                    </a:lnTo>
                    <a:cubicBezTo>
                      <a:pt x="4554" y="8198"/>
                      <a:pt x="4552" y="8203"/>
                      <a:pt x="4550" y="8208"/>
                    </a:cubicBezTo>
                    <a:lnTo>
                      <a:pt x="679" y="7081"/>
                    </a:lnTo>
                    <a:lnTo>
                      <a:pt x="650" y="7068"/>
                    </a:lnTo>
                    <a:cubicBezTo>
                      <a:pt x="606" y="7189"/>
                      <a:pt x="564" y="7310"/>
                      <a:pt x="524" y="7432"/>
                    </a:cubicBezTo>
                    <a:lnTo>
                      <a:pt x="555" y="7445"/>
                    </a:lnTo>
                    <a:cubicBezTo>
                      <a:pt x="555" y="7445"/>
                      <a:pt x="4463" y="8433"/>
                      <a:pt x="4463" y="8433"/>
                    </a:cubicBezTo>
                    <a:close/>
                    <a:moveTo>
                      <a:pt x="17138" y="13167"/>
                    </a:moveTo>
                    <a:cubicBezTo>
                      <a:pt x="17107" y="13252"/>
                      <a:pt x="17074" y="13336"/>
                      <a:pt x="17039" y="13419"/>
                    </a:cubicBezTo>
                    <a:lnTo>
                      <a:pt x="17040" y="13419"/>
                    </a:lnTo>
                    <a:cubicBezTo>
                      <a:pt x="17043" y="13410"/>
                      <a:pt x="17047" y="13401"/>
                      <a:pt x="17051" y="13392"/>
                    </a:cubicBezTo>
                    <a:lnTo>
                      <a:pt x="20916" y="14518"/>
                    </a:lnTo>
                    <a:lnTo>
                      <a:pt x="20950" y="14533"/>
                    </a:lnTo>
                    <a:cubicBezTo>
                      <a:pt x="20994" y="14412"/>
                      <a:pt x="21036" y="14291"/>
                      <a:pt x="21076" y="14168"/>
                    </a:cubicBezTo>
                    <a:lnTo>
                      <a:pt x="21040" y="14154"/>
                    </a:lnTo>
                    <a:cubicBezTo>
                      <a:pt x="21040" y="14154"/>
                      <a:pt x="17138" y="13167"/>
                      <a:pt x="17138" y="13167"/>
                    </a:cubicBezTo>
                    <a:close/>
                    <a:moveTo>
                      <a:pt x="2310" y="4111"/>
                    </a:moveTo>
                    <a:lnTo>
                      <a:pt x="2834" y="4469"/>
                    </a:lnTo>
                    <a:lnTo>
                      <a:pt x="5647" y="6389"/>
                    </a:lnTo>
                    <a:cubicBezTo>
                      <a:pt x="5700" y="6326"/>
                      <a:pt x="5755" y="6264"/>
                      <a:pt x="5810" y="6203"/>
                    </a:cubicBezTo>
                    <a:lnTo>
                      <a:pt x="5810" y="6202"/>
                    </a:lnTo>
                    <a:cubicBezTo>
                      <a:pt x="5808" y="6204"/>
                      <a:pt x="5807" y="6206"/>
                      <a:pt x="5805" y="6207"/>
                    </a:cubicBezTo>
                    <a:lnTo>
                      <a:pt x="3061" y="4188"/>
                    </a:lnTo>
                    <a:lnTo>
                      <a:pt x="2549" y="3812"/>
                    </a:lnTo>
                    <a:lnTo>
                      <a:pt x="2549" y="3812"/>
                    </a:lnTo>
                    <a:lnTo>
                      <a:pt x="2528" y="3791"/>
                    </a:lnTo>
                    <a:cubicBezTo>
                      <a:pt x="2446" y="3890"/>
                      <a:pt x="2365" y="3989"/>
                      <a:pt x="2287" y="4090"/>
                    </a:cubicBezTo>
                    <a:lnTo>
                      <a:pt x="2310" y="4111"/>
                    </a:lnTo>
                    <a:cubicBezTo>
                      <a:pt x="2310" y="4111"/>
                      <a:pt x="2310" y="4111"/>
                      <a:pt x="2310" y="4111"/>
                    </a:cubicBezTo>
                    <a:close/>
                    <a:moveTo>
                      <a:pt x="15952" y="15213"/>
                    </a:moveTo>
                    <a:cubicBezTo>
                      <a:pt x="15892" y="15284"/>
                      <a:pt x="15831" y="15353"/>
                      <a:pt x="15769" y="15421"/>
                    </a:cubicBezTo>
                    <a:cubicBezTo>
                      <a:pt x="15777" y="15412"/>
                      <a:pt x="15786" y="15403"/>
                      <a:pt x="15794" y="15394"/>
                    </a:cubicBezTo>
                    <a:lnTo>
                      <a:pt x="19047" y="17787"/>
                    </a:lnTo>
                    <a:lnTo>
                      <a:pt x="19071" y="17811"/>
                    </a:lnTo>
                    <a:cubicBezTo>
                      <a:pt x="19153" y="17712"/>
                      <a:pt x="19234" y="17613"/>
                      <a:pt x="19312" y="17512"/>
                    </a:cubicBezTo>
                    <a:lnTo>
                      <a:pt x="19286" y="17488"/>
                    </a:lnTo>
                    <a:cubicBezTo>
                      <a:pt x="19286" y="17488"/>
                      <a:pt x="15952" y="15213"/>
                      <a:pt x="15952" y="15213"/>
                    </a:cubicBezTo>
                    <a:close/>
                    <a:moveTo>
                      <a:pt x="14146" y="16727"/>
                    </a:moveTo>
                    <a:cubicBezTo>
                      <a:pt x="14072" y="16770"/>
                      <a:pt x="13996" y="16811"/>
                      <a:pt x="13920" y="16851"/>
                    </a:cubicBezTo>
                    <a:cubicBezTo>
                      <a:pt x="13926" y="16848"/>
                      <a:pt x="13931" y="16845"/>
                      <a:pt x="13937" y="16843"/>
                    </a:cubicBezTo>
                    <a:lnTo>
                      <a:pt x="16182" y="20214"/>
                    </a:lnTo>
                    <a:lnTo>
                      <a:pt x="16198" y="20247"/>
                    </a:lnTo>
                    <a:cubicBezTo>
                      <a:pt x="16308" y="20182"/>
                      <a:pt x="16418" y="20117"/>
                      <a:pt x="16525" y="20048"/>
                    </a:cubicBezTo>
                    <a:lnTo>
                      <a:pt x="16508" y="20016"/>
                    </a:lnTo>
                    <a:cubicBezTo>
                      <a:pt x="16508" y="20016"/>
                      <a:pt x="14146" y="16727"/>
                      <a:pt x="14146" y="16727"/>
                    </a:cubicBezTo>
                    <a:close/>
                    <a:moveTo>
                      <a:pt x="5414" y="1385"/>
                    </a:moveTo>
                    <a:lnTo>
                      <a:pt x="5400" y="1356"/>
                    </a:lnTo>
                    <a:cubicBezTo>
                      <a:pt x="5289" y="1420"/>
                      <a:pt x="5180" y="1486"/>
                      <a:pt x="5072" y="1554"/>
                    </a:cubicBezTo>
                    <a:lnTo>
                      <a:pt x="5088" y="1583"/>
                    </a:lnTo>
                    <a:lnTo>
                      <a:pt x="7452" y="4875"/>
                    </a:lnTo>
                    <a:cubicBezTo>
                      <a:pt x="7520" y="4835"/>
                      <a:pt x="7590" y="4797"/>
                      <a:pt x="7661" y="4760"/>
                    </a:cubicBezTo>
                    <a:lnTo>
                      <a:pt x="7659" y="4756"/>
                    </a:lnTo>
                    <a:cubicBezTo>
                      <a:pt x="7659" y="4756"/>
                      <a:pt x="5414" y="1385"/>
                      <a:pt x="5414" y="1385"/>
                    </a:cubicBezTo>
                    <a:close/>
                    <a:moveTo>
                      <a:pt x="11936" y="17524"/>
                    </a:moveTo>
                    <a:cubicBezTo>
                      <a:pt x="11841" y="17541"/>
                      <a:pt x="11746" y="17554"/>
                      <a:pt x="11650" y="17566"/>
                    </a:cubicBezTo>
                    <a:lnTo>
                      <a:pt x="11650" y="17567"/>
                    </a:lnTo>
                    <a:cubicBezTo>
                      <a:pt x="11666" y="17565"/>
                      <a:pt x="11683" y="17563"/>
                      <a:pt x="11700" y="17561"/>
                    </a:cubicBezTo>
                    <a:lnTo>
                      <a:pt x="12668" y="21505"/>
                    </a:lnTo>
                    <a:lnTo>
                      <a:pt x="12671" y="21540"/>
                    </a:lnTo>
                    <a:cubicBezTo>
                      <a:pt x="12797" y="21518"/>
                      <a:pt x="12922" y="21494"/>
                      <a:pt x="13046" y="21467"/>
                    </a:cubicBezTo>
                    <a:lnTo>
                      <a:pt x="13041" y="21432"/>
                    </a:lnTo>
                    <a:cubicBezTo>
                      <a:pt x="13041" y="21432"/>
                      <a:pt x="11936" y="17524"/>
                      <a:pt x="11936" y="17524"/>
                    </a:cubicBezTo>
                    <a:close/>
                    <a:moveTo>
                      <a:pt x="8928" y="94"/>
                    </a:moveTo>
                    <a:lnTo>
                      <a:pt x="8925" y="62"/>
                    </a:lnTo>
                    <a:cubicBezTo>
                      <a:pt x="8799" y="84"/>
                      <a:pt x="8674" y="107"/>
                      <a:pt x="8549" y="134"/>
                    </a:cubicBezTo>
                    <a:lnTo>
                      <a:pt x="8554" y="167"/>
                    </a:lnTo>
                    <a:lnTo>
                      <a:pt x="9660" y="4077"/>
                    </a:lnTo>
                    <a:cubicBezTo>
                      <a:pt x="9737" y="4064"/>
                      <a:pt x="9814" y="4052"/>
                      <a:pt x="9891" y="4041"/>
                    </a:cubicBezTo>
                    <a:lnTo>
                      <a:pt x="9889" y="4010"/>
                    </a:lnTo>
                    <a:cubicBezTo>
                      <a:pt x="9889" y="4010"/>
                      <a:pt x="8928" y="94"/>
                      <a:pt x="8928" y="94"/>
                    </a:cubicBezTo>
                    <a:close/>
                  </a:path>
                </a:pathLst>
              </a:custGeom>
              <a:solidFill>
                <a:srgbClr val="FFFFFF">
                  <a:alpha val="2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4" name="Shape 20526">
                <a:extLst>
                  <a:ext uri="{FF2B5EF4-FFF2-40B4-BE49-F238E27FC236}">
                    <a16:creationId xmlns:a16="http://schemas.microsoft.com/office/drawing/2014/main" id="{CCE75181-5D58-484E-A885-2F6789FBE2DC}"/>
                  </a:ext>
                </a:extLst>
              </p:cNvPr>
              <p:cNvSpPr/>
              <p:nvPr/>
            </p:nvSpPr>
            <p:spPr>
              <a:xfrm>
                <a:off x="18912" y="6304"/>
                <a:ext cx="7379706" cy="7400806"/>
              </a:xfrm>
              <a:custGeom>
                <a:avLst/>
                <a:gdLst/>
                <a:ahLst/>
                <a:cxnLst>
                  <a:cxn ang="0">
                    <a:pos x="wd2" y="hd2"/>
                  </a:cxn>
                  <a:cxn ang="5400000">
                    <a:pos x="wd2" y="hd2"/>
                  </a:cxn>
                  <a:cxn ang="10800000">
                    <a:pos x="wd2" y="hd2"/>
                  </a:cxn>
                  <a:cxn ang="16200000">
                    <a:pos x="wd2" y="hd2"/>
                  </a:cxn>
                </a:cxnLst>
                <a:rect l="0" t="0" r="r" b="b"/>
                <a:pathLst>
                  <a:path w="21600" h="21600" extrusionOk="0">
                    <a:moveTo>
                      <a:pt x="7771" y="21195"/>
                    </a:moveTo>
                    <a:cubicBezTo>
                      <a:pt x="7779" y="21197"/>
                      <a:pt x="7787" y="21199"/>
                      <a:pt x="7795" y="21202"/>
                    </a:cubicBezTo>
                    <a:lnTo>
                      <a:pt x="8955" y="21098"/>
                    </a:lnTo>
                    <a:lnTo>
                      <a:pt x="8956" y="21120"/>
                    </a:lnTo>
                    <a:lnTo>
                      <a:pt x="9352" y="17413"/>
                    </a:lnTo>
                    <a:cubicBezTo>
                      <a:pt x="9257" y="17393"/>
                      <a:pt x="9162" y="17370"/>
                      <a:pt x="9068" y="17345"/>
                    </a:cubicBezTo>
                    <a:cubicBezTo>
                      <a:pt x="9068" y="17345"/>
                      <a:pt x="7771" y="21195"/>
                      <a:pt x="7771" y="21195"/>
                    </a:cubicBezTo>
                    <a:close/>
                    <a:moveTo>
                      <a:pt x="17168" y="2030"/>
                    </a:moveTo>
                    <a:lnTo>
                      <a:pt x="16072" y="1740"/>
                    </a:lnTo>
                    <a:lnTo>
                      <a:pt x="14436" y="5072"/>
                    </a:lnTo>
                    <a:cubicBezTo>
                      <a:pt x="14502" y="5114"/>
                      <a:pt x="14568" y="5158"/>
                      <a:pt x="14632" y="5202"/>
                    </a:cubicBezTo>
                    <a:cubicBezTo>
                      <a:pt x="14632" y="5202"/>
                      <a:pt x="17168" y="2030"/>
                      <a:pt x="17168" y="2030"/>
                    </a:cubicBezTo>
                    <a:close/>
                    <a:moveTo>
                      <a:pt x="5259" y="14705"/>
                    </a:moveTo>
                    <a:lnTo>
                      <a:pt x="1784" y="16823"/>
                    </a:lnTo>
                    <a:cubicBezTo>
                      <a:pt x="1798" y="16844"/>
                      <a:pt x="1813" y="16865"/>
                      <a:pt x="1827" y="16886"/>
                    </a:cubicBezTo>
                    <a:lnTo>
                      <a:pt x="2736" y="17518"/>
                    </a:lnTo>
                    <a:lnTo>
                      <a:pt x="5428" y="14934"/>
                    </a:lnTo>
                    <a:cubicBezTo>
                      <a:pt x="5370" y="14859"/>
                      <a:pt x="5313" y="14783"/>
                      <a:pt x="5259" y="14705"/>
                    </a:cubicBezTo>
                    <a:close/>
                    <a:moveTo>
                      <a:pt x="17349" y="8977"/>
                    </a:moveTo>
                    <a:lnTo>
                      <a:pt x="21335" y="8173"/>
                    </a:lnTo>
                    <a:lnTo>
                      <a:pt x="20674" y="7237"/>
                    </a:lnTo>
                    <a:lnTo>
                      <a:pt x="17278" y="8739"/>
                    </a:lnTo>
                    <a:cubicBezTo>
                      <a:pt x="17303" y="8818"/>
                      <a:pt x="17327" y="8897"/>
                      <a:pt x="17349" y="8977"/>
                    </a:cubicBezTo>
                    <a:close/>
                    <a:moveTo>
                      <a:pt x="4019" y="10520"/>
                    </a:moveTo>
                    <a:cubicBezTo>
                      <a:pt x="4023" y="10431"/>
                      <a:pt x="4029" y="10343"/>
                      <a:pt x="4036" y="10255"/>
                    </a:cubicBezTo>
                    <a:lnTo>
                      <a:pt x="8" y="9650"/>
                    </a:lnTo>
                    <a:cubicBezTo>
                      <a:pt x="5" y="9678"/>
                      <a:pt x="3" y="9706"/>
                      <a:pt x="0" y="9735"/>
                    </a:cubicBezTo>
                    <a:lnTo>
                      <a:pt x="282" y="10775"/>
                    </a:lnTo>
                    <a:cubicBezTo>
                      <a:pt x="282" y="10775"/>
                      <a:pt x="4019" y="10520"/>
                      <a:pt x="4019" y="10520"/>
                    </a:cubicBezTo>
                    <a:close/>
                    <a:moveTo>
                      <a:pt x="16982" y="13616"/>
                    </a:moveTo>
                    <a:lnTo>
                      <a:pt x="20554" y="15555"/>
                    </a:lnTo>
                    <a:lnTo>
                      <a:pt x="20653" y="14395"/>
                    </a:lnTo>
                    <a:lnTo>
                      <a:pt x="17089" y="13370"/>
                    </a:lnTo>
                    <a:cubicBezTo>
                      <a:pt x="17055" y="13453"/>
                      <a:pt x="17019" y="13535"/>
                      <a:pt x="16982" y="13616"/>
                    </a:cubicBezTo>
                    <a:close/>
                    <a:moveTo>
                      <a:pt x="5784" y="6236"/>
                    </a:moveTo>
                    <a:cubicBezTo>
                      <a:pt x="5839" y="6176"/>
                      <a:pt x="5896" y="6116"/>
                      <a:pt x="5954" y="6058"/>
                    </a:cubicBezTo>
                    <a:lnTo>
                      <a:pt x="3259" y="3013"/>
                    </a:lnTo>
                    <a:cubicBezTo>
                      <a:pt x="3246" y="3026"/>
                      <a:pt x="3233" y="3039"/>
                      <a:pt x="3219" y="3052"/>
                    </a:cubicBezTo>
                    <a:lnTo>
                      <a:pt x="2761" y="4039"/>
                    </a:lnTo>
                    <a:lnTo>
                      <a:pt x="3025" y="4231"/>
                    </a:lnTo>
                    <a:cubicBezTo>
                      <a:pt x="3025" y="4231"/>
                      <a:pt x="5784" y="6236"/>
                      <a:pt x="5784" y="6236"/>
                    </a:cubicBezTo>
                    <a:close/>
                    <a:moveTo>
                      <a:pt x="13702" y="16923"/>
                    </a:moveTo>
                    <a:lnTo>
                      <a:pt x="15185" y="20690"/>
                    </a:lnTo>
                    <a:lnTo>
                      <a:pt x="16019" y="19856"/>
                    </a:lnTo>
                    <a:lnTo>
                      <a:pt x="16027" y="19864"/>
                    </a:lnTo>
                    <a:lnTo>
                      <a:pt x="13958" y="16796"/>
                    </a:lnTo>
                    <a:cubicBezTo>
                      <a:pt x="13874" y="16840"/>
                      <a:pt x="13789" y="16883"/>
                      <a:pt x="13702" y="16923"/>
                    </a:cubicBezTo>
                    <a:close/>
                    <a:moveTo>
                      <a:pt x="11421" y="17541"/>
                    </a:moveTo>
                    <a:lnTo>
                      <a:pt x="11523" y="21600"/>
                    </a:lnTo>
                    <a:lnTo>
                      <a:pt x="12597" y="21098"/>
                    </a:lnTo>
                    <a:lnTo>
                      <a:pt x="12607" y="21122"/>
                    </a:lnTo>
                    <a:lnTo>
                      <a:pt x="11710" y="17509"/>
                    </a:lnTo>
                    <a:cubicBezTo>
                      <a:pt x="11614" y="17522"/>
                      <a:pt x="11518" y="17532"/>
                      <a:pt x="11421" y="17541"/>
                    </a:cubicBezTo>
                    <a:close/>
                    <a:moveTo>
                      <a:pt x="9001" y="480"/>
                    </a:moveTo>
                    <a:lnTo>
                      <a:pt x="9897" y="4084"/>
                    </a:lnTo>
                    <a:cubicBezTo>
                      <a:pt x="9974" y="4074"/>
                      <a:pt x="10052" y="4065"/>
                      <a:pt x="10130" y="4058"/>
                    </a:cubicBezTo>
                    <a:lnTo>
                      <a:pt x="10028" y="0"/>
                    </a:lnTo>
                    <a:cubicBezTo>
                      <a:pt x="10028" y="0"/>
                      <a:pt x="9001" y="480"/>
                      <a:pt x="9001" y="480"/>
                    </a:cubicBezTo>
                    <a:close/>
                    <a:moveTo>
                      <a:pt x="13778" y="382"/>
                    </a:moveTo>
                    <a:lnTo>
                      <a:pt x="12649" y="483"/>
                    </a:lnTo>
                    <a:lnTo>
                      <a:pt x="12254" y="4179"/>
                    </a:lnTo>
                    <a:cubicBezTo>
                      <a:pt x="12330" y="4195"/>
                      <a:pt x="12406" y="4214"/>
                      <a:pt x="12481" y="4233"/>
                    </a:cubicBezTo>
                    <a:cubicBezTo>
                      <a:pt x="12481" y="4233"/>
                      <a:pt x="13778" y="382"/>
                      <a:pt x="13778" y="382"/>
                    </a:cubicBezTo>
                    <a:close/>
                    <a:moveTo>
                      <a:pt x="4391" y="19533"/>
                    </a:moveTo>
                    <a:cubicBezTo>
                      <a:pt x="4406" y="19544"/>
                      <a:pt x="4422" y="19555"/>
                      <a:pt x="4437" y="19566"/>
                    </a:cubicBezTo>
                    <a:lnTo>
                      <a:pt x="5532" y="19856"/>
                    </a:lnTo>
                    <a:lnTo>
                      <a:pt x="7171" y="16519"/>
                    </a:lnTo>
                    <a:cubicBezTo>
                      <a:pt x="7089" y="16467"/>
                      <a:pt x="7008" y="16413"/>
                      <a:pt x="6929" y="16358"/>
                    </a:cubicBezTo>
                    <a:cubicBezTo>
                      <a:pt x="6929" y="16358"/>
                      <a:pt x="4391" y="19533"/>
                      <a:pt x="4391" y="19533"/>
                    </a:cubicBezTo>
                    <a:close/>
                    <a:moveTo>
                      <a:pt x="16324" y="6849"/>
                    </a:moveTo>
                    <a:lnTo>
                      <a:pt x="19789" y="4737"/>
                    </a:lnTo>
                    <a:lnTo>
                      <a:pt x="18856" y="4088"/>
                    </a:lnTo>
                    <a:lnTo>
                      <a:pt x="16180" y="6657"/>
                    </a:lnTo>
                    <a:cubicBezTo>
                      <a:pt x="16229" y="6720"/>
                      <a:pt x="16277" y="6784"/>
                      <a:pt x="16324" y="6849"/>
                    </a:cubicBezTo>
                    <a:close/>
                    <a:moveTo>
                      <a:pt x="4254" y="12586"/>
                    </a:moveTo>
                    <a:lnTo>
                      <a:pt x="261" y="13392"/>
                    </a:lnTo>
                    <a:cubicBezTo>
                      <a:pt x="268" y="13418"/>
                      <a:pt x="275" y="13444"/>
                      <a:pt x="282" y="13470"/>
                    </a:cubicBezTo>
                    <a:lnTo>
                      <a:pt x="912" y="14363"/>
                    </a:lnTo>
                    <a:lnTo>
                      <a:pt x="4332" y="12851"/>
                    </a:lnTo>
                    <a:cubicBezTo>
                      <a:pt x="4304" y="12764"/>
                      <a:pt x="4278" y="12675"/>
                      <a:pt x="4254" y="12586"/>
                    </a:cubicBezTo>
                    <a:close/>
                    <a:moveTo>
                      <a:pt x="17591" y="11071"/>
                    </a:moveTo>
                    <a:cubicBezTo>
                      <a:pt x="17588" y="11158"/>
                      <a:pt x="17582" y="11243"/>
                      <a:pt x="17576" y="11328"/>
                    </a:cubicBezTo>
                    <a:lnTo>
                      <a:pt x="21600" y="11933"/>
                    </a:lnTo>
                    <a:lnTo>
                      <a:pt x="21298" y="10818"/>
                    </a:lnTo>
                    <a:cubicBezTo>
                      <a:pt x="21298" y="10818"/>
                      <a:pt x="17591" y="11071"/>
                      <a:pt x="17591" y="11071"/>
                    </a:cubicBezTo>
                    <a:close/>
                    <a:moveTo>
                      <a:pt x="4624" y="7988"/>
                    </a:moveTo>
                    <a:lnTo>
                      <a:pt x="1047" y="6046"/>
                    </a:lnTo>
                    <a:cubicBezTo>
                      <a:pt x="1036" y="6066"/>
                      <a:pt x="1027" y="6088"/>
                      <a:pt x="1017" y="6109"/>
                    </a:cubicBezTo>
                    <a:lnTo>
                      <a:pt x="924" y="7188"/>
                    </a:lnTo>
                    <a:lnTo>
                      <a:pt x="4522" y="8223"/>
                    </a:lnTo>
                    <a:cubicBezTo>
                      <a:pt x="4554" y="8144"/>
                      <a:pt x="4589" y="8065"/>
                      <a:pt x="4624" y="7988"/>
                    </a:cubicBezTo>
                    <a:close/>
                    <a:moveTo>
                      <a:pt x="15634" y="15559"/>
                    </a:moveTo>
                    <a:lnTo>
                      <a:pt x="18326" y="18600"/>
                    </a:lnTo>
                    <a:lnTo>
                      <a:pt x="18821" y="17535"/>
                    </a:lnTo>
                    <a:lnTo>
                      <a:pt x="15826" y="15358"/>
                    </a:lnTo>
                    <a:cubicBezTo>
                      <a:pt x="15763" y="15426"/>
                      <a:pt x="15699" y="15493"/>
                      <a:pt x="15634" y="15559"/>
                    </a:cubicBezTo>
                    <a:close/>
                    <a:moveTo>
                      <a:pt x="6375" y="909"/>
                    </a:moveTo>
                    <a:cubicBezTo>
                      <a:pt x="6369" y="912"/>
                      <a:pt x="6363" y="915"/>
                      <a:pt x="6358" y="918"/>
                    </a:cubicBezTo>
                    <a:lnTo>
                      <a:pt x="5567" y="1709"/>
                    </a:lnTo>
                    <a:lnTo>
                      <a:pt x="7650" y="4798"/>
                    </a:lnTo>
                    <a:cubicBezTo>
                      <a:pt x="7720" y="4761"/>
                      <a:pt x="7792" y="4726"/>
                      <a:pt x="7864" y="4691"/>
                    </a:cubicBezTo>
                    <a:cubicBezTo>
                      <a:pt x="7864" y="4691"/>
                      <a:pt x="6375" y="909"/>
                      <a:pt x="6375" y="909"/>
                    </a:cubicBezTo>
                    <a:close/>
                  </a:path>
                </a:pathLst>
              </a:custGeom>
              <a:solidFill>
                <a:srgbClr val="000000">
                  <a:alpha val="15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5" name="Shape 20527">
                <a:extLst>
                  <a:ext uri="{FF2B5EF4-FFF2-40B4-BE49-F238E27FC236}">
                    <a16:creationId xmlns:a16="http://schemas.microsoft.com/office/drawing/2014/main" id="{157AB66B-C5A3-4CAE-91A3-3864C0EF86F3}"/>
                  </a:ext>
                </a:extLst>
              </p:cNvPr>
              <p:cNvSpPr/>
              <p:nvPr/>
            </p:nvSpPr>
            <p:spPr>
              <a:xfrm>
                <a:off x="1159988" y="1159988"/>
                <a:ext cx="5097199" cy="5097206"/>
              </a:xfrm>
              <a:prstGeom prst="ellipse">
                <a:avLst/>
              </a:prstGeom>
              <a:solidFill>
                <a:srgbClr val="FFFFFF"/>
              </a:solidFill>
              <a:ln w="12700" cap="flat">
                <a:noFill/>
                <a:miter lim="400000"/>
              </a:ln>
              <a:effectLst>
                <a:outerShdw blurRad="139700" dist="112228" dir="5400000" rotWithShape="0">
                  <a:srgbClr val="000000">
                    <a:alpha val="64026"/>
                  </a:srgbClr>
                </a:outerShdw>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grpSp>
        <p:pic>
          <p:nvPicPr>
            <p:cNvPr id="9" name="White Shadow.png">
              <a:extLst>
                <a:ext uri="{FF2B5EF4-FFF2-40B4-BE49-F238E27FC236}">
                  <a16:creationId xmlns:a16="http://schemas.microsoft.com/office/drawing/2014/main" id="{6A070855-4312-416A-960F-3CD809353F8E}"/>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235982" y="792827"/>
              <a:ext cx="6718303" cy="6413504"/>
            </a:xfrm>
            <a:prstGeom prst="rect">
              <a:avLst/>
            </a:prstGeom>
            <a:ln w="12700" cap="flat">
              <a:noFill/>
              <a:miter lim="400000"/>
            </a:ln>
            <a:effectLst/>
          </p:spPr>
        </p:pic>
        <p:sp>
          <p:nvSpPr>
            <p:cNvPr id="10" name="Shape 20530">
              <a:extLst>
                <a:ext uri="{FF2B5EF4-FFF2-40B4-BE49-F238E27FC236}">
                  <a16:creationId xmlns:a16="http://schemas.microsoft.com/office/drawing/2014/main" id="{14AC77BB-A8F1-479D-814F-F80C352FA95E}"/>
                </a:ext>
              </a:extLst>
            </p:cNvPr>
            <p:cNvSpPr/>
            <p:nvPr/>
          </p:nvSpPr>
          <p:spPr>
            <a:xfrm>
              <a:off x="1513867" y="1506425"/>
              <a:ext cx="4391131" cy="4391131"/>
            </a:xfrm>
            <a:prstGeom prst="ellipse">
              <a:avLst/>
            </a:prstGeom>
            <a:noFill/>
            <a:ln w="28575" cap="rnd" cmpd="sng">
              <a:solidFill>
                <a:srgbClr val="C2C6CA"/>
              </a:solidFill>
              <a:custDash>
                <a:ds d="100000" sp="200000"/>
              </a:custDash>
              <a:round/>
            </a:ln>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grpSp>
      <p:sp>
        <p:nvSpPr>
          <p:cNvPr id="36" name="Shape 14709">
            <a:extLst>
              <a:ext uri="{FF2B5EF4-FFF2-40B4-BE49-F238E27FC236}">
                <a16:creationId xmlns:a16="http://schemas.microsoft.com/office/drawing/2014/main" id="{75E96E7D-0FFA-4938-B166-C042049EAFBF}"/>
              </a:ext>
            </a:extLst>
          </p:cNvPr>
          <p:cNvSpPr/>
          <p:nvPr/>
        </p:nvSpPr>
        <p:spPr>
          <a:xfrm>
            <a:off x="9244715" y="2075599"/>
            <a:ext cx="1229320" cy="1098725"/>
          </a:xfrm>
          <a:custGeom>
            <a:avLst/>
            <a:gdLst/>
            <a:ahLst/>
            <a:cxnLst>
              <a:cxn ang="0">
                <a:pos x="wd2" y="hd2"/>
              </a:cxn>
              <a:cxn ang="5400000">
                <a:pos x="wd2" y="hd2"/>
              </a:cxn>
              <a:cxn ang="10800000">
                <a:pos x="wd2" y="hd2"/>
              </a:cxn>
              <a:cxn ang="16200000">
                <a:pos x="wd2" y="hd2"/>
              </a:cxn>
            </a:cxnLst>
            <a:rect l="0" t="0" r="r" b="b"/>
            <a:pathLst>
              <a:path w="21486" h="21572" extrusionOk="0">
                <a:moveTo>
                  <a:pt x="13371" y="71"/>
                </a:moveTo>
                <a:cubicBezTo>
                  <a:pt x="13216" y="-28"/>
                  <a:pt x="13019" y="-23"/>
                  <a:pt x="12867" y="85"/>
                </a:cubicBezTo>
                <a:lnTo>
                  <a:pt x="7822" y="3657"/>
                </a:lnTo>
                <a:cubicBezTo>
                  <a:pt x="7821" y="3660"/>
                  <a:pt x="7811" y="3657"/>
                  <a:pt x="7809" y="3657"/>
                </a:cubicBezTo>
                <a:lnTo>
                  <a:pt x="5293" y="5450"/>
                </a:lnTo>
                <a:lnTo>
                  <a:pt x="234" y="9022"/>
                </a:lnTo>
                <a:cubicBezTo>
                  <a:pt x="90" y="9125"/>
                  <a:pt x="-2" y="9313"/>
                  <a:pt x="1" y="9505"/>
                </a:cubicBezTo>
                <a:cubicBezTo>
                  <a:pt x="6" y="9697"/>
                  <a:pt x="96" y="9866"/>
                  <a:pt x="247" y="9960"/>
                </a:cubicBezTo>
                <a:lnTo>
                  <a:pt x="8116" y="14994"/>
                </a:lnTo>
                <a:cubicBezTo>
                  <a:pt x="8191" y="15038"/>
                  <a:pt x="8279" y="15062"/>
                  <a:pt x="8362" y="15062"/>
                </a:cubicBezTo>
                <a:cubicBezTo>
                  <a:pt x="8451" y="15062"/>
                  <a:pt x="8540" y="15036"/>
                  <a:pt x="8620" y="14980"/>
                </a:cubicBezTo>
                <a:lnTo>
                  <a:pt x="12217" y="12428"/>
                </a:lnTo>
                <a:cubicBezTo>
                  <a:pt x="12444" y="12267"/>
                  <a:pt x="12507" y="11940"/>
                  <a:pt x="12364" y="11684"/>
                </a:cubicBezTo>
                <a:cubicBezTo>
                  <a:pt x="12222" y="11428"/>
                  <a:pt x="11928" y="11345"/>
                  <a:pt x="11701" y="11504"/>
                </a:cubicBezTo>
                <a:lnTo>
                  <a:pt x="8349" y="13876"/>
                </a:lnTo>
                <a:lnTo>
                  <a:pt x="1438" y="9463"/>
                </a:lnTo>
                <a:lnTo>
                  <a:pt x="5550" y="6553"/>
                </a:lnTo>
                <a:lnTo>
                  <a:pt x="12929" y="11256"/>
                </a:lnTo>
                <a:lnTo>
                  <a:pt x="12929" y="17490"/>
                </a:lnTo>
                <a:cubicBezTo>
                  <a:pt x="12929" y="17688"/>
                  <a:pt x="13019" y="17876"/>
                  <a:pt x="13174" y="17972"/>
                </a:cubicBezTo>
                <a:cubicBezTo>
                  <a:pt x="13248" y="18019"/>
                  <a:pt x="13327" y="18028"/>
                  <a:pt x="13408" y="18028"/>
                </a:cubicBezTo>
                <a:cubicBezTo>
                  <a:pt x="13498" y="18028"/>
                  <a:pt x="13599" y="18001"/>
                  <a:pt x="13678" y="17945"/>
                </a:cubicBezTo>
                <a:lnTo>
                  <a:pt x="16194" y="16166"/>
                </a:lnTo>
                <a:cubicBezTo>
                  <a:pt x="16336" y="16066"/>
                  <a:pt x="16428" y="15885"/>
                  <a:pt x="16428" y="15697"/>
                </a:cubicBezTo>
                <a:lnTo>
                  <a:pt x="16428" y="9146"/>
                </a:lnTo>
                <a:cubicBezTo>
                  <a:pt x="16428" y="9127"/>
                  <a:pt x="16429" y="9109"/>
                  <a:pt x="16428" y="9091"/>
                </a:cubicBezTo>
                <a:cubicBezTo>
                  <a:pt x="16426" y="9085"/>
                  <a:pt x="16428" y="9083"/>
                  <a:pt x="16428" y="9077"/>
                </a:cubicBezTo>
                <a:cubicBezTo>
                  <a:pt x="16425" y="9057"/>
                  <a:pt x="16420" y="9030"/>
                  <a:pt x="16415" y="9008"/>
                </a:cubicBezTo>
                <a:cubicBezTo>
                  <a:pt x="16409" y="8987"/>
                  <a:pt x="16398" y="8958"/>
                  <a:pt x="16391" y="8939"/>
                </a:cubicBezTo>
                <a:cubicBezTo>
                  <a:pt x="16389" y="8935"/>
                  <a:pt x="16393" y="8931"/>
                  <a:pt x="16391" y="8925"/>
                </a:cubicBezTo>
                <a:cubicBezTo>
                  <a:pt x="16385" y="8910"/>
                  <a:pt x="16373" y="8897"/>
                  <a:pt x="16366" y="8884"/>
                </a:cubicBezTo>
                <a:cubicBezTo>
                  <a:pt x="16364" y="8877"/>
                  <a:pt x="16357" y="8874"/>
                  <a:pt x="16354" y="8870"/>
                </a:cubicBezTo>
                <a:cubicBezTo>
                  <a:pt x="16354" y="8870"/>
                  <a:pt x="16356" y="8859"/>
                  <a:pt x="16354" y="8856"/>
                </a:cubicBezTo>
                <a:cubicBezTo>
                  <a:pt x="16346" y="8844"/>
                  <a:pt x="16338" y="8840"/>
                  <a:pt x="16329" y="8829"/>
                </a:cubicBezTo>
                <a:cubicBezTo>
                  <a:pt x="16328" y="8825"/>
                  <a:pt x="16329" y="8817"/>
                  <a:pt x="16329" y="8815"/>
                </a:cubicBezTo>
                <a:cubicBezTo>
                  <a:pt x="16316" y="8798"/>
                  <a:pt x="16295" y="8777"/>
                  <a:pt x="16280" y="8760"/>
                </a:cubicBezTo>
                <a:cubicBezTo>
                  <a:pt x="16269" y="8745"/>
                  <a:pt x="16257" y="8729"/>
                  <a:pt x="16244" y="8718"/>
                </a:cubicBezTo>
                <a:cubicBezTo>
                  <a:pt x="16240" y="8715"/>
                  <a:pt x="16235" y="8707"/>
                  <a:pt x="16231" y="8705"/>
                </a:cubicBezTo>
                <a:cubicBezTo>
                  <a:pt x="16214" y="8692"/>
                  <a:pt x="16201" y="8691"/>
                  <a:pt x="16182" y="8677"/>
                </a:cubicBezTo>
                <a:lnTo>
                  <a:pt x="9012" y="4098"/>
                </a:lnTo>
                <a:lnTo>
                  <a:pt x="13137" y="1188"/>
                </a:lnTo>
                <a:lnTo>
                  <a:pt x="20049" y="5602"/>
                </a:lnTo>
                <a:lnTo>
                  <a:pt x="17140" y="7657"/>
                </a:lnTo>
                <a:cubicBezTo>
                  <a:pt x="16913" y="7818"/>
                  <a:pt x="16849" y="8160"/>
                  <a:pt x="16992" y="8415"/>
                </a:cubicBezTo>
                <a:cubicBezTo>
                  <a:pt x="17136" y="8669"/>
                  <a:pt x="17429" y="8742"/>
                  <a:pt x="17655" y="8581"/>
                </a:cubicBezTo>
                <a:lnTo>
                  <a:pt x="21252" y="6043"/>
                </a:lnTo>
                <a:cubicBezTo>
                  <a:pt x="21397" y="5941"/>
                  <a:pt x="21489" y="5753"/>
                  <a:pt x="21486" y="5560"/>
                </a:cubicBezTo>
                <a:cubicBezTo>
                  <a:pt x="21482" y="5367"/>
                  <a:pt x="21389" y="5198"/>
                  <a:pt x="21240" y="5105"/>
                </a:cubicBezTo>
                <a:lnTo>
                  <a:pt x="13371" y="71"/>
                </a:lnTo>
                <a:close/>
                <a:moveTo>
                  <a:pt x="8079" y="4760"/>
                </a:moveTo>
                <a:lnTo>
                  <a:pt x="14991" y="9174"/>
                </a:lnTo>
                <a:lnTo>
                  <a:pt x="14390" y="9601"/>
                </a:lnTo>
                <a:cubicBezTo>
                  <a:pt x="14163" y="9761"/>
                  <a:pt x="14099" y="10105"/>
                  <a:pt x="14242" y="10360"/>
                </a:cubicBezTo>
                <a:cubicBezTo>
                  <a:pt x="14334" y="10525"/>
                  <a:pt x="14486" y="10608"/>
                  <a:pt x="14648" y="10608"/>
                </a:cubicBezTo>
                <a:cubicBezTo>
                  <a:pt x="14736" y="10608"/>
                  <a:pt x="14825" y="10582"/>
                  <a:pt x="14905" y="10525"/>
                </a:cubicBezTo>
                <a:lnTo>
                  <a:pt x="15458" y="10139"/>
                </a:lnTo>
                <a:lnTo>
                  <a:pt x="15458" y="15393"/>
                </a:lnTo>
                <a:cubicBezTo>
                  <a:pt x="15458" y="15393"/>
                  <a:pt x="13899" y="16497"/>
                  <a:pt x="13899" y="16497"/>
                </a:cubicBezTo>
                <a:lnTo>
                  <a:pt x="13899" y="10939"/>
                </a:lnTo>
                <a:cubicBezTo>
                  <a:pt x="13899" y="10742"/>
                  <a:pt x="13805" y="10554"/>
                  <a:pt x="13653" y="10456"/>
                </a:cubicBezTo>
                <a:lnTo>
                  <a:pt x="6496" y="5891"/>
                </a:lnTo>
                <a:lnTo>
                  <a:pt x="8079" y="4760"/>
                </a:lnTo>
                <a:close/>
                <a:moveTo>
                  <a:pt x="21081" y="7077"/>
                </a:moveTo>
                <a:cubicBezTo>
                  <a:pt x="20959" y="7047"/>
                  <a:pt x="20838" y="7066"/>
                  <a:pt x="20725" y="7146"/>
                </a:cubicBezTo>
                <a:lnTo>
                  <a:pt x="17115" y="9698"/>
                </a:lnTo>
                <a:cubicBezTo>
                  <a:pt x="16888" y="9859"/>
                  <a:pt x="16824" y="10185"/>
                  <a:pt x="16968" y="10442"/>
                </a:cubicBezTo>
                <a:cubicBezTo>
                  <a:pt x="17060" y="10606"/>
                  <a:pt x="17223" y="10704"/>
                  <a:pt x="17385" y="10704"/>
                </a:cubicBezTo>
                <a:cubicBezTo>
                  <a:pt x="17473" y="10704"/>
                  <a:pt x="17563" y="10679"/>
                  <a:pt x="17643" y="10622"/>
                </a:cubicBezTo>
                <a:lnTo>
                  <a:pt x="21240" y="8070"/>
                </a:lnTo>
                <a:cubicBezTo>
                  <a:pt x="21467" y="7908"/>
                  <a:pt x="21531" y="7580"/>
                  <a:pt x="21388" y="7326"/>
                </a:cubicBezTo>
                <a:cubicBezTo>
                  <a:pt x="21317" y="7197"/>
                  <a:pt x="21202" y="7108"/>
                  <a:pt x="21081" y="7077"/>
                </a:cubicBezTo>
                <a:close/>
                <a:moveTo>
                  <a:pt x="21081" y="9284"/>
                </a:moveTo>
                <a:cubicBezTo>
                  <a:pt x="20959" y="9253"/>
                  <a:pt x="20838" y="9271"/>
                  <a:pt x="20725" y="9353"/>
                </a:cubicBezTo>
                <a:lnTo>
                  <a:pt x="17115" y="11904"/>
                </a:lnTo>
                <a:cubicBezTo>
                  <a:pt x="16888" y="12065"/>
                  <a:pt x="16824" y="12394"/>
                  <a:pt x="16968" y="12649"/>
                </a:cubicBezTo>
                <a:cubicBezTo>
                  <a:pt x="17060" y="12814"/>
                  <a:pt x="17223" y="12911"/>
                  <a:pt x="17385" y="12911"/>
                </a:cubicBezTo>
                <a:cubicBezTo>
                  <a:pt x="17473" y="12911"/>
                  <a:pt x="17563" y="12886"/>
                  <a:pt x="17643" y="12828"/>
                </a:cubicBezTo>
                <a:lnTo>
                  <a:pt x="21240" y="10277"/>
                </a:lnTo>
                <a:cubicBezTo>
                  <a:pt x="21467" y="10117"/>
                  <a:pt x="21531" y="9785"/>
                  <a:pt x="21388" y="9532"/>
                </a:cubicBezTo>
                <a:cubicBezTo>
                  <a:pt x="21317" y="9405"/>
                  <a:pt x="21202" y="9315"/>
                  <a:pt x="21081" y="9284"/>
                </a:cubicBezTo>
                <a:close/>
                <a:moveTo>
                  <a:pt x="357" y="11049"/>
                </a:moveTo>
                <a:cubicBezTo>
                  <a:pt x="237" y="11086"/>
                  <a:pt x="129" y="11179"/>
                  <a:pt x="63" y="11311"/>
                </a:cubicBezTo>
                <a:cubicBezTo>
                  <a:pt x="-69" y="11574"/>
                  <a:pt x="15" y="11908"/>
                  <a:pt x="247" y="12056"/>
                </a:cubicBezTo>
                <a:lnTo>
                  <a:pt x="8116" y="17076"/>
                </a:lnTo>
                <a:cubicBezTo>
                  <a:pt x="8191" y="17124"/>
                  <a:pt x="8280" y="17159"/>
                  <a:pt x="8362" y="17159"/>
                </a:cubicBezTo>
                <a:cubicBezTo>
                  <a:pt x="8452" y="17159"/>
                  <a:pt x="8541" y="17131"/>
                  <a:pt x="8620" y="17076"/>
                </a:cubicBezTo>
                <a:lnTo>
                  <a:pt x="12217" y="14525"/>
                </a:lnTo>
                <a:cubicBezTo>
                  <a:pt x="12444" y="14363"/>
                  <a:pt x="12507" y="14021"/>
                  <a:pt x="12364" y="13766"/>
                </a:cubicBezTo>
                <a:cubicBezTo>
                  <a:pt x="12222" y="13511"/>
                  <a:pt x="11928" y="13442"/>
                  <a:pt x="11701" y="13601"/>
                </a:cubicBezTo>
                <a:lnTo>
                  <a:pt x="8349" y="15973"/>
                </a:lnTo>
                <a:lnTo>
                  <a:pt x="726" y="11104"/>
                </a:lnTo>
                <a:cubicBezTo>
                  <a:pt x="609" y="11030"/>
                  <a:pt x="477" y="11012"/>
                  <a:pt x="357" y="11049"/>
                </a:cubicBezTo>
                <a:close/>
                <a:moveTo>
                  <a:pt x="21081" y="11491"/>
                </a:moveTo>
                <a:cubicBezTo>
                  <a:pt x="20959" y="11459"/>
                  <a:pt x="20838" y="11479"/>
                  <a:pt x="20725" y="11560"/>
                </a:cubicBezTo>
                <a:lnTo>
                  <a:pt x="17115" y="14111"/>
                </a:lnTo>
                <a:cubicBezTo>
                  <a:pt x="16888" y="14270"/>
                  <a:pt x="16824" y="14601"/>
                  <a:pt x="16968" y="14856"/>
                </a:cubicBezTo>
                <a:cubicBezTo>
                  <a:pt x="17060" y="15022"/>
                  <a:pt x="17223" y="15118"/>
                  <a:pt x="17385" y="15118"/>
                </a:cubicBezTo>
                <a:cubicBezTo>
                  <a:pt x="17473" y="15118"/>
                  <a:pt x="17563" y="15091"/>
                  <a:pt x="17643" y="15035"/>
                </a:cubicBezTo>
                <a:lnTo>
                  <a:pt x="21240" y="12484"/>
                </a:lnTo>
                <a:cubicBezTo>
                  <a:pt x="21467" y="12323"/>
                  <a:pt x="21531" y="11993"/>
                  <a:pt x="21388" y="11739"/>
                </a:cubicBezTo>
                <a:cubicBezTo>
                  <a:pt x="21317" y="11611"/>
                  <a:pt x="21202" y="11522"/>
                  <a:pt x="21081" y="11491"/>
                </a:cubicBezTo>
                <a:close/>
                <a:moveTo>
                  <a:pt x="357" y="13256"/>
                </a:moveTo>
                <a:cubicBezTo>
                  <a:pt x="237" y="13293"/>
                  <a:pt x="129" y="13386"/>
                  <a:pt x="63" y="13518"/>
                </a:cubicBezTo>
                <a:cubicBezTo>
                  <a:pt x="-69" y="13779"/>
                  <a:pt x="15" y="14114"/>
                  <a:pt x="247" y="14263"/>
                </a:cubicBezTo>
                <a:lnTo>
                  <a:pt x="8116" y="19283"/>
                </a:lnTo>
                <a:cubicBezTo>
                  <a:pt x="8191" y="19331"/>
                  <a:pt x="8280" y="19365"/>
                  <a:pt x="8362" y="19365"/>
                </a:cubicBezTo>
                <a:cubicBezTo>
                  <a:pt x="8452" y="19365"/>
                  <a:pt x="8541" y="19325"/>
                  <a:pt x="8620" y="19269"/>
                </a:cubicBezTo>
                <a:lnTo>
                  <a:pt x="12217" y="16731"/>
                </a:lnTo>
                <a:cubicBezTo>
                  <a:pt x="12444" y="16572"/>
                  <a:pt x="12507" y="16227"/>
                  <a:pt x="12364" y="15973"/>
                </a:cubicBezTo>
                <a:cubicBezTo>
                  <a:pt x="12222" y="15718"/>
                  <a:pt x="11928" y="15646"/>
                  <a:pt x="11701" y="15807"/>
                </a:cubicBezTo>
                <a:lnTo>
                  <a:pt x="8349" y="18179"/>
                </a:lnTo>
                <a:lnTo>
                  <a:pt x="726" y="13311"/>
                </a:lnTo>
                <a:cubicBezTo>
                  <a:pt x="609" y="13236"/>
                  <a:pt x="477" y="13219"/>
                  <a:pt x="357" y="13256"/>
                </a:cubicBezTo>
                <a:close/>
                <a:moveTo>
                  <a:pt x="357" y="15462"/>
                </a:moveTo>
                <a:cubicBezTo>
                  <a:pt x="237" y="15499"/>
                  <a:pt x="129" y="15593"/>
                  <a:pt x="63" y="15724"/>
                </a:cubicBezTo>
                <a:cubicBezTo>
                  <a:pt x="-69" y="15987"/>
                  <a:pt x="15" y="16321"/>
                  <a:pt x="247" y="16469"/>
                </a:cubicBezTo>
                <a:lnTo>
                  <a:pt x="8116" y="21489"/>
                </a:lnTo>
                <a:cubicBezTo>
                  <a:pt x="8191" y="21536"/>
                  <a:pt x="8280" y="21572"/>
                  <a:pt x="8362" y="21572"/>
                </a:cubicBezTo>
                <a:cubicBezTo>
                  <a:pt x="8452" y="21572"/>
                  <a:pt x="8541" y="21532"/>
                  <a:pt x="8620" y="21475"/>
                </a:cubicBezTo>
                <a:lnTo>
                  <a:pt x="12217" y="18938"/>
                </a:lnTo>
                <a:cubicBezTo>
                  <a:pt x="12444" y="18780"/>
                  <a:pt x="12507" y="18434"/>
                  <a:pt x="12364" y="18179"/>
                </a:cubicBezTo>
                <a:cubicBezTo>
                  <a:pt x="12222" y="17925"/>
                  <a:pt x="11928" y="17853"/>
                  <a:pt x="11701" y="18014"/>
                </a:cubicBezTo>
                <a:lnTo>
                  <a:pt x="8349" y="20386"/>
                </a:lnTo>
                <a:lnTo>
                  <a:pt x="726" y="15518"/>
                </a:lnTo>
                <a:cubicBezTo>
                  <a:pt x="609" y="15443"/>
                  <a:pt x="477" y="15426"/>
                  <a:pt x="357" y="15462"/>
                </a:cubicBezTo>
                <a:close/>
              </a:path>
            </a:pathLst>
          </a:custGeom>
          <a:solidFill>
            <a:srgbClr val="7E249F"/>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Tree>
    <p:extLst>
      <p:ext uri="{BB962C8B-B14F-4D97-AF65-F5344CB8AC3E}">
        <p14:creationId xmlns:p14="http://schemas.microsoft.com/office/powerpoint/2010/main" val="11993592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556097B-8D10-4BB0-82BF-0E881046E768}"/>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TIME </a:t>
            </a:r>
            <a:r>
              <a:rPr lang="en-US" sz="3200" spc="-150" dirty="0">
                <a:solidFill>
                  <a:srgbClr val="1E3ADA"/>
                </a:solidFill>
                <a:latin typeface="Work Sans" panose="00000500000000000000" pitchFamily="50" charset="0"/>
                <a:cs typeface="Segoe UI" panose="020B0502040204020203" pitchFamily="34" charset="0"/>
              </a:rPr>
              <a:t>SHEET &amp; PAYROLL</a:t>
            </a:r>
          </a:p>
        </p:txBody>
      </p:sp>
      <p:sp>
        <p:nvSpPr>
          <p:cNvPr id="5" name="TextBox 4">
            <a:extLst>
              <a:ext uri="{FF2B5EF4-FFF2-40B4-BE49-F238E27FC236}">
                <a16:creationId xmlns:a16="http://schemas.microsoft.com/office/drawing/2014/main" id="{34F04D69-962E-4292-95C3-87E1E7C901E9}"/>
              </a:ext>
            </a:extLst>
          </p:cNvPr>
          <p:cNvSpPr txBox="1"/>
          <p:nvPr/>
        </p:nvSpPr>
        <p:spPr>
          <a:xfrm>
            <a:off x="787190" y="1650999"/>
            <a:ext cx="6433764" cy="3083921"/>
          </a:xfrm>
          <a:prstGeom prst="rect">
            <a:avLst/>
          </a:prstGeom>
          <a:noFill/>
        </p:spPr>
        <p:txBody>
          <a:bodyPr wrap="square" rtlCol="0">
            <a:spAutoFit/>
          </a:bodyPr>
          <a:lstStyle/>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Infinite utilizes an online pay stub system through ADP</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To view your pay stubs online, you will need to sign up for an  ADP </a:t>
            </a:r>
            <a:r>
              <a:rPr lang="en-GB" dirty="0" err="1">
                <a:solidFill>
                  <a:schemeClr val="tx1">
                    <a:lumMod val="75000"/>
                    <a:lumOff val="25000"/>
                  </a:schemeClr>
                </a:solidFill>
                <a:ea typeface="Roboto" pitchFamily="2" charset="0"/>
              </a:rPr>
              <a:t>iPay</a:t>
            </a:r>
            <a:r>
              <a:rPr lang="en-GB" dirty="0">
                <a:solidFill>
                  <a:schemeClr val="tx1">
                    <a:lumMod val="75000"/>
                    <a:lumOff val="25000"/>
                  </a:schemeClr>
                </a:solidFill>
                <a:ea typeface="Roboto" pitchFamily="2" charset="0"/>
              </a:rPr>
              <a:t> account using your </a:t>
            </a:r>
            <a:r>
              <a:rPr lang="en-GB" b="1" i="1" dirty="0">
                <a:solidFill>
                  <a:srgbClr val="FF0000"/>
                </a:solidFill>
                <a:ea typeface="Roboto" pitchFamily="2" charset="0"/>
              </a:rPr>
              <a:t>personal email address</a:t>
            </a:r>
            <a:r>
              <a:rPr lang="en-GB" dirty="0">
                <a:solidFill>
                  <a:schemeClr val="tx1">
                    <a:lumMod val="75000"/>
                    <a:lumOff val="25000"/>
                  </a:schemeClr>
                </a:solidFill>
                <a:ea typeface="Roboto" pitchFamily="2" charset="0"/>
              </a:rPr>
              <a:t>. </a:t>
            </a:r>
          </a:p>
          <a:p>
            <a:pPr>
              <a:lnSpc>
                <a:spcPct val="90000"/>
              </a:lnSpc>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An information flier and registration instructions can be found in your on boarding email – New Hire Packet 3</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Once registered, you can view current or previous paystubs, as well as W2s online. </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GB" dirty="0">
                <a:solidFill>
                  <a:schemeClr val="tx1">
                    <a:lumMod val="75000"/>
                    <a:lumOff val="25000"/>
                  </a:schemeClr>
                </a:solidFill>
                <a:ea typeface="Roboto" pitchFamily="2" charset="0"/>
              </a:rPr>
              <a:t>You will also be able to view your leave balances. </a:t>
            </a:r>
          </a:p>
        </p:txBody>
      </p:sp>
      <p:sp>
        <p:nvSpPr>
          <p:cNvPr id="6" name="Shape 6406">
            <a:extLst>
              <a:ext uri="{FF2B5EF4-FFF2-40B4-BE49-F238E27FC236}">
                <a16:creationId xmlns:a16="http://schemas.microsoft.com/office/drawing/2014/main" id="{161C206F-8DE6-4E3C-86B0-2B5E25F2C5D3}"/>
              </a:ext>
            </a:extLst>
          </p:cNvPr>
          <p:cNvSpPr/>
          <p:nvPr/>
        </p:nvSpPr>
        <p:spPr>
          <a:xfrm>
            <a:off x="690880" y="1397000"/>
            <a:ext cx="6840000" cy="3413125"/>
          </a:xfrm>
          <a:prstGeom prst="rect">
            <a:avLst/>
          </a:prstGeom>
          <a:ln w="28575" cmpd="sng">
            <a:solidFill>
              <a:srgbClr val="00B6AD"/>
            </a:solidFill>
            <a:miter lim="400000"/>
          </a:ln>
        </p:spPr>
        <p:txBody>
          <a:bodyPr lIns="25400" tIns="25400" rIns="25400" bIns="25400" anchor="ctr"/>
          <a:lstStyle/>
          <a:p>
            <a:pPr defTabSz="1219170">
              <a:defRPr sz="3200">
                <a:solidFill>
                  <a:srgbClr val="FFFFFF"/>
                </a:solidFill>
              </a:defRPr>
            </a:pPr>
            <a:endParaRPr sz="1600" kern="0">
              <a:solidFill>
                <a:srgbClr val="FFFFFF"/>
              </a:solidFill>
            </a:endParaRPr>
          </a:p>
        </p:txBody>
      </p:sp>
      <p:grpSp>
        <p:nvGrpSpPr>
          <p:cNvPr id="7" name="Group 20531">
            <a:extLst>
              <a:ext uri="{FF2B5EF4-FFF2-40B4-BE49-F238E27FC236}">
                <a16:creationId xmlns:a16="http://schemas.microsoft.com/office/drawing/2014/main" id="{426A107E-5CF6-44D2-B3AC-40E848568C9C}"/>
              </a:ext>
            </a:extLst>
          </p:cNvPr>
          <p:cNvGrpSpPr/>
          <p:nvPr/>
        </p:nvGrpSpPr>
        <p:grpSpPr>
          <a:xfrm>
            <a:off x="8265929" y="1016001"/>
            <a:ext cx="3196689" cy="4932004"/>
            <a:chOff x="-2" y="0"/>
            <a:chExt cx="7418868" cy="11446190"/>
          </a:xfrm>
        </p:grpSpPr>
        <p:grpSp>
          <p:nvGrpSpPr>
            <p:cNvPr id="8" name="Group 20528">
              <a:extLst>
                <a:ext uri="{FF2B5EF4-FFF2-40B4-BE49-F238E27FC236}">
                  <a16:creationId xmlns:a16="http://schemas.microsoft.com/office/drawing/2014/main" id="{94B36E89-519C-414C-9B72-DBBEBA538935}"/>
                </a:ext>
              </a:extLst>
            </p:cNvPr>
            <p:cNvGrpSpPr/>
            <p:nvPr/>
          </p:nvGrpSpPr>
          <p:grpSpPr>
            <a:xfrm>
              <a:off x="-2" y="0"/>
              <a:ext cx="7418868" cy="11446190"/>
              <a:chOff x="-1" y="0"/>
              <a:chExt cx="7418866" cy="11446189"/>
            </a:xfrm>
          </p:grpSpPr>
          <p:sp>
            <p:nvSpPr>
              <p:cNvPr id="11" name="Shape 20503">
                <a:extLst>
                  <a:ext uri="{FF2B5EF4-FFF2-40B4-BE49-F238E27FC236}">
                    <a16:creationId xmlns:a16="http://schemas.microsoft.com/office/drawing/2014/main" id="{8D1452A1-7525-4FA4-8CB1-B8080D18B8F7}"/>
                  </a:ext>
                </a:extLst>
              </p:cNvPr>
              <p:cNvSpPr/>
              <p:nvPr/>
            </p:nvSpPr>
            <p:spPr>
              <a:xfrm>
                <a:off x="3000838" y="5535162"/>
                <a:ext cx="4411556" cy="5911027"/>
              </a:xfrm>
              <a:custGeom>
                <a:avLst/>
                <a:gdLst/>
                <a:ahLst/>
                <a:cxnLst>
                  <a:cxn ang="0">
                    <a:pos x="wd2" y="hd2"/>
                  </a:cxn>
                  <a:cxn ang="5400000">
                    <a:pos x="wd2" y="hd2"/>
                  </a:cxn>
                  <a:cxn ang="10800000">
                    <a:pos x="wd2" y="hd2"/>
                  </a:cxn>
                  <a:cxn ang="16200000">
                    <a:pos x="wd2" y="hd2"/>
                  </a:cxn>
                </a:cxnLst>
                <a:rect l="0" t="0" r="r" b="b"/>
                <a:pathLst>
                  <a:path w="21600" h="21600" extrusionOk="0">
                    <a:moveTo>
                      <a:pt x="6544" y="21600"/>
                    </a:moveTo>
                    <a:lnTo>
                      <a:pt x="11953" y="15394"/>
                    </a:lnTo>
                    <a:lnTo>
                      <a:pt x="21600" y="17117"/>
                    </a:lnTo>
                    <a:lnTo>
                      <a:pt x="8856" y="0"/>
                    </a:lnTo>
                    <a:lnTo>
                      <a:pt x="0" y="2637"/>
                    </a:lnTo>
                    <a:cubicBezTo>
                      <a:pt x="0" y="2637"/>
                      <a:pt x="6544" y="21600"/>
                      <a:pt x="6544" y="21600"/>
                    </a:cubicBezTo>
                    <a:close/>
                  </a:path>
                </a:pathLst>
              </a:custGeom>
              <a:gradFill flip="none" rotWithShape="1">
                <a:gsLst>
                  <a:gs pos="3000">
                    <a:srgbClr val="F50000"/>
                  </a:gs>
                  <a:gs pos="72000">
                    <a:srgbClr val="F50000">
                      <a:lumMod val="50000"/>
                    </a:srgbClr>
                  </a:gs>
                </a:gsLst>
                <a:path path="shape">
                  <a:fillToRect l="40987" t="27262" r="59012" b="72737"/>
                </a:path>
              </a:gra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2" name="Shape 20504">
                <a:extLst>
                  <a:ext uri="{FF2B5EF4-FFF2-40B4-BE49-F238E27FC236}">
                    <a16:creationId xmlns:a16="http://schemas.microsoft.com/office/drawing/2014/main" id="{F545F045-1867-439D-98A8-66391AF0FEFE}"/>
                  </a:ext>
                </a:extLst>
              </p:cNvPr>
              <p:cNvSpPr/>
              <p:nvPr/>
            </p:nvSpPr>
            <p:spPr>
              <a:xfrm>
                <a:off x="3000838" y="5900810"/>
                <a:ext cx="1782313" cy="381557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013"/>
                    </a:lnTo>
                    <a:lnTo>
                      <a:pt x="10800" y="21600"/>
                    </a:lnTo>
                    <a:lnTo>
                      <a:pt x="21600" y="2013"/>
                    </a:lnTo>
                    <a:cubicBezTo>
                      <a:pt x="21600" y="2013"/>
                      <a:pt x="10800" y="0"/>
                      <a:pt x="10800" y="0"/>
                    </a:cubicBezTo>
                    <a:close/>
                  </a:path>
                </a:pathLst>
              </a:custGeom>
              <a:solidFill>
                <a:srgbClr val="000000">
                  <a:alpha val="4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3" name="Shape 20505">
                <a:extLst>
                  <a:ext uri="{FF2B5EF4-FFF2-40B4-BE49-F238E27FC236}">
                    <a16:creationId xmlns:a16="http://schemas.microsoft.com/office/drawing/2014/main" id="{B883E90C-75C9-4BB1-AE47-D856EABBE149}"/>
                  </a:ext>
                </a:extLst>
              </p:cNvPr>
              <p:cNvSpPr/>
              <p:nvPr/>
            </p:nvSpPr>
            <p:spPr>
              <a:xfrm>
                <a:off x="6305" y="5535162"/>
                <a:ext cx="4411546" cy="5911026"/>
              </a:xfrm>
              <a:custGeom>
                <a:avLst/>
                <a:gdLst/>
                <a:ahLst/>
                <a:cxnLst>
                  <a:cxn ang="0">
                    <a:pos x="wd2" y="hd2"/>
                  </a:cxn>
                  <a:cxn ang="5400000">
                    <a:pos x="wd2" y="hd2"/>
                  </a:cxn>
                  <a:cxn ang="10800000">
                    <a:pos x="wd2" y="hd2"/>
                  </a:cxn>
                  <a:cxn ang="16200000">
                    <a:pos x="wd2" y="hd2"/>
                  </a:cxn>
                </a:cxnLst>
                <a:rect l="0" t="0" r="r" b="b"/>
                <a:pathLst>
                  <a:path w="21600" h="21600" extrusionOk="0">
                    <a:moveTo>
                      <a:pt x="21600" y="2637"/>
                    </a:moveTo>
                    <a:lnTo>
                      <a:pt x="12743" y="0"/>
                    </a:lnTo>
                    <a:lnTo>
                      <a:pt x="0" y="17117"/>
                    </a:lnTo>
                    <a:lnTo>
                      <a:pt x="9647" y="15394"/>
                    </a:lnTo>
                    <a:lnTo>
                      <a:pt x="15056" y="21600"/>
                    </a:lnTo>
                    <a:cubicBezTo>
                      <a:pt x="15056" y="21600"/>
                      <a:pt x="21600" y="2637"/>
                      <a:pt x="21600" y="2637"/>
                    </a:cubicBezTo>
                    <a:close/>
                  </a:path>
                </a:pathLst>
              </a:custGeom>
              <a:gradFill flip="none" rotWithShape="1">
                <a:gsLst>
                  <a:gs pos="3000">
                    <a:srgbClr val="F50000">
                      <a:lumMod val="60000"/>
                      <a:lumOff val="40000"/>
                    </a:srgbClr>
                  </a:gs>
                  <a:gs pos="72000">
                    <a:srgbClr val="F50000"/>
                  </a:gs>
                </a:gsLst>
                <a:path path="shape">
                  <a:fillToRect l="66389" t="30249" r="33610" b="69750"/>
                </a:path>
              </a:gra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4" name="Shape 20506">
                <a:extLst>
                  <a:ext uri="{FF2B5EF4-FFF2-40B4-BE49-F238E27FC236}">
                    <a16:creationId xmlns:a16="http://schemas.microsoft.com/office/drawing/2014/main" id="{3BF52442-7BEE-4176-82CB-FE52190CA782}"/>
                  </a:ext>
                </a:extLst>
              </p:cNvPr>
              <p:cNvSpPr/>
              <p:nvPr/>
            </p:nvSpPr>
            <p:spPr>
              <a:xfrm>
                <a:off x="1794436" y="5535105"/>
                <a:ext cx="3829995" cy="1997676"/>
              </a:xfrm>
              <a:custGeom>
                <a:avLst/>
                <a:gdLst/>
                <a:ahLst/>
                <a:cxnLst>
                  <a:cxn ang="0">
                    <a:pos x="wd2" y="hd2"/>
                  </a:cxn>
                  <a:cxn ang="5400000">
                    <a:pos x="wd2" y="hd2"/>
                  </a:cxn>
                  <a:cxn ang="10800000">
                    <a:pos x="wd2" y="hd2"/>
                  </a:cxn>
                  <a:cxn ang="16200000">
                    <a:pos x="wd2" y="hd2"/>
                  </a:cxn>
                </a:cxnLst>
                <a:rect l="0" t="0" r="r" b="b"/>
                <a:pathLst>
                  <a:path w="21600" h="21386" extrusionOk="0">
                    <a:moveTo>
                      <a:pt x="4607" y="0"/>
                    </a:moveTo>
                    <a:lnTo>
                      <a:pt x="0" y="15745"/>
                    </a:lnTo>
                    <a:cubicBezTo>
                      <a:pt x="1415" y="17665"/>
                      <a:pt x="3018" y="19028"/>
                      <a:pt x="4718" y="19741"/>
                    </a:cubicBezTo>
                    <a:cubicBezTo>
                      <a:pt x="4967" y="19846"/>
                      <a:pt x="5219" y="19936"/>
                      <a:pt x="5471" y="20012"/>
                    </a:cubicBezTo>
                    <a:lnTo>
                      <a:pt x="6732" y="19580"/>
                    </a:lnTo>
                    <a:lnTo>
                      <a:pt x="6702" y="20331"/>
                    </a:lnTo>
                    <a:cubicBezTo>
                      <a:pt x="8575" y="21293"/>
                      <a:pt x="10525" y="21600"/>
                      <a:pt x="12456" y="21241"/>
                    </a:cubicBezTo>
                    <a:cubicBezTo>
                      <a:pt x="12573" y="21219"/>
                      <a:pt x="12687" y="21194"/>
                      <a:pt x="12803" y="21168"/>
                    </a:cubicBezTo>
                    <a:lnTo>
                      <a:pt x="13981" y="19822"/>
                    </a:lnTo>
                    <a:lnTo>
                      <a:pt x="14377" y="20768"/>
                    </a:lnTo>
                    <a:cubicBezTo>
                      <a:pt x="16160" y="20273"/>
                      <a:pt x="17901" y="19316"/>
                      <a:pt x="19548" y="17923"/>
                    </a:cubicBezTo>
                    <a:cubicBezTo>
                      <a:pt x="19641" y="17844"/>
                      <a:pt x="19734" y="17762"/>
                      <a:pt x="19827" y="17680"/>
                    </a:cubicBezTo>
                    <a:lnTo>
                      <a:pt x="20851" y="15425"/>
                    </a:lnTo>
                    <a:lnTo>
                      <a:pt x="21279" y="16233"/>
                    </a:lnTo>
                    <a:lnTo>
                      <a:pt x="21600" y="15648"/>
                    </a:lnTo>
                    <a:lnTo>
                      <a:pt x="17019" y="0"/>
                    </a:lnTo>
                    <a:lnTo>
                      <a:pt x="10813" y="4700"/>
                    </a:lnTo>
                    <a:lnTo>
                      <a:pt x="4607" y="0"/>
                    </a:lnTo>
                    <a:close/>
                  </a:path>
                </a:pathLst>
              </a:custGeom>
              <a:solidFill>
                <a:srgbClr val="000000">
                  <a:alpha val="5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5" name="Shape 20507">
                <a:extLst>
                  <a:ext uri="{FF2B5EF4-FFF2-40B4-BE49-F238E27FC236}">
                    <a16:creationId xmlns:a16="http://schemas.microsoft.com/office/drawing/2014/main" id="{2B5C6FC5-6999-4C58-ADA0-5C0FEF603720}"/>
                  </a:ext>
                </a:extLst>
              </p:cNvPr>
              <p:cNvSpPr/>
              <p:nvPr/>
            </p:nvSpPr>
            <p:spPr>
              <a:xfrm>
                <a:off x="3095403" y="0"/>
                <a:ext cx="1258998" cy="1442315"/>
              </a:xfrm>
              <a:custGeom>
                <a:avLst/>
                <a:gdLst/>
                <a:ahLst/>
                <a:cxnLst>
                  <a:cxn ang="0">
                    <a:pos x="wd2" y="hd2"/>
                  </a:cxn>
                  <a:cxn ang="5400000">
                    <a:pos x="wd2" y="hd2"/>
                  </a:cxn>
                  <a:cxn ang="10800000">
                    <a:pos x="wd2" y="hd2"/>
                  </a:cxn>
                  <a:cxn ang="16200000">
                    <a:pos x="wd2" y="hd2"/>
                  </a:cxn>
                </a:cxnLst>
                <a:rect l="0" t="0" r="r" b="b"/>
                <a:pathLst>
                  <a:path w="21600" h="21600" extrusionOk="0">
                    <a:moveTo>
                      <a:pt x="10573" y="0"/>
                    </a:moveTo>
                    <a:cubicBezTo>
                      <a:pt x="9054" y="0"/>
                      <a:pt x="7548" y="49"/>
                      <a:pt x="6056" y="141"/>
                    </a:cubicBezTo>
                    <a:lnTo>
                      <a:pt x="0" y="2620"/>
                    </a:lnTo>
                    <a:lnTo>
                      <a:pt x="5250" y="21115"/>
                    </a:lnTo>
                    <a:cubicBezTo>
                      <a:pt x="6992" y="20912"/>
                      <a:pt x="8768" y="20805"/>
                      <a:pt x="10573" y="20805"/>
                    </a:cubicBezTo>
                    <a:cubicBezTo>
                      <a:pt x="13488" y="20805"/>
                      <a:pt x="16328" y="21081"/>
                      <a:pt x="19064" y="21600"/>
                    </a:cubicBezTo>
                    <a:lnTo>
                      <a:pt x="21600" y="833"/>
                    </a:lnTo>
                    <a:cubicBezTo>
                      <a:pt x="18018" y="287"/>
                      <a:pt x="14334" y="0"/>
                      <a:pt x="10573" y="0"/>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6" name="Shape 20508">
                <a:extLst>
                  <a:ext uri="{FF2B5EF4-FFF2-40B4-BE49-F238E27FC236}">
                    <a16:creationId xmlns:a16="http://schemas.microsoft.com/office/drawing/2014/main" id="{A87AC9F1-6237-4920-8CDA-08C11836E75B}"/>
                  </a:ext>
                </a:extLst>
              </p:cNvPr>
              <p:cNvSpPr/>
              <p:nvPr/>
            </p:nvSpPr>
            <p:spPr>
              <a:xfrm>
                <a:off x="4015829" y="5762115"/>
                <a:ext cx="1474914" cy="1598186"/>
              </a:xfrm>
              <a:custGeom>
                <a:avLst/>
                <a:gdLst/>
                <a:ahLst/>
                <a:cxnLst>
                  <a:cxn ang="0">
                    <a:pos x="wd2" y="hd2"/>
                  </a:cxn>
                  <a:cxn ang="5400000">
                    <a:pos x="wd2" y="hd2"/>
                  </a:cxn>
                  <a:cxn ang="10800000">
                    <a:pos x="wd2" y="hd2"/>
                  </a:cxn>
                  <a:cxn ang="16200000">
                    <a:pos x="wd2" y="hd2"/>
                  </a:cxn>
                </a:cxnLst>
                <a:rect l="0" t="0" r="r" b="b"/>
                <a:pathLst>
                  <a:path w="21600" h="21600" extrusionOk="0">
                    <a:moveTo>
                      <a:pt x="21561" y="14166"/>
                    </a:moveTo>
                    <a:lnTo>
                      <a:pt x="21600" y="14204"/>
                    </a:lnTo>
                    <a:lnTo>
                      <a:pt x="11251" y="0"/>
                    </a:lnTo>
                    <a:cubicBezTo>
                      <a:pt x="7807" y="1669"/>
                      <a:pt x="4014" y="2809"/>
                      <a:pt x="0" y="3302"/>
                    </a:cubicBezTo>
                    <a:lnTo>
                      <a:pt x="4869" y="21439"/>
                    </a:lnTo>
                    <a:lnTo>
                      <a:pt x="4869" y="21439"/>
                    </a:lnTo>
                    <a:lnTo>
                      <a:pt x="4913" y="21600"/>
                    </a:lnTo>
                    <a:cubicBezTo>
                      <a:pt x="9301" y="20891"/>
                      <a:pt x="13509" y="19695"/>
                      <a:pt x="17467" y="18076"/>
                    </a:cubicBezTo>
                    <a:lnTo>
                      <a:pt x="17318" y="18099"/>
                    </a:lnTo>
                    <a:cubicBezTo>
                      <a:pt x="17318" y="18099"/>
                      <a:pt x="21561" y="14166"/>
                      <a:pt x="21561" y="14166"/>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7" name="Shape 20509">
                <a:extLst>
                  <a:ext uri="{FF2B5EF4-FFF2-40B4-BE49-F238E27FC236}">
                    <a16:creationId xmlns:a16="http://schemas.microsoft.com/office/drawing/2014/main" id="{9D950CD2-45C8-4DC0-8DC6-CED58C74B532}"/>
                  </a:ext>
                </a:extLst>
              </p:cNvPr>
              <p:cNvSpPr/>
              <p:nvPr/>
            </p:nvSpPr>
            <p:spPr>
              <a:xfrm>
                <a:off x="958250" y="498038"/>
                <a:ext cx="1670491" cy="1649972"/>
              </a:xfrm>
              <a:custGeom>
                <a:avLst/>
                <a:gdLst/>
                <a:ahLst/>
                <a:cxnLst>
                  <a:cxn ang="0">
                    <a:pos x="wd2" y="hd2"/>
                  </a:cxn>
                  <a:cxn ang="5400000">
                    <a:pos x="wd2" y="hd2"/>
                  </a:cxn>
                  <a:cxn ang="10800000">
                    <a:pos x="wd2" y="hd2"/>
                  </a:cxn>
                  <a:cxn ang="16200000">
                    <a:pos x="wd2" y="hd2"/>
                  </a:cxn>
                </a:cxnLst>
                <a:rect l="0" t="0" r="r" b="b"/>
                <a:pathLst>
                  <a:path w="21600" h="21600" extrusionOk="0">
                    <a:moveTo>
                      <a:pt x="11538" y="0"/>
                    </a:moveTo>
                    <a:cubicBezTo>
                      <a:pt x="8069" y="2034"/>
                      <a:pt x="4877" y="4498"/>
                      <a:pt x="2029" y="7316"/>
                    </a:cubicBezTo>
                    <a:lnTo>
                      <a:pt x="0" y="11745"/>
                    </a:lnTo>
                    <a:lnTo>
                      <a:pt x="13357" y="21600"/>
                    </a:lnTo>
                    <a:cubicBezTo>
                      <a:pt x="15703" y="18994"/>
                      <a:pt x="18491" y="16805"/>
                      <a:pt x="21600" y="15150"/>
                    </a:cubicBezTo>
                    <a:cubicBezTo>
                      <a:pt x="21600" y="15150"/>
                      <a:pt x="11538" y="0"/>
                      <a:pt x="11538" y="0"/>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8" name="Shape 20510">
                <a:extLst>
                  <a:ext uri="{FF2B5EF4-FFF2-40B4-BE49-F238E27FC236}">
                    <a16:creationId xmlns:a16="http://schemas.microsoft.com/office/drawing/2014/main" id="{AE28B32D-99EB-484F-A779-3FEA1F6F7B2F}"/>
                  </a:ext>
                </a:extLst>
              </p:cNvPr>
              <p:cNvSpPr/>
              <p:nvPr/>
            </p:nvSpPr>
            <p:spPr>
              <a:xfrm>
                <a:off x="5421683" y="4589518"/>
                <a:ext cx="1649279" cy="1502212"/>
              </a:xfrm>
              <a:custGeom>
                <a:avLst/>
                <a:gdLst/>
                <a:ahLst/>
                <a:cxnLst>
                  <a:cxn ang="0">
                    <a:pos x="wd2" y="hd2"/>
                  </a:cxn>
                  <a:cxn ang="5400000">
                    <a:pos x="wd2" y="hd2"/>
                  </a:cxn>
                  <a:cxn ang="10800000">
                    <a:pos x="wd2" y="hd2"/>
                  </a:cxn>
                  <a:cxn ang="16200000">
                    <a:pos x="wd2" y="hd2"/>
                  </a:cxn>
                </a:cxnLst>
                <a:rect l="0" t="0" r="r" b="b"/>
                <a:pathLst>
                  <a:path w="21600" h="21600" extrusionOk="0">
                    <a:moveTo>
                      <a:pt x="5653" y="0"/>
                    </a:moveTo>
                    <a:cubicBezTo>
                      <a:pt x="4294" y="3629"/>
                      <a:pt x="2370" y="6938"/>
                      <a:pt x="0" y="9792"/>
                    </a:cubicBezTo>
                    <a:lnTo>
                      <a:pt x="14757" y="21600"/>
                    </a:lnTo>
                    <a:cubicBezTo>
                      <a:pt x="17261" y="18327"/>
                      <a:pt x="19412" y="14719"/>
                      <a:pt x="21149" y="10847"/>
                    </a:cubicBezTo>
                    <a:lnTo>
                      <a:pt x="21600" y="5048"/>
                    </a:lnTo>
                    <a:cubicBezTo>
                      <a:pt x="21600" y="5048"/>
                      <a:pt x="5653" y="0"/>
                      <a:pt x="5653" y="0"/>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9" name="Shape 20511">
                <a:extLst>
                  <a:ext uri="{FF2B5EF4-FFF2-40B4-BE49-F238E27FC236}">
                    <a16:creationId xmlns:a16="http://schemas.microsoft.com/office/drawing/2014/main" id="{BEC043CE-B0FF-419D-9BD5-F08A5D8D2B5B}"/>
                  </a:ext>
                </a:extLst>
              </p:cNvPr>
              <p:cNvSpPr/>
              <p:nvPr/>
            </p:nvSpPr>
            <p:spPr>
              <a:xfrm>
                <a:off x="18912" y="2439758"/>
                <a:ext cx="1544956" cy="1261018"/>
              </a:xfrm>
              <a:custGeom>
                <a:avLst/>
                <a:gdLst/>
                <a:ahLst/>
                <a:cxnLst>
                  <a:cxn ang="0">
                    <a:pos x="wd2" y="hd2"/>
                  </a:cxn>
                  <a:cxn ang="5400000">
                    <a:pos x="wd2" y="hd2"/>
                  </a:cxn>
                  <a:cxn ang="10800000">
                    <a:pos x="wd2" y="hd2"/>
                  </a:cxn>
                  <a:cxn ang="16200000">
                    <a:pos x="wd2" y="hd2"/>
                  </a:cxn>
                </a:cxnLst>
                <a:rect l="0" t="0" r="r" b="b"/>
                <a:pathLst>
                  <a:path w="21600" h="21600" extrusionOk="0">
                    <a:moveTo>
                      <a:pt x="21600" y="6620"/>
                    </a:moveTo>
                    <a:lnTo>
                      <a:pt x="3016" y="55"/>
                    </a:lnTo>
                    <a:lnTo>
                      <a:pt x="3015" y="54"/>
                    </a:lnTo>
                    <a:lnTo>
                      <a:pt x="2862" y="0"/>
                    </a:lnTo>
                    <a:cubicBezTo>
                      <a:pt x="1404" y="4907"/>
                      <a:pt x="429" y="10097"/>
                      <a:pt x="0" y="15483"/>
                    </a:cubicBezTo>
                    <a:lnTo>
                      <a:pt x="1349" y="21600"/>
                    </a:lnTo>
                    <a:lnTo>
                      <a:pt x="19201" y="20103"/>
                    </a:lnTo>
                    <a:cubicBezTo>
                      <a:pt x="19357" y="15345"/>
                      <a:pt x="20196" y="10804"/>
                      <a:pt x="21600" y="6620"/>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0" name="Shape 20512">
                <a:extLst>
                  <a:ext uri="{FF2B5EF4-FFF2-40B4-BE49-F238E27FC236}">
                    <a16:creationId xmlns:a16="http://schemas.microsoft.com/office/drawing/2014/main" id="{C3D92815-10E5-4340-8154-DA7BBC05813C}"/>
                  </a:ext>
                </a:extLst>
              </p:cNvPr>
              <p:cNvSpPr/>
              <p:nvPr/>
            </p:nvSpPr>
            <p:spPr>
              <a:xfrm>
                <a:off x="5919723" y="2490192"/>
                <a:ext cx="1498396" cy="1313761"/>
              </a:xfrm>
              <a:custGeom>
                <a:avLst/>
                <a:gdLst/>
                <a:ahLst/>
                <a:cxnLst>
                  <a:cxn ang="0">
                    <a:pos x="wd2" y="hd2"/>
                  </a:cxn>
                  <a:cxn ang="5400000">
                    <a:pos x="wd2" y="hd2"/>
                  </a:cxn>
                  <a:cxn ang="10800000">
                    <a:pos x="wd2" y="hd2"/>
                  </a:cxn>
                  <a:cxn ang="16200000">
                    <a:pos x="wd2" y="hd2"/>
                  </a:cxn>
                </a:cxnLst>
                <a:rect l="0" t="0" r="r" b="b"/>
                <a:pathLst>
                  <a:path w="21600" h="21600" extrusionOk="0">
                    <a:moveTo>
                      <a:pt x="21600" y="20034"/>
                    </a:moveTo>
                    <a:cubicBezTo>
                      <a:pt x="21599" y="14976"/>
                      <a:pt x="21056" y="10063"/>
                      <a:pt x="20037" y="5364"/>
                    </a:cubicBezTo>
                    <a:lnTo>
                      <a:pt x="16729" y="0"/>
                    </a:lnTo>
                    <a:lnTo>
                      <a:pt x="0" y="8462"/>
                    </a:lnTo>
                    <a:cubicBezTo>
                      <a:pt x="1021" y="12117"/>
                      <a:pt x="1574" y="16011"/>
                      <a:pt x="1574" y="20052"/>
                    </a:cubicBezTo>
                    <a:cubicBezTo>
                      <a:pt x="1574" y="20571"/>
                      <a:pt x="1562" y="21086"/>
                      <a:pt x="1544" y="21600"/>
                    </a:cubicBezTo>
                    <a:cubicBezTo>
                      <a:pt x="1544" y="21600"/>
                      <a:pt x="21600" y="20034"/>
                      <a:pt x="21600" y="20034"/>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1" name="Shape 20513">
                <a:extLst>
                  <a:ext uri="{FF2B5EF4-FFF2-40B4-BE49-F238E27FC236}">
                    <a16:creationId xmlns:a16="http://schemas.microsoft.com/office/drawing/2014/main" id="{A55AEAFA-12E9-498D-8DB5-21ECBEAB8A3D}"/>
                  </a:ext>
                </a:extLst>
              </p:cNvPr>
              <p:cNvSpPr/>
              <p:nvPr/>
            </p:nvSpPr>
            <p:spPr>
              <a:xfrm>
                <a:off x="220648" y="4412998"/>
                <a:ext cx="1649541" cy="1598811"/>
              </a:xfrm>
              <a:custGeom>
                <a:avLst/>
                <a:gdLst/>
                <a:ahLst/>
                <a:cxnLst>
                  <a:cxn ang="0">
                    <a:pos x="wd2" y="hd2"/>
                  </a:cxn>
                  <a:cxn ang="5400000">
                    <a:pos x="wd2" y="hd2"/>
                  </a:cxn>
                  <a:cxn ang="10800000">
                    <a:pos x="wd2" y="hd2"/>
                  </a:cxn>
                  <a:cxn ang="16200000">
                    <a:pos x="wd2" y="hd2"/>
                  </a:cxn>
                </a:cxnLst>
                <a:rect l="0" t="0" r="r" b="b"/>
                <a:pathLst>
                  <a:path w="21600" h="21600" extrusionOk="0">
                    <a:moveTo>
                      <a:pt x="21600" y="9639"/>
                    </a:moveTo>
                    <a:cubicBezTo>
                      <a:pt x="19457" y="6778"/>
                      <a:pt x="17783" y="3524"/>
                      <a:pt x="16697" y="0"/>
                    </a:cubicBezTo>
                    <a:lnTo>
                      <a:pt x="141" y="7575"/>
                    </a:lnTo>
                    <a:lnTo>
                      <a:pt x="140" y="7576"/>
                    </a:lnTo>
                    <a:lnTo>
                      <a:pt x="0" y="7639"/>
                    </a:lnTo>
                    <a:cubicBezTo>
                      <a:pt x="1388" y="11571"/>
                      <a:pt x="3242" y="15271"/>
                      <a:pt x="5488" y="18672"/>
                    </a:cubicBezTo>
                    <a:lnTo>
                      <a:pt x="9560" y="21600"/>
                    </a:lnTo>
                    <a:cubicBezTo>
                      <a:pt x="9560" y="21600"/>
                      <a:pt x="21600" y="9639"/>
                      <a:pt x="21600" y="9639"/>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2" name="Shape 20514">
                <a:extLst>
                  <a:ext uri="{FF2B5EF4-FFF2-40B4-BE49-F238E27FC236}">
                    <a16:creationId xmlns:a16="http://schemas.microsoft.com/office/drawing/2014/main" id="{45D76380-B60C-4616-8C66-D7A08AEC5F95}"/>
                  </a:ext>
                </a:extLst>
              </p:cNvPr>
              <p:cNvSpPr/>
              <p:nvPr/>
            </p:nvSpPr>
            <p:spPr>
              <a:xfrm>
                <a:off x="4948863" y="605211"/>
                <a:ext cx="1600199" cy="1684562"/>
              </a:xfrm>
              <a:custGeom>
                <a:avLst/>
                <a:gdLst/>
                <a:ahLst/>
                <a:cxnLst>
                  <a:cxn ang="0">
                    <a:pos x="wd2" y="hd2"/>
                  </a:cxn>
                  <a:cxn ang="5400000">
                    <a:pos x="wd2" y="hd2"/>
                  </a:cxn>
                  <a:cxn ang="10800000">
                    <a:pos x="wd2" y="hd2"/>
                  </a:cxn>
                  <a:cxn ang="16200000">
                    <a:pos x="wd2" y="hd2"/>
                  </a:cxn>
                </a:cxnLst>
                <a:rect l="0" t="0" r="r" b="b"/>
                <a:pathLst>
                  <a:path w="21600" h="21600" extrusionOk="0">
                    <a:moveTo>
                      <a:pt x="12668" y="1293"/>
                    </a:moveTo>
                    <a:lnTo>
                      <a:pt x="7545" y="0"/>
                    </a:lnTo>
                    <a:lnTo>
                      <a:pt x="0" y="14641"/>
                    </a:lnTo>
                    <a:cubicBezTo>
                      <a:pt x="3089" y="16501"/>
                      <a:pt x="5812" y="18861"/>
                      <a:pt x="8043" y="21600"/>
                    </a:cubicBezTo>
                    <a:lnTo>
                      <a:pt x="21600" y="9200"/>
                    </a:lnTo>
                    <a:cubicBezTo>
                      <a:pt x="18974" y="6233"/>
                      <a:pt x="15974" y="3576"/>
                      <a:pt x="12668" y="1293"/>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3" name="Shape 20515">
                <a:extLst>
                  <a:ext uri="{FF2B5EF4-FFF2-40B4-BE49-F238E27FC236}">
                    <a16:creationId xmlns:a16="http://schemas.microsoft.com/office/drawing/2014/main" id="{95B56A4B-9B44-4763-BBD6-AE186040A576}"/>
                  </a:ext>
                </a:extLst>
              </p:cNvPr>
              <p:cNvSpPr/>
              <p:nvPr/>
            </p:nvSpPr>
            <p:spPr>
              <a:xfrm>
                <a:off x="1853458" y="5667551"/>
                <a:ext cx="1358658" cy="1604503"/>
              </a:xfrm>
              <a:custGeom>
                <a:avLst/>
                <a:gdLst/>
                <a:ahLst/>
                <a:cxnLst>
                  <a:cxn ang="0">
                    <a:pos x="wd2" y="hd2"/>
                  </a:cxn>
                  <a:cxn ang="5400000">
                    <a:pos x="wd2" y="hd2"/>
                  </a:cxn>
                  <a:cxn ang="10800000">
                    <a:pos x="wd2" y="hd2"/>
                  </a:cxn>
                  <a:cxn ang="16200000">
                    <a:pos x="wd2" y="hd2"/>
                  </a:cxn>
                </a:cxnLst>
                <a:rect l="0" t="0" r="r" b="b"/>
                <a:pathLst>
                  <a:path w="21600" h="21600" extrusionOk="0">
                    <a:moveTo>
                      <a:pt x="19448" y="21225"/>
                    </a:moveTo>
                    <a:lnTo>
                      <a:pt x="21600" y="4128"/>
                    </a:lnTo>
                    <a:cubicBezTo>
                      <a:pt x="17326" y="3339"/>
                      <a:pt x="13329" y="1924"/>
                      <a:pt x="9750" y="0"/>
                    </a:cubicBezTo>
                    <a:lnTo>
                      <a:pt x="83" y="16721"/>
                    </a:lnTo>
                    <a:lnTo>
                      <a:pt x="82" y="16722"/>
                    </a:lnTo>
                    <a:lnTo>
                      <a:pt x="0" y="16864"/>
                    </a:lnTo>
                    <a:cubicBezTo>
                      <a:pt x="4093" y="18870"/>
                      <a:pt x="8499" y="20469"/>
                      <a:pt x="13138" y="21600"/>
                    </a:cubicBezTo>
                    <a:lnTo>
                      <a:pt x="19440" y="21122"/>
                    </a:lnTo>
                    <a:cubicBezTo>
                      <a:pt x="19440" y="21122"/>
                      <a:pt x="19448" y="21225"/>
                      <a:pt x="19448" y="21225"/>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4" name="Shape 20516">
                <a:extLst>
                  <a:ext uri="{FF2B5EF4-FFF2-40B4-BE49-F238E27FC236}">
                    <a16:creationId xmlns:a16="http://schemas.microsoft.com/office/drawing/2014/main" id="{22C43275-0F57-4FB9-AD92-D77EC9E2E7A8}"/>
                  </a:ext>
                </a:extLst>
              </p:cNvPr>
              <p:cNvSpPr/>
              <p:nvPr/>
            </p:nvSpPr>
            <p:spPr>
              <a:xfrm>
                <a:off x="3063882" y="5976462"/>
                <a:ext cx="1259882" cy="1442636"/>
              </a:xfrm>
              <a:custGeom>
                <a:avLst/>
                <a:gdLst/>
                <a:ahLst/>
                <a:cxnLst>
                  <a:cxn ang="0">
                    <a:pos x="wd2" y="hd2"/>
                  </a:cxn>
                  <a:cxn ang="5400000">
                    <a:pos x="wd2" y="hd2"/>
                  </a:cxn>
                  <a:cxn ang="10800000">
                    <a:pos x="wd2" y="hd2"/>
                  </a:cxn>
                  <a:cxn ang="16200000">
                    <a:pos x="wd2" y="hd2"/>
                  </a:cxn>
                </a:cxnLst>
                <a:rect l="0" t="0" r="r" b="b"/>
                <a:pathLst>
                  <a:path w="21600" h="21600" extrusionOk="0">
                    <a:moveTo>
                      <a:pt x="21600" y="19024"/>
                    </a:moveTo>
                    <a:lnTo>
                      <a:pt x="16343" y="492"/>
                    </a:lnTo>
                    <a:cubicBezTo>
                      <a:pt x="14609" y="694"/>
                      <a:pt x="12842" y="800"/>
                      <a:pt x="11045" y="800"/>
                    </a:cubicBezTo>
                    <a:cubicBezTo>
                      <a:pt x="8124" y="800"/>
                      <a:pt x="5277" y="522"/>
                      <a:pt x="2535" y="0"/>
                    </a:cubicBezTo>
                    <a:lnTo>
                      <a:pt x="23" y="20584"/>
                    </a:lnTo>
                    <a:lnTo>
                      <a:pt x="21" y="20589"/>
                    </a:lnTo>
                    <a:lnTo>
                      <a:pt x="0" y="20763"/>
                    </a:lnTo>
                    <a:cubicBezTo>
                      <a:pt x="3588" y="21312"/>
                      <a:pt x="7278" y="21600"/>
                      <a:pt x="11045" y="21600"/>
                    </a:cubicBezTo>
                    <a:cubicBezTo>
                      <a:pt x="12454" y="21600"/>
                      <a:pt x="13851" y="21560"/>
                      <a:pt x="15236" y="21481"/>
                    </a:cubicBezTo>
                    <a:lnTo>
                      <a:pt x="21538" y="18900"/>
                    </a:lnTo>
                    <a:cubicBezTo>
                      <a:pt x="21538" y="18900"/>
                      <a:pt x="21600" y="19024"/>
                      <a:pt x="21600" y="19024"/>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5" name="Shape 20517">
                <a:extLst>
                  <a:ext uri="{FF2B5EF4-FFF2-40B4-BE49-F238E27FC236}">
                    <a16:creationId xmlns:a16="http://schemas.microsoft.com/office/drawing/2014/main" id="{EEAA0D03-96FB-4744-A2B7-F8FC1C8DC57C}"/>
                  </a:ext>
                </a:extLst>
              </p:cNvPr>
              <p:cNvSpPr/>
              <p:nvPr/>
            </p:nvSpPr>
            <p:spPr>
              <a:xfrm>
                <a:off x="1916503" y="56738"/>
                <a:ext cx="1479448" cy="1598393"/>
              </a:xfrm>
              <a:custGeom>
                <a:avLst/>
                <a:gdLst/>
                <a:ahLst/>
                <a:cxnLst>
                  <a:cxn ang="0">
                    <a:pos x="wd2" y="hd2"/>
                  </a:cxn>
                  <a:cxn ang="5400000">
                    <a:pos x="wd2" y="hd2"/>
                  </a:cxn>
                  <a:cxn ang="10800000">
                    <a:pos x="wd2" y="hd2"/>
                  </a:cxn>
                  <a:cxn ang="16200000">
                    <a:pos x="wd2" y="hd2"/>
                  </a:cxn>
                </a:cxnLst>
                <a:rect l="0" t="0" r="r" b="b"/>
                <a:pathLst>
                  <a:path w="21600" h="21600" extrusionOk="0">
                    <a:moveTo>
                      <a:pt x="21600" y="18295"/>
                    </a:moveTo>
                    <a:lnTo>
                      <a:pt x="16702" y="0"/>
                    </a:lnTo>
                    <a:cubicBezTo>
                      <a:pt x="12237" y="726"/>
                      <a:pt x="7960" y="1960"/>
                      <a:pt x="3943" y="3631"/>
                    </a:cubicBezTo>
                    <a:lnTo>
                      <a:pt x="0" y="7297"/>
                    </a:lnTo>
                    <a:lnTo>
                      <a:pt x="10390" y="21600"/>
                    </a:lnTo>
                    <a:cubicBezTo>
                      <a:pt x="13822" y="19930"/>
                      <a:pt x="17600" y="18790"/>
                      <a:pt x="21600" y="18295"/>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6" name="Shape 20518">
                <a:extLst>
                  <a:ext uri="{FF2B5EF4-FFF2-40B4-BE49-F238E27FC236}">
                    <a16:creationId xmlns:a16="http://schemas.microsoft.com/office/drawing/2014/main" id="{76785821-FEF8-4DA9-871B-86667DC91584}"/>
                  </a:ext>
                </a:extLst>
              </p:cNvPr>
              <p:cNvSpPr/>
              <p:nvPr/>
            </p:nvSpPr>
            <p:spPr>
              <a:xfrm>
                <a:off x="4784951" y="5270381"/>
                <a:ext cx="1661260" cy="1650136"/>
              </a:xfrm>
              <a:custGeom>
                <a:avLst/>
                <a:gdLst/>
                <a:ahLst/>
                <a:cxnLst>
                  <a:cxn ang="0">
                    <a:pos x="wd2" y="hd2"/>
                  </a:cxn>
                  <a:cxn ang="5400000">
                    <a:pos x="wd2" y="hd2"/>
                  </a:cxn>
                  <a:cxn ang="10800000">
                    <a:pos x="wd2" y="hd2"/>
                  </a:cxn>
                  <a:cxn ang="16200000">
                    <a:pos x="wd2" y="hd2"/>
                  </a:cxn>
                </a:cxnLst>
                <a:rect l="0" t="0" r="r" b="b"/>
                <a:pathLst>
                  <a:path w="21600" h="21600" extrusionOk="0">
                    <a:moveTo>
                      <a:pt x="8296" y="0"/>
                    </a:moveTo>
                    <a:cubicBezTo>
                      <a:pt x="5935" y="2607"/>
                      <a:pt x="3129" y="4796"/>
                      <a:pt x="0" y="6451"/>
                    </a:cubicBezTo>
                    <a:lnTo>
                      <a:pt x="10027" y="21464"/>
                    </a:lnTo>
                    <a:lnTo>
                      <a:pt x="10118" y="21600"/>
                    </a:lnTo>
                    <a:cubicBezTo>
                      <a:pt x="13483" y="19640"/>
                      <a:pt x="16590" y="17281"/>
                      <a:pt x="19377" y="14589"/>
                    </a:cubicBezTo>
                    <a:lnTo>
                      <a:pt x="21600" y="9761"/>
                    </a:lnTo>
                    <a:cubicBezTo>
                      <a:pt x="21600" y="9761"/>
                      <a:pt x="8296" y="0"/>
                      <a:pt x="8296" y="0"/>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7" name="Shape 20519">
                <a:extLst>
                  <a:ext uri="{FF2B5EF4-FFF2-40B4-BE49-F238E27FC236}">
                    <a16:creationId xmlns:a16="http://schemas.microsoft.com/office/drawing/2014/main" id="{CEAF9761-B3A0-40FD-B5A5-1421919AF4C6}"/>
                  </a:ext>
                </a:extLst>
              </p:cNvPr>
              <p:cNvSpPr/>
              <p:nvPr/>
            </p:nvSpPr>
            <p:spPr>
              <a:xfrm>
                <a:off x="334126" y="1323899"/>
                <a:ext cx="1660389" cy="1501778"/>
              </a:xfrm>
              <a:custGeom>
                <a:avLst/>
                <a:gdLst/>
                <a:ahLst/>
                <a:cxnLst>
                  <a:cxn ang="0">
                    <a:pos x="wd2" y="hd2"/>
                  </a:cxn>
                  <a:cxn ang="5400000">
                    <a:pos x="wd2" y="hd2"/>
                  </a:cxn>
                  <a:cxn ang="10800000">
                    <a:pos x="wd2" y="hd2"/>
                  </a:cxn>
                  <a:cxn ang="16200000">
                    <a:pos x="wd2" y="hd2"/>
                  </a:cxn>
                </a:cxnLst>
                <a:rect l="0" t="0" r="r" b="b"/>
                <a:pathLst>
                  <a:path w="21600" h="21600" extrusionOk="0">
                    <a:moveTo>
                      <a:pt x="21600" y="11811"/>
                    </a:moveTo>
                    <a:lnTo>
                      <a:pt x="7052" y="89"/>
                    </a:lnTo>
                    <a:lnTo>
                      <a:pt x="7051" y="88"/>
                    </a:lnTo>
                    <a:lnTo>
                      <a:pt x="6942" y="0"/>
                    </a:lnTo>
                    <a:cubicBezTo>
                      <a:pt x="4366" y="3392"/>
                      <a:pt x="2167" y="7144"/>
                      <a:pt x="411" y="11176"/>
                    </a:cubicBezTo>
                    <a:lnTo>
                      <a:pt x="0" y="16503"/>
                    </a:lnTo>
                    <a:lnTo>
                      <a:pt x="15989" y="21600"/>
                    </a:lnTo>
                    <a:cubicBezTo>
                      <a:pt x="17339" y="17972"/>
                      <a:pt x="19248" y="14665"/>
                      <a:pt x="21600" y="11811"/>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8" name="Shape 20520">
                <a:extLst>
                  <a:ext uri="{FF2B5EF4-FFF2-40B4-BE49-F238E27FC236}">
                    <a16:creationId xmlns:a16="http://schemas.microsoft.com/office/drawing/2014/main" id="{5824AE0E-DB55-4777-8592-E14323948E58}"/>
                  </a:ext>
                </a:extLst>
              </p:cNvPr>
              <p:cNvSpPr/>
              <p:nvPr/>
            </p:nvSpPr>
            <p:spPr>
              <a:xfrm>
                <a:off x="5856679" y="3713223"/>
                <a:ext cx="1542089" cy="1260821"/>
              </a:xfrm>
              <a:custGeom>
                <a:avLst/>
                <a:gdLst/>
                <a:ahLst/>
                <a:cxnLst>
                  <a:cxn ang="0">
                    <a:pos x="wd2" y="hd2"/>
                  </a:cxn>
                  <a:cxn ang="5400000">
                    <a:pos x="wd2" y="hd2"/>
                  </a:cxn>
                  <a:cxn ang="10800000">
                    <a:pos x="wd2" y="hd2"/>
                  </a:cxn>
                  <a:cxn ang="16200000">
                    <a:pos x="wd2" y="hd2"/>
                  </a:cxn>
                </a:cxnLst>
                <a:rect l="0" t="0" r="r" b="b"/>
                <a:pathLst>
                  <a:path w="21600" h="21600" extrusionOk="0">
                    <a:moveTo>
                      <a:pt x="2403" y="1485"/>
                    </a:moveTo>
                    <a:cubicBezTo>
                      <a:pt x="2248" y="6247"/>
                      <a:pt x="1408" y="10792"/>
                      <a:pt x="0" y="14980"/>
                    </a:cubicBezTo>
                    <a:lnTo>
                      <a:pt x="18773" y="21600"/>
                    </a:lnTo>
                    <a:cubicBezTo>
                      <a:pt x="20189" y="16840"/>
                      <a:pt x="21151" y="11814"/>
                      <a:pt x="21600" y="6602"/>
                    </a:cubicBezTo>
                    <a:lnTo>
                      <a:pt x="20141" y="0"/>
                    </a:lnTo>
                    <a:cubicBezTo>
                      <a:pt x="20141" y="0"/>
                      <a:pt x="2403" y="1485"/>
                      <a:pt x="2403" y="1485"/>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9" name="Shape 20521">
                <a:extLst>
                  <a:ext uri="{FF2B5EF4-FFF2-40B4-BE49-F238E27FC236}">
                    <a16:creationId xmlns:a16="http://schemas.microsoft.com/office/drawing/2014/main" id="{286343B0-2E09-4721-ACE8-14EABC4EFE8D}"/>
                  </a:ext>
                </a:extLst>
              </p:cNvPr>
              <p:cNvSpPr/>
              <p:nvPr/>
            </p:nvSpPr>
            <p:spPr>
              <a:xfrm>
                <a:off x="0" y="3612355"/>
                <a:ext cx="1498040" cy="1316842"/>
              </a:xfrm>
              <a:custGeom>
                <a:avLst/>
                <a:gdLst/>
                <a:ahLst/>
                <a:cxnLst>
                  <a:cxn ang="0">
                    <a:pos x="wd2" y="hd2"/>
                  </a:cxn>
                  <a:cxn ang="5400000">
                    <a:pos x="wd2" y="hd2"/>
                  </a:cxn>
                  <a:cxn ang="10800000">
                    <a:pos x="wd2" y="hd2"/>
                  </a:cxn>
                  <a:cxn ang="16200000">
                    <a:pos x="wd2" y="hd2"/>
                  </a:cxn>
                </a:cxnLst>
                <a:rect l="0" t="0" r="r" b="b"/>
                <a:pathLst>
                  <a:path w="21600" h="21600" extrusionOk="0">
                    <a:moveTo>
                      <a:pt x="21600" y="13101"/>
                    </a:moveTo>
                    <a:cubicBezTo>
                      <a:pt x="20582" y="9459"/>
                      <a:pt x="20031" y="5580"/>
                      <a:pt x="20031" y="1555"/>
                    </a:cubicBezTo>
                    <a:cubicBezTo>
                      <a:pt x="20031" y="1034"/>
                      <a:pt x="20043" y="516"/>
                      <a:pt x="20061" y="0"/>
                    </a:cubicBezTo>
                    <a:lnTo>
                      <a:pt x="153" y="1550"/>
                    </a:lnTo>
                    <a:lnTo>
                      <a:pt x="152" y="1550"/>
                    </a:lnTo>
                    <a:lnTo>
                      <a:pt x="0" y="1562"/>
                    </a:lnTo>
                    <a:cubicBezTo>
                      <a:pt x="0" y="6743"/>
                      <a:pt x="573" y="11772"/>
                      <a:pt x="1646" y="16574"/>
                    </a:cubicBezTo>
                    <a:lnTo>
                      <a:pt x="4753" y="21600"/>
                    </a:lnTo>
                    <a:cubicBezTo>
                      <a:pt x="4753" y="21600"/>
                      <a:pt x="21600" y="13101"/>
                      <a:pt x="21600" y="13101"/>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0" name="Shape 20522">
                <a:extLst>
                  <a:ext uri="{FF2B5EF4-FFF2-40B4-BE49-F238E27FC236}">
                    <a16:creationId xmlns:a16="http://schemas.microsoft.com/office/drawing/2014/main" id="{A4EA30DE-9158-40AE-B2DC-0DC6E6F46211}"/>
                  </a:ext>
                </a:extLst>
              </p:cNvPr>
              <p:cNvSpPr/>
              <p:nvPr/>
            </p:nvSpPr>
            <p:spPr>
              <a:xfrm>
                <a:off x="5547771" y="1412159"/>
                <a:ext cx="1650000" cy="1593689"/>
              </a:xfrm>
              <a:custGeom>
                <a:avLst/>
                <a:gdLst/>
                <a:ahLst/>
                <a:cxnLst>
                  <a:cxn ang="0">
                    <a:pos x="wd2" y="hd2"/>
                  </a:cxn>
                  <a:cxn ang="5400000">
                    <a:pos x="wd2" y="hd2"/>
                  </a:cxn>
                  <a:cxn ang="10800000">
                    <a:pos x="wd2" y="hd2"/>
                  </a:cxn>
                  <a:cxn ang="16200000">
                    <a:pos x="wd2" y="hd2"/>
                  </a:cxn>
                </a:cxnLst>
                <a:rect l="0" t="0" r="r" b="b"/>
                <a:pathLst>
                  <a:path w="21600" h="21600" extrusionOk="0">
                    <a:moveTo>
                      <a:pt x="16263" y="3101"/>
                    </a:moveTo>
                    <a:lnTo>
                      <a:pt x="11966" y="0"/>
                    </a:lnTo>
                    <a:lnTo>
                      <a:pt x="0" y="11929"/>
                    </a:lnTo>
                    <a:cubicBezTo>
                      <a:pt x="2145" y="14799"/>
                      <a:pt x="3820" y="18064"/>
                      <a:pt x="4908" y="21600"/>
                    </a:cubicBezTo>
                    <a:lnTo>
                      <a:pt x="21600" y="13936"/>
                    </a:lnTo>
                    <a:cubicBezTo>
                      <a:pt x="20243" y="10081"/>
                      <a:pt x="18442" y="6448"/>
                      <a:pt x="16263" y="3101"/>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1" name="Shape 20523">
                <a:extLst>
                  <a:ext uri="{FF2B5EF4-FFF2-40B4-BE49-F238E27FC236}">
                    <a16:creationId xmlns:a16="http://schemas.microsoft.com/office/drawing/2014/main" id="{CA8DE166-7997-4B40-9151-402A5FB7D8C9}"/>
                  </a:ext>
                </a:extLst>
              </p:cNvPr>
              <p:cNvSpPr/>
              <p:nvPr/>
            </p:nvSpPr>
            <p:spPr>
              <a:xfrm>
                <a:off x="869990" y="5125383"/>
                <a:ext cx="1599839" cy="1686470"/>
              </a:xfrm>
              <a:custGeom>
                <a:avLst/>
                <a:gdLst/>
                <a:ahLst/>
                <a:cxnLst>
                  <a:cxn ang="0">
                    <a:pos x="wd2" y="hd2"/>
                  </a:cxn>
                  <a:cxn ang="5400000">
                    <a:pos x="wd2" y="hd2"/>
                  </a:cxn>
                  <a:cxn ang="10800000">
                    <a:pos x="wd2" y="hd2"/>
                  </a:cxn>
                  <a:cxn ang="16200000">
                    <a:pos x="wd2" y="hd2"/>
                  </a:cxn>
                </a:cxnLst>
                <a:rect l="0" t="0" r="r" b="b"/>
                <a:pathLst>
                  <a:path w="21600" h="21600" extrusionOk="0">
                    <a:moveTo>
                      <a:pt x="21600" y="6956"/>
                    </a:moveTo>
                    <a:cubicBezTo>
                      <a:pt x="18512" y="5096"/>
                      <a:pt x="15791" y="2737"/>
                      <a:pt x="13561" y="0"/>
                    </a:cubicBezTo>
                    <a:lnTo>
                      <a:pt x="106" y="12290"/>
                    </a:lnTo>
                    <a:lnTo>
                      <a:pt x="105" y="12290"/>
                    </a:lnTo>
                    <a:lnTo>
                      <a:pt x="0" y="12386"/>
                    </a:lnTo>
                    <a:cubicBezTo>
                      <a:pt x="2640" y="15368"/>
                      <a:pt x="5659" y="18035"/>
                      <a:pt x="8986" y="20326"/>
                    </a:cubicBezTo>
                    <a:lnTo>
                      <a:pt x="14042" y="21600"/>
                    </a:lnTo>
                    <a:cubicBezTo>
                      <a:pt x="14042" y="21600"/>
                      <a:pt x="21600" y="6956"/>
                      <a:pt x="21600" y="6956"/>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2" name="Shape 20524">
                <a:extLst>
                  <a:ext uri="{FF2B5EF4-FFF2-40B4-BE49-F238E27FC236}">
                    <a16:creationId xmlns:a16="http://schemas.microsoft.com/office/drawing/2014/main" id="{B40DBD7D-933D-4BF8-92D5-2B8D7699E569}"/>
                  </a:ext>
                </a:extLst>
              </p:cNvPr>
              <p:cNvSpPr/>
              <p:nvPr/>
            </p:nvSpPr>
            <p:spPr>
              <a:xfrm>
                <a:off x="4204957" y="138694"/>
                <a:ext cx="1358783" cy="1607214"/>
              </a:xfrm>
              <a:custGeom>
                <a:avLst/>
                <a:gdLst/>
                <a:ahLst/>
                <a:cxnLst>
                  <a:cxn ang="0">
                    <a:pos x="wd2" y="hd2"/>
                  </a:cxn>
                  <a:cxn ang="5400000">
                    <a:pos x="wd2" y="hd2"/>
                  </a:cxn>
                  <a:cxn ang="10800000">
                    <a:pos x="wd2" y="hd2"/>
                  </a:cxn>
                  <a:cxn ang="16200000">
                    <a:pos x="wd2" y="hd2"/>
                  </a:cxn>
                </a:cxnLst>
                <a:rect l="0" t="0" r="r" b="b"/>
                <a:pathLst>
                  <a:path w="21600" h="21600" extrusionOk="0">
                    <a:moveTo>
                      <a:pt x="8284" y="0"/>
                    </a:moveTo>
                    <a:lnTo>
                      <a:pt x="2146" y="465"/>
                    </a:lnTo>
                    <a:lnTo>
                      <a:pt x="0" y="17486"/>
                    </a:lnTo>
                    <a:cubicBezTo>
                      <a:pt x="4274" y="18271"/>
                      <a:pt x="8271" y="19682"/>
                      <a:pt x="11851" y="21600"/>
                    </a:cubicBezTo>
                    <a:lnTo>
                      <a:pt x="21600" y="4765"/>
                    </a:lnTo>
                    <a:cubicBezTo>
                      <a:pt x="17454" y="2739"/>
                      <a:pt x="12988" y="1130"/>
                      <a:pt x="8284" y="0"/>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3" name="Shape 20525">
                <a:extLst>
                  <a:ext uri="{FF2B5EF4-FFF2-40B4-BE49-F238E27FC236}">
                    <a16:creationId xmlns:a16="http://schemas.microsoft.com/office/drawing/2014/main" id="{29241746-DD65-4BBC-A5D8-259681F25008}"/>
                  </a:ext>
                </a:extLst>
              </p:cNvPr>
              <p:cNvSpPr/>
              <p:nvPr/>
            </p:nvSpPr>
            <p:spPr>
              <a:xfrm>
                <a:off x="-1" y="31521"/>
                <a:ext cx="7418866" cy="7348506"/>
              </a:xfrm>
              <a:custGeom>
                <a:avLst/>
                <a:gdLst/>
                <a:ahLst/>
                <a:cxnLst>
                  <a:cxn ang="0">
                    <a:pos x="wd2" y="hd2"/>
                  </a:cxn>
                  <a:cxn ang="5400000">
                    <a:pos x="wd2" y="hd2"/>
                  </a:cxn>
                  <a:cxn ang="10800000">
                    <a:pos x="wd2" y="hd2"/>
                  </a:cxn>
                  <a:cxn ang="16200000">
                    <a:pos x="wd2" y="hd2"/>
                  </a:cxn>
                </a:cxnLst>
                <a:rect l="0" t="0" r="r" b="b"/>
                <a:pathLst>
                  <a:path w="21600" h="21600" extrusionOk="0">
                    <a:moveTo>
                      <a:pt x="12245" y="4096"/>
                    </a:moveTo>
                    <a:lnTo>
                      <a:pt x="12668" y="94"/>
                    </a:lnTo>
                    <a:lnTo>
                      <a:pt x="12676" y="61"/>
                    </a:lnTo>
                    <a:cubicBezTo>
                      <a:pt x="12551" y="39"/>
                      <a:pt x="12425" y="18"/>
                      <a:pt x="12299" y="0"/>
                    </a:cubicBezTo>
                    <a:lnTo>
                      <a:pt x="12292" y="34"/>
                    </a:lnTo>
                    <a:lnTo>
                      <a:pt x="12007" y="4088"/>
                    </a:lnTo>
                    <a:cubicBezTo>
                      <a:pt x="12083" y="4102"/>
                      <a:pt x="12159" y="4118"/>
                      <a:pt x="12234" y="4134"/>
                    </a:cubicBezTo>
                    <a:cubicBezTo>
                      <a:pt x="12234" y="4134"/>
                      <a:pt x="12245" y="4096"/>
                      <a:pt x="12245" y="4096"/>
                    </a:cubicBezTo>
                    <a:close/>
                    <a:moveTo>
                      <a:pt x="9355" y="17464"/>
                    </a:moveTo>
                    <a:lnTo>
                      <a:pt x="8928" y="21506"/>
                    </a:lnTo>
                    <a:lnTo>
                      <a:pt x="8920" y="21539"/>
                    </a:lnTo>
                    <a:cubicBezTo>
                      <a:pt x="9045" y="21561"/>
                      <a:pt x="9171" y="21582"/>
                      <a:pt x="9297" y="21600"/>
                    </a:cubicBezTo>
                    <a:lnTo>
                      <a:pt x="9304" y="21566"/>
                    </a:lnTo>
                    <a:lnTo>
                      <a:pt x="9589" y="17512"/>
                    </a:lnTo>
                    <a:cubicBezTo>
                      <a:pt x="9505" y="17496"/>
                      <a:pt x="9422" y="17479"/>
                      <a:pt x="9339" y="17460"/>
                    </a:cubicBezTo>
                    <a:cubicBezTo>
                      <a:pt x="9344" y="17462"/>
                      <a:pt x="9349" y="17463"/>
                      <a:pt x="9355" y="17464"/>
                    </a:cubicBezTo>
                    <a:close/>
                    <a:moveTo>
                      <a:pt x="7185" y="16563"/>
                    </a:moveTo>
                    <a:lnTo>
                      <a:pt x="5414" y="20214"/>
                    </a:lnTo>
                    <a:lnTo>
                      <a:pt x="5396" y="20242"/>
                    </a:lnTo>
                    <a:cubicBezTo>
                      <a:pt x="5506" y="20306"/>
                      <a:pt x="5617" y="20369"/>
                      <a:pt x="5729" y="20430"/>
                    </a:cubicBezTo>
                    <a:lnTo>
                      <a:pt x="5747" y="20400"/>
                    </a:lnTo>
                    <a:lnTo>
                      <a:pt x="7389" y="16688"/>
                    </a:lnTo>
                    <a:cubicBezTo>
                      <a:pt x="7308" y="16640"/>
                      <a:pt x="7228" y="16591"/>
                      <a:pt x="7149" y="16540"/>
                    </a:cubicBezTo>
                    <a:cubicBezTo>
                      <a:pt x="7161" y="16547"/>
                      <a:pt x="7173" y="16555"/>
                      <a:pt x="7185" y="16563"/>
                    </a:cubicBezTo>
                    <a:close/>
                    <a:moveTo>
                      <a:pt x="14424" y="5010"/>
                    </a:moveTo>
                    <a:lnTo>
                      <a:pt x="16182" y="1385"/>
                    </a:lnTo>
                    <a:lnTo>
                      <a:pt x="16201" y="1357"/>
                    </a:lnTo>
                    <a:cubicBezTo>
                      <a:pt x="16091" y="1292"/>
                      <a:pt x="15980" y="1229"/>
                      <a:pt x="15867" y="1169"/>
                    </a:cubicBezTo>
                    <a:lnTo>
                      <a:pt x="15849" y="1199"/>
                    </a:lnTo>
                    <a:lnTo>
                      <a:pt x="14208" y="4910"/>
                    </a:lnTo>
                    <a:cubicBezTo>
                      <a:pt x="14275" y="4950"/>
                      <a:pt x="14341" y="4991"/>
                      <a:pt x="14407" y="5033"/>
                    </a:cubicBezTo>
                    <a:cubicBezTo>
                      <a:pt x="14407" y="5033"/>
                      <a:pt x="14424" y="5010"/>
                      <a:pt x="14424" y="5010"/>
                    </a:cubicBezTo>
                    <a:close/>
                    <a:moveTo>
                      <a:pt x="5445" y="14958"/>
                    </a:moveTo>
                    <a:cubicBezTo>
                      <a:pt x="5447" y="14961"/>
                      <a:pt x="5449" y="14964"/>
                      <a:pt x="5451" y="14967"/>
                    </a:cubicBezTo>
                    <a:lnTo>
                      <a:pt x="2549" y="17787"/>
                    </a:lnTo>
                    <a:lnTo>
                      <a:pt x="2524" y="17806"/>
                    </a:lnTo>
                    <a:cubicBezTo>
                      <a:pt x="2606" y="17904"/>
                      <a:pt x="2689" y="18002"/>
                      <a:pt x="2774" y="18097"/>
                    </a:cubicBezTo>
                    <a:lnTo>
                      <a:pt x="2799" y="18077"/>
                    </a:lnTo>
                    <a:lnTo>
                      <a:pt x="5600" y="15155"/>
                    </a:lnTo>
                    <a:cubicBezTo>
                      <a:pt x="5547" y="15090"/>
                      <a:pt x="5495" y="15025"/>
                      <a:pt x="5445" y="14958"/>
                    </a:cubicBezTo>
                    <a:close/>
                    <a:moveTo>
                      <a:pt x="16147" y="6631"/>
                    </a:moveTo>
                    <a:lnTo>
                      <a:pt x="16147" y="6631"/>
                    </a:lnTo>
                    <a:cubicBezTo>
                      <a:pt x="16147" y="6631"/>
                      <a:pt x="16147" y="6631"/>
                      <a:pt x="16147" y="6631"/>
                    </a:cubicBezTo>
                    <a:lnTo>
                      <a:pt x="19047" y="3812"/>
                    </a:lnTo>
                    <a:lnTo>
                      <a:pt x="19073" y="3792"/>
                    </a:lnTo>
                    <a:cubicBezTo>
                      <a:pt x="18991" y="3694"/>
                      <a:pt x="18908" y="3596"/>
                      <a:pt x="18823" y="3501"/>
                    </a:cubicBezTo>
                    <a:lnTo>
                      <a:pt x="18797" y="3522"/>
                    </a:lnTo>
                    <a:lnTo>
                      <a:pt x="15997" y="6442"/>
                    </a:lnTo>
                    <a:cubicBezTo>
                      <a:pt x="16048" y="6504"/>
                      <a:pt x="16098" y="6567"/>
                      <a:pt x="16147" y="6631"/>
                    </a:cubicBezTo>
                    <a:close/>
                    <a:moveTo>
                      <a:pt x="4353" y="12842"/>
                    </a:moveTo>
                    <a:cubicBezTo>
                      <a:pt x="4355" y="12851"/>
                      <a:pt x="4358" y="12860"/>
                      <a:pt x="4361" y="12869"/>
                    </a:cubicBezTo>
                    <a:lnTo>
                      <a:pt x="679" y="14518"/>
                    </a:lnTo>
                    <a:lnTo>
                      <a:pt x="648" y="14527"/>
                    </a:lnTo>
                    <a:cubicBezTo>
                      <a:pt x="691" y="14648"/>
                      <a:pt x="736" y="14768"/>
                      <a:pt x="784" y="14887"/>
                    </a:cubicBezTo>
                    <a:lnTo>
                      <a:pt x="816" y="14877"/>
                    </a:lnTo>
                    <a:lnTo>
                      <a:pt x="4437" y="13098"/>
                    </a:lnTo>
                    <a:cubicBezTo>
                      <a:pt x="4407" y="13013"/>
                      <a:pt x="4379" y="12928"/>
                      <a:pt x="4353" y="12842"/>
                    </a:cubicBezTo>
                    <a:close/>
                    <a:moveTo>
                      <a:pt x="17241" y="8737"/>
                    </a:moveTo>
                    <a:lnTo>
                      <a:pt x="17241" y="8736"/>
                    </a:lnTo>
                    <a:cubicBezTo>
                      <a:pt x="17240" y="8734"/>
                      <a:pt x="17239" y="8731"/>
                      <a:pt x="17238" y="8728"/>
                    </a:cubicBezTo>
                    <a:lnTo>
                      <a:pt x="20916" y="7081"/>
                    </a:lnTo>
                    <a:lnTo>
                      <a:pt x="20951" y="7071"/>
                    </a:lnTo>
                    <a:cubicBezTo>
                      <a:pt x="20908" y="6950"/>
                      <a:pt x="20863" y="6830"/>
                      <a:pt x="20815" y="6711"/>
                    </a:cubicBezTo>
                    <a:lnTo>
                      <a:pt x="20780" y="6722"/>
                    </a:lnTo>
                    <a:lnTo>
                      <a:pt x="17162" y="8500"/>
                    </a:lnTo>
                    <a:cubicBezTo>
                      <a:pt x="17189" y="8578"/>
                      <a:pt x="17216" y="8657"/>
                      <a:pt x="17241" y="8737"/>
                    </a:cubicBezTo>
                    <a:close/>
                    <a:moveTo>
                      <a:pt x="4051" y="10511"/>
                    </a:moveTo>
                    <a:cubicBezTo>
                      <a:pt x="4050" y="10515"/>
                      <a:pt x="4050" y="10518"/>
                      <a:pt x="4050" y="10522"/>
                    </a:cubicBezTo>
                    <a:lnTo>
                      <a:pt x="30" y="10799"/>
                    </a:lnTo>
                    <a:lnTo>
                      <a:pt x="0" y="10797"/>
                    </a:lnTo>
                    <a:cubicBezTo>
                      <a:pt x="0" y="10925"/>
                      <a:pt x="1" y="11054"/>
                      <a:pt x="6" y="11183"/>
                    </a:cubicBezTo>
                    <a:lnTo>
                      <a:pt x="37" y="11184"/>
                    </a:lnTo>
                    <a:lnTo>
                      <a:pt x="4044" y="10763"/>
                    </a:lnTo>
                    <a:cubicBezTo>
                      <a:pt x="4045" y="10679"/>
                      <a:pt x="4047" y="10595"/>
                      <a:pt x="4051" y="10511"/>
                    </a:cubicBezTo>
                    <a:close/>
                    <a:moveTo>
                      <a:pt x="21594" y="10416"/>
                    </a:moveTo>
                    <a:lnTo>
                      <a:pt x="21559" y="10415"/>
                    </a:lnTo>
                    <a:lnTo>
                      <a:pt x="17556" y="10836"/>
                    </a:lnTo>
                    <a:cubicBezTo>
                      <a:pt x="17555" y="10923"/>
                      <a:pt x="17553" y="11009"/>
                      <a:pt x="17549" y="11095"/>
                    </a:cubicBezTo>
                    <a:lnTo>
                      <a:pt x="17549" y="11095"/>
                    </a:lnTo>
                    <a:cubicBezTo>
                      <a:pt x="17550" y="11089"/>
                      <a:pt x="17550" y="11083"/>
                      <a:pt x="17550" y="11077"/>
                    </a:cubicBezTo>
                    <a:lnTo>
                      <a:pt x="21566" y="10799"/>
                    </a:lnTo>
                    <a:lnTo>
                      <a:pt x="21600" y="10802"/>
                    </a:lnTo>
                    <a:cubicBezTo>
                      <a:pt x="21600" y="10674"/>
                      <a:pt x="21599" y="10545"/>
                      <a:pt x="21594" y="10416"/>
                    </a:cubicBezTo>
                    <a:close/>
                    <a:moveTo>
                      <a:pt x="4463" y="8433"/>
                    </a:moveTo>
                    <a:cubicBezTo>
                      <a:pt x="4492" y="8352"/>
                      <a:pt x="4524" y="8272"/>
                      <a:pt x="4556" y="8193"/>
                    </a:cubicBezTo>
                    <a:lnTo>
                      <a:pt x="4556" y="8193"/>
                    </a:lnTo>
                    <a:cubicBezTo>
                      <a:pt x="4554" y="8198"/>
                      <a:pt x="4552" y="8203"/>
                      <a:pt x="4550" y="8208"/>
                    </a:cubicBezTo>
                    <a:lnTo>
                      <a:pt x="679" y="7081"/>
                    </a:lnTo>
                    <a:lnTo>
                      <a:pt x="650" y="7068"/>
                    </a:lnTo>
                    <a:cubicBezTo>
                      <a:pt x="606" y="7189"/>
                      <a:pt x="564" y="7310"/>
                      <a:pt x="524" y="7432"/>
                    </a:cubicBezTo>
                    <a:lnTo>
                      <a:pt x="555" y="7445"/>
                    </a:lnTo>
                    <a:cubicBezTo>
                      <a:pt x="555" y="7445"/>
                      <a:pt x="4463" y="8433"/>
                      <a:pt x="4463" y="8433"/>
                    </a:cubicBezTo>
                    <a:close/>
                    <a:moveTo>
                      <a:pt x="17138" y="13167"/>
                    </a:moveTo>
                    <a:cubicBezTo>
                      <a:pt x="17107" y="13252"/>
                      <a:pt x="17074" y="13336"/>
                      <a:pt x="17039" y="13419"/>
                    </a:cubicBezTo>
                    <a:lnTo>
                      <a:pt x="17040" y="13419"/>
                    </a:lnTo>
                    <a:cubicBezTo>
                      <a:pt x="17043" y="13410"/>
                      <a:pt x="17047" y="13401"/>
                      <a:pt x="17051" y="13392"/>
                    </a:cubicBezTo>
                    <a:lnTo>
                      <a:pt x="20916" y="14518"/>
                    </a:lnTo>
                    <a:lnTo>
                      <a:pt x="20950" y="14533"/>
                    </a:lnTo>
                    <a:cubicBezTo>
                      <a:pt x="20994" y="14412"/>
                      <a:pt x="21036" y="14291"/>
                      <a:pt x="21076" y="14168"/>
                    </a:cubicBezTo>
                    <a:lnTo>
                      <a:pt x="21040" y="14154"/>
                    </a:lnTo>
                    <a:cubicBezTo>
                      <a:pt x="21040" y="14154"/>
                      <a:pt x="17138" y="13167"/>
                      <a:pt x="17138" y="13167"/>
                    </a:cubicBezTo>
                    <a:close/>
                    <a:moveTo>
                      <a:pt x="2310" y="4111"/>
                    </a:moveTo>
                    <a:lnTo>
                      <a:pt x="2834" y="4469"/>
                    </a:lnTo>
                    <a:lnTo>
                      <a:pt x="5647" y="6389"/>
                    </a:lnTo>
                    <a:cubicBezTo>
                      <a:pt x="5700" y="6326"/>
                      <a:pt x="5755" y="6264"/>
                      <a:pt x="5810" y="6203"/>
                    </a:cubicBezTo>
                    <a:lnTo>
                      <a:pt x="5810" y="6202"/>
                    </a:lnTo>
                    <a:cubicBezTo>
                      <a:pt x="5808" y="6204"/>
                      <a:pt x="5807" y="6206"/>
                      <a:pt x="5805" y="6207"/>
                    </a:cubicBezTo>
                    <a:lnTo>
                      <a:pt x="3061" y="4188"/>
                    </a:lnTo>
                    <a:lnTo>
                      <a:pt x="2549" y="3812"/>
                    </a:lnTo>
                    <a:lnTo>
                      <a:pt x="2549" y="3812"/>
                    </a:lnTo>
                    <a:lnTo>
                      <a:pt x="2528" y="3791"/>
                    </a:lnTo>
                    <a:cubicBezTo>
                      <a:pt x="2446" y="3890"/>
                      <a:pt x="2365" y="3989"/>
                      <a:pt x="2287" y="4090"/>
                    </a:cubicBezTo>
                    <a:lnTo>
                      <a:pt x="2310" y="4111"/>
                    </a:lnTo>
                    <a:cubicBezTo>
                      <a:pt x="2310" y="4111"/>
                      <a:pt x="2310" y="4111"/>
                      <a:pt x="2310" y="4111"/>
                    </a:cubicBezTo>
                    <a:close/>
                    <a:moveTo>
                      <a:pt x="15952" y="15213"/>
                    </a:moveTo>
                    <a:cubicBezTo>
                      <a:pt x="15892" y="15284"/>
                      <a:pt x="15831" y="15353"/>
                      <a:pt x="15769" y="15421"/>
                    </a:cubicBezTo>
                    <a:cubicBezTo>
                      <a:pt x="15777" y="15412"/>
                      <a:pt x="15786" y="15403"/>
                      <a:pt x="15794" y="15394"/>
                    </a:cubicBezTo>
                    <a:lnTo>
                      <a:pt x="19047" y="17787"/>
                    </a:lnTo>
                    <a:lnTo>
                      <a:pt x="19071" y="17811"/>
                    </a:lnTo>
                    <a:cubicBezTo>
                      <a:pt x="19153" y="17712"/>
                      <a:pt x="19234" y="17613"/>
                      <a:pt x="19312" y="17512"/>
                    </a:cubicBezTo>
                    <a:lnTo>
                      <a:pt x="19286" y="17488"/>
                    </a:lnTo>
                    <a:cubicBezTo>
                      <a:pt x="19286" y="17488"/>
                      <a:pt x="15952" y="15213"/>
                      <a:pt x="15952" y="15213"/>
                    </a:cubicBezTo>
                    <a:close/>
                    <a:moveTo>
                      <a:pt x="14146" y="16727"/>
                    </a:moveTo>
                    <a:cubicBezTo>
                      <a:pt x="14072" y="16770"/>
                      <a:pt x="13996" y="16811"/>
                      <a:pt x="13920" y="16851"/>
                    </a:cubicBezTo>
                    <a:cubicBezTo>
                      <a:pt x="13926" y="16848"/>
                      <a:pt x="13931" y="16845"/>
                      <a:pt x="13937" y="16843"/>
                    </a:cubicBezTo>
                    <a:lnTo>
                      <a:pt x="16182" y="20214"/>
                    </a:lnTo>
                    <a:lnTo>
                      <a:pt x="16198" y="20247"/>
                    </a:lnTo>
                    <a:cubicBezTo>
                      <a:pt x="16308" y="20182"/>
                      <a:pt x="16418" y="20117"/>
                      <a:pt x="16525" y="20048"/>
                    </a:cubicBezTo>
                    <a:lnTo>
                      <a:pt x="16508" y="20016"/>
                    </a:lnTo>
                    <a:cubicBezTo>
                      <a:pt x="16508" y="20016"/>
                      <a:pt x="14146" y="16727"/>
                      <a:pt x="14146" y="16727"/>
                    </a:cubicBezTo>
                    <a:close/>
                    <a:moveTo>
                      <a:pt x="5414" y="1385"/>
                    </a:moveTo>
                    <a:lnTo>
                      <a:pt x="5400" y="1356"/>
                    </a:lnTo>
                    <a:cubicBezTo>
                      <a:pt x="5289" y="1420"/>
                      <a:pt x="5180" y="1486"/>
                      <a:pt x="5072" y="1554"/>
                    </a:cubicBezTo>
                    <a:lnTo>
                      <a:pt x="5088" y="1583"/>
                    </a:lnTo>
                    <a:lnTo>
                      <a:pt x="7452" y="4875"/>
                    </a:lnTo>
                    <a:cubicBezTo>
                      <a:pt x="7520" y="4835"/>
                      <a:pt x="7590" y="4797"/>
                      <a:pt x="7661" y="4760"/>
                    </a:cubicBezTo>
                    <a:lnTo>
                      <a:pt x="7659" y="4756"/>
                    </a:lnTo>
                    <a:cubicBezTo>
                      <a:pt x="7659" y="4756"/>
                      <a:pt x="5414" y="1385"/>
                      <a:pt x="5414" y="1385"/>
                    </a:cubicBezTo>
                    <a:close/>
                    <a:moveTo>
                      <a:pt x="11936" y="17524"/>
                    </a:moveTo>
                    <a:cubicBezTo>
                      <a:pt x="11841" y="17541"/>
                      <a:pt x="11746" y="17554"/>
                      <a:pt x="11650" y="17566"/>
                    </a:cubicBezTo>
                    <a:lnTo>
                      <a:pt x="11650" y="17567"/>
                    </a:lnTo>
                    <a:cubicBezTo>
                      <a:pt x="11666" y="17565"/>
                      <a:pt x="11683" y="17563"/>
                      <a:pt x="11700" y="17561"/>
                    </a:cubicBezTo>
                    <a:lnTo>
                      <a:pt x="12668" y="21505"/>
                    </a:lnTo>
                    <a:lnTo>
                      <a:pt x="12671" y="21540"/>
                    </a:lnTo>
                    <a:cubicBezTo>
                      <a:pt x="12797" y="21518"/>
                      <a:pt x="12922" y="21494"/>
                      <a:pt x="13046" y="21467"/>
                    </a:cubicBezTo>
                    <a:lnTo>
                      <a:pt x="13041" y="21432"/>
                    </a:lnTo>
                    <a:cubicBezTo>
                      <a:pt x="13041" y="21432"/>
                      <a:pt x="11936" y="17524"/>
                      <a:pt x="11936" y="17524"/>
                    </a:cubicBezTo>
                    <a:close/>
                    <a:moveTo>
                      <a:pt x="8928" y="94"/>
                    </a:moveTo>
                    <a:lnTo>
                      <a:pt x="8925" y="62"/>
                    </a:lnTo>
                    <a:cubicBezTo>
                      <a:pt x="8799" y="84"/>
                      <a:pt x="8674" y="107"/>
                      <a:pt x="8549" y="134"/>
                    </a:cubicBezTo>
                    <a:lnTo>
                      <a:pt x="8554" y="167"/>
                    </a:lnTo>
                    <a:lnTo>
                      <a:pt x="9660" y="4077"/>
                    </a:lnTo>
                    <a:cubicBezTo>
                      <a:pt x="9737" y="4064"/>
                      <a:pt x="9814" y="4052"/>
                      <a:pt x="9891" y="4041"/>
                    </a:cubicBezTo>
                    <a:lnTo>
                      <a:pt x="9889" y="4010"/>
                    </a:lnTo>
                    <a:cubicBezTo>
                      <a:pt x="9889" y="4010"/>
                      <a:pt x="8928" y="94"/>
                      <a:pt x="8928" y="94"/>
                    </a:cubicBezTo>
                    <a:close/>
                  </a:path>
                </a:pathLst>
              </a:custGeom>
              <a:solidFill>
                <a:srgbClr val="FFFFFF">
                  <a:alpha val="2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4" name="Shape 20526">
                <a:extLst>
                  <a:ext uri="{FF2B5EF4-FFF2-40B4-BE49-F238E27FC236}">
                    <a16:creationId xmlns:a16="http://schemas.microsoft.com/office/drawing/2014/main" id="{72B3BBBC-3C25-4269-896F-CDB3138F77E0}"/>
                  </a:ext>
                </a:extLst>
              </p:cNvPr>
              <p:cNvSpPr/>
              <p:nvPr/>
            </p:nvSpPr>
            <p:spPr>
              <a:xfrm>
                <a:off x="18912" y="6304"/>
                <a:ext cx="7379706" cy="7400806"/>
              </a:xfrm>
              <a:custGeom>
                <a:avLst/>
                <a:gdLst/>
                <a:ahLst/>
                <a:cxnLst>
                  <a:cxn ang="0">
                    <a:pos x="wd2" y="hd2"/>
                  </a:cxn>
                  <a:cxn ang="5400000">
                    <a:pos x="wd2" y="hd2"/>
                  </a:cxn>
                  <a:cxn ang="10800000">
                    <a:pos x="wd2" y="hd2"/>
                  </a:cxn>
                  <a:cxn ang="16200000">
                    <a:pos x="wd2" y="hd2"/>
                  </a:cxn>
                </a:cxnLst>
                <a:rect l="0" t="0" r="r" b="b"/>
                <a:pathLst>
                  <a:path w="21600" h="21600" extrusionOk="0">
                    <a:moveTo>
                      <a:pt x="7771" y="21195"/>
                    </a:moveTo>
                    <a:cubicBezTo>
                      <a:pt x="7779" y="21197"/>
                      <a:pt x="7787" y="21199"/>
                      <a:pt x="7795" y="21202"/>
                    </a:cubicBezTo>
                    <a:lnTo>
                      <a:pt x="8955" y="21098"/>
                    </a:lnTo>
                    <a:lnTo>
                      <a:pt x="8956" y="21120"/>
                    </a:lnTo>
                    <a:lnTo>
                      <a:pt x="9352" y="17413"/>
                    </a:lnTo>
                    <a:cubicBezTo>
                      <a:pt x="9257" y="17393"/>
                      <a:pt x="9162" y="17370"/>
                      <a:pt x="9068" y="17345"/>
                    </a:cubicBezTo>
                    <a:cubicBezTo>
                      <a:pt x="9068" y="17345"/>
                      <a:pt x="7771" y="21195"/>
                      <a:pt x="7771" y="21195"/>
                    </a:cubicBezTo>
                    <a:close/>
                    <a:moveTo>
                      <a:pt x="17168" y="2030"/>
                    </a:moveTo>
                    <a:lnTo>
                      <a:pt x="16072" y="1740"/>
                    </a:lnTo>
                    <a:lnTo>
                      <a:pt x="14436" y="5072"/>
                    </a:lnTo>
                    <a:cubicBezTo>
                      <a:pt x="14502" y="5114"/>
                      <a:pt x="14568" y="5158"/>
                      <a:pt x="14632" y="5202"/>
                    </a:cubicBezTo>
                    <a:cubicBezTo>
                      <a:pt x="14632" y="5202"/>
                      <a:pt x="17168" y="2030"/>
                      <a:pt x="17168" y="2030"/>
                    </a:cubicBezTo>
                    <a:close/>
                    <a:moveTo>
                      <a:pt x="5259" y="14705"/>
                    </a:moveTo>
                    <a:lnTo>
                      <a:pt x="1784" y="16823"/>
                    </a:lnTo>
                    <a:cubicBezTo>
                      <a:pt x="1798" y="16844"/>
                      <a:pt x="1813" y="16865"/>
                      <a:pt x="1827" y="16886"/>
                    </a:cubicBezTo>
                    <a:lnTo>
                      <a:pt x="2736" y="17518"/>
                    </a:lnTo>
                    <a:lnTo>
                      <a:pt x="5428" y="14934"/>
                    </a:lnTo>
                    <a:cubicBezTo>
                      <a:pt x="5370" y="14859"/>
                      <a:pt x="5313" y="14783"/>
                      <a:pt x="5259" y="14705"/>
                    </a:cubicBezTo>
                    <a:close/>
                    <a:moveTo>
                      <a:pt x="17349" y="8977"/>
                    </a:moveTo>
                    <a:lnTo>
                      <a:pt x="21335" y="8173"/>
                    </a:lnTo>
                    <a:lnTo>
                      <a:pt x="20674" y="7237"/>
                    </a:lnTo>
                    <a:lnTo>
                      <a:pt x="17278" y="8739"/>
                    </a:lnTo>
                    <a:cubicBezTo>
                      <a:pt x="17303" y="8818"/>
                      <a:pt x="17327" y="8897"/>
                      <a:pt x="17349" y="8977"/>
                    </a:cubicBezTo>
                    <a:close/>
                    <a:moveTo>
                      <a:pt x="4019" y="10520"/>
                    </a:moveTo>
                    <a:cubicBezTo>
                      <a:pt x="4023" y="10431"/>
                      <a:pt x="4029" y="10343"/>
                      <a:pt x="4036" y="10255"/>
                    </a:cubicBezTo>
                    <a:lnTo>
                      <a:pt x="8" y="9650"/>
                    </a:lnTo>
                    <a:cubicBezTo>
                      <a:pt x="5" y="9678"/>
                      <a:pt x="3" y="9706"/>
                      <a:pt x="0" y="9735"/>
                    </a:cubicBezTo>
                    <a:lnTo>
                      <a:pt x="282" y="10775"/>
                    </a:lnTo>
                    <a:cubicBezTo>
                      <a:pt x="282" y="10775"/>
                      <a:pt x="4019" y="10520"/>
                      <a:pt x="4019" y="10520"/>
                    </a:cubicBezTo>
                    <a:close/>
                    <a:moveTo>
                      <a:pt x="16982" y="13616"/>
                    </a:moveTo>
                    <a:lnTo>
                      <a:pt x="20554" y="15555"/>
                    </a:lnTo>
                    <a:lnTo>
                      <a:pt x="20653" y="14395"/>
                    </a:lnTo>
                    <a:lnTo>
                      <a:pt x="17089" y="13370"/>
                    </a:lnTo>
                    <a:cubicBezTo>
                      <a:pt x="17055" y="13453"/>
                      <a:pt x="17019" y="13535"/>
                      <a:pt x="16982" y="13616"/>
                    </a:cubicBezTo>
                    <a:close/>
                    <a:moveTo>
                      <a:pt x="5784" y="6236"/>
                    </a:moveTo>
                    <a:cubicBezTo>
                      <a:pt x="5839" y="6176"/>
                      <a:pt x="5896" y="6116"/>
                      <a:pt x="5954" y="6058"/>
                    </a:cubicBezTo>
                    <a:lnTo>
                      <a:pt x="3259" y="3013"/>
                    </a:lnTo>
                    <a:cubicBezTo>
                      <a:pt x="3246" y="3026"/>
                      <a:pt x="3233" y="3039"/>
                      <a:pt x="3219" y="3052"/>
                    </a:cubicBezTo>
                    <a:lnTo>
                      <a:pt x="2761" y="4039"/>
                    </a:lnTo>
                    <a:lnTo>
                      <a:pt x="3025" y="4231"/>
                    </a:lnTo>
                    <a:cubicBezTo>
                      <a:pt x="3025" y="4231"/>
                      <a:pt x="5784" y="6236"/>
                      <a:pt x="5784" y="6236"/>
                    </a:cubicBezTo>
                    <a:close/>
                    <a:moveTo>
                      <a:pt x="13702" y="16923"/>
                    </a:moveTo>
                    <a:lnTo>
                      <a:pt x="15185" y="20690"/>
                    </a:lnTo>
                    <a:lnTo>
                      <a:pt x="16019" y="19856"/>
                    </a:lnTo>
                    <a:lnTo>
                      <a:pt x="16027" y="19864"/>
                    </a:lnTo>
                    <a:lnTo>
                      <a:pt x="13958" y="16796"/>
                    </a:lnTo>
                    <a:cubicBezTo>
                      <a:pt x="13874" y="16840"/>
                      <a:pt x="13789" y="16883"/>
                      <a:pt x="13702" y="16923"/>
                    </a:cubicBezTo>
                    <a:close/>
                    <a:moveTo>
                      <a:pt x="11421" y="17541"/>
                    </a:moveTo>
                    <a:lnTo>
                      <a:pt x="11523" y="21600"/>
                    </a:lnTo>
                    <a:lnTo>
                      <a:pt x="12597" y="21098"/>
                    </a:lnTo>
                    <a:lnTo>
                      <a:pt x="12607" y="21122"/>
                    </a:lnTo>
                    <a:lnTo>
                      <a:pt x="11710" y="17509"/>
                    </a:lnTo>
                    <a:cubicBezTo>
                      <a:pt x="11614" y="17522"/>
                      <a:pt x="11518" y="17532"/>
                      <a:pt x="11421" y="17541"/>
                    </a:cubicBezTo>
                    <a:close/>
                    <a:moveTo>
                      <a:pt x="9001" y="480"/>
                    </a:moveTo>
                    <a:lnTo>
                      <a:pt x="9897" y="4084"/>
                    </a:lnTo>
                    <a:cubicBezTo>
                      <a:pt x="9974" y="4074"/>
                      <a:pt x="10052" y="4065"/>
                      <a:pt x="10130" y="4058"/>
                    </a:cubicBezTo>
                    <a:lnTo>
                      <a:pt x="10028" y="0"/>
                    </a:lnTo>
                    <a:cubicBezTo>
                      <a:pt x="10028" y="0"/>
                      <a:pt x="9001" y="480"/>
                      <a:pt x="9001" y="480"/>
                    </a:cubicBezTo>
                    <a:close/>
                    <a:moveTo>
                      <a:pt x="13778" y="382"/>
                    </a:moveTo>
                    <a:lnTo>
                      <a:pt x="12649" y="483"/>
                    </a:lnTo>
                    <a:lnTo>
                      <a:pt x="12254" y="4179"/>
                    </a:lnTo>
                    <a:cubicBezTo>
                      <a:pt x="12330" y="4195"/>
                      <a:pt x="12406" y="4214"/>
                      <a:pt x="12481" y="4233"/>
                    </a:cubicBezTo>
                    <a:cubicBezTo>
                      <a:pt x="12481" y="4233"/>
                      <a:pt x="13778" y="382"/>
                      <a:pt x="13778" y="382"/>
                    </a:cubicBezTo>
                    <a:close/>
                    <a:moveTo>
                      <a:pt x="4391" y="19533"/>
                    </a:moveTo>
                    <a:cubicBezTo>
                      <a:pt x="4406" y="19544"/>
                      <a:pt x="4422" y="19555"/>
                      <a:pt x="4437" y="19566"/>
                    </a:cubicBezTo>
                    <a:lnTo>
                      <a:pt x="5532" y="19856"/>
                    </a:lnTo>
                    <a:lnTo>
                      <a:pt x="7171" y="16519"/>
                    </a:lnTo>
                    <a:cubicBezTo>
                      <a:pt x="7089" y="16467"/>
                      <a:pt x="7008" y="16413"/>
                      <a:pt x="6929" y="16358"/>
                    </a:cubicBezTo>
                    <a:cubicBezTo>
                      <a:pt x="6929" y="16358"/>
                      <a:pt x="4391" y="19533"/>
                      <a:pt x="4391" y="19533"/>
                    </a:cubicBezTo>
                    <a:close/>
                    <a:moveTo>
                      <a:pt x="16324" y="6849"/>
                    </a:moveTo>
                    <a:lnTo>
                      <a:pt x="19789" y="4737"/>
                    </a:lnTo>
                    <a:lnTo>
                      <a:pt x="18856" y="4088"/>
                    </a:lnTo>
                    <a:lnTo>
                      <a:pt x="16180" y="6657"/>
                    </a:lnTo>
                    <a:cubicBezTo>
                      <a:pt x="16229" y="6720"/>
                      <a:pt x="16277" y="6784"/>
                      <a:pt x="16324" y="6849"/>
                    </a:cubicBezTo>
                    <a:close/>
                    <a:moveTo>
                      <a:pt x="4254" y="12586"/>
                    </a:moveTo>
                    <a:lnTo>
                      <a:pt x="261" y="13392"/>
                    </a:lnTo>
                    <a:cubicBezTo>
                      <a:pt x="268" y="13418"/>
                      <a:pt x="275" y="13444"/>
                      <a:pt x="282" y="13470"/>
                    </a:cubicBezTo>
                    <a:lnTo>
                      <a:pt x="912" y="14363"/>
                    </a:lnTo>
                    <a:lnTo>
                      <a:pt x="4332" y="12851"/>
                    </a:lnTo>
                    <a:cubicBezTo>
                      <a:pt x="4304" y="12764"/>
                      <a:pt x="4278" y="12675"/>
                      <a:pt x="4254" y="12586"/>
                    </a:cubicBezTo>
                    <a:close/>
                    <a:moveTo>
                      <a:pt x="17591" y="11071"/>
                    </a:moveTo>
                    <a:cubicBezTo>
                      <a:pt x="17588" y="11158"/>
                      <a:pt x="17582" y="11243"/>
                      <a:pt x="17576" y="11328"/>
                    </a:cubicBezTo>
                    <a:lnTo>
                      <a:pt x="21600" y="11933"/>
                    </a:lnTo>
                    <a:lnTo>
                      <a:pt x="21298" y="10818"/>
                    </a:lnTo>
                    <a:cubicBezTo>
                      <a:pt x="21298" y="10818"/>
                      <a:pt x="17591" y="11071"/>
                      <a:pt x="17591" y="11071"/>
                    </a:cubicBezTo>
                    <a:close/>
                    <a:moveTo>
                      <a:pt x="4624" y="7988"/>
                    </a:moveTo>
                    <a:lnTo>
                      <a:pt x="1047" y="6046"/>
                    </a:lnTo>
                    <a:cubicBezTo>
                      <a:pt x="1036" y="6066"/>
                      <a:pt x="1027" y="6088"/>
                      <a:pt x="1017" y="6109"/>
                    </a:cubicBezTo>
                    <a:lnTo>
                      <a:pt x="924" y="7188"/>
                    </a:lnTo>
                    <a:lnTo>
                      <a:pt x="4522" y="8223"/>
                    </a:lnTo>
                    <a:cubicBezTo>
                      <a:pt x="4554" y="8144"/>
                      <a:pt x="4589" y="8065"/>
                      <a:pt x="4624" y="7988"/>
                    </a:cubicBezTo>
                    <a:close/>
                    <a:moveTo>
                      <a:pt x="15634" y="15559"/>
                    </a:moveTo>
                    <a:lnTo>
                      <a:pt x="18326" y="18600"/>
                    </a:lnTo>
                    <a:lnTo>
                      <a:pt x="18821" y="17535"/>
                    </a:lnTo>
                    <a:lnTo>
                      <a:pt x="15826" y="15358"/>
                    </a:lnTo>
                    <a:cubicBezTo>
                      <a:pt x="15763" y="15426"/>
                      <a:pt x="15699" y="15493"/>
                      <a:pt x="15634" y="15559"/>
                    </a:cubicBezTo>
                    <a:close/>
                    <a:moveTo>
                      <a:pt x="6375" y="909"/>
                    </a:moveTo>
                    <a:cubicBezTo>
                      <a:pt x="6369" y="912"/>
                      <a:pt x="6363" y="915"/>
                      <a:pt x="6358" y="918"/>
                    </a:cubicBezTo>
                    <a:lnTo>
                      <a:pt x="5567" y="1709"/>
                    </a:lnTo>
                    <a:lnTo>
                      <a:pt x="7650" y="4798"/>
                    </a:lnTo>
                    <a:cubicBezTo>
                      <a:pt x="7720" y="4761"/>
                      <a:pt x="7792" y="4726"/>
                      <a:pt x="7864" y="4691"/>
                    </a:cubicBezTo>
                    <a:cubicBezTo>
                      <a:pt x="7864" y="4691"/>
                      <a:pt x="6375" y="909"/>
                      <a:pt x="6375" y="909"/>
                    </a:cubicBezTo>
                    <a:close/>
                  </a:path>
                </a:pathLst>
              </a:custGeom>
              <a:solidFill>
                <a:srgbClr val="000000">
                  <a:alpha val="15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5" name="Shape 20527">
                <a:extLst>
                  <a:ext uri="{FF2B5EF4-FFF2-40B4-BE49-F238E27FC236}">
                    <a16:creationId xmlns:a16="http://schemas.microsoft.com/office/drawing/2014/main" id="{29610C5B-600F-4FF1-920D-8DFB2AE60681}"/>
                  </a:ext>
                </a:extLst>
              </p:cNvPr>
              <p:cNvSpPr/>
              <p:nvPr/>
            </p:nvSpPr>
            <p:spPr>
              <a:xfrm>
                <a:off x="1159988" y="1159988"/>
                <a:ext cx="5097199" cy="5097206"/>
              </a:xfrm>
              <a:prstGeom prst="ellipse">
                <a:avLst/>
              </a:prstGeom>
              <a:solidFill>
                <a:srgbClr val="FFFFFF"/>
              </a:solidFill>
              <a:ln w="12700" cap="flat">
                <a:noFill/>
                <a:miter lim="400000"/>
              </a:ln>
              <a:effectLst>
                <a:outerShdw blurRad="139700" dist="112228" dir="5400000" rotWithShape="0">
                  <a:srgbClr val="000000">
                    <a:alpha val="64026"/>
                  </a:srgbClr>
                </a:outerShdw>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grpSp>
        <p:pic>
          <p:nvPicPr>
            <p:cNvPr id="9" name="White Shadow.png">
              <a:extLst>
                <a:ext uri="{FF2B5EF4-FFF2-40B4-BE49-F238E27FC236}">
                  <a16:creationId xmlns:a16="http://schemas.microsoft.com/office/drawing/2014/main" id="{6228A070-0786-4967-9980-B9D18809372D}"/>
                </a:ext>
              </a:extLst>
            </p:cNvPr>
            <p:cNvPicPr>
              <a:picLocks noChangeAspect="1"/>
            </p:cNvPicPr>
            <p:nvPr/>
          </p:nvPicPr>
          <p:blipFill>
            <a:blip r:embed="rId2" cstate="screen">
              <a:alphaModFix amt="35000"/>
              <a:extLst>
                <a:ext uri="{28A0092B-C50C-407E-A947-70E740481C1C}">
                  <a14:useLocalDpi xmlns:a14="http://schemas.microsoft.com/office/drawing/2010/main"/>
                </a:ext>
              </a:extLst>
            </a:blip>
            <a:stretch>
              <a:fillRect/>
            </a:stretch>
          </p:blipFill>
          <p:spPr>
            <a:xfrm>
              <a:off x="235982" y="792827"/>
              <a:ext cx="6718303" cy="6413504"/>
            </a:xfrm>
            <a:prstGeom prst="rect">
              <a:avLst/>
            </a:prstGeom>
            <a:ln w="12700" cap="flat">
              <a:noFill/>
              <a:miter lim="400000"/>
            </a:ln>
            <a:effectLst/>
          </p:spPr>
        </p:pic>
        <p:sp>
          <p:nvSpPr>
            <p:cNvPr id="10" name="Shape 20530">
              <a:extLst>
                <a:ext uri="{FF2B5EF4-FFF2-40B4-BE49-F238E27FC236}">
                  <a16:creationId xmlns:a16="http://schemas.microsoft.com/office/drawing/2014/main" id="{E0D76E77-CBC0-45FF-8F9D-F9F540C5852A}"/>
                </a:ext>
              </a:extLst>
            </p:cNvPr>
            <p:cNvSpPr/>
            <p:nvPr/>
          </p:nvSpPr>
          <p:spPr>
            <a:xfrm>
              <a:off x="1513867" y="1506425"/>
              <a:ext cx="4391131" cy="4391131"/>
            </a:xfrm>
            <a:prstGeom prst="ellipse">
              <a:avLst/>
            </a:prstGeom>
            <a:noFill/>
            <a:ln w="28575" cap="rnd" cmpd="sng">
              <a:solidFill>
                <a:srgbClr val="C2C6CA"/>
              </a:solidFill>
              <a:custDash>
                <a:ds d="100000" sp="200000"/>
              </a:custDash>
              <a:round/>
            </a:ln>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grpSp>
      <p:sp>
        <p:nvSpPr>
          <p:cNvPr id="36" name="Shape 14777">
            <a:extLst>
              <a:ext uri="{FF2B5EF4-FFF2-40B4-BE49-F238E27FC236}">
                <a16:creationId xmlns:a16="http://schemas.microsoft.com/office/drawing/2014/main" id="{03937AEC-82B0-4677-85B7-9301FE4B0AAF}"/>
              </a:ext>
            </a:extLst>
          </p:cNvPr>
          <p:cNvSpPr/>
          <p:nvPr/>
        </p:nvSpPr>
        <p:spPr>
          <a:xfrm>
            <a:off x="9199698" y="2139141"/>
            <a:ext cx="1270497" cy="1233752"/>
          </a:xfrm>
          <a:custGeom>
            <a:avLst/>
            <a:gdLst/>
            <a:ahLst/>
            <a:cxnLst>
              <a:cxn ang="0">
                <a:pos x="wd2" y="hd2"/>
              </a:cxn>
              <a:cxn ang="5400000">
                <a:pos x="wd2" y="hd2"/>
              </a:cxn>
              <a:cxn ang="10800000">
                <a:pos x="wd2" y="hd2"/>
              </a:cxn>
              <a:cxn ang="16200000">
                <a:pos x="wd2" y="hd2"/>
              </a:cxn>
            </a:cxnLst>
            <a:rect l="0" t="0" r="r" b="b"/>
            <a:pathLst>
              <a:path w="21512" h="21600" extrusionOk="0">
                <a:moveTo>
                  <a:pt x="6117" y="0"/>
                </a:moveTo>
                <a:cubicBezTo>
                  <a:pt x="5185" y="0"/>
                  <a:pt x="4249" y="112"/>
                  <a:pt x="3338" y="332"/>
                </a:cubicBezTo>
                <a:cubicBezTo>
                  <a:pt x="2307" y="582"/>
                  <a:pt x="1290" y="1022"/>
                  <a:pt x="364" y="1559"/>
                </a:cubicBezTo>
                <a:cubicBezTo>
                  <a:pt x="65" y="1732"/>
                  <a:pt x="-24" y="2012"/>
                  <a:pt x="15" y="2281"/>
                </a:cubicBezTo>
                <a:cubicBezTo>
                  <a:pt x="8" y="2334"/>
                  <a:pt x="-2" y="2396"/>
                  <a:pt x="1" y="2455"/>
                </a:cubicBezTo>
                <a:cubicBezTo>
                  <a:pt x="139" y="6543"/>
                  <a:pt x="141" y="10641"/>
                  <a:pt x="141" y="14727"/>
                </a:cubicBezTo>
                <a:cubicBezTo>
                  <a:pt x="141" y="14818"/>
                  <a:pt x="162" y="14889"/>
                  <a:pt x="182" y="14958"/>
                </a:cubicBezTo>
                <a:cubicBezTo>
                  <a:pt x="195" y="15118"/>
                  <a:pt x="266" y="15282"/>
                  <a:pt x="434" y="15420"/>
                </a:cubicBezTo>
                <a:cubicBezTo>
                  <a:pt x="2156" y="16837"/>
                  <a:pt x="4453" y="17644"/>
                  <a:pt x="6704" y="17644"/>
                </a:cubicBezTo>
                <a:cubicBezTo>
                  <a:pt x="7355" y="17644"/>
                  <a:pt x="8001" y="17570"/>
                  <a:pt x="8631" y="17427"/>
                </a:cubicBezTo>
                <a:cubicBezTo>
                  <a:pt x="8508" y="17048"/>
                  <a:pt x="8422" y="16653"/>
                  <a:pt x="8365" y="16243"/>
                </a:cubicBezTo>
                <a:cubicBezTo>
                  <a:pt x="8348" y="16132"/>
                  <a:pt x="8332" y="16019"/>
                  <a:pt x="8324" y="15911"/>
                </a:cubicBezTo>
                <a:cubicBezTo>
                  <a:pt x="8309" y="15911"/>
                  <a:pt x="8295" y="15909"/>
                  <a:pt x="8282" y="15911"/>
                </a:cubicBezTo>
                <a:cubicBezTo>
                  <a:pt x="7809" y="16004"/>
                  <a:pt x="7328" y="16050"/>
                  <a:pt x="6843" y="16070"/>
                </a:cubicBezTo>
                <a:cubicBezTo>
                  <a:pt x="6728" y="16070"/>
                  <a:pt x="6612" y="16084"/>
                  <a:pt x="6494" y="16084"/>
                </a:cubicBezTo>
                <a:cubicBezTo>
                  <a:pt x="5859" y="16084"/>
                  <a:pt x="5225" y="16020"/>
                  <a:pt x="4609" y="15882"/>
                </a:cubicBezTo>
                <a:cubicBezTo>
                  <a:pt x="4081" y="15765"/>
                  <a:pt x="3563" y="15596"/>
                  <a:pt x="3073" y="15363"/>
                </a:cubicBezTo>
                <a:cubicBezTo>
                  <a:pt x="2867" y="15265"/>
                  <a:pt x="1607" y="14688"/>
                  <a:pt x="1607" y="14438"/>
                </a:cubicBezTo>
                <a:cubicBezTo>
                  <a:pt x="1607" y="13908"/>
                  <a:pt x="1594" y="13370"/>
                  <a:pt x="1593" y="12836"/>
                </a:cubicBezTo>
                <a:cubicBezTo>
                  <a:pt x="3205" y="13654"/>
                  <a:pt x="4941" y="14106"/>
                  <a:pt x="6662" y="14106"/>
                </a:cubicBezTo>
                <a:cubicBezTo>
                  <a:pt x="7245" y="14106"/>
                  <a:pt x="7831" y="14053"/>
                  <a:pt x="8407" y="13948"/>
                </a:cubicBezTo>
                <a:cubicBezTo>
                  <a:pt x="8517" y="13347"/>
                  <a:pt x="8701" y="12769"/>
                  <a:pt x="8952" y="12229"/>
                </a:cubicBezTo>
                <a:cubicBezTo>
                  <a:pt x="8188" y="12449"/>
                  <a:pt x="7417" y="12561"/>
                  <a:pt x="6634" y="12561"/>
                </a:cubicBezTo>
                <a:cubicBezTo>
                  <a:pt x="4978" y="12561"/>
                  <a:pt x="3305" y="12085"/>
                  <a:pt x="1760" y="11204"/>
                </a:cubicBezTo>
                <a:cubicBezTo>
                  <a:pt x="1705" y="11169"/>
                  <a:pt x="1646" y="11148"/>
                  <a:pt x="1593" y="11132"/>
                </a:cubicBezTo>
                <a:cubicBezTo>
                  <a:pt x="1591" y="10629"/>
                  <a:pt x="1597" y="10120"/>
                  <a:pt x="1593" y="9616"/>
                </a:cubicBezTo>
                <a:cubicBezTo>
                  <a:pt x="3440" y="10277"/>
                  <a:pt x="5352" y="10699"/>
                  <a:pt x="7248" y="10699"/>
                </a:cubicBezTo>
                <a:cubicBezTo>
                  <a:pt x="8281" y="10699"/>
                  <a:pt x="9313" y="10580"/>
                  <a:pt x="10320" y="10295"/>
                </a:cubicBezTo>
                <a:cubicBezTo>
                  <a:pt x="10618" y="10003"/>
                  <a:pt x="10938" y="9742"/>
                  <a:pt x="11284" y="9515"/>
                </a:cubicBezTo>
                <a:cubicBezTo>
                  <a:pt x="11786" y="9189"/>
                  <a:pt x="12340" y="8941"/>
                  <a:pt x="12932" y="8779"/>
                </a:cubicBezTo>
                <a:cubicBezTo>
                  <a:pt x="12934" y="8459"/>
                  <a:pt x="12929" y="8129"/>
                  <a:pt x="12932" y="7811"/>
                </a:cubicBezTo>
                <a:cubicBezTo>
                  <a:pt x="12937" y="7456"/>
                  <a:pt x="12941" y="7110"/>
                  <a:pt x="12946" y="6757"/>
                </a:cubicBezTo>
                <a:cubicBezTo>
                  <a:pt x="12953" y="6307"/>
                  <a:pt x="12966" y="5848"/>
                  <a:pt x="12974" y="5400"/>
                </a:cubicBezTo>
                <a:cubicBezTo>
                  <a:pt x="12978" y="5289"/>
                  <a:pt x="12974" y="5180"/>
                  <a:pt x="12974" y="5068"/>
                </a:cubicBezTo>
                <a:cubicBezTo>
                  <a:pt x="12978" y="4924"/>
                  <a:pt x="12991" y="4771"/>
                  <a:pt x="13002" y="4620"/>
                </a:cubicBezTo>
                <a:cubicBezTo>
                  <a:pt x="13032" y="4193"/>
                  <a:pt x="13085" y="3747"/>
                  <a:pt x="13099" y="3306"/>
                </a:cubicBezTo>
                <a:cubicBezTo>
                  <a:pt x="13103" y="3242"/>
                  <a:pt x="13099" y="3174"/>
                  <a:pt x="13099" y="3104"/>
                </a:cubicBezTo>
                <a:cubicBezTo>
                  <a:pt x="13101" y="2873"/>
                  <a:pt x="13090" y="2653"/>
                  <a:pt x="13057" y="2440"/>
                </a:cubicBezTo>
                <a:cubicBezTo>
                  <a:pt x="13033" y="2267"/>
                  <a:pt x="12904" y="2094"/>
                  <a:pt x="12736" y="1935"/>
                </a:cubicBezTo>
                <a:cubicBezTo>
                  <a:pt x="12362" y="1587"/>
                  <a:pt x="11761" y="1295"/>
                  <a:pt x="11479" y="1170"/>
                </a:cubicBezTo>
                <a:cubicBezTo>
                  <a:pt x="10622" y="791"/>
                  <a:pt x="9702" y="538"/>
                  <a:pt x="8798" y="318"/>
                </a:cubicBezTo>
                <a:cubicBezTo>
                  <a:pt x="7917" y="104"/>
                  <a:pt x="7018" y="0"/>
                  <a:pt x="6117" y="0"/>
                </a:cubicBezTo>
                <a:close/>
                <a:moveTo>
                  <a:pt x="15808" y="1386"/>
                </a:moveTo>
                <a:cubicBezTo>
                  <a:pt x="15065" y="1389"/>
                  <a:pt x="14330" y="1473"/>
                  <a:pt x="13602" y="1646"/>
                </a:cubicBezTo>
                <a:cubicBezTo>
                  <a:pt x="13389" y="1693"/>
                  <a:pt x="13174" y="1764"/>
                  <a:pt x="12960" y="1834"/>
                </a:cubicBezTo>
                <a:cubicBezTo>
                  <a:pt x="13122" y="2031"/>
                  <a:pt x="13222" y="2233"/>
                  <a:pt x="13253" y="2440"/>
                </a:cubicBezTo>
                <a:cubicBezTo>
                  <a:pt x="13281" y="2623"/>
                  <a:pt x="13291" y="2818"/>
                  <a:pt x="13295" y="3018"/>
                </a:cubicBezTo>
                <a:cubicBezTo>
                  <a:pt x="15341" y="2349"/>
                  <a:pt x="17543" y="2523"/>
                  <a:pt x="19537" y="3393"/>
                </a:cubicBezTo>
                <a:cubicBezTo>
                  <a:pt x="17697" y="4522"/>
                  <a:pt x="15270" y="4471"/>
                  <a:pt x="13281" y="3610"/>
                </a:cubicBezTo>
                <a:cubicBezTo>
                  <a:pt x="13269" y="3842"/>
                  <a:pt x="13256" y="4081"/>
                  <a:pt x="13239" y="4317"/>
                </a:cubicBezTo>
                <a:cubicBezTo>
                  <a:pt x="13221" y="4524"/>
                  <a:pt x="13208" y="4720"/>
                  <a:pt x="13197" y="4909"/>
                </a:cubicBezTo>
                <a:cubicBezTo>
                  <a:pt x="15492" y="5780"/>
                  <a:pt x="18181" y="5648"/>
                  <a:pt x="20263" y="4346"/>
                </a:cubicBezTo>
                <a:cubicBezTo>
                  <a:pt x="20254" y="4683"/>
                  <a:pt x="20243" y="5021"/>
                  <a:pt x="20235" y="5357"/>
                </a:cubicBezTo>
                <a:cubicBezTo>
                  <a:pt x="18059" y="6606"/>
                  <a:pt x="15431" y="6754"/>
                  <a:pt x="13169" y="5732"/>
                </a:cubicBezTo>
                <a:cubicBezTo>
                  <a:pt x="13162" y="6170"/>
                  <a:pt x="13160" y="6608"/>
                  <a:pt x="13155" y="7046"/>
                </a:cubicBezTo>
                <a:cubicBezTo>
                  <a:pt x="15428" y="7920"/>
                  <a:pt x="17994" y="7801"/>
                  <a:pt x="20207" y="6743"/>
                </a:cubicBezTo>
                <a:cubicBezTo>
                  <a:pt x="20202" y="7132"/>
                  <a:pt x="20211" y="7530"/>
                  <a:pt x="20207" y="7912"/>
                </a:cubicBezTo>
                <a:cubicBezTo>
                  <a:pt x="17945" y="9033"/>
                  <a:pt x="15473" y="8778"/>
                  <a:pt x="13141" y="8057"/>
                </a:cubicBezTo>
                <a:cubicBezTo>
                  <a:pt x="13140" y="8279"/>
                  <a:pt x="13130" y="8511"/>
                  <a:pt x="13127" y="8735"/>
                </a:cubicBezTo>
                <a:cubicBezTo>
                  <a:pt x="13200" y="8725"/>
                  <a:pt x="13277" y="8719"/>
                  <a:pt x="13351" y="8706"/>
                </a:cubicBezTo>
                <a:cubicBezTo>
                  <a:pt x="13635" y="8664"/>
                  <a:pt x="13919" y="8634"/>
                  <a:pt x="14202" y="8634"/>
                </a:cubicBezTo>
                <a:cubicBezTo>
                  <a:pt x="15507" y="8634"/>
                  <a:pt x="16744" y="9075"/>
                  <a:pt x="17763" y="9833"/>
                </a:cubicBezTo>
                <a:cubicBezTo>
                  <a:pt x="18585" y="9751"/>
                  <a:pt x="19386" y="9561"/>
                  <a:pt x="20179" y="9241"/>
                </a:cubicBezTo>
                <a:cubicBezTo>
                  <a:pt x="20178" y="9539"/>
                  <a:pt x="20184" y="9839"/>
                  <a:pt x="20179" y="10136"/>
                </a:cubicBezTo>
                <a:cubicBezTo>
                  <a:pt x="19753" y="10428"/>
                  <a:pt x="19308" y="10672"/>
                  <a:pt x="18853" y="10858"/>
                </a:cubicBezTo>
                <a:cubicBezTo>
                  <a:pt x="19121" y="11172"/>
                  <a:pt x="19368" y="11503"/>
                  <a:pt x="19579" y="11868"/>
                </a:cubicBezTo>
                <a:cubicBezTo>
                  <a:pt x="19781" y="11778"/>
                  <a:pt x="19985" y="11689"/>
                  <a:pt x="20179" y="11580"/>
                </a:cubicBezTo>
                <a:cubicBezTo>
                  <a:pt x="20179" y="12003"/>
                  <a:pt x="20179" y="12424"/>
                  <a:pt x="20179" y="12850"/>
                </a:cubicBezTo>
                <a:cubicBezTo>
                  <a:pt x="20179" y="12886"/>
                  <a:pt x="20143" y="12922"/>
                  <a:pt x="20095" y="12966"/>
                </a:cubicBezTo>
                <a:cubicBezTo>
                  <a:pt x="20234" y="13342"/>
                  <a:pt x="20341" y="13730"/>
                  <a:pt x="20417" y="14135"/>
                </a:cubicBezTo>
                <a:cubicBezTo>
                  <a:pt x="20664" y="13975"/>
                  <a:pt x="20909" y="13806"/>
                  <a:pt x="21129" y="13630"/>
                </a:cubicBezTo>
                <a:cubicBezTo>
                  <a:pt x="21265" y="13516"/>
                  <a:pt x="21315" y="13392"/>
                  <a:pt x="21324" y="13269"/>
                </a:cubicBezTo>
                <a:cubicBezTo>
                  <a:pt x="21342" y="13208"/>
                  <a:pt x="21352" y="13156"/>
                  <a:pt x="21352" y="13081"/>
                </a:cubicBezTo>
                <a:cubicBezTo>
                  <a:pt x="21352" y="10532"/>
                  <a:pt x="21367" y="7970"/>
                  <a:pt x="21422" y="5414"/>
                </a:cubicBezTo>
                <a:cubicBezTo>
                  <a:pt x="21439" y="4756"/>
                  <a:pt x="21576" y="3967"/>
                  <a:pt x="21478" y="3321"/>
                </a:cubicBezTo>
                <a:cubicBezTo>
                  <a:pt x="21410" y="2877"/>
                  <a:pt x="20537" y="2456"/>
                  <a:pt x="20207" y="2310"/>
                </a:cubicBezTo>
                <a:cubicBezTo>
                  <a:pt x="19516" y="2009"/>
                  <a:pt x="18760" y="1809"/>
                  <a:pt x="18029" y="1632"/>
                </a:cubicBezTo>
                <a:cubicBezTo>
                  <a:pt x="17301" y="1460"/>
                  <a:pt x="16552" y="1383"/>
                  <a:pt x="15808" y="1386"/>
                </a:cubicBezTo>
                <a:close/>
                <a:moveTo>
                  <a:pt x="6131" y="1530"/>
                </a:moveTo>
                <a:cubicBezTo>
                  <a:pt x="7671" y="1530"/>
                  <a:pt x="9218" y="1882"/>
                  <a:pt x="10670" y="2527"/>
                </a:cubicBezTo>
                <a:cubicBezTo>
                  <a:pt x="9485" y="3268"/>
                  <a:pt x="8099" y="3610"/>
                  <a:pt x="6704" y="3610"/>
                </a:cubicBezTo>
                <a:cubicBezTo>
                  <a:pt x="5103" y="3610"/>
                  <a:pt x="3487" y="3164"/>
                  <a:pt x="2109" y="2382"/>
                </a:cubicBezTo>
                <a:cubicBezTo>
                  <a:pt x="3404" y="1811"/>
                  <a:pt x="4767" y="1530"/>
                  <a:pt x="6131" y="1530"/>
                </a:cubicBezTo>
                <a:close/>
                <a:moveTo>
                  <a:pt x="11563" y="3725"/>
                </a:moveTo>
                <a:cubicBezTo>
                  <a:pt x="11551" y="4145"/>
                  <a:pt x="11547" y="4576"/>
                  <a:pt x="11535" y="4996"/>
                </a:cubicBezTo>
                <a:cubicBezTo>
                  <a:pt x="11435" y="5056"/>
                  <a:pt x="11329" y="5099"/>
                  <a:pt x="11228" y="5155"/>
                </a:cubicBezTo>
                <a:cubicBezTo>
                  <a:pt x="9812" y="5915"/>
                  <a:pt x="8249" y="6324"/>
                  <a:pt x="6690" y="6324"/>
                </a:cubicBezTo>
                <a:cubicBezTo>
                  <a:pt x="4923" y="6324"/>
                  <a:pt x="3158" y="5814"/>
                  <a:pt x="1607" y="4794"/>
                </a:cubicBezTo>
                <a:cubicBezTo>
                  <a:pt x="1574" y="4772"/>
                  <a:pt x="1540" y="4765"/>
                  <a:pt x="1509" y="4750"/>
                </a:cubicBezTo>
                <a:cubicBezTo>
                  <a:pt x="1502" y="4435"/>
                  <a:pt x="1503" y="4113"/>
                  <a:pt x="1495" y="3797"/>
                </a:cubicBezTo>
                <a:cubicBezTo>
                  <a:pt x="3033" y="4671"/>
                  <a:pt x="4802" y="5140"/>
                  <a:pt x="6564" y="5140"/>
                </a:cubicBezTo>
                <a:cubicBezTo>
                  <a:pt x="8178" y="5140"/>
                  <a:pt x="9779" y="4742"/>
                  <a:pt x="11186" y="3942"/>
                </a:cubicBezTo>
                <a:cubicBezTo>
                  <a:pt x="11309" y="3868"/>
                  <a:pt x="11443" y="3804"/>
                  <a:pt x="11563" y="3725"/>
                </a:cubicBezTo>
                <a:close/>
                <a:moveTo>
                  <a:pt x="1551" y="6541"/>
                </a:moveTo>
                <a:cubicBezTo>
                  <a:pt x="3143" y="7427"/>
                  <a:pt x="4917" y="7855"/>
                  <a:pt x="6690" y="7855"/>
                </a:cubicBezTo>
                <a:cubicBezTo>
                  <a:pt x="8250" y="7855"/>
                  <a:pt x="9812" y="7526"/>
                  <a:pt x="11256" y="6858"/>
                </a:cubicBezTo>
                <a:cubicBezTo>
                  <a:pt x="11337" y="6823"/>
                  <a:pt x="11416" y="6779"/>
                  <a:pt x="11493" y="6743"/>
                </a:cubicBezTo>
                <a:cubicBezTo>
                  <a:pt x="11487" y="7232"/>
                  <a:pt x="11486" y="7725"/>
                  <a:pt x="11479" y="8216"/>
                </a:cubicBezTo>
                <a:cubicBezTo>
                  <a:pt x="11413" y="8251"/>
                  <a:pt x="11338" y="8282"/>
                  <a:pt x="11270" y="8317"/>
                </a:cubicBezTo>
                <a:cubicBezTo>
                  <a:pt x="9973" y="8928"/>
                  <a:pt x="8636" y="9183"/>
                  <a:pt x="7276" y="9183"/>
                </a:cubicBezTo>
                <a:cubicBezTo>
                  <a:pt x="5357" y="9183"/>
                  <a:pt x="3406" y="8675"/>
                  <a:pt x="1565" y="7984"/>
                </a:cubicBezTo>
                <a:cubicBezTo>
                  <a:pt x="1559" y="7504"/>
                  <a:pt x="1559" y="7023"/>
                  <a:pt x="1551" y="6541"/>
                </a:cubicBezTo>
                <a:close/>
                <a:moveTo>
                  <a:pt x="14216" y="9241"/>
                </a:moveTo>
                <a:cubicBezTo>
                  <a:pt x="13954" y="9241"/>
                  <a:pt x="13697" y="9269"/>
                  <a:pt x="13434" y="9313"/>
                </a:cubicBezTo>
                <a:cubicBezTo>
                  <a:pt x="13345" y="9325"/>
                  <a:pt x="13258" y="9334"/>
                  <a:pt x="13169" y="9356"/>
                </a:cubicBezTo>
                <a:cubicBezTo>
                  <a:pt x="13125" y="9362"/>
                  <a:pt x="13087" y="9371"/>
                  <a:pt x="13043" y="9385"/>
                </a:cubicBezTo>
                <a:cubicBezTo>
                  <a:pt x="12961" y="9401"/>
                  <a:pt x="12874" y="9420"/>
                  <a:pt x="12792" y="9443"/>
                </a:cubicBezTo>
                <a:cubicBezTo>
                  <a:pt x="12711" y="9469"/>
                  <a:pt x="12635" y="9505"/>
                  <a:pt x="12555" y="9529"/>
                </a:cubicBezTo>
                <a:cubicBezTo>
                  <a:pt x="12398" y="9585"/>
                  <a:pt x="12243" y="9635"/>
                  <a:pt x="12094" y="9703"/>
                </a:cubicBezTo>
                <a:cubicBezTo>
                  <a:pt x="11739" y="9861"/>
                  <a:pt x="11402" y="10056"/>
                  <a:pt x="11088" y="10280"/>
                </a:cubicBezTo>
                <a:cubicBezTo>
                  <a:pt x="11030" y="10321"/>
                  <a:pt x="10977" y="10367"/>
                  <a:pt x="10921" y="10410"/>
                </a:cubicBezTo>
                <a:cubicBezTo>
                  <a:pt x="10897" y="10429"/>
                  <a:pt x="10874" y="10445"/>
                  <a:pt x="10851" y="10468"/>
                </a:cubicBezTo>
                <a:cubicBezTo>
                  <a:pt x="10769" y="10532"/>
                  <a:pt x="10692" y="10602"/>
                  <a:pt x="10614" y="10670"/>
                </a:cubicBezTo>
                <a:cubicBezTo>
                  <a:pt x="10570" y="10709"/>
                  <a:pt x="10517" y="10749"/>
                  <a:pt x="10474" y="10786"/>
                </a:cubicBezTo>
                <a:cubicBezTo>
                  <a:pt x="10275" y="10975"/>
                  <a:pt x="10090" y="11178"/>
                  <a:pt x="9915" y="11392"/>
                </a:cubicBezTo>
                <a:cubicBezTo>
                  <a:pt x="9805" y="11526"/>
                  <a:pt x="9707" y="11669"/>
                  <a:pt x="9608" y="11811"/>
                </a:cubicBezTo>
                <a:cubicBezTo>
                  <a:pt x="9209" y="12400"/>
                  <a:pt x="8903" y="13063"/>
                  <a:pt x="8715" y="13760"/>
                </a:cubicBezTo>
                <a:cubicBezTo>
                  <a:pt x="8688" y="13850"/>
                  <a:pt x="8666" y="13941"/>
                  <a:pt x="8645" y="14034"/>
                </a:cubicBezTo>
                <a:cubicBezTo>
                  <a:pt x="8626" y="14126"/>
                  <a:pt x="8605" y="14206"/>
                  <a:pt x="8589" y="14294"/>
                </a:cubicBezTo>
                <a:cubicBezTo>
                  <a:pt x="8589" y="14294"/>
                  <a:pt x="8590" y="14304"/>
                  <a:pt x="8589" y="14309"/>
                </a:cubicBezTo>
                <a:cubicBezTo>
                  <a:pt x="8534" y="14605"/>
                  <a:pt x="8502" y="14898"/>
                  <a:pt x="8491" y="15204"/>
                </a:cubicBezTo>
                <a:cubicBezTo>
                  <a:pt x="8489" y="15290"/>
                  <a:pt x="8489" y="15380"/>
                  <a:pt x="8491" y="15464"/>
                </a:cubicBezTo>
                <a:cubicBezTo>
                  <a:pt x="8491" y="15550"/>
                  <a:pt x="8486" y="15637"/>
                  <a:pt x="8491" y="15724"/>
                </a:cubicBezTo>
                <a:cubicBezTo>
                  <a:pt x="8499" y="15899"/>
                  <a:pt x="8522" y="16082"/>
                  <a:pt x="8547" y="16258"/>
                </a:cubicBezTo>
                <a:cubicBezTo>
                  <a:pt x="8594" y="16602"/>
                  <a:pt x="8673" y="16930"/>
                  <a:pt x="8770" y="17254"/>
                </a:cubicBezTo>
                <a:cubicBezTo>
                  <a:pt x="8793" y="17334"/>
                  <a:pt x="8813" y="17421"/>
                  <a:pt x="8840" y="17499"/>
                </a:cubicBezTo>
                <a:cubicBezTo>
                  <a:pt x="8868" y="17576"/>
                  <a:pt x="8892" y="17658"/>
                  <a:pt x="8924" y="17730"/>
                </a:cubicBezTo>
                <a:cubicBezTo>
                  <a:pt x="9808" y="20017"/>
                  <a:pt x="11905" y="21600"/>
                  <a:pt x="14272" y="21600"/>
                </a:cubicBezTo>
                <a:cubicBezTo>
                  <a:pt x="14532" y="21600"/>
                  <a:pt x="14795" y="21581"/>
                  <a:pt x="15054" y="21542"/>
                </a:cubicBezTo>
                <a:cubicBezTo>
                  <a:pt x="16362" y="21348"/>
                  <a:pt x="18150" y="20227"/>
                  <a:pt x="18950" y="19102"/>
                </a:cubicBezTo>
                <a:cubicBezTo>
                  <a:pt x="19847" y="17834"/>
                  <a:pt x="20167" y="16220"/>
                  <a:pt x="19858" y="14554"/>
                </a:cubicBezTo>
                <a:cubicBezTo>
                  <a:pt x="19842" y="14475"/>
                  <a:pt x="19821" y="14401"/>
                  <a:pt x="19802" y="14323"/>
                </a:cubicBezTo>
                <a:cubicBezTo>
                  <a:pt x="19761" y="14134"/>
                  <a:pt x="19717" y="13953"/>
                  <a:pt x="19662" y="13774"/>
                </a:cubicBezTo>
                <a:cubicBezTo>
                  <a:pt x="19603" y="13570"/>
                  <a:pt x="19531" y="13374"/>
                  <a:pt x="19453" y="13182"/>
                </a:cubicBezTo>
                <a:cubicBezTo>
                  <a:pt x="19286" y="12766"/>
                  <a:pt x="19087" y="12366"/>
                  <a:pt x="18853" y="11998"/>
                </a:cubicBezTo>
                <a:cubicBezTo>
                  <a:pt x="18611" y="11626"/>
                  <a:pt x="18329" y="11283"/>
                  <a:pt x="18029" y="10973"/>
                </a:cubicBezTo>
                <a:cubicBezTo>
                  <a:pt x="17531" y="10455"/>
                  <a:pt x="16970" y="10042"/>
                  <a:pt x="16353" y="9746"/>
                </a:cubicBezTo>
                <a:cubicBezTo>
                  <a:pt x="15682" y="9422"/>
                  <a:pt x="14957" y="9241"/>
                  <a:pt x="14216" y="9241"/>
                </a:cubicBezTo>
                <a:close/>
                <a:moveTo>
                  <a:pt x="14216" y="10482"/>
                </a:moveTo>
                <a:cubicBezTo>
                  <a:pt x="15056" y="10482"/>
                  <a:pt x="15823" y="10763"/>
                  <a:pt x="16465" y="11219"/>
                </a:cubicBezTo>
                <a:cubicBezTo>
                  <a:pt x="16895" y="11522"/>
                  <a:pt x="17261" y="11905"/>
                  <a:pt x="17582" y="12330"/>
                </a:cubicBezTo>
                <a:cubicBezTo>
                  <a:pt x="17890" y="12745"/>
                  <a:pt x="18158" y="13203"/>
                  <a:pt x="18350" y="13673"/>
                </a:cubicBezTo>
                <a:cubicBezTo>
                  <a:pt x="18498" y="14041"/>
                  <a:pt x="18602" y="14413"/>
                  <a:pt x="18671" y="14785"/>
                </a:cubicBezTo>
                <a:cubicBezTo>
                  <a:pt x="18673" y="14804"/>
                  <a:pt x="18683" y="14824"/>
                  <a:pt x="18685" y="14843"/>
                </a:cubicBezTo>
                <a:cubicBezTo>
                  <a:pt x="18916" y="16147"/>
                  <a:pt x="18660" y="17395"/>
                  <a:pt x="17973" y="18366"/>
                </a:cubicBezTo>
                <a:cubicBezTo>
                  <a:pt x="17357" y="19236"/>
                  <a:pt x="15888" y="20153"/>
                  <a:pt x="14887" y="20301"/>
                </a:cubicBezTo>
                <a:cubicBezTo>
                  <a:pt x="14684" y="20330"/>
                  <a:pt x="14476" y="20358"/>
                  <a:pt x="14272" y="20358"/>
                </a:cubicBezTo>
                <a:cubicBezTo>
                  <a:pt x="12419" y="20358"/>
                  <a:pt x="10781" y="19109"/>
                  <a:pt x="10069" y="17312"/>
                </a:cubicBezTo>
                <a:cubicBezTo>
                  <a:pt x="10039" y="17233"/>
                  <a:pt x="10011" y="17143"/>
                  <a:pt x="9985" y="17066"/>
                </a:cubicBezTo>
                <a:cubicBezTo>
                  <a:pt x="9959" y="16985"/>
                  <a:pt x="9924" y="16918"/>
                  <a:pt x="9901" y="16835"/>
                </a:cubicBezTo>
                <a:cubicBezTo>
                  <a:pt x="9831" y="16592"/>
                  <a:pt x="9783" y="16342"/>
                  <a:pt x="9748" y="16084"/>
                </a:cubicBezTo>
                <a:cubicBezTo>
                  <a:pt x="9707" y="15810"/>
                  <a:pt x="9700" y="15534"/>
                  <a:pt x="9706" y="15261"/>
                </a:cubicBezTo>
                <a:cubicBezTo>
                  <a:pt x="9708" y="15168"/>
                  <a:pt x="9711" y="15081"/>
                  <a:pt x="9720" y="14987"/>
                </a:cubicBezTo>
                <a:cubicBezTo>
                  <a:pt x="9728" y="14890"/>
                  <a:pt x="9735" y="14793"/>
                  <a:pt x="9748" y="14698"/>
                </a:cubicBezTo>
                <a:cubicBezTo>
                  <a:pt x="9787" y="14423"/>
                  <a:pt x="9848" y="14154"/>
                  <a:pt x="9929" y="13890"/>
                </a:cubicBezTo>
                <a:cubicBezTo>
                  <a:pt x="9965" y="13784"/>
                  <a:pt x="9999" y="13663"/>
                  <a:pt x="10041" y="13558"/>
                </a:cubicBezTo>
                <a:cubicBezTo>
                  <a:pt x="10084" y="13447"/>
                  <a:pt x="10130" y="13348"/>
                  <a:pt x="10181" y="13240"/>
                </a:cubicBezTo>
                <a:cubicBezTo>
                  <a:pt x="10374" y="12827"/>
                  <a:pt x="10629" y="12446"/>
                  <a:pt x="10921" y="12099"/>
                </a:cubicBezTo>
                <a:cubicBezTo>
                  <a:pt x="11368" y="11578"/>
                  <a:pt x="11914" y="11140"/>
                  <a:pt x="12541" y="10858"/>
                </a:cubicBezTo>
                <a:cubicBezTo>
                  <a:pt x="12619" y="10823"/>
                  <a:pt x="12712" y="10800"/>
                  <a:pt x="12792" y="10771"/>
                </a:cubicBezTo>
                <a:cubicBezTo>
                  <a:pt x="12873" y="10743"/>
                  <a:pt x="12946" y="10710"/>
                  <a:pt x="13029" y="10684"/>
                </a:cubicBezTo>
                <a:cubicBezTo>
                  <a:pt x="13091" y="10661"/>
                  <a:pt x="13151" y="10643"/>
                  <a:pt x="13211" y="10627"/>
                </a:cubicBezTo>
                <a:cubicBezTo>
                  <a:pt x="13277" y="10611"/>
                  <a:pt x="13354" y="10597"/>
                  <a:pt x="13420" y="10583"/>
                </a:cubicBezTo>
                <a:cubicBezTo>
                  <a:pt x="13690" y="10523"/>
                  <a:pt x="13949" y="10482"/>
                  <a:pt x="14216" y="10482"/>
                </a:cubicBezTo>
                <a:close/>
                <a:moveTo>
                  <a:pt x="14328" y="11551"/>
                </a:moveTo>
                <a:cubicBezTo>
                  <a:pt x="14176" y="11551"/>
                  <a:pt x="14044" y="11608"/>
                  <a:pt x="13951" y="11710"/>
                </a:cubicBezTo>
                <a:cubicBezTo>
                  <a:pt x="13862" y="11807"/>
                  <a:pt x="13819" y="11936"/>
                  <a:pt x="13825" y="12085"/>
                </a:cubicBezTo>
                <a:lnTo>
                  <a:pt x="13825" y="12099"/>
                </a:lnTo>
                <a:cubicBezTo>
                  <a:pt x="13711" y="12116"/>
                  <a:pt x="13599" y="12128"/>
                  <a:pt x="13490" y="12157"/>
                </a:cubicBezTo>
                <a:cubicBezTo>
                  <a:pt x="13382" y="12185"/>
                  <a:pt x="13281" y="12219"/>
                  <a:pt x="13183" y="12258"/>
                </a:cubicBezTo>
                <a:cubicBezTo>
                  <a:pt x="13098" y="12288"/>
                  <a:pt x="13010" y="12332"/>
                  <a:pt x="12932" y="12374"/>
                </a:cubicBezTo>
                <a:cubicBezTo>
                  <a:pt x="12847" y="12417"/>
                  <a:pt x="12770" y="12463"/>
                  <a:pt x="12694" y="12518"/>
                </a:cubicBezTo>
                <a:cubicBezTo>
                  <a:pt x="12590" y="12592"/>
                  <a:pt x="12488" y="12681"/>
                  <a:pt x="12401" y="12778"/>
                </a:cubicBezTo>
                <a:cubicBezTo>
                  <a:pt x="12352" y="12836"/>
                  <a:pt x="12315" y="12899"/>
                  <a:pt x="12275" y="12966"/>
                </a:cubicBezTo>
                <a:cubicBezTo>
                  <a:pt x="12075" y="13287"/>
                  <a:pt x="12007" y="13696"/>
                  <a:pt x="12108" y="14121"/>
                </a:cubicBezTo>
                <a:cubicBezTo>
                  <a:pt x="12122" y="14183"/>
                  <a:pt x="12146" y="14241"/>
                  <a:pt x="12164" y="14294"/>
                </a:cubicBezTo>
                <a:cubicBezTo>
                  <a:pt x="12267" y="14600"/>
                  <a:pt x="12442" y="14872"/>
                  <a:pt x="12666" y="15074"/>
                </a:cubicBezTo>
                <a:cubicBezTo>
                  <a:pt x="12732" y="15137"/>
                  <a:pt x="12801" y="15185"/>
                  <a:pt x="12876" y="15233"/>
                </a:cubicBezTo>
                <a:cubicBezTo>
                  <a:pt x="12947" y="15281"/>
                  <a:pt x="13023" y="15313"/>
                  <a:pt x="13099" y="15348"/>
                </a:cubicBezTo>
                <a:cubicBezTo>
                  <a:pt x="13116" y="15352"/>
                  <a:pt x="13124" y="15369"/>
                  <a:pt x="13141" y="15377"/>
                </a:cubicBezTo>
                <a:cubicBezTo>
                  <a:pt x="13410" y="15471"/>
                  <a:pt x="13697" y="15545"/>
                  <a:pt x="13965" y="15594"/>
                </a:cubicBezTo>
                <a:cubicBezTo>
                  <a:pt x="13984" y="16152"/>
                  <a:pt x="13999" y="16727"/>
                  <a:pt x="14007" y="17355"/>
                </a:cubicBezTo>
                <a:cubicBezTo>
                  <a:pt x="13714" y="17189"/>
                  <a:pt x="13426" y="16960"/>
                  <a:pt x="13225" y="16734"/>
                </a:cubicBezTo>
                <a:cubicBezTo>
                  <a:pt x="13116" y="16611"/>
                  <a:pt x="12972" y="16547"/>
                  <a:pt x="12820" y="16547"/>
                </a:cubicBezTo>
                <a:cubicBezTo>
                  <a:pt x="12597" y="16547"/>
                  <a:pt x="12385" y="16706"/>
                  <a:pt x="12289" y="16922"/>
                </a:cubicBezTo>
                <a:cubicBezTo>
                  <a:pt x="12205" y="17125"/>
                  <a:pt x="12235" y="17346"/>
                  <a:pt x="12387" y="17514"/>
                </a:cubicBezTo>
                <a:cubicBezTo>
                  <a:pt x="12794" y="17975"/>
                  <a:pt x="13391" y="18383"/>
                  <a:pt x="14007" y="18611"/>
                </a:cubicBezTo>
                <a:lnTo>
                  <a:pt x="14007" y="18799"/>
                </a:lnTo>
                <a:cubicBezTo>
                  <a:pt x="14007" y="18962"/>
                  <a:pt x="14070" y="19098"/>
                  <a:pt x="14175" y="19203"/>
                </a:cubicBezTo>
                <a:cubicBezTo>
                  <a:pt x="14285" y="19321"/>
                  <a:pt x="14444" y="19391"/>
                  <a:pt x="14607" y="19391"/>
                </a:cubicBezTo>
                <a:cubicBezTo>
                  <a:pt x="14861" y="19391"/>
                  <a:pt x="15136" y="19228"/>
                  <a:pt x="15138" y="18857"/>
                </a:cubicBezTo>
                <a:lnTo>
                  <a:pt x="15138" y="18813"/>
                </a:lnTo>
                <a:cubicBezTo>
                  <a:pt x="15607" y="18794"/>
                  <a:pt x="16009" y="18643"/>
                  <a:pt x="16325" y="18337"/>
                </a:cubicBezTo>
                <a:cubicBezTo>
                  <a:pt x="16878" y="17807"/>
                  <a:pt x="17213" y="17052"/>
                  <a:pt x="17191" y="16417"/>
                </a:cubicBezTo>
                <a:cubicBezTo>
                  <a:pt x="17178" y="16044"/>
                  <a:pt x="17048" y="15719"/>
                  <a:pt x="16800" y="15449"/>
                </a:cubicBezTo>
                <a:cubicBezTo>
                  <a:pt x="16753" y="15405"/>
                  <a:pt x="16698" y="15348"/>
                  <a:pt x="16646" y="15305"/>
                </a:cubicBezTo>
                <a:cubicBezTo>
                  <a:pt x="16168" y="14909"/>
                  <a:pt x="15595" y="14733"/>
                  <a:pt x="15040" y="14612"/>
                </a:cubicBezTo>
                <a:cubicBezTo>
                  <a:pt x="15034" y="14448"/>
                  <a:pt x="15033" y="14285"/>
                  <a:pt x="15026" y="14121"/>
                </a:cubicBezTo>
                <a:cubicBezTo>
                  <a:pt x="15017" y="13859"/>
                  <a:pt x="14994" y="13603"/>
                  <a:pt x="14984" y="13341"/>
                </a:cubicBezTo>
                <a:cubicBezTo>
                  <a:pt x="15174" y="13393"/>
                  <a:pt x="15367" y="13450"/>
                  <a:pt x="15529" y="13529"/>
                </a:cubicBezTo>
                <a:cubicBezTo>
                  <a:pt x="15845" y="13680"/>
                  <a:pt x="16166" y="13494"/>
                  <a:pt x="16241" y="13139"/>
                </a:cubicBezTo>
                <a:cubicBezTo>
                  <a:pt x="16275" y="12980"/>
                  <a:pt x="16248" y="12799"/>
                  <a:pt x="16143" y="12648"/>
                </a:cubicBezTo>
                <a:cubicBezTo>
                  <a:pt x="16088" y="12570"/>
                  <a:pt x="16007" y="12496"/>
                  <a:pt x="15906" y="12446"/>
                </a:cubicBezTo>
                <a:cubicBezTo>
                  <a:pt x="15614" y="12304"/>
                  <a:pt x="15290" y="12206"/>
                  <a:pt x="14943" y="12143"/>
                </a:cubicBezTo>
                <a:lnTo>
                  <a:pt x="14943" y="12128"/>
                </a:lnTo>
                <a:cubicBezTo>
                  <a:pt x="14926" y="11752"/>
                  <a:pt x="14612" y="11551"/>
                  <a:pt x="14328" y="11551"/>
                </a:cubicBezTo>
                <a:close/>
                <a:moveTo>
                  <a:pt x="13867" y="13255"/>
                </a:moveTo>
                <a:cubicBezTo>
                  <a:pt x="13874" y="13446"/>
                  <a:pt x="13888" y="13642"/>
                  <a:pt x="13895" y="13832"/>
                </a:cubicBezTo>
                <a:cubicBezTo>
                  <a:pt x="13902" y="14017"/>
                  <a:pt x="13903" y="14209"/>
                  <a:pt x="13909" y="14395"/>
                </a:cubicBezTo>
                <a:cubicBezTo>
                  <a:pt x="13833" y="14378"/>
                  <a:pt x="13758" y="14355"/>
                  <a:pt x="13686" y="14337"/>
                </a:cubicBezTo>
                <a:cubicBezTo>
                  <a:pt x="13424" y="14268"/>
                  <a:pt x="13222" y="14047"/>
                  <a:pt x="13197" y="13818"/>
                </a:cubicBezTo>
                <a:cubicBezTo>
                  <a:pt x="13188" y="13723"/>
                  <a:pt x="13217" y="13630"/>
                  <a:pt x="13267" y="13558"/>
                </a:cubicBezTo>
                <a:cubicBezTo>
                  <a:pt x="13313" y="13489"/>
                  <a:pt x="13382" y="13430"/>
                  <a:pt x="13476" y="13384"/>
                </a:cubicBezTo>
                <a:cubicBezTo>
                  <a:pt x="13591" y="13324"/>
                  <a:pt x="13718" y="13283"/>
                  <a:pt x="13867" y="13255"/>
                </a:cubicBezTo>
                <a:close/>
                <a:moveTo>
                  <a:pt x="15082" y="15810"/>
                </a:moveTo>
                <a:cubicBezTo>
                  <a:pt x="15429" y="15904"/>
                  <a:pt x="15689" y="16021"/>
                  <a:pt x="15920" y="16186"/>
                </a:cubicBezTo>
                <a:cubicBezTo>
                  <a:pt x="16030" y="16261"/>
                  <a:pt x="16088" y="16372"/>
                  <a:pt x="16088" y="16518"/>
                </a:cubicBezTo>
                <a:cubicBezTo>
                  <a:pt x="16088" y="16882"/>
                  <a:pt x="15759" y="17341"/>
                  <a:pt x="15529" y="17499"/>
                </a:cubicBezTo>
                <a:cubicBezTo>
                  <a:pt x="15412" y="17584"/>
                  <a:pt x="15277" y="17639"/>
                  <a:pt x="15124" y="17658"/>
                </a:cubicBezTo>
                <a:cubicBezTo>
                  <a:pt x="15117" y="17010"/>
                  <a:pt x="15100" y="16403"/>
                  <a:pt x="15082" y="15810"/>
                </a:cubicBezTo>
                <a:close/>
              </a:path>
            </a:pathLst>
          </a:custGeom>
          <a:solidFill>
            <a:srgbClr val="7E249F"/>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Tree>
    <p:extLst>
      <p:ext uri="{BB962C8B-B14F-4D97-AF65-F5344CB8AC3E}">
        <p14:creationId xmlns:p14="http://schemas.microsoft.com/office/powerpoint/2010/main" val="21499310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79FA2-F241-4F33-A214-D6B1698CDE35}"/>
              </a:ext>
            </a:extLst>
          </p:cNvPr>
          <p:cNvPicPr>
            <a:picLocks noChangeAspect="1"/>
          </p:cNvPicPr>
          <p:nvPr/>
        </p:nvPicPr>
        <p:blipFill>
          <a:blip r:embed="rId2"/>
          <a:stretch>
            <a:fillRect/>
          </a:stretch>
        </p:blipFill>
        <p:spPr>
          <a:xfrm>
            <a:off x="887437" y="88800"/>
            <a:ext cx="10417126" cy="6322549"/>
          </a:xfrm>
          <a:prstGeom prst="rect">
            <a:avLst/>
          </a:prstGeom>
        </p:spPr>
      </p:pic>
    </p:spTree>
    <p:extLst>
      <p:ext uri="{BB962C8B-B14F-4D97-AF65-F5344CB8AC3E}">
        <p14:creationId xmlns:p14="http://schemas.microsoft.com/office/powerpoint/2010/main" val="4201138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EE63176B-6689-48F0-976B-193B99311C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28"/>
            <a:ext cx="12192000" cy="6857143"/>
          </a:xfrm>
          <a:prstGeom prst="rect">
            <a:avLst/>
          </a:prstGeom>
        </p:spPr>
      </p:pic>
      <p:sp>
        <p:nvSpPr>
          <p:cNvPr id="6" name="Rectangle 5">
            <a:extLst>
              <a:ext uri="{FF2B5EF4-FFF2-40B4-BE49-F238E27FC236}">
                <a16:creationId xmlns:a16="http://schemas.microsoft.com/office/drawing/2014/main" id="{F7E0FD45-E18B-4375-899D-761FB2A1FDB6}"/>
              </a:ext>
            </a:extLst>
          </p:cNvPr>
          <p:cNvSpPr/>
          <p:nvPr/>
        </p:nvSpPr>
        <p:spPr>
          <a:xfrm>
            <a:off x="1095347" y="3268760"/>
            <a:ext cx="4096437" cy="1323439"/>
          </a:xfrm>
          <a:prstGeom prst="rect">
            <a:avLst/>
          </a:prstGeom>
        </p:spPr>
        <p:txBody>
          <a:bodyPr wrap="square">
            <a:spAutoFit/>
          </a:bodyPr>
          <a:lstStyle/>
          <a:p>
            <a:r>
              <a:rPr lang="en-US" sz="4000" b="1" spc="-150" dirty="0">
                <a:solidFill>
                  <a:srgbClr val="7E249F"/>
                </a:solidFill>
                <a:latin typeface="Work Sans" panose="00000500000000000000" pitchFamily="50" charset="0"/>
              </a:rPr>
              <a:t>BENEFITS OVERVIEW</a:t>
            </a:r>
          </a:p>
        </p:txBody>
      </p:sp>
      <p:sp>
        <p:nvSpPr>
          <p:cNvPr id="7" name="TextBox 6">
            <a:extLst>
              <a:ext uri="{FF2B5EF4-FFF2-40B4-BE49-F238E27FC236}">
                <a16:creationId xmlns:a16="http://schemas.microsoft.com/office/drawing/2014/main" id="{C39C11CE-560A-46E9-8D08-EE4429C9C79A}"/>
              </a:ext>
            </a:extLst>
          </p:cNvPr>
          <p:cNvSpPr txBox="1"/>
          <p:nvPr/>
        </p:nvSpPr>
        <p:spPr>
          <a:xfrm>
            <a:off x="236581" y="-1124863"/>
            <a:ext cx="4955203" cy="4939814"/>
          </a:xfrm>
          <a:prstGeom prst="rect">
            <a:avLst/>
          </a:prstGeom>
          <a:noFill/>
        </p:spPr>
        <p:txBody>
          <a:bodyPr wrap="none" rtlCol="0">
            <a:spAutoFit/>
          </a:bodyPr>
          <a:lstStyle/>
          <a:p>
            <a:r>
              <a:rPr lang="en-US" sz="31500" spc="-300" dirty="0">
                <a:solidFill>
                  <a:srgbClr val="00B6AD">
                    <a:alpha val="60000"/>
                  </a:srgbClr>
                </a:solidFill>
                <a:latin typeface="Work Sans Light" panose="00000400000000000000" pitchFamily="50" charset="0"/>
              </a:rPr>
              <a:t>04</a:t>
            </a:r>
            <a:endParaRPr lang="en-IN" sz="31500" spc="-300" dirty="0">
              <a:solidFill>
                <a:srgbClr val="00B6AD">
                  <a:alpha val="60000"/>
                </a:srgbClr>
              </a:solidFill>
              <a:latin typeface="Work Sans Light" panose="00000400000000000000" pitchFamily="50" charset="0"/>
            </a:endParaRPr>
          </a:p>
        </p:txBody>
      </p:sp>
    </p:spTree>
    <p:extLst>
      <p:ext uri="{BB962C8B-B14F-4D97-AF65-F5344CB8AC3E}">
        <p14:creationId xmlns:p14="http://schemas.microsoft.com/office/powerpoint/2010/main" val="10077068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689E60-1C0C-4C2D-B77C-78EBF423AC5D}"/>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BENEFITS</a:t>
            </a:r>
          </a:p>
        </p:txBody>
      </p:sp>
      <p:sp>
        <p:nvSpPr>
          <p:cNvPr id="5" name="TextBox 4">
            <a:extLst>
              <a:ext uri="{FF2B5EF4-FFF2-40B4-BE49-F238E27FC236}">
                <a16:creationId xmlns:a16="http://schemas.microsoft.com/office/drawing/2014/main" id="{3E25533A-70A9-4D8E-BCB4-A48CA026FB7D}"/>
              </a:ext>
            </a:extLst>
          </p:cNvPr>
          <p:cNvSpPr txBox="1"/>
          <p:nvPr/>
        </p:nvSpPr>
        <p:spPr>
          <a:xfrm>
            <a:off x="714281" y="2002632"/>
            <a:ext cx="7228277" cy="3333220"/>
          </a:xfrm>
          <a:prstGeom prst="rect">
            <a:avLst/>
          </a:prstGeom>
          <a:noFill/>
        </p:spPr>
        <p:txBody>
          <a:bodyPr wrap="square" rtlCol="0">
            <a:spAutoFit/>
          </a:bodyPr>
          <a:lstStyle/>
          <a:p>
            <a:pPr marL="285750" indent="-285750">
              <a:lnSpc>
                <a:spcPct val="90000"/>
              </a:lnSpc>
              <a:buFont typeface="Arial" panose="020B0604020202020204" pitchFamily="34" charset="0"/>
              <a:buChar char="•"/>
            </a:pPr>
            <a:r>
              <a:rPr lang="en-US" dirty="0">
                <a:solidFill>
                  <a:srgbClr val="7E249F"/>
                </a:solidFill>
                <a:ea typeface="Roboto" pitchFamily="2" charset="0"/>
              </a:rPr>
              <a:t>“ADP” </a:t>
            </a:r>
            <a:r>
              <a:rPr lang="en-US" dirty="0">
                <a:solidFill>
                  <a:schemeClr val="tx1">
                    <a:lumMod val="75000"/>
                    <a:lumOff val="25000"/>
                  </a:schemeClr>
                </a:solidFill>
                <a:ea typeface="Roboto" pitchFamily="2" charset="0"/>
              </a:rPr>
              <a:t>is our online enrollment tool. The site can be accessed at </a:t>
            </a:r>
            <a:r>
              <a:rPr lang="en-US" sz="1800" u="sng" dirty="0">
                <a:solidFill>
                  <a:srgbClr val="7D3420"/>
                </a:solidFill>
                <a:effectLst/>
                <a:latin typeface="TaubSans-Regular"/>
                <a:ea typeface="Times New Roman" panose="02020603050405020304" pitchFamily="18" charset="0"/>
                <a:cs typeface="TaubSans-Regular"/>
                <a:hlinkClick r:id="rId2"/>
              </a:rPr>
              <a:t>https://workforcenow.adp.com</a:t>
            </a:r>
            <a:r>
              <a:rPr lang="en-US" sz="1800" u="sng" dirty="0">
                <a:solidFill>
                  <a:srgbClr val="7D3420"/>
                </a:solidFill>
                <a:effectLst/>
                <a:latin typeface="TaubSans-Regular"/>
                <a:ea typeface="Times New Roman" panose="02020603050405020304" pitchFamily="18" charset="0"/>
                <a:cs typeface="TaubSans-Regular"/>
              </a:rPr>
              <a:t>.</a:t>
            </a:r>
          </a:p>
          <a:p>
            <a:pPr>
              <a:lnSpc>
                <a:spcPct val="90000"/>
              </a:lnSpc>
            </a:pPr>
            <a:endParaRPr lang="en-US" dirty="0">
              <a:solidFill>
                <a:schemeClr val="tx1">
                  <a:lumMod val="75000"/>
                  <a:lumOff val="25000"/>
                </a:schemeClr>
              </a:solidFill>
              <a:ea typeface="Roboto" pitchFamily="2" charset="0"/>
            </a:endParaRPr>
          </a:p>
          <a:p>
            <a:pPr marL="241294" indent="-241294">
              <a:lnSpc>
                <a:spcPct val="90000"/>
              </a:lnSpc>
              <a:buFont typeface="Arial" pitchFamily="34" charset="0"/>
              <a:buChar char="•"/>
            </a:pPr>
            <a:r>
              <a:rPr lang="en-US" dirty="0">
                <a:solidFill>
                  <a:schemeClr val="tx1">
                    <a:lumMod val="75000"/>
                    <a:lumOff val="25000"/>
                  </a:schemeClr>
                </a:solidFill>
                <a:ea typeface="Roboto" pitchFamily="2" charset="0"/>
              </a:rPr>
              <a:t>The attachments in New Hire Packet 3 will help you prepare for and complete the online enrollment process</a:t>
            </a:r>
            <a:r>
              <a:rPr lang="en-GB" dirty="0">
                <a:solidFill>
                  <a:schemeClr val="tx1">
                    <a:lumMod val="75000"/>
                    <a:lumOff val="25000"/>
                  </a:schemeClr>
                </a:solidFill>
                <a:ea typeface="Roboto" pitchFamily="2" charset="0"/>
              </a:rPr>
              <a:t>. </a:t>
            </a:r>
          </a:p>
          <a:p>
            <a:pPr marL="241294" indent="-241294">
              <a:lnSpc>
                <a:spcPct val="90000"/>
              </a:lnSpc>
              <a:buFont typeface="Arial" pitchFamily="34" charset="0"/>
              <a:buChar char="•"/>
            </a:pPr>
            <a:endParaRPr lang="en-GB" dirty="0">
              <a:solidFill>
                <a:schemeClr val="tx1">
                  <a:lumMod val="75000"/>
                  <a:lumOff val="25000"/>
                </a:schemeClr>
              </a:solidFill>
              <a:ea typeface="Roboto" pitchFamily="2" charset="0"/>
            </a:endParaRPr>
          </a:p>
          <a:p>
            <a:pPr marL="228594" indent="-228594">
              <a:lnSpc>
                <a:spcPct val="90000"/>
              </a:lnSpc>
              <a:buFont typeface="Arial" panose="020B0604020202020204" pitchFamily="34" charset="0"/>
              <a:buChar char="•"/>
            </a:pPr>
            <a:r>
              <a:rPr lang="en-GB" dirty="0">
                <a:solidFill>
                  <a:schemeClr val="tx1">
                    <a:lumMod val="75000"/>
                    <a:lumOff val="25000"/>
                  </a:schemeClr>
                </a:solidFill>
                <a:ea typeface="Roboto" pitchFamily="2" charset="0"/>
              </a:rPr>
              <a:t>Enrolling in coverage is required to be captured within the first 30 days of employment.  </a:t>
            </a:r>
          </a:p>
          <a:p>
            <a:pPr>
              <a:lnSpc>
                <a:spcPct val="90000"/>
              </a:lnSpc>
            </a:pPr>
            <a:endParaRPr lang="en-GB" dirty="0">
              <a:solidFill>
                <a:schemeClr val="tx1">
                  <a:lumMod val="75000"/>
                  <a:lumOff val="25000"/>
                </a:schemeClr>
              </a:solidFill>
              <a:ea typeface="Roboto" pitchFamily="2" charset="0"/>
            </a:endParaRPr>
          </a:p>
          <a:p>
            <a:pPr marL="228594" indent="-228594">
              <a:lnSpc>
                <a:spcPct val="90000"/>
              </a:lnSpc>
              <a:buFont typeface="Arial" panose="020B0604020202020204" pitchFamily="34" charset="0"/>
              <a:buChar char="•"/>
            </a:pPr>
            <a:r>
              <a:rPr lang="en-US" dirty="0">
                <a:solidFill>
                  <a:schemeClr val="tx1">
                    <a:lumMod val="75000"/>
                    <a:lumOff val="25000"/>
                  </a:schemeClr>
                </a:solidFill>
                <a:ea typeface="Roboto" pitchFamily="2" charset="0"/>
              </a:rPr>
              <a:t>Your benefits will be effective </a:t>
            </a:r>
            <a:r>
              <a:rPr lang="en-US" b="1" dirty="0">
                <a:solidFill>
                  <a:srgbClr val="FF0000"/>
                </a:solidFill>
                <a:ea typeface="Roboto" pitchFamily="2" charset="0"/>
              </a:rPr>
              <a:t>retroactive</a:t>
            </a:r>
            <a:r>
              <a:rPr lang="en-US" dirty="0">
                <a:solidFill>
                  <a:schemeClr val="tx1">
                    <a:lumMod val="75000"/>
                    <a:lumOff val="25000"/>
                  </a:schemeClr>
                </a:solidFill>
                <a:ea typeface="Roboto" pitchFamily="2" charset="0"/>
              </a:rPr>
              <a:t> to your first day of employment. </a:t>
            </a:r>
          </a:p>
          <a:p>
            <a:pPr>
              <a:lnSpc>
                <a:spcPct val="90000"/>
              </a:lnSpc>
            </a:pPr>
            <a:endParaRPr lang="en-US" dirty="0">
              <a:solidFill>
                <a:schemeClr val="tx1">
                  <a:lumMod val="75000"/>
                  <a:lumOff val="25000"/>
                </a:schemeClr>
              </a:solidFill>
              <a:ea typeface="Roboto" pitchFamily="2" charset="0"/>
            </a:endParaRPr>
          </a:p>
          <a:p>
            <a:pPr marL="228594" indent="-228594">
              <a:lnSpc>
                <a:spcPct val="90000"/>
              </a:lnSpc>
              <a:buFont typeface="Arial" panose="020B0604020202020204" pitchFamily="34" charset="0"/>
              <a:buChar char="•"/>
            </a:pPr>
            <a:r>
              <a:rPr lang="en-US" dirty="0">
                <a:solidFill>
                  <a:schemeClr val="tx1">
                    <a:lumMod val="75000"/>
                    <a:lumOff val="25000"/>
                  </a:schemeClr>
                </a:solidFill>
                <a:ea typeface="Roboto" pitchFamily="2" charset="0"/>
              </a:rPr>
              <a:t>Your enrolled benefits will end on your last workday.</a:t>
            </a:r>
          </a:p>
        </p:txBody>
      </p:sp>
      <p:sp>
        <p:nvSpPr>
          <p:cNvPr id="6" name="Shape 6406">
            <a:extLst>
              <a:ext uri="{FF2B5EF4-FFF2-40B4-BE49-F238E27FC236}">
                <a16:creationId xmlns:a16="http://schemas.microsoft.com/office/drawing/2014/main" id="{5FFBCAF1-DC41-415E-A298-4BFCB6797E1F}"/>
              </a:ext>
            </a:extLst>
          </p:cNvPr>
          <p:cNvSpPr/>
          <p:nvPr/>
        </p:nvSpPr>
        <p:spPr>
          <a:xfrm>
            <a:off x="690880" y="1397000"/>
            <a:ext cx="7236619" cy="4365893"/>
          </a:xfrm>
          <a:prstGeom prst="rect">
            <a:avLst/>
          </a:prstGeom>
          <a:ln w="28575" cmpd="sng">
            <a:solidFill>
              <a:srgbClr val="00B6AD"/>
            </a:solidFill>
            <a:miter lim="400000"/>
          </a:ln>
        </p:spPr>
        <p:txBody>
          <a:bodyPr lIns="25400" tIns="25400" rIns="25400" bIns="25400" anchor="ctr"/>
          <a:lstStyle/>
          <a:p>
            <a:pPr defTabSz="1219170">
              <a:defRPr sz="3200">
                <a:solidFill>
                  <a:srgbClr val="FFFFFF"/>
                </a:solidFill>
              </a:defRPr>
            </a:pPr>
            <a:endParaRPr sz="1600" kern="0">
              <a:solidFill>
                <a:srgbClr val="FFFFFF"/>
              </a:solidFill>
            </a:endParaRPr>
          </a:p>
        </p:txBody>
      </p:sp>
      <p:grpSp>
        <p:nvGrpSpPr>
          <p:cNvPr id="7" name="Group 20531">
            <a:extLst>
              <a:ext uri="{FF2B5EF4-FFF2-40B4-BE49-F238E27FC236}">
                <a16:creationId xmlns:a16="http://schemas.microsoft.com/office/drawing/2014/main" id="{B9847650-DB40-40BC-8DC9-9FD152D1A59F}"/>
              </a:ext>
            </a:extLst>
          </p:cNvPr>
          <p:cNvGrpSpPr/>
          <p:nvPr/>
        </p:nvGrpSpPr>
        <p:grpSpPr>
          <a:xfrm>
            <a:off x="8265929" y="1016001"/>
            <a:ext cx="3196689" cy="4932004"/>
            <a:chOff x="-2" y="0"/>
            <a:chExt cx="7418868" cy="11446190"/>
          </a:xfrm>
        </p:grpSpPr>
        <p:grpSp>
          <p:nvGrpSpPr>
            <p:cNvPr id="8" name="Group 20528">
              <a:extLst>
                <a:ext uri="{FF2B5EF4-FFF2-40B4-BE49-F238E27FC236}">
                  <a16:creationId xmlns:a16="http://schemas.microsoft.com/office/drawing/2014/main" id="{BE2D2429-8561-4F2D-B32E-1D35434FB7EE}"/>
                </a:ext>
              </a:extLst>
            </p:cNvPr>
            <p:cNvGrpSpPr/>
            <p:nvPr/>
          </p:nvGrpSpPr>
          <p:grpSpPr>
            <a:xfrm>
              <a:off x="-2" y="0"/>
              <a:ext cx="7418868" cy="11446190"/>
              <a:chOff x="-1" y="0"/>
              <a:chExt cx="7418866" cy="11446189"/>
            </a:xfrm>
          </p:grpSpPr>
          <p:sp>
            <p:nvSpPr>
              <p:cNvPr id="11" name="Shape 20503">
                <a:extLst>
                  <a:ext uri="{FF2B5EF4-FFF2-40B4-BE49-F238E27FC236}">
                    <a16:creationId xmlns:a16="http://schemas.microsoft.com/office/drawing/2014/main" id="{B7836988-342C-46F2-BCBC-4154F2C6F135}"/>
                  </a:ext>
                </a:extLst>
              </p:cNvPr>
              <p:cNvSpPr/>
              <p:nvPr/>
            </p:nvSpPr>
            <p:spPr>
              <a:xfrm>
                <a:off x="3000838" y="5535162"/>
                <a:ext cx="4411556" cy="5911027"/>
              </a:xfrm>
              <a:custGeom>
                <a:avLst/>
                <a:gdLst/>
                <a:ahLst/>
                <a:cxnLst>
                  <a:cxn ang="0">
                    <a:pos x="wd2" y="hd2"/>
                  </a:cxn>
                  <a:cxn ang="5400000">
                    <a:pos x="wd2" y="hd2"/>
                  </a:cxn>
                  <a:cxn ang="10800000">
                    <a:pos x="wd2" y="hd2"/>
                  </a:cxn>
                  <a:cxn ang="16200000">
                    <a:pos x="wd2" y="hd2"/>
                  </a:cxn>
                </a:cxnLst>
                <a:rect l="0" t="0" r="r" b="b"/>
                <a:pathLst>
                  <a:path w="21600" h="21600" extrusionOk="0">
                    <a:moveTo>
                      <a:pt x="6544" y="21600"/>
                    </a:moveTo>
                    <a:lnTo>
                      <a:pt x="11953" y="15394"/>
                    </a:lnTo>
                    <a:lnTo>
                      <a:pt x="21600" y="17117"/>
                    </a:lnTo>
                    <a:lnTo>
                      <a:pt x="8856" y="0"/>
                    </a:lnTo>
                    <a:lnTo>
                      <a:pt x="0" y="2637"/>
                    </a:lnTo>
                    <a:cubicBezTo>
                      <a:pt x="0" y="2637"/>
                      <a:pt x="6544" y="21600"/>
                      <a:pt x="6544" y="21600"/>
                    </a:cubicBezTo>
                    <a:close/>
                  </a:path>
                </a:pathLst>
              </a:custGeom>
              <a:gradFill flip="none" rotWithShape="1">
                <a:gsLst>
                  <a:gs pos="3000">
                    <a:srgbClr val="F50000"/>
                  </a:gs>
                  <a:gs pos="72000">
                    <a:srgbClr val="F50000">
                      <a:lumMod val="50000"/>
                    </a:srgbClr>
                  </a:gs>
                </a:gsLst>
                <a:path path="shape">
                  <a:fillToRect l="40987" t="27262" r="59012" b="72737"/>
                </a:path>
              </a:gra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2" name="Shape 20504">
                <a:extLst>
                  <a:ext uri="{FF2B5EF4-FFF2-40B4-BE49-F238E27FC236}">
                    <a16:creationId xmlns:a16="http://schemas.microsoft.com/office/drawing/2014/main" id="{DA15E6C4-7A63-40B7-9A71-3B3BE73B3E68}"/>
                  </a:ext>
                </a:extLst>
              </p:cNvPr>
              <p:cNvSpPr/>
              <p:nvPr/>
            </p:nvSpPr>
            <p:spPr>
              <a:xfrm>
                <a:off x="3000838" y="5900810"/>
                <a:ext cx="1782313" cy="381557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013"/>
                    </a:lnTo>
                    <a:lnTo>
                      <a:pt x="10800" y="21600"/>
                    </a:lnTo>
                    <a:lnTo>
                      <a:pt x="21600" y="2013"/>
                    </a:lnTo>
                    <a:cubicBezTo>
                      <a:pt x="21600" y="2013"/>
                      <a:pt x="10800" y="0"/>
                      <a:pt x="10800" y="0"/>
                    </a:cubicBezTo>
                    <a:close/>
                  </a:path>
                </a:pathLst>
              </a:custGeom>
              <a:solidFill>
                <a:srgbClr val="000000">
                  <a:alpha val="4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3" name="Shape 20505">
                <a:extLst>
                  <a:ext uri="{FF2B5EF4-FFF2-40B4-BE49-F238E27FC236}">
                    <a16:creationId xmlns:a16="http://schemas.microsoft.com/office/drawing/2014/main" id="{5B38F23B-7C1D-44E8-BA11-3566EDA3CA5C}"/>
                  </a:ext>
                </a:extLst>
              </p:cNvPr>
              <p:cNvSpPr/>
              <p:nvPr/>
            </p:nvSpPr>
            <p:spPr>
              <a:xfrm>
                <a:off x="6305" y="5535162"/>
                <a:ext cx="4411546" cy="5911026"/>
              </a:xfrm>
              <a:custGeom>
                <a:avLst/>
                <a:gdLst/>
                <a:ahLst/>
                <a:cxnLst>
                  <a:cxn ang="0">
                    <a:pos x="wd2" y="hd2"/>
                  </a:cxn>
                  <a:cxn ang="5400000">
                    <a:pos x="wd2" y="hd2"/>
                  </a:cxn>
                  <a:cxn ang="10800000">
                    <a:pos x="wd2" y="hd2"/>
                  </a:cxn>
                  <a:cxn ang="16200000">
                    <a:pos x="wd2" y="hd2"/>
                  </a:cxn>
                </a:cxnLst>
                <a:rect l="0" t="0" r="r" b="b"/>
                <a:pathLst>
                  <a:path w="21600" h="21600" extrusionOk="0">
                    <a:moveTo>
                      <a:pt x="21600" y="2637"/>
                    </a:moveTo>
                    <a:lnTo>
                      <a:pt x="12743" y="0"/>
                    </a:lnTo>
                    <a:lnTo>
                      <a:pt x="0" y="17117"/>
                    </a:lnTo>
                    <a:lnTo>
                      <a:pt x="9647" y="15394"/>
                    </a:lnTo>
                    <a:lnTo>
                      <a:pt x="15056" y="21600"/>
                    </a:lnTo>
                    <a:cubicBezTo>
                      <a:pt x="15056" y="21600"/>
                      <a:pt x="21600" y="2637"/>
                      <a:pt x="21600" y="2637"/>
                    </a:cubicBezTo>
                    <a:close/>
                  </a:path>
                </a:pathLst>
              </a:custGeom>
              <a:gradFill flip="none" rotWithShape="1">
                <a:gsLst>
                  <a:gs pos="3000">
                    <a:srgbClr val="F50000">
                      <a:lumMod val="60000"/>
                      <a:lumOff val="40000"/>
                    </a:srgbClr>
                  </a:gs>
                  <a:gs pos="72000">
                    <a:srgbClr val="F50000"/>
                  </a:gs>
                </a:gsLst>
                <a:path path="shape">
                  <a:fillToRect l="66389" t="30249" r="33610" b="69750"/>
                </a:path>
              </a:gra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4" name="Shape 20506">
                <a:extLst>
                  <a:ext uri="{FF2B5EF4-FFF2-40B4-BE49-F238E27FC236}">
                    <a16:creationId xmlns:a16="http://schemas.microsoft.com/office/drawing/2014/main" id="{8F8B7822-1C51-454E-A989-63992A128A76}"/>
                  </a:ext>
                </a:extLst>
              </p:cNvPr>
              <p:cNvSpPr/>
              <p:nvPr/>
            </p:nvSpPr>
            <p:spPr>
              <a:xfrm>
                <a:off x="1794436" y="5535105"/>
                <a:ext cx="3829995" cy="1997676"/>
              </a:xfrm>
              <a:custGeom>
                <a:avLst/>
                <a:gdLst/>
                <a:ahLst/>
                <a:cxnLst>
                  <a:cxn ang="0">
                    <a:pos x="wd2" y="hd2"/>
                  </a:cxn>
                  <a:cxn ang="5400000">
                    <a:pos x="wd2" y="hd2"/>
                  </a:cxn>
                  <a:cxn ang="10800000">
                    <a:pos x="wd2" y="hd2"/>
                  </a:cxn>
                  <a:cxn ang="16200000">
                    <a:pos x="wd2" y="hd2"/>
                  </a:cxn>
                </a:cxnLst>
                <a:rect l="0" t="0" r="r" b="b"/>
                <a:pathLst>
                  <a:path w="21600" h="21386" extrusionOk="0">
                    <a:moveTo>
                      <a:pt x="4607" y="0"/>
                    </a:moveTo>
                    <a:lnTo>
                      <a:pt x="0" y="15745"/>
                    </a:lnTo>
                    <a:cubicBezTo>
                      <a:pt x="1415" y="17665"/>
                      <a:pt x="3018" y="19028"/>
                      <a:pt x="4718" y="19741"/>
                    </a:cubicBezTo>
                    <a:cubicBezTo>
                      <a:pt x="4967" y="19846"/>
                      <a:pt x="5219" y="19936"/>
                      <a:pt x="5471" y="20012"/>
                    </a:cubicBezTo>
                    <a:lnTo>
                      <a:pt x="6732" y="19580"/>
                    </a:lnTo>
                    <a:lnTo>
                      <a:pt x="6702" y="20331"/>
                    </a:lnTo>
                    <a:cubicBezTo>
                      <a:pt x="8575" y="21293"/>
                      <a:pt x="10525" y="21600"/>
                      <a:pt x="12456" y="21241"/>
                    </a:cubicBezTo>
                    <a:cubicBezTo>
                      <a:pt x="12573" y="21219"/>
                      <a:pt x="12687" y="21194"/>
                      <a:pt x="12803" y="21168"/>
                    </a:cubicBezTo>
                    <a:lnTo>
                      <a:pt x="13981" y="19822"/>
                    </a:lnTo>
                    <a:lnTo>
                      <a:pt x="14377" y="20768"/>
                    </a:lnTo>
                    <a:cubicBezTo>
                      <a:pt x="16160" y="20273"/>
                      <a:pt x="17901" y="19316"/>
                      <a:pt x="19548" y="17923"/>
                    </a:cubicBezTo>
                    <a:cubicBezTo>
                      <a:pt x="19641" y="17844"/>
                      <a:pt x="19734" y="17762"/>
                      <a:pt x="19827" y="17680"/>
                    </a:cubicBezTo>
                    <a:lnTo>
                      <a:pt x="20851" y="15425"/>
                    </a:lnTo>
                    <a:lnTo>
                      <a:pt x="21279" y="16233"/>
                    </a:lnTo>
                    <a:lnTo>
                      <a:pt x="21600" y="15648"/>
                    </a:lnTo>
                    <a:lnTo>
                      <a:pt x="17019" y="0"/>
                    </a:lnTo>
                    <a:lnTo>
                      <a:pt x="10813" y="4700"/>
                    </a:lnTo>
                    <a:lnTo>
                      <a:pt x="4607" y="0"/>
                    </a:lnTo>
                    <a:close/>
                  </a:path>
                </a:pathLst>
              </a:custGeom>
              <a:solidFill>
                <a:srgbClr val="000000">
                  <a:alpha val="5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5" name="Shape 20507">
                <a:extLst>
                  <a:ext uri="{FF2B5EF4-FFF2-40B4-BE49-F238E27FC236}">
                    <a16:creationId xmlns:a16="http://schemas.microsoft.com/office/drawing/2014/main" id="{DABC52DA-9564-4F37-9AF3-06D2C39C2B94}"/>
                  </a:ext>
                </a:extLst>
              </p:cNvPr>
              <p:cNvSpPr/>
              <p:nvPr/>
            </p:nvSpPr>
            <p:spPr>
              <a:xfrm>
                <a:off x="3095403" y="0"/>
                <a:ext cx="1258998" cy="1442315"/>
              </a:xfrm>
              <a:custGeom>
                <a:avLst/>
                <a:gdLst/>
                <a:ahLst/>
                <a:cxnLst>
                  <a:cxn ang="0">
                    <a:pos x="wd2" y="hd2"/>
                  </a:cxn>
                  <a:cxn ang="5400000">
                    <a:pos x="wd2" y="hd2"/>
                  </a:cxn>
                  <a:cxn ang="10800000">
                    <a:pos x="wd2" y="hd2"/>
                  </a:cxn>
                  <a:cxn ang="16200000">
                    <a:pos x="wd2" y="hd2"/>
                  </a:cxn>
                </a:cxnLst>
                <a:rect l="0" t="0" r="r" b="b"/>
                <a:pathLst>
                  <a:path w="21600" h="21600" extrusionOk="0">
                    <a:moveTo>
                      <a:pt x="10573" y="0"/>
                    </a:moveTo>
                    <a:cubicBezTo>
                      <a:pt x="9054" y="0"/>
                      <a:pt x="7548" y="49"/>
                      <a:pt x="6056" y="141"/>
                    </a:cubicBezTo>
                    <a:lnTo>
                      <a:pt x="0" y="2620"/>
                    </a:lnTo>
                    <a:lnTo>
                      <a:pt x="5250" y="21115"/>
                    </a:lnTo>
                    <a:cubicBezTo>
                      <a:pt x="6992" y="20912"/>
                      <a:pt x="8768" y="20805"/>
                      <a:pt x="10573" y="20805"/>
                    </a:cubicBezTo>
                    <a:cubicBezTo>
                      <a:pt x="13488" y="20805"/>
                      <a:pt x="16328" y="21081"/>
                      <a:pt x="19064" y="21600"/>
                    </a:cubicBezTo>
                    <a:lnTo>
                      <a:pt x="21600" y="833"/>
                    </a:lnTo>
                    <a:cubicBezTo>
                      <a:pt x="18018" y="287"/>
                      <a:pt x="14334" y="0"/>
                      <a:pt x="10573" y="0"/>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6" name="Shape 20508">
                <a:extLst>
                  <a:ext uri="{FF2B5EF4-FFF2-40B4-BE49-F238E27FC236}">
                    <a16:creationId xmlns:a16="http://schemas.microsoft.com/office/drawing/2014/main" id="{7B5DA16E-0881-41FF-B230-C9D30AE0042E}"/>
                  </a:ext>
                </a:extLst>
              </p:cNvPr>
              <p:cNvSpPr/>
              <p:nvPr/>
            </p:nvSpPr>
            <p:spPr>
              <a:xfrm>
                <a:off x="4015829" y="5762115"/>
                <a:ext cx="1474914" cy="1598186"/>
              </a:xfrm>
              <a:custGeom>
                <a:avLst/>
                <a:gdLst/>
                <a:ahLst/>
                <a:cxnLst>
                  <a:cxn ang="0">
                    <a:pos x="wd2" y="hd2"/>
                  </a:cxn>
                  <a:cxn ang="5400000">
                    <a:pos x="wd2" y="hd2"/>
                  </a:cxn>
                  <a:cxn ang="10800000">
                    <a:pos x="wd2" y="hd2"/>
                  </a:cxn>
                  <a:cxn ang="16200000">
                    <a:pos x="wd2" y="hd2"/>
                  </a:cxn>
                </a:cxnLst>
                <a:rect l="0" t="0" r="r" b="b"/>
                <a:pathLst>
                  <a:path w="21600" h="21600" extrusionOk="0">
                    <a:moveTo>
                      <a:pt x="21561" y="14166"/>
                    </a:moveTo>
                    <a:lnTo>
                      <a:pt x="21600" y="14204"/>
                    </a:lnTo>
                    <a:lnTo>
                      <a:pt x="11251" y="0"/>
                    </a:lnTo>
                    <a:cubicBezTo>
                      <a:pt x="7807" y="1669"/>
                      <a:pt x="4014" y="2809"/>
                      <a:pt x="0" y="3302"/>
                    </a:cubicBezTo>
                    <a:lnTo>
                      <a:pt x="4869" y="21439"/>
                    </a:lnTo>
                    <a:lnTo>
                      <a:pt x="4869" y="21439"/>
                    </a:lnTo>
                    <a:lnTo>
                      <a:pt x="4913" y="21600"/>
                    </a:lnTo>
                    <a:cubicBezTo>
                      <a:pt x="9301" y="20891"/>
                      <a:pt x="13509" y="19695"/>
                      <a:pt x="17467" y="18076"/>
                    </a:cubicBezTo>
                    <a:lnTo>
                      <a:pt x="17318" y="18099"/>
                    </a:lnTo>
                    <a:cubicBezTo>
                      <a:pt x="17318" y="18099"/>
                      <a:pt x="21561" y="14166"/>
                      <a:pt x="21561" y="14166"/>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7" name="Shape 20509">
                <a:extLst>
                  <a:ext uri="{FF2B5EF4-FFF2-40B4-BE49-F238E27FC236}">
                    <a16:creationId xmlns:a16="http://schemas.microsoft.com/office/drawing/2014/main" id="{2D935CCF-971E-429C-BAB6-DBCE5AF7D716}"/>
                  </a:ext>
                </a:extLst>
              </p:cNvPr>
              <p:cNvSpPr/>
              <p:nvPr/>
            </p:nvSpPr>
            <p:spPr>
              <a:xfrm>
                <a:off x="958250" y="498038"/>
                <a:ext cx="1670491" cy="1649972"/>
              </a:xfrm>
              <a:custGeom>
                <a:avLst/>
                <a:gdLst/>
                <a:ahLst/>
                <a:cxnLst>
                  <a:cxn ang="0">
                    <a:pos x="wd2" y="hd2"/>
                  </a:cxn>
                  <a:cxn ang="5400000">
                    <a:pos x="wd2" y="hd2"/>
                  </a:cxn>
                  <a:cxn ang="10800000">
                    <a:pos x="wd2" y="hd2"/>
                  </a:cxn>
                  <a:cxn ang="16200000">
                    <a:pos x="wd2" y="hd2"/>
                  </a:cxn>
                </a:cxnLst>
                <a:rect l="0" t="0" r="r" b="b"/>
                <a:pathLst>
                  <a:path w="21600" h="21600" extrusionOk="0">
                    <a:moveTo>
                      <a:pt x="11538" y="0"/>
                    </a:moveTo>
                    <a:cubicBezTo>
                      <a:pt x="8069" y="2034"/>
                      <a:pt x="4877" y="4498"/>
                      <a:pt x="2029" y="7316"/>
                    </a:cubicBezTo>
                    <a:lnTo>
                      <a:pt x="0" y="11745"/>
                    </a:lnTo>
                    <a:lnTo>
                      <a:pt x="13357" y="21600"/>
                    </a:lnTo>
                    <a:cubicBezTo>
                      <a:pt x="15703" y="18994"/>
                      <a:pt x="18491" y="16805"/>
                      <a:pt x="21600" y="15150"/>
                    </a:cubicBezTo>
                    <a:cubicBezTo>
                      <a:pt x="21600" y="15150"/>
                      <a:pt x="11538" y="0"/>
                      <a:pt x="11538" y="0"/>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8" name="Shape 20510">
                <a:extLst>
                  <a:ext uri="{FF2B5EF4-FFF2-40B4-BE49-F238E27FC236}">
                    <a16:creationId xmlns:a16="http://schemas.microsoft.com/office/drawing/2014/main" id="{19CA5AEE-CB74-4BA8-8B30-863090D7156E}"/>
                  </a:ext>
                </a:extLst>
              </p:cNvPr>
              <p:cNvSpPr/>
              <p:nvPr/>
            </p:nvSpPr>
            <p:spPr>
              <a:xfrm>
                <a:off x="5421683" y="4589518"/>
                <a:ext cx="1649279" cy="1502212"/>
              </a:xfrm>
              <a:custGeom>
                <a:avLst/>
                <a:gdLst/>
                <a:ahLst/>
                <a:cxnLst>
                  <a:cxn ang="0">
                    <a:pos x="wd2" y="hd2"/>
                  </a:cxn>
                  <a:cxn ang="5400000">
                    <a:pos x="wd2" y="hd2"/>
                  </a:cxn>
                  <a:cxn ang="10800000">
                    <a:pos x="wd2" y="hd2"/>
                  </a:cxn>
                  <a:cxn ang="16200000">
                    <a:pos x="wd2" y="hd2"/>
                  </a:cxn>
                </a:cxnLst>
                <a:rect l="0" t="0" r="r" b="b"/>
                <a:pathLst>
                  <a:path w="21600" h="21600" extrusionOk="0">
                    <a:moveTo>
                      <a:pt x="5653" y="0"/>
                    </a:moveTo>
                    <a:cubicBezTo>
                      <a:pt x="4294" y="3629"/>
                      <a:pt x="2370" y="6938"/>
                      <a:pt x="0" y="9792"/>
                    </a:cubicBezTo>
                    <a:lnTo>
                      <a:pt x="14757" y="21600"/>
                    </a:lnTo>
                    <a:cubicBezTo>
                      <a:pt x="17261" y="18327"/>
                      <a:pt x="19412" y="14719"/>
                      <a:pt x="21149" y="10847"/>
                    </a:cubicBezTo>
                    <a:lnTo>
                      <a:pt x="21600" y="5048"/>
                    </a:lnTo>
                    <a:cubicBezTo>
                      <a:pt x="21600" y="5048"/>
                      <a:pt x="5653" y="0"/>
                      <a:pt x="5653" y="0"/>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19" name="Shape 20511">
                <a:extLst>
                  <a:ext uri="{FF2B5EF4-FFF2-40B4-BE49-F238E27FC236}">
                    <a16:creationId xmlns:a16="http://schemas.microsoft.com/office/drawing/2014/main" id="{6EB3BEDD-7719-48DD-9771-E252B80326F8}"/>
                  </a:ext>
                </a:extLst>
              </p:cNvPr>
              <p:cNvSpPr/>
              <p:nvPr/>
            </p:nvSpPr>
            <p:spPr>
              <a:xfrm>
                <a:off x="18912" y="2439758"/>
                <a:ext cx="1544956" cy="1261018"/>
              </a:xfrm>
              <a:custGeom>
                <a:avLst/>
                <a:gdLst/>
                <a:ahLst/>
                <a:cxnLst>
                  <a:cxn ang="0">
                    <a:pos x="wd2" y="hd2"/>
                  </a:cxn>
                  <a:cxn ang="5400000">
                    <a:pos x="wd2" y="hd2"/>
                  </a:cxn>
                  <a:cxn ang="10800000">
                    <a:pos x="wd2" y="hd2"/>
                  </a:cxn>
                  <a:cxn ang="16200000">
                    <a:pos x="wd2" y="hd2"/>
                  </a:cxn>
                </a:cxnLst>
                <a:rect l="0" t="0" r="r" b="b"/>
                <a:pathLst>
                  <a:path w="21600" h="21600" extrusionOk="0">
                    <a:moveTo>
                      <a:pt x="21600" y="6620"/>
                    </a:moveTo>
                    <a:lnTo>
                      <a:pt x="3016" y="55"/>
                    </a:lnTo>
                    <a:lnTo>
                      <a:pt x="3015" y="54"/>
                    </a:lnTo>
                    <a:lnTo>
                      <a:pt x="2862" y="0"/>
                    </a:lnTo>
                    <a:cubicBezTo>
                      <a:pt x="1404" y="4907"/>
                      <a:pt x="429" y="10097"/>
                      <a:pt x="0" y="15483"/>
                    </a:cubicBezTo>
                    <a:lnTo>
                      <a:pt x="1349" y="21600"/>
                    </a:lnTo>
                    <a:lnTo>
                      <a:pt x="19201" y="20103"/>
                    </a:lnTo>
                    <a:cubicBezTo>
                      <a:pt x="19357" y="15345"/>
                      <a:pt x="20196" y="10804"/>
                      <a:pt x="21600" y="6620"/>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0" name="Shape 20512">
                <a:extLst>
                  <a:ext uri="{FF2B5EF4-FFF2-40B4-BE49-F238E27FC236}">
                    <a16:creationId xmlns:a16="http://schemas.microsoft.com/office/drawing/2014/main" id="{17BF72A2-59DF-458C-BEED-9698A5A11433}"/>
                  </a:ext>
                </a:extLst>
              </p:cNvPr>
              <p:cNvSpPr/>
              <p:nvPr/>
            </p:nvSpPr>
            <p:spPr>
              <a:xfrm>
                <a:off x="5919723" y="2490192"/>
                <a:ext cx="1498396" cy="1313761"/>
              </a:xfrm>
              <a:custGeom>
                <a:avLst/>
                <a:gdLst/>
                <a:ahLst/>
                <a:cxnLst>
                  <a:cxn ang="0">
                    <a:pos x="wd2" y="hd2"/>
                  </a:cxn>
                  <a:cxn ang="5400000">
                    <a:pos x="wd2" y="hd2"/>
                  </a:cxn>
                  <a:cxn ang="10800000">
                    <a:pos x="wd2" y="hd2"/>
                  </a:cxn>
                  <a:cxn ang="16200000">
                    <a:pos x="wd2" y="hd2"/>
                  </a:cxn>
                </a:cxnLst>
                <a:rect l="0" t="0" r="r" b="b"/>
                <a:pathLst>
                  <a:path w="21600" h="21600" extrusionOk="0">
                    <a:moveTo>
                      <a:pt x="21600" y="20034"/>
                    </a:moveTo>
                    <a:cubicBezTo>
                      <a:pt x="21599" y="14976"/>
                      <a:pt x="21056" y="10063"/>
                      <a:pt x="20037" y="5364"/>
                    </a:cubicBezTo>
                    <a:lnTo>
                      <a:pt x="16729" y="0"/>
                    </a:lnTo>
                    <a:lnTo>
                      <a:pt x="0" y="8462"/>
                    </a:lnTo>
                    <a:cubicBezTo>
                      <a:pt x="1021" y="12117"/>
                      <a:pt x="1574" y="16011"/>
                      <a:pt x="1574" y="20052"/>
                    </a:cubicBezTo>
                    <a:cubicBezTo>
                      <a:pt x="1574" y="20571"/>
                      <a:pt x="1562" y="21086"/>
                      <a:pt x="1544" y="21600"/>
                    </a:cubicBezTo>
                    <a:cubicBezTo>
                      <a:pt x="1544" y="21600"/>
                      <a:pt x="21600" y="20034"/>
                      <a:pt x="21600" y="20034"/>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1" name="Shape 20513">
                <a:extLst>
                  <a:ext uri="{FF2B5EF4-FFF2-40B4-BE49-F238E27FC236}">
                    <a16:creationId xmlns:a16="http://schemas.microsoft.com/office/drawing/2014/main" id="{3EEBC64A-B614-4A76-8CED-531D8AF2B2E9}"/>
                  </a:ext>
                </a:extLst>
              </p:cNvPr>
              <p:cNvSpPr/>
              <p:nvPr/>
            </p:nvSpPr>
            <p:spPr>
              <a:xfrm>
                <a:off x="220648" y="4412998"/>
                <a:ext cx="1649541" cy="1598811"/>
              </a:xfrm>
              <a:custGeom>
                <a:avLst/>
                <a:gdLst/>
                <a:ahLst/>
                <a:cxnLst>
                  <a:cxn ang="0">
                    <a:pos x="wd2" y="hd2"/>
                  </a:cxn>
                  <a:cxn ang="5400000">
                    <a:pos x="wd2" y="hd2"/>
                  </a:cxn>
                  <a:cxn ang="10800000">
                    <a:pos x="wd2" y="hd2"/>
                  </a:cxn>
                  <a:cxn ang="16200000">
                    <a:pos x="wd2" y="hd2"/>
                  </a:cxn>
                </a:cxnLst>
                <a:rect l="0" t="0" r="r" b="b"/>
                <a:pathLst>
                  <a:path w="21600" h="21600" extrusionOk="0">
                    <a:moveTo>
                      <a:pt x="21600" y="9639"/>
                    </a:moveTo>
                    <a:cubicBezTo>
                      <a:pt x="19457" y="6778"/>
                      <a:pt x="17783" y="3524"/>
                      <a:pt x="16697" y="0"/>
                    </a:cubicBezTo>
                    <a:lnTo>
                      <a:pt x="141" y="7575"/>
                    </a:lnTo>
                    <a:lnTo>
                      <a:pt x="140" y="7576"/>
                    </a:lnTo>
                    <a:lnTo>
                      <a:pt x="0" y="7639"/>
                    </a:lnTo>
                    <a:cubicBezTo>
                      <a:pt x="1388" y="11571"/>
                      <a:pt x="3242" y="15271"/>
                      <a:pt x="5488" y="18672"/>
                    </a:cubicBezTo>
                    <a:lnTo>
                      <a:pt x="9560" y="21600"/>
                    </a:lnTo>
                    <a:cubicBezTo>
                      <a:pt x="9560" y="21600"/>
                      <a:pt x="21600" y="9639"/>
                      <a:pt x="21600" y="9639"/>
                    </a:cubicBezTo>
                    <a:close/>
                  </a:path>
                </a:pathLst>
              </a:custGeom>
              <a:solidFill>
                <a:srgbClr val="00AA85"/>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2" name="Shape 20514">
                <a:extLst>
                  <a:ext uri="{FF2B5EF4-FFF2-40B4-BE49-F238E27FC236}">
                    <a16:creationId xmlns:a16="http://schemas.microsoft.com/office/drawing/2014/main" id="{A8776088-05FF-4067-A19B-9CE826CE6178}"/>
                  </a:ext>
                </a:extLst>
              </p:cNvPr>
              <p:cNvSpPr/>
              <p:nvPr/>
            </p:nvSpPr>
            <p:spPr>
              <a:xfrm>
                <a:off x="4948863" y="605211"/>
                <a:ext cx="1600199" cy="1684562"/>
              </a:xfrm>
              <a:custGeom>
                <a:avLst/>
                <a:gdLst/>
                <a:ahLst/>
                <a:cxnLst>
                  <a:cxn ang="0">
                    <a:pos x="wd2" y="hd2"/>
                  </a:cxn>
                  <a:cxn ang="5400000">
                    <a:pos x="wd2" y="hd2"/>
                  </a:cxn>
                  <a:cxn ang="10800000">
                    <a:pos x="wd2" y="hd2"/>
                  </a:cxn>
                  <a:cxn ang="16200000">
                    <a:pos x="wd2" y="hd2"/>
                  </a:cxn>
                </a:cxnLst>
                <a:rect l="0" t="0" r="r" b="b"/>
                <a:pathLst>
                  <a:path w="21600" h="21600" extrusionOk="0">
                    <a:moveTo>
                      <a:pt x="12668" y="1293"/>
                    </a:moveTo>
                    <a:lnTo>
                      <a:pt x="7545" y="0"/>
                    </a:lnTo>
                    <a:lnTo>
                      <a:pt x="0" y="14641"/>
                    </a:lnTo>
                    <a:cubicBezTo>
                      <a:pt x="3089" y="16501"/>
                      <a:pt x="5812" y="18861"/>
                      <a:pt x="8043" y="21600"/>
                    </a:cubicBezTo>
                    <a:lnTo>
                      <a:pt x="21600" y="9200"/>
                    </a:lnTo>
                    <a:cubicBezTo>
                      <a:pt x="18974" y="6233"/>
                      <a:pt x="15974" y="3576"/>
                      <a:pt x="12668" y="1293"/>
                    </a:cubicBezTo>
                    <a:close/>
                  </a:path>
                </a:pathLst>
              </a:custGeom>
              <a:solidFill>
                <a:srgbClr val="FF9C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3" name="Shape 20515">
                <a:extLst>
                  <a:ext uri="{FF2B5EF4-FFF2-40B4-BE49-F238E27FC236}">
                    <a16:creationId xmlns:a16="http://schemas.microsoft.com/office/drawing/2014/main" id="{00D7C864-6903-4279-BAFE-71C61AADDA92}"/>
                  </a:ext>
                </a:extLst>
              </p:cNvPr>
              <p:cNvSpPr/>
              <p:nvPr/>
            </p:nvSpPr>
            <p:spPr>
              <a:xfrm>
                <a:off x="1853458" y="5667551"/>
                <a:ext cx="1358658" cy="1604503"/>
              </a:xfrm>
              <a:custGeom>
                <a:avLst/>
                <a:gdLst/>
                <a:ahLst/>
                <a:cxnLst>
                  <a:cxn ang="0">
                    <a:pos x="wd2" y="hd2"/>
                  </a:cxn>
                  <a:cxn ang="5400000">
                    <a:pos x="wd2" y="hd2"/>
                  </a:cxn>
                  <a:cxn ang="10800000">
                    <a:pos x="wd2" y="hd2"/>
                  </a:cxn>
                  <a:cxn ang="16200000">
                    <a:pos x="wd2" y="hd2"/>
                  </a:cxn>
                </a:cxnLst>
                <a:rect l="0" t="0" r="r" b="b"/>
                <a:pathLst>
                  <a:path w="21600" h="21600" extrusionOk="0">
                    <a:moveTo>
                      <a:pt x="19448" y="21225"/>
                    </a:moveTo>
                    <a:lnTo>
                      <a:pt x="21600" y="4128"/>
                    </a:lnTo>
                    <a:cubicBezTo>
                      <a:pt x="17326" y="3339"/>
                      <a:pt x="13329" y="1924"/>
                      <a:pt x="9750" y="0"/>
                    </a:cubicBezTo>
                    <a:lnTo>
                      <a:pt x="83" y="16721"/>
                    </a:lnTo>
                    <a:lnTo>
                      <a:pt x="82" y="16722"/>
                    </a:lnTo>
                    <a:lnTo>
                      <a:pt x="0" y="16864"/>
                    </a:lnTo>
                    <a:cubicBezTo>
                      <a:pt x="4093" y="18870"/>
                      <a:pt x="8499" y="20469"/>
                      <a:pt x="13138" y="21600"/>
                    </a:cubicBezTo>
                    <a:lnTo>
                      <a:pt x="19440" y="21122"/>
                    </a:lnTo>
                    <a:cubicBezTo>
                      <a:pt x="19440" y="21122"/>
                      <a:pt x="19448" y="21225"/>
                      <a:pt x="19448" y="21225"/>
                    </a:cubicBezTo>
                    <a:close/>
                  </a:path>
                </a:pathLst>
              </a:custGeom>
              <a:solidFill>
                <a:srgbClr val="4F5D68"/>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4" name="Shape 20516">
                <a:extLst>
                  <a:ext uri="{FF2B5EF4-FFF2-40B4-BE49-F238E27FC236}">
                    <a16:creationId xmlns:a16="http://schemas.microsoft.com/office/drawing/2014/main" id="{8587D380-A4D8-4F3F-930D-0C9959027649}"/>
                  </a:ext>
                </a:extLst>
              </p:cNvPr>
              <p:cNvSpPr/>
              <p:nvPr/>
            </p:nvSpPr>
            <p:spPr>
              <a:xfrm>
                <a:off x="3063882" y="5976462"/>
                <a:ext cx="1259882" cy="1442636"/>
              </a:xfrm>
              <a:custGeom>
                <a:avLst/>
                <a:gdLst/>
                <a:ahLst/>
                <a:cxnLst>
                  <a:cxn ang="0">
                    <a:pos x="wd2" y="hd2"/>
                  </a:cxn>
                  <a:cxn ang="5400000">
                    <a:pos x="wd2" y="hd2"/>
                  </a:cxn>
                  <a:cxn ang="10800000">
                    <a:pos x="wd2" y="hd2"/>
                  </a:cxn>
                  <a:cxn ang="16200000">
                    <a:pos x="wd2" y="hd2"/>
                  </a:cxn>
                </a:cxnLst>
                <a:rect l="0" t="0" r="r" b="b"/>
                <a:pathLst>
                  <a:path w="21600" h="21600" extrusionOk="0">
                    <a:moveTo>
                      <a:pt x="21600" y="19024"/>
                    </a:moveTo>
                    <a:lnTo>
                      <a:pt x="16343" y="492"/>
                    </a:lnTo>
                    <a:cubicBezTo>
                      <a:pt x="14609" y="694"/>
                      <a:pt x="12842" y="800"/>
                      <a:pt x="11045" y="800"/>
                    </a:cubicBezTo>
                    <a:cubicBezTo>
                      <a:pt x="8124" y="800"/>
                      <a:pt x="5277" y="522"/>
                      <a:pt x="2535" y="0"/>
                    </a:cubicBezTo>
                    <a:lnTo>
                      <a:pt x="23" y="20584"/>
                    </a:lnTo>
                    <a:lnTo>
                      <a:pt x="21" y="20589"/>
                    </a:lnTo>
                    <a:lnTo>
                      <a:pt x="0" y="20763"/>
                    </a:lnTo>
                    <a:cubicBezTo>
                      <a:pt x="3588" y="21312"/>
                      <a:pt x="7278" y="21600"/>
                      <a:pt x="11045" y="21600"/>
                    </a:cubicBezTo>
                    <a:cubicBezTo>
                      <a:pt x="12454" y="21600"/>
                      <a:pt x="13851" y="21560"/>
                      <a:pt x="15236" y="21481"/>
                    </a:cubicBezTo>
                    <a:lnTo>
                      <a:pt x="21538" y="18900"/>
                    </a:lnTo>
                    <a:cubicBezTo>
                      <a:pt x="21538" y="18900"/>
                      <a:pt x="21600" y="19024"/>
                      <a:pt x="21600" y="19024"/>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5" name="Shape 20517">
                <a:extLst>
                  <a:ext uri="{FF2B5EF4-FFF2-40B4-BE49-F238E27FC236}">
                    <a16:creationId xmlns:a16="http://schemas.microsoft.com/office/drawing/2014/main" id="{EE5253EA-8516-437D-A900-7C281F946723}"/>
                  </a:ext>
                </a:extLst>
              </p:cNvPr>
              <p:cNvSpPr/>
              <p:nvPr/>
            </p:nvSpPr>
            <p:spPr>
              <a:xfrm>
                <a:off x="1916503" y="56738"/>
                <a:ext cx="1479448" cy="1598393"/>
              </a:xfrm>
              <a:custGeom>
                <a:avLst/>
                <a:gdLst/>
                <a:ahLst/>
                <a:cxnLst>
                  <a:cxn ang="0">
                    <a:pos x="wd2" y="hd2"/>
                  </a:cxn>
                  <a:cxn ang="5400000">
                    <a:pos x="wd2" y="hd2"/>
                  </a:cxn>
                  <a:cxn ang="10800000">
                    <a:pos x="wd2" y="hd2"/>
                  </a:cxn>
                  <a:cxn ang="16200000">
                    <a:pos x="wd2" y="hd2"/>
                  </a:cxn>
                </a:cxnLst>
                <a:rect l="0" t="0" r="r" b="b"/>
                <a:pathLst>
                  <a:path w="21600" h="21600" extrusionOk="0">
                    <a:moveTo>
                      <a:pt x="21600" y="18295"/>
                    </a:moveTo>
                    <a:lnTo>
                      <a:pt x="16702" y="0"/>
                    </a:lnTo>
                    <a:cubicBezTo>
                      <a:pt x="12237" y="726"/>
                      <a:pt x="7960" y="1960"/>
                      <a:pt x="3943" y="3631"/>
                    </a:cubicBezTo>
                    <a:lnTo>
                      <a:pt x="0" y="7297"/>
                    </a:lnTo>
                    <a:lnTo>
                      <a:pt x="10390" y="21600"/>
                    </a:lnTo>
                    <a:cubicBezTo>
                      <a:pt x="13822" y="19930"/>
                      <a:pt x="17600" y="18790"/>
                      <a:pt x="21600" y="18295"/>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6" name="Shape 20518">
                <a:extLst>
                  <a:ext uri="{FF2B5EF4-FFF2-40B4-BE49-F238E27FC236}">
                    <a16:creationId xmlns:a16="http://schemas.microsoft.com/office/drawing/2014/main" id="{9ADA1566-BE1D-4588-B683-EB8C5CFC4A35}"/>
                  </a:ext>
                </a:extLst>
              </p:cNvPr>
              <p:cNvSpPr/>
              <p:nvPr/>
            </p:nvSpPr>
            <p:spPr>
              <a:xfrm>
                <a:off x="4784951" y="5270381"/>
                <a:ext cx="1661260" cy="1650136"/>
              </a:xfrm>
              <a:custGeom>
                <a:avLst/>
                <a:gdLst/>
                <a:ahLst/>
                <a:cxnLst>
                  <a:cxn ang="0">
                    <a:pos x="wd2" y="hd2"/>
                  </a:cxn>
                  <a:cxn ang="5400000">
                    <a:pos x="wd2" y="hd2"/>
                  </a:cxn>
                  <a:cxn ang="10800000">
                    <a:pos x="wd2" y="hd2"/>
                  </a:cxn>
                  <a:cxn ang="16200000">
                    <a:pos x="wd2" y="hd2"/>
                  </a:cxn>
                </a:cxnLst>
                <a:rect l="0" t="0" r="r" b="b"/>
                <a:pathLst>
                  <a:path w="21600" h="21600" extrusionOk="0">
                    <a:moveTo>
                      <a:pt x="8296" y="0"/>
                    </a:moveTo>
                    <a:cubicBezTo>
                      <a:pt x="5935" y="2607"/>
                      <a:pt x="3129" y="4796"/>
                      <a:pt x="0" y="6451"/>
                    </a:cubicBezTo>
                    <a:lnTo>
                      <a:pt x="10027" y="21464"/>
                    </a:lnTo>
                    <a:lnTo>
                      <a:pt x="10118" y="21600"/>
                    </a:lnTo>
                    <a:cubicBezTo>
                      <a:pt x="13483" y="19640"/>
                      <a:pt x="16590" y="17281"/>
                      <a:pt x="19377" y="14589"/>
                    </a:cubicBezTo>
                    <a:lnTo>
                      <a:pt x="21600" y="9761"/>
                    </a:lnTo>
                    <a:cubicBezTo>
                      <a:pt x="21600" y="9761"/>
                      <a:pt x="8296" y="0"/>
                      <a:pt x="8296" y="0"/>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7" name="Shape 20519">
                <a:extLst>
                  <a:ext uri="{FF2B5EF4-FFF2-40B4-BE49-F238E27FC236}">
                    <a16:creationId xmlns:a16="http://schemas.microsoft.com/office/drawing/2014/main" id="{2973A814-477C-4587-BD3B-B240308A1D27}"/>
                  </a:ext>
                </a:extLst>
              </p:cNvPr>
              <p:cNvSpPr/>
              <p:nvPr/>
            </p:nvSpPr>
            <p:spPr>
              <a:xfrm>
                <a:off x="334126" y="1323899"/>
                <a:ext cx="1660389" cy="1501778"/>
              </a:xfrm>
              <a:custGeom>
                <a:avLst/>
                <a:gdLst/>
                <a:ahLst/>
                <a:cxnLst>
                  <a:cxn ang="0">
                    <a:pos x="wd2" y="hd2"/>
                  </a:cxn>
                  <a:cxn ang="5400000">
                    <a:pos x="wd2" y="hd2"/>
                  </a:cxn>
                  <a:cxn ang="10800000">
                    <a:pos x="wd2" y="hd2"/>
                  </a:cxn>
                  <a:cxn ang="16200000">
                    <a:pos x="wd2" y="hd2"/>
                  </a:cxn>
                </a:cxnLst>
                <a:rect l="0" t="0" r="r" b="b"/>
                <a:pathLst>
                  <a:path w="21600" h="21600" extrusionOk="0">
                    <a:moveTo>
                      <a:pt x="21600" y="11811"/>
                    </a:moveTo>
                    <a:lnTo>
                      <a:pt x="7052" y="89"/>
                    </a:lnTo>
                    <a:lnTo>
                      <a:pt x="7051" y="88"/>
                    </a:lnTo>
                    <a:lnTo>
                      <a:pt x="6942" y="0"/>
                    </a:lnTo>
                    <a:cubicBezTo>
                      <a:pt x="4366" y="3392"/>
                      <a:pt x="2167" y="7144"/>
                      <a:pt x="411" y="11176"/>
                    </a:cubicBezTo>
                    <a:lnTo>
                      <a:pt x="0" y="16503"/>
                    </a:lnTo>
                    <a:lnTo>
                      <a:pt x="15989" y="21600"/>
                    </a:lnTo>
                    <a:cubicBezTo>
                      <a:pt x="17339" y="17972"/>
                      <a:pt x="19248" y="14665"/>
                      <a:pt x="21600" y="11811"/>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8" name="Shape 20520">
                <a:extLst>
                  <a:ext uri="{FF2B5EF4-FFF2-40B4-BE49-F238E27FC236}">
                    <a16:creationId xmlns:a16="http://schemas.microsoft.com/office/drawing/2014/main" id="{4AED09B4-CEA9-4C7E-9D3B-C0F3B53A92D7}"/>
                  </a:ext>
                </a:extLst>
              </p:cNvPr>
              <p:cNvSpPr/>
              <p:nvPr/>
            </p:nvSpPr>
            <p:spPr>
              <a:xfrm>
                <a:off x="5856679" y="3713223"/>
                <a:ext cx="1542089" cy="1260821"/>
              </a:xfrm>
              <a:custGeom>
                <a:avLst/>
                <a:gdLst/>
                <a:ahLst/>
                <a:cxnLst>
                  <a:cxn ang="0">
                    <a:pos x="wd2" y="hd2"/>
                  </a:cxn>
                  <a:cxn ang="5400000">
                    <a:pos x="wd2" y="hd2"/>
                  </a:cxn>
                  <a:cxn ang="10800000">
                    <a:pos x="wd2" y="hd2"/>
                  </a:cxn>
                  <a:cxn ang="16200000">
                    <a:pos x="wd2" y="hd2"/>
                  </a:cxn>
                </a:cxnLst>
                <a:rect l="0" t="0" r="r" b="b"/>
                <a:pathLst>
                  <a:path w="21600" h="21600" extrusionOk="0">
                    <a:moveTo>
                      <a:pt x="2403" y="1485"/>
                    </a:moveTo>
                    <a:cubicBezTo>
                      <a:pt x="2248" y="6247"/>
                      <a:pt x="1408" y="10792"/>
                      <a:pt x="0" y="14980"/>
                    </a:cubicBezTo>
                    <a:lnTo>
                      <a:pt x="18773" y="21600"/>
                    </a:lnTo>
                    <a:cubicBezTo>
                      <a:pt x="20189" y="16840"/>
                      <a:pt x="21151" y="11814"/>
                      <a:pt x="21600" y="6602"/>
                    </a:cubicBezTo>
                    <a:lnTo>
                      <a:pt x="20141" y="0"/>
                    </a:lnTo>
                    <a:cubicBezTo>
                      <a:pt x="20141" y="0"/>
                      <a:pt x="2403" y="1485"/>
                      <a:pt x="2403" y="1485"/>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29" name="Shape 20521">
                <a:extLst>
                  <a:ext uri="{FF2B5EF4-FFF2-40B4-BE49-F238E27FC236}">
                    <a16:creationId xmlns:a16="http://schemas.microsoft.com/office/drawing/2014/main" id="{5003D66D-6761-499A-8C13-02A84A51A76F}"/>
                  </a:ext>
                </a:extLst>
              </p:cNvPr>
              <p:cNvSpPr/>
              <p:nvPr/>
            </p:nvSpPr>
            <p:spPr>
              <a:xfrm>
                <a:off x="0" y="3612355"/>
                <a:ext cx="1498040" cy="1316842"/>
              </a:xfrm>
              <a:custGeom>
                <a:avLst/>
                <a:gdLst/>
                <a:ahLst/>
                <a:cxnLst>
                  <a:cxn ang="0">
                    <a:pos x="wd2" y="hd2"/>
                  </a:cxn>
                  <a:cxn ang="5400000">
                    <a:pos x="wd2" y="hd2"/>
                  </a:cxn>
                  <a:cxn ang="10800000">
                    <a:pos x="wd2" y="hd2"/>
                  </a:cxn>
                  <a:cxn ang="16200000">
                    <a:pos x="wd2" y="hd2"/>
                  </a:cxn>
                </a:cxnLst>
                <a:rect l="0" t="0" r="r" b="b"/>
                <a:pathLst>
                  <a:path w="21600" h="21600" extrusionOk="0">
                    <a:moveTo>
                      <a:pt x="21600" y="13101"/>
                    </a:moveTo>
                    <a:cubicBezTo>
                      <a:pt x="20582" y="9459"/>
                      <a:pt x="20031" y="5580"/>
                      <a:pt x="20031" y="1555"/>
                    </a:cubicBezTo>
                    <a:cubicBezTo>
                      <a:pt x="20031" y="1034"/>
                      <a:pt x="20043" y="516"/>
                      <a:pt x="20061" y="0"/>
                    </a:cubicBezTo>
                    <a:lnTo>
                      <a:pt x="153" y="1550"/>
                    </a:lnTo>
                    <a:lnTo>
                      <a:pt x="152" y="1550"/>
                    </a:lnTo>
                    <a:lnTo>
                      <a:pt x="0" y="1562"/>
                    </a:lnTo>
                    <a:cubicBezTo>
                      <a:pt x="0" y="6743"/>
                      <a:pt x="573" y="11772"/>
                      <a:pt x="1646" y="16574"/>
                    </a:cubicBezTo>
                    <a:lnTo>
                      <a:pt x="4753" y="21600"/>
                    </a:lnTo>
                    <a:cubicBezTo>
                      <a:pt x="4753" y="21600"/>
                      <a:pt x="21600" y="13101"/>
                      <a:pt x="21600" y="13101"/>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0" name="Shape 20522">
                <a:extLst>
                  <a:ext uri="{FF2B5EF4-FFF2-40B4-BE49-F238E27FC236}">
                    <a16:creationId xmlns:a16="http://schemas.microsoft.com/office/drawing/2014/main" id="{A32BA2B3-1A23-451A-AF60-BD1F5F75B557}"/>
                  </a:ext>
                </a:extLst>
              </p:cNvPr>
              <p:cNvSpPr/>
              <p:nvPr/>
            </p:nvSpPr>
            <p:spPr>
              <a:xfrm>
                <a:off x="5547771" y="1412159"/>
                <a:ext cx="1650000" cy="1593689"/>
              </a:xfrm>
              <a:custGeom>
                <a:avLst/>
                <a:gdLst/>
                <a:ahLst/>
                <a:cxnLst>
                  <a:cxn ang="0">
                    <a:pos x="wd2" y="hd2"/>
                  </a:cxn>
                  <a:cxn ang="5400000">
                    <a:pos x="wd2" y="hd2"/>
                  </a:cxn>
                  <a:cxn ang="10800000">
                    <a:pos x="wd2" y="hd2"/>
                  </a:cxn>
                  <a:cxn ang="16200000">
                    <a:pos x="wd2" y="hd2"/>
                  </a:cxn>
                </a:cxnLst>
                <a:rect l="0" t="0" r="r" b="b"/>
                <a:pathLst>
                  <a:path w="21600" h="21600" extrusionOk="0">
                    <a:moveTo>
                      <a:pt x="16263" y="3101"/>
                    </a:moveTo>
                    <a:lnTo>
                      <a:pt x="11966" y="0"/>
                    </a:lnTo>
                    <a:lnTo>
                      <a:pt x="0" y="11929"/>
                    </a:lnTo>
                    <a:cubicBezTo>
                      <a:pt x="2145" y="14799"/>
                      <a:pt x="3820" y="18064"/>
                      <a:pt x="4908" y="21600"/>
                    </a:cubicBezTo>
                    <a:lnTo>
                      <a:pt x="21600" y="13936"/>
                    </a:lnTo>
                    <a:cubicBezTo>
                      <a:pt x="20243" y="10081"/>
                      <a:pt x="18442" y="6448"/>
                      <a:pt x="16263" y="3101"/>
                    </a:cubicBezTo>
                    <a:close/>
                  </a:path>
                </a:pathLst>
              </a:custGeom>
              <a:solidFill>
                <a:srgbClr val="F50000"/>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1" name="Shape 20523">
                <a:extLst>
                  <a:ext uri="{FF2B5EF4-FFF2-40B4-BE49-F238E27FC236}">
                    <a16:creationId xmlns:a16="http://schemas.microsoft.com/office/drawing/2014/main" id="{9DB71292-BC12-4A59-90FC-DE2E2B71AE49}"/>
                  </a:ext>
                </a:extLst>
              </p:cNvPr>
              <p:cNvSpPr/>
              <p:nvPr/>
            </p:nvSpPr>
            <p:spPr>
              <a:xfrm>
                <a:off x="869990" y="5125383"/>
                <a:ext cx="1599839" cy="1686470"/>
              </a:xfrm>
              <a:custGeom>
                <a:avLst/>
                <a:gdLst/>
                <a:ahLst/>
                <a:cxnLst>
                  <a:cxn ang="0">
                    <a:pos x="wd2" y="hd2"/>
                  </a:cxn>
                  <a:cxn ang="5400000">
                    <a:pos x="wd2" y="hd2"/>
                  </a:cxn>
                  <a:cxn ang="10800000">
                    <a:pos x="wd2" y="hd2"/>
                  </a:cxn>
                  <a:cxn ang="16200000">
                    <a:pos x="wd2" y="hd2"/>
                  </a:cxn>
                </a:cxnLst>
                <a:rect l="0" t="0" r="r" b="b"/>
                <a:pathLst>
                  <a:path w="21600" h="21600" extrusionOk="0">
                    <a:moveTo>
                      <a:pt x="21600" y="6956"/>
                    </a:moveTo>
                    <a:cubicBezTo>
                      <a:pt x="18512" y="5096"/>
                      <a:pt x="15791" y="2737"/>
                      <a:pt x="13561" y="0"/>
                    </a:cubicBezTo>
                    <a:lnTo>
                      <a:pt x="106" y="12290"/>
                    </a:lnTo>
                    <a:lnTo>
                      <a:pt x="105" y="12290"/>
                    </a:lnTo>
                    <a:lnTo>
                      <a:pt x="0" y="12386"/>
                    </a:lnTo>
                    <a:cubicBezTo>
                      <a:pt x="2640" y="15368"/>
                      <a:pt x="5659" y="18035"/>
                      <a:pt x="8986" y="20326"/>
                    </a:cubicBezTo>
                    <a:lnTo>
                      <a:pt x="14042" y="21600"/>
                    </a:lnTo>
                    <a:cubicBezTo>
                      <a:pt x="14042" y="21600"/>
                      <a:pt x="21600" y="6956"/>
                      <a:pt x="21600" y="6956"/>
                    </a:cubicBezTo>
                    <a:close/>
                  </a:path>
                </a:pathLst>
              </a:custGeom>
              <a:solidFill>
                <a:srgbClr val="0079BB"/>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2" name="Shape 20524">
                <a:extLst>
                  <a:ext uri="{FF2B5EF4-FFF2-40B4-BE49-F238E27FC236}">
                    <a16:creationId xmlns:a16="http://schemas.microsoft.com/office/drawing/2014/main" id="{8445AE12-AC45-44A2-ADC5-8F477F9782A5}"/>
                  </a:ext>
                </a:extLst>
              </p:cNvPr>
              <p:cNvSpPr/>
              <p:nvPr/>
            </p:nvSpPr>
            <p:spPr>
              <a:xfrm>
                <a:off x="4204957" y="138694"/>
                <a:ext cx="1358783" cy="1607214"/>
              </a:xfrm>
              <a:custGeom>
                <a:avLst/>
                <a:gdLst/>
                <a:ahLst/>
                <a:cxnLst>
                  <a:cxn ang="0">
                    <a:pos x="wd2" y="hd2"/>
                  </a:cxn>
                  <a:cxn ang="5400000">
                    <a:pos x="wd2" y="hd2"/>
                  </a:cxn>
                  <a:cxn ang="10800000">
                    <a:pos x="wd2" y="hd2"/>
                  </a:cxn>
                  <a:cxn ang="16200000">
                    <a:pos x="wd2" y="hd2"/>
                  </a:cxn>
                </a:cxnLst>
                <a:rect l="0" t="0" r="r" b="b"/>
                <a:pathLst>
                  <a:path w="21600" h="21600" extrusionOk="0">
                    <a:moveTo>
                      <a:pt x="8284" y="0"/>
                    </a:moveTo>
                    <a:lnTo>
                      <a:pt x="2146" y="465"/>
                    </a:lnTo>
                    <a:lnTo>
                      <a:pt x="0" y="17486"/>
                    </a:lnTo>
                    <a:cubicBezTo>
                      <a:pt x="4274" y="18271"/>
                      <a:pt x="8271" y="19682"/>
                      <a:pt x="11851" y="21600"/>
                    </a:cubicBezTo>
                    <a:lnTo>
                      <a:pt x="21600" y="4765"/>
                    </a:lnTo>
                    <a:cubicBezTo>
                      <a:pt x="17454" y="2739"/>
                      <a:pt x="12988" y="1130"/>
                      <a:pt x="8284" y="0"/>
                    </a:cubicBezTo>
                    <a:close/>
                  </a:path>
                </a:pathLst>
              </a:custGeom>
              <a:solidFill>
                <a:srgbClr val="90C53A"/>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3" name="Shape 20525">
                <a:extLst>
                  <a:ext uri="{FF2B5EF4-FFF2-40B4-BE49-F238E27FC236}">
                    <a16:creationId xmlns:a16="http://schemas.microsoft.com/office/drawing/2014/main" id="{10C8269B-D64E-4977-AAC6-172BDD298F22}"/>
                  </a:ext>
                </a:extLst>
              </p:cNvPr>
              <p:cNvSpPr/>
              <p:nvPr/>
            </p:nvSpPr>
            <p:spPr>
              <a:xfrm>
                <a:off x="-1" y="31521"/>
                <a:ext cx="7418866" cy="7348506"/>
              </a:xfrm>
              <a:custGeom>
                <a:avLst/>
                <a:gdLst/>
                <a:ahLst/>
                <a:cxnLst>
                  <a:cxn ang="0">
                    <a:pos x="wd2" y="hd2"/>
                  </a:cxn>
                  <a:cxn ang="5400000">
                    <a:pos x="wd2" y="hd2"/>
                  </a:cxn>
                  <a:cxn ang="10800000">
                    <a:pos x="wd2" y="hd2"/>
                  </a:cxn>
                  <a:cxn ang="16200000">
                    <a:pos x="wd2" y="hd2"/>
                  </a:cxn>
                </a:cxnLst>
                <a:rect l="0" t="0" r="r" b="b"/>
                <a:pathLst>
                  <a:path w="21600" h="21600" extrusionOk="0">
                    <a:moveTo>
                      <a:pt x="12245" y="4096"/>
                    </a:moveTo>
                    <a:lnTo>
                      <a:pt x="12668" y="94"/>
                    </a:lnTo>
                    <a:lnTo>
                      <a:pt x="12676" y="61"/>
                    </a:lnTo>
                    <a:cubicBezTo>
                      <a:pt x="12551" y="39"/>
                      <a:pt x="12425" y="18"/>
                      <a:pt x="12299" y="0"/>
                    </a:cubicBezTo>
                    <a:lnTo>
                      <a:pt x="12292" y="34"/>
                    </a:lnTo>
                    <a:lnTo>
                      <a:pt x="12007" y="4088"/>
                    </a:lnTo>
                    <a:cubicBezTo>
                      <a:pt x="12083" y="4102"/>
                      <a:pt x="12159" y="4118"/>
                      <a:pt x="12234" y="4134"/>
                    </a:cubicBezTo>
                    <a:cubicBezTo>
                      <a:pt x="12234" y="4134"/>
                      <a:pt x="12245" y="4096"/>
                      <a:pt x="12245" y="4096"/>
                    </a:cubicBezTo>
                    <a:close/>
                    <a:moveTo>
                      <a:pt x="9355" y="17464"/>
                    </a:moveTo>
                    <a:lnTo>
                      <a:pt x="8928" y="21506"/>
                    </a:lnTo>
                    <a:lnTo>
                      <a:pt x="8920" y="21539"/>
                    </a:lnTo>
                    <a:cubicBezTo>
                      <a:pt x="9045" y="21561"/>
                      <a:pt x="9171" y="21582"/>
                      <a:pt x="9297" y="21600"/>
                    </a:cubicBezTo>
                    <a:lnTo>
                      <a:pt x="9304" y="21566"/>
                    </a:lnTo>
                    <a:lnTo>
                      <a:pt x="9589" y="17512"/>
                    </a:lnTo>
                    <a:cubicBezTo>
                      <a:pt x="9505" y="17496"/>
                      <a:pt x="9422" y="17479"/>
                      <a:pt x="9339" y="17460"/>
                    </a:cubicBezTo>
                    <a:cubicBezTo>
                      <a:pt x="9344" y="17462"/>
                      <a:pt x="9349" y="17463"/>
                      <a:pt x="9355" y="17464"/>
                    </a:cubicBezTo>
                    <a:close/>
                    <a:moveTo>
                      <a:pt x="7185" y="16563"/>
                    </a:moveTo>
                    <a:lnTo>
                      <a:pt x="5414" y="20214"/>
                    </a:lnTo>
                    <a:lnTo>
                      <a:pt x="5396" y="20242"/>
                    </a:lnTo>
                    <a:cubicBezTo>
                      <a:pt x="5506" y="20306"/>
                      <a:pt x="5617" y="20369"/>
                      <a:pt x="5729" y="20430"/>
                    </a:cubicBezTo>
                    <a:lnTo>
                      <a:pt x="5747" y="20400"/>
                    </a:lnTo>
                    <a:lnTo>
                      <a:pt x="7389" y="16688"/>
                    </a:lnTo>
                    <a:cubicBezTo>
                      <a:pt x="7308" y="16640"/>
                      <a:pt x="7228" y="16591"/>
                      <a:pt x="7149" y="16540"/>
                    </a:cubicBezTo>
                    <a:cubicBezTo>
                      <a:pt x="7161" y="16547"/>
                      <a:pt x="7173" y="16555"/>
                      <a:pt x="7185" y="16563"/>
                    </a:cubicBezTo>
                    <a:close/>
                    <a:moveTo>
                      <a:pt x="14424" y="5010"/>
                    </a:moveTo>
                    <a:lnTo>
                      <a:pt x="16182" y="1385"/>
                    </a:lnTo>
                    <a:lnTo>
                      <a:pt x="16201" y="1357"/>
                    </a:lnTo>
                    <a:cubicBezTo>
                      <a:pt x="16091" y="1292"/>
                      <a:pt x="15980" y="1229"/>
                      <a:pt x="15867" y="1169"/>
                    </a:cubicBezTo>
                    <a:lnTo>
                      <a:pt x="15849" y="1199"/>
                    </a:lnTo>
                    <a:lnTo>
                      <a:pt x="14208" y="4910"/>
                    </a:lnTo>
                    <a:cubicBezTo>
                      <a:pt x="14275" y="4950"/>
                      <a:pt x="14341" y="4991"/>
                      <a:pt x="14407" y="5033"/>
                    </a:cubicBezTo>
                    <a:cubicBezTo>
                      <a:pt x="14407" y="5033"/>
                      <a:pt x="14424" y="5010"/>
                      <a:pt x="14424" y="5010"/>
                    </a:cubicBezTo>
                    <a:close/>
                    <a:moveTo>
                      <a:pt x="5445" y="14958"/>
                    </a:moveTo>
                    <a:cubicBezTo>
                      <a:pt x="5447" y="14961"/>
                      <a:pt x="5449" y="14964"/>
                      <a:pt x="5451" y="14967"/>
                    </a:cubicBezTo>
                    <a:lnTo>
                      <a:pt x="2549" y="17787"/>
                    </a:lnTo>
                    <a:lnTo>
                      <a:pt x="2524" y="17806"/>
                    </a:lnTo>
                    <a:cubicBezTo>
                      <a:pt x="2606" y="17904"/>
                      <a:pt x="2689" y="18002"/>
                      <a:pt x="2774" y="18097"/>
                    </a:cubicBezTo>
                    <a:lnTo>
                      <a:pt x="2799" y="18077"/>
                    </a:lnTo>
                    <a:lnTo>
                      <a:pt x="5600" y="15155"/>
                    </a:lnTo>
                    <a:cubicBezTo>
                      <a:pt x="5547" y="15090"/>
                      <a:pt x="5495" y="15025"/>
                      <a:pt x="5445" y="14958"/>
                    </a:cubicBezTo>
                    <a:close/>
                    <a:moveTo>
                      <a:pt x="16147" y="6631"/>
                    </a:moveTo>
                    <a:lnTo>
                      <a:pt x="16147" y="6631"/>
                    </a:lnTo>
                    <a:cubicBezTo>
                      <a:pt x="16147" y="6631"/>
                      <a:pt x="16147" y="6631"/>
                      <a:pt x="16147" y="6631"/>
                    </a:cubicBezTo>
                    <a:lnTo>
                      <a:pt x="19047" y="3812"/>
                    </a:lnTo>
                    <a:lnTo>
                      <a:pt x="19073" y="3792"/>
                    </a:lnTo>
                    <a:cubicBezTo>
                      <a:pt x="18991" y="3694"/>
                      <a:pt x="18908" y="3596"/>
                      <a:pt x="18823" y="3501"/>
                    </a:cubicBezTo>
                    <a:lnTo>
                      <a:pt x="18797" y="3522"/>
                    </a:lnTo>
                    <a:lnTo>
                      <a:pt x="15997" y="6442"/>
                    </a:lnTo>
                    <a:cubicBezTo>
                      <a:pt x="16048" y="6504"/>
                      <a:pt x="16098" y="6567"/>
                      <a:pt x="16147" y="6631"/>
                    </a:cubicBezTo>
                    <a:close/>
                    <a:moveTo>
                      <a:pt x="4353" y="12842"/>
                    </a:moveTo>
                    <a:cubicBezTo>
                      <a:pt x="4355" y="12851"/>
                      <a:pt x="4358" y="12860"/>
                      <a:pt x="4361" y="12869"/>
                    </a:cubicBezTo>
                    <a:lnTo>
                      <a:pt x="679" y="14518"/>
                    </a:lnTo>
                    <a:lnTo>
                      <a:pt x="648" y="14527"/>
                    </a:lnTo>
                    <a:cubicBezTo>
                      <a:pt x="691" y="14648"/>
                      <a:pt x="736" y="14768"/>
                      <a:pt x="784" y="14887"/>
                    </a:cubicBezTo>
                    <a:lnTo>
                      <a:pt x="816" y="14877"/>
                    </a:lnTo>
                    <a:lnTo>
                      <a:pt x="4437" y="13098"/>
                    </a:lnTo>
                    <a:cubicBezTo>
                      <a:pt x="4407" y="13013"/>
                      <a:pt x="4379" y="12928"/>
                      <a:pt x="4353" y="12842"/>
                    </a:cubicBezTo>
                    <a:close/>
                    <a:moveTo>
                      <a:pt x="17241" y="8737"/>
                    </a:moveTo>
                    <a:lnTo>
                      <a:pt x="17241" y="8736"/>
                    </a:lnTo>
                    <a:cubicBezTo>
                      <a:pt x="17240" y="8734"/>
                      <a:pt x="17239" y="8731"/>
                      <a:pt x="17238" y="8728"/>
                    </a:cubicBezTo>
                    <a:lnTo>
                      <a:pt x="20916" y="7081"/>
                    </a:lnTo>
                    <a:lnTo>
                      <a:pt x="20951" y="7071"/>
                    </a:lnTo>
                    <a:cubicBezTo>
                      <a:pt x="20908" y="6950"/>
                      <a:pt x="20863" y="6830"/>
                      <a:pt x="20815" y="6711"/>
                    </a:cubicBezTo>
                    <a:lnTo>
                      <a:pt x="20780" y="6722"/>
                    </a:lnTo>
                    <a:lnTo>
                      <a:pt x="17162" y="8500"/>
                    </a:lnTo>
                    <a:cubicBezTo>
                      <a:pt x="17189" y="8578"/>
                      <a:pt x="17216" y="8657"/>
                      <a:pt x="17241" y="8737"/>
                    </a:cubicBezTo>
                    <a:close/>
                    <a:moveTo>
                      <a:pt x="4051" y="10511"/>
                    </a:moveTo>
                    <a:cubicBezTo>
                      <a:pt x="4050" y="10515"/>
                      <a:pt x="4050" y="10518"/>
                      <a:pt x="4050" y="10522"/>
                    </a:cubicBezTo>
                    <a:lnTo>
                      <a:pt x="30" y="10799"/>
                    </a:lnTo>
                    <a:lnTo>
                      <a:pt x="0" y="10797"/>
                    </a:lnTo>
                    <a:cubicBezTo>
                      <a:pt x="0" y="10925"/>
                      <a:pt x="1" y="11054"/>
                      <a:pt x="6" y="11183"/>
                    </a:cubicBezTo>
                    <a:lnTo>
                      <a:pt x="37" y="11184"/>
                    </a:lnTo>
                    <a:lnTo>
                      <a:pt x="4044" y="10763"/>
                    </a:lnTo>
                    <a:cubicBezTo>
                      <a:pt x="4045" y="10679"/>
                      <a:pt x="4047" y="10595"/>
                      <a:pt x="4051" y="10511"/>
                    </a:cubicBezTo>
                    <a:close/>
                    <a:moveTo>
                      <a:pt x="21594" y="10416"/>
                    </a:moveTo>
                    <a:lnTo>
                      <a:pt x="21559" y="10415"/>
                    </a:lnTo>
                    <a:lnTo>
                      <a:pt x="17556" y="10836"/>
                    </a:lnTo>
                    <a:cubicBezTo>
                      <a:pt x="17555" y="10923"/>
                      <a:pt x="17553" y="11009"/>
                      <a:pt x="17549" y="11095"/>
                    </a:cubicBezTo>
                    <a:lnTo>
                      <a:pt x="17549" y="11095"/>
                    </a:lnTo>
                    <a:cubicBezTo>
                      <a:pt x="17550" y="11089"/>
                      <a:pt x="17550" y="11083"/>
                      <a:pt x="17550" y="11077"/>
                    </a:cubicBezTo>
                    <a:lnTo>
                      <a:pt x="21566" y="10799"/>
                    </a:lnTo>
                    <a:lnTo>
                      <a:pt x="21600" y="10802"/>
                    </a:lnTo>
                    <a:cubicBezTo>
                      <a:pt x="21600" y="10674"/>
                      <a:pt x="21599" y="10545"/>
                      <a:pt x="21594" y="10416"/>
                    </a:cubicBezTo>
                    <a:close/>
                    <a:moveTo>
                      <a:pt x="4463" y="8433"/>
                    </a:moveTo>
                    <a:cubicBezTo>
                      <a:pt x="4492" y="8352"/>
                      <a:pt x="4524" y="8272"/>
                      <a:pt x="4556" y="8193"/>
                    </a:cubicBezTo>
                    <a:lnTo>
                      <a:pt x="4556" y="8193"/>
                    </a:lnTo>
                    <a:cubicBezTo>
                      <a:pt x="4554" y="8198"/>
                      <a:pt x="4552" y="8203"/>
                      <a:pt x="4550" y="8208"/>
                    </a:cubicBezTo>
                    <a:lnTo>
                      <a:pt x="679" y="7081"/>
                    </a:lnTo>
                    <a:lnTo>
                      <a:pt x="650" y="7068"/>
                    </a:lnTo>
                    <a:cubicBezTo>
                      <a:pt x="606" y="7189"/>
                      <a:pt x="564" y="7310"/>
                      <a:pt x="524" y="7432"/>
                    </a:cubicBezTo>
                    <a:lnTo>
                      <a:pt x="555" y="7445"/>
                    </a:lnTo>
                    <a:cubicBezTo>
                      <a:pt x="555" y="7445"/>
                      <a:pt x="4463" y="8433"/>
                      <a:pt x="4463" y="8433"/>
                    </a:cubicBezTo>
                    <a:close/>
                    <a:moveTo>
                      <a:pt x="17138" y="13167"/>
                    </a:moveTo>
                    <a:cubicBezTo>
                      <a:pt x="17107" y="13252"/>
                      <a:pt x="17074" y="13336"/>
                      <a:pt x="17039" y="13419"/>
                    </a:cubicBezTo>
                    <a:lnTo>
                      <a:pt x="17040" y="13419"/>
                    </a:lnTo>
                    <a:cubicBezTo>
                      <a:pt x="17043" y="13410"/>
                      <a:pt x="17047" y="13401"/>
                      <a:pt x="17051" y="13392"/>
                    </a:cubicBezTo>
                    <a:lnTo>
                      <a:pt x="20916" y="14518"/>
                    </a:lnTo>
                    <a:lnTo>
                      <a:pt x="20950" y="14533"/>
                    </a:lnTo>
                    <a:cubicBezTo>
                      <a:pt x="20994" y="14412"/>
                      <a:pt x="21036" y="14291"/>
                      <a:pt x="21076" y="14168"/>
                    </a:cubicBezTo>
                    <a:lnTo>
                      <a:pt x="21040" y="14154"/>
                    </a:lnTo>
                    <a:cubicBezTo>
                      <a:pt x="21040" y="14154"/>
                      <a:pt x="17138" y="13167"/>
                      <a:pt x="17138" y="13167"/>
                    </a:cubicBezTo>
                    <a:close/>
                    <a:moveTo>
                      <a:pt x="2310" y="4111"/>
                    </a:moveTo>
                    <a:lnTo>
                      <a:pt x="2834" y="4469"/>
                    </a:lnTo>
                    <a:lnTo>
                      <a:pt x="5647" y="6389"/>
                    </a:lnTo>
                    <a:cubicBezTo>
                      <a:pt x="5700" y="6326"/>
                      <a:pt x="5755" y="6264"/>
                      <a:pt x="5810" y="6203"/>
                    </a:cubicBezTo>
                    <a:lnTo>
                      <a:pt x="5810" y="6202"/>
                    </a:lnTo>
                    <a:cubicBezTo>
                      <a:pt x="5808" y="6204"/>
                      <a:pt x="5807" y="6206"/>
                      <a:pt x="5805" y="6207"/>
                    </a:cubicBezTo>
                    <a:lnTo>
                      <a:pt x="3061" y="4188"/>
                    </a:lnTo>
                    <a:lnTo>
                      <a:pt x="2549" y="3812"/>
                    </a:lnTo>
                    <a:lnTo>
                      <a:pt x="2549" y="3812"/>
                    </a:lnTo>
                    <a:lnTo>
                      <a:pt x="2528" y="3791"/>
                    </a:lnTo>
                    <a:cubicBezTo>
                      <a:pt x="2446" y="3890"/>
                      <a:pt x="2365" y="3989"/>
                      <a:pt x="2287" y="4090"/>
                    </a:cubicBezTo>
                    <a:lnTo>
                      <a:pt x="2310" y="4111"/>
                    </a:lnTo>
                    <a:cubicBezTo>
                      <a:pt x="2310" y="4111"/>
                      <a:pt x="2310" y="4111"/>
                      <a:pt x="2310" y="4111"/>
                    </a:cubicBezTo>
                    <a:close/>
                    <a:moveTo>
                      <a:pt x="15952" y="15213"/>
                    </a:moveTo>
                    <a:cubicBezTo>
                      <a:pt x="15892" y="15284"/>
                      <a:pt x="15831" y="15353"/>
                      <a:pt x="15769" y="15421"/>
                    </a:cubicBezTo>
                    <a:cubicBezTo>
                      <a:pt x="15777" y="15412"/>
                      <a:pt x="15786" y="15403"/>
                      <a:pt x="15794" y="15394"/>
                    </a:cubicBezTo>
                    <a:lnTo>
                      <a:pt x="19047" y="17787"/>
                    </a:lnTo>
                    <a:lnTo>
                      <a:pt x="19071" y="17811"/>
                    </a:lnTo>
                    <a:cubicBezTo>
                      <a:pt x="19153" y="17712"/>
                      <a:pt x="19234" y="17613"/>
                      <a:pt x="19312" y="17512"/>
                    </a:cubicBezTo>
                    <a:lnTo>
                      <a:pt x="19286" y="17488"/>
                    </a:lnTo>
                    <a:cubicBezTo>
                      <a:pt x="19286" y="17488"/>
                      <a:pt x="15952" y="15213"/>
                      <a:pt x="15952" y="15213"/>
                    </a:cubicBezTo>
                    <a:close/>
                    <a:moveTo>
                      <a:pt x="14146" y="16727"/>
                    </a:moveTo>
                    <a:cubicBezTo>
                      <a:pt x="14072" y="16770"/>
                      <a:pt x="13996" y="16811"/>
                      <a:pt x="13920" y="16851"/>
                    </a:cubicBezTo>
                    <a:cubicBezTo>
                      <a:pt x="13926" y="16848"/>
                      <a:pt x="13931" y="16845"/>
                      <a:pt x="13937" y="16843"/>
                    </a:cubicBezTo>
                    <a:lnTo>
                      <a:pt x="16182" y="20214"/>
                    </a:lnTo>
                    <a:lnTo>
                      <a:pt x="16198" y="20247"/>
                    </a:lnTo>
                    <a:cubicBezTo>
                      <a:pt x="16308" y="20182"/>
                      <a:pt x="16418" y="20117"/>
                      <a:pt x="16525" y="20048"/>
                    </a:cubicBezTo>
                    <a:lnTo>
                      <a:pt x="16508" y="20016"/>
                    </a:lnTo>
                    <a:cubicBezTo>
                      <a:pt x="16508" y="20016"/>
                      <a:pt x="14146" y="16727"/>
                      <a:pt x="14146" y="16727"/>
                    </a:cubicBezTo>
                    <a:close/>
                    <a:moveTo>
                      <a:pt x="5414" y="1385"/>
                    </a:moveTo>
                    <a:lnTo>
                      <a:pt x="5400" y="1356"/>
                    </a:lnTo>
                    <a:cubicBezTo>
                      <a:pt x="5289" y="1420"/>
                      <a:pt x="5180" y="1486"/>
                      <a:pt x="5072" y="1554"/>
                    </a:cubicBezTo>
                    <a:lnTo>
                      <a:pt x="5088" y="1583"/>
                    </a:lnTo>
                    <a:lnTo>
                      <a:pt x="7452" y="4875"/>
                    </a:lnTo>
                    <a:cubicBezTo>
                      <a:pt x="7520" y="4835"/>
                      <a:pt x="7590" y="4797"/>
                      <a:pt x="7661" y="4760"/>
                    </a:cubicBezTo>
                    <a:lnTo>
                      <a:pt x="7659" y="4756"/>
                    </a:lnTo>
                    <a:cubicBezTo>
                      <a:pt x="7659" y="4756"/>
                      <a:pt x="5414" y="1385"/>
                      <a:pt x="5414" y="1385"/>
                    </a:cubicBezTo>
                    <a:close/>
                    <a:moveTo>
                      <a:pt x="11936" y="17524"/>
                    </a:moveTo>
                    <a:cubicBezTo>
                      <a:pt x="11841" y="17541"/>
                      <a:pt x="11746" y="17554"/>
                      <a:pt x="11650" y="17566"/>
                    </a:cubicBezTo>
                    <a:lnTo>
                      <a:pt x="11650" y="17567"/>
                    </a:lnTo>
                    <a:cubicBezTo>
                      <a:pt x="11666" y="17565"/>
                      <a:pt x="11683" y="17563"/>
                      <a:pt x="11700" y="17561"/>
                    </a:cubicBezTo>
                    <a:lnTo>
                      <a:pt x="12668" y="21505"/>
                    </a:lnTo>
                    <a:lnTo>
                      <a:pt x="12671" y="21540"/>
                    </a:lnTo>
                    <a:cubicBezTo>
                      <a:pt x="12797" y="21518"/>
                      <a:pt x="12922" y="21494"/>
                      <a:pt x="13046" y="21467"/>
                    </a:cubicBezTo>
                    <a:lnTo>
                      <a:pt x="13041" y="21432"/>
                    </a:lnTo>
                    <a:cubicBezTo>
                      <a:pt x="13041" y="21432"/>
                      <a:pt x="11936" y="17524"/>
                      <a:pt x="11936" y="17524"/>
                    </a:cubicBezTo>
                    <a:close/>
                    <a:moveTo>
                      <a:pt x="8928" y="94"/>
                    </a:moveTo>
                    <a:lnTo>
                      <a:pt x="8925" y="62"/>
                    </a:lnTo>
                    <a:cubicBezTo>
                      <a:pt x="8799" y="84"/>
                      <a:pt x="8674" y="107"/>
                      <a:pt x="8549" y="134"/>
                    </a:cubicBezTo>
                    <a:lnTo>
                      <a:pt x="8554" y="167"/>
                    </a:lnTo>
                    <a:lnTo>
                      <a:pt x="9660" y="4077"/>
                    </a:lnTo>
                    <a:cubicBezTo>
                      <a:pt x="9737" y="4064"/>
                      <a:pt x="9814" y="4052"/>
                      <a:pt x="9891" y="4041"/>
                    </a:cubicBezTo>
                    <a:lnTo>
                      <a:pt x="9889" y="4010"/>
                    </a:lnTo>
                    <a:cubicBezTo>
                      <a:pt x="9889" y="4010"/>
                      <a:pt x="8928" y="94"/>
                      <a:pt x="8928" y="94"/>
                    </a:cubicBezTo>
                    <a:close/>
                  </a:path>
                </a:pathLst>
              </a:custGeom>
              <a:solidFill>
                <a:srgbClr val="FFFFFF">
                  <a:alpha val="20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4" name="Shape 20526">
                <a:extLst>
                  <a:ext uri="{FF2B5EF4-FFF2-40B4-BE49-F238E27FC236}">
                    <a16:creationId xmlns:a16="http://schemas.microsoft.com/office/drawing/2014/main" id="{5EFB9959-B002-4D13-ADD2-F3F257369211}"/>
                  </a:ext>
                </a:extLst>
              </p:cNvPr>
              <p:cNvSpPr/>
              <p:nvPr/>
            </p:nvSpPr>
            <p:spPr>
              <a:xfrm>
                <a:off x="18912" y="6304"/>
                <a:ext cx="7379706" cy="7400806"/>
              </a:xfrm>
              <a:custGeom>
                <a:avLst/>
                <a:gdLst/>
                <a:ahLst/>
                <a:cxnLst>
                  <a:cxn ang="0">
                    <a:pos x="wd2" y="hd2"/>
                  </a:cxn>
                  <a:cxn ang="5400000">
                    <a:pos x="wd2" y="hd2"/>
                  </a:cxn>
                  <a:cxn ang="10800000">
                    <a:pos x="wd2" y="hd2"/>
                  </a:cxn>
                  <a:cxn ang="16200000">
                    <a:pos x="wd2" y="hd2"/>
                  </a:cxn>
                </a:cxnLst>
                <a:rect l="0" t="0" r="r" b="b"/>
                <a:pathLst>
                  <a:path w="21600" h="21600" extrusionOk="0">
                    <a:moveTo>
                      <a:pt x="7771" y="21195"/>
                    </a:moveTo>
                    <a:cubicBezTo>
                      <a:pt x="7779" y="21197"/>
                      <a:pt x="7787" y="21199"/>
                      <a:pt x="7795" y="21202"/>
                    </a:cubicBezTo>
                    <a:lnTo>
                      <a:pt x="8955" y="21098"/>
                    </a:lnTo>
                    <a:lnTo>
                      <a:pt x="8956" y="21120"/>
                    </a:lnTo>
                    <a:lnTo>
                      <a:pt x="9352" y="17413"/>
                    </a:lnTo>
                    <a:cubicBezTo>
                      <a:pt x="9257" y="17393"/>
                      <a:pt x="9162" y="17370"/>
                      <a:pt x="9068" y="17345"/>
                    </a:cubicBezTo>
                    <a:cubicBezTo>
                      <a:pt x="9068" y="17345"/>
                      <a:pt x="7771" y="21195"/>
                      <a:pt x="7771" y="21195"/>
                    </a:cubicBezTo>
                    <a:close/>
                    <a:moveTo>
                      <a:pt x="17168" y="2030"/>
                    </a:moveTo>
                    <a:lnTo>
                      <a:pt x="16072" y="1740"/>
                    </a:lnTo>
                    <a:lnTo>
                      <a:pt x="14436" y="5072"/>
                    </a:lnTo>
                    <a:cubicBezTo>
                      <a:pt x="14502" y="5114"/>
                      <a:pt x="14568" y="5158"/>
                      <a:pt x="14632" y="5202"/>
                    </a:cubicBezTo>
                    <a:cubicBezTo>
                      <a:pt x="14632" y="5202"/>
                      <a:pt x="17168" y="2030"/>
                      <a:pt x="17168" y="2030"/>
                    </a:cubicBezTo>
                    <a:close/>
                    <a:moveTo>
                      <a:pt x="5259" y="14705"/>
                    </a:moveTo>
                    <a:lnTo>
                      <a:pt x="1784" y="16823"/>
                    </a:lnTo>
                    <a:cubicBezTo>
                      <a:pt x="1798" y="16844"/>
                      <a:pt x="1813" y="16865"/>
                      <a:pt x="1827" y="16886"/>
                    </a:cubicBezTo>
                    <a:lnTo>
                      <a:pt x="2736" y="17518"/>
                    </a:lnTo>
                    <a:lnTo>
                      <a:pt x="5428" y="14934"/>
                    </a:lnTo>
                    <a:cubicBezTo>
                      <a:pt x="5370" y="14859"/>
                      <a:pt x="5313" y="14783"/>
                      <a:pt x="5259" y="14705"/>
                    </a:cubicBezTo>
                    <a:close/>
                    <a:moveTo>
                      <a:pt x="17349" y="8977"/>
                    </a:moveTo>
                    <a:lnTo>
                      <a:pt x="21335" y="8173"/>
                    </a:lnTo>
                    <a:lnTo>
                      <a:pt x="20674" y="7237"/>
                    </a:lnTo>
                    <a:lnTo>
                      <a:pt x="17278" y="8739"/>
                    </a:lnTo>
                    <a:cubicBezTo>
                      <a:pt x="17303" y="8818"/>
                      <a:pt x="17327" y="8897"/>
                      <a:pt x="17349" y="8977"/>
                    </a:cubicBezTo>
                    <a:close/>
                    <a:moveTo>
                      <a:pt x="4019" y="10520"/>
                    </a:moveTo>
                    <a:cubicBezTo>
                      <a:pt x="4023" y="10431"/>
                      <a:pt x="4029" y="10343"/>
                      <a:pt x="4036" y="10255"/>
                    </a:cubicBezTo>
                    <a:lnTo>
                      <a:pt x="8" y="9650"/>
                    </a:lnTo>
                    <a:cubicBezTo>
                      <a:pt x="5" y="9678"/>
                      <a:pt x="3" y="9706"/>
                      <a:pt x="0" y="9735"/>
                    </a:cubicBezTo>
                    <a:lnTo>
                      <a:pt x="282" y="10775"/>
                    </a:lnTo>
                    <a:cubicBezTo>
                      <a:pt x="282" y="10775"/>
                      <a:pt x="4019" y="10520"/>
                      <a:pt x="4019" y="10520"/>
                    </a:cubicBezTo>
                    <a:close/>
                    <a:moveTo>
                      <a:pt x="16982" y="13616"/>
                    </a:moveTo>
                    <a:lnTo>
                      <a:pt x="20554" y="15555"/>
                    </a:lnTo>
                    <a:lnTo>
                      <a:pt x="20653" y="14395"/>
                    </a:lnTo>
                    <a:lnTo>
                      <a:pt x="17089" y="13370"/>
                    </a:lnTo>
                    <a:cubicBezTo>
                      <a:pt x="17055" y="13453"/>
                      <a:pt x="17019" y="13535"/>
                      <a:pt x="16982" y="13616"/>
                    </a:cubicBezTo>
                    <a:close/>
                    <a:moveTo>
                      <a:pt x="5784" y="6236"/>
                    </a:moveTo>
                    <a:cubicBezTo>
                      <a:pt x="5839" y="6176"/>
                      <a:pt x="5896" y="6116"/>
                      <a:pt x="5954" y="6058"/>
                    </a:cubicBezTo>
                    <a:lnTo>
                      <a:pt x="3259" y="3013"/>
                    </a:lnTo>
                    <a:cubicBezTo>
                      <a:pt x="3246" y="3026"/>
                      <a:pt x="3233" y="3039"/>
                      <a:pt x="3219" y="3052"/>
                    </a:cubicBezTo>
                    <a:lnTo>
                      <a:pt x="2761" y="4039"/>
                    </a:lnTo>
                    <a:lnTo>
                      <a:pt x="3025" y="4231"/>
                    </a:lnTo>
                    <a:cubicBezTo>
                      <a:pt x="3025" y="4231"/>
                      <a:pt x="5784" y="6236"/>
                      <a:pt x="5784" y="6236"/>
                    </a:cubicBezTo>
                    <a:close/>
                    <a:moveTo>
                      <a:pt x="13702" y="16923"/>
                    </a:moveTo>
                    <a:lnTo>
                      <a:pt x="15185" y="20690"/>
                    </a:lnTo>
                    <a:lnTo>
                      <a:pt x="16019" y="19856"/>
                    </a:lnTo>
                    <a:lnTo>
                      <a:pt x="16027" y="19864"/>
                    </a:lnTo>
                    <a:lnTo>
                      <a:pt x="13958" y="16796"/>
                    </a:lnTo>
                    <a:cubicBezTo>
                      <a:pt x="13874" y="16840"/>
                      <a:pt x="13789" y="16883"/>
                      <a:pt x="13702" y="16923"/>
                    </a:cubicBezTo>
                    <a:close/>
                    <a:moveTo>
                      <a:pt x="11421" y="17541"/>
                    </a:moveTo>
                    <a:lnTo>
                      <a:pt x="11523" y="21600"/>
                    </a:lnTo>
                    <a:lnTo>
                      <a:pt x="12597" y="21098"/>
                    </a:lnTo>
                    <a:lnTo>
                      <a:pt x="12607" y="21122"/>
                    </a:lnTo>
                    <a:lnTo>
                      <a:pt x="11710" y="17509"/>
                    </a:lnTo>
                    <a:cubicBezTo>
                      <a:pt x="11614" y="17522"/>
                      <a:pt x="11518" y="17532"/>
                      <a:pt x="11421" y="17541"/>
                    </a:cubicBezTo>
                    <a:close/>
                    <a:moveTo>
                      <a:pt x="9001" y="480"/>
                    </a:moveTo>
                    <a:lnTo>
                      <a:pt x="9897" y="4084"/>
                    </a:lnTo>
                    <a:cubicBezTo>
                      <a:pt x="9974" y="4074"/>
                      <a:pt x="10052" y="4065"/>
                      <a:pt x="10130" y="4058"/>
                    </a:cubicBezTo>
                    <a:lnTo>
                      <a:pt x="10028" y="0"/>
                    </a:lnTo>
                    <a:cubicBezTo>
                      <a:pt x="10028" y="0"/>
                      <a:pt x="9001" y="480"/>
                      <a:pt x="9001" y="480"/>
                    </a:cubicBezTo>
                    <a:close/>
                    <a:moveTo>
                      <a:pt x="13778" y="382"/>
                    </a:moveTo>
                    <a:lnTo>
                      <a:pt x="12649" y="483"/>
                    </a:lnTo>
                    <a:lnTo>
                      <a:pt x="12254" y="4179"/>
                    </a:lnTo>
                    <a:cubicBezTo>
                      <a:pt x="12330" y="4195"/>
                      <a:pt x="12406" y="4214"/>
                      <a:pt x="12481" y="4233"/>
                    </a:cubicBezTo>
                    <a:cubicBezTo>
                      <a:pt x="12481" y="4233"/>
                      <a:pt x="13778" y="382"/>
                      <a:pt x="13778" y="382"/>
                    </a:cubicBezTo>
                    <a:close/>
                    <a:moveTo>
                      <a:pt x="4391" y="19533"/>
                    </a:moveTo>
                    <a:cubicBezTo>
                      <a:pt x="4406" y="19544"/>
                      <a:pt x="4422" y="19555"/>
                      <a:pt x="4437" y="19566"/>
                    </a:cubicBezTo>
                    <a:lnTo>
                      <a:pt x="5532" y="19856"/>
                    </a:lnTo>
                    <a:lnTo>
                      <a:pt x="7171" y="16519"/>
                    </a:lnTo>
                    <a:cubicBezTo>
                      <a:pt x="7089" y="16467"/>
                      <a:pt x="7008" y="16413"/>
                      <a:pt x="6929" y="16358"/>
                    </a:cubicBezTo>
                    <a:cubicBezTo>
                      <a:pt x="6929" y="16358"/>
                      <a:pt x="4391" y="19533"/>
                      <a:pt x="4391" y="19533"/>
                    </a:cubicBezTo>
                    <a:close/>
                    <a:moveTo>
                      <a:pt x="16324" y="6849"/>
                    </a:moveTo>
                    <a:lnTo>
                      <a:pt x="19789" y="4737"/>
                    </a:lnTo>
                    <a:lnTo>
                      <a:pt x="18856" y="4088"/>
                    </a:lnTo>
                    <a:lnTo>
                      <a:pt x="16180" y="6657"/>
                    </a:lnTo>
                    <a:cubicBezTo>
                      <a:pt x="16229" y="6720"/>
                      <a:pt x="16277" y="6784"/>
                      <a:pt x="16324" y="6849"/>
                    </a:cubicBezTo>
                    <a:close/>
                    <a:moveTo>
                      <a:pt x="4254" y="12586"/>
                    </a:moveTo>
                    <a:lnTo>
                      <a:pt x="261" y="13392"/>
                    </a:lnTo>
                    <a:cubicBezTo>
                      <a:pt x="268" y="13418"/>
                      <a:pt x="275" y="13444"/>
                      <a:pt x="282" y="13470"/>
                    </a:cubicBezTo>
                    <a:lnTo>
                      <a:pt x="912" y="14363"/>
                    </a:lnTo>
                    <a:lnTo>
                      <a:pt x="4332" y="12851"/>
                    </a:lnTo>
                    <a:cubicBezTo>
                      <a:pt x="4304" y="12764"/>
                      <a:pt x="4278" y="12675"/>
                      <a:pt x="4254" y="12586"/>
                    </a:cubicBezTo>
                    <a:close/>
                    <a:moveTo>
                      <a:pt x="17591" y="11071"/>
                    </a:moveTo>
                    <a:cubicBezTo>
                      <a:pt x="17588" y="11158"/>
                      <a:pt x="17582" y="11243"/>
                      <a:pt x="17576" y="11328"/>
                    </a:cubicBezTo>
                    <a:lnTo>
                      <a:pt x="21600" y="11933"/>
                    </a:lnTo>
                    <a:lnTo>
                      <a:pt x="21298" y="10818"/>
                    </a:lnTo>
                    <a:cubicBezTo>
                      <a:pt x="21298" y="10818"/>
                      <a:pt x="17591" y="11071"/>
                      <a:pt x="17591" y="11071"/>
                    </a:cubicBezTo>
                    <a:close/>
                    <a:moveTo>
                      <a:pt x="4624" y="7988"/>
                    </a:moveTo>
                    <a:lnTo>
                      <a:pt x="1047" y="6046"/>
                    </a:lnTo>
                    <a:cubicBezTo>
                      <a:pt x="1036" y="6066"/>
                      <a:pt x="1027" y="6088"/>
                      <a:pt x="1017" y="6109"/>
                    </a:cubicBezTo>
                    <a:lnTo>
                      <a:pt x="924" y="7188"/>
                    </a:lnTo>
                    <a:lnTo>
                      <a:pt x="4522" y="8223"/>
                    </a:lnTo>
                    <a:cubicBezTo>
                      <a:pt x="4554" y="8144"/>
                      <a:pt x="4589" y="8065"/>
                      <a:pt x="4624" y="7988"/>
                    </a:cubicBezTo>
                    <a:close/>
                    <a:moveTo>
                      <a:pt x="15634" y="15559"/>
                    </a:moveTo>
                    <a:lnTo>
                      <a:pt x="18326" y="18600"/>
                    </a:lnTo>
                    <a:lnTo>
                      <a:pt x="18821" y="17535"/>
                    </a:lnTo>
                    <a:lnTo>
                      <a:pt x="15826" y="15358"/>
                    </a:lnTo>
                    <a:cubicBezTo>
                      <a:pt x="15763" y="15426"/>
                      <a:pt x="15699" y="15493"/>
                      <a:pt x="15634" y="15559"/>
                    </a:cubicBezTo>
                    <a:close/>
                    <a:moveTo>
                      <a:pt x="6375" y="909"/>
                    </a:moveTo>
                    <a:cubicBezTo>
                      <a:pt x="6369" y="912"/>
                      <a:pt x="6363" y="915"/>
                      <a:pt x="6358" y="918"/>
                    </a:cubicBezTo>
                    <a:lnTo>
                      <a:pt x="5567" y="1709"/>
                    </a:lnTo>
                    <a:lnTo>
                      <a:pt x="7650" y="4798"/>
                    </a:lnTo>
                    <a:cubicBezTo>
                      <a:pt x="7720" y="4761"/>
                      <a:pt x="7792" y="4726"/>
                      <a:pt x="7864" y="4691"/>
                    </a:cubicBezTo>
                    <a:cubicBezTo>
                      <a:pt x="7864" y="4691"/>
                      <a:pt x="6375" y="909"/>
                      <a:pt x="6375" y="909"/>
                    </a:cubicBezTo>
                    <a:close/>
                  </a:path>
                </a:pathLst>
              </a:custGeom>
              <a:solidFill>
                <a:srgbClr val="000000">
                  <a:alpha val="15000"/>
                </a:srgbClr>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sp>
            <p:nvSpPr>
              <p:cNvPr id="35" name="Shape 20527">
                <a:extLst>
                  <a:ext uri="{FF2B5EF4-FFF2-40B4-BE49-F238E27FC236}">
                    <a16:creationId xmlns:a16="http://schemas.microsoft.com/office/drawing/2014/main" id="{9A51133E-B3A8-4BB0-B2CF-68771FEBBFC8}"/>
                  </a:ext>
                </a:extLst>
              </p:cNvPr>
              <p:cNvSpPr/>
              <p:nvPr/>
            </p:nvSpPr>
            <p:spPr>
              <a:xfrm>
                <a:off x="1159988" y="1159988"/>
                <a:ext cx="5097199" cy="5097206"/>
              </a:xfrm>
              <a:prstGeom prst="ellipse">
                <a:avLst/>
              </a:prstGeom>
              <a:solidFill>
                <a:srgbClr val="FFFFFF"/>
              </a:solidFill>
              <a:ln w="12700" cap="flat">
                <a:noFill/>
                <a:miter lim="400000"/>
              </a:ln>
              <a:effectLst>
                <a:outerShdw blurRad="139700" dist="112228" dir="5400000" rotWithShape="0">
                  <a:srgbClr val="000000">
                    <a:alpha val="64026"/>
                  </a:srgbClr>
                </a:outerShdw>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sym typeface="Gill Sans"/>
                </a:endParaRPr>
              </a:p>
            </p:txBody>
          </p:sp>
        </p:grpSp>
        <p:pic>
          <p:nvPicPr>
            <p:cNvPr id="9" name="White Shadow.png">
              <a:extLst>
                <a:ext uri="{FF2B5EF4-FFF2-40B4-BE49-F238E27FC236}">
                  <a16:creationId xmlns:a16="http://schemas.microsoft.com/office/drawing/2014/main" id="{B715438B-4A8B-4E05-852D-CB8251756D62}"/>
                </a:ext>
              </a:extLst>
            </p:cNvPr>
            <p:cNvPicPr>
              <a:picLocks noChangeAspect="1"/>
            </p:cNvPicPr>
            <p:nvPr/>
          </p:nvPicPr>
          <p:blipFill>
            <a:blip r:embed="rId3" cstate="screen">
              <a:alphaModFix amt="35000"/>
              <a:extLst>
                <a:ext uri="{28A0092B-C50C-407E-A947-70E740481C1C}">
                  <a14:useLocalDpi xmlns:a14="http://schemas.microsoft.com/office/drawing/2010/main"/>
                </a:ext>
              </a:extLst>
            </a:blip>
            <a:stretch>
              <a:fillRect/>
            </a:stretch>
          </p:blipFill>
          <p:spPr>
            <a:xfrm>
              <a:off x="235982" y="792827"/>
              <a:ext cx="6718303" cy="6413504"/>
            </a:xfrm>
            <a:prstGeom prst="rect">
              <a:avLst/>
            </a:prstGeom>
            <a:ln w="12700" cap="flat">
              <a:noFill/>
              <a:miter lim="400000"/>
            </a:ln>
            <a:effectLst/>
          </p:spPr>
        </p:pic>
        <p:sp>
          <p:nvSpPr>
            <p:cNvPr id="10" name="Shape 20530">
              <a:extLst>
                <a:ext uri="{FF2B5EF4-FFF2-40B4-BE49-F238E27FC236}">
                  <a16:creationId xmlns:a16="http://schemas.microsoft.com/office/drawing/2014/main" id="{0A0024C7-7B26-44E4-BD85-303450ECD120}"/>
                </a:ext>
              </a:extLst>
            </p:cNvPr>
            <p:cNvSpPr/>
            <p:nvPr/>
          </p:nvSpPr>
          <p:spPr>
            <a:xfrm>
              <a:off x="1513867" y="1506425"/>
              <a:ext cx="4391131" cy="4391131"/>
            </a:xfrm>
            <a:prstGeom prst="ellipse">
              <a:avLst/>
            </a:prstGeom>
            <a:noFill/>
            <a:ln w="28575" cap="rnd" cmpd="sng">
              <a:solidFill>
                <a:srgbClr val="C2C6CA"/>
              </a:solidFill>
              <a:custDash>
                <a:ds d="100000" sp="200000"/>
              </a:custDash>
              <a:round/>
            </a:ln>
            <a:effectLst/>
          </p:spPr>
          <p:txBody>
            <a:bodyPr wrap="square" lIns="25400" tIns="25400" rIns="25400" bIns="25400" numCol="1" anchor="ctr">
              <a:noAutofit/>
            </a:bodyPr>
            <a:lstStyle/>
            <a:p>
              <a:pPr defTabSz="1219170">
                <a:defRPr sz="3200">
                  <a:solidFill>
                    <a:srgbClr val="FFFFFF"/>
                  </a:solidFill>
                </a:defRPr>
              </a:pPr>
              <a:endParaRPr sz="1600" kern="0">
                <a:solidFill>
                  <a:srgbClr val="FFFFFF"/>
                </a:solidFill>
              </a:endParaRPr>
            </a:p>
          </p:txBody>
        </p:sp>
      </p:grpSp>
      <p:sp>
        <p:nvSpPr>
          <p:cNvPr id="36" name="Shape 14898">
            <a:extLst>
              <a:ext uri="{FF2B5EF4-FFF2-40B4-BE49-F238E27FC236}">
                <a16:creationId xmlns:a16="http://schemas.microsoft.com/office/drawing/2014/main" id="{2C6FE4DE-E8E9-4C64-ABDB-27C088B6682F}"/>
              </a:ext>
            </a:extLst>
          </p:cNvPr>
          <p:cNvSpPr/>
          <p:nvPr/>
        </p:nvSpPr>
        <p:spPr>
          <a:xfrm>
            <a:off x="9286358" y="2093046"/>
            <a:ext cx="1110095" cy="1110125"/>
          </a:xfrm>
          <a:custGeom>
            <a:avLst/>
            <a:gdLst/>
            <a:ahLst/>
            <a:cxnLst>
              <a:cxn ang="0">
                <a:pos x="wd2" y="hd2"/>
              </a:cxn>
              <a:cxn ang="5400000">
                <a:pos x="wd2" y="hd2"/>
              </a:cxn>
              <a:cxn ang="10800000">
                <a:pos x="wd2" y="hd2"/>
              </a:cxn>
              <a:cxn ang="16200000">
                <a:pos x="wd2" y="hd2"/>
              </a:cxn>
            </a:cxnLst>
            <a:rect l="0" t="0" r="r" b="b"/>
            <a:pathLst>
              <a:path w="21600" h="21600" extrusionOk="0">
                <a:moveTo>
                  <a:pt x="12243" y="5034"/>
                </a:moveTo>
                <a:cubicBezTo>
                  <a:pt x="12243" y="4891"/>
                  <a:pt x="12129" y="4781"/>
                  <a:pt x="11903" y="4709"/>
                </a:cubicBezTo>
                <a:cubicBezTo>
                  <a:pt x="11675" y="4635"/>
                  <a:pt x="11170" y="4540"/>
                  <a:pt x="10388" y="4427"/>
                </a:cubicBezTo>
                <a:cubicBezTo>
                  <a:pt x="9687" y="4328"/>
                  <a:pt x="9137" y="4228"/>
                  <a:pt x="8741" y="4130"/>
                </a:cubicBezTo>
                <a:cubicBezTo>
                  <a:pt x="8345" y="4034"/>
                  <a:pt x="8023" y="3896"/>
                  <a:pt x="7776" y="3723"/>
                </a:cubicBezTo>
                <a:cubicBezTo>
                  <a:pt x="7530" y="3547"/>
                  <a:pt x="7407" y="3340"/>
                  <a:pt x="7407" y="3108"/>
                </a:cubicBezTo>
                <a:cubicBezTo>
                  <a:pt x="7407" y="2802"/>
                  <a:pt x="7627" y="2526"/>
                  <a:pt x="8069" y="2281"/>
                </a:cubicBezTo>
                <a:cubicBezTo>
                  <a:pt x="8508" y="2037"/>
                  <a:pt x="9202" y="1888"/>
                  <a:pt x="10149" y="1832"/>
                </a:cubicBezTo>
                <a:lnTo>
                  <a:pt x="10149" y="1350"/>
                </a:lnTo>
                <a:lnTo>
                  <a:pt x="11427" y="1350"/>
                </a:lnTo>
                <a:lnTo>
                  <a:pt x="11427" y="1832"/>
                </a:lnTo>
                <a:cubicBezTo>
                  <a:pt x="12856" y="1905"/>
                  <a:pt x="13781" y="2232"/>
                  <a:pt x="14203" y="2827"/>
                </a:cubicBezTo>
                <a:lnTo>
                  <a:pt x="12442" y="3122"/>
                </a:lnTo>
                <a:cubicBezTo>
                  <a:pt x="12097" y="2716"/>
                  <a:pt x="11567" y="2513"/>
                  <a:pt x="10847" y="2513"/>
                </a:cubicBezTo>
                <a:cubicBezTo>
                  <a:pt x="10486" y="2513"/>
                  <a:pt x="10196" y="2557"/>
                  <a:pt x="9978" y="2651"/>
                </a:cubicBezTo>
                <a:cubicBezTo>
                  <a:pt x="9760" y="2740"/>
                  <a:pt x="9651" y="2849"/>
                  <a:pt x="9651" y="2979"/>
                </a:cubicBezTo>
                <a:cubicBezTo>
                  <a:pt x="9651" y="3111"/>
                  <a:pt x="9756" y="3211"/>
                  <a:pt x="9966" y="3282"/>
                </a:cubicBezTo>
                <a:cubicBezTo>
                  <a:pt x="10176" y="3354"/>
                  <a:pt x="10629" y="3439"/>
                  <a:pt x="11320" y="3544"/>
                </a:cubicBezTo>
                <a:cubicBezTo>
                  <a:pt x="12079" y="3657"/>
                  <a:pt x="12674" y="3764"/>
                  <a:pt x="13106" y="3866"/>
                </a:cubicBezTo>
                <a:cubicBezTo>
                  <a:pt x="13538" y="3965"/>
                  <a:pt x="13883" y="4106"/>
                  <a:pt x="14141" y="4284"/>
                </a:cubicBezTo>
                <a:cubicBezTo>
                  <a:pt x="14398" y="4461"/>
                  <a:pt x="14527" y="4669"/>
                  <a:pt x="14527" y="4908"/>
                </a:cubicBezTo>
                <a:cubicBezTo>
                  <a:pt x="14527" y="5272"/>
                  <a:pt x="14260" y="5577"/>
                  <a:pt x="13730" y="5820"/>
                </a:cubicBezTo>
                <a:cubicBezTo>
                  <a:pt x="13198" y="6063"/>
                  <a:pt x="12431" y="6208"/>
                  <a:pt x="11427" y="6253"/>
                </a:cubicBezTo>
                <a:lnTo>
                  <a:pt x="11427" y="6875"/>
                </a:lnTo>
                <a:lnTo>
                  <a:pt x="10149" y="6875"/>
                </a:lnTo>
                <a:lnTo>
                  <a:pt x="10149" y="6255"/>
                </a:lnTo>
                <a:cubicBezTo>
                  <a:pt x="8475" y="6184"/>
                  <a:pt x="7441" y="5784"/>
                  <a:pt x="7041" y="5060"/>
                </a:cubicBezTo>
                <a:lnTo>
                  <a:pt x="9018" y="4849"/>
                </a:lnTo>
                <a:cubicBezTo>
                  <a:pt x="9202" y="5304"/>
                  <a:pt x="9807" y="5534"/>
                  <a:pt x="10837" y="5534"/>
                </a:cubicBezTo>
                <a:cubicBezTo>
                  <a:pt x="11320" y="5534"/>
                  <a:pt x="11675" y="5484"/>
                  <a:pt x="11903" y="5386"/>
                </a:cubicBezTo>
                <a:cubicBezTo>
                  <a:pt x="12129" y="5288"/>
                  <a:pt x="12243" y="5173"/>
                  <a:pt x="12243" y="5034"/>
                </a:cubicBezTo>
                <a:cubicBezTo>
                  <a:pt x="12243" y="5034"/>
                  <a:pt x="12243" y="5034"/>
                  <a:pt x="12243" y="5034"/>
                </a:cubicBezTo>
                <a:close/>
                <a:moveTo>
                  <a:pt x="13500" y="12825"/>
                </a:moveTo>
                <a:cubicBezTo>
                  <a:pt x="11768" y="12825"/>
                  <a:pt x="10257" y="12541"/>
                  <a:pt x="9048" y="12102"/>
                </a:cubicBezTo>
                <a:cubicBezTo>
                  <a:pt x="12853" y="11879"/>
                  <a:pt x="15858" y="10351"/>
                  <a:pt x="16167" y="8426"/>
                </a:cubicBezTo>
                <a:cubicBezTo>
                  <a:pt x="17085" y="8018"/>
                  <a:pt x="17822" y="7512"/>
                  <a:pt x="18295" y="6934"/>
                </a:cubicBezTo>
                <a:lnTo>
                  <a:pt x="18294" y="6934"/>
                </a:lnTo>
                <a:cubicBezTo>
                  <a:pt x="19928" y="7598"/>
                  <a:pt x="20925" y="8548"/>
                  <a:pt x="20925" y="9449"/>
                </a:cubicBezTo>
                <a:cubicBezTo>
                  <a:pt x="20925" y="11044"/>
                  <a:pt x="17876" y="12825"/>
                  <a:pt x="13500" y="12825"/>
                </a:cubicBezTo>
                <a:cubicBezTo>
                  <a:pt x="13500" y="12825"/>
                  <a:pt x="13500" y="12825"/>
                  <a:pt x="13500" y="12825"/>
                </a:cubicBezTo>
                <a:close/>
                <a:moveTo>
                  <a:pt x="15437" y="14729"/>
                </a:moveTo>
                <a:cubicBezTo>
                  <a:pt x="14198" y="15205"/>
                  <a:pt x="12627" y="15525"/>
                  <a:pt x="10800" y="15525"/>
                </a:cubicBezTo>
                <a:cubicBezTo>
                  <a:pt x="6424" y="15525"/>
                  <a:pt x="3375" y="13745"/>
                  <a:pt x="3375" y="12149"/>
                </a:cubicBezTo>
                <a:cubicBezTo>
                  <a:pt x="3375" y="11920"/>
                  <a:pt x="3454" y="11688"/>
                  <a:pt x="3574" y="11459"/>
                </a:cubicBezTo>
                <a:cubicBezTo>
                  <a:pt x="4236" y="11681"/>
                  <a:pt x="4968" y="11857"/>
                  <a:pt x="5749" y="11973"/>
                </a:cubicBezTo>
                <a:cubicBezTo>
                  <a:pt x="6756" y="13638"/>
                  <a:pt x="9844" y="14849"/>
                  <a:pt x="13500" y="14849"/>
                </a:cubicBezTo>
                <a:cubicBezTo>
                  <a:pt x="14172" y="14849"/>
                  <a:pt x="14819" y="14805"/>
                  <a:pt x="15443" y="14727"/>
                </a:cubicBezTo>
                <a:cubicBezTo>
                  <a:pt x="15442" y="14727"/>
                  <a:pt x="15440" y="14729"/>
                  <a:pt x="15437" y="14729"/>
                </a:cubicBezTo>
                <a:cubicBezTo>
                  <a:pt x="15437" y="14729"/>
                  <a:pt x="15437" y="14729"/>
                  <a:pt x="15437" y="14729"/>
                </a:cubicBezTo>
                <a:close/>
                <a:moveTo>
                  <a:pt x="18226" y="16200"/>
                </a:moveTo>
                <a:cubicBezTo>
                  <a:pt x="18226" y="17796"/>
                  <a:pt x="15176" y="19574"/>
                  <a:pt x="10800" y="19574"/>
                </a:cubicBezTo>
                <a:cubicBezTo>
                  <a:pt x="6424" y="19574"/>
                  <a:pt x="3375" y="17796"/>
                  <a:pt x="3375" y="16200"/>
                </a:cubicBezTo>
                <a:cubicBezTo>
                  <a:pt x="3375" y="15934"/>
                  <a:pt x="3489" y="15665"/>
                  <a:pt x="3648" y="15399"/>
                </a:cubicBezTo>
                <a:cubicBezTo>
                  <a:pt x="3646" y="15398"/>
                  <a:pt x="3644" y="15395"/>
                  <a:pt x="3643" y="15392"/>
                </a:cubicBezTo>
                <a:cubicBezTo>
                  <a:pt x="5002" y="16675"/>
                  <a:pt x="7697" y="17550"/>
                  <a:pt x="10800" y="17550"/>
                </a:cubicBezTo>
                <a:cubicBezTo>
                  <a:pt x="13907" y="17550"/>
                  <a:pt x="16588" y="16668"/>
                  <a:pt x="17946" y="15384"/>
                </a:cubicBezTo>
                <a:lnTo>
                  <a:pt x="17943" y="15387"/>
                </a:lnTo>
                <a:cubicBezTo>
                  <a:pt x="18108" y="15656"/>
                  <a:pt x="18226" y="15930"/>
                  <a:pt x="18226" y="16200"/>
                </a:cubicBezTo>
                <a:cubicBezTo>
                  <a:pt x="18226" y="16200"/>
                  <a:pt x="18226" y="16200"/>
                  <a:pt x="18226" y="16200"/>
                </a:cubicBezTo>
                <a:close/>
                <a:moveTo>
                  <a:pt x="675" y="6750"/>
                </a:moveTo>
                <a:cubicBezTo>
                  <a:pt x="675" y="5960"/>
                  <a:pt x="1423" y="5132"/>
                  <a:pt x="2701" y="4492"/>
                </a:cubicBezTo>
                <a:lnTo>
                  <a:pt x="2701" y="5400"/>
                </a:lnTo>
                <a:cubicBezTo>
                  <a:pt x="2701" y="7636"/>
                  <a:pt x="6327" y="9449"/>
                  <a:pt x="10800" y="9449"/>
                </a:cubicBezTo>
                <a:cubicBezTo>
                  <a:pt x="11468" y="9449"/>
                  <a:pt x="12114" y="9404"/>
                  <a:pt x="12736" y="9328"/>
                </a:cubicBezTo>
                <a:cubicBezTo>
                  <a:pt x="11497" y="9805"/>
                  <a:pt x="9926" y="10124"/>
                  <a:pt x="8100" y="10124"/>
                </a:cubicBezTo>
                <a:cubicBezTo>
                  <a:pt x="3725" y="10124"/>
                  <a:pt x="675" y="8344"/>
                  <a:pt x="675" y="6750"/>
                </a:cubicBezTo>
                <a:cubicBezTo>
                  <a:pt x="675" y="6750"/>
                  <a:pt x="675" y="6750"/>
                  <a:pt x="675" y="6750"/>
                </a:cubicBezTo>
                <a:close/>
                <a:moveTo>
                  <a:pt x="10800" y="675"/>
                </a:moveTo>
                <a:cubicBezTo>
                  <a:pt x="15176" y="675"/>
                  <a:pt x="18226" y="2453"/>
                  <a:pt x="18226" y="4050"/>
                </a:cubicBezTo>
                <a:cubicBezTo>
                  <a:pt x="18226" y="5646"/>
                  <a:pt x="15176" y="7425"/>
                  <a:pt x="10800" y="7425"/>
                </a:cubicBezTo>
                <a:cubicBezTo>
                  <a:pt x="6424" y="7425"/>
                  <a:pt x="3375" y="5646"/>
                  <a:pt x="3375" y="4050"/>
                </a:cubicBezTo>
                <a:cubicBezTo>
                  <a:pt x="3375" y="2453"/>
                  <a:pt x="6424" y="675"/>
                  <a:pt x="10800" y="675"/>
                </a:cubicBezTo>
                <a:cubicBezTo>
                  <a:pt x="10800" y="675"/>
                  <a:pt x="10800" y="675"/>
                  <a:pt x="10800" y="675"/>
                </a:cubicBezTo>
                <a:close/>
                <a:moveTo>
                  <a:pt x="18674" y="6334"/>
                </a:moveTo>
                <a:lnTo>
                  <a:pt x="18674" y="6335"/>
                </a:lnTo>
                <a:cubicBezTo>
                  <a:pt x="18816" y="6035"/>
                  <a:pt x="18900" y="5721"/>
                  <a:pt x="18900" y="5400"/>
                </a:cubicBezTo>
                <a:lnTo>
                  <a:pt x="18900" y="4050"/>
                </a:lnTo>
                <a:cubicBezTo>
                  <a:pt x="18900" y="1813"/>
                  <a:pt x="15273" y="0"/>
                  <a:pt x="10800" y="0"/>
                </a:cubicBezTo>
                <a:cubicBezTo>
                  <a:pt x="6327" y="0"/>
                  <a:pt x="2701" y="1813"/>
                  <a:pt x="2701" y="4050"/>
                </a:cubicBezTo>
                <a:cubicBezTo>
                  <a:pt x="2701" y="3939"/>
                  <a:pt x="2716" y="3830"/>
                  <a:pt x="2733" y="3723"/>
                </a:cubicBezTo>
                <a:cubicBezTo>
                  <a:pt x="1060" y="4465"/>
                  <a:pt x="0" y="5546"/>
                  <a:pt x="0" y="6750"/>
                </a:cubicBezTo>
                <a:lnTo>
                  <a:pt x="0" y="8100"/>
                </a:lnTo>
                <a:cubicBezTo>
                  <a:pt x="0" y="9352"/>
                  <a:pt x="1139" y="10471"/>
                  <a:pt x="2926" y="11213"/>
                </a:cubicBezTo>
                <a:cubicBezTo>
                  <a:pt x="2783" y="11514"/>
                  <a:pt x="2701" y="11827"/>
                  <a:pt x="2701" y="12149"/>
                </a:cubicBezTo>
                <a:lnTo>
                  <a:pt x="2701" y="13499"/>
                </a:lnTo>
                <a:cubicBezTo>
                  <a:pt x="2701" y="13974"/>
                  <a:pt x="2872" y="14425"/>
                  <a:pt x="3172" y="14849"/>
                </a:cubicBezTo>
                <a:cubicBezTo>
                  <a:pt x="2872" y="15273"/>
                  <a:pt x="2701" y="15724"/>
                  <a:pt x="2701" y="16200"/>
                </a:cubicBezTo>
                <a:lnTo>
                  <a:pt x="2701" y="17550"/>
                </a:lnTo>
                <a:cubicBezTo>
                  <a:pt x="2701" y="19785"/>
                  <a:pt x="6327" y="21600"/>
                  <a:pt x="10800" y="21600"/>
                </a:cubicBezTo>
                <a:cubicBezTo>
                  <a:pt x="15273" y="21600"/>
                  <a:pt x="18900" y="19785"/>
                  <a:pt x="18900" y="17550"/>
                </a:cubicBezTo>
                <a:lnTo>
                  <a:pt x="18900" y="16200"/>
                </a:lnTo>
                <a:cubicBezTo>
                  <a:pt x="18900" y="15717"/>
                  <a:pt x="18722" y="15258"/>
                  <a:pt x="18413" y="14827"/>
                </a:cubicBezTo>
                <a:cubicBezTo>
                  <a:pt x="18411" y="14830"/>
                  <a:pt x="18408" y="14836"/>
                  <a:pt x="18406" y="14838"/>
                </a:cubicBezTo>
                <a:cubicBezTo>
                  <a:pt x="18632" y="14517"/>
                  <a:pt x="18811" y="14181"/>
                  <a:pt x="18867" y="13826"/>
                </a:cubicBezTo>
                <a:cubicBezTo>
                  <a:pt x="20540" y="13083"/>
                  <a:pt x="21600" y="12006"/>
                  <a:pt x="21600" y="10799"/>
                </a:cubicBezTo>
                <a:lnTo>
                  <a:pt x="21600" y="9449"/>
                </a:lnTo>
                <a:cubicBezTo>
                  <a:pt x="21600" y="8198"/>
                  <a:pt x="20461" y="7076"/>
                  <a:pt x="18674" y="6334"/>
                </a:cubicBezTo>
                <a:cubicBezTo>
                  <a:pt x="18674" y="6334"/>
                  <a:pt x="18674" y="6334"/>
                  <a:pt x="18674" y="6334"/>
                </a:cubicBezTo>
                <a:close/>
              </a:path>
            </a:pathLst>
          </a:custGeom>
          <a:solidFill>
            <a:srgbClr val="7E249F"/>
          </a:solidFill>
          <a:ln w="12700" cap="flat">
            <a:noFill/>
            <a:miter lim="400000"/>
          </a:ln>
          <a:effectLst/>
        </p:spPr>
        <p:txBody>
          <a:bodyPr wrap="square" lIns="19051" tIns="19051" rIns="19051" bIns="19051" numCol="1" anchor="ctr">
            <a:noAutofit/>
          </a:bodyPr>
          <a:lstStyle/>
          <a:p>
            <a:pPr defTabSz="22859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Tree>
    <p:extLst>
      <p:ext uri="{BB962C8B-B14F-4D97-AF65-F5344CB8AC3E}">
        <p14:creationId xmlns:p14="http://schemas.microsoft.com/office/powerpoint/2010/main" val="20540909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C0D586-959E-4110-B8FA-5E827BF8470A}"/>
              </a:ext>
            </a:extLst>
          </p:cNvPr>
          <p:cNvSpPr txBox="1"/>
          <p:nvPr/>
        </p:nvSpPr>
        <p:spPr>
          <a:xfrm>
            <a:off x="972457" y="336191"/>
            <a:ext cx="9971314" cy="584775"/>
          </a:xfrm>
          <a:prstGeom prst="rect">
            <a:avLst/>
          </a:prstGeom>
          <a:noFill/>
        </p:spPr>
        <p:txBody>
          <a:bodyPr wrap="square" rtlCol="0">
            <a:spAutoFit/>
          </a:bodyPr>
          <a:lstStyle/>
          <a:p>
            <a:pPr algn="ctr"/>
            <a:r>
              <a:rPr lang="en-IN" sz="3200" b="1" spc="-150" dirty="0">
                <a:solidFill>
                  <a:srgbClr val="1E3ADA"/>
                </a:solidFill>
                <a:latin typeface="Work Sans" panose="00000500000000000000" pitchFamily="50" charset="0"/>
                <a:cs typeface="Segoe UI" panose="020B0502040204020203" pitchFamily="34" charset="0"/>
              </a:rPr>
              <a:t>Benefit Carrier Information</a:t>
            </a:r>
          </a:p>
        </p:txBody>
      </p:sp>
      <p:pic>
        <p:nvPicPr>
          <p:cNvPr id="6" name="Picture 5">
            <a:extLst>
              <a:ext uri="{FF2B5EF4-FFF2-40B4-BE49-F238E27FC236}">
                <a16:creationId xmlns:a16="http://schemas.microsoft.com/office/drawing/2014/main" id="{8A398B96-3A33-1264-945B-B45F756259A1}"/>
              </a:ext>
            </a:extLst>
          </p:cNvPr>
          <p:cNvPicPr>
            <a:picLocks noChangeAspect="1"/>
          </p:cNvPicPr>
          <p:nvPr/>
        </p:nvPicPr>
        <p:blipFill>
          <a:blip r:embed="rId2"/>
          <a:stretch>
            <a:fillRect/>
          </a:stretch>
        </p:blipFill>
        <p:spPr>
          <a:xfrm>
            <a:off x="1442415" y="920966"/>
            <a:ext cx="9031398" cy="5494582"/>
          </a:xfrm>
          <a:prstGeom prst="rect">
            <a:avLst/>
          </a:prstGeom>
          <a:ln w="38100">
            <a:solidFill>
              <a:srgbClr val="00B6AD"/>
            </a:solidFill>
          </a:ln>
        </p:spPr>
      </p:pic>
    </p:spTree>
    <p:extLst>
      <p:ext uri="{BB962C8B-B14F-4D97-AF65-F5344CB8AC3E}">
        <p14:creationId xmlns:p14="http://schemas.microsoft.com/office/powerpoint/2010/main" val="31276820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0425FE-005C-D5CC-8D40-C7C9F9FA3CC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957167" y="914501"/>
            <a:ext cx="3631721" cy="3105535"/>
          </a:xfrm>
          <a:prstGeom prst="rect">
            <a:avLst/>
          </a:prstGeom>
          <a:noFill/>
          <a:ln w="38100">
            <a:solidFill>
              <a:schemeClr val="accent1"/>
            </a:solidFill>
          </a:ln>
        </p:spPr>
      </p:pic>
      <p:sp>
        <p:nvSpPr>
          <p:cNvPr id="5" name="Title 1">
            <a:extLst>
              <a:ext uri="{FF2B5EF4-FFF2-40B4-BE49-F238E27FC236}">
                <a16:creationId xmlns:a16="http://schemas.microsoft.com/office/drawing/2014/main" id="{94346D43-5C3C-1AFC-21BB-7081D93E5981}"/>
              </a:ext>
            </a:extLst>
          </p:cNvPr>
          <p:cNvSpPr>
            <a:spLocks noGrp="1"/>
          </p:cNvSpPr>
          <p:nvPr>
            <p:ph type="ctrTitle"/>
          </p:nvPr>
        </p:nvSpPr>
        <p:spPr>
          <a:xfrm>
            <a:off x="3388743" y="47776"/>
            <a:ext cx="5414513" cy="761881"/>
          </a:xfrm>
        </p:spPr>
        <p:txBody>
          <a:bodyPr>
            <a:normAutofit/>
          </a:bodyPr>
          <a:lstStyle/>
          <a:p>
            <a:r>
              <a:rPr lang="en-US" sz="3200" u="sng" dirty="0">
                <a:solidFill>
                  <a:srgbClr val="7D3420"/>
                </a:solidFill>
                <a:effectLst/>
                <a:latin typeface="TaubSans-Regular"/>
                <a:ea typeface="Times New Roman" panose="02020603050405020304" pitchFamily="18" charset="0"/>
                <a:cs typeface="TaubSans-Regular"/>
                <a:hlinkClick r:id="rId3"/>
              </a:rPr>
              <a:t>https://workforcenow.adp.com</a:t>
            </a:r>
            <a:r>
              <a:rPr lang="en-US" sz="3200" u="none" strike="noStrike" dirty="0">
                <a:solidFill>
                  <a:srgbClr val="000000"/>
                </a:solidFill>
                <a:effectLst/>
                <a:latin typeface="TaubSans-Regular"/>
                <a:ea typeface="Times New Roman" panose="02020603050405020304" pitchFamily="18" charset="0"/>
                <a:cs typeface="TaubSans-Regular"/>
                <a:hlinkClick r:id="rId3"/>
              </a:rPr>
              <a:t> </a:t>
            </a:r>
            <a:endParaRPr lang="en-US" sz="3200" dirty="0"/>
          </a:p>
        </p:txBody>
      </p:sp>
      <p:pic>
        <p:nvPicPr>
          <p:cNvPr id="8" name="Picture 7">
            <a:extLst>
              <a:ext uri="{FF2B5EF4-FFF2-40B4-BE49-F238E27FC236}">
                <a16:creationId xmlns:a16="http://schemas.microsoft.com/office/drawing/2014/main" id="{5D2DDAD7-ACCA-148F-F73D-7CC7FACB67EA}"/>
              </a:ext>
            </a:extLst>
          </p:cNvPr>
          <p:cNvPicPr>
            <a:picLocks noChangeAspect="1"/>
          </p:cNvPicPr>
          <p:nvPr/>
        </p:nvPicPr>
        <p:blipFill>
          <a:blip r:embed="rId4"/>
          <a:stretch>
            <a:fillRect/>
          </a:stretch>
        </p:blipFill>
        <p:spPr>
          <a:xfrm>
            <a:off x="4093106" y="4580283"/>
            <a:ext cx="3511730" cy="1682836"/>
          </a:xfrm>
          <a:prstGeom prst="rect">
            <a:avLst/>
          </a:prstGeom>
        </p:spPr>
      </p:pic>
      <p:pic>
        <p:nvPicPr>
          <p:cNvPr id="1026" name="Picture 1">
            <a:extLst>
              <a:ext uri="{FF2B5EF4-FFF2-40B4-BE49-F238E27FC236}">
                <a16:creationId xmlns:a16="http://schemas.microsoft.com/office/drawing/2014/main" id="{71699929-DA49-B1A6-32C7-7805E58559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55701" y="914501"/>
            <a:ext cx="3819123" cy="3105535"/>
          </a:xfrm>
          <a:prstGeom prst="rect">
            <a:avLst/>
          </a:prstGeom>
          <a:noFill/>
          <a:ln w="38100">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2" name="Oval 1">
            <a:extLst>
              <a:ext uri="{FF2B5EF4-FFF2-40B4-BE49-F238E27FC236}">
                <a16:creationId xmlns:a16="http://schemas.microsoft.com/office/drawing/2014/main" id="{C5A92706-89F0-72CA-1F69-669D23964626}"/>
              </a:ext>
            </a:extLst>
          </p:cNvPr>
          <p:cNvSpPr/>
          <p:nvPr/>
        </p:nvSpPr>
        <p:spPr>
          <a:xfrm>
            <a:off x="8566030" y="3429000"/>
            <a:ext cx="1199072" cy="35799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48385E30-363B-715B-D340-34E14A4A9D3F}"/>
              </a:ext>
            </a:extLst>
          </p:cNvPr>
          <p:cNvSpPr/>
          <p:nvPr/>
        </p:nvSpPr>
        <p:spPr>
          <a:xfrm>
            <a:off x="8229600" y="3489575"/>
            <a:ext cx="1604514" cy="43132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868B40B5-DFF2-F490-7F5D-55B5A6AF0E8F}"/>
              </a:ext>
            </a:extLst>
          </p:cNvPr>
          <p:cNvSpPr/>
          <p:nvPr/>
        </p:nvSpPr>
        <p:spPr>
          <a:xfrm>
            <a:off x="2970771" y="3140014"/>
            <a:ext cx="1604514" cy="43132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84288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4E3F3A-64C5-473D-94AD-7EFEC840D11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28"/>
            <a:ext cx="12192000" cy="6857143"/>
          </a:xfrm>
          <a:prstGeom prst="rect">
            <a:avLst/>
          </a:prstGeom>
        </p:spPr>
      </p:pic>
      <p:sp>
        <p:nvSpPr>
          <p:cNvPr id="6" name="Rectangle 5">
            <a:extLst>
              <a:ext uri="{FF2B5EF4-FFF2-40B4-BE49-F238E27FC236}">
                <a16:creationId xmlns:a16="http://schemas.microsoft.com/office/drawing/2014/main" id="{25F4BF94-5602-4221-9ED4-5E5A8AC10307}"/>
              </a:ext>
            </a:extLst>
          </p:cNvPr>
          <p:cNvSpPr/>
          <p:nvPr/>
        </p:nvSpPr>
        <p:spPr>
          <a:xfrm>
            <a:off x="1109863" y="3268763"/>
            <a:ext cx="4096437" cy="1323439"/>
          </a:xfrm>
          <a:prstGeom prst="rect">
            <a:avLst/>
          </a:prstGeom>
        </p:spPr>
        <p:txBody>
          <a:bodyPr wrap="square">
            <a:spAutoFit/>
          </a:bodyPr>
          <a:lstStyle/>
          <a:p>
            <a:r>
              <a:rPr lang="en-US" sz="4000" b="1" spc="-150" dirty="0">
                <a:solidFill>
                  <a:srgbClr val="7E249F"/>
                </a:solidFill>
                <a:latin typeface="Work Sans" panose="00000500000000000000" pitchFamily="50" charset="0"/>
              </a:rPr>
              <a:t>CORPORATE </a:t>
            </a:r>
          </a:p>
          <a:p>
            <a:r>
              <a:rPr lang="en-US" sz="4000" b="1" spc="-150" dirty="0">
                <a:solidFill>
                  <a:srgbClr val="7E249F"/>
                </a:solidFill>
                <a:latin typeface="Work Sans" panose="00000500000000000000" pitchFamily="50" charset="0"/>
              </a:rPr>
              <a:t>OVERVIEW</a:t>
            </a:r>
          </a:p>
        </p:txBody>
      </p:sp>
      <p:sp>
        <p:nvSpPr>
          <p:cNvPr id="7" name="TextBox 6">
            <a:extLst>
              <a:ext uri="{FF2B5EF4-FFF2-40B4-BE49-F238E27FC236}">
                <a16:creationId xmlns:a16="http://schemas.microsoft.com/office/drawing/2014/main" id="{671AC4FF-CFA7-45E9-9598-90D4681D63A3}"/>
              </a:ext>
            </a:extLst>
          </p:cNvPr>
          <p:cNvSpPr txBox="1"/>
          <p:nvPr/>
        </p:nvSpPr>
        <p:spPr>
          <a:xfrm>
            <a:off x="-73728" y="-1009332"/>
            <a:ext cx="4095993" cy="4939814"/>
          </a:xfrm>
          <a:prstGeom prst="rect">
            <a:avLst/>
          </a:prstGeom>
          <a:noFill/>
        </p:spPr>
        <p:txBody>
          <a:bodyPr wrap="none" rtlCol="0">
            <a:spAutoFit/>
          </a:bodyPr>
          <a:lstStyle/>
          <a:p>
            <a:r>
              <a:rPr lang="en-US" sz="31500" spc="-300" dirty="0">
                <a:solidFill>
                  <a:srgbClr val="00B6AD">
                    <a:alpha val="60000"/>
                  </a:srgbClr>
                </a:solidFill>
                <a:latin typeface="Work Sans Light" panose="00000400000000000000" pitchFamily="50" charset="0"/>
              </a:rPr>
              <a:t>01</a:t>
            </a:r>
            <a:endParaRPr lang="en-IN" sz="31500" spc="-300" dirty="0">
              <a:solidFill>
                <a:srgbClr val="00B6AD">
                  <a:alpha val="60000"/>
                </a:srgbClr>
              </a:solidFill>
              <a:latin typeface="Work Sans Light" panose="00000400000000000000" pitchFamily="50" charset="0"/>
            </a:endParaRPr>
          </a:p>
        </p:txBody>
      </p:sp>
    </p:spTree>
    <p:extLst>
      <p:ext uri="{BB962C8B-B14F-4D97-AF65-F5344CB8AC3E}">
        <p14:creationId xmlns:p14="http://schemas.microsoft.com/office/powerpoint/2010/main" val="37758666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B4E0B-805B-DC3A-4259-5FE1059AE570}"/>
              </a:ext>
            </a:extLst>
          </p:cNvPr>
          <p:cNvSpPr>
            <a:spLocks noGrp="1"/>
          </p:cNvSpPr>
          <p:nvPr>
            <p:ph type="ctrTitle"/>
          </p:nvPr>
        </p:nvSpPr>
        <p:spPr>
          <a:xfrm>
            <a:off x="1524000" y="114597"/>
            <a:ext cx="9144000" cy="1027056"/>
          </a:xfrm>
        </p:spPr>
        <p:txBody>
          <a:bodyPr>
            <a:normAutofit fontScale="90000"/>
          </a:bodyPr>
          <a:lstStyle/>
          <a:p>
            <a:r>
              <a:rPr lang="en-US" sz="2400" dirty="0"/>
              <a:t>Once you have logged into ADP you will receive a pop-up to begin your enrollments. You can click “Manage enrollment” to start or “Remind me later” to wait. </a:t>
            </a:r>
          </a:p>
        </p:txBody>
      </p:sp>
      <p:pic>
        <p:nvPicPr>
          <p:cNvPr id="3" name="Picture 2">
            <a:extLst>
              <a:ext uri="{FF2B5EF4-FFF2-40B4-BE49-F238E27FC236}">
                <a16:creationId xmlns:a16="http://schemas.microsoft.com/office/drawing/2014/main" id="{2196FA64-00E2-F96C-390A-85E2E734DAE8}"/>
              </a:ext>
            </a:extLst>
          </p:cNvPr>
          <p:cNvPicPr>
            <a:picLocks noChangeAspect="1"/>
          </p:cNvPicPr>
          <p:nvPr/>
        </p:nvPicPr>
        <p:blipFill>
          <a:blip r:embed="rId2"/>
          <a:stretch>
            <a:fillRect/>
          </a:stretch>
        </p:blipFill>
        <p:spPr>
          <a:xfrm>
            <a:off x="10899139" y="377752"/>
            <a:ext cx="1044953" cy="500746"/>
          </a:xfrm>
          <a:prstGeom prst="rect">
            <a:avLst/>
          </a:prstGeom>
        </p:spPr>
      </p:pic>
      <p:pic>
        <p:nvPicPr>
          <p:cNvPr id="5" name="Picture 4">
            <a:extLst>
              <a:ext uri="{FF2B5EF4-FFF2-40B4-BE49-F238E27FC236}">
                <a16:creationId xmlns:a16="http://schemas.microsoft.com/office/drawing/2014/main" id="{7614E81A-D5A0-F4B4-1660-D06B9E22A43B}"/>
              </a:ext>
            </a:extLst>
          </p:cNvPr>
          <p:cNvPicPr>
            <a:picLocks noChangeAspect="1"/>
          </p:cNvPicPr>
          <p:nvPr/>
        </p:nvPicPr>
        <p:blipFill>
          <a:blip r:embed="rId3"/>
          <a:stretch>
            <a:fillRect/>
          </a:stretch>
        </p:blipFill>
        <p:spPr>
          <a:xfrm>
            <a:off x="779147" y="1371599"/>
            <a:ext cx="10479241" cy="4722697"/>
          </a:xfrm>
          <a:prstGeom prst="rect">
            <a:avLst/>
          </a:prstGeom>
          <a:ln w="38100">
            <a:solidFill>
              <a:schemeClr val="accent1"/>
            </a:solidFill>
          </a:ln>
        </p:spPr>
      </p:pic>
      <p:pic>
        <p:nvPicPr>
          <p:cNvPr id="6" name="Picture 4">
            <a:extLst>
              <a:ext uri="{FF2B5EF4-FFF2-40B4-BE49-F238E27FC236}">
                <a16:creationId xmlns:a16="http://schemas.microsoft.com/office/drawing/2014/main" id="{DBD56C3B-6E19-BAA3-151E-73F94AB86B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66962" y="2825404"/>
            <a:ext cx="7458075" cy="256160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BFBF1858-5711-72B1-AA5A-F25858EFC7F8}"/>
              </a:ext>
            </a:extLst>
          </p:cNvPr>
          <p:cNvPicPr>
            <a:picLocks noChangeAspect="1"/>
          </p:cNvPicPr>
          <p:nvPr/>
        </p:nvPicPr>
        <p:blipFill>
          <a:blip r:embed="rId5"/>
          <a:stretch>
            <a:fillRect/>
          </a:stretch>
        </p:blipFill>
        <p:spPr>
          <a:xfrm>
            <a:off x="4920698" y="4625837"/>
            <a:ext cx="3086100" cy="647700"/>
          </a:xfrm>
          <a:prstGeom prst="rect">
            <a:avLst/>
          </a:prstGeom>
        </p:spPr>
      </p:pic>
    </p:spTree>
    <p:extLst>
      <p:ext uri="{BB962C8B-B14F-4D97-AF65-F5344CB8AC3E}">
        <p14:creationId xmlns:p14="http://schemas.microsoft.com/office/powerpoint/2010/main" val="19580078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635B1-9569-1786-4859-6EDEA94C7876}"/>
              </a:ext>
            </a:extLst>
          </p:cNvPr>
          <p:cNvSpPr>
            <a:spLocks noGrp="1"/>
          </p:cNvSpPr>
          <p:nvPr>
            <p:ph type="title"/>
          </p:nvPr>
        </p:nvSpPr>
        <p:spPr>
          <a:xfrm>
            <a:off x="3609339" y="254000"/>
            <a:ext cx="4719320" cy="477520"/>
          </a:xfrm>
        </p:spPr>
        <p:txBody>
          <a:bodyPr>
            <a:normAutofit/>
          </a:bodyPr>
          <a:lstStyle/>
          <a:p>
            <a:pPr algn="ctr"/>
            <a:r>
              <a:rPr lang="en-US" sz="2400" dirty="0"/>
              <a:t>Click Manage enrollment to start</a:t>
            </a:r>
          </a:p>
        </p:txBody>
      </p:sp>
      <p:pic>
        <p:nvPicPr>
          <p:cNvPr id="5" name="Content Placeholder 4">
            <a:extLst>
              <a:ext uri="{FF2B5EF4-FFF2-40B4-BE49-F238E27FC236}">
                <a16:creationId xmlns:a16="http://schemas.microsoft.com/office/drawing/2014/main" id="{8BDA9C02-54AE-5091-B632-38122D9D579D}"/>
              </a:ext>
            </a:extLst>
          </p:cNvPr>
          <p:cNvPicPr>
            <a:picLocks noGrp="1" noChangeAspect="1"/>
          </p:cNvPicPr>
          <p:nvPr>
            <p:ph idx="1"/>
          </p:nvPr>
        </p:nvPicPr>
        <p:blipFill>
          <a:blip r:embed="rId2"/>
          <a:stretch>
            <a:fillRect/>
          </a:stretch>
        </p:blipFill>
        <p:spPr>
          <a:xfrm>
            <a:off x="1336005" y="906575"/>
            <a:ext cx="9265989" cy="5769180"/>
          </a:xfrm>
          <a:ln w="38100">
            <a:solidFill>
              <a:schemeClr val="accent1"/>
            </a:solidFill>
          </a:ln>
        </p:spPr>
      </p:pic>
      <p:pic>
        <p:nvPicPr>
          <p:cNvPr id="6" name="Picture 5">
            <a:extLst>
              <a:ext uri="{FF2B5EF4-FFF2-40B4-BE49-F238E27FC236}">
                <a16:creationId xmlns:a16="http://schemas.microsoft.com/office/drawing/2014/main" id="{9DFD4196-9EAE-EA39-99D9-1750BCCEB655}"/>
              </a:ext>
            </a:extLst>
          </p:cNvPr>
          <p:cNvPicPr>
            <a:picLocks noChangeAspect="1"/>
          </p:cNvPicPr>
          <p:nvPr/>
        </p:nvPicPr>
        <p:blipFill>
          <a:blip r:embed="rId3"/>
          <a:stretch>
            <a:fillRect/>
          </a:stretch>
        </p:blipFill>
        <p:spPr>
          <a:xfrm>
            <a:off x="10899139" y="377752"/>
            <a:ext cx="1044953" cy="500746"/>
          </a:xfrm>
          <a:prstGeom prst="rect">
            <a:avLst/>
          </a:prstGeom>
        </p:spPr>
      </p:pic>
    </p:spTree>
    <p:extLst>
      <p:ext uri="{BB962C8B-B14F-4D97-AF65-F5344CB8AC3E}">
        <p14:creationId xmlns:p14="http://schemas.microsoft.com/office/powerpoint/2010/main" val="5836973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1233B-05B5-0BCD-D2B1-9A519FAB46E5}"/>
              </a:ext>
            </a:extLst>
          </p:cNvPr>
          <p:cNvSpPr>
            <a:spLocks noGrp="1"/>
          </p:cNvSpPr>
          <p:nvPr>
            <p:ph type="title"/>
          </p:nvPr>
        </p:nvSpPr>
        <p:spPr>
          <a:xfrm>
            <a:off x="1292859" y="401003"/>
            <a:ext cx="9606280" cy="539115"/>
          </a:xfrm>
        </p:spPr>
        <p:txBody>
          <a:bodyPr>
            <a:normAutofit/>
          </a:bodyPr>
          <a:lstStyle/>
          <a:p>
            <a:r>
              <a:rPr lang="en-US" sz="2400" dirty="0"/>
              <a:t>Please review the welcome message and download the Benefits guide</a:t>
            </a:r>
          </a:p>
        </p:txBody>
      </p:sp>
      <p:pic>
        <p:nvPicPr>
          <p:cNvPr id="4" name="Picture 3">
            <a:extLst>
              <a:ext uri="{FF2B5EF4-FFF2-40B4-BE49-F238E27FC236}">
                <a16:creationId xmlns:a16="http://schemas.microsoft.com/office/drawing/2014/main" id="{8B3916CD-5637-6261-4731-016BEE2956C8}"/>
              </a:ext>
            </a:extLst>
          </p:cNvPr>
          <p:cNvPicPr>
            <a:picLocks noChangeAspect="1"/>
          </p:cNvPicPr>
          <p:nvPr/>
        </p:nvPicPr>
        <p:blipFill>
          <a:blip r:embed="rId2"/>
          <a:stretch>
            <a:fillRect/>
          </a:stretch>
        </p:blipFill>
        <p:spPr>
          <a:xfrm>
            <a:off x="10899139" y="377752"/>
            <a:ext cx="1044953" cy="500746"/>
          </a:xfrm>
          <a:prstGeom prst="rect">
            <a:avLst/>
          </a:prstGeom>
        </p:spPr>
      </p:pic>
      <p:pic>
        <p:nvPicPr>
          <p:cNvPr id="2050" name="Picture 2">
            <a:extLst>
              <a:ext uri="{FF2B5EF4-FFF2-40B4-BE49-F238E27FC236}">
                <a16:creationId xmlns:a16="http://schemas.microsoft.com/office/drawing/2014/main" id="{FC05830F-910C-A4DC-27C0-5FC2789E48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239" y="1060521"/>
            <a:ext cx="11943522" cy="5147534"/>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972B4631-7B74-DDBF-D1E6-FE5291731690}"/>
              </a:ext>
            </a:extLst>
          </p:cNvPr>
          <p:cNvSpPr/>
          <p:nvPr/>
        </p:nvSpPr>
        <p:spPr>
          <a:xfrm>
            <a:off x="2467155" y="1664898"/>
            <a:ext cx="9221637" cy="577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477630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6E85A-9548-5360-6AF9-03EA59D176B7}"/>
              </a:ext>
            </a:extLst>
          </p:cNvPr>
          <p:cNvSpPr>
            <a:spLocks noGrp="1"/>
          </p:cNvSpPr>
          <p:nvPr>
            <p:ph type="title"/>
          </p:nvPr>
        </p:nvSpPr>
        <p:spPr>
          <a:xfrm>
            <a:off x="838199" y="161926"/>
            <a:ext cx="10515600" cy="907736"/>
          </a:xfrm>
        </p:spPr>
        <p:txBody>
          <a:bodyPr>
            <a:normAutofit/>
          </a:bodyPr>
          <a:lstStyle/>
          <a:p>
            <a:pPr algn="ctr"/>
            <a:r>
              <a:rPr lang="en-US" sz="2400" dirty="0"/>
              <a:t>You will be required to add any dependents/beneficiaries.</a:t>
            </a:r>
            <a:endParaRPr lang="en-US" sz="2400" dirty="0">
              <a:solidFill>
                <a:srgbClr val="FF0000"/>
              </a:solidFill>
            </a:endParaRPr>
          </a:p>
        </p:txBody>
      </p:sp>
      <p:pic>
        <p:nvPicPr>
          <p:cNvPr id="5" name="Content Placeholder 4">
            <a:extLst>
              <a:ext uri="{FF2B5EF4-FFF2-40B4-BE49-F238E27FC236}">
                <a16:creationId xmlns:a16="http://schemas.microsoft.com/office/drawing/2014/main" id="{A32E1503-A8C5-8562-4BD3-55F8F9561E2E}"/>
              </a:ext>
            </a:extLst>
          </p:cNvPr>
          <p:cNvPicPr>
            <a:picLocks noGrp="1" noChangeAspect="1"/>
          </p:cNvPicPr>
          <p:nvPr>
            <p:ph idx="1"/>
          </p:nvPr>
        </p:nvPicPr>
        <p:blipFill>
          <a:blip r:embed="rId2"/>
          <a:stretch>
            <a:fillRect/>
          </a:stretch>
        </p:blipFill>
        <p:spPr>
          <a:xfrm>
            <a:off x="323572" y="1512254"/>
            <a:ext cx="11544856" cy="4614226"/>
          </a:xfrm>
          <a:ln w="38100">
            <a:solidFill>
              <a:schemeClr val="accent1"/>
            </a:solidFill>
          </a:ln>
        </p:spPr>
      </p:pic>
      <p:pic>
        <p:nvPicPr>
          <p:cNvPr id="3" name="Picture 2">
            <a:extLst>
              <a:ext uri="{FF2B5EF4-FFF2-40B4-BE49-F238E27FC236}">
                <a16:creationId xmlns:a16="http://schemas.microsoft.com/office/drawing/2014/main" id="{672A0B51-6715-4B5D-4DB6-D171A0AFBAAC}"/>
              </a:ext>
            </a:extLst>
          </p:cNvPr>
          <p:cNvPicPr>
            <a:picLocks noChangeAspect="1"/>
          </p:cNvPicPr>
          <p:nvPr/>
        </p:nvPicPr>
        <p:blipFill>
          <a:blip r:embed="rId3"/>
          <a:stretch>
            <a:fillRect/>
          </a:stretch>
        </p:blipFill>
        <p:spPr>
          <a:xfrm>
            <a:off x="10899139" y="377752"/>
            <a:ext cx="1044953" cy="500746"/>
          </a:xfrm>
          <a:prstGeom prst="rect">
            <a:avLst/>
          </a:prstGeom>
        </p:spPr>
      </p:pic>
    </p:spTree>
    <p:extLst>
      <p:ext uri="{BB962C8B-B14F-4D97-AF65-F5344CB8AC3E}">
        <p14:creationId xmlns:p14="http://schemas.microsoft.com/office/powerpoint/2010/main" val="20209849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10;&#10;Description automatically generated">
            <a:extLst>
              <a:ext uri="{FF2B5EF4-FFF2-40B4-BE49-F238E27FC236}">
                <a16:creationId xmlns:a16="http://schemas.microsoft.com/office/drawing/2014/main" id="{FFF0207A-0FBF-E5FA-8A6A-109750F2F7FC}"/>
              </a:ext>
            </a:extLst>
          </p:cNvPr>
          <p:cNvPicPr>
            <a:picLocks noChangeAspect="1"/>
          </p:cNvPicPr>
          <p:nvPr/>
        </p:nvPicPr>
        <p:blipFill>
          <a:blip r:embed="rId2"/>
          <a:stretch>
            <a:fillRect/>
          </a:stretch>
        </p:blipFill>
        <p:spPr>
          <a:xfrm>
            <a:off x="1960880" y="1069662"/>
            <a:ext cx="7941945" cy="5433360"/>
          </a:xfrm>
          <a:prstGeom prst="rect">
            <a:avLst/>
          </a:prstGeom>
          <a:ln w="38100">
            <a:solidFill>
              <a:schemeClr val="accent1"/>
            </a:solidFill>
          </a:ln>
        </p:spPr>
      </p:pic>
      <p:sp>
        <p:nvSpPr>
          <p:cNvPr id="7" name="Title 1">
            <a:extLst>
              <a:ext uri="{FF2B5EF4-FFF2-40B4-BE49-F238E27FC236}">
                <a16:creationId xmlns:a16="http://schemas.microsoft.com/office/drawing/2014/main" id="{C26230D7-965E-B4C0-D5C7-545615894380}"/>
              </a:ext>
            </a:extLst>
          </p:cNvPr>
          <p:cNvSpPr txBox="1">
            <a:spLocks/>
          </p:cNvSpPr>
          <p:nvPr/>
        </p:nvSpPr>
        <p:spPr>
          <a:xfrm>
            <a:off x="496771" y="161926"/>
            <a:ext cx="10515600" cy="907736"/>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2400" dirty="0"/>
            </a:br>
            <a:r>
              <a:rPr lang="en-US" sz="2400" dirty="0"/>
              <a:t>Name, Date of Birth, Gender, SSN are </a:t>
            </a:r>
            <a:r>
              <a:rPr lang="en-US" sz="2400" dirty="0">
                <a:solidFill>
                  <a:srgbClr val="FF0000"/>
                </a:solidFill>
              </a:rPr>
              <a:t>required fields </a:t>
            </a:r>
            <a:r>
              <a:rPr lang="en-US" sz="2400" dirty="0"/>
              <a:t>for dependents and beneficiaries.</a:t>
            </a:r>
          </a:p>
        </p:txBody>
      </p:sp>
      <p:pic>
        <p:nvPicPr>
          <p:cNvPr id="2" name="Picture 1">
            <a:extLst>
              <a:ext uri="{FF2B5EF4-FFF2-40B4-BE49-F238E27FC236}">
                <a16:creationId xmlns:a16="http://schemas.microsoft.com/office/drawing/2014/main" id="{3F5D234A-0F44-72A2-7CFF-096623FD41DB}"/>
              </a:ext>
            </a:extLst>
          </p:cNvPr>
          <p:cNvPicPr>
            <a:picLocks noChangeAspect="1"/>
          </p:cNvPicPr>
          <p:nvPr/>
        </p:nvPicPr>
        <p:blipFill>
          <a:blip r:embed="rId3"/>
          <a:stretch>
            <a:fillRect/>
          </a:stretch>
        </p:blipFill>
        <p:spPr>
          <a:xfrm>
            <a:off x="10899139" y="377752"/>
            <a:ext cx="1044953" cy="500746"/>
          </a:xfrm>
          <a:prstGeom prst="rect">
            <a:avLst/>
          </a:prstGeom>
        </p:spPr>
      </p:pic>
    </p:spTree>
    <p:extLst>
      <p:ext uri="{BB962C8B-B14F-4D97-AF65-F5344CB8AC3E}">
        <p14:creationId xmlns:p14="http://schemas.microsoft.com/office/powerpoint/2010/main" val="22955138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D73EF-BFE4-B965-8F85-4980086E08EF}"/>
              </a:ext>
            </a:extLst>
          </p:cNvPr>
          <p:cNvSpPr>
            <a:spLocks noGrp="1"/>
          </p:cNvSpPr>
          <p:nvPr>
            <p:ph type="title"/>
          </p:nvPr>
        </p:nvSpPr>
        <p:spPr>
          <a:xfrm>
            <a:off x="838200" y="365125"/>
            <a:ext cx="10515600" cy="528955"/>
          </a:xfrm>
        </p:spPr>
        <p:txBody>
          <a:bodyPr>
            <a:normAutofit/>
          </a:bodyPr>
          <a:lstStyle/>
          <a:p>
            <a:pPr algn="ctr"/>
            <a:r>
              <a:rPr lang="en-US" sz="2400" dirty="0"/>
              <a:t>You will be required to select tobacco user and select the agree box</a:t>
            </a:r>
          </a:p>
        </p:txBody>
      </p:sp>
      <p:pic>
        <p:nvPicPr>
          <p:cNvPr id="5" name="Content Placeholder 4">
            <a:extLst>
              <a:ext uri="{FF2B5EF4-FFF2-40B4-BE49-F238E27FC236}">
                <a16:creationId xmlns:a16="http://schemas.microsoft.com/office/drawing/2014/main" id="{352AF499-DE67-E876-4136-45471CFDF756}"/>
              </a:ext>
            </a:extLst>
          </p:cNvPr>
          <p:cNvPicPr>
            <a:picLocks noGrp="1" noChangeAspect="1"/>
          </p:cNvPicPr>
          <p:nvPr>
            <p:ph idx="1"/>
          </p:nvPr>
        </p:nvPicPr>
        <p:blipFill>
          <a:blip r:embed="rId2"/>
          <a:stretch>
            <a:fillRect/>
          </a:stretch>
        </p:blipFill>
        <p:spPr>
          <a:xfrm>
            <a:off x="500045" y="1137920"/>
            <a:ext cx="11191910" cy="4799035"/>
          </a:xfrm>
          <a:ln w="38100">
            <a:solidFill>
              <a:schemeClr val="accent1"/>
            </a:solidFill>
          </a:ln>
        </p:spPr>
      </p:pic>
      <p:pic>
        <p:nvPicPr>
          <p:cNvPr id="3" name="Picture 2">
            <a:extLst>
              <a:ext uri="{FF2B5EF4-FFF2-40B4-BE49-F238E27FC236}">
                <a16:creationId xmlns:a16="http://schemas.microsoft.com/office/drawing/2014/main" id="{C5A69987-E55E-9682-1EB1-D0FAC8DB90D0}"/>
              </a:ext>
            </a:extLst>
          </p:cNvPr>
          <p:cNvPicPr>
            <a:picLocks noChangeAspect="1"/>
          </p:cNvPicPr>
          <p:nvPr/>
        </p:nvPicPr>
        <p:blipFill>
          <a:blip r:embed="rId3"/>
          <a:stretch>
            <a:fillRect/>
          </a:stretch>
        </p:blipFill>
        <p:spPr>
          <a:xfrm>
            <a:off x="10899139" y="377752"/>
            <a:ext cx="1044953" cy="500746"/>
          </a:xfrm>
          <a:prstGeom prst="rect">
            <a:avLst/>
          </a:prstGeom>
        </p:spPr>
      </p:pic>
    </p:spTree>
    <p:extLst>
      <p:ext uri="{BB962C8B-B14F-4D97-AF65-F5344CB8AC3E}">
        <p14:creationId xmlns:p14="http://schemas.microsoft.com/office/powerpoint/2010/main" val="30315075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4C45-8BE3-84FA-200E-341A62EBEF56}"/>
              </a:ext>
            </a:extLst>
          </p:cNvPr>
          <p:cNvSpPr>
            <a:spLocks noGrp="1"/>
          </p:cNvSpPr>
          <p:nvPr>
            <p:ph type="title"/>
          </p:nvPr>
        </p:nvSpPr>
        <p:spPr>
          <a:xfrm>
            <a:off x="0" y="116361"/>
            <a:ext cx="11120120" cy="1332877"/>
          </a:xfrm>
        </p:spPr>
        <p:txBody>
          <a:bodyPr>
            <a:normAutofit/>
          </a:bodyPr>
          <a:lstStyle/>
          <a:p>
            <a:pPr algn="ctr"/>
            <a:r>
              <a:rPr lang="en-US" sz="2000" dirty="0"/>
              <a:t>You will view the plans to select the coverage level. If you decide to waive a plan you will be required to give a waive reason from the dropdown.</a:t>
            </a:r>
          </a:p>
        </p:txBody>
      </p:sp>
      <p:sp>
        <p:nvSpPr>
          <p:cNvPr id="3" name="Rectangle 2">
            <a:extLst>
              <a:ext uri="{FF2B5EF4-FFF2-40B4-BE49-F238E27FC236}">
                <a16:creationId xmlns:a16="http://schemas.microsoft.com/office/drawing/2014/main" id="{926486A6-739A-63BB-8465-A484F4DB0177}"/>
              </a:ext>
            </a:extLst>
          </p:cNvPr>
          <p:cNvSpPr/>
          <p:nvPr/>
        </p:nvSpPr>
        <p:spPr>
          <a:xfrm>
            <a:off x="11557421" y="6037199"/>
            <a:ext cx="567194" cy="43748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43080FD1-CA3B-7D87-267E-AFC3B829D492}"/>
              </a:ext>
            </a:extLst>
          </p:cNvPr>
          <p:cNvPicPr>
            <a:picLocks noChangeAspect="1"/>
          </p:cNvPicPr>
          <p:nvPr/>
        </p:nvPicPr>
        <p:blipFill>
          <a:blip r:embed="rId2"/>
          <a:stretch>
            <a:fillRect/>
          </a:stretch>
        </p:blipFill>
        <p:spPr>
          <a:xfrm>
            <a:off x="10899139" y="377752"/>
            <a:ext cx="1044953" cy="500746"/>
          </a:xfrm>
          <a:prstGeom prst="rect">
            <a:avLst/>
          </a:prstGeom>
        </p:spPr>
      </p:pic>
      <p:pic>
        <p:nvPicPr>
          <p:cNvPr id="6" name="Picture 5">
            <a:extLst>
              <a:ext uri="{FF2B5EF4-FFF2-40B4-BE49-F238E27FC236}">
                <a16:creationId xmlns:a16="http://schemas.microsoft.com/office/drawing/2014/main" id="{A188EA53-329A-2518-1A73-7F44C185AA05}"/>
              </a:ext>
            </a:extLst>
          </p:cNvPr>
          <p:cNvPicPr>
            <a:picLocks noChangeAspect="1"/>
          </p:cNvPicPr>
          <p:nvPr/>
        </p:nvPicPr>
        <p:blipFill>
          <a:blip r:embed="rId3"/>
          <a:stretch>
            <a:fillRect/>
          </a:stretch>
        </p:blipFill>
        <p:spPr>
          <a:xfrm>
            <a:off x="186595" y="1139889"/>
            <a:ext cx="11938020" cy="5527091"/>
          </a:xfrm>
          <a:prstGeom prst="rect">
            <a:avLst/>
          </a:prstGeom>
        </p:spPr>
      </p:pic>
    </p:spTree>
    <p:extLst>
      <p:ext uri="{BB962C8B-B14F-4D97-AF65-F5344CB8AC3E}">
        <p14:creationId xmlns:p14="http://schemas.microsoft.com/office/powerpoint/2010/main" val="35279948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AA998C98-BA04-D08B-EA32-0B3117095E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2191" y="1991360"/>
            <a:ext cx="9906000" cy="4296728"/>
          </a:xfrm>
          <a:prstGeom prst="rect">
            <a:avLst/>
          </a:prstGeom>
          <a:noFill/>
          <a:ln w="38100">
            <a:solidFill>
              <a:srgbClr val="013482"/>
            </a:solidFill>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89BDD8A-3B70-53DB-3403-3EFF5CE658B8}"/>
              </a:ext>
            </a:extLst>
          </p:cNvPr>
          <p:cNvSpPr>
            <a:spLocks noGrp="1"/>
          </p:cNvSpPr>
          <p:nvPr>
            <p:ph type="title"/>
          </p:nvPr>
        </p:nvSpPr>
        <p:spPr>
          <a:xfrm>
            <a:off x="188102" y="365125"/>
            <a:ext cx="11121707" cy="1626235"/>
          </a:xfrm>
        </p:spPr>
        <p:txBody>
          <a:bodyPr>
            <a:normAutofit fontScale="90000"/>
          </a:bodyPr>
          <a:lstStyle/>
          <a:p>
            <a:pPr algn="ctr"/>
            <a:r>
              <a:rPr lang="en-US" sz="2400" dirty="0"/>
              <a:t>Once you have selected the benefits for your needs, you will select “submit enrollment”. </a:t>
            </a:r>
            <a:r>
              <a:rPr lang="en-US" sz="2400" b="1" dirty="0">
                <a:solidFill>
                  <a:srgbClr val="FF0000"/>
                </a:solidFill>
                <a:highlight>
                  <a:srgbClr val="FFFF00"/>
                </a:highlight>
              </a:rPr>
              <a:t>If “submit enrollment” is not clicked, you will not be enrolled.</a:t>
            </a:r>
            <a:br>
              <a:rPr lang="en-US" sz="2400" dirty="0"/>
            </a:br>
            <a:br>
              <a:rPr lang="en-US" sz="2400" dirty="0"/>
            </a:br>
            <a:r>
              <a:rPr lang="en-US" sz="2400" dirty="0"/>
              <a:t>You can always go back to update your enrollments within the 30-day New Hire window.</a:t>
            </a:r>
          </a:p>
        </p:txBody>
      </p:sp>
      <p:sp>
        <p:nvSpPr>
          <p:cNvPr id="3" name="Rectangle 2">
            <a:extLst>
              <a:ext uri="{FF2B5EF4-FFF2-40B4-BE49-F238E27FC236}">
                <a16:creationId xmlns:a16="http://schemas.microsoft.com/office/drawing/2014/main" id="{10D02768-281C-01A3-4BBF-EA76184D76F3}"/>
              </a:ext>
            </a:extLst>
          </p:cNvPr>
          <p:cNvSpPr/>
          <p:nvPr/>
        </p:nvSpPr>
        <p:spPr>
          <a:xfrm>
            <a:off x="9661236" y="5872740"/>
            <a:ext cx="1062181" cy="4153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E9254822-4884-0F31-9187-0136161E13D9}"/>
              </a:ext>
            </a:extLst>
          </p:cNvPr>
          <p:cNvPicPr>
            <a:picLocks noChangeAspect="1"/>
          </p:cNvPicPr>
          <p:nvPr/>
        </p:nvPicPr>
        <p:blipFill>
          <a:blip r:embed="rId3"/>
          <a:stretch>
            <a:fillRect/>
          </a:stretch>
        </p:blipFill>
        <p:spPr>
          <a:xfrm>
            <a:off x="10958945" y="214948"/>
            <a:ext cx="1044953" cy="500746"/>
          </a:xfrm>
          <a:prstGeom prst="rect">
            <a:avLst/>
          </a:prstGeom>
        </p:spPr>
      </p:pic>
    </p:spTree>
    <p:extLst>
      <p:ext uri="{BB962C8B-B14F-4D97-AF65-F5344CB8AC3E}">
        <p14:creationId xmlns:p14="http://schemas.microsoft.com/office/powerpoint/2010/main" val="8734746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a:extLst>
              <a:ext uri="{FF2B5EF4-FFF2-40B4-BE49-F238E27FC236}">
                <a16:creationId xmlns:a16="http://schemas.microsoft.com/office/drawing/2014/main" id="{ADECB5E9-7C81-4452-2DAE-9628A4C4BB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635" y="2013527"/>
            <a:ext cx="5509491" cy="3232727"/>
          </a:xfrm>
          <a:prstGeom prst="rect">
            <a:avLst/>
          </a:prstGeom>
          <a:noFill/>
          <a:ln w="38100">
            <a:solidFill>
              <a:srgbClr val="013482"/>
            </a:solidFill>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E05D72C-4C5E-6814-0801-CC979DA8151C}"/>
              </a:ext>
            </a:extLst>
          </p:cNvPr>
          <p:cNvSpPr>
            <a:spLocks noGrp="1"/>
          </p:cNvSpPr>
          <p:nvPr>
            <p:ph type="title"/>
          </p:nvPr>
        </p:nvSpPr>
        <p:spPr>
          <a:xfrm>
            <a:off x="838200" y="205273"/>
            <a:ext cx="10515600" cy="1485415"/>
          </a:xfrm>
        </p:spPr>
        <p:txBody>
          <a:bodyPr>
            <a:normAutofit fontScale="90000"/>
          </a:bodyPr>
          <a:lstStyle/>
          <a:p>
            <a:pPr algn="ctr"/>
            <a:r>
              <a:rPr lang="en-US" sz="2400" dirty="0"/>
              <a:t>To view your completed enrollment, please select </a:t>
            </a:r>
            <a:br>
              <a:rPr lang="en-US" sz="2400" dirty="0"/>
            </a:br>
            <a:r>
              <a:rPr lang="en-US" sz="2400" dirty="0"/>
              <a:t>Myself/View Benefits/Enrollments</a:t>
            </a:r>
            <a:br>
              <a:rPr lang="en-US" sz="2400" dirty="0"/>
            </a:br>
            <a:br>
              <a:rPr lang="en-US" sz="2400" dirty="0"/>
            </a:br>
            <a:r>
              <a:rPr lang="en-US" sz="2400" dirty="0"/>
              <a:t>You can also download your Enrollment Summary here as well.</a:t>
            </a:r>
            <a:br>
              <a:rPr lang="en-US" sz="1050" dirty="0"/>
            </a:br>
            <a:endParaRPr lang="en-US" sz="2400" dirty="0"/>
          </a:p>
        </p:txBody>
      </p:sp>
      <p:sp>
        <p:nvSpPr>
          <p:cNvPr id="4" name="Rectangle 3">
            <a:extLst>
              <a:ext uri="{FF2B5EF4-FFF2-40B4-BE49-F238E27FC236}">
                <a16:creationId xmlns:a16="http://schemas.microsoft.com/office/drawing/2014/main" id="{4A734225-9455-A0E4-DE0E-F6E1B45E307D}"/>
              </a:ext>
            </a:extLst>
          </p:cNvPr>
          <p:cNvSpPr/>
          <p:nvPr/>
        </p:nvSpPr>
        <p:spPr>
          <a:xfrm>
            <a:off x="3897746" y="3288143"/>
            <a:ext cx="424873" cy="4064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3EC1131-843E-9751-3F95-7DDA78580D5D}"/>
              </a:ext>
            </a:extLst>
          </p:cNvPr>
          <p:cNvPicPr>
            <a:picLocks noChangeAspect="1"/>
          </p:cNvPicPr>
          <p:nvPr/>
        </p:nvPicPr>
        <p:blipFill>
          <a:blip r:embed="rId3"/>
          <a:stretch>
            <a:fillRect/>
          </a:stretch>
        </p:blipFill>
        <p:spPr>
          <a:xfrm>
            <a:off x="10899139" y="377752"/>
            <a:ext cx="1044953" cy="500746"/>
          </a:xfrm>
          <a:prstGeom prst="rect">
            <a:avLst/>
          </a:prstGeom>
        </p:spPr>
      </p:pic>
      <p:pic>
        <p:nvPicPr>
          <p:cNvPr id="5126" name="Picture 6">
            <a:extLst>
              <a:ext uri="{FF2B5EF4-FFF2-40B4-BE49-F238E27FC236}">
                <a16:creationId xmlns:a16="http://schemas.microsoft.com/office/drawing/2014/main" id="{702D8936-4B8D-617E-05AE-2CEBB7D040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29080" y="2013527"/>
            <a:ext cx="6115012" cy="3232727"/>
          </a:xfrm>
          <a:prstGeom prst="rect">
            <a:avLst/>
          </a:prstGeom>
          <a:noFill/>
          <a:ln w="38100">
            <a:solidFill>
              <a:srgbClr val="013482"/>
            </a:solidFill>
          </a:ln>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226E54BB-8C6A-0D09-E535-7936359F097B}"/>
              </a:ext>
            </a:extLst>
          </p:cNvPr>
          <p:cNvSpPr/>
          <p:nvPr/>
        </p:nvSpPr>
        <p:spPr>
          <a:xfrm>
            <a:off x="6423891" y="3288145"/>
            <a:ext cx="424873" cy="14085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2361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2C3A5FD-B3C2-4E2D-81E7-CF1696DFF9B9}"/>
              </a:ext>
            </a:extLst>
          </p:cNvPr>
          <p:cNvSpPr txBox="1"/>
          <p:nvPr/>
        </p:nvSpPr>
        <p:spPr>
          <a:xfrm>
            <a:off x="323138" y="987327"/>
            <a:ext cx="11540359" cy="6463308"/>
          </a:xfrm>
          <a:prstGeom prst="rect">
            <a:avLst/>
          </a:prstGeom>
          <a:noFill/>
        </p:spPr>
        <p:txBody>
          <a:bodyPr wrap="square">
            <a:spAutoFit/>
          </a:bodyPr>
          <a:lstStyle/>
          <a:p>
            <a:pPr algn="l"/>
            <a:r>
              <a:rPr lang="en-US" b="0" i="0" u="none" strike="noStrike" baseline="0" dirty="0">
                <a:solidFill>
                  <a:srgbClr val="000000"/>
                </a:solidFill>
                <a:latin typeface="+mj-lt"/>
              </a:rPr>
              <a:t>Once your benefit elections become effective, they remain in effect until the end of the calendar year unless</a:t>
            </a:r>
          </a:p>
          <a:p>
            <a:pPr algn="l"/>
            <a:r>
              <a:rPr lang="en-US" b="0" i="0" u="none" strike="noStrike" baseline="0" dirty="0">
                <a:solidFill>
                  <a:srgbClr val="000000"/>
                </a:solidFill>
                <a:latin typeface="+mj-lt"/>
              </a:rPr>
              <a:t>you become ineligible for the benefit or have a Qualified Life Event.</a:t>
            </a:r>
          </a:p>
          <a:p>
            <a:pPr algn="l"/>
            <a:r>
              <a:rPr lang="en-IN" b="1" i="0" u="none" strike="noStrike" baseline="0" dirty="0">
                <a:solidFill>
                  <a:srgbClr val="0BB2A2"/>
                </a:solidFill>
                <a:latin typeface="+mj-lt"/>
              </a:rPr>
              <a:t>QUALIFYING LIFE EVENTS</a:t>
            </a:r>
          </a:p>
          <a:p>
            <a:pPr algn="l"/>
            <a:r>
              <a:rPr lang="en-US" b="0" i="0" u="none" strike="noStrike" baseline="0" dirty="0">
                <a:solidFill>
                  <a:srgbClr val="000000"/>
                </a:solidFill>
                <a:latin typeface="+mj-lt"/>
              </a:rPr>
              <a:t>Generally, you may only make or change your existing benefit elections during the open enrollment window.</a:t>
            </a:r>
          </a:p>
          <a:p>
            <a:pPr algn="l"/>
            <a:r>
              <a:rPr lang="en-US" b="0" i="0" u="none" strike="noStrike" baseline="0" dirty="0">
                <a:solidFill>
                  <a:srgbClr val="000000"/>
                </a:solidFill>
                <a:latin typeface="+mj-lt"/>
              </a:rPr>
              <a:t>However, you may change your benefit elections during the year if you experience an event such as:</a:t>
            </a:r>
          </a:p>
          <a:p>
            <a:r>
              <a:rPr lang="en-IN" b="0" i="0" u="none" strike="noStrike" baseline="0" dirty="0">
                <a:solidFill>
                  <a:srgbClr val="0387C7"/>
                </a:solidFill>
                <a:latin typeface="Wingdings-Regular"/>
              </a:rPr>
              <a:t> </a:t>
            </a:r>
            <a:r>
              <a:rPr lang="en-IN" dirty="0">
                <a:solidFill>
                  <a:srgbClr val="000000"/>
                </a:solidFill>
                <a:latin typeface="+mj-lt"/>
              </a:rPr>
              <a:t>Marriage</a:t>
            </a:r>
          </a:p>
          <a:p>
            <a:pPr algn="l"/>
            <a:r>
              <a:rPr lang="en-IN" b="0" i="0" u="none" strike="noStrike" baseline="0" dirty="0">
                <a:solidFill>
                  <a:srgbClr val="0387C7"/>
                </a:solidFill>
                <a:latin typeface="Wingdings-Regular"/>
              </a:rPr>
              <a:t> </a:t>
            </a:r>
            <a:r>
              <a:rPr lang="en-IN" dirty="0">
                <a:solidFill>
                  <a:srgbClr val="000000"/>
                </a:solidFill>
                <a:latin typeface="+mj-lt"/>
              </a:rPr>
              <a:t>Divorce or legal separation</a:t>
            </a:r>
          </a:p>
          <a:p>
            <a:r>
              <a:rPr lang="en-US" b="0" i="0" u="none" strike="noStrike" baseline="0" dirty="0">
                <a:solidFill>
                  <a:srgbClr val="0387C7"/>
                </a:solidFill>
                <a:latin typeface="Wingdings-Regular"/>
              </a:rPr>
              <a:t> </a:t>
            </a:r>
            <a:r>
              <a:rPr lang="en-US" dirty="0">
                <a:solidFill>
                  <a:srgbClr val="000000"/>
                </a:solidFill>
                <a:latin typeface="+mj-lt"/>
              </a:rPr>
              <a:t>Birth of your child or your domestic partner’s child</a:t>
            </a:r>
          </a:p>
          <a:p>
            <a:r>
              <a:rPr lang="en-US" b="0" i="0" u="none" strike="noStrike" baseline="0" dirty="0">
                <a:solidFill>
                  <a:srgbClr val="0387C7"/>
                </a:solidFill>
                <a:latin typeface="Wingdings-Regular"/>
              </a:rPr>
              <a:t> </a:t>
            </a:r>
            <a:r>
              <a:rPr lang="en-US" dirty="0">
                <a:solidFill>
                  <a:srgbClr val="000000"/>
                </a:solidFill>
                <a:latin typeface="+mj-lt"/>
              </a:rPr>
              <a:t>Death of your spouse, domestic partner or dependent child</a:t>
            </a:r>
          </a:p>
          <a:p>
            <a:r>
              <a:rPr lang="en-US" b="0" i="0" u="none" strike="noStrike" baseline="0" dirty="0">
                <a:solidFill>
                  <a:srgbClr val="0387C7"/>
                </a:solidFill>
                <a:latin typeface="Wingdings-Regular"/>
              </a:rPr>
              <a:t> </a:t>
            </a:r>
            <a:r>
              <a:rPr lang="en-US" dirty="0">
                <a:solidFill>
                  <a:srgbClr val="000000"/>
                </a:solidFill>
                <a:latin typeface="+mj-lt"/>
              </a:rPr>
              <a:t>Adoption of or placement for adoption of your child</a:t>
            </a:r>
          </a:p>
          <a:p>
            <a:r>
              <a:rPr lang="en-US" b="0" i="0" u="none" strike="noStrike" baseline="0" dirty="0">
                <a:solidFill>
                  <a:srgbClr val="0387C7"/>
                </a:solidFill>
                <a:latin typeface="Wingdings-Regular"/>
              </a:rPr>
              <a:t> </a:t>
            </a:r>
            <a:r>
              <a:rPr lang="en-US" dirty="0">
                <a:solidFill>
                  <a:srgbClr val="000000"/>
                </a:solidFill>
                <a:latin typeface="+mj-lt"/>
              </a:rPr>
              <a:t>Change in employment status of employee, spouse/domestic partner or dependent child</a:t>
            </a:r>
          </a:p>
          <a:p>
            <a:pPr algn="l"/>
            <a:r>
              <a:rPr lang="en-US" b="0" i="0" u="none" strike="noStrike" baseline="0" dirty="0">
                <a:solidFill>
                  <a:srgbClr val="0387C7"/>
                </a:solidFill>
                <a:latin typeface="Wingdings-Regular"/>
              </a:rPr>
              <a:t> </a:t>
            </a:r>
            <a:r>
              <a:rPr lang="en-US" b="0" i="0" u="none" strike="noStrike" baseline="0" dirty="0">
                <a:solidFill>
                  <a:srgbClr val="000000"/>
                </a:solidFill>
                <a:latin typeface="+mj-lt"/>
              </a:rPr>
              <a:t>Qualification by the Plan Administrator of a child support order for medical coverage</a:t>
            </a:r>
          </a:p>
          <a:p>
            <a:pPr algn="l"/>
            <a:r>
              <a:rPr lang="en-US" b="0" i="0" u="none" strike="noStrike" baseline="0" dirty="0">
                <a:solidFill>
                  <a:srgbClr val="0387C7"/>
                </a:solidFill>
                <a:latin typeface="Wingdings-Regular"/>
              </a:rPr>
              <a:t> </a:t>
            </a:r>
            <a:r>
              <a:rPr lang="en-US" b="0" i="0" u="none" strike="noStrike" baseline="0" dirty="0">
                <a:solidFill>
                  <a:srgbClr val="000000"/>
                </a:solidFill>
                <a:latin typeface="+mj-lt"/>
              </a:rPr>
              <a:t>Entitlement to Medicare or Medicaid</a:t>
            </a:r>
          </a:p>
          <a:p>
            <a:pPr algn="l"/>
            <a:endParaRPr lang="en-US" dirty="0">
              <a:solidFill>
                <a:srgbClr val="000000"/>
              </a:solidFill>
              <a:latin typeface="+mj-lt"/>
            </a:endParaRPr>
          </a:p>
          <a:p>
            <a:pPr algn="l"/>
            <a:r>
              <a:rPr lang="en-US" b="1" dirty="0">
                <a:solidFill>
                  <a:srgbClr val="000000"/>
                </a:solidFill>
                <a:latin typeface="+mj-lt"/>
              </a:rPr>
              <a:t>You must notify Human Resources within 30 days of a qualifying life event</a:t>
            </a:r>
            <a:r>
              <a:rPr lang="en-US" dirty="0">
                <a:solidFill>
                  <a:srgbClr val="000000"/>
                </a:solidFill>
                <a:latin typeface="+mj-lt"/>
              </a:rPr>
              <a:t>. Depending on the type of</a:t>
            </a:r>
          </a:p>
          <a:p>
            <a:pPr algn="l"/>
            <a:r>
              <a:rPr lang="en-US" dirty="0">
                <a:solidFill>
                  <a:srgbClr val="000000"/>
                </a:solidFill>
                <a:latin typeface="+mj-lt"/>
              </a:rPr>
              <a:t>event, you may need to provide proof of the event, such as a marriage license. Human Resources will let you</a:t>
            </a:r>
          </a:p>
          <a:p>
            <a:pPr algn="l"/>
            <a:r>
              <a:rPr lang="en-US" dirty="0">
                <a:solidFill>
                  <a:srgbClr val="000000"/>
                </a:solidFill>
                <a:latin typeface="+mj-lt"/>
              </a:rPr>
              <a:t>know what documentation you should provide. If you do not contact Human Resources within 30 days of</a:t>
            </a:r>
          </a:p>
          <a:p>
            <a:pPr algn="l"/>
            <a:r>
              <a:rPr lang="en-US" dirty="0">
                <a:solidFill>
                  <a:srgbClr val="000000"/>
                </a:solidFill>
                <a:latin typeface="+mj-lt"/>
              </a:rPr>
              <a:t>the qualified event, you will have to wait until the next open enrollment window to make changes (unless you</a:t>
            </a:r>
          </a:p>
          <a:p>
            <a:pPr algn="l"/>
            <a:r>
              <a:rPr lang="en-US" dirty="0">
                <a:solidFill>
                  <a:srgbClr val="000000"/>
                </a:solidFill>
                <a:latin typeface="+mj-lt"/>
              </a:rPr>
              <a:t>experience another qualifying life event).</a:t>
            </a:r>
          </a:p>
          <a:p>
            <a:pPr algn="l"/>
            <a:endParaRPr lang="en-US" dirty="0">
              <a:solidFill>
                <a:srgbClr val="000000"/>
              </a:solidFill>
              <a:latin typeface="Gotham-Light"/>
            </a:endParaRPr>
          </a:p>
          <a:p>
            <a:pPr algn="l"/>
            <a:endParaRPr lang="en-US" dirty="0">
              <a:solidFill>
                <a:srgbClr val="000000"/>
              </a:solidFill>
              <a:latin typeface="Gotham-Light"/>
            </a:endParaRPr>
          </a:p>
          <a:p>
            <a:pPr algn="l"/>
            <a:endParaRPr lang="en-US" dirty="0">
              <a:solidFill>
                <a:srgbClr val="000000"/>
              </a:solidFill>
              <a:latin typeface="Gotham-Light"/>
            </a:endParaRPr>
          </a:p>
          <a:p>
            <a:pPr algn="l"/>
            <a:endParaRPr lang="en-IN" dirty="0"/>
          </a:p>
        </p:txBody>
      </p:sp>
      <p:sp>
        <p:nvSpPr>
          <p:cNvPr id="8" name="TextBox 7">
            <a:extLst>
              <a:ext uri="{FF2B5EF4-FFF2-40B4-BE49-F238E27FC236}">
                <a16:creationId xmlns:a16="http://schemas.microsoft.com/office/drawing/2014/main" id="{1B85BD34-27CB-B2EE-6921-996B7CED2511}"/>
              </a:ext>
            </a:extLst>
          </p:cNvPr>
          <p:cNvSpPr txBox="1"/>
          <p:nvPr/>
        </p:nvSpPr>
        <p:spPr>
          <a:xfrm>
            <a:off x="1199322" y="321677"/>
            <a:ext cx="9787992" cy="584775"/>
          </a:xfrm>
          <a:prstGeom prst="rect">
            <a:avLst/>
          </a:prstGeom>
          <a:noFill/>
        </p:spPr>
        <p:txBody>
          <a:bodyPr wrap="square" rtlCol="0">
            <a:spAutoFit/>
          </a:bodyPr>
          <a:lstStyle/>
          <a:p>
            <a:pPr algn="ctr"/>
            <a:r>
              <a:rPr lang="en-IN" sz="3200" b="1" spc="-150" dirty="0">
                <a:solidFill>
                  <a:srgbClr val="1E3ADA"/>
                </a:solidFill>
                <a:latin typeface="Work Sans" panose="00000500000000000000" pitchFamily="50" charset="0"/>
                <a:cs typeface="Segoe UI" panose="020B0502040204020203" pitchFamily="34" charset="0"/>
              </a:rPr>
              <a:t>Qualifying Life Events</a:t>
            </a:r>
          </a:p>
        </p:txBody>
      </p:sp>
    </p:spTree>
    <p:extLst>
      <p:ext uri="{BB962C8B-B14F-4D97-AF65-F5344CB8AC3E}">
        <p14:creationId xmlns:p14="http://schemas.microsoft.com/office/powerpoint/2010/main" val="1404524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5">
            <a:extLst>
              <a:ext uri="{FF2B5EF4-FFF2-40B4-BE49-F238E27FC236}">
                <a16:creationId xmlns:a16="http://schemas.microsoft.com/office/drawing/2014/main" id="{725078B1-4E67-A69B-9AB7-065D2D1A07A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9740"/>
          <a:stretch/>
        </p:blipFill>
        <p:spPr>
          <a:xfrm>
            <a:off x="5102634" y="-123190"/>
            <a:ext cx="4253404" cy="6858000"/>
          </a:xfrm>
          <a:custGeom>
            <a:avLst/>
            <a:gdLst>
              <a:gd name="connsiteX0" fmla="*/ 0 w 3676650"/>
              <a:gd name="connsiteY0" fmla="*/ 0 h 6858000"/>
              <a:gd name="connsiteX1" fmla="*/ 3676650 w 3676650"/>
              <a:gd name="connsiteY1" fmla="*/ 0 h 6858000"/>
              <a:gd name="connsiteX2" fmla="*/ 3676650 w 3676650"/>
              <a:gd name="connsiteY2" fmla="*/ 6858000 h 6858000"/>
              <a:gd name="connsiteX3" fmla="*/ 0 w 36766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76650" h="6858000">
                <a:moveTo>
                  <a:pt x="0" y="0"/>
                </a:moveTo>
                <a:lnTo>
                  <a:pt x="3676650" y="0"/>
                </a:lnTo>
                <a:lnTo>
                  <a:pt x="3676650" y="6858000"/>
                </a:lnTo>
                <a:lnTo>
                  <a:pt x="0" y="6858000"/>
                </a:lnTo>
                <a:close/>
              </a:path>
            </a:pathLst>
          </a:custGeom>
        </p:spPr>
      </p:pic>
      <p:sp>
        <p:nvSpPr>
          <p:cNvPr id="2" name="Rectangle 1">
            <a:extLst>
              <a:ext uri="{FF2B5EF4-FFF2-40B4-BE49-F238E27FC236}">
                <a16:creationId xmlns:a16="http://schemas.microsoft.com/office/drawing/2014/main" id="{3A5E0153-D2F4-4195-829A-0FC8891C0879}"/>
              </a:ext>
            </a:extLst>
          </p:cNvPr>
          <p:cNvSpPr/>
          <p:nvPr/>
        </p:nvSpPr>
        <p:spPr>
          <a:xfrm>
            <a:off x="8219667" y="640080"/>
            <a:ext cx="3972333" cy="5460094"/>
          </a:xfrm>
          <a:prstGeom prst="rect">
            <a:avLst/>
          </a:prstGeom>
          <a:solidFill>
            <a:srgbClr val="2485F3"/>
          </a:solidFill>
          <a:ln w="25400" cap="flat" cmpd="sng" algn="ctr">
            <a:noFill/>
            <a:prstDash val="solid"/>
          </a:ln>
          <a:effectLst/>
        </p:spPr>
        <p:txBody>
          <a:bodyPr rtlCol="0" anchor="ctr"/>
          <a:lstStyle/>
          <a:p>
            <a:pPr marL="0" marR="0" lvl="0" indent="0" algn="ctr" defTabSz="914126" rtl="0" eaLnBrk="1" fontAlgn="auto" latinLnBrk="1"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13" name="TextBox 12">
            <a:extLst>
              <a:ext uri="{FF2B5EF4-FFF2-40B4-BE49-F238E27FC236}">
                <a16:creationId xmlns:a16="http://schemas.microsoft.com/office/drawing/2014/main" id="{AABF2160-FB18-438D-AC04-EE59A8106CFF}"/>
              </a:ext>
            </a:extLst>
          </p:cNvPr>
          <p:cNvSpPr txBox="1"/>
          <p:nvPr/>
        </p:nvSpPr>
        <p:spPr>
          <a:xfrm>
            <a:off x="473253" y="1141279"/>
            <a:ext cx="283443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000000"/>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Established in </a:t>
            </a:r>
            <a:r>
              <a:rPr kumimoji="0" lang="en-US" sz="2400" b="1" i="0" u="none" strike="noStrike" kern="0" cap="none" spc="0" normalizeH="0" baseline="0" noProof="0" dirty="0">
                <a:ln>
                  <a:noFill/>
                </a:ln>
                <a:solidFill>
                  <a:srgbClr val="2196F3"/>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2001</a:t>
            </a:r>
            <a:endParaRPr kumimoji="0" lang="en-ID" sz="2400" b="1" i="0" u="none" strike="noStrike" kern="0" cap="none" spc="0" normalizeH="0" baseline="0" noProof="0" dirty="0">
              <a:ln>
                <a:noFill/>
              </a:ln>
              <a:solidFill>
                <a:srgbClr val="2196F3"/>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endParaRPr>
          </a:p>
        </p:txBody>
      </p:sp>
      <p:sp>
        <p:nvSpPr>
          <p:cNvPr id="14" name="TextBox 13">
            <a:extLst>
              <a:ext uri="{FF2B5EF4-FFF2-40B4-BE49-F238E27FC236}">
                <a16:creationId xmlns:a16="http://schemas.microsoft.com/office/drawing/2014/main" id="{95F25B6C-5795-4E90-9286-0BDC7459FFF9}"/>
              </a:ext>
            </a:extLst>
          </p:cNvPr>
          <p:cNvSpPr txBox="1"/>
          <p:nvPr/>
        </p:nvSpPr>
        <p:spPr>
          <a:xfrm>
            <a:off x="479603" y="1539933"/>
            <a:ext cx="4583096" cy="314702"/>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id-ID"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Headquarters in Rockville, MD, US &amp; </a:t>
            </a:r>
            <a:r>
              <a:rPr kumimoji="0" lang="en-IN"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B</a:t>
            </a:r>
            <a:r>
              <a:rPr kumimoji="0" lang="id-ID"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angalore, India.</a:t>
            </a:r>
          </a:p>
        </p:txBody>
      </p:sp>
      <p:sp>
        <p:nvSpPr>
          <p:cNvPr id="15" name="TextBox 14">
            <a:extLst>
              <a:ext uri="{FF2B5EF4-FFF2-40B4-BE49-F238E27FC236}">
                <a16:creationId xmlns:a16="http://schemas.microsoft.com/office/drawing/2014/main" id="{3987EA45-A42C-4FC9-A12E-4806DB19538A}"/>
              </a:ext>
            </a:extLst>
          </p:cNvPr>
          <p:cNvSpPr txBox="1"/>
          <p:nvPr/>
        </p:nvSpPr>
        <p:spPr>
          <a:xfrm>
            <a:off x="479603" y="1948434"/>
            <a:ext cx="434926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400" b="1" kern="0" dirty="0">
                <a:solidFill>
                  <a:srgbClr val="2196F3"/>
                </a:solidFill>
                <a:latin typeface="Segoe UI" panose="020B0502040204020203" pitchFamily="34" charset="0"/>
                <a:ea typeface="Open Sans SemiBold" panose="020B0706030804020204" pitchFamily="34" charset="0"/>
                <a:cs typeface="Segoe UI" panose="020B0502040204020203" pitchFamily="34" charset="0"/>
                <a:sym typeface="Arial"/>
              </a:rPr>
              <a:t>6</a:t>
            </a:r>
            <a:r>
              <a:rPr kumimoji="0" lang="en-US" sz="2400" b="1" i="0" u="none" strike="noStrike" kern="0" cap="none" spc="0" normalizeH="0" baseline="0" noProof="0" dirty="0">
                <a:ln>
                  <a:noFill/>
                </a:ln>
                <a:solidFill>
                  <a:srgbClr val="2196F3"/>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00+</a:t>
            </a:r>
            <a:r>
              <a:rPr kumimoji="0" lang="en-US" sz="2400" b="0" i="0" u="none" strike="noStrike" kern="0" cap="none" spc="0" normalizeH="0" baseline="0" noProof="0" dirty="0">
                <a:ln>
                  <a:noFill/>
                </a:ln>
                <a:solidFill>
                  <a:srgbClr val="000000"/>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 Fortune 1000 Customers</a:t>
            </a:r>
            <a:endParaRPr kumimoji="0" lang="en-ID" sz="2400" b="0" i="0" u="none" strike="noStrike" kern="0" cap="none" spc="0" normalizeH="0" baseline="0" noProof="0" dirty="0">
              <a:ln>
                <a:noFill/>
              </a:ln>
              <a:solidFill>
                <a:srgbClr val="000000"/>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endParaRPr>
          </a:p>
        </p:txBody>
      </p:sp>
      <p:sp>
        <p:nvSpPr>
          <p:cNvPr id="16" name="TextBox 15">
            <a:extLst>
              <a:ext uri="{FF2B5EF4-FFF2-40B4-BE49-F238E27FC236}">
                <a16:creationId xmlns:a16="http://schemas.microsoft.com/office/drawing/2014/main" id="{DE4AC56C-B814-47F4-ACEA-65CCC55F0059}"/>
              </a:ext>
            </a:extLst>
          </p:cNvPr>
          <p:cNvSpPr txBox="1"/>
          <p:nvPr/>
        </p:nvSpPr>
        <p:spPr>
          <a:xfrm>
            <a:off x="485953" y="2347088"/>
            <a:ext cx="4575904" cy="568617"/>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id-ID"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Delivering a seamless digital transformation for </a:t>
            </a:r>
            <a:r>
              <a:rPr kumimoji="0" lang="en-IN"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o</a:t>
            </a:r>
            <a:r>
              <a:rPr kumimoji="0" lang="id-ID"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ur</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IN"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c</a:t>
            </a:r>
            <a:r>
              <a:rPr kumimoji="0" lang="id-ID"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ustomers</a:t>
            </a:r>
          </a:p>
        </p:txBody>
      </p:sp>
      <p:sp>
        <p:nvSpPr>
          <p:cNvPr id="18" name="TextBox 17">
            <a:extLst>
              <a:ext uri="{FF2B5EF4-FFF2-40B4-BE49-F238E27FC236}">
                <a16:creationId xmlns:a16="http://schemas.microsoft.com/office/drawing/2014/main" id="{96A0830A-171D-B2E8-72B5-A28DF80F3DE1}"/>
              </a:ext>
            </a:extLst>
          </p:cNvPr>
          <p:cNvSpPr txBox="1"/>
          <p:nvPr/>
        </p:nvSpPr>
        <p:spPr>
          <a:xfrm>
            <a:off x="479603" y="2967355"/>
            <a:ext cx="346441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400" b="1" kern="0" dirty="0">
                <a:solidFill>
                  <a:srgbClr val="2196F3"/>
                </a:solidFill>
                <a:latin typeface="Segoe UI" panose="020B0502040204020203" pitchFamily="34" charset="0"/>
                <a:ea typeface="Open Sans SemiBold" panose="020B0706030804020204" pitchFamily="34" charset="0"/>
                <a:cs typeface="Segoe UI" panose="020B0502040204020203" pitchFamily="34" charset="0"/>
                <a:sym typeface="Arial"/>
              </a:rPr>
              <a:t>20</a:t>
            </a:r>
            <a:r>
              <a:rPr kumimoji="0" lang="en-US" sz="2400" b="1" i="0" u="none" strike="noStrike" kern="0" cap="none" spc="0" normalizeH="0" baseline="0" noProof="0" dirty="0">
                <a:ln>
                  <a:noFill/>
                </a:ln>
                <a:solidFill>
                  <a:srgbClr val="2196F3"/>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K+</a:t>
            </a:r>
            <a:r>
              <a:rPr kumimoji="0" lang="en-US" sz="2400" b="0" i="0" u="none" strike="noStrike" kern="0" cap="none" spc="0" normalizeH="0" baseline="0" noProof="0" dirty="0">
                <a:ln>
                  <a:noFill/>
                </a:ln>
                <a:solidFill>
                  <a:srgbClr val="000000"/>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 Global Employees</a:t>
            </a:r>
            <a:endParaRPr kumimoji="0" lang="en-ID" sz="2400" b="0" i="0" u="none" strike="noStrike" kern="0" cap="none" spc="0" normalizeH="0" baseline="0" noProof="0" dirty="0">
              <a:ln>
                <a:noFill/>
              </a:ln>
              <a:solidFill>
                <a:srgbClr val="000000"/>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endParaRPr>
          </a:p>
        </p:txBody>
      </p:sp>
      <p:sp>
        <p:nvSpPr>
          <p:cNvPr id="22" name="TextBox 21">
            <a:extLst>
              <a:ext uri="{FF2B5EF4-FFF2-40B4-BE49-F238E27FC236}">
                <a16:creationId xmlns:a16="http://schemas.microsoft.com/office/drawing/2014/main" id="{2003E0DE-A1AD-AE83-C78E-6C6B8770E824}"/>
              </a:ext>
            </a:extLst>
          </p:cNvPr>
          <p:cNvSpPr txBox="1"/>
          <p:nvPr/>
        </p:nvSpPr>
        <p:spPr>
          <a:xfrm>
            <a:off x="485953" y="3366009"/>
            <a:ext cx="4575904" cy="568617"/>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id-ID"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Diverse, </a:t>
            </a:r>
            <a:r>
              <a:rPr kumimoji="0" lang="en-US"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digital ready</a:t>
            </a:r>
            <a:r>
              <a:rPr kumimoji="0" lang="id-ID"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 workforce aligned to a common purpose of consistently delivering excellence</a:t>
            </a:r>
          </a:p>
        </p:txBody>
      </p:sp>
      <p:sp>
        <p:nvSpPr>
          <p:cNvPr id="23" name="TextBox 22">
            <a:extLst>
              <a:ext uri="{FF2B5EF4-FFF2-40B4-BE49-F238E27FC236}">
                <a16:creationId xmlns:a16="http://schemas.microsoft.com/office/drawing/2014/main" id="{86D44F6A-6280-6781-F9F0-FCE103204328}"/>
              </a:ext>
            </a:extLst>
          </p:cNvPr>
          <p:cNvSpPr txBox="1"/>
          <p:nvPr/>
        </p:nvSpPr>
        <p:spPr>
          <a:xfrm>
            <a:off x="473253" y="4076922"/>
            <a:ext cx="447965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2196F3"/>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30%</a:t>
            </a:r>
            <a:r>
              <a:rPr kumimoji="0" lang="en-US" sz="2400" b="0" i="0" u="none" strike="noStrike" kern="0" cap="none" spc="0" normalizeH="0" baseline="0" noProof="0" dirty="0">
                <a:ln>
                  <a:noFill/>
                </a:ln>
                <a:solidFill>
                  <a:srgbClr val="000000"/>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 Annual Growth</a:t>
            </a:r>
            <a:endParaRPr kumimoji="0" lang="en-ID" sz="2400" b="0" i="0" u="none" strike="noStrike" kern="0" cap="none" spc="0" normalizeH="0" baseline="0" noProof="0" dirty="0">
              <a:ln>
                <a:noFill/>
              </a:ln>
              <a:solidFill>
                <a:srgbClr val="000000"/>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endParaRPr>
          </a:p>
        </p:txBody>
      </p:sp>
      <p:sp>
        <p:nvSpPr>
          <p:cNvPr id="24" name="TextBox 23">
            <a:extLst>
              <a:ext uri="{FF2B5EF4-FFF2-40B4-BE49-F238E27FC236}">
                <a16:creationId xmlns:a16="http://schemas.microsoft.com/office/drawing/2014/main" id="{A0D7F98C-25C0-B39B-4685-7DF488CF4AF4}"/>
              </a:ext>
            </a:extLst>
          </p:cNvPr>
          <p:cNvSpPr txBox="1"/>
          <p:nvPr/>
        </p:nvSpPr>
        <p:spPr>
          <a:xfrm>
            <a:off x="361986" y="4418128"/>
            <a:ext cx="4575904" cy="456215"/>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1.3B </a:t>
            </a:r>
            <a:r>
              <a:rPr lang="en-US" sz="1100" kern="0" dirty="0">
                <a:solidFill>
                  <a:srgbClr val="000000">
                    <a:lumMod val="50000"/>
                    <a:lumOff val="50000"/>
                  </a:srgbClr>
                </a:solidFill>
                <a:latin typeface="Segoe UI" panose="020B0502040204020203" pitchFamily="34" charset="0"/>
                <a:ea typeface="Times New Roman" panose="02020603050405020304" pitchFamily="18" charset="0"/>
                <a:cs typeface="Segoe UI" panose="020B0502040204020203" pitchFamily="34" charset="0"/>
                <a:sym typeface="Arial"/>
              </a:rPr>
              <a:t>FY25 Forecast</a:t>
            </a:r>
            <a:r>
              <a:rPr kumimoji="0" lang="en-US"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 global annual revenue</a:t>
            </a:r>
            <a:endParaRPr kumimoji="0" lang="id-ID" sz="1100" b="0" i="0" u="none" strike="noStrike" kern="0" cap="none" spc="0" normalizeH="0" baseline="0" noProof="0" dirty="0">
              <a:ln>
                <a:noFill/>
              </a:ln>
              <a:solidFill>
                <a:srgbClr val="000000">
                  <a:lumMod val="50000"/>
                  <a:lumOff val="50000"/>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4" name="TextBox 3">
            <a:extLst>
              <a:ext uri="{FF2B5EF4-FFF2-40B4-BE49-F238E27FC236}">
                <a16:creationId xmlns:a16="http://schemas.microsoft.com/office/drawing/2014/main" id="{94EB35BF-CD1A-F7A0-10AB-FD6695F9A718}"/>
              </a:ext>
            </a:extLst>
          </p:cNvPr>
          <p:cNvSpPr txBox="1"/>
          <p:nvPr/>
        </p:nvSpPr>
        <p:spPr>
          <a:xfrm>
            <a:off x="8530649" y="2126651"/>
            <a:ext cx="192246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SI Consumers</a:t>
            </a:r>
            <a:endParaRPr kumimoji="0" lang="id-ID"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5" name="TextBox 4">
            <a:extLst>
              <a:ext uri="{FF2B5EF4-FFF2-40B4-BE49-F238E27FC236}">
                <a16:creationId xmlns:a16="http://schemas.microsoft.com/office/drawing/2014/main" id="{62702531-61B7-D879-1CC3-5EF833629790}"/>
              </a:ext>
            </a:extLst>
          </p:cNvPr>
          <p:cNvSpPr txBox="1"/>
          <p:nvPr/>
        </p:nvSpPr>
        <p:spPr>
          <a:xfrm>
            <a:off x="8530650" y="1631315"/>
            <a:ext cx="1718918" cy="57785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100 M</a:t>
            </a:r>
            <a:endParaRPr kumimoji="0" lang="id-ID"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6" name="TextBox 5">
            <a:extLst>
              <a:ext uri="{FF2B5EF4-FFF2-40B4-BE49-F238E27FC236}">
                <a16:creationId xmlns:a16="http://schemas.microsoft.com/office/drawing/2014/main" id="{651CB058-0488-8B3F-AF68-9BC917499468}"/>
              </a:ext>
            </a:extLst>
          </p:cNvPr>
          <p:cNvSpPr txBox="1"/>
          <p:nvPr/>
        </p:nvSpPr>
        <p:spPr>
          <a:xfrm>
            <a:off x="10146379" y="1631315"/>
            <a:ext cx="1452951" cy="57785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2 M</a:t>
            </a:r>
            <a:endParaRPr kumimoji="0" lang="id-ID"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7" name="TextBox 6">
            <a:extLst>
              <a:ext uri="{FF2B5EF4-FFF2-40B4-BE49-F238E27FC236}">
                <a16:creationId xmlns:a16="http://schemas.microsoft.com/office/drawing/2014/main" id="{4E8B2E80-443D-38E4-D948-DD412F1BE002}"/>
              </a:ext>
            </a:extLst>
          </p:cNvPr>
          <p:cNvSpPr txBox="1"/>
          <p:nvPr/>
        </p:nvSpPr>
        <p:spPr>
          <a:xfrm>
            <a:off x="10148223" y="2126651"/>
            <a:ext cx="114116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Govern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Veterans</a:t>
            </a:r>
            <a:endParaRPr kumimoji="0" lang="id-ID"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8" name="TextBox 7">
            <a:extLst>
              <a:ext uri="{FF2B5EF4-FFF2-40B4-BE49-F238E27FC236}">
                <a16:creationId xmlns:a16="http://schemas.microsoft.com/office/drawing/2014/main" id="{E03CC639-725E-C944-E371-F28346E89586}"/>
              </a:ext>
            </a:extLst>
          </p:cNvPr>
          <p:cNvSpPr txBox="1"/>
          <p:nvPr/>
        </p:nvSpPr>
        <p:spPr>
          <a:xfrm>
            <a:off x="8530649" y="3701451"/>
            <a:ext cx="1922463"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Healthcar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Patients</a:t>
            </a:r>
            <a:endParaRPr kumimoji="0" lang="id-ID"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9" name="TextBox 8">
            <a:extLst>
              <a:ext uri="{FF2B5EF4-FFF2-40B4-BE49-F238E27FC236}">
                <a16:creationId xmlns:a16="http://schemas.microsoft.com/office/drawing/2014/main" id="{4F2C8844-FD6C-6036-775E-3FF7257A3B14}"/>
              </a:ext>
            </a:extLst>
          </p:cNvPr>
          <p:cNvSpPr txBox="1"/>
          <p:nvPr/>
        </p:nvSpPr>
        <p:spPr>
          <a:xfrm>
            <a:off x="8530650" y="3206115"/>
            <a:ext cx="1718918" cy="57785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80 M</a:t>
            </a:r>
            <a:endParaRPr kumimoji="0" lang="id-ID"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11" name="TextBox 10">
            <a:extLst>
              <a:ext uri="{FF2B5EF4-FFF2-40B4-BE49-F238E27FC236}">
                <a16:creationId xmlns:a16="http://schemas.microsoft.com/office/drawing/2014/main" id="{FE59EF13-1AD3-0CC8-5487-53F3ABFDCC1C}"/>
              </a:ext>
            </a:extLst>
          </p:cNvPr>
          <p:cNvSpPr txBox="1"/>
          <p:nvPr/>
        </p:nvSpPr>
        <p:spPr>
          <a:xfrm>
            <a:off x="10146379" y="3206115"/>
            <a:ext cx="1559668" cy="57753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149 M</a:t>
            </a:r>
            <a:endParaRPr kumimoji="0" lang="id-ID"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12" name="TextBox 11">
            <a:extLst>
              <a:ext uri="{FF2B5EF4-FFF2-40B4-BE49-F238E27FC236}">
                <a16:creationId xmlns:a16="http://schemas.microsoft.com/office/drawing/2014/main" id="{C553ABE8-A25F-F961-6461-E6386A2984CB}"/>
              </a:ext>
            </a:extLst>
          </p:cNvPr>
          <p:cNvSpPr txBox="1"/>
          <p:nvPr/>
        </p:nvSpPr>
        <p:spPr>
          <a:xfrm>
            <a:off x="10148223" y="3701451"/>
            <a:ext cx="1090994"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Telecom</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Subscribers</a:t>
            </a:r>
            <a:endParaRPr kumimoji="0" lang="id-ID"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17" name="TextBox 16">
            <a:extLst>
              <a:ext uri="{FF2B5EF4-FFF2-40B4-BE49-F238E27FC236}">
                <a16:creationId xmlns:a16="http://schemas.microsoft.com/office/drawing/2014/main" id="{21F405B0-6009-6F6A-31DD-583056E3313C}"/>
              </a:ext>
            </a:extLst>
          </p:cNvPr>
          <p:cNvSpPr txBox="1"/>
          <p:nvPr/>
        </p:nvSpPr>
        <p:spPr>
          <a:xfrm>
            <a:off x="8530649" y="5301651"/>
            <a:ext cx="1922463"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Transporta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Drivers</a:t>
            </a:r>
            <a:endParaRPr kumimoji="0" lang="id-ID"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20" name="TextBox 19">
            <a:extLst>
              <a:ext uri="{FF2B5EF4-FFF2-40B4-BE49-F238E27FC236}">
                <a16:creationId xmlns:a16="http://schemas.microsoft.com/office/drawing/2014/main" id="{D66212CE-737B-0D01-0C44-90F18DB148AB}"/>
              </a:ext>
            </a:extLst>
          </p:cNvPr>
          <p:cNvSpPr txBox="1"/>
          <p:nvPr/>
        </p:nvSpPr>
        <p:spPr>
          <a:xfrm>
            <a:off x="8530650" y="4806315"/>
            <a:ext cx="1718918" cy="57785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149 M</a:t>
            </a:r>
            <a:endParaRPr kumimoji="0" lang="id-ID"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21" name="TextBox 20">
            <a:extLst>
              <a:ext uri="{FF2B5EF4-FFF2-40B4-BE49-F238E27FC236}">
                <a16:creationId xmlns:a16="http://schemas.microsoft.com/office/drawing/2014/main" id="{19B1C98A-F162-B95F-ADA3-4787899A4BCD}"/>
              </a:ext>
            </a:extLst>
          </p:cNvPr>
          <p:cNvSpPr txBox="1"/>
          <p:nvPr/>
        </p:nvSpPr>
        <p:spPr>
          <a:xfrm>
            <a:off x="10146379" y="4806315"/>
            <a:ext cx="1264915" cy="57785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54 M</a:t>
            </a:r>
            <a:endParaRPr kumimoji="0" lang="id-ID" sz="2400" b="1" i="0" u="none" strike="noStrike" kern="0" cap="none" spc="0" normalizeH="0" baseline="0" noProof="0" dirty="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sp>
        <p:nvSpPr>
          <p:cNvPr id="25" name="TextBox 24">
            <a:extLst>
              <a:ext uri="{FF2B5EF4-FFF2-40B4-BE49-F238E27FC236}">
                <a16:creationId xmlns:a16="http://schemas.microsoft.com/office/drawing/2014/main" id="{C01EC9FC-55C1-93A6-9951-384A739C915D}"/>
              </a:ext>
            </a:extLst>
          </p:cNvPr>
          <p:cNvSpPr txBox="1"/>
          <p:nvPr/>
        </p:nvSpPr>
        <p:spPr>
          <a:xfrm>
            <a:off x="10148223" y="5301651"/>
            <a:ext cx="114116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Media &amp;</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rPr>
              <a:t>Entertainment</a:t>
            </a:r>
            <a:endParaRPr kumimoji="0" lang="id-ID" sz="1100" b="0" i="0" u="none" strike="noStrike" kern="0" cap="none" spc="0" normalizeH="0" baseline="0" noProof="0" dirty="0">
              <a:ln>
                <a:noFill/>
              </a:ln>
              <a:solidFill>
                <a:srgbClr val="FFFFFF">
                  <a:alpha val="50315"/>
                </a:srgbClr>
              </a:solidFill>
              <a:effectLst/>
              <a:uLnTx/>
              <a:uFillTx/>
              <a:latin typeface="Segoe UI" panose="020B0502040204020203" pitchFamily="34" charset="0"/>
              <a:ea typeface="Times New Roman" panose="02020603050405020304" pitchFamily="18" charset="0"/>
              <a:cs typeface="Segoe UI" panose="020B0502040204020203" pitchFamily="34" charset="0"/>
              <a:sym typeface="Arial"/>
            </a:endParaRPr>
          </a:p>
        </p:txBody>
      </p:sp>
      <p:pic>
        <p:nvPicPr>
          <p:cNvPr id="26" name="Graphic 25" descr="Male profile with solid fill">
            <a:extLst>
              <a:ext uri="{FF2B5EF4-FFF2-40B4-BE49-F238E27FC236}">
                <a16:creationId xmlns:a16="http://schemas.microsoft.com/office/drawing/2014/main" id="{42E082DA-3180-5E60-8BFA-E0BAF0F9073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860139" y="1236766"/>
            <a:ext cx="492833" cy="492833"/>
          </a:xfrm>
          <a:prstGeom prst="rect">
            <a:avLst/>
          </a:prstGeom>
        </p:spPr>
      </p:pic>
      <p:pic>
        <p:nvPicPr>
          <p:cNvPr id="28" name="Graphic 27" descr="Office worker male with solid fill">
            <a:extLst>
              <a:ext uri="{FF2B5EF4-FFF2-40B4-BE49-F238E27FC236}">
                <a16:creationId xmlns:a16="http://schemas.microsoft.com/office/drawing/2014/main" id="{9D53446D-DCE0-53BA-4B0C-0C698C4A1B4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420378" y="1243247"/>
            <a:ext cx="479869" cy="479869"/>
          </a:xfrm>
          <a:prstGeom prst="rect">
            <a:avLst/>
          </a:prstGeom>
        </p:spPr>
      </p:pic>
      <p:pic>
        <p:nvPicPr>
          <p:cNvPr id="29" name="Graphic 28" descr="Medical with solid fill">
            <a:extLst>
              <a:ext uri="{FF2B5EF4-FFF2-40B4-BE49-F238E27FC236}">
                <a16:creationId xmlns:a16="http://schemas.microsoft.com/office/drawing/2014/main" id="{CB3F489D-FFFC-1FCD-68CD-0C08831380C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60139" y="2830132"/>
            <a:ext cx="492833" cy="492833"/>
          </a:xfrm>
          <a:prstGeom prst="rect">
            <a:avLst/>
          </a:prstGeom>
        </p:spPr>
      </p:pic>
      <p:pic>
        <p:nvPicPr>
          <p:cNvPr id="37" name="Graphic 36" descr="Connections with solid fill">
            <a:extLst>
              <a:ext uri="{FF2B5EF4-FFF2-40B4-BE49-F238E27FC236}">
                <a16:creationId xmlns:a16="http://schemas.microsoft.com/office/drawing/2014/main" id="{4C4DCC5F-988E-7F84-B15D-870BF6D893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93712" y="2822174"/>
            <a:ext cx="509293" cy="509293"/>
          </a:xfrm>
          <a:prstGeom prst="rect">
            <a:avLst/>
          </a:prstGeom>
        </p:spPr>
      </p:pic>
      <p:pic>
        <p:nvPicPr>
          <p:cNvPr id="38" name="Graphic 37" descr="Steering Wheel with solid fill">
            <a:extLst>
              <a:ext uri="{FF2B5EF4-FFF2-40B4-BE49-F238E27FC236}">
                <a16:creationId xmlns:a16="http://schemas.microsoft.com/office/drawing/2014/main" id="{0026B4A8-D414-1A41-E676-8B8FD4654E52}"/>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860139" y="4363014"/>
            <a:ext cx="498134" cy="498134"/>
          </a:xfrm>
          <a:prstGeom prst="rect">
            <a:avLst/>
          </a:prstGeom>
        </p:spPr>
      </p:pic>
      <p:pic>
        <p:nvPicPr>
          <p:cNvPr id="39" name="Graphic 38" descr="Clapper board with solid fill">
            <a:extLst>
              <a:ext uri="{FF2B5EF4-FFF2-40B4-BE49-F238E27FC236}">
                <a16:creationId xmlns:a16="http://schemas.microsoft.com/office/drawing/2014/main" id="{3DE7B836-FB7A-5622-208A-2AA8C844175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399291" y="4378607"/>
            <a:ext cx="498134" cy="498134"/>
          </a:xfrm>
          <a:prstGeom prst="rect">
            <a:avLst/>
          </a:prstGeom>
        </p:spPr>
      </p:pic>
      <p:sp>
        <p:nvSpPr>
          <p:cNvPr id="40" name="TextBox 39">
            <a:extLst>
              <a:ext uri="{FF2B5EF4-FFF2-40B4-BE49-F238E27FC236}">
                <a16:creationId xmlns:a16="http://schemas.microsoft.com/office/drawing/2014/main" id="{F9C02AE1-5670-D42C-7168-B094E78A729E}"/>
              </a:ext>
            </a:extLst>
          </p:cNvPr>
          <p:cNvSpPr txBox="1"/>
          <p:nvPr/>
        </p:nvSpPr>
        <p:spPr>
          <a:xfrm rot="16200000">
            <a:off x="9074639" y="3170072"/>
            <a:ext cx="546009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alpha val="17748"/>
                  </a:srgbClr>
                </a:solidFill>
                <a:effectLst/>
                <a:uLnTx/>
                <a:uFillTx/>
                <a:latin typeface="Segoe UI" panose="020B0502040204020203" pitchFamily="34" charset="0"/>
                <a:ea typeface="+mn-ea"/>
                <a:cs typeface="Segoe UI" panose="020B0502040204020203" pitchFamily="34" charset="0"/>
                <a:sym typeface="Arial"/>
              </a:rPr>
              <a:t>Touching over 50% of American lives!</a:t>
            </a:r>
            <a:endParaRPr kumimoji="0" lang="en-ID" sz="2000" b="1" i="0" u="none" strike="noStrike" kern="0" cap="none" spc="0" normalizeH="0" baseline="0" noProof="0" dirty="0">
              <a:ln>
                <a:noFill/>
              </a:ln>
              <a:solidFill>
                <a:srgbClr val="FFFFFF">
                  <a:alpha val="17748"/>
                </a:srgbClr>
              </a:solidFill>
              <a:effectLst/>
              <a:uLnTx/>
              <a:uFillTx/>
              <a:latin typeface="Segoe UI" panose="020B0502040204020203" pitchFamily="34" charset="0"/>
              <a:ea typeface="+mn-ea"/>
              <a:cs typeface="Segoe UI" panose="020B0502040204020203" pitchFamily="34" charset="0"/>
              <a:sym typeface="Arial"/>
            </a:endParaRPr>
          </a:p>
        </p:txBody>
      </p:sp>
      <p:sp>
        <p:nvSpPr>
          <p:cNvPr id="33" name="TextBox 32">
            <a:extLst>
              <a:ext uri="{FF2B5EF4-FFF2-40B4-BE49-F238E27FC236}">
                <a16:creationId xmlns:a16="http://schemas.microsoft.com/office/drawing/2014/main" id="{26680A4F-4D19-3F82-766E-5F6B5AF7D24B}"/>
              </a:ext>
            </a:extLst>
          </p:cNvPr>
          <p:cNvSpPr txBox="1"/>
          <p:nvPr/>
        </p:nvSpPr>
        <p:spPr>
          <a:xfrm>
            <a:off x="264160" y="236974"/>
            <a:ext cx="11795760" cy="523220"/>
          </a:xfrm>
          <a:prstGeom prst="rect">
            <a:avLst/>
          </a:prstGeom>
          <a:noFill/>
        </p:spPr>
        <p:txBody>
          <a:bodyPr wrap="square">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finite Corporate Overview</a:t>
            </a:r>
            <a:endParaRPr kumimoji="0" lang="en-US" sz="28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5" name="TextBox 44">
            <a:extLst>
              <a:ext uri="{FF2B5EF4-FFF2-40B4-BE49-F238E27FC236}">
                <a16:creationId xmlns:a16="http://schemas.microsoft.com/office/drawing/2014/main" id="{BA1113EE-0B97-1CA2-C728-BE6B90F18558}"/>
              </a:ext>
            </a:extLst>
          </p:cNvPr>
          <p:cNvSpPr txBox="1"/>
          <p:nvPr/>
        </p:nvSpPr>
        <p:spPr>
          <a:xfrm>
            <a:off x="3751935" y="6204371"/>
            <a:ext cx="1558043" cy="584775"/>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rassRing</a:t>
            </a: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latform</a:t>
            </a:r>
          </a:p>
        </p:txBody>
      </p:sp>
      <p:sp>
        <p:nvSpPr>
          <p:cNvPr id="48" name="Rectangle 47">
            <a:extLst>
              <a:ext uri="{FF2B5EF4-FFF2-40B4-BE49-F238E27FC236}">
                <a16:creationId xmlns:a16="http://schemas.microsoft.com/office/drawing/2014/main" id="{8A730B8D-8BCB-D299-9ADF-2399F07A83C9}"/>
              </a:ext>
            </a:extLst>
          </p:cNvPr>
          <p:cNvSpPr/>
          <p:nvPr/>
        </p:nvSpPr>
        <p:spPr>
          <a:xfrm>
            <a:off x="266804" y="5778184"/>
            <a:ext cx="1633637" cy="553998"/>
          </a:xfrm>
          <a:prstGeom prst="rect">
            <a:avLst/>
          </a:prstGeom>
        </p:spPr>
        <p:txBody>
          <a:bodyPr wrap="square" lIns="0" tIns="0" rIns="0" bIns="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96F3"/>
                </a:solidFill>
                <a:effectLst/>
                <a:uLnTx/>
                <a:uFillTx/>
                <a:latin typeface="Segoe UI" panose="020B0502040204020203" pitchFamily="34" charset="0"/>
                <a:ea typeface="+mn-ea"/>
                <a:cs typeface="Segoe UI" panose="020B0502040204020203" pitchFamily="34" charset="0"/>
              </a:rPr>
              <a:t>Platforms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96F3"/>
                </a:solidFill>
                <a:effectLst/>
                <a:uLnTx/>
                <a:uFillTx/>
                <a:latin typeface="Segoe UI" panose="020B0502040204020203" pitchFamily="34" charset="0"/>
                <a:ea typeface="+mn-ea"/>
                <a:cs typeface="Segoe UI" panose="020B0502040204020203" pitchFamily="34" charset="0"/>
              </a:rPr>
              <a:t>&amp; Products</a:t>
            </a:r>
          </a:p>
        </p:txBody>
      </p:sp>
      <p:sp>
        <p:nvSpPr>
          <p:cNvPr id="49" name="Rectangle 48">
            <a:extLst>
              <a:ext uri="{FF2B5EF4-FFF2-40B4-BE49-F238E27FC236}">
                <a16:creationId xmlns:a16="http://schemas.microsoft.com/office/drawing/2014/main" id="{532B6FF0-D472-85F0-A45B-A0CEBE3A804C}"/>
              </a:ext>
            </a:extLst>
          </p:cNvPr>
          <p:cNvSpPr/>
          <p:nvPr/>
        </p:nvSpPr>
        <p:spPr>
          <a:xfrm>
            <a:off x="1805847" y="5576397"/>
            <a:ext cx="72000" cy="1005840"/>
          </a:xfrm>
          <a:prstGeom prst="rect">
            <a:avLst/>
          </a:prstGeom>
          <a:solidFill>
            <a:srgbClr val="A2D7F6"/>
          </a:solidFill>
          <a:ln w="25400" cap="flat" cmpd="sng" algn="ctr">
            <a:noFill/>
            <a:prstDash val="solid"/>
          </a:ln>
          <a:effectLst/>
        </p:spPr>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5" name="TextBox 54">
            <a:extLst>
              <a:ext uri="{FF2B5EF4-FFF2-40B4-BE49-F238E27FC236}">
                <a16:creationId xmlns:a16="http://schemas.microsoft.com/office/drawing/2014/main" id="{B91AA05D-0728-8BC0-FACD-2727F22B8EBC}"/>
              </a:ext>
            </a:extLst>
          </p:cNvPr>
          <p:cNvSpPr txBox="1"/>
          <p:nvPr/>
        </p:nvSpPr>
        <p:spPr>
          <a:xfrm>
            <a:off x="1858782" y="6195513"/>
            <a:ext cx="1225437" cy="276999"/>
          </a:xfrm>
          <a:prstGeom prst="rect">
            <a:avLst/>
          </a:prstGeom>
          <a:noFill/>
        </p:spPr>
        <p:txBody>
          <a:bodyPr wrap="square">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62626">
                    <a:lumMod val="85000"/>
                    <a:lumOff val="15000"/>
                  </a:srgbClr>
                </a:solidFill>
                <a:effectLst/>
                <a:uLnTx/>
                <a:uFillTx/>
                <a:latin typeface="Segoe UI" panose="020B0502040204020203" pitchFamily="34" charset="0"/>
                <a:ea typeface="Arial Bold" pitchFamily="34" charset="-122"/>
                <a:cs typeface="Segoe UI" panose="020B0502040204020203" pitchFamily="34" charset="0"/>
              </a:rPr>
              <a:t>BrassRing TM</a:t>
            </a:r>
            <a:endParaRPr kumimoji="0" lang="en-IN" sz="1200" b="0" i="0" u="none" strike="noStrike" kern="1200" cap="none" spc="0" normalizeH="0" baseline="0" noProof="0" dirty="0">
              <a:ln>
                <a:noFill/>
              </a:ln>
              <a:solidFill>
                <a:srgbClr val="262626"/>
              </a:solidFill>
              <a:effectLst/>
              <a:uLnTx/>
              <a:uFillTx/>
              <a:latin typeface="Calibri"/>
              <a:ea typeface="+mn-ea"/>
              <a:cs typeface="+mn-cs"/>
            </a:endParaRPr>
          </a:p>
        </p:txBody>
      </p:sp>
      <p:pic>
        <p:nvPicPr>
          <p:cNvPr id="1026" name="Picture 2" descr="Domain Names, Website Builder, Web hosting &amp; More | Turbify">
            <a:extLst>
              <a:ext uri="{FF2B5EF4-FFF2-40B4-BE49-F238E27FC236}">
                <a16:creationId xmlns:a16="http://schemas.microsoft.com/office/drawing/2014/main" id="{5E8BC24E-1120-4914-34FE-7571CEE5B57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065154" y="6184636"/>
            <a:ext cx="987343" cy="2878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CEE4EB7-39A5-B9E9-31B4-C3DB591B4F69}"/>
              </a:ext>
            </a:extLst>
          </p:cNvPr>
          <p:cNvSpPr txBox="1"/>
          <p:nvPr/>
        </p:nvSpPr>
        <p:spPr>
          <a:xfrm>
            <a:off x="485953" y="4993023"/>
            <a:ext cx="424118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2196F3"/>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20+</a:t>
            </a:r>
            <a:r>
              <a:rPr kumimoji="0" lang="en-US" sz="2400" b="0" i="0" u="none" strike="noStrike" kern="0" cap="none" spc="0" normalizeH="0" baseline="0" noProof="0" dirty="0">
                <a:ln>
                  <a:noFill/>
                </a:ln>
                <a:solidFill>
                  <a:srgbClr val="000000"/>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rPr>
              <a:t> Global Offices</a:t>
            </a:r>
            <a:endParaRPr kumimoji="0" lang="en-ID" sz="2400" b="0" i="0" u="none" strike="noStrike" kern="0" cap="none" spc="0" normalizeH="0" baseline="0" noProof="0" dirty="0">
              <a:ln>
                <a:noFill/>
              </a:ln>
              <a:solidFill>
                <a:srgbClr val="000000"/>
              </a:solidFill>
              <a:effectLst/>
              <a:uLnTx/>
              <a:uFillTx/>
              <a:latin typeface="Segoe UI" panose="020B0502040204020203" pitchFamily="34" charset="0"/>
              <a:ea typeface="Open Sans SemiBold" panose="020B0706030804020204" pitchFamily="34" charset="0"/>
              <a:cs typeface="Segoe UI" panose="020B0502040204020203" pitchFamily="34" charset="0"/>
              <a:sym typeface="Arial"/>
            </a:endParaRPr>
          </a:p>
        </p:txBody>
      </p:sp>
      <p:pic>
        <p:nvPicPr>
          <p:cNvPr id="3" name="Picture 2" descr="Logo, company name&#10;&#10;Description automatically generated">
            <a:extLst>
              <a:ext uri="{FF2B5EF4-FFF2-40B4-BE49-F238E27FC236}">
                <a16:creationId xmlns:a16="http://schemas.microsoft.com/office/drawing/2014/main" id="{27FF80B1-E86A-8C16-373A-A4F2083CBF8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293633" y="5383848"/>
            <a:ext cx="1581172" cy="762351"/>
          </a:xfrm>
          <a:prstGeom prst="rect">
            <a:avLst/>
          </a:prstGeom>
        </p:spPr>
      </p:pic>
    </p:spTree>
    <p:extLst>
      <p:ext uri="{BB962C8B-B14F-4D97-AF65-F5344CB8AC3E}">
        <p14:creationId xmlns:p14="http://schemas.microsoft.com/office/powerpoint/2010/main" val="24725957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F5CC48-6073-1552-5A0D-16CCB992BEEB}"/>
              </a:ext>
            </a:extLst>
          </p:cNvPr>
          <p:cNvSpPr>
            <a:spLocks noGrp="1"/>
          </p:cNvSpPr>
          <p:nvPr>
            <p:ph idx="1"/>
          </p:nvPr>
        </p:nvSpPr>
        <p:spPr>
          <a:xfrm>
            <a:off x="81980" y="906452"/>
            <a:ext cx="11662980" cy="4247317"/>
          </a:xfrm>
        </p:spPr>
        <p:txBody>
          <a:bodyPr/>
          <a:lstStyle/>
          <a:p>
            <a:pPr marL="0" indent="0">
              <a:buNone/>
            </a:pPr>
            <a:r>
              <a:rPr lang="en-IN" dirty="0"/>
              <a:t>   </a:t>
            </a:r>
          </a:p>
        </p:txBody>
      </p:sp>
      <p:sp>
        <p:nvSpPr>
          <p:cNvPr id="7" name="TextBox 6">
            <a:extLst>
              <a:ext uri="{FF2B5EF4-FFF2-40B4-BE49-F238E27FC236}">
                <a16:creationId xmlns:a16="http://schemas.microsoft.com/office/drawing/2014/main" id="{92C3A5FD-B3C2-4E2D-81E7-CF1696DFF9B9}"/>
              </a:ext>
            </a:extLst>
          </p:cNvPr>
          <p:cNvSpPr txBox="1"/>
          <p:nvPr/>
        </p:nvSpPr>
        <p:spPr>
          <a:xfrm>
            <a:off x="81980" y="906452"/>
            <a:ext cx="11540359" cy="4247317"/>
          </a:xfrm>
          <a:prstGeom prst="rect">
            <a:avLst/>
          </a:prstGeom>
          <a:noFill/>
        </p:spPr>
        <p:txBody>
          <a:bodyPr wrap="square">
            <a:spAutoFit/>
          </a:bodyPr>
          <a:lstStyle/>
          <a:p>
            <a:pPr marL="285750" indent="-285750" algn="l">
              <a:buFont typeface="Arial" panose="020B0604020202020204" pitchFamily="34" charset="0"/>
              <a:buChar char="•"/>
            </a:pPr>
            <a:r>
              <a:rPr lang="en-US" dirty="0">
                <a:solidFill>
                  <a:srgbClr val="000000"/>
                </a:solidFill>
                <a:latin typeface="Gotham-Light"/>
              </a:rPr>
              <a:t>Everyone will be eligible to enroll into the 401k plan after the 1</a:t>
            </a:r>
            <a:r>
              <a:rPr lang="en-US" baseline="30000" dirty="0">
                <a:solidFill>
                  <a:srgbClr val="000000"/>
                </a:solidFill>
                <a:latin typeface="Gotham-Light"/>
              </a:rPr>
              <a:t>st</a:t>
            </a:r>
            <a:r>
              <a:rPr lang="en-US" dirty="0">
                <a:solidFill>
                  <a:srgbClr val="000000"/>
                </a:solidFill>
                <a:latin typeface="Gotham-Light"/>
              </a:rPr>
              <a:t> of the month, of the upcoming quarter from the date that you were hired. </a:t>
            </a:r>
          </a:p>
          <a:p>
            <a:pPr marL="742950" lvl="1" indent="-285750">
              <a:buFont typeface="Arial" panose="020B0604020202020204" pitchFamily="34" charset="0"/>
              <a:buChar char="•"/>
            </a:pPr>
            <a:r>
              <a:rPr lang="en-US" dirty="0">
                <a:solidFill>
                  <a:srgbClr val="000000"/>
                </a:solidFill>
                <a:latin typeface="Gotham-Light"/>
              </a:rPr>
              <a:t>EXAMPLES </a:t>
            </a:r>
          </a:p>
          <a:p>
            <a:pPr marL="1200150" lvl="2" indent="-285750">
              <a:buFont typeface="Arial" panose="020B0604020202020204" pitchFamily="34" charset="0"/>
              <a:buChar char="•"/>
            </a:pPr>
            <a:r>
              <a:rPr lang="en-US" dirty="0">
                <a:solidFill>
                  <a:srgbClr val="000000"/>
                </a:solidFill>
                <a:latin typeface="Gotham-Light"/>
              </a:rPr>
              <a:t>January 1</a:t>
            </a:r>
            <a:r>
              <a:rPr lang="en-US" baseline="30000" dirty="0">
                <a:solidFill>
                  <a:srgbClr val="000000"/>
                </a:solidFill>
                <a:latin typeface="Gotham-Light"/>
              </a:rPr>
              <a:t>st</a:t>
            </a:r>
            <a:r>
              <a:rPr lang="en-US" dirty="0">
                <a:solidFill>
                  <a:srgbClr val="000000"/>
                </a:solidFill>
                <a:latin typeface="Gotham-Light"/>
              </a:rPr>
              <a:t> – March 31</a:t>
            </a:r>
            <a:r>
              <a:rPr lang="en-US" baseline="30000" dirty="0">
                <a:solidFill>
                  <a:srgbClr val="000000"/>
                </a:solidFill>
                <a:latin typeface="Gotham-Light"/>
              </a:rPr>
              <a:t>st</a:t>
            </a:r>
            <a:r>
              <a:rPr lang="en-US" dirty="0">
                <a:solidFill>
                  <a:srgbClr val="000000"/>
                </a:solidFill>
                <a:latin typeface="Gotham-Light"/>
              </a:rPr>
              <a:t> – Eligible April 1</a:t>
            </a:r>
            <a:r>
              <a:rPr lang="en-US" baseline="30000" dirty="0">
                <a:solidFill>
                  <a:srgbClr val="000000"/>
                </a:solidFill>
                <a:latin typeface="Gotham-Light"/>
              </a:rPr>
              <a:t>st</a:t>
            </a:r>
            <a:r>
              <a:rPr lang="en-US" dirty="0">
                <a:solidFill>
                  <a:srgbClr val="000000"/>
                </a:solidFill>
                <a:latin typeface="Gotham-Light"/>
              </a:rPr>
              <a:t>. </a:t>
            </a:r>
          </a:p>
          <a:p>
            <a:pPr marL="1200150" lvl="2" indent="-285750">
              <a:buFont typeface="Arial" panose="020B0604020202020204" pitchFamily="34" charset="0"/>
              <a:buChar char="•"/>
            </a:pPr>
            <a:r>
              <a:rPr lang="en-US" dirty="0">
                <a:solidFill>
                  <a:srgbClr val="000000"/>
                </a:solidFill>
                <a:latin typeface="Gotham-Light"/>
              </a:rPr>
              <a:t>April 1</a:t>
            </a:r>
            <a:r>
              <a:rPr lang="en-US" baseline="30000" dirty="0">
                <a:solidFill>
                  <a:srgbClr val="000000"/>
                </a:solidFill>
                <a:latin typeface="Gotham-Light"/>
              </a:rPr>
              <a:t>st</a:t>
            </a:r>
            <a:r>
              <a:rPr lang="en-US" dirty="0">
                <a:solidFill>
                  <a:srgbClr val="000000"/>
                </a:solidFill>
                <a:latin typeface="Gotham-Light"/>
              </a:rPr>
              <a:t> – June 30</a:t>
            </a:r>
            <a:r>
              <a:rPr lang="en-US" baseline="30000" dirty="0">
                <a:solidFill>
                  <a:srgbClr val="000000"/>
                </a:solidFill>
                <a:latin typeface="Gotham-Light"/>
              </a:rPr>
              <a:t>th</a:t>
            </a:r>
            <a:r>
              <a:rPr lang="en-US" dirty="0">
                <a:solidFill>
                  <a:srgbClr val="000000"/>
                </a:solidFill>
                <a:latin typeface="Gotham-Light"/>
              </a:rPr>
              <a:t> – Eligible July 1</a:t>
            </a:r>
            <a:r>
              <a:rPr lang="en-US" baseline="30000" dirty="0">
                <a:solidFill>
                  <a:srgbClr val="000000"/>
                </a:solidFill>
                <a:latin typeface="Gotham-Light"/>
              </a:rPr>
              <a:t>st</a:t>
            </a:r>
            <a:r>
              <a:rPr lang="en-US" dirty="0">
                <a:solidFill>
                  <a:srgbClr val="000000"/>
                </a:solidFill>
                <a:latin typeface="Gotham-Light"/>
              </a:rPr>
              <a:t>. </a:t>
            </a:r>
          </a:p>
          <a:p>
            <a:pPr marL="1200150" lvl="2" indent="-285750">
              <a:buFont typeface="Arial" panose="020B0604020202020204" pitchFamily="34" charset="0"/>
              <a:buChar char="•"/>
            </a:pPr>
            <a:r>
              <a:rPr lang="en-US" dirty="0">
                <a:solidFill>
                  <a:srgbClr val="000000"/>
                </a:solidFill>
                <a:latin typeface="Gotham-Light"/>
              </a:rPr>
              <a:t>July 1</a:t>
            </a:r>
            <a:r>
              <a:rPr lang="en-US" baseline="30000" dirty="0">
                <a:solidFill>
                  <a:srgbClr val="000000"/>
                </a:solidFill>
                <a:latin typeface="Gotham-Light"/>
              </a:rPr>
              <a:t>st</a:t>
            </a:r>
            <a:r>
              <a:rPr lang="en-US" dirty="0">
                <a:solidFill>
                  <a:srgbClr val="000000"/>
                </a:solidFill>
                <a:latin typeface="Gotham-Light"/>
              </a:rPr>
              <a:t> – September 30</a:t>
            </a:r>
            <a:r>
              <a:rPr lang="en-US" baseline="30000" dirty="0">
                <a:solidFill>
                  <a:srgbClr val="000000"/>
                </a:solidFill>
                <a:latin typeface="Gotham-Light"/>
              </a:rPr>
              <a:t>th</a:t>
            </a:r>
            <a:r>
              <a:rPr lang="en-US" dirty="0">
                <a:solidFill>
                  <a:srgbClr val="000000"/>
                </a:solidFill>
                <a:latin typeface="Gotham-Light"/>
              </a:rPr>
              <a:t> – Eligible October 1</a:t>
            </a:r>
            <a:r>
              <a:rPr lang="en-US" baseline="30000" dirty="0">
                <a:solidFill>
                  <a:srgbClr val="000000"/>
                </a:solidFill>
                <a:latin typeface="Gotham-Light"/>
              </a:rPr>
              <a:t>st</a:t>
            </a:r>
            <a:r>
              <a:rPr lang="en-US" dirty="0">
                <a:solidFill>
                  <a:srgbClr val="000000"/>
                </a:solidFill>
                <a:latin typeface="Gotham-Light"/>
              </a:rPr>
              <a:t> </a:t>
            </a:r>
          </a:p>
          <a:p>
            <a:pPr marL="1200150" lvl="2" indent="-285750">
              <a:buFont typeface="Arial" panose="020B0604020202020204" pitchFamily="34" charset="0"/>
              <a:buChar char="•"/>
            </a:pPr>
            <a:r>
              <a:rPr lang="en-US" dirty="0">
                <a:solidFill>
                  <a:srgbClr val="000000"/>
                </a:solidFill>
                <a:latin typeface="Gotham-Light"/>
              </a:rPr>
              <a:t>October 1</a:t>
            </a:r>
            <a:r>
              <a:rPr lang="en-US" baseline="30000" dirty="0">
                <a:solidFill>
                  <a:srgbClr val="000000"/>
                </a:solidFill>
                <a:latin typeface="Gotham-Light"/>
              </a:rPr>
              <a:t>st</a:t>
            </a:r>
            <a:r>
              <a:rPr lang="en-US" dirty="0">
                <a:solidFill>
                  <a:srgbClr val="000000"/>
                </a:solidFill>
                <a:latin typeface="Gotham-Light"/>
              </a:rPr>
              <a:t> – December 31</a:t>
            </a:r>
            <a:r>
              <a:rPr lang="en-US" baseline="30000" dirty="0">
                <a:solidFill>
                  <a:srgbClr val="000000"/>
                </a:solidFill>
                <a:latin typeface="Gotham-Light"/>
              </a:rPr>
              <a:t>st</a:t>
            </a:r>
            <a:r>
              <a:rPr lang="en-US" dirty="0">
                <a:solidFill>
                  <a:srgbClr val="000000"/>
                </a:solidFill>
                <a:latin typeface="Gotham-Light"/>
              </a:rPr>
              <a:t> – Eligible January 1</a:t>
            </a:r>
            <a:r>
              <a:rPr lang="en-US" baseline="30000" dirty="0">
                <a:solidFill>
                  <a:srgbClr val="000000"/>
                </a:solidFill>
                <a:latin typeface="Gotham-Light"/>
              </a:rPr>
              <a:t>st</a:t>
            </a:r>
            <a:r>
              <a:rPr lang="en-US" dirty="0">
                <a:solidFill>
                  <a:srgbClr val="000000"/>
                </a:solidFill>
                <a:latin typeface="Gotham-Light"/>
              </a:rPr>
              <a:t>. </a:t>
            </a:r>
          </a:p>
          <a:p>
            <a:pPr marL="1200150" lvl="2" indent="-285750">
              <a:buFont typeface="Arial" panose="020B0604020202020204" pitchFamily="34" charset="0"/>
              <a:buChar char="•"/>
            </a:pPr>
            <a:endParaRPr lang="en-US" dirty="0">
              <a:solidFill>
                <a:srgbClr val="000000"/>
              </a:solidFill>
              <a:latin typeface="Gotham-Light"/>
            </a:endParaRPr>
          </a:p>
          <a:p>
            <a:pPr marL="285750" indent="-285750">
              <a:buFont typeface="Arial" panose="020B0604020202020204" pitchFamily="34" charset="0"/>
              <a:buChar char="•"/>
            </a:pPr>
            <a:r>
              <a:rPr lang="en-US" dirty="0">
                <a:solidFill>
                  <a:srgbClr val="000000"/>
                </a:solidFill>
                <a:latin typeface="Gotham-Light"/>
              </a:rPr>
              <a:t>You will receive the information packet from ADP in the USPS mail near the time of your eligibility date. </a:t>
            </a:r>
          </a:p>
          <a:p>
            <a:pPr marL="285750" indent="-285750">
              <a:buFont typeface="Arial" panose="020B0604020202020204" pitchFamily="34" charset="0"/>
              <a:buChar char="•"/>
            </a:pPr>
            <a:endParaRPr lang="en-US" dirty="0">
              <a:solidFill>
                <a:srgbClr val="000000"/>
              </a:solidFill>
              <a:latin typeface="Gotham-Light"/>
            </a:endParaRPr>
          </a:p>
          <a:p>
            <a:pPr marL="285750" indent="-285750">
              <a:buFont typeface="Arial" panose="020B0604020202020204" pitchFamily="34" charset="0"/>
              <a:buChar char="•"/>
            </a:pPr>
            <a:r>
              <a:rPr lang="en-US" dirty="0">
                <a:solidFill>
                  <a:srgbClr val="000000"/>
                </a:solidFill>
                <a:latin typeface="Gotham-Light"/>
              </a:rPr>
              <a:t>Any questions regarding your plan/contributions please reach out to ADP 401k directly @ 1-866-MYKPLAN. </a:t>
            </a:r>
          </a:p>
          <a:p>
            <a:pPr marL="285750" indent="-285750">
              <a:buFont typeface="Arial" panose="020B0604020202020204" pitchFamily="34" charset="0"/>
              <a:buChar char="•"/>
            </a:pPr>
            <a:endParaRPr lang="en-US" dirty="0">
              <a:solidFill>
                <a:srgbClr val="000000"/>
              </a:solidFill>
              <a:latin typeface="Gotham-Light"/>
            </a:endParaRPr>
          </a:p>
          <a:p>
            <a:pPr marL="285750" indent="-285750">
              <a:buFont typeface="Arial" panose="020B0604020202020204" pitchFamily="34" charset="0"/>
              <a:buChar char="•"/>
            </a:pPr>
            <a:r>
              <a:rPr lang="en-US" dirty="0">
                <a:solidFill>
                  <a:srgbClr val="000000"/>
                </a:solidFill>
                <a:latin typeface="Gotham-Light"/>
              </a:rPr>
              <a:t>Any questions regarding rollover, please reach out to </a:t>
            </a:r>
            <a:r>
              <a:rPr lang="en-US" dirty="0">
                <a:solidFill>
                  <a:srgbClr val="000000"/>
                </a:solidFill>
                <a:latin typeface="Gotham-Light"/>
                <a:hlinkClick r:id="rId2"/>
              </a:rPr>
              <a:t>Niti.Prothi@infinite.com</a:t>
            </a:r>
            <a:r>
              <a:rPr lang="en-US" dirty="0">
                <a:latin typeface="Gotham-Light"/>
              </a:rPr>
              <a:t>. </a:t>
            </a:r>
          </a:p>
          <a:p>
            <a:pPr marL="285750" indent="-285750">
              <a:buFont typeface="Arial" panose="020B0604020202020204" pitchFamily="34" charset="0"/>
              <a:buChar char="•"/>
            </a:pPr>
            <a:endParaRPr lang="en-US" dirty="0">
              <a:latin typeface="Gotham-Light"/>
            </a:endParaRPr>
          </a:p>
          <a:p>
            <a:pPr marL="285750" indent="-285750">
              <a:buFont typeface="Arial" panose="020B0604020202020204" pitchFamily="34" charset="0"/>
              <a:buChar char="•"/>
            </a:pPr>
            <a:r>
              <a:rPr lang="en-US" dirty="0">
                <a:latin typeface="Gotham-Light"/>
              </a:rPr>
              <a:t>The company does not match. </a:t>
            </a:r>
          </a:p>
        </p:txBody>
      </p:sp>
      <p:sp>
        <p:nvSpPr>
          <p:cNvPr id="8" name="TextBox 7">
            <a:extLst>
              <a:ext uri="{FF2B5EF4-FFF2-40B4-BE49-F238E27FC236}">
                <a16:creationId xmlns:a16="http://schemas.microsoft.com/office/drawing/2014/main" id="{1B85BD34-27CB-B2EE-6921-996B7CED2511}"/>
              </a:ext>
            </a:extLst>
          </p:cNvPr>
          <p:cNvSpPr txBox="1"/>
          <p:nvPr/>
        </p:nvSpPr>
        <p:spPr>
          <a:xfrm>
            <a:off x="1199322" y="321677"/>
            <a:ext cx="9787992" cy="584775"/>
          </a:xfrm>
          <a:prstGeom prst="rect">
            <a:avLst/>
          </a:prstGeom>
          <a:noFill/>
        </p:spPr>
        <p:txBody>
          <a:bodyPr wrap="square" rtlCol="0">
            <a:spAutoFit/>
          </a:bodyPr>
          <a:lstStyle/>
          <a:p>
            <a:pPr algn="ctr"/>
            <a:r>
              <a:rPr lang="en-IN" sz="3200" b="1" spc="-150" dirty="0">
                <a:solidFill>
                  <a:srgbClr val="1E3ADA"/>
                </a:solidFill>
                <a:latin typeface="Work Sans" panose="00000500000000000000" pitchFamily="50" charset="0"/>
                <a:cs typeface="Segoe UI" panose="020B0502040204020203" pitchFamily="34" charset="0"/>
              </a:rPr>
              <a:t>401k – Retirement Plan</a:t>
            </a:r>
          </a:p>
        </p:txBody>
      </p:sp>
      <p:pic>
        <p:nvPicPr>
          <p:cNvPr id="9" name="Picture 8" descr="Pile of American dollar banknotes">
            <a:extLst>
              <a:ext uri="{FF2B5EF4-FFF2-40B4-BE49-F238E27FC236}">
                <a16:creationId xmlns:a16="http://schemas.microsoft.com/office/drawing/2014/main" id="{C848F77B-DEE8-F188-2912-2875BB84DC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94443" y="4221748"/>
            <a:ext cx="3771736" cy="2314575"/>
          </a:xfrm>
          <a:prstGeom prst="rect">
            <a:avLst/>
          </a:prstGeom>
          <a:ln w="28575">
            <a:solidFill>
              <a:schemeClr val="tx1"/>
            </a:solidFill>
          </a:ln>
        </p:spPr>
      </p:pic>
    </p:spTree>
    <p:extLst>
      <p:ext uri="{BB962C8B-B14F-4D97-AF65-F5344CB8AC3E}">
        <p14:creationId xmlns:p14="http://schemas.microsoft.com/office/powerpoint/2010/main" val="28316568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F5CC48-6073-1552-5A0D-16CCB992BEEB}"/>
              </a:ext>
            </a:extLst>
          </p:cNvPr>
          <p:cNvSpPr>
            <a:spLocks noGrp="1"/>
          </p:cNvSpPr>
          <p:nvPr>
            <p:ph idx="1"/>
          </p:nvPr>
        </p:nvSpPr>
        <p:spPr>
          <a:xfrm>
            <a:off x="0" y="1038532"/>
            <a:ext cx="11662980" cy="4247317"/>
          </a:xfrm>
        </p:spPr>
        <p:txBody>
          <a:bodyPr/>
          <a:lstStyle/>
          <a:p>
            <a:pPr marL="0" indent="0">
              <a:buNone/>
            </a:pPr>
            <a:r>
              <a:rPr lang="en-IN" dirty="0"/>
              <a:t>   </a:t>
            </a:r>
          </a:p>
        </p:txBody>
      </p:sp>
      <p:sp>
        <p:nvSpPr>
          <p:cNvPr id="7" name="TextBox 6">
            <a:extLst>
              <a:ext uri="{FF2B5EF4-FFF2-40B4-BE49-F238E27FC236}">
                <a16:creationId xmlns:a16="http://schemas.microsoft.com/office/drawing/2014/main" id="{92C3A5FD-B3C2-4E2D-81E7-CF1696DFF9B9}"/>
              </a:ext>
            </a:extLst>
          </p:cNvPr>
          <p:cNvSpPr txBox="1"/>
          <p:nvPr/>
        </p:nvSpPr>
        <p:spPr>
          <a:xfrm>
            <a:off x="323138" y="906452"/>
            <a:ext cx="11540359" cy="5853910"/>
          </a:xfrm>
          <a:prstGeom prst="rect">
            <a:avLst/>
          </a:prstGeom>
          <a:noFill/>
          <a:ln w="38100">
            <a:solidFill>
              <a:schemeClr val="accent1"/>
            </a:solidFill>
          </a:ln>
        </p:spPr>
        <p:txBody>
          <a:bodyPr wrap="square">
            <a:spAutoFit/>
          </a:bodyPr>
          <a:lstStyle/>
          <a:p>
            <a:pPr marL="342900" indent="-342900">
              <a:lnSpc>
                <a:spcPct val="150000"/>
              </a:lnSpc>
              <a:buFont typeface="Arial" panose="020B0604020202020204" pitchFamily="34" charset="0"/>
              <a:buChar char="•"/>
            </a:pPr>
            <a:r>
              <a:rPr lang="en-US" sz="2000" dirty="0">
                <a:latin typeface="Gotham-Light"/>
              </a:rPr>
              <a:t>Your 30 – Day New Hire window begins on your </a:t>
            </a:r>
            <a:r>
              <a:rPr lang="en-US" sz="2000" b="1" dirty="0">
                <a:solidFill>
                  <a:srgbClr val="FF0000"/>
                </a:solidFill>
                <a:latin typeface="Gotham-Light"/>
              </a:rPr>
              <a:t>FIRST</a:t>
            </a:r>
            <a:r>
              <a:rPr lang="en-US" sz="2000" dirty="0">
                <a:latin typeface="Gotham-Light"/>
              </a:rPr>
              <a:t> day of employment. Benefit Enrollment must be completed in ADP Workforce Now, and no one is automatically enrolled. </a:t>
            </a:r>
          </a:p>
          <a:p>
            <a:pPr marL="342900" indent="-342900">
              <a:lnSpc>
                <a:spcPct val="200000"/>
              </a:lnSpc>
              <a:buFont typeface="Arial" panose="020B0604020202020204" pitchFamily="34" charset="0"/>
              <a:buChar char="•"/>
            </a:pPr>
            <a:r>
              <a:rPr lang="en-US" sz="2000" dirty="0">
                <a:latin typeface="Gotham-Light"/>
              </a:rPr>
              <a:t>Benefits are </a:t>
            </a:r>
            <a:r>
              <a:rPr lang="en-US" sz="2000" b="1" dirty="0">
                <a:solidFill>
                  <a:srgbClr val="FF0000"/>
                </a:solidFill>
                <a:latin typeface="Gotham-Light"/>
              </a:rPr>
              <a:t>RETROACTIVE</a:t>
            </a:r>
            <a:r>
              <a:rPr lang="en-US" sz="2000" dirty="0">
                <a:latin typeface="Gotham-Light"/>
              </a:rPr>
              <a:t> to your </a:t>
            </a:r>
            <a:r>
              <a:rPr lang="en-US" sz="2000" b="1" dirty="0">
                <a:solidFill>
                  <a:srgbClr val="FF0000"/>
                </a:solidFill>
                <a:latin typeface="Gotham-Light"/>
              </a:rPr>
              <a:t>FIRST</a:t>
            </a:r>
            <a:r>
              <a:rPr lang="en-US" sz="2000" dirty="0">
                <a:latin typeface="Gotham-Light"/>
              </a:rPr>
              <a:t> day of employment. </a:t>
            </a:r>
          </a:p>
          <a:p>
            <a:pPr marL="285750" indent="-285750" algn="l">
              <a:lnSpc>
                <a:spcPct val="200000"/>
              </a:lnSpc>
              <a:buFont typeface="Arial" panose="020B0604020202020204" pitchFamily="34" charset="0"/>
              <a:buChar char="•"/>
            </a:pPr>
            <a:r>
              <a:rPr lang="en-US" sz="2000" dirty="0">
                <a:latin typeface="Gotham-Light"/>
              </a:rPr>
              <a:t>If you enroll in one of our medical plans, you will receive your card within 4 weeks after your enrollment is complete. You will also be eligible for the HSA plan at this time. </a:t>
            </a:r>
          </a:p>
          <a:p>
            <a:pPr marL="285750" indent="-285750" algn="l">
              <a:lnSpc>
                <a:spcPct val="200000"/>
              </a:lnSpc>
              <a:buFont typeface="Arial" panose="020B0604020202020204" pitchFamily="34" charset="0"/>
              <a:buChar char="•"/>
            </a:pPr>
            <a:r>
              <a:rPr lang="en-US" sz="2000" dirty="0">
                <a:latin typeface="Gotham-Light"/>
              </a:rPr>
              <a:t>All HSA Accounts must be </a:t>
            </a:r>
            <a:r>
              <a:rPr lang="en-US" sz="2000" b="1" dirty="0">
                <a:latin typeface="Gotham-Light"/>
              </a:rPr>
              <a:t>CHECKING</a:t>
            </a:r>
            <a:r>
              <a:rPr lang="en-US" sz="2000" dirty="0">
                <a:latin typeface="Gotham-Light"/>
              </a:rPr>
              <a:t> accounts. </a:t>
            </a:r>
          </a:p>
          <a:p>
            <a:pPr marL="285750" indent="-285750">
              <a:lnSpc>
                <a:spcPct val="200000"/>
              </a:lnSpc>
              <a:buFont typeface="Arial" panose="020B0604020202020204" pitchFamily="34" charset="0"/>
              <a:buChar char="•"/>
            </a:pPr>
            <a:r>
              <a:rPr lang="en-US" sz="2000" dirty="0">
                <a:latin typeface="Gotham-Light"/>
              </a:rPr>
              <a:t>If you </a:t>
            </a:r>
            <a:r>
              <a:rPr lang="en-US" sz="2000" b="1" dirty="0">
                <a:latin typeface="Gotham-Light"/>
              </a:rPr>
              <a:t>do not </a:t>
            </a:r>
            <a:r>
              <a:rPr lang="en-US" sz="2000" dirty="0">
                <a:latin typeface="Gotham-Light"/>
              </a:rPr>
              <a:t>click “Submit Enrollment” your benefit elections </a:t>
            </a:r>
            <a:r>
              <a:rPr lang="en-US" sz="2000" b="1" dirty="0">
                <a:latin typeface="Gotham-Light"/>
              </a:rPr>
              <a:t>will not </a:t>
            </a:r>
            <a:r>
              <a:rPr lang="en-US" sz="2000" dirty="0">
                <a:latin typeface="Gotham-Light"/>
              </a:rPr>
              <a:t>be captured. </a:t>
            </a:r>
          </a:p>
          <a:p>
            <a:pPr marL="285750" indent="-285750" algn="l">
              <a:lnSpc>
                <a:spcPct val="200000"/>
              </a:lnSpc>
              <a:buFont typeface="Arial" panose="020B0604020202020204" pitchFamily="34" charset="0"/>
              <a:buChar char="•"/>
            </a:pPr>
            <a:r>
              <a:rPr lang="en-US" sz="2000" b="1" dirty="0">
                <a:solidFill>
                  <a:srgbClr val="FF0000"/>
                </a:solidFill>
                <a:highlight>
                  <a:srgbClr val="FFFF00"/>
                </a:highlight>
                <a:latin typeface="Gotham-Light"/>
              </a:rPr>
              <a:t>There are NO cards for Dental and Vision. </a:t>
            </a:r>
            <a:r>
              <a:rPr lang="en-US" sz="2000" dirty="0">
                <a:latin typeface="Gotham-Light"/>
              </a:rPr>
              <a:t>If you enrolled in these benefits, provide your SSN to the provider and they will be able to locate you in the system.</a:t>
            </a:r>
          </a:p>
          <a:p>
            <a:pPr marL="285750" indent="-285750" algn="l">
              <a:lnSpc>
                <a:spcPct val="200000"/>
              </a:lnSpc>
              <a:buFont typeface="Arial" panose="020B0604020202020204" pitchFamily="34" charset="0"/>
              <a:buChar char="•"/>
            </a:pPr>
            <a:r>
              <a:rPr lang="en-US" sz="2000" dirty="0">
                <a:latin typeface="Gotham-Light"/>
              </a:rPr>
              <a:t>401K Eligibility – The first of the following quarter after your joining date. The companies do not match.</a:t>
            </a:r>
          </a:p>
        </p:txBody>
      </p:sp>
      <p:sp>
        <p:nvSpPr>
          <p:cNvPr id="8" name="TextBox 7">
            <a:extLst>
              <a:ext uri="{FF2B5EF4-FFF2-40B4-BE49-F238E27FC236}">
                <a16:creationId xmlns:a16="http://schemas.microsoft.com/office/drawing/2014/main" id="{1B85BD34-27CB-B2EE-6921-996B7CED2511}"/>
              </a:ext>
            </a:extLst>
          </p:cNvPr>
          <p:cNvSpPr txBox="1"/>
          <p:nvPr/>
        </p:nvSpPr>
        <p:spPr>
          <a:xfrm>
            <a:off x="1199322" y="321677"/>
            <a:ext cx="9787992" cy="584775"/>
          </a:xfrm>
          <a:prstGeom prst="rect">
            <a:avLst/>
          </a:prstGeom>
          <a:noFill/>
        </p:spPr>
        <p:txBody>
          <a:bodyPr wrap="square" rtlCol="0">
            <a:spAutoFit/>
          </a:bodyPr>
          <a:lstStyle/>
          <a:p>
            <a:pPr algn="ctr"/>
            <a:r>
              <a:rPr lang="en-IN" sz="3200" b="1" spc="-150" dirty="0">
                <a:solidFill>
                  <a:srgbClr val="1E3ADA"/>
                </a:solidFill>
                <a:latin typeface="Work Sans" panose="00000500000000000000" pitchFamily="50" charset="0"/>
                <a:cs typeface="Segoe UI" panose="020B0502040204020203" pitchFamily="34" charset="0"/>
              </a:rPr>
              <a:t>Benefits Recap</a:t>
            </a:r>
          </a:p>
        </p:txBody>
      </p:sp>
    </p:spTree>
    <p:extLst>
      <p:ext uri="{BB962C8B-B14F-4D97-AF65-F5344CB8AC3E}">
        <p14:creationId xmlns:p14="http://schemas.microsoft.com/office/powerpoint/2010/main" val="29369629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9E7D659-72D1-4FD2-8ACB-CE5852937BB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29"/>
            <a:ext cx="12192000" cy="6857143"/>
          </a:xfrm>
          <a:prstGeom prst="rect">
            <a:avLst/>
          </a:prstGeom>
        </p:spPr>
      </p:pic>
      <p:sp>
        <p:nvSpPr>
          <p:cNvPr id="6" name="Rectangle 5">
            <a:extLst>
              <a:ext uri="{FF2B5EF4-FFF2-40B4-BE49-F238E27FC236}">
                <a16:creationId xmlns:a16="http://schemas.microsoft.com/office/drawing/2014/main" id="{B38FE2D3-BA41-4CFC-B3F2-9A3303C841FE}"/>
              </a:ext>
            </a:extLst>
          </p:cNvPr>
          <p:cNvSpPr/>
          <p:nvPr/>
        </p:nvSpPr>
        <p:spPr>
          <a:xfrm>
            <a:off x="1095347" y="3268760"/>
            <a:ext cx="4096437" cy="1323439"/>
          </a:xfrm>
          <a:prstGeom prst="rect">
            <a:avLst/>
          </a:prstGeom>
        </p:spPr>
        <p:txBody>
          <a:bodyPr wrap="square">
            <a:spAutoFit/>
          </a:bodyPr>
          <a:lstStyle/>
          <a:p>
            <a:r>
              <a:rPr lang="en-US" sz="4000" b="1" spc="-150" dirty="0">
                <a:solidFill>
                  <a:srgbClr val="7E249F"/>
                </a:solidFill>
                <a:latin typeface="Work Sans" panose="00000500000000000000" pitchFamily="50" charset="0"/>
              </a:rPr>
              <a:t>TRAVEL</a:t>
            </a:r>
          </a:p>
          <a:p>
            <a:r>
              <a:rPr lang="en-US" sz="4000" b="1" spc="-150" dirty="0">
                <a:solidFill>
                  <a:srgbClr val="7E249F"/>
                </a:solidFill>
                <a:latin typeface="Work Sans" panose="00000500000000000000" pitchFamily="50" charset="0"/>
              </a:rPr>
              <a:t>OVERVIEW</a:t>
            </a:r>
          </a:p>
        </p:txBody>
      </p:sp>
      <p:sp>
        <p:nvSpPr>
          <p:cNvPr id="7" name="TextBox 6">
            <a:extLst>
              <a:ext uri="{FF2B5EF4-FFF2-40B4-BE49-F238E27FC236}">
                <a16:creationId xmlns:a16="http://schemas.microsoft.com/office/drawing/2014/main" id="{071A2108-D409-4763-BF1A-3715F03FA863}"/>
              </a:ext>
            </a:extLst>
          </p:cNvPr>
          <p:cNvSpPr txBox="1"/>
          <p:nvPr/>
        </p:nvSpPr>
        <p:spPr>
          <a:xfrm>
            <a:off x="0" y="-1009335"/>
            <a:ext cx="4859022" cy="4939814"/>
          </a:xfrm>
          <a:prstGeom prst="rect">
            <a:avLst/>
          </a:prstGeom>
          <a:noFill/>
        </p:spPr>
        <p:txBody>
          <a:bodyPr wrap="none" rtlCol="0">
            <a:spAutoFit/>
          </a:bodyPr>
          <a:lstStyle/>
          <a:p>
            <a:r>
              <a:rPr lang="en-US" sz="31500" spc="-300" dirty="0">
                <a:solidFill>
                  <a:srgbClr val="00B6AD">
                    <a:alpha val="60000"/>
                  </a:srgbClr>
                </a:solidFill>
                <a:latin typeface="Work Sans Light" panose="00000400000000000000" pitchFamily="50" charset="0"/>
              </a:rPr>
              <a:t>05</a:t>
            </a:r>
            <a:endParaRPr lang="en-IN" sz="31500" spc="-300" dirty="0">
              <a:solidFill>
                <a:srgbClr val="00B6AD">
                  <a:alpha val="60000"/>
                </a:srgbClr>
              </a:solidFill>
              <a:latin typeface="Work Sans Light" panose="00000400000000000000" pitchFamily="50" charset="0"/>
            </a:endParaRPr>
          </a:p>
        </p:txBody>
      </p:sp>
    </p:spTree>
    <p:extLst>
      <p:ext uri="{BB962C8B-B14F-4D97-AF65-F5344CB8AC3E}">
        <p14:creationId xmlns:p14="http://schemas.microsoft.com/office/powerpoint/2010/main" val="258669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8AC81526-01F6-46DE-9E16-9438D408B46C}"/>
              </a:ext>
            </a:extLst>
          </p:cNvPr>
          <p:cNvSpPr/>
          <p:nvPr/>
        </p:nvSpPr>
        <p:spPr>
          <a:xfrm>
            <a:off x="723900" y="1223889"/>
            <a:ext cx="7200000" cy="4320000"/>
          </a:xfrm>
          <a:prstGeom prst="roundRect">
            <a:avLst>
              <a:gd name="adj" fmla="val 3347"/>
            </a:avLst>
          </a:prstGeom>
          <a:solidFill>
            <a:schemeClr val="bg1"/>
          </a:solidFill>
          <a:ln>
            <a:solidFill>
              <a:srgbClr val="00B6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0C7C9F0D-3B24-4BA3-92C9-F4F0D8F0500D}"/>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TRAVEL</a:t>
            </a:r>
          </a:p>
        </p:txBody>
      </p:sp>
      <p:sp>
        <p:nvSpPr>
          <p:cNvPr id="5" name="Rectangle 4">
            <a:extLst>
              <a:ext uri="{FF2B5EF4-FFF2-40B4-BE49-F238E27FC236}">
                <a16:creationId xmlns:a16="http://schemas.microsoft.com/office/drawing/2014/main" id="{22D7D960-5EC7-4AA4-90A8-7A72F7FEF171}"/>
              </a:ext>
            </a:extLst>
          </p:cNvPr>
          <p:cNvSpPr/>
          <p:nvPr/>
        </p:nvSpPr>
        <p:spPr>
          <a:xfrm>
            <a:off x="796486" y="1493953"/>
            <a:ext cx="7020000" cy="3780000"/>
          </a:xfrm>
          <a:prstGeom prst="rect">
            <a:avLst/>
          </a:prstGeom>
        </p:spPr>
        <p:txBody>
          <a:bodyPr wrap="square">
            <a:spAutoFit/>
          </a:bodyPr>
          <a:lstStyle/>
          <a:p>
            <a:pPr marL="457189" indent="-457189">
              <a:buFont typeface="Arial" panose="020B0604020202020204" pitchFamily="34" charset="0"/>
              <a:buChar char="•"/>
            </a:pPr>
            <a:r>
              <a:rPr lang="en-US" sz="2000" dirty="0">
                <a:solidFill>
                  <a:schemeClr val="tx1">
                    <a:lumMod val="75000"/>
                    <a:lumOff val="25000"/>
                  </a:schemeClr>
                </a:solidFill>
                <a:latin typeface="+mj-lt"/>
                <a:ea typeface="Times New Roman" panose="02020603050405020304" pitchFamily="18" charset="0"/>
                <a:cs typeface="Arial" panose="020B0604020202020204" pitchFamily="34" charset="0"/>
              </a:rPr>
              <a:t>It is mandatory for the Employee to use the company approved travel agents for all travel reservations. </a:t>
            </a:r>
          </a:p>
          <a:p>
            <a:pPr marL="457189" indent="-457189">
              <a:buFont typeface="Arial" panose="020B0604020202020204" pitchFamily="34" charset="0"/>
              <a:buChar char="•"/>
            </a:pPr>
            <a:endParaRPr lang="en-US" sz="2000" dirty="0">
              <a:solidFill>
                <a:schemeClr val="tx1">
                  <a:lumMod val="75000"/>
                  <a:lumOff val="25000"/>
                </a:schemeClr>
              </a:solidFill>
              <a:latin typeface="+mj-lt"/>
              <a:ea typeface="Times New Roman" panose="02020603050405020304" pitchFamily="18" charset="0"/>
              <a:cs typeface="Arial" panose="020B0604020202020204" pitchFamily="34" charset="0"/>
            </a:endParaRPr>
          </a:p>
          <a:p>
            <a:pPr marL="457189" indent="-457189">
              <a:buFont typeface="Arial" panose="020B0604020202020204" pitchFamily="34" charset="0"/>
              <a:buChar char="•"/>
            </a:pPr>
            <a:r>
              <a:rPr lang="en-US" sz="2000" dirty="0">
                <a:solidFill>
                  <a:schemeClr val="tx1">
                    <a:lumMod val="75000"/>
                    <a:lumOff val="25000"/>
                  </a:schemeClr>
                </a:solidFill>
                <a:latin typeface="+mj-lt"/>
                <a:ea typeface="Times New Roman" panose="02020603050405020304" pitchFamily="18" charset="0"/>
                <a:cs typeface="Arial" panose="020B0604020202020204" pitchFamily="34" charset="0"/>
              </a:rPr>
              <a:t>Air travel will be charged to Infinite’s Corporate Credit card. </a:t>
            </a:r>
          </a:p>
          <a:p>
            <a:endParaRPr lang="en-US" sz="2000" dirty="0">
              <a:solidFill>
                <a:schemeClr val="tx1">
                  <a:lumMod val="75000"/>
                  <a:lumOff val="25000"/>
                </a:schemeClr>
              </a:solidFill>
              <a:latin typeface="+mj-lt"/>
              <a:ea typeface="Times New Roman" panose="02020603050405020304" pitchFamily="18" charset="0"/>
              <a:cs typeface="Arial" panose="020B0604020202020204" pitchFamily="34" charset="0"/>
            </a:endParaRPr>
          </a:p>
          <a:p>
            <a:r>
              <a:rPr lang="en-US" sz="2000" b="1" dirty="0">
                <a:solidFill>
                  <a:srgbClr val="7E249F"/>
                </a:solidFill>
                <a:latin typeface="+mj-lt"/>
                <a:cs typeface="Arial" panose="020B0604020202020204" pitchFamily="34" charset="0"/>
              </a:rPr>
              <a:t>Reference Travel policy documents : </a:t>
            </a:r>
          </a:p>
          <a:p>
            <a:endParaRPr lang="en-US" sz="2000" dirty="0">
              <a:solidFill>
                <a:schemeClr val="tx1">
                  <a:lumMod val="75000"/>
                  <a:lumOff val="25000"/>
                </a:schemeClr>
              </a:solidFill>
              <a:latin typeface="+mj-lt"/>
              <a:cs typeface="Arial" panose="020B0604020202020204" pitchFamily="34" charset="0"/>
            </a:endParaRPr>
          </a:p>
          <a:p>
            <a:pPr marL="457189" indent="-457189">
              <a:buAutoNum type="arabicPeriod"/>
            </a:pPr>
            <a:r>
              <a:rPr lang="en-US" sz="2000" dirty="0">
                <a:solidFill>
                  <a:schemeClr val="tx1">
                    <a:lumMod val="75000"/>
                    <a:lumOff val="25000"/>
                  </a:schemeClr>
                </a:solidFill>
                <a:latin typeface="+mj-lt"/>
                <a:cs typeface="Arial" panose="020B0604020202020204" pitchFamily="34" charset="0"/>
              </a:rPr>
              <a:t>Travel Policy</a:t>
            </a:r>
          </a:p>
          <a:p>
            <a:pPr marL="457189" indent="-457189">
              <a:buAutoNum type="arabicPeriod"/>
            </a:pPr>
            <a:endParaRPr lang="en-US" sz="2000" dirty="0">
              <a:solidFill>
                <a:schemeClr val="tx1">
                  <a:lumMod val="75000"/>
                  <a:lumOff val="25000"/>
                </a:schemeClr>
              </a:solidFill>
              <a:latin typeface="+mj-lt"/>
              <a:cs typeface="Arial" panose="020B0604020202020204" pitchFamily="34" charset="0"/>
            </a:endParaRPr>
          </a:p>
          <a:p>
            <a:pPr marL="457189" indent="-457189">
              <a:buAutoNum type="arabicPeriod"/>
            </a:pPr>
            <a:r>
              <a:rPr lang="en-US" sz="2000" dirty="0">
                <a:solidFill>
                  <a:schemeClr val="tx1">
                    <a:lumMod val="75000"/>
                    <a:lumOff val="25000"/>
                  </a:schemeClr>
                </a:solidFill>
                <a:latin typeface="+mj-lt"/>
                <a:cs typeface="Arial" panose="020B0604020202020204" pitchFamily="34" charset="0"/>
              </a:rPr>
              <a:t>Travel Guidelines</a:t>
            </a:r>
          </a:p>
          <a:p>
            <a:pPr marL="457189" indent="-457189">
              <a:buAutoNum type="arabicPeriod"/>
            </a:pPr>
            <a:endParaRPr lang="en-US" sz="2000" dirty="0">
              <a:solidFill>
                <a:schemeClr val="tx1">
                  <a:lumMod val="75000"/>
                  <a:lumOff val="25000"/>
                </a:schemeClr>
              </a:solidFill>
              <a:latin typeface="+mj-lt"/>
              <a:cs typeface="Arial" panose="020B0604020202020204" pitchFamily="34" charset="0"/>
            </a:endParaRPr>
          </a:p>
          <a:p>
            <a:pPr marL="457189" indent="-457189">
              <a:buAutoNum type="arabicPeriod"/>
            </a:pPr>
            <a:r>
              <a:rPr lang="en-US" sz="2000" dirty="0">
                <a:solidFill>
                  <a:schemeClr val="tx1">
                    <a:lumMod val="75000"/>
                    <a:lumOff val="25000"/>
                  </a:schemeClr>
                </a:solidFill>
                <a:latin typeface="+mj-lt"/>
                <a:cs typeface="Arial" panose="020B0604020202020204" pitchFamily="34" charset="0"/>
              </a:rPr>
              <a:t>Expense reimbursement policy</a:t>
            </a:r>
          </a:p>
        </p:txBody>
      </p:sp>
      <p:pic>
        <p:nvPicPr>
          <p:cNvPr id="6" name="Picture 5">
            <a:extLst>
              <a:ext uri="{FF2B5EF4-FFF2-40B4-BE49-F238E27FC236}">
                <a16:creationId xmlns:a16="http://schemas.microsoft.com/office/drawing/2014/main" id="{85341449-995D-4657-B667-8DDFB021B85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15567" y="1662803"/>
            <a:ext cx="3150287" cy="3143303"/>
          </a:xfrm>
          <a:prstGeom prst="rect">
            <a:avLst/>
          </a:prstGeom>
          <a:solidFill>
            <a:srgbClr val="7E249F"/>
          </a:solidFill>
        </p:spPr>
      </p:pic>
    </p:spTree>
    <p:extLst>
      <p:ext uri="{BB962C8B-B14F-4D97-AF65-F5344CB8AC3E}">
        <p14:creationId xmlns:p14="http://schemas.microsoft.com/office/powerpoint/2010/main" val="9453626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1487D9E-D5D4-401E-884C-A2D762075567}"/>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TRAVEL</a:t>
            </a:r>
          </a:p>
        </p:txBody>
      </p:sp>
      <p:grpSp>
        <p:nvGrpSpPr>
          <p:cNvPr id="24" name="Group 23">
            <a:extLst>
              <a:ext uri="{FF2B5EF4-FFF2-40B4-BE49-F238E27FC236}">
                <a16:creationId xmlns:a16="http://schemas.microsoft.com/office/drawing/2014/main" id="{5C1A4AF6-1CB4-4624-BE33-3AEFB017CF75}"/>
              </a:ext>
            </a:extLst>
          </p:cNvPr>
          <p:cNvGrpSpPr/>
          <p:nvPr/>
        </p:nvGrpSpPr>
        <p:grpSpPr>
          <a:xfrm>
            <a:off x="8515090" y="929386"/>
            <a:ext cx="1699795" cy="4999228"/>
            <a:chOff x="9513895" y="752598"/>
            <a:chExt cx="1699795" cy="4999228"/>
          </a:xfrm>
        </p:grpSpPr>
        <p:sp>
          <p:nvSpPr>
            <p:cNvPr id="23" name="Rounded Rectangle 7">
              <a:extLst>
                <a:ext uri="{FF2B5EF4-FFF2-40B4-BE49-F238E27FC236}">
                  <a16:creationId xmlns:a16="http://schemas.microsoft.com/office/drawing/2014/main" id="{B3CBD409-DC3C-45A4-B435-ADE3B65F1D18}"/>
                </a:ext>
              </a:extLst>
            </p:cNvPr>
            <p:cNvSpPr/>
            <p:nvPr/>
          </p:nvSpPr>
          <p:spPr>
            <a:xfrm>
              <a:off x="9575987" y="4377159"/>
              <a:ext cx="1637703" cy="1374667"/>
            </a:xfrm>
            <a:prstGeom prst="roundRect">
              <a:avLst>
                <a:gd name="adj" fmla="val 5285"/>
              </a:avLst>
            </a:prstGeom>
            <a:solidFill>
              <a:schemeClr val="bg1"/>
            </a:solidFill>
            <a:ln>
              <a:solidFill>
                <a:srgbClr val="00B6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1" rtl="0" eaLnBrk="1" latinLnBrk="0" hangingPunct="1">
                <a:defRPr sz="1900" kern="1200">
                  <a:solidFill>
                    <a:schemeClr val="lt1"/>
                  </a:solidFill>
                  <a:latin typeface="+mn-lt"/>
                  <a:ea typeface="+mn-ea"/>
                  <a:cs typeface="+mn-cs"/>
                </a:defRPr>
              </a:lvl1pPr>
              <a:lvl2pPr marL="457181" algn="l" defTabSz="914361" rtl="0" eaLnBrk="1" latinLnBrk="0" hangingPunct="1">
                <a:defRPr sz="1900" kern="1200">
                  <a:solidFill>
                    <a:schemeClr val="lt1"/>
                  </a:solidFill>
                  <a:latin typeface="+mn-lt"/>
                  <a:ea typeface="+mn-ea"/>
                  <a:cs typeface="+mn-cs"/>
                </a:defRPr>
              </a:lvl2pPr>
              <a:lvl3pPr marL="914361" algn="l" defTabSz="914361" rtl="0" eaLnBrk="1" latinLnBrk="0" hangingPunct="1">
                <a:defRPr sz="1900" kern="1200">
                  <a:solidFill>
                    <a:schemeClr val="lt1"/>
                  </a:solidFill>
                  <a:latin typeface="+mn-lt"/>
                  <a:ea typeface="+mn-ea"/>
                  <a:cs typeface="+mn-cs"/>
                </a:defRPr>
              </a:lvl3pPr>
              <a:lvl4pPr marL="1371543" algn="l" defTabSz="914361" rtl="0" eaLnBrk="1" latinLnBrk="0" hangingPunct="1">
                <a:defRPr sz="1900" kern="1200">
                  <a:solidFill>
                    <a:schemeClr val="lt1"/>
                  </a:solidFill>
                  <a:latin typeface="+mn-lt"/>
                  <a:ea typeface="+mn-ea"/>
                  <a:cs typeface="+mn-cs"/>
                </a:defRPr>
              </a:lvl4pPr>
              <a:lvl5pPr marL="1828724" algn="l" defTabSz="914361" rtl="0" eaLnBrk="1" latinLnBrk="0" hangingPunct="1">
                <a:defRPr sz="1900" kern="1200">
                  <a:solidFill>
                    <a:schemeClr val="lt1"/>
                  </a:solidFill>
                  <a:latin typeface="+mn-lt"/>
                  <a:ea typeface="+mn-ea"/>
                  <a:cs typeface="+mn-cs"/>
                </a:defRPr>
              </a:lvl5pPr>
              <a:lvl6pPr marL="2285905" algn="l" defTabSz="914361" rtl="0" eaLnBrk="1" latinLnBrk="0" hangingPunct="1">
                <a:defRPr sz="1900" kern="1200">
                  <a:solidFill>
                    <a:schemeClr val="lt1"/>
                  </a:solidFill>
                  <a:latin typeface="+mn-lt"/>
                  <a:ea typeface="+mn-ea"/>
                  <a:cs typeface="+mn-cs"/>
                </a:defRPr>
              </a:lvl6pPr>
              <a:lvl7pPr marL="2743085" algn="l" defTabSz="914361" rtl="0" eaLnBrk="1" latinLnBrk="0" hangingPunct="1">
                <a:defRPr sz="1900" kern="1200">
                  <a:solidFill>
                    <a:schemeClr val="lt1"/>
                  </a:solidFill>
                  <a:latin typeface="+mn-lt"/>
                  <a:ea typeface="+mn-ea"/>
                  <a:cs typeface="+mn-cs"/>
                </a:defRPr>
              </a:lvl7pPr>
              <a:lvl8pPr marL="3200267" algn="l" defTabSz="914361" rtl="0" eaLnBrk="1" latinLnBrk="0" hangingPunct="1">
                <a:defRPr sz="1900" kern="1200">
                  <a:solidFill>
                    <a:schemeClr val="lt1"/>
                  </a:solidFill>
                  <a:latin typeface="+mn-lt"/>
                  <a:ea typeface="+mn-ea"/>
                  <a:cs typeface="+mn-cs"/>
                </a:defRPr>
              </a:lvl8pPr>
              <a:lvl9pPr marL="3657448" algn="l" defTabSz="914361" rtl="0" eaLnBrk="1" latinLnBrk="0" hangingPunct="1">
                <a:defRPr sz="1900" kern="1200">
                  <a:solidFill>
                    <a:schemeClr val="lt1"/>
                  </a:solidFill>
                  <a:latin typeface="+mn-lt"/>
                  <a:ea typeface="+mn-ea"/>
                  <a:cs typeface="+mn-cs"/>
                </a:defRPr>
              </a:lvl9pPr>
            </a:lstStyle>
            <a:p>
              <a:pPr algn="ctr"/>
              <a:endParaRPr lang="en-US" sz="2533"/>
            </a:p>
          </p:txBody>
        </p:sp>
        <p:sp>
          <p:nvSpPr>
            <p:cNvPr id="22" name="Rounded Rectangle 7">
              <a:extLst>
                <a:ext uri="{FF2B5EF4-FFF2-40B4-BE49-F238E27FC236}">
                  <a16:creationId xmlns:a16="http://schemas.microsoft.com/office/drawing/2014/main" id="{1F995271-31D4-426B-B187-C96AE1254824}"/>
                </a:ext>
              </a:extLst>
            </p:cNvPr>
            <p:cNvSpPr/>
            <p:nvPr/>
          </p:nvSpPr>
          <p:spPr>
            <a:xfrm>
              <a:off x="9513895" y="2567969"/>
              <a:ext cx="1637703" cy="1374667"/>
            </a:xfrm>
            <a:prstGeom prst="roundRect">
              <a:avLst>
                <a:gd name="adj" fmla="val 5285"/>
              </a:avLst>
            </a:prstGeom>
            <a:solidFill>
              <a:schemeClr val="bg1"/>
            </a:solidFill>
            <a:ln>
              <a:solidFill>
                <a:srgbClr val="00B6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1" rtl="0" eaLnBrk="1" latinLnBrk="0" hangingPunct="1">
                <a:defRPr sz="1900" kern="1200">
                  <a:solidFill>
                    <a:schemeClr val="lt1"/>
                  </a:solidFill>
                  <a:latin typeface="+mn-lt"/>
                  <a:ea typeface="+mn-ea"/>
                  <a:cs typeface="+mn-cs"/>
                </a:defRPr>
              </a:lvl1pPr>
              <a:lvl2pPr marL="457181" algn="l" defTabSz="914361" rtl="0" eaLnBrk="1" latinLnBrk="0" hangingPunct="1">
                <a:defRPr sz="1900" kern="1200">
                  <a:solidFill>
                    <a:schemeClr val="lt1"/>
                  </a:solidFill>
                  <a:latin typeface="+mn-lt"/>
                  <a:ea typeface="+mn-ea"/>
                  <a:cs typeface="+mn-cs"/>
                </a:defRPr>
              </a:lvl2pPr>
              <a:lvl3pPr marL="914361" algn="l" defTabSz="914361" rtl="0" eaLnBrk="1" latinLnBrk="0" hangingPunct="1">
                <a:defRPr sz="1900" kern="1200">
                  <a:solidFill>
                    <a:schemeClr val="lt1"/>
                  </a:solidFill>
                  <a:latin typeface="+mn-lt"/>
                  <a:ea typeface="+mn-ea"/>
                  <a:cs typeface="+mn-cs"/>
                </a:defRPr>
              </a:lvl3pPr>
              <a:lvl4pPr marL="1371543" algn="l" defTabSz="914361" rtl="0" eaLnBrk="1" latinLnBrk="0" hangingPunct="1">
                <a:defRPr sz="1900" kern="1200">
                  <a:solidFill>
                    <a:schemeClr val="lt1"/>
                  </a:solidFill>
                  <a:latin typeface="+mn-lt"/>
                  <a:ea typeface="+mn-ea"/>
                  <a:cs typeface="+mn-cs"/>
                </a:defRPr>
              </a:lvl4pPr>
              <a:lvl5pPr marL="1828724" algn="l" defTabSz="914361" rtl="0" eaLnBrk="1" latinLnBrk="0" hangingPunct="1">
                <a:defRPr sz="1900" kern="1200">
                  <a:solidFill>
                    <a:schemeClr val="lt1"/>
                  </a:solidFill>
                  <a:latin typeface="+mn-lt"/>
                  <a:ea typeface="+mn-ea"/>
                  <a:cs typeface="+mn-cs"/>
                </a:defRPr>
              </a:lvl5pPr>
              <a:lvl6pPr marL="2285905" algn="l" defTabSz="914361" rtl="0" eaLnBrk="1" latinLnBrk="0" hangingPunct="1">
                <a:defRPr sz="1900" kern="1200">
                  <a:solidFill>
                    <a:schemeClr val="lt1"/>
                  </a:solidFill>
                  <a:latin typeface="+mn-lt"/>
                  <a:ea typeface="+mn-ea"/>
                  <a:cs typeface="+mn-cs"/>
                </a:defRPr>
              </a:lvl6pPr>
              <a:lvl7pPr marL="2743085" algn="l" defTabSz="914361" rtl="0" eaLnBrk="1" latinLnBrk="0" hangingPunct="1">
                <a:defRPr sz="1900" kern="1200">
                  <a:solidFill>
                    <a:schemeClr val="lt1"/>
                  </a:solidFill>
                  <a:latin typeface="+mn-lt"/>
                  <a:ea typeface="+mn-ea"/>
                  <a:cs typeface="+mn-cs"/>
                </a:defRPr>
              </a:lvl7pPr>
              <a:lvl8pPr marL="3200267" algn="l" defTabSz="914361" rtl="0" eaLnBrk="1" latinLnBrk="0" hangingPunct="1">
                <a:defRPr sz="1900" kern="1200">
                  <a:solidFill>
                    <a:schemeClr val="lt1"/>
                  </a:solidFill>
                  <a:latin typeface="+mn-lt"/>
                  <a:ea typeface="+mn-ea"/>
                  <a:cs typeface="+mn-cs"/>
                </a:defRPr>
              </a:lvl8pPr>
              <a:lvl9pPr marL="3657448" algn="l" defTabSz="914361" rtl="0" eaLnBrk="1" latinLnBrk="0" hangingPunct="1">
                <a:defRPr sz="1900" kern="1200">
                  <a:solidFill>
                    <a:schemeClr val="lt1"/>
                  </a:solidFill>
                  <a:latin typeface="+mn-lt"/>
                  <a:ea typeface="+mn-ea"/>
                  <a:cs typeface="+mn-cs"/>
                </a:defRPr>
              </a:lvl9pPr>
            </a:lstStyle>
            <a:p>
              <a:pPr algn="ctr"/>
              <a:endParaRPr lang="en-US" sz="2533"/>
            </a:p>
          </p:txBody>
        </p:sp>
        <p:sp>
          <p:nvSpPr>
            <p:cNvPr id="6" name="Rounded Rectangle 7">
              <a:extLst>
                <a:ext uri="{FF2B5EF4-FFF2-40B4-BE49-F238E27FC236}">
                  <a16:creationId xmlns:a16="http://schemas.microsoft.com/office/drawing/2014/main" id="{F3AC63EF-52FB-49AC-8CC9-F35FE9FF642A}"/>
                </a:ext>
              </a:extLst>
            </p:cNvPr>
            <p:cNvSpPr/>
            <p:nvPr/>
          </p:nvSpPr>
          <p:spPr>
            <a:xfrm>
              <a:off x="9513895" y="752598"/>
              <a:ext cx="1637703" cy="1374667"/>
            </a:xfrm>
            <a:prstGeom prst="roundRect">
              <a:avLst>
                <a:gd name="adj" fmla="val 5285"/>
              </a:avLst>
            </a:prstGeom>
            <a:solidFill>
              <a:schemeClr val="bg1"/>
            </a:solidFill>
            <a:ln>
              <a:solidFill>
                <a:srgbClr val="00B6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1" rtl="0" eaLnBrk="1" latinLnBrk="0" hangingPunct="1">
                <a:defRPr sz="1900" kern="1200">
                  <a:solidFill>
                    <a:schemeClr val="lt1"/>
                  </a:solidFill>
                  <a:latin typeface="+mn-lt"/>
                  <a:ea typeface="+mn-ea"/>
                  <a:cs typeface="+mn-cs"/>
                </a:defRPr>
              </a:lvl1pPr>
              <a:lvl2pPr marL="457181" algn="l" defTabSz="914361" rtl="0" eaLnBrk="1" latinLnBrk="0" hangingPunct="1">
                <a:defRPr sz="1900" kern="1200">
                  <a:solidFill>
                    <a:schemeClr val="lt1"/>
                  </a:solidFill>
                  <a:latin typeface="+mn-lt"/>
                  <a:ea typeface="+mn-ea"/>
                  <a:cs typeface="+mn-cs"/>
                </a:defRPr>
              </a:lvl2pPr>
              <a:lvl3pPr marL="914361" algn="l" defTabSz="914361" rtl="0" eaLnBrk="1" latinLnBrk="0" hangingPunct="1">
                <a:defRPr sz="1900" kern="1200">
                  <a:solidFill>
                    <a:schemeClr val="lt1"/>
                  </a:solidFill>
                  <a:latin typeface="+mn-lt"/>
                  <a:ea typeface="+mn-ea"/>
                  <a:cs typeface="+mn-cs"/>
                </a:defRPr>
              </a:lvl3pPr>
              <a:lvl4pPr marL="1371543" algn="l" defTabSz="914361" rtl="0" eaLnBrk="1" latinLnBrk="0" hangingPunct="1">
                <a:defRPr sz="1900" kern="1200">
                  <a:solidFill>
                    <a:schemeClr val="lt1"/>
                  </a:solidFill>
                  <a:latin typeface="+mn-lt"/>
                  <a:ea typeface="+mn-ea"/>
                  <a:cs typeface="+mn-cs"/>
                </a:defRPr>
              </a:lvl4pPr>
              <a:lvl5pPr marL="1828724" algn="l" defTabSz="914361" rtl="0" eaLnBrk="1" latinLnBrk="0" hangingPunct="1">
                <a:defRPr sz="1900" kern="1200">
                  <a:solidFill>
                    <a:schemeClr val="lt1"/>
                  </a:solidFill>
                  <a:latin typeface="+mn-lt"/>
                  <a:ea typeface="+mn-ea"/>
                  <a:cs typeface="+mn-cs"/>
                </a:defRPr>
              </a:lvl5pPr>
              <a:lvl6pPr marL="2285905" algn="l" defTabSz="914361" rtl="0" eaLnBrk="1" latinLnBrk="0" hangingPunct="1">
                <a:defRPr sz="1900" kern="1200">
                  <a:solidFill>
                    <a:schemeClr val="lt1"/>
                  </a:solidFill>
                  <a:latin typeface="+mn-lt"/>
                  <a:ea typeface="+mn-ea"/>
                  <a:cs typeface="+mn-cs"/>
                </a:defRPr>
              </a:lvl6pPr>
              <a:lvl7pPr marL="2743085" algn="l" defTabSz="914361" rtl="0" eaLnBrk="1" latinLnBrk="0" hangingPunct="1">
                <a:defRPr sz="1900" kern="1200">
                  <a:solidFill>
                    <a:schemeClr val="lt1"/>
                  </a:solidFill>
                  <a:latin typeface="+mn-lt"/>
                  <a:ea typeface="+mn-ea"/>
                  <a:cs typeface="+mn-cs"/>
                </a:defRPr>
              </a:lvl7pPr>
              <a:lvl8pPr marL="3200267" algn="l" defTabSz="914361" rtl="0" eaLnBrk="1" latinLnBrk="0" hangingPunct="1">
                <a:defRPr sz="1900" kern="1200">
                  <a:solidFill>
                    <a:schemeClr val="lt1"/>
                  </a:solidFill>
                  <a:latin typeface="+mn-lt"/>
                  <a:ea typeface="+mn-ea"/>
                  <a:cs typeface="+mn-cs"/>
                </a:defRPr>
              </a:lvl8pPr>
              <a:lvl9pPr marL="3657448" algn="l" defTabSz="914361" rtl="0" eaLnBrk="1" latinLnBrk="0" hangingPunct="1">
                <a:defRPr sz="1900" kern="1200">
                  <a:solidFill>
                    <a:schemeClr val="lt1"/>
                  </a:solidFill>
                  <a:latin typeface="+mn-lt"/>
                  <a:ea typeface="+mn-ea"/>
                  <a:cs typeface="+mn-cs"/>
                </a:defRPr>
              </a:lvl9pPr>
            </a:lstStyle>
            <a:p>
              <a:pPr algn="ctr"/>
              <a:endParaRPr lang="en-US" sz="2533"/>
            </a:p>
          </p:txBody>
        </p:sp>
        <p:grpSp>
          <p:nvGrpSpPr>
            <p:cNvPr id="8" name="Group 7">
              <a:extLst>
                <a:ext uri="{FF2B5EF4-FFF2-40B4-BE49-F238E27FC236}">
                  <a16:creationId xmlns:a16="http://schemas.microsoft.com/office/drawing/2014/main" id="{506101A9-954B-4FA0-8CE0-6ABB9F48AFD4}"/>
                </a:ext>
              </a:extLst>
            </p:cNvPr>
            <p:cNvGrpSpPr/>
            <p:nvPr/>
          </p:nvGrpSpPr>
          <p:grpSpPr>
            <a:xfrm rot="2091134">
              <a:off x="9684939" y="1045943"/>
              <a:ext cx="1295614" cy="787976"/>
              <a:chOff x="1338263" y="1752600"/>
              <a:chExt cx="965200" cy="749300"/>
            </a:xfrm>
            <a:solidFill>
              <a:srgbClr val="7E249F"/>
            </a:solidFill>
          </p:grpSpPr>
          <p:sp>
            <p:nvSpPr>
              <p:cNvPr id="16" name="Freeform 17">
                <a:extLst>
                  <a:ext uri="{FF2B5EF4-FFF2-40B4-BE49-F238E27FC236}">
                    <a16:creationId xmlns:a16="http://schemas.microsoft.com/office/drawing/2014/main" id="{1D2E3D67-4106-412A-ACEC-EF7533F06F04}"/>
                  </a:ext>
                </a:extLst>
              </p:cNvPr>
              <p:cNvSpPr>
                <a:spLocks/>
              </p:cNvSpPr>
              <p:nvPr/>
            </p:nvSpPr>
            <p:spPr bwMode="auto">
              <a:xfrm>
                <a:off x="1420813" y="1960563"/>
                <a:ext cx="419100" cy="173038"/>
              </a:xfrm>
              <a:custGeom>
                <a:avLst/>
                <a:gdLst>
                  <a:gd name="T0" fmla="*/ 32 w 1053"/>
                  <a:gd name="T1" fmla="*/ 145 h 437"/>
                  <a:gd name="T2" fmla="*/ 678 w 1053"/>
                  <a:gd name="T3" fmla="*/ 437 h 437"/>
                  <a:gd name="T4" fmla="*/ 1053 w 1053"/>
                  <a:gd name="T5" fmla="*/ 62 h 437"/>
                  <a:gd name="T6" fmla="*/ 157 w 1053"/>
                  <a:gd name="T7" fmla="*/ 0 h 437"/>
                  <a:gd name="T8" fmla="*/ 84 w 1053"/>
                  <a:gd name="T9" fmla="*/ 31 h 437"/>
                  <a:gd name="T10" fmla="*/ 21 w 1053"/>
                  <a:gd name="T11" fmla="*/ 93 h 437"/>
                  <a:gd name="T12" fmla="*/ 32 w 1053"/>
                  <a:gd name="T13" fmla="*/ 145 h 437"/>
                </a:gdLst>
                <a:ahLst/>
                <a:cxnLst>
                  <a:cxn ang="0">
                    <a:pos x="T0" y="T1"/>
                  </a:cxn>
                  <a:cxn ang="0">
                    <a:pos x="T2" y="T3"/>
                  </a:cxn>
                  <a:cxn ang="0">
                    <a:pos x="T4" y="T5"/>
                  </a:cxn>
                  <a:cxn ang="0">
                    <a:pos x="T6" y="T7"/>
                  </a:cxn>
                  <a:cxn ang="0">
                    <a:pos x="T8" y="T9"/>
                  </a:cxn>
                  <a:cxn ang="0">
                    <a:pos x="T10" y="T11"/>
                  </a:cxn>
                  <a:cxn ang="0">
                    <a:pos x="T12" y="T13"/>
                  </a:cxn>
                </a:cxnLst>
                <a:rect l="0" t="0" r="r" b="b"/>
                <a:pathLst>
                  <a:path w="1053" h="437">
                    <a:moveTo>
                      <a:pt x="32" y="145"/>
                    </a:moveTo>
                    <a:cubicBezTo>
                      <a:pt x="678" y="437"/>
                      <a:pt x="678" y="437"/>
                      <a:pt x="678" y="437"/>
                    </a:cubicBezTo>
                    <a:cubicBezTo>
                      <a:pt x="1053" y="62"/>
                      <a:pt x="1053" y="62"/>
                      <a:pt x="1053" y="62"/>
                    </a:cubicBezTo>
                    <a:cubicBezTo>
                      <a:pt x="157" y="0"/>
                      <a:pt x="157" y="0"/>
                      <a:pt x="157" y="0"/>
                    </a:cubicBezTo>
                    <a:cubicBezTo>
                      <a:pt x="136" y="0"/>
                      <a:pt x="105" y="10"/>
                      <a:pt x="84" y="31"/>
                    </a:cubicBezTo>
                    <a:cubicBezTo>
                      <a:pt x="21" y="93"/>
                      <a:pt x="21" y="93"/>
                      <a:pt x="21" y="93"/>
                    </a:cubicBezTo>
                    <a:cubicBezTo>
                      <a:pt x="0" y="114"/>
                      <a:pt x="11" y="135"/>
                      <a:pt x="32" y="145"/>
                    </a:cubicBezTo>
                    <a:close/>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a:lstStyle>
              <a:p>
                <a:endParaRPr lang="en-US" sz="2533"/>
              </a:p>
            </p:txBody>
          </p:sp>
          <p:sp>
            <p:nvSpPr>
              <p:cNvPr id="17" name="Freeform 18">
                <a:extLst>
                  <a:ext uri="{FF2B5EF4-FFF2-40B4-BE49-F238E27FC236}">
                    <a16:creationId xmlns:a16="http://schemas.microsoft.com/office/drawing/2014/main" id="{EC3A405D-655E-4A2D-879F-0043707B31EA}"/>
                  </a:ext>
                </a:extLst>
              </p:cNvPr>
              <p:cNvSpPr>
                <a:spLocks noEditPoints="1"/>
              </p:cNvSpPr>
              <p:nvPr/>
            </p:nvSpPr>
            <p:spPr bwMode="auto">
              <a:xfrm>
                <a:off x="1338263" y="1752600"/>
                <a:ext cx="965200" cy="749300"/>
              </a:xfrm>
              <a:custGeom>
                <a:avLst/>
                <a:gdLst>
                  <a:gd name="T0" fmla="*/ 2375 w 2427"/>
                  <a:gd name="T1" fmla="*/ 73 h 1885"/>
                  <a:gd name="T2" fmla="*/ 2365 w 2427"/>
                  <a:gd name="T3" fmla="*/ 52 h 1885"/>
                  <a:gd name="T4" fmla="*/ 1865 w 2427"/>
                  <a:gd name="T5" fmla="*/ 135 h 1885"/>
                  <a:gd name="T6" fmla="*/ 927 w 2427"/>
                  <a:gd name="T7" fmla="*/ 1073 h 1885"/>
                  <a:gd name="T8" fmla="*/ 594 w 2427"/>
                  <a:gd name="T9" fmla="*/ 1437 h 1885"/>
                  <a:gd name="T10" fmla="*/ 156 w 2427"/>
                  <a:gd name="T11" fmla="*/ 1437 h 1885"/>
                  <a:gd name="T12" fmla="*/ 83 w 2427"/>
                  <a:gd name="T13" fmla="*/ 1469 h 1885"/>
                  <a:gd name="T14" fmla="*/ 21 w 2427"/>
                  <a:gd name="T15" fmla="*/ 1531 h 1885"/>
                  <a:gd name="T16" fmla="*/ 31 w 2427"/>
                  <a:gd name="T17" fmla="*/ 1583 h 1885"/>
                  <a:gd name="T18" fmla="*/ 365 w 2427"/>
                  <a:gd name="T19" fmla="*/ 1750 h 1885"/>
                  <a:gd name="T20" fmla="*/ 344 w 2427"/>
                  <a:gd name="T21" fmla="*/ 1802 h 1885"/>
                  <a:gd name="T22" fmla="*/ 448 w 2427"/>
                  <a:gd name="T23" fmla="*/ 1854 h 1885"/>
                  <a:gd name="T24" fmla="*/ 1125 w 2427"/>
                  <a:gd name="T25" fmla="*/ 1531 h 1885"/>
                  <a:gd name="T26" fmla="*/ 1281 w 2427"/>
                  <a:gd name="T27" fmla="*/ 1364 h 1885"/>
                  <a:gd name="T28" fmla="*/ 1438 w 2427"/>
                  <a:gd name="T29" fmla="*/ 1344 h 1885"/>
                  <a:gd name="T30" fmla="*/ 2000 w 2427"/>
                  <a:gd name="T31" fmla="*/ 1865 h 1885"/>
                  <a:gd name="T32" fmla="*/ 2063 w 2427"/>
                  <a:gd name="T33" fmla="*/ 1865 h 1885"/>
                  <a:gd name="T34" fmla="*/ 2125 w 2427"/>
                  <a:gd name="T35" fmla="*/ 1802 h 1885"/>
                  <a:gd name="T36" fmla="*/ 2146 w 2427"/>
                  <a:gd name="T37" fmla="*/ 1729 h 1885"/>
                  <a:gd name="T38" fmla="*/ 1802 w 2427"/>
                  <a:gd name="T39" fmla="*/ 844 h 1885"/>
                  <a:gd name="T40" fmla="*/ 2271 w 2427"/>
                  <a:gd name="T41" fmla="*/ 375 h 1885"/>
                  <a:gd name="T42" fmla="*/ 2375 w 2427"/>
                  <a:gd name="T43" fmla="*/ 73 h 1885"/>
                  <a:gd name="T44" fmla="*/ 2104 w 2427"/>
                  <a:gd name="T45" fmla="*/ 333 h 1885"/>
                  <a:gd name="T46" fmla="*/ 2094 w 2427"/>
                  <a:gd name="T47" fmla="*/ 333 h 1885"/>
                  <a:gd name="T48" fmla="*/ 2073 w 2427"/>
                  <a:gd name="T49" fmla="*/ 323 h 1885"/>
                  <a:gd name="T50" fmla="*/ 2094 w 2427"/>
                  <a:gd name="T51" fmla="*/ 271 h 1885"/>
                  <a:gd name="T52" fmla="*/ 2146 w 2427"/>
                  <a:gd name="T53" fmla="*/ 187 h 1885"/>
                  <a:gd name="T54" fmla="*/ 2136 w 2427"/>
                  <a:gd name="T55" fmla="*/ 156 h 1885"/>
                  <a:gd name="T56" fmla="*/ 2125 w 2427"/>
                  <a:gd name="T57" fmla="*/ 114 h 1885"/>
                  <a:gd name="T58" fmla="*/ 2157 w 2427"/>
                  <a:gd name="T59" fmla="*/ 93 h 1885"/>
                  <a:gd name="T60" fmla="*/ 2240 w 2427"/>
                  <a:gd name="T61" fmla="*/ 83 h 1885"/>
                  <a:gd name="T62" fmla="*/ 2302 w 2427"/>
                  <a:gd name="T63" fmla="*/ 93 h 1885"/>
                  <a:gd name="T64" fmla="*/ 2313 w 2427"/>
                  <a:gd name="T65" fmla="*/ 156 h 1885"/>
                  <a:gd name="T66" fmla="*/ 2104 w 2427"/>
                  <a:gd name="T67" fmla="*/ 333 h 1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7" h="1885">
                    <a:moveTo>
                      <a:pt x="2375" y="73"/>
                    </a:moveTo>
                    <a:cubicBezTo>
                      <a:pt x="2375" y="73"/>
                      <a:pt x="2375" y="62"/>
                      <a:pt x="2365" y="52"/>
                    </a:cubicBezTo>
                    <a:cubicBezTo>
                      <a:pt x="2302" y="0"/>
                      <a:pt x="1959" y="41"/>
                      <a:pt x="1865" y="135"/>
                    </a:cubicBezTo>
                    <a:cubicBezTo>
                      <a:pt x="927" y="1073"/>
                      <a:pt x="927" y="1073"/>
                      <a:pt x="927" y="1073"/>
                    </a:cubicBezTo>
                    <a:cubicBezTo>
                      <a:pt x="896" y="1104"/>
                      <a:pt x="719" y="1281"/>
                      <a:pt x="594" y="1437"/>
                    </a:cubicBezTo>
                    <a:cubicBezTo>
                      <a:pt x="156" y="1437"/>
                      <a:pt x="156" y="1437"/>
                      <a:pt x="156" y="1437"/>
                    </a:cubicBezTo>
                    <a:cubicBezTo>
                      <a:pt x="135" y="1437"/>
                      <a:pt x="104" y="1448"/>
                      <a:pt x="83" y="1469"/>
                    </a:cubicBezTo>
                    <a:cubicBezTo>
                      <a:pt x="21" y="1531"/>
                      <a:pt x="21" y="1531"/>
                      <a:pt x="21" y="1531"/>
                    </a:cubicBezTo>
                    <a:cubicBezTo>
                      <a:pt x="0" y="1552"/>
                      <a:pt x="10" y="1573"/>
                      <a:pt x="31" y="1583"/>
                    </a:cubicBezTo>
                    <a:cubicBezTo>
                      <a:pt x="365" y="1750"/>
                      <a:pt x="365" y="1750"/>
                      <a:pt x="365" y="1750"/>
                    </a:cubicBezTo>
                    <a:cubicBezTo>
                      <a:pt x="344" y="1771"/>
                      <a:pt x="333" y="1792"/>
                      <a:pt x="344" y="1802"/>
                    </a:cubicBezTo>
                    <a:cubicBezTo>
                      <a:pt x="365" y="1854"/>
                      <a:pt x="448" y="1854"/>
                      <a:pt x="448" y="1854"/>
                    </a:cubicBezTo>
                    <a:cubicBezTo>
                      <a:pt x="698" y="1854"/>
                      <a:pt x="1063" y="1583"/>
                      <a:pt x="1125" y="1531"/>
                    </a:cubicBezTo>
                    <a:cubicBezTo>
                      <a:pt x="1281" y="1364"/>
                      <a:pt x="1281" y="1364"/>
                      <a:pt x="1281" y="1364"/>
                    </a:cubicBezTo>
                    <a:cubicBezTo>
                      <a:pt x="1354" y="1302"/>
                      <a:pt x="1438" y="1333"/>
                      <a:pt x="1438" y="1344"/>
                    </a:cubicBezTo>
                    <a:cubicBezTo>
                      <a:pt x="2000" y="1865"/>
                      <a:pt x="2000" y="1865"/>
                      <a:pt x="2000" y="1865"/>
                    </a:cubicBezTo>
                    <a:cubicBezTo>
                      <a:pt x="2021" y="1885"/>
                      <a:pt x="2042" y="1885"/>
                      <a:pt x="2063" y="1865"/>
                    </a:cubicBezTo>
                    <a:cubicBezTo>
                      <a:pt x="2125" y="1802"/>
                      <a:pt x="2125" y="1802"/>
                      <a:pt x="2125" y="1802"/>
                    </a:cubicBezTo>
                    <a:cubicBezTo>
                      <a:pt x="2146" y="1781"/>
                      <a:pt x="2146" y="1750"/>
                      <a:pt x="2146" y="1729"/>
                    </a:cubicBezTo>
                    <a:cubicBezTo>
                      <a:pt x="1802" y="844"/>
                      <a:pt x="1802" y="844"/>
                      <a:pt x="1802" y="844"/>
                    </a:cubicBezTo>
                    <a:cubicBezTo>
                      <a:pt x="2271" y="375"/>
                      <a:pt x="2271" y="375"/>
                      <a:pt x="2271" y="375"/>
                    </a:cubicBezTo>
                    <a:cubicBezTo>
                      <a:pt x="2375" y="271"/>
                      <a:pt x="2427" y="135"/>
                      <a:pt x="2375" y="73"/>
                    </a:cubicBezTo>
                    <a:close/>
                    <a:moveTo>
                      <a:pt x="2104" y="333"/>
                    </a:moveTo>
                    <a:cubicBezTo>
                      <a:pt x="2104" y="333"/>
                      <a:pt x="2094" y="333"/>
                      <a:pt x="2094" y="333"/>
                    </a:cubicBezTo>
                    <a:cubicBezTo>
                      <a:pt x="2084" y="333"/>
                      <a:pt x="2084" y="323"/>
                      <a:pt x="2073" y="323"/>
                    </a:cubicBezTo>
                    <a:cubicBezTo>
                      <a:pt x="2073" y="302"/>
                      <a:pt x="2073" y="291"/>
                      <a:pt x="2094" y="271"/>
                    </a:cubicBezTo>
                    <a:cubicBezTo>
                      <a:pt x="2115" y="250"/>
                      <a:pt x="2146" y="208"/>
                      <a:pt x="2146" y="187"/>
                    </a:cubicBezTo>
                    <a:cubicBezTo>
                      <a:pt x="2146" y="177"/>
                      <a:pt x="2136" y="166"/>
                      <a:pt x="2136" y="156"/>
                    </a:cubicBezTo>
                    <a:cubicBezTo>
                      <a:pt x="2125" y="135"/>
                      <a:pt x="2115" y="125"/>
                      <a:pt x="2125" y="114"/>
                    </a:cubicBezTo>
                    <a:cubicBezTo>
                      <a:pt x="2136" y="93"/>
                      <a:pt x="2157" y="93"/>
                      <a:pt x="2157" y="93"/>
                    </a:cubicBezTo>
                    <a:cubicBezTo>
                      <a:pt x="2157" y="93"/>
                      <a:pt x="2198" y="83"/>
                      <a:pt x="2240" y="83"/>
                    </a:cubicBezTo>
                    <a:cubicBezTo>
                      <a:pt x="2261" y="83"/>
                      <a:pt x="2282" y="83"/>
                      <a:pt x="2302" y="93"/>
                    </a:cubicBezTo>
                    <a:cubicBezTo>
                      <a:pt x="2313" y="104"/>
                      <a:pt x="2313" y="125"/>
                      <a:pt x="2313" y="156"/>
                    </a:cubicBezTo>
                    <a:cubicBezTo>
                      <a:pt x="2292" y="218"/>
                      <a:pt x="2219" y="302"/>
                      <a:pt x="2104" y="333"/>
                    </a:cubicBezTo>
                    <a:close/>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a:lstStyle>
              <a:p>
                <a:endParaRPr lang="en-US" sz="2533"/>
              </a:p>
            </p:txBody>
          </p:sp>
        </p:grpSp>
        <p:grpSp>
          <p:nvGrpSpPr>
            <p:cNvPr id="21" name="Group 20">
              <a:extLst>
                <a:ext uri="{FF2B5EF4-FFF2-40B4-BE49-F238E27FC236}">
                  <a16:creationId xmlns:a16="http://schemas.microsoft.com/office/drawing/2014/main" id="{D2BB7339-5B55-469B-99D7-5F3C41BF5A2B}"/>
                </a:ext>
              </a:extLst>
            </p:cNvPr>
            <p:cNvGrpSpPr/>
            <p:nvPr/>
          </p:nvGrpSpPr>
          <p:grpSpPr>
            <a:xfrm>
              <a:off x="9773307" y="2877874"/>
              <a:ext cx="1118878" cy="754856"/>
              <a:chOff x="9672207" y="2211224"/>
              <a:chExt cx="1233611" cy="832261"/>
            </a:xfrm>
            <a:solidFill>
              <a:srgbClr val="7E249F"/>
            </a:solidFill>
          </p:grpSpPr>
          <p:sp>
            <p:nvSpPr>
              <p:cNvPr id="13" name="Freeform 14">
                <a:extLst>
                  <a:ext uri="{FF2B5EF4-FFF2-40B4-BE49-F238E27FC236}">
                    <a16:creationId xmlns:a16="http://schemas.microsoft.com/office/drawing/2014/main" id="{ED8C50A0-EBD7-4530-9F74-9AF367758887}"/>
                  </a:ext>
                </a:extLst>
              </p:cNvPr>
              <p:cNvSpPr>
                <a:spLocks/>
              </p:cNvSpPr>
              <p:nvPr/>
            </p:nvSpPr>
            <p:spPr bwMode="auto">
              <a:xfrm>
                <a:off x="10145261" y="2211224"/>
                <a:ext cx="287502" cy="65495"/>
              </a:xfrm>
              <a:custGeom>
                <a:avLst/>
                <a:gdLst>
                  <a:gd name="T0" fmla="*/ 10 w 562"/>
                  <a:gd name="T1" fmla="*/ 125 h 167"/>
                  <a:gd name="T2" fmla="*/ 31 w 562"/>
                  <a:gd name="T3" fmla="*/ 167 h 167"/>
                  <a:gd name="T4" fmla="*/ 531 w 562"/>
                  <a:gd name="T5" fmla="*/ 167 h 167"/>
                  <a:gd name="T6" fmla="*/ 552 w 562"/>
                  <a:gd name="T7" fmla="*/ 125 h 167"/>
                  <a:gd name="T8" fmla="*/ 510 w 562"/>
                  <a:gd name="T9" fmla="*/ 42 h 167"/>
                  <a:gd name="T10" fmla="*/ 448 w 562"/>
                  <a:gd name="T11" fmla="*/ 0 h 167"/>
                  <a:gd name="T12" fmla="*/ 115 w 562"/>
                  <a:gd name="T13" fmla="*/ 0 h 167"/>
                  <a:gd name="T14" fmla="*/ 52 w 562"/>
                  <a:gd name="T15" fmla="*/ 42 h 167"/>
                  <a:gd name="T16" fmla="*/ 10 w 562"/>
                  <a:gd name="T17" fmla="*/ 125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167">
                    <a:moveTo>
                      <a:pt x="10" y="125"/>
                    </a:moveTo>
                    <a:cubicBezTo>
                      <a:pt x="0" y="146"/>
                      <a:pt x="10" y="167"/>
                      <a:pt x="31" y="167"/>
                    </a:cubicBezTo>
                    <a:cubicBezTo>
                      <a:pt x="531" y="167"/>
                      <a:pt x="531" y="167"/>
                      <a:pt x="531" y="167"/>
                    </a:cubicBezTo>
                    <a:cubicBezTo>
                      <a:pt x="552" y="167"/>
                      <a:pt x="562" y="146"/>
                      <a:pt x="552" y="125"/>
                    </a:cubicBezTo>
                    <a:cubicBezTo>
                      <a:pt x="510" y="42"/>
                      <a:pt x="510" y="42"/>
                      <a:pt x="510" y="42"/>
                    </a:cubicBezTo>
                    <a:cubicBezTo>
                      <a:pt x="500" y="21"/>
                      <a:pt x="469" y="0"/>
                      <a:pt x="448" y="0"/>
                    </a:cubicBezTo>
                    <a:cubicBezTo>
                      <a:pt x="115" y="0"/>
                      <a:pt x="115" y="0"/>
                      <a:pt x="115" y="0"/>
                    </a:cubicBezTo>
                    <a:cubicBezTo>
                      <a:pt x="94" y="0"/>
                      <a:pt x="62" y="21"/>
                      <a:pt x="52" y="42"/>
                    </a:cubicBezTo>
                    <a:lnTo>
                      <a:pt x="10" y="125"/>
                    </a:lnTo>
                    <a:close/>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a:lstStyle>
              <a:p>
                <a:endParaRPr lang="en-US" sz="2533"/>
              </a:p>
            </p:txBody>
          </p:sp>
          <p:sp>
            <p:nvSpPr>
              <p:cNvPr id="14" name="Freeform 15">
                <a:extLst>
                  <a:ext uri="{FF2B5EF4-FFF2-40B4-BE49-F238E27FC236}">
                    <a16:creationId xmlns:a16="http://schemas.microsoft.com/office/drawing/2014/main" id="{AE49FE6D-8F15-485E-B291-3A1786F05FAC}"/>
                  </a:ext>
                </a:extLst>
              </p:cNvPr>
              <p:cNvSpPr>
                <a:spLocks noEditPoints="1"/>
              </p:cNvSpPr>
              <p:nvPr/>
            </p:nvSpPr>
            <p:spPr bwMode="auto">
              <a:xfrm>
                <a:off x="9672207" y="2310264"/>
                <a:ext cx="1233611" cy="733221"/>
              </a:xfrm>
              <a:custGeom>
                <a:avLst/>
                <a:gdLst>
                  <a:gd name="T0" fmla="*/ 2375 w 2417"/>
                  <a:gd name="T1" fmla="*/ 500 h 1833"/>
                  <a:gd name="T2" fmla="*/ 2167 w 2417"/>
                  <a:gd name="T3" fmla="*/ 500 h 1833"/>
                  <a:gd name="T4" fmla="*/ 2135 w 2417"/>
                  <a:gd name="T5" fmla="*/ 521 h 1833"/>
                  <a:gd name="T6" fmla="*/ 2010 w 2417"/>
                  <a:gd name="T7" fmla="*/ 229 h 1833"/>
                  <a:gd name="T8" fmla="*/ 1667 w 2417"/>
                  <a:gd name="T9" fmla="*/ 0 h 1833"/>
                  <a:gd name="T10" fmla="*/ 750 w 2417"/>
                  <a:gd name="T11" fmla="*/ 0 h 1833"/>
                  <a:gd name="T12" fmla="*/ 406 w 2417"/>
                  <a:gd name="T13" fmla="*/ 229 h 1833"/>
                  <a:gd name="T14" fmla="*/ 281 w 2417"/>
                  <a:gd name="T15" fmla="*/ 510 h 1833"/>
                  <a:gd name="T16" fmla="*/ 250 w 2417"/>
                  <a:gd name="T17" fmla="*/ 500 h 1833"/>
                  <a:gd name="T18" fmla="*/ 41 w 2417"/>
                  <a:gd name="T19" fmla="*/ 500 h 1833"/>
                  <a:gd name="T20" fmla="*/ 0 w 2417"/>
                  <a:gd name="T21" fmla="*/ 542 h 1833"/>
                  <a:gd name="T22" fmla="*/ 41 w 2417"/>
                  <a:gd name="T23" fmla="*/ 667 h 1833"/>
                  <a:gd name="T24" fmla="*/ 104 w 2417"/>
                  <a:gd name="T25" fmla="*/ 708 h 1833"/>
                  <a:gd name="T26" fmla="*/ 156 w 2417"/>
                  <a:gd name="T27" fmla="*/ 708 h 1833"/>
                  <a:gd name="T28" fmla="*/ 104 w 2417"/>
                  <a:gd name="T29" fmla="*/ 875 h 1833"/>
                  <a:gd name="T30" fmla="*/ 146 w 2417"/>
                  <a:gd name="T31" fmla="*/ 1375 h 1833"/>
                  <a:gd name="T32" fmla="*/ 208 w 2417"/>
                  <a:gd name="T33" fmla="*/ 1531 h 1833"/>
                  <a:gd name="T34" fmla="*/ 208 w 2417"/>
                  <a:gd name="T35" fmla="*/ 1542 h 1833"/>
                  <a:gd name="T36" fmla="*/ 208 w 2417"/>
                  <a:gd name="T37" fmla="*/ 1750 h 1833"/>
                  <a:gd name="T38" fmla="*/ 291 w 2417"/>
                  <a:gd name="T39" fmla="*/ 1833 h 1833"/>
                  <a:gd name="T40" fmla="*/ 500 w 2417"/>
                  <a:gd name="T41" fmla="*/ 1833 h 1833"/>
                  <a:gd name="T42" fmla="*/ 583 w 2417"/>
                  <a:gd name="T43" fmla="*/ 1750 h 1833"/>
                  <a:gd name="T44" fmla="*/ 583 w 2417"/>
                  <a:gd name="T45" fmla="*/ 1625 h 1833"/>
                  <a:gd name="T46" fmla="*/ 1833 w 2417"/>
                  <a:gd name="T47" fmla="*/ 1625 h 1833"/>
                  <a:gd name="T48" fmla="*/ 1833 w 2417"/>
                  <a:gd name="T49" fmla="*/ 1750 h 1833"/>
                  <a:gd name="T50" fmla="*/ 1917 w 2417"/>
                  <a:gd name="T51" fmla="*/ 1833 h 1833"/>
                  <a:gd name="T52" fmla="*/ 2125 w 2417"/>
                  <a:gd name="T53" fmla="*/ 1833 h 1833"/>
                  <a:gd name="T54" fmla="*/ 2208 w 2417"/>
                  <a:gd name="T55" fmla="*/ 1750 h 1833"/>
                  <a:gd name="T56" fmla="*/ 2208 w 2417"/>
                  <a:gd name="T57" fmla="*/ 1542 h 1833"/>
                  <a:gd name="T58" fmla="*/ 2208 w 2417"/>
                  <a:gd name="T59" fmla="*/ 1531 h 1833"/>
                  <a:gd name="T60" fmla="*/ 2271 w 2417"/>
                  <a:gd name="T61" fmla="*/ 1375 h 1833"/>
                  <a:gd name="T62" fmla="*/ 2312 w 2417"/>
                  <a:gd name="T63" fmla="*/ 875 h 1833"/>
                  <a:gd name="T64" fmla="*/ 2260 w 2417"/>
                  <a:gd name="T65" fmla="*/ 708 h 1833"/>
                  <a:gd name="T66" fmla="*/ 2323 w 2417"/>
                  <a:gd name="T67" fmla="*/ 708 h 1833"/>
                  <a:gd name="T68" fmla="*/ 2375 w 2417"/>
                  <a:gd name="T69" fmla="*/ 667 h 1833"/>
                  <a:gd name="T70" fmla="*/ 2417 w 2417"/>
                  <a:gd name="T71" fmla="*/ 542 h 1833"/>
                  <a:gd name="T72" fmla="*/ 2375 w 2417"/>
                  <a:gd name="T73" fmla="*/ 500 h 1833"/>
                  <a:gd name="T74" fmla="*/ 437 w 2417"/>
                  <a:gd name="T75" fmla="*/ 1177 h 1833"/>
                  <a:gd name="T76" fmla="*/ 281 w 2417"/>
                  <a:gd name="T77" fmla="*/ 1021 h 1833"/>
                  <a:gd name="T78" fmla="*/ 437 w 2417"/>
                  <a:gd name="T79" fmla="*/ 865 h 1833"/>
                  <a:gd name="T80" fmla="*/ 594 w 2417"/>
                  <a:gd name="T81" fmla="*/ 1021 h 1833"/>
                  <a:gd name="T82" fmla="*/ 437 w 2417"/>
                  <a:gd name="T83" fmla="*/ 1177 h 1833"/>
                  <a:gd name="T84" fmla="*/ 1614 w 2417"/>
                  <a:gd name="T85" fmla="*/ 1031 h 1833"/>
                  <a:gd name="T86" fmla="*/ 1594 w 2417"/>
                  <a:gd name="T87" fmla="*/ 1094 h 1833"/>
                  <a:gd name="T88" fmla="*/ 1417 w 2417"/>
                  <a:gd name="T89" fmla="*/ 1208 h 1833"/>
                  <a:gd name="T90" fmla="*/ 1000 w 2417"/>
                  <a:gd name="T91" fmla="*/ 1208 h 1833"/>
                  <a:gd name="T92" fmla="*/ 823 w 2417"/>
                  <a:gd name="T93" fmla="*/ 1094 h 1833"/>
                  <a:gd name="T94" fmla="*/ 802 w 2417"/>
                  <a:gd name="T95" fmla="*/ 1031 h 1833"/>
                  <a:gd name="T96" fmla="*/ 875 w 2417"/>
                  <a:gd name="T97" fmla="*/ 917 h 1833"/>
                  <a:gd name="T98" fmla="*/ 1542 w 2417"/>
                  <a:gd name="T99" fmla="*/ 917 h 1833"/>
                  <a:gd name="T100" fmla="*/ 1614 w 2417"/>
                  <a:gd name="T101" fmla="*/ 1031 h 1833"/>
                  <a:gd name="T102" fmla="*/ 510 w 2417"/>
                  <a:gd name="T103" fmla="*/ 625 h 1833"/>
                  <a:gd name="T104" fmla="*/ 635 w 2417"/>
                  <a:gd name="T105" fmla="*/ 323 h 1833"/>
                  <a:gd name="T106" fmla="*/ 750 w 2417"/>
                  <a:gd name="T107" fmla="*/ 250 h 1833"/>
                  <a:gd name="T108" fmla="*/ 1667 w 2417"/>
                  <a:gd name="T109" fmla="*/ 250 h 1833"/>
                  <a:gd name="T110" fmla="*/ 1781 w 2417"/>
                  <a:gd name="T111" fmla="*/ 323 h 1833"/>
                  <a:gd name="T112" fmla="*/ 1906 w 2417"/>
                  <a:gd name="T113" fmla="*/ 625 h 1833"/>
                  <a:gd name="T114" fmla="*/ 510 w 2417"/>
                  <a:gd name="T115" fmla="*/ 625 h 1833"/>
                  <a:gd name="T116" fmla="*/ 1979 w 2417"/>
                  <a:gd name="T117" fmla="*/ 1177 h 1833"/>
                  <a:gd name="T118" fmla="*/ 1823 w 2417"/>
                  <a:gd name="T119" fmla="*/ 1021 h 1833"/>
                  <a:gd name="T120" fmla="*/ 1979 w 2417"/>
                  <a:gd name="T121" fmla="*/ 865 h 1833"/>
                  <a:gd name="T122" fmla="*/ 2135 w 2417"/>
                  <a:gd name="T123" fmla="*/ 1021 h 1833"/>
                  <a:gd name="T124" fmla="*/ 1979 w 2417"/>
                  <a:gd name="T125" fmla="*/ 1177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7" h="1833">
                    <a:moveTo>
                      <a:pt x="2375" y="500"/>
                    </a:moveTo>
                    <a:cubicBezTo>
                      <a:pt x="2375" y="500"/>
                      <a:pt x="2250" y="500"/>
                      <a:pt x="2167" y="500"/>
                    </a:cubicBezTo>
                    <a:cubicBezTo>
                      <a:pt x="2156" y="500"/>
                      <a:pt x="2146" y="510"/>
                      <a:pt x="2135" y="521"/>
                    </a:cubicBezTo>
                    <a:cubicBezTo>
                      <a:pt x="2010" y="229"/>
                      <a:pt x="2010" y="229"/>
                      <a:pt x="2010" y="229"/>
                    </a:cubicBezTo>
                    <a:cubicBezTo>
                      <a:pt x="1958" y="104"/>
                      <a:pt x="1812" y="0"/>
                      <a:pt x="1667" y="0"/>
                    </a:cubicBezTo>
                    <a:cubicBezTo>
                      <a:pt x="750" y="0"/>
                      <a:pt x="750" y="0"/>
                      <a:pt x="750" y="0"/>
                    </a:cubicBezTo>
                    <a:cubicBezTo>
                      <a:pt x="614" y="0"/>
                      <a:pt x="458" y="94"/>
                      <a:pt x="406" y="229"/>
                    </a:cubicBezTo>
                    <a:cubicBezTo>
                      <a:pt x="281" y="510"/>
                      <a:pt x="281" y="510"/>
                      <a:pt x="281" y="510"/>
                    </a:cubicBezTo>
                    <a:cubicBezTo>
                      <a:pt x="271" y="510"/>
                      <a:pt x="260" y="500"/>
                      <a:pt x="250" y="500"/>
                    </a:cubicBezTo>
                    <a:cubicBezTo>
                      <a:pt x="166" y="500"/>
                      <a:pt x="41" y="500"/>
                      <a:pt x="41" y="500"/>
                    </a:cubicBezTo>
                    <a:cubicBezTo>
                      <a:pt x="41" y="500"/>
                      <a:pt x="0" y="500"/>
                      <a:pt x="0" y="542"/>
                    </a:cubicBezTo>
                    <a:cubicBezTo>
                      <a:pt x="0" y="583"/>
                      <a:pt x="41" y="667"/>
                      <a:pt x="41" y="667"/>
                    </a:cubicBezTo>
                    <a:cubicBezTo>
                      <a:pt x="41" y="667"/>
                      <a:pt x="62" y="708"/>
                      <a:pt x="104" y="708"/>
                    </a:cubicBezTo>
                    <a:cubicBezTo>
                      <a:pt x="114" y="708"/>
                      <a:pt x="135" y="708"/>
                      <a:pt x="156" y="708"/>
                    </a:cubicBezTo>
                    <a:cubicBezTo>
                      <a:pt x="114" y="750"/>
                      <a:pt x="93" y="813"/>
                      <a:pt x="104" y="875"/>
                    </a:cubicBezTo>
                    <a:cubicBezTo>
                      <a:pt x="146" y="1375"/>
                      <a:pt x="146" y="1375"/>
                      <a:pt x="146" y="1375"/>
                    </a:cubicBezTo>
                    <a:cubicBezTo>
                      <a:pt x="146" y="1438"/>
                      <a:pt x="177" y="1490"/>
                      <a:pt x="208" y="1531"/>
                    </a:cubicBezTo>
                    <a:cubicBezTo>
                      <a:pt x="208" y="1531"/>
                      <a:pt x="208" y="1531"/>
                      <a:pt x="208" y="1542"/>
                    </a:cubicBezTo>
                    <a:cubicBezTo>
                      <a:pt x="208" y="1750"/>
                      <a:pt x="208" y="1750"/>
                      <a:pt x="208" y="1750"/>
                    </a:cubicBezTo>
                    <a:cubicBezTo>
                      <a:pt x="208" y="1792"/>
                      <a:pt x="250" y="1833"/>
                      <a:pt x="291" y="1833"/>
                    </a:cubicBezTo>
                    <a:cubicBezTo>
                      <a:pt x="500" y="1833"/>
                      <a:pt x="500" y="1833"/>
                      <a:pt x="500" y="1833"/>
                    </a:cubicBezTo>
                    <a:cubicBezTo>
                      <a:pt x="541" y="1833"/>
                      <a:pt x="583" y="1792"/>
                      <a:pt x="583" y="1750"/>
                    </a:cubicBezTo>
                    <a:cubicBezTo>
                      <a:pt x="583" y="1625"/>
                      <a:pt x="583" y="1625"/>
                      <a:pt x="583" y="1625"/>
                    </a:cubicBezTo>
                    <a:cubicBezTo>
                      <a:pt x="1833" y="1625"/>
                      <a:pt x="1833" y="1625"/>
                      <a:pt x="1833" y="1625"/>
                    </a:cubicBezTo>
                    <a:cubicBezTo>
                      <a:pt x="1833" y="1750"/>
                      <a:pt x="1833" y="1750"/>
                      <a:pt x="1833" y="1750"/>
                    </a:cubicBezTo>
                    <a:cubicBezTo>
                      <a:pt x="1833" y="1792"/>
                      <a:pt x="1875" y="1833"/>
                      <a:pt x="1917" y="1833"/>
                    </a:cubicBezTo>
                    <a:cubicBezTo>
                      <a:pt x="2125" y="1833"/>
                      <a:pt x="2125" y="1833"/>
                      <a:pt x="2125" y="1833"/>
                    </a:cubicBezTo>
                    <a:cubicBezTo>
                      <a:pt x="2167" y="1833"/>
                      <a:pt x="2208" y="1792"/>
                      <a:pt x="2208" y="1750"/>
                    </a:cubicBezTo>
                    <a:cubicBezTo>
                      <a:pt x="2208" y="1542"/>
                      <a:pt x="2208" y="1542"/>
                      <a:pt x="2208" y="1542"/>
                    </a:cubicBezTo>
                    <a:cubicBezTo>
                      <a:pt x="2208" y="1531"/>
                      <a:pt x="2208" y="1531"/>
                      <a:pt x="2208" y="1531"/>
                    </a:cubicBezTo>
                    <a:cubicBezTo>
                      <a:pt x="2240" y="1490"/>
                      <a:pt x="2271" y="1438"/>
                      <a:pt x="2271" y="1375"/>
                    </a:cubicBezTo>
                    <a:cubicBezTo>
                      <a:pt x="2312" y="875"/>
                      <a:pt x="2312" y="875"/>
                      <a:pt x="2312" y="875"/>
                    </a:cubicBezTo>
                    <a:cubicBezTo>
                      <a:pt x="2323" y="813"/>
                      <a:pt x="2302" y="750"/>
                      <a:pt x="2260" y="708"/>
                    </a:cubicBezTo>
                    <a:cubicBezTo>
                      <a:pt x="2292" y="708"/>
                      <a:pt x="2312" y="708"/>
                      <a:pt x="2323" y="708"/>
                    </a:cubicBezTo>
                    <a:cubicBezTo>
                      <a:pt x="2365" y="708"/>
                      <a:pt x="2375" y="667"/>
                      <a:pt x="2375" y="667"/>
                    </a:cubicBezTo>
                    <a:cubicBezTo>
                      <a:pt x="2375" y="667"/>
                      <a:pt x="2417" y="583"/>
                      <a:pt x="2417" y="542"/>
                    </a:cubicBezTo>
                    <a:cubicBezTo>
                      <a:pt x="2417" y="500"/>
                      <a:pt x="2375" y="500"/>
                      <a:pt x="2375" y="500"/>
                    </a:cubicBezTo>
                    <a:close/>
                    <a:moveTo>
                      <a:pt x="437" y="1177"/>
                    </a:moveTo>
                    <a:cubicBezTo>
                      <a:pt x="354" y="1177"/>
                      <a:pt x="281" y="1104"/>
                      <a:pt x="281" y="1021"/>
                    </a:cubicBezTo>
                    <a:cubicBezTo>
                      <a:pt x="281" y="938"/>
                      <a:pt x="354" y="865"/>
                      <a:pt x="437" y="865"/>
                    </a:cubicBezTo>
                    <a:cubicBezTo>
                      <a:pt x="521" y="865"/>
                      <a:pt x="594" y="938"/>
                      <a:pt x="594" y="1021"/>
                    </a:cubicBezTo>
                    <a:cubicBezTo>
                      <a:pt x="594" y="1104"/>
                      <a:pt x="521" y="1177"/>
                      <a:pt x="437" y="1177"/>
                    </a:cubicBezTo>
                    <a:close/>
                    <a:moveTo>
                      <a:pt x="1614" y="1031"/>
                    </a:moveTo>
                    <a:cubicBezTo>
                      <a:pt x="1594" y="1094"/>
                      <a:pt x="1594" y="1094"/>
                      <a:pt x="1594" y="1094"/>
                    </a:cubicBezTo>
                    <a:cubicBezTo>
                      <a:pt x="1562" y="1156"/>
                      <a:pt x="1489" y="1208"/>
                      <a:pt x="1417" y="1208"/>
                    </a:cubicBezTo>
                    <a:cubicBezTo>
                      <a:pt x="1000" y="1208"/>
                      <a:pt x="1000" y="1208"/>
                      <a:pt x="1000" y="1208"/>
                    </a:cubicBezTo>
                    <a:cubicBezTo>
                      <a:pt x="927" y="1208"/>
                      <a:pt x="854" y="1156"/>
                      <a:pt x="823" y="1094"/>
                    </a:cubicBezTo>
                    <a:cubicBezTo>
                      <a:pt x="802" y="1031"/>
                      <a:pt x="802" y="1031"/>
                      <a:pt x="802" y="1031"/>
                    </a:cubicBezTo>
                    <a:cubicBezTo>
                      <a:pt x="771" y="969"/>
                      <a:pt x="802" y="917"/>
                      <a:pt x="875" y="917"/>
                    </a:cubicBezTo>
                    <a:cubicBezTo>
                      <a:pt x="1542" y="917"/>
                      <a:pt x="1542" y="917"/>
                      <a:pt x="1542" y="917"/>
                    </a:cubicBezTo>
                    <a:cubicBezTo>
                      <a:pt x="1614" y="917"/>
                      <a:pt x="1646" y="969"/>
                      <a:pt x="1614" y="1031"/>
                    </a:cubicBezTo>
                    <a:close/>
                    <a:moveTo>
                      <a:pt x="510" y="625"/>
                    </a:moveTo>
                    <a:cubicBezTo>
                      <a:pt x="635" y="323"/>
                      <a:pt x="635" y="323"/>
                      <a:pt x="635" y="323"/>
                    </a:cubicBezTo>
                    <a:cubicBezTo>
                      <a:pt x="656" y="292"/>
                      <a:pt x="708" y="250"/>
                      <a:pt x="750" y="250"/>
                    </a:cubicBezTo>
                    <a:cubicBezTo>
                      <a:pt x="1667" y="250"/>
                      <a:pt x="1667" y="250"/>
                      <a:pt x="1667" y="250"/>
                    </a:cubicBezTo>
                    <a:cubicBezTo>
                      <a:pt x="1708" y="250"/>
                      <a:pt x="1771" y="292"/>
                      <a:pt x="1781" y="323"/>
                    </a:cubicBezTo>
                    <a:cubicBezTo>
                      <a:pt x="1906" y="625"/>
                      <a:pt x="1906" y="625"/>
                      <a:pt x="1906" y="625"/>
                    </a:cubicBezTo>
                    <a:lnTo>
                      <a:pt x="510" y="625"/>
                    </a:lnTo>
                    <a:close/>
                    <a:moveTo>
                      <a:pt x="1979" y="1177"/>
                    </a:moveTo>
                    <a:cubicBezTo>
                      <a:pt x="1896" y="1177"/>
                      <a:pt x="1823" y="1104"/>
                      <a:pt x="1823" y="1021"/>
                    </a:cubicBezTo>
                    <a:cubicBezTo>
                      <a:pt x="1823" y="938"/>
                      <a:pt x="1896" y="865"/>
                      <a:pt x="1979" y="865"/>
                    </a:cubicBezTo>
                    <a:cubicBezTo>
                      <a:pt x="2062" y="865"/>
                      <a:pt x="2135" y="938"/>
                      <a:pt x="2135" y="1021"/>
                    </a:cubicBezTo>
                    <a:cubicBezTo>
                      <a:pt x="2135" y="1104"/>
                      <a:pt x="2062" y="1177"/>
                      <a:pt x="1979" y="1177"/>
                    </a:cubicBezTo>
                    <a:close/>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a:lstStyle>
              <a:p>
                <a:endParaRPr lang="en-US" sz="2533"/>
              </a:p>
            </p:txBody>
          </p:sp>
        </p:grpSp>
        <p:grpSp>
          <p:nvGrpSpPr>
            <p:cNvPr id="20" name="Group 19">
              <a:extLst>
                <a:ext uri="{FF2B5EF4-FFF2-40B4-BE49-F238E27FC236}">
                  <a16:creationId xmlns:a16="http://schemas.microsoft.com/office/drawing/2014/main" id="{829FD7B3-A220-4D32-957C-84183C9C2F3E}"/>
                </a:ext>
              </a:extLst>
            </p:cNvPr>
            <p:cNvGrpSpPr/>
            <p:nvPr/>
          </p:nvGrpSpPr>
          <p:grpSpPr>
            <a:xfrm>
              <a:off x="9894578" y="4545230"/>
              <a:ext cx="1000520" cy="1038524"/>
              <a:chOff x="9037501" y="3971856"/>
              <a:chExt cx="1374305" cy="1426507"/>
            </a:xfrm>
          </p:grpSpPr>
          <p:grpSp>
            <p:nvGrpSpPr>
              <p:cNvPr id="19" name="Group 18">
                <a:extLst>
                  <a:ext uri="{FF2B5EF4-FFF2-40B4-BE49-F238E27FC236}">
                    <a16:creationId xmlns:a16="http://schemas.microsoft.com/office/drawing/2014/main" id="{DD227EF3-F0D7-4AD3-872C-F9C48BDA7932}"/>
                  </a:ext>
                </a:extLst>
              </p:cNvPr>
              <p:cNvGrpSpPr/>
              <p:nvPr/>
            </p:nvGrpSpPr>
            <p:grpSpPr>
              <a:xfrm>
                <a:off x="9037501" y="4685909"/>
                <a:ext cx="693268" cy="514373"/>
                <a:chOff x="8020594" y="2602595"/>
                <a:chExt cx="693268" cy="514373"/>
              </a:xfrm>
              <a:solidFill>
                <a:srgbClr val="7E249F"/>
              </a:solidFill>
            </p:grpSpPr>
            <p:sp>
              <p:nvSpPr>
                <p:cNvPr id="9" name="Freeform 10">
                  <a:extLst>
                    <a:ext uri="{FF2B5EF4-FFF2-40B4-BE49-F238E27FC236}">
                      <a16:creationId xmlns:a16="http://schemas.microsoft.com/office/drawing/2014/main" id="{64124CF4-6518-4F82-AD81-39696A32F272}"/>
                    </a:ext>
                  </a:extLst>
                </p:cNvPr>
                <p:cNvSpPr>
                  <a:spLocks/>
                </p:cNvSpPr>
                <p:nvPr/>
              </p:nvSpPr>
              <p:spPr bwMode="auto">
                <a:xfrm>
                  <a:off x="8020594" y="2719207"/>
                  <a:ext cx="110108" cy="397761"/>
                </a:xfrm>
                <a:custGeom>
                  <a:avLst/>
                  <a:gdLst>
                    <a:gd name="T0" fmla="*/ 194 w 219"/>
                    <a:gd name="T1" fmla="*/ 0 h 995"/>
                    <a:gd name="T2" fmla="*/ 0 w 219"/>
                    <a:gd name="T3" fmla="*/ 194 h 995"/>
                    <a:gd name="T4" fmla="*/ 0 w 219"/>
                    <a:gd name="T5" fmla="*/ 801 h 995"/>
                    <a:gd name="T6" fmla="*/ 194 w 219"/>
                    <a:gd name="T7" fmla="*/ 995 h 995"/>
                    <a:gd name="T8" fmla="*/ 219 w 219"/>
                    <a:gd name="T9" fmla="*/ 995 h 995"/>
                    <a:gd name="T10" fmla="*/ 219 w 219"/>
                    <a:gd name="T11" fmla="*/ 0 h 995"/>
                    <a:gd name="T12" fmla="*/ 194 w 219"/>
                    <a:gd name="T13" fmla="*/ 0 h 995"/>
                  </a:gdLst>
                  <a:ahLst/>
                  <a:cxnLst>
                    <a:cxn ang="0">
                      <a:pos x="T0" y="T1"/>
                    </a:cxn>
                    <a:cxn ang="0">
                      <a:pos x="T2" y="T3"/>
                    </a:cxn>
                    <a:cxn ang="0">
                      <a:pos x="T4" y="T5"/>
                    </a:cxn>
                    <a:cxn ang="0">
                      <a:pos x="T6" y="T7"/>
                    </a:cxn>
                    <a:cxn ang="0">
                      <a:pos x="T8" y="T9"/>
                    </a:cxn>
                    <a:cxn ang="0">
                      <a:pos x="T10" y="T11"/>
                    </a:cxn>
                    <a:cxn ang="0">
                      <a:pos x="T12" y="T13"/>
                    </a:cxn>
                  </a:cxnLst>
                  <a:rect l="0" t="0" r="r" b="b"/>
                  <a:pathLst>
                    <a:path w="219" h="995">
                      <a:moveTo>
                        <a:pt x="194" y="0"/>
                      </a:moveTo>
                      <a:cubicBezTo>
                        <a:pt x="85" y="0"/>
                        <a:pt x="0" y="85"/>
                        <a:pt x="0" y="194"/>
                      </a:cubicBezTo>
                      <a:cubicBezTo>
                        <a:pt x="0" y="801"/>
                        <a:pt x="0" y="801"/>
                        <a:pt x="0" y="801"/>
                      </a:cubicBezTo>
                      <a:cubicBezTo>
                        <a:pt x="0" y="910"/>
                        <a:pt x="85" y="995"/>
                        <a:pt x="194" y="995"/>
                      </a:cubicBezTo>
                      <a:cubicBezTo>
                        <a:pt x="219" y="995"/>
                        <a:pt x="219" y="995"/>
                        <a:pt x="219" y="995"/>
                      </a:cubicBezTo>
                      <a:cubicBezTo>
                        <a:pt x="219" y="0"/>
                        <a:pt x="219" y="0"/>
                        <a:pt x="219" y="0"/>
                      </a:cubicBezTo>
                      <a:lnTo>
                        <a:pt x="194" y="0"/>
                      </a:lnTo>
                      <a:close/>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a:lstStyle>
                <a:p>
                  <a:endParaRPr lang="en-US" sz="2533"/>
                </a:p>
              </p:txBody>
            </p:sp>
            <p:sp>
              <p:nvSpPr>
                <p:cNvPr id="10" name="Freeform 11">
                  <a:extLst>
                    <a:ext uri="{FF2B5EF4-FFF2-40B4-BE49-F238E27FC236}">
                      <a16:creationId xmlns:a16="http://schemas.microsoft.com/office/drawing/2014/main" id="{28B1A950-428D-4FDB-8EF6-D718DFC4819E}"/>
                    </a:ext>
                  </a:extLst>
                </p:cNvPr>
                <p:cNvSpPr>
                  <a:spLocks/>
                </p:cNvSpPr>
                <p:nvPr/>
              </p:nvSpPr>
              <p:spPr bwMode="auto">
                <a:xfrm>
                  <a:off x="8601716" y="2719207"/>
                  <a:ext cx="112146" cy="397761"/>
                </a:xfrm>
                <a:custGeom>
                  <a:avLst/>
                  <a:gdLst>
                    <a:gd name="T0" fmla="*/ 25 w 219"/>
                    <a:gd name="T1" fmla="*/ 0 h 995"/>
                    <a:gd name="T2" fmla="*/ 0 w 219"/>
                    <a:gd name="T3" fmla="*/ 0 h 995"/>
                    <a:gd name="T4" fmla="*/ 0 w 219"/>
                    <a:gd name="T5" fmla="*/ 995 h 995"/>
                    <a:gd name="T6" fmla="*/ 25 w 219"/>
                    <a:gd name="T7" fmla="*/ 995 h 995"/>
                    <a:gd name="T8" fmla="*/ 219 w 219"/>
                    <a:gd name="T9" fmla="*/ 801 h 995"/>
                    <a:gd name="T10" fmla="*/ 219 w 219"/>
                    <a:gd name="T11" fmla="*/ 194 h 995"/>
                    <a:gd name="T12" fmla="*/ 25 w 219"/>
                    <a:gd name="T13" fmla="*/ 0 h 995"/>
                  </a:gdLst>
                  <a:ahLst/>
                  <a:cxnLst>
                    <a:cxn ang="0">
                      <a:pos x="T0" y="T1"/>
                    </a:cxn>
                    <a:cxn ang="0">
                      <a:pos x="T2" y="T3"/>
                    </a:cxn>
                    <a:cxn ang="0">
                      <a:pos x="T4" y="T5"/>
                    </a:cxn>
                    <a:cxn ang="0">
                      <a:pos x="T6" y="T7"/>
                    </a:cxn>
                    <a:cxn ang="0">
                      <a:pos x="T8" y="T9"/>
                    </a:cxn>
                    <a:cxn ang="0">
                      <a:pos x="T10" y="T11"/>
                    </a:cxn>
                    <a:cxn ang="0">
                      <a:pos x="T12" y="T13"/>
                    </a:cxn>
                  </a:cxnLst>
                  <a:rect l="0" t="0" r="r" b="b"/>
                  <a:pathLst>
                    <a:path w="219" h="995">
                      <a:moveTo>
                        <a:pt x="25" y="0"/>
                      </a:moveTo>
                      <a:cubicBezTo>
                        <a:pt x="0" y="0"/>
                        <a:pt x="0" y="0"/>
                        <a:pt x="0" y="0"/>
                      </a:cubicBezTo>
                      <a:cubicBezTo>
                        <a:pt x="0" y="995"/>
                        <a:pt x="0" y="995"/>
                        <a:pt x="0" y="995"/>
                      </a:cubicBezTo>
                      <a:cubicBezTo>
                        <a:pt x="25" y="995"/>
                        <a:pt x="25" y="995"/>
                        <a:pt x="25" y="995"/>
                      </a:cubicBezTo>
                      <a:cubicBezTo>
                        <a:pt x="134" y="995"/>
                        <a:pt x="219" y="910"/>
                        <a:pt x="219" y="801"/>
                      </a:cubicBezTo>
                      <a:cubicBezTo>
                        <a:pt x="219" y="194"/>
                        <a:pt x="219" y="194"/>
                        <a:pt x="219" y="194"/>
                      </a:cubicBezTo>
                      <a:cubicBezTo>
                        <a:pt x="219" y="85"/>
                        <a:pt x="134" y="0"/>
                        <a:pt x="25" y="0"/>
                      </a:cubicBezTo>
                      <a:close/>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a:lstStyle>
                <a:p>
                  <a:endParaRPr lang="en-US" sz="2533"/>
                </a:p>
              </p:txBody>
            </p:sp>
            <p:sp>
              <p:nvSpPr>
                <p:cNvPr id="11" name="Oval 10">
                  <a:extLst>
                    <a:ext uri="{FF2B5EF4-FFF2-40B4-BE49-F238E27FC236}">
                      <a16:creationId xmlns:a16="http://schemas.microsoft.com/office/drawing/2014/main" id="{F7B79830-1B12-490A-A58C-79655406F573}"/>
                    </a:ext>
                  </a:extLst>
                </p:cNvPr>
                <p:cNvSpPr>
                  <a:spLocks noChangeArrowheads="1"/>
                </p:cNvSpPr>
                <p:nvPr/>
              </p:nvSpPr>
              <p:spPr bwMode="auto">
                <a:xfrm>
                  <a:off x="8452868" y="2767130"/>
                  <a:ext cx="50975" cy="39936"/>
                </a:xfrm>
                <a:prstGeom prst="ellipse">
                  <a:avLst/>
                </a:pr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a:lstStyle>
                <a:p>
                  <a:endParaRPr lang="en-US" sz="2533"/>
                </a:p>
              </p:txBody>
            </p:sp>
            <p:sp>
              <p:nvSpPr>
                <p:cNvPr id="12" name="Freeform 13">
                  <a:extLst>
                    <a:ext uri="{FF2B5EF4-FFF2-40B4-BE49-F238E27FC236}">
                      <a16:creationId xmlns:a16="http://schemas.microsoft.com/office/drawing/2014/main" id="{8AEBDA8D-7872-47C9-B89E-8ABBDA02C682}"/>
                    </a:ext>
                  </a:extLst>
                </p:cNvPr>
                <p:cNvSpPr>
                  <a:spLocks noEditPoints="1"/>
                </p:cNvSpPr>
                <p:nvPr/>
              </p:nvSpPr>
              <p:spPr bwMode="auto">
                <a:xfrm>
                  <a:off x="8167404" y="2602595"/>
                  <a:ext cx="397610" cy="514373"/>
                </a:xfrm>
                <a:custGeom>
                  <a:avLst/>
                  <a:gdLst>
                    <a:gd name="T0" fmla="*/ 729 w 777"/>
                    <a:gd name="T1" fmla="*/ 292 h 1287"/>
                    <a:gd name="T2" fmla="*/ 729 w 777"/>
                    <a:gd name="T3" fmla="*/ 219 h 1287"/>
                    <a:gd name="T4" fmla="*/ 510 w 777"/>
                    <a:gd name="T5" fmla="*/ 0 h 1287"/>
                    <a:gd name="T6" fmla="*/ 268 w 777"/>
                    <a:gd name="T7" fmla="*/ 0 h 1287"/>
                    <a:gd name="T8" fmla="*/ 49 w 777"/>
                    <a:gd name="T9" fmla="*/ 219 h 1287"/>
                    <a:gd name="T10" fmla="*/ 49 w 777"/>
                    <a:gd name="T11" fmla="*/ 292 h 1287"/>
                    <a:gd name="T12" fmla="*/ 0 w 777"/>
                    <a:gd name="T13" fmla="*/ 292 h 1287"/>
                    <a:gd name="T14" fmla="*/ 0 w 777"/>
                    <a:gd name="T15" fmla="*/ 1287 h 1287"/>
                    <a:gd name="T16" fmla="*/ 777 w 777"/>
                    <a:gd name="T17" fmla="*/ 1287 h 1287"/>
                    <a:gd name="T18" fmla="*/ 777 w 777"/>
                    <a:gd name="T19" fmla="*/ 292 h 1287"/>
                    <a:gd name="T20" fmla="*/ 729 w 777"/>
                    <a:gd name="T21" fmla="*/ 292 h 1287"/>
                    <a:gd name="T22" fmla="*/ 195 w 777"/>
                    <a:gd name="T23" fmla="*/ 219 h 1287"/>
                    <a:gd name="T24" fmla="*/ 268 w 777"/>
                    <a:gd name="T25" fmla="*/ 146 h 1287"/>
                    <a:gd name="T26" fmla="*/ 510 w 777"/>
                    <a:gd name="T27" fmla="*/ 146 h 1287"/>
                    <a:gd name="T28" fmla="*/ 583 w 777"/>
                    <a:gd name="T29" fmla="*/ 219 h 1287"/>
                    <a:gd name="T30" fmla="*/ 583 w 777"/>
                    <a:gd name="T31" fmla="*/ 292 h 1287"/>
                    <a:gd name="T32" fmla="*/ 195 w 777"/>
                    <a:gd name="T33" fmla="*/ 292 h 1287"/>
                    <a:gd name="T34" fmla="*/ 195 w 777"/>
                    <a:gd name="T35" fmla="*/ 219 h 1287"/>
                    <a:gd name="T36" fmla="*/ 705 w 777"/>
                    <a:gd name="T37" fmla="*/ 559 h 1287"/>
                    <a:gd name="T38" fmla="*/ 686 w 777"/>
                    <a:gd name="T39" fmla="*/ 601 h 1287"/>
                    <a:gd name="T40" fmla="*/ 456 w 777"/>
                    <a:gd name="T41" fmla="*/ 832 h 1287"/>
                    <a:gd name="T42" fmla="*/ 419 w 777"/>
                    <a:gd name="T43" fmla="*/ 832 h 1287"/>
                    <a:gd name="T44" fmla="*/ 237 w 777"/>
                    <a:gd name="T45" fmla="*/ 650 h 1287"/>
                    <a:gd name="T46" fmla="*/ 237 w 777"/>
                    <a:gd name="T47" fmla="*/ 613 h 1287"/>
                    <a:gd name="T48" fmla="*/ 468 w 777"/>
                    <a:gd name="T49" fmla="*/ 383 h 1287"/>
                    <a:gd name="T50" fmla="*/ 510 w 777"/>
                    <a:gd name="T51" fmla="*/ 364 h 1287"/>
                    <a:gd name="T52" fmla="*/ 680 w 777"/>
                    <a:gd name="T53" fmla="*/ 364 h 1287"/>
                    <a:gd name="T54" fmla="*/ 705 w 777"/>
                    <a:gd name="T55" fmla="*/ 389 h 1287"/>
                    <a:gd name="T56" fmla="*/ 705 w 777"/>
                    <a:gd name="T57" fmla="*/ 559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7" h="1287">
                      <a:moveTo>
                        <a:pt x="729" y="292"/>
                      </a:moveTo>
                      <a:cubicBezTo>
                        <a:pt x="729" y="219"/>
                        <a:pt x="729" y="219"/>
                        <a:pt x="729" y="219"/>
                      </a:cubicBezTo>
                      <a:cubicBezTo>
                        <a:pt x="729" y="97"/>
                        <a:pt x="632" y="0"/>
                        <a:pt x="510" y="0"/>
                      </a:cubicBezTo>
                      <a:cubicBezTo>
                        <a:pt x="268" y="0"/>
                        <a:pt x="268" y="0"/>
                        <a:pt x="268" y="0"/>
                      </a:cubicBezTo>
                      <a:cubicBezTo>
                        <a:pt x="146" y="0"/>
                        <a:pt x="49" y="97"/>
                        <a:pt x="49" y="219"/>
                      </a:cubicBezTo>
                      <a:cubicBezTo>
                        <a:pt x="49" y="292"/>
                        <a:pt x="49" y="292"/>
                        <a:pt x="49" y="292"/>
                      </a:cubicBezTo>
                      <a:cubicBezTo>
                        <a:pt x="0" y="292"/>
                        <a:pt x="0" y="292"/>
                        <a:pt x="0" y="292"/>
                      </a:cubicBezTo>
                      <a:cubicBezTo>
                        <a:pt x="0" y="1287"/>
                        <a:pt x="0" y="1287"/>
                        <a:pt x="0" y="1287"/>
                      </a:cubicBezTo>
                      <a:cubicBezTo>
                        <a:pt x="777" y="1287"/>
                        <a:pt x="777" y="1287"/>
                        <a:pt x="777" y="1287"/>
                      </a:cubicBezTo>
                      <a:cubicBezTo>
                        <a:pt x="777" y="292"/>
                        <a:pt x="777" y="292"/>
                        <a:pt x="777" y="292"/>
                      </a:cubicBezTo>
                      <a:lnTo>
                        <a:pt x="729" y="292"/>
                      </a:lnTo>
                      <a:close/>
                      <a:moveTo>
                        <a:pt x="195" y="219"/>
                      </a:moveTo>
                      <a:cubicBezTo>
                        <a:pt x="195" y="176"/>
                        <a:pt x="225" y="146"/>
                        <a:pt x="268" y="146"/>
                      </a:cubicBezTo>
                      <a:cubicBezTo>
                        <a:pt x="510" y="146"/>
                        <a:pt x="510" y="146"/>
                        <a:pt x="510" y="146"/>
                      </a:cubicBezTo>
                      <a:cubicBezTo>
                        <a:pt x="553" y="146"/>
                        <a:pt x="583" y="176"/>
                        <a:pt x="583" y="219"/>
                      </a:cubicBezTo>
                      <a:cubicBezTo>
                        <a:pt x="583" y="292"/>
                        <a:pt x="583" y="292"/>
                        <a:pt x="583" y="292"/>
                      </a:cubicBezTo>
                      <a:cubicBezTo>
                        <a:pt x="195" y="292"/>
                        <a:pt x="195" y="292"/>
                        <a:pt x="195" y="292"/>
                      </a:cubicBezTo>
                      <a:lnTo>
                        <a:pt x="195" y="219"/>
                      </a:lnTo>
                      <a:close/>
                      <a:moveTo>
                        <a:pt x="705" y="559"/>
                      </a:moveTo>
                      <a:cubicBezTo>
                        <a:pt x="705" y="571"/>
                        <a:pt x="699" y="589"/>
                        <a:pt x="686" y="601"/>
                      </a:cubicBezTo>
                      <a:cubicBezTo>
                        <a:pt x="456" y="832"/>
                        <a:pt x="456" y="832"/>
                        <a:pt x="456" y="832"/>
                      </a:cubicBezTo>
                      <a:cubicBezTo>
                        <a:pt x="444" y="844"/>
                        <a:pt x="431" y="844"/>
                        <a:pt x="419" y="832"/>
                      </a:cubicBezTo>
                      <a:cubicBezTo>
                        <a:pt x="237" y="650"/>
                        <a:pt x="237" y="650"/>
                        <a:pt x="237" y="650"/>
                      </a:cubicBezTo>
                      <a:cubicBezTo>
                        <a:pt x="225" y="638"/>
                        <a:pt x="225" y="625"/>
                        <a:pt x="237" y="613"/>
                      </a:cubicBezTo>
                      <a:cubicBezTo>
                        <a:pt x="468" y="383"/>
                        <a:pt x="468" y="383"/>
                        <a:pt x="468" y="383"/>
                      </a:cubicBezTo>
                      <a:cubicBezTo>
                        <a:pt x="480" y="370"/>
                        <a:pt x="498" y="364"/>
                        <a:pt x="510" y="364"/>
                      </a:cubicBezTo>
                      <a:cubicBezTo>
                        <a:pt x="680" y="364"/>
                        <a:pt x="680" y="364"/>
                        <a:pt x="680" y="364"/>
                      </a:cubicBezTo>
                      <a:cubicBezTo>
                        <a:pt x="692" y="364"/>
                        <a:pt x="705" y="377"/>
                        <a:pt x="705" y="389"/>
                      </a:cubicBezTo>
                      <a:lnTo>
                        <a:pt x="705" y="559"/>
                      </a:lnTo>
                      <a:close/>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a:lstStyle>
                <a:p>
                  <a:endParaRPr lang="en-US" sz="2533"/>
                </a:p>
              </p:txBody>
            </p:sp>
          </p:grpSp>
          <p:sp>
            <p:nvSpPr>
              <p:cNvPr id="15" name="Freeform 16">
                <a:extLst>
                  <a:ext uri="{FF2B5EF4-FFF2-40B4-BE49-F238E27FC236}">
                    <a16:creationId xmlns:a16="http://schemas.microsoft.com/office/drawing/2014/main" id="{07EC8AE2-EF18-4775-A494-8803EC99C935}"/>
                  </a:ext>
                </a:extLst>
              </p:cNvPr>
              <p:cNvSpPr>
                <a:spLocks noEditPoints="1"/>
              </p:cNvSpPr>
              <p:nvPr/>
            </p:nvSpPr>
            <p:spPr bwMode="auto">
              <a:xfrm>
                <a:off x="9747083" y="3971856"/>
                <a:ext cx="664723" cy="1426507"/>
              </a:xfrm>
              <a:custGeom>
                <a:avLst/>
                <a:gdLst>
                  <a:gd name="T0" fmla="*/ 650 w 1300"/>
                  <a:gd name="T1" fmla="*/ 1069 h 3564"/>
                  <a:gd name="T2" fmla="*/ 817 w 1300"/>
                  <a:gd name="T3" fmla="*/ 902 h 3564"/>
                  <a:gd name="T4" fmla="*/ 880 w 1300"/>
                  <a:gd name="T5" fmla="*/ 818 h 3564"/>
                  <a:gd name="T6" fmla="*/ 985 w 1300"/>
                  <a:gd name="T7" fmla="*/ 881 h 3564"/>
                  <a:gd name="T8" fmla="*/ 1237 w 1300"/>
                  <a:gd name="T9" fmla="*/ 1027 h 3564"/>
                  <a:gd name="T10" fmla="*/ 1300 w 1300"/>
                  <a:gd name="T11" fmla="*/ 1111 h 3564"/>
                  <a:gd name="T12" fmla="*/ 1300 w 1300"/>
                  <a:gd name="T13" fmla="*/ 1573 h 3564"/>
                  <a:gd name="T14" fmla="*/ 1300 w 1300"/>
                  <a:gd name="T15" fmla="*/ 2076 h 3564"/>
                  <a:gd name="T16" fmla="*/ 1048 w 1300"/>
                  <a:gd name="T17" fmla="*/ 2348 h 3564"/>
                  <a:gd name="T18" fmla="*/ 1048 w 1300"/>
                  <a:gd name="T19" fmla="*/ 2348 h 3564"/>
                  <a:gd name="T20" fmla="*/ 1048 w 1300"/>
                  <a:gd name="T21" fmla="*/ 3355 h 3564"/>
                  <a:gd name="T22" fmla="*/ 859 w 1300"/>
                  <a:gd name="T23" fmla="*/ 3564 h 3564"/>
                  <a:gd name="T24" fmla="*/ 859 w 1300"/>
                  <a:gd name="T25" fmla="*/ 3564 h 3564"/>
                  <a:gd name="T26" fmla="*/ 650 w 1300"/>
                  <a:gd name="T27" fmla="*/ 3355 h 3564"/>
                  <a:gd name="T28" fmla="*/ 440 w 1300"/>
                  <a:gd name="T29" fmla="*/ 3564 h 3564"/>
                  <a:gd name="T30" fmla="*/ 440 w 1300"/>
                  <a:gd name="T31" fmla="*/ 3564 h 3564"/>
                  <a:gd name="T32" fmla="*/ 230 w 1300"/>
                  <a:gd name="T33" fmla="*/ 3355 h 3564"/>
                  <a:gd name="T34" fmla="*/ 230 w 1300"/>
                  <a:gd name="T35" fmla="*/ 2348 h 3564"/>
                  <a:gd name="T36" fmla="*/ 230 w 1300"/>
                  <a:gd name="T37" fmla="*/ 2348 h 3564"/>
                  <a:gd name="T38" fmla="*/ 0 w 1300"/>
                  <a:gd name="T39" fmla="*/ 2076 h 3564"/>
                  <a:gd name="T40" fmla="*/ 0 w 1300"/>
                  <a:gd name="T41" fmla="*/ 1573 h 3564"/>
                  <a:gd name="T42" fmla="*/ 0 w 1300"/>
                  <a:gd name="T43" fmla="*/ 1111 h 3564"/>
                  <a:gd name="T44" fmla="*/ 42 w 1300"/>
                  <a:gd name="T45" fmla="*/ 1027 h 3564"/>
                  <a:gd name="T46" fmla="*/ 314 w 1300"/>
                  <a:gd name="T47" fmla="*/ 881 h 3564"/>
                  <a:gd name="T48" fmla="*/ 398 w 1300"/>
                  <a:gd name="T49" fmla="*/ 818 h 3564"/>
                  <a:gd name="T50" fmla="*/ 461 w 1300"/>
                  <a:gd name="T51" fmla="*/ 902 h 3564"/>
                  <a:gd name="T52" fmla="*/ 650 w 1300"/>
                  <a:gd name="T53" fmla="*/ 1069 h 3564"/>
                  <a:gd name="T54" fmla="*/ 650 w 1300"/>
                  <a:gd name="T55" fmla="*/ 0 h 3564"/>
                  <a:gd name="T56" fmla="*/ 335 w 1300"/>
                  <a:gd name="T57" fmla="*/ 356 h 3564"/>
                  <a:gd name="T58" fmla="*/ 335 w 1300"/>
                  <a:gd name="T59" fmla="*/ 377 h 3564"/>
                  <a:gd name="T60" fmla="*/ 314 w 1300"/>
                  <a:gd name="T61" fmla="*/ 398 h 3564"/>
                  <a:gd name="T62" fmla="*/ 356 w 1300"/>
                  <a:gd name="T63" fmla="*/ 545 h 3564"/>
                  <a:gd name="T64" fmla="*/ 377 w 1300"/>
                  <a:gd name="T65" fmla="*/ 545 h 3564"/>
                  <a:gd name="T66" fmla="*/ 398 w 1300"/>
                  <a:gd name="T67" fmla="*/ 608 h 3564"/>
                  <a:gd name="T68" fmla="*/ 880 w 1300"/>
                  <a:gd name="T69" fmla="*/ 608 h 3564"/>
                  <a:gd name="T70" fmla="*/ 901 w 1300"/>
                  <a:gd name="T71" fmla="*/ 545 h 3564"/>
                  <a:gd name="T72" fmla="*/ 943 w 1300"/>
                  <a:gd name="T73" fmla="*/ 545 h 3564"/>
                  <a:gd name="T74" fmla="*/ 964 w 1300"/>
                  <a:gd name="T75" fmla="*/ 398 h 3564"/>
                  <a:gd name="T76" fmla="*/ 943 w 1300"/>
                  <a:gd name="T77" fmla="*/ 377 h 3564"/>
                  <a:gd name="T78" fmla="*/ 943 w 1300"/>
                  <a:gd name="T79" fmla="*/ 356 h 3564"/>
                  <a:gd name="T80" fmla="*/ 650 w 1300"/>
                  <a:gd name="T81" fmla="*/ 0 h 3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0" h="3564">
                    <a:moveTo>
                      <a:pt x="650" y="1069"/>
                    </a:moveTo>
                    <a:cubicBezTo>
                      <a:pt x="817" y="902"/>
                      <a:pt x="817" y="902"/>
                      <a:pt x="817" y="902"/>
                    </a:cubicBezTo>
                    <a:cubicBezTo>
                      <a:pt x="880" y="818"/>
                      <a:pt x="880" y="818"/>
                      <a:pt x="880" y="818"/>
                    </a:cubicBezTo>
                    <a:cubicBezTo>
                      <a:pt x="901" y="839"/>
                      <a:pt x="922" y="860"/>
                      <a:pt x="985" y="881"/>
                    </a:cubicBezTo>
                    <a:cubicBezTo>
                      <a:pt x="1237" y="1027"/>
                      <a:pt x="1237" y="1027"/>
                      <a:pt x="1237" y="1027"/>
                    </a:cubicBezTo>
                    <a:cubicBezTo>
                      <a:pt x="1279" y="1048"/>
                      <a:pt x="1300" y="1048"/>
                      <a:pt x="1300" y="1111"/>
                    </a:cubicBezTo>
                    <a:cubicBezTo>
                      <a:pt x="1300" y="1573"/>
                      <a:pt x="1300" y="1573"/>
                      <a:pt x="1300" y="1573"/>
                    </a:cubicBezTo>
                    <a:cubicBezTo>
                      <a:pt x="1300" y="2076"/>
                      <a:pt x="1300" y="2076"/>
                      <a:pt x="1300" y="2076"/>
                    </a:cubicBezTo>
                    <a:cubicBezTo>
                      <a:pt x="1300" y="2202"/>
                      <a:pt x="1195" y="2327"/>
                      <a:pt x="1048" y="2348"/>
                    </a:cubicBezTo>
                    <a:cubicBezTo>
                      <a:pt x="1048" y="2348"/>
                      <a:pt x="1048" y="2348"/>
                      <a:pt x="1048" y="2348"/>
                    </a:cubicBezTo>
                    <a:cubicBezTo>
                      <a:pt x="1048" y="3355"/>
                      <a:pt x="1048" y="3355"/>
                      <a:pt x="1048" y="3355"/>
                    </a:cubicBezTo>
                    <a:cubicBezTo>
                      <a:pt x="1048" y="3480"/>
                      <a:pt x="964" y="3564"/>
                      <a:pt x="859" y="3564"/>
                    </a:cubicBezTo>
                    <a:cubicBezTo>
                      <a:pt x="859" y="3564"/>
                      <a:pt x="859" y="3564"/>
                      <a:pt x="859" y="3564"/>
                    </a:cubicBezTo>
                    <a:cubicBezTo>
                      <a:pt x="733" y="3564"/>
                      <a:pt x="650" y="3480"/>
                      <a:pt x="650" y="3355"/>
                    </a:cubicBezTo>
                    <a:cubicBezTo>
                      <a:pt x="650" y="3480"/>
                      <a:pt x="545" y="3564"/>
                      <a:pt x="440" y="3564"/>
                    </a:cubicBezTo>
                    <a:cubicBezTo>
                      <a:pt x="440" y="3564"/>
                      <a:pt x="440" y="3564"/>
                      <a:pt x="440" y="3564"/>
                    </a:cubicBezTo>
                    <a:cubicBezTo>
                      <a:pt x="314" y="3564"/>
                      <a:pt x="230" y="3480"/>
                      <a:pt x="230" y="3355"/>
                    </a:cubicBezTo>
                    <a:cubicBezTo>
                      <a:pt x="230" y="2348"/>
                      <a:pt x="230" y="2348"/>
                      <a:pt x="230" y="2348"/>
                    </a:cubicBezTo>
                    <a:cubicBezTo>
                      <a:pt x="230" y="2348"/>
                      <a:pt x="230" y="2348"/>
                      <a:pt x="230" y="2348"/>
                    </a:cubicBezTo>
                    <a:cubicBezTo>
                      <a:pt x="104" y="2327"/>
                      <a:pt x="0" y="2202"/>
                      <a:pt x="0" y="2076"/>
                    </a:cubicBezTo>
                    <a:cubicBezTo>
                      <a:pt x="0" y="1573"/>
                      <a:pt x="0" y="1573"/>
                      <a:pt x="0" y="1573"/>
                    </a:cubicBezTo>
                    <a:cubicBezTo>
                      <a:pt x="0" y="1111"/>
                      <a:pt x="0" y="1111"/>
                      <a:pt x="0" y="1111"/>
                    </a:cubicBezTo>
                    <a:cubicBezTo>
                      <a:pt x="0" y="1048"/>
                      <a:pt x="21" y="1048"/>
                      <a:pt x="42" y="1027"/>
                    </a:cubicBezTo>
                    <a:cubicBezTo>
                      <a:pt x="314" y="881"/>
                      <a:pt x="314" y="881"/>
                      <a:pt x="314" y="881"/>
                    </a:cubicBezTo>
                    <a:cubicBezTo>
                      <a:pt x="356" y="860"/>
                      <a:pt x="377" y="839"/>
                      <a:pt x="398" y="818"/>
                    </a:cubicBezTo>
                    <a:cubicBezTo>
                      <a:pt x="461" y="902"/>
                      <a:pt x="461" y="902"/>
                      <a:pt x="461" y="902"/>
                    </a:cubicBezTo>
                    <a:cubicBezTo>
                      <a:pt x="650" y="1069"/>
                      <a:pt x="650" y="1069"/>
                      <a:pt x="650" y="1069"/>
                    </a:cubicBezTo>
                    <a:close/>
                    <a:moveTo>
                      <a:pt x="650" y="0"/>
                    </a:moveTo>
                    <a:cubicBezTo>
                      <a:pt x="419" y="0"/>
                      <a:pt x="335" y="168"/>
                      <a:pt x="335" y="356"/>
                    </a:cubicBezTo>
                    <a:cubicBezTo>
                      <a:pt x="335" y="356"/>
                      <a:pt x="335" y="377"/>
                      <a:pt x="335" y="377"/>
                    </a:cubicBezTo>
                    <a:cubicBezTo>
                      <a:pt x="335" y="419"/>
                      <a:pt x="335" y="377"/>
                      <a:pt x="314" y="398"/>
                    </a:cubicBezTo>
                    <a:cubicBezTo>
                      <a:pt x="314" y="461"/>
                      <a:pt x="335" y="524"/>
                      <a:pt x="356" y="545"/>
                    </a:cubicBezTo>
                    <a:cubicBezTo>
                      <a:pt x="356" y="545"/>
                      <a:pt x="377" y="545"/>
                      <a:pt x="377" y="545"/>
                    </a:cubicBezTo>
                    <a:cubicBezTo>
                      <a:pt x="377" y="566"/>
                      <a:pt x="398" y="587"/>
                      <a:pt x="398" y="608"/>
                    </a:cubicBezTo>
                    <a:cubicBezTo>
                      <a:pt x="545" y="902"/>
                      <a:pt x="754" y="902"/>
                      <a:pt x="880" y="608"/>
                    </a:cubicBezTo>
                    <a:cubicBezTo>
                      <a:pt x="880" y="587"/>
                      <a:pt x="901" y="566"/>
                      <a:pt x="901" y="545"/>
                    </a:cubicBezTo>
                    <a:cubicBezTo>
                      <a:pt x="922" y="545"/>
                      <a:pt x="922" y="545"/>
                      <a:pt x="943" y="545"/>
                    </a:cubicBezTo>
                    <a:cubicBezTo>
                      <a:pt x="964" y="524"/>
                      <a:pt x="985" y="461"/>
                      <a:pt x="964" y="398"/>
                    </a:cubicBezTo>
                    <a:cubicBezTo>
                      <a:pt x="964" y="377"/>
                      <a:pt x="943" y="419"/>
                      <a:pt x="943" y="377"/>
                    </a:cubicBezTo>
                    <a:cubicBezTo>
                      <a:pt x="943" y="377"/>
                      <a:pt x="943" y="356"/>
                      <a:pt x="943" y="356"/>
                    </a:cubicBezTo>
                    <a:cubicBezTo>
                      <a:pt x="943" y="168"/>
                      <a:pt x="880" y="0"/>
                      <a:pt x="650" y="0"/>
                    </a:cubicBezTo>
                    <a:close/>
                  </a:path>
                </a:pathLst>
              </a:custGeom>
              <a:solidFill>
                <a:srgbClr val="7E249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a:lstStyle>
              <a:p>
                <a:endParaRPr lang="en-US" sz="2533"/>
              </a:p>
            </p:txBody>
          </p:sp>
        </p:grpSp>
      </p:grpSp>
      <p:sp>
        <p:nvSpPr>
          <p:cNvPr id="18" name="Rectangle 17">
            <a:extLst>
              <a:ext uri="{FF2B5EF4-FFF2-40B4-BE49-F238E27FC236}">
                <a16:creationId xmlns:a16="http://schemas.microsoft.com/office/drawing/2014/main" id="{3F394133-2F48-4AEB-9047-CE8CB977C9B3}"/>
              </a:ext>
            </a:extLst>
          </p:cNvPr>
          <p:cNvSpPr/>
          <p:nvPr/>
        </p:nvSpPr>
        <p:spPr>
          <a:xfrm>
            <a:off x="401036" y="1110693"/>
            <a:ext cx="7560000" cy="4065857"/>
          </a:xfrm>
          <a:prstGeom prst="rect">
            <a:avLst/>
          </a:prstGeom>
        </p:spPr>
        <p:txBody>
          <a:bodyPr wrap="square">
            <a:spAutoFit/>
          </a:bodyPr>
          <a:lstStyle/>
          <a:p>
            <a:pPr marL="609585">
              <a:lnSpc>
                <a:spcPct val="150000"/>
              </a:lnSpc>
            </a:pPr>
            <a:r>
              <a:rPr lang="en-US" sz="2400" b="1" dirty="0">
                <a:solidFill>
                  <a:srgbClr val="7E249F"/>
                </a:solidFill>
                <a:latin typeface="Calibri" panose="020F0502020204030204" pitchFamily="34" charset="0"/>
                <a:ea typeface="Calibri" panose="020F0502020204030204" pitchFamily="34" charset="0"/>
                <a:cs typeface="Times New Roman" panose="02020603050405020304" pitchFamily="18" charset="0"/>
              </a:rPr>
              <a:t>Instructions for Raising Travel Request</a:t>
            </a:r>
            <a:endParaRPr lang="en-US" sz="1600" b="1" dirty="0">
              <a:solidFill>
                <a:srgbClr val="7E249F"/>
              </a:solidFill>
              <a:latin typeface="Calibri" panose="020F0502020204030204" pitchFamily="34" charset="0"/>
              <a:ea typeface="Calibri" panose="020F0502020204030204" pitchFamily="34" charset="0"/>
              <a:cs typeface="Times New Roman" panose="02020603050405020304" pitchFamily="18" charset="0"/>
            </a:endParaRPr>
          </a:p>
          <a:p>
            <a:pPr marL="1066773" lvl="1" indent="-457189">
              <a:lnSpc>
                <a:spcPct val="150000"/>
              </a:lnSpc>
              <a:buFont typeface="+mj-lt"/>
              <a:buAutoNum type="arabicPeriod"/>
            </a:pPr>
            <a:r>
              <a:rPr lang="en-US"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 Log into BizX website @ </a:t>
            </a:r>
            <a:r>
              <a:rPr lang="en-US" u="sng" dirty="0">
                <a:solidFill>
                  <a:srgbClr val="1E3ADA"/>
                </a:solidFill>
                <a:latin typeface="Calibri" panose="020F0502020204030204" pitchFamily="34" charset="0"/>
                <a:ea typeface="Calibri" panose="020F0502020204030204" pitchFamily="34" charset="0"/>
                <a:cs typeface="Times New Roman" panose="02020603050405020304" pitchFamily="18" charset="0"/>
              </a:rPr>
              <a:t>https://bizx.infinite.com/ </a:t>
            </a:r>
          </a:p>
          <a:p>
            <a:pPr marL="1066773" lvl="1" indent="-457189">
              <a:lnSpc>
                <a:spcPct val="150000"/>
              </a:lnSpc>
              <a:buFont typeface="+mj-lt"/>
              <a:buAutoNum type="arabicPeriod"/>
            </a:pPr>
            <a:r>
              <a:rPr lang="en-US"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Click on “Travel”. Then “Travel Request”</a:t>
            </a:r>
          </a:p>
          <a:p>
            <a:pPr marL="1066773" lvl="1" indent="-457189">
              <a:lnSpc>
                <a:spcPct val="150000"/>
              </a:lnSpc>
              <a:buFont typeface="+mj-lt"/>
              <a:buAutoNum type="arabicPeriod"/>
            </a:pPr>
            <a:r>
              <a:rPr lang="en-US"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Fill in every section with a Red </a:t>
            </a:r>
            <a:r>
              <a:rPr lang="en-US" dirty="0">
                <a:solidFill>
                  <a:srgbClr val="FF0000"/>
                </a:solidFill>
                <a:latin typeface="Calibri" panose="020F0502020204030204" pitchFamily="34" charset="0"/>
                <a:ea typeface="Calibri" panose="020F0502020204030204" pitchFamily="34" charset="0"/>
                <a:cs typeface="Times New Roman" panose="02020603050405020304" pitchFamily="18" charset="0"/>
              </a:rPr>
              <a:t>*</a:t>
            </a:r>
          </a:p>
          <a:p>
            <a:pPr marL="1066773" lvl="1" indent="-457189">
              <a:buFont typeface="+mj-lt"/>
              <a:buAutoNum type="arabicPeriod"/>
            </a:pPr>
            <a:r>
              <a:rPr lang="en-US"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Fill in “Accommodation Reservation” if Hotel is needed, if not needed “Click” on “Not Required”</a:t>
            </a:r>
          </a:p>
          <a:p>
            <a:pPr marL="1066773" lvl="1" indent="-457189">
              <a:lnSpc>
                <a:spcPct val="150000"/>
              </a:lnSpc>
              <a:buFont typeface="+mj-lt"/>
              <a:buAutoNum type="arabicPeriod"/>
            </a:pPr>
            <a:r>
              <a:rPr lang="en-US"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Fill in Food Preference</a:t>
            </a:r>
          </a:p>
          <a:p>
            <a:pPr marL="1066773" lvl="1" indent="-457189">
              <a:lnSpc>
                <a:spcPct val="150000"/>
              </a:lnSpc>
              <a:buFont typeface="+mj-lt"/>
              <a:buAutoNum type="arabicPeriod"/>
            </a:pPr>
            <a:r>
              <a:rPr lang="en-US"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Fill in Seat or Aisle</a:t>
            </a:r>
          </a:p>
          <a:p>
            <a:pPr marL="1066773" lvl="1" indent="-457189">
              <a:lnSpc>
                <a:spcPct val="150000"/>
              </a:lnSpc>
              <a:buFont typeface="+mj-lt"/>
              <a:buAutoNum type="arabicPeriod"/>
            </a:pPr>
            <a:r>
              <a:rPr lang="en-US"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Click at bottom on “Submit”</a:t>
            </a:r>
          </a:p>
          <a:p>
            <a:pPr marL="1066773" lvl="1" indent="-457189">
              <a:lnSpc>
                <a:spcPct val="150000"/>
              </a:lnSpc>
              <a:spcAft>
                <a:spcPts val="1333"/>
              </a:spcAft>
              <a:buFont typeface="+mj-lt"/>
              <a:buAutoNum type="arabicPeriod"/>
            </a:pPr>
            <a:r>
              <a:rPr lang="en-US"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Send your TR100XXX to </a:t>
            </a:r>
            <a:r>
              <a:rPr lang="en-US" u="sng" dirty="0">
                <a:solidFill>
                  <a:srgbClr val="1E3ADA"/>
                </a:solidFill>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travel@earthlink.net</a:t>
            </a:r>
            <a:endParaRPr lang="en-US" dirty="0">
              <a:solidFill>
                <a:srgbClr val="1E3ADA"/>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002584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1507287-B83E-42D7-935B-C35F895CCAC0}"/>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TRAVEL</a:t>
            </a:r>
          </a:p>
        </p:txBody>
      </p:sp>
      <p:sp>
        <p:nvSpPr>
          <p:cNvPr id="7" name="Rectangle 6">
            <a:extLst>
              <a:ext uri="{FF2B5EF4-FFF2-40B4-BE49-F238E27FC236}">
                <a16:creationId xmlns:a16="http://schemas.microsoft.com/office/drawing/2014/main" id="{7E21FB0A-FA21-1190-9B4D-D80EBC220B3B}"/>
              </a:ext>
            </a:extLst>
          </p:cNvPr>
          <p:cNvSpPr/>
          <p:nvPr/>
        </p:nvSpPr>
        <p:spPr>
          <a:xfrm>
            <a:off x="6459794" y="3200400"/>
            <a:ext cx="4350774" cy="368710"/>
          </a:xfrm>
          <a:prstGeom prst="rect">
            <a:avLst/>
          </a:prstGeom>
          <a:noFill/>
          <a:ln w="57150">
            <a:solidFill>
              <a:srgbClr val="00B6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a:extLst>
              <a:ext uri="{FF2B5EF4-FFF2-40B4-BE49-F238E27FC236}">
                <a16:creationId xmlns:a16="http://schemas.microsoft.com/office/drawing/2014/main" id="{F94F6ABC-A649-08F0-3462-A2B882FFBD0A}"/>
              </a:ext>
            </a:extLst>
          </p:cNvPr>
          <p:cNvPicPr>
            <a:picLocks noChangeAspect="1"/>
          </p:cNvPicPr>
          <p:nvPr/>
        </p:nvPicPr>
        <p:blipFill>
          <a:blip r:embed="rId2"/>
          <a:stretch>
            <a:fillRect/>
          </a:stretch>
        </p:blipFill>
        <p:spPr>
          <a:xfrm>
            <a:off x="8972549" y="981074"/>
            <a:ext cx="1628775" cy="252327"/>
          </a:xfrm>
          <a:prstGeom prst="rect">
            <a:avLst/>
          </a:prstGeom>
        </p:spPr>
      </p:pic>
      <p:pic>
        <p:nvPicPr>
          <p:cNvPr id="6" name="Picture 5">
            <a:extLst>
              <a:ext uri="{FF2B5EF4-FFF2-40B4-BE49-F238E27FC236}">
                <a16:creationId xmlns:a16="http://schemas.microsoft.com/office/drawing/2014/main" id="{D1871B01-C81A-333C-AA77-9E21B0AE242B}"/>
              </a:ext>
            </a:extLst>
          </p:cNvPr>
          <p:cNvPicPr>
            <a:picLocks noChangeAspect="1"/>
          </p:cNvPicPr>
          <p:nvPr/>
        </p:nvPicPr>
        <p:blipFill>
          <a:blip r:embed="rId3"/>
          <a:stretch>
            <a:fillRect/>
          </a:stretch>
        </p:blipFill>
        <p:spPr>
          <a:xfrm>
            <a:off x="0" y="1049634"/>
            <a:ext cx="11993592" cy="5038952"/>
          </a:xfrm>
          <a:prstGeom prst="rect">
            <a:avLst/>
          </a:prstGeom>
          <a:ln>
            <a:solidFill>
              <a:srgbClr val="FFFF00"/>
            </a:solidFill>
          </a:ln>
        </p:spPr>
      </p:pic>
      <p:sp>
        <p:nvSpPr>
          <p:cNvPr id="8" name="Rectangle 7">
            <a:extLst>
              <a:ext uri="{FF2B5EF4-FFF2-40B4-BE49-F238E27FC236}">
                <a16:creationId xmlns:a16="http://schemas.microsoft.com/office/drawing/2014/main" id="{009A4D6C-3DC5-EB90-038E-939F23B936BB}"/>
              </a:ext>
            </a:extLst>
          </p:cNvPr>
          <p:cNvSpPr/>
          <p:nvPr/>
        </p:nvSpPr>
        <p:spPr>
          <a:xfrm>
            <a:off x="2191109" y="2838090"/>
            <a:ext cx="1121433" cy="1069675"/>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ED9772F-111F-180A-3887-5EF0ADE2174F}"/>
              </a:ext>
            </a:extLst>
          </p:cNvPr>
          <p:cNvSpPr/>
          <p:nvPr/>
        </p:nvSpPr>
        <p:spPr>
          <a:xfrm>
            <a:off x="9042400" y="2201962"/>
            <a:ext cx="2560128" cy="368710"/>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39167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330699" y="6472988"/>
            <a:ext cx="3543300" cy="226168"/>
          </a:xfrm>
          <a:prstGeom prst="rect">
            <a:avLst/>
          </a:prstGeom>
        </p:spPr>
      </p:pic>
      <p:sp>
        <p:nvSpPr>
          <p:cNvPr id="5" name="TextBox 4">
            <a:extLst>
              <a:ext uri="{FF2B5EF4-FFF2-40B4-BE49-F238E27FC236}">
                <a16:creationId xmlns:a16="http://schemas.microsoft.com/office/drawing/2014/main" id="{5F967B65-6551-49B0-9DE0-DA9942DB957C}"/>
              </a:ext>
            </a:extLst>
          </p:cNvPr>
          <p:cNvSpPr txBox="1"/>
          <p:nvPr/>
        </p:nvSpPr>
        <p:spPr>
          <a:xfrm>
            <a:off x="76698" y="246156"/>
            <a:ext cx="7970022"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TRAVEL</a:t>
            </a:r>
          </a:p>
        </p:txBody>
      </p:sp>
      <p:pic>
        <p:nvPicPr>
          <p:cNvPr id="3" name="Picture 2">
            <a:extLst>
              <a:ext uri="{FF2B5EF4-FFF2-40B4-BE49-F238E27FC236}">
                <a16:creationId xmlns:a16="http://schemas.microsoft.com/office/drawing/2014/main" id="{CD12D093-CB34-DC24-2A5F-64BE586686FD}"/>
              </a:ext>
            </a:extLst>
          </p:cNvPr>
          <p:cNvPicPr>
            <a:picLocks noChangeAspect="1"/>
          </p:cNvPicPr>
          <p:nvPr/>
        </p:nvPicPr>
        <p:blipFill>
          <a:blip r:embed="rId3"/>
          <a:stretch>
            <a:fillRect/>
          </a:stretch>
        </p:blipFill>
        <p:spPr>
          <a:xfrm>
            <a:off x="1620982" y="585436"/>
            <a:ext cx="10303164" cy="2858706"/>
          </a:xfrm>
          <a:prstGeom prst="rect">
            <a:avLst/>
          </a:prstGeom>
          <a:ln w="38100">
            <a:solidFill>
              <a:schemeClr val="tx1"/>
            </a:solidFill>
          </a:ln>
        </p:spPr>
      </p:pic>
      <p:pic>
        <p:nvPicPr>
          <p:cNvPr id="7" name="Picture 6">
            <a:extLst>
              <a:ext uri="{FF2B5EF4-FFF2-40B4-BE49-F238E27FC236}">
                <a16:creationId xmlns:a16="http://schemas.microsoft.com/office/drawing/2014/main" id="{4E1A5F74-6E36-BD93-5CA9-DE0466FBD36E}"/>
              </a:ext>
            </a:extLst>
          </p:cNvPr>
          <p:cNvPicPr>
            <a:picLocks noChangeAspect="1"/>
          </p:cNvPicPr>
          <p:nvPr/>
        </p:nvPicPr>
        <p:blipFill>
          <a:blip r:embed="rId4"/>
          <a:stretch>
            <a:fillRect/>
          </a:stretch>
        </p:blipFill>
        <p:spPr>
          <a:xfrm>
            <a:off x="1620982" y="3588002"/>
            <a:ext cx="10303164" cy="2998070"/>
          </a:xfrm>
          <a:prstGeom prst="rect">
            <a:avLst/>
          </a:prstGeom>
          <a:ln w="38100">
            <a:solidFill>
              <a:schemeClr val="tx1"/>
            </a:solidFill>
          </a:ln>
        </p:spPr>
      </p:pic>
    </p:spTree>
    <p:extLst>
      <p:ext uri="{BB962C8B-B14F-4D97-AF65-F5344CB8AC3E}">
        <p14:creationId xmlns:p14="http://schemas.microsoft.com/office/powerpoint/2010/main" val="4885169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916FEB1-7FBD-45AC-9724-FDBFF53819BE}"/>
              </a:ext>
            </a:extLst>
          </p:cNvPr>
          <p:cNvSpPr txBox="1"/>
          <p:nvPr/>
        </p:nvSpPr>
        <p:spPr>
          <a:xfrm>
            <a:off x="76697" y="246156"/>
            <a:ext cx="10271989"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EXPENSE </a:t>
            </a:r>
            <a:r>
              <a:rPr lang="en-US" sz="3200" spc="-150" dirty="0">
                <a:solidFill>
                  <a:srgbClr val="1E3ADA"/>
                </a:solidFill>
                <a:latin typeface="Work Sans" panose="00000500000000000000" pitchFamily="50" charset="0"/>
                <a:cs typeface="Segoe UI" panose="020B0502040204020203" pitchFamily="34" charset="0"/>
              </a:rPr>
              <a:t>REIMBURSEMENT SCREEN SHOT OF CONCUR </a:t>
            </a:r>
          </a:p>
        </p:txBody>
      </p:sp>
      <p:sp>
        <p:nvSpPr>
          <p:cNvPr id="5" name="Text Placeholder 2">
            <a:extLst>
              <a:ext uri="{FF2B5EF4-FFF2-40B4-BE49-F238E27FC236}">
                <a16:creationId xmlns:a16="http://schemas.microsoft.com/office/drawing/2014/main" id="{F4801867-2D3A-460C-AAE0-B093D833E908}"/>
              </a:ext>
            </a:extLst>
          </p:cNvPr>
          <p:cNvSpPr txBox="1">
            <a:spLocks/>
          </p:cNvSpPr>
          <p:nvPr/>
        </p:nvSpPr>
        <p:spPr>
          <a:xfrm>
            <a:off x="1" y="1219201"/>
            <a:ext cx="11986787" cy="5003801"/>
          </a:xfrm>
        </p:spPr>
        <p:txBody>
          <a:bodyPr/>
          <a:lstStyle>
            <a:lvl1pPr marL="0" indent="0" algn="ctr">
              <a:buNone/>
              <a:defRPr sz="2400">
                <a:latin typeface="+mn-lt"/>
                <a:ea typeface="+mn-ea"/>
                <a:cs typeface="+mn-cs"/>
              </a:defRPr>
            </a:lvl1pPr>
            <a:lvl2pPr marL="457200" indent="0" algn="ctr">
              <a:buNone/>
              <a:defRPr sz="2000">
                <a:latin typeface="+mn-lt"/>
                <a:ea typeface="+mn-ea"/>
                <a:cs typeface="+mn-cs"/>
              </a:defRPr>
            </a:lvl2pPr>
            <a:lvl3pPr marL="914400" indent="0" algn="ctr">
              <a:buNone/>
              <a:defRPr sz="1800">
                <a:latin typeface="+mn-lt"/>
                <a:ea typeface="+mn-ea"/>
                <a:cs typeface="+mn-cs"/>
              </a:defRPr>
            </a:lvl3pPr>
            <a:lvl4pPr marL="1371600" indent="0" algn="ctr">
              <a:buNone/>
              <a:defRPr sz="1600">
                <a:latin typeface="+mn-lt"/>
                <a:ea typeface="+mn-ea"/>
                <a:cs typeface="+mn-cs"/>
              </a:defRPr>
            </a:lvl4pPr>
            <a:lvl5pPr marL="1828800" indent="0" algn="ctr">
              <a:buNone/>
              <a:defRPr sz="1600">
                <a:latin typeface="+mn-lt"/>
                <a:ea typeface="+mn-ea"/>
                <a:cs typeface="+mn-cs"/>
              </a:defRPr>
            </a:lvl5pPr>
            <a:lvl6pPr marL="2286000" indent="0" algn="ctr">
              <a:buNone/>
              <a:defRPr sz="1600">
                <a:latin typeface="+mn-lt"/>
                <a:ea typeface="+mn-ea"/>
                <a:cs typeface="+mn-cs"/>
              </a:defRPr>
            </a:lvl6pPr>
            <a:lvl7pPr marL="2743200" indent="0" algn="ctr">
              <a:buNone/>
              <a:defRPr sz="1600">
                <a:latin typeface="+mn-lt"/>
                <a:ea typeface="+mn-ea"/>
                <a:cs typeface="+mn-cs"/>
              </a:defRPr>
            </a:lvl7pPr>
            <a:lvl8pPr marL="3200400" indent="0" algn="ctr">
              <a:buNone/>
              <a:defRPr sz="1600">
                <a:latin typeface="+mn-lt"/>
                <a:ea typeface="+mn-ea"/>
                <a:cs typeface="+mn-cs"/>
              </a:defRPr>
            </a:lvl8pPr>
            <a:lvl9pPr marL="3657600" indent="0" algn="ctr">
              <a:buNone/>
              <a:defRPr sz="1600">
                <a:latin typeface="+mn-lt"/>
                <a:ea typeface="+mn-ea"/>
                <a:cs typeface="+mn-cs"/>
              </a:defRPr>
            </a:lvl9pPr>
          </a:lstStyle>
          <a:p>
            <a:pPr marL="609585" lvl="1">
              <a:lnSpc>
                <a:spcPct val="115000"/>
              </a:lnSpc>
            </a:pPr>
            <a:endParaRPr lang="en-US" kern="0" dirty="0">
              <a:solidFill>
                <a:schemeClr val="tx1">
                  <a:lumMod val="75000"/>
                  <a:lumOff val="25000"/>
                </a:schemeClr>
              </a:solidFill>
              <a:latin typeface="+mj-lt"/>
            </a:endParaRPr>
          </a:p>
          <a:p>
            <a:pPr marL="609585" lvl="1">
              <a:lnSpc>
                <a:spcPct val="115000"/>
              </a:lnSpc>
            </a:pPr>
            <a:endParaRPr lang="en-US" sz="2133" kern="0" dirty="0">
              <a:solidFill>
                <a:schemeClr val="tx1">
                  <a:lumMod val="75000"/>
                  <a:lumOff val="25000"/>
                </a:schemeClr>
              </a:solidFill>
              <a:latin typeface="+mj-lt"/>
              <a:ea typeface="Calibri" panose="020F0502020204030204" pitchFamily="34" charset="0"/>
              <a:cs typeface="Times New Roman" panose="02020603050405020304" pitchFamily="18" charset="0"/>
            </a:endParaRPr>
          </a:p>
          <a:p>
            <a:pPr marL="609585" lvl="1">
              <a:lnSpc>
                <a:spcPct val="115000"/>
              </a:lnSpc>
            </a:pPr>
            <a:endParaRPr lang="en-US" sz="2133" kern="0" dirty="0">
              <a:solidFill>
                <a:schemeClr val="tx1">
                  <a:lumMod val="75000"/>
                  <a:lumOff val="25000"/>
                </a:schemeClr>
              </a:solidFill>
              <a:latin typeface="+mj-lt"/>
              <a:ea typeface="Calibri" panose="020F0502020204030204" pitchFamily="34" charset="0"/>
              <a:cs typeface="Times New Roman" panose="02020603050405020304" pitchFamily="18" charset="0"/>
            </a:endParaRPr>
          </a:p>
          <a:p>
            <a:pPr marL="609585" lvl="1">
              <a:lnSpc>
                <a:spcPct val="115000"/>
              </a:lnSpc>
            </a:pPr>
            <a:r>
              <a:rPr lang="en-US" sz="2133" kern="0" dirty="0">
                <a:solidFill>
                  <a:schemeClr val="tx1">
                    <a:lumMod val="75000"/>
                    <a:lumOff val="25000"/>
                  </a:schemeClr>
                </a:solidFill>
                <a:latin typeface="+mj-lt"/>
                <a:ea typeface="Calibri" panose="020F0502020204030204" pitchFamily="34" charset="0"/>
                <a:cs typeface="Times New Roman" panose="02020603050405020304" pitchFamily="18" charset="0"/>
              </a:rPr>
              <a:t>Step-1 :- Please click on Start a Report to update your expenses.</a:t>
            </a:r>
          </a:p>
          <a:p>
            <a:r>
              <a:rPr lang="en-US" sz="2133" kern="0" dirty="0">
                <a:solidFill>
                  <a:schemeClr val="tx1">
                    <a:lumMod val="75000"/>
                    <a:lumOff val="25000"/>
                  </a:schemeClr>
                </a:solidFill>
                <a:latin typeface="+mj-lt"/>
                <a:ea typeface="Calibri" panose="020F0502020204030204" pitchFamily="34" charset="0"/>
                <a:cs typeface="Times New Roman" panose="02020603050405020304" pitchFamily="18" charset="0"/>
              </a:rPr>
              <a:t>          Step-2 : Update your report name, report date, business purpose, comment and project</a:t>
            </a:r>
          </a:p>
          <a:p>
            <a:r>
              <a:rPr lang="en-US" sz="2133" kern="0" dirty="0">
                <a:solidFill>
                  <a:schemeClr val="tx1">
                    <a:lumMod val="75000"/>
                    <a:lumOff val="25000"/>
                  </a:schemeClr>
                </a:solidFill>
                <a:latin typeface="+mj-lt"/>
                <a:ea typeface="Calibri" panose="020F0502020204030204" pitchFamily="34" charset="0"/>
                <a:cs typeface="Times New Roman" panose="02020603050405020304" pitchFamily="18" charset="0"/>
              </a:rPr>
              <a:t>          Step-3 : By selecting “Expense Type”, please update your expenses and submit </a:t>
            </a:r>
          </a:p>
          <a:p>
            <a:endParaRPr lang="en-US" sz="2133" kern="0" dirty="0">
              <a:solidFill>
                <a:schemeClr val="tx1">
                  <a:lumMod val="75000"/>
                  <a:lumOff val="25000"/>
                </a:schemeClr>
              </a:solidFill>
              <a:latin typeface="+mj-lt"/>
              <a:ea typeface="Calibri" panose="020F0502020204030204" pitchFamily="34" charset="0"/>
              <a:cs typeface="Times New Roman" panose="02020603050405020304" pitchFamily="18" charset="0"/>
            </a:endParaRPr>
          </a:p>
          <a:p>
            <a:endParaRPr lang="en-US" kern="0" dirty="0">
              <a:solidFill>
                <a:schemeClr val="tx1">
                  <a:lumMod val="75000"/>
                  <a:lumOff val="25000"/>
                </a:schemeClr>
              </a:solidFill>
              <a:latin typeface="+mj-lt"/>
            </a:endParaRPr>
          </a:p>
        </p:txBody>
      </p:sp>
      <p:pic>
        <p:nvPicPr>
          <p:cNvPr id="6" name="Picture 5">
            <a:extLst>
              <a:ext uri="{FF2B5EF4-FFF2-40B4-BE49-F238E27FC236}">
                <a16:creationId xmlns:a16="http://schemas.microsoft.com/office/drawing/2014/main" id="{C9B64563-1883-49B7-8E53-9F116D832FC8}"/>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25737" y="1612899"/>
            <a:ext cx="10507975"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a:extLst>
              <a:ext uri="{FF2B5EF4-FFF2-40B4-BE49-F238E27FC236}">
                <a16:creationId xmlns:a16="http://schemas.microsoft.com/office/drawing/2014/main" id="{D4850D08-9FFA-418B-84D7-826709EF696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8840" y="4102337"/>
            <a:ext cx="11335317" cy="1736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a:extLst>
              <a:ext uri="{FF2B5EF4-FFF2-40B4-BE49-F238E27FC236}">
                <a16:creationId xmlns:a16="http://schemas.microsoft.com/office/drawing/2014/main" id="{FD501441-51EE-CB98-8A05-5703DF3D1E44}"/>
              </a:ext>
            </a:extLst>
          </p:cNvPr>
          <p:cNvSpPr txBox="1"/>
          <p:nvPr/>
        </p:nvSpPr>
        <p:spPr>
          <a:xfrm>
            <a:off x="2321793" y="916941"/>
            <a:ext cx="7548413" cy="369332"/>
          </a:xfrm>
          <a:prstGeom prst="rect">
            <a:avLst/>
          </a:prstGeom>
          <a:noFill/>
        </p:spPr>
        <p:txBody>
          <a:bodyPr wrap="none" rtlCol="0">
            <a:spAutoFit/>
          </a:bodyPr>
          <a:lstStyle/>
          <a:p>
            <a:r>
              <a:rPr lang="en-US" dirty="0">
                <a:highlight>
                  <a:srgbClr val="FFFF00"/>
                </a:highlight>
              </a:rPr>
              <a:t>To request Concur credentials please send an E-mail to your Infinite Manager. </a:t>
            </a:r>
          </a:p>
        </p:txBody>
      </p:sp>
    </p:spTree>
    <p:extLst>
      <p:ext uri="{BB962C8B-B14F-4D97-AF65-F5344CB8AC3E}">
        <p14:creationId xmlns:p14="http://schemas.microsoft.com/office/powerpoint/2010/main" val="18819328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C6AF10-EE7D-4B4E-ADE3-8BFFC669F480}"/>
              </a:ext>
            </a:extLst>
          </p:cNvPr>
          <p:cNvSpPr txBox="1"/>
          <p:nvPr/>
        </p:nvSpPr>
        <p:spPr>
          <a:xfrm>
            <a:off x="76697" y="246156"/>
            <a:ext cx="10271989"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SCREEN </a:t>
            </a:r>
            <a:r>
              <a:rPr lang="en-US" sz="3200" spc="-150" dirty="0">
                <a:solidFill>
                  <a:srgbClr val="1E3ADA"/>
                </a:solidFill>
                <a:latin typeface="Work Sans" panose="00000500000000000000" pitchFamily="50" charset="0"/>
                <a:cs typeface="Segoe UI" panose="020B0502040204020203" pitchFamily="34" charset="0"/>
              </a:rPr>
              <a:t>SHOT OF CONCUR</a:t>
            </a:r>
          </a:p>
        </p:txBody>
      </p:sp>
      <p:pic>
        <p:nvPicPr>
          <p:cNvPr id="5" name="Picture 2">
            <a:extLst>
              <a:ext uri="{FF2B5EF4-FFF2-40B4-BE49-F238E27FC236}">
                <a16:creationId xmlns:a16="http://schemas.microsoft.com/office/drawing/2014/main" id="{72DA8C0E-4011-4858-9169-FE651D0E84F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0800" y="848797"/>
            <a:ext cx="12095429" cy="3982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a:extLst>
              <a:ext uri="{FF2B5EF4-FFF2-40B4-BE49-F238E27FC236}">
                <a16:creationId xmlns:a16="http://schemas.microsoft.com/office/drawing/2014/main" id="{BB156528-434F-468B-90F3-B25FBCC28D6E}"/>
              </a:ext>
            </a:extLst>
          </p:cNvPr>
          <p:cNvSpPr txBox="1"/>
          <p:nvPr/>
        </p:nvSpPr>
        <p:spPr>
          <a:xfrm>
            <a:off x="76697" y="5073534"/>
            <a:ext cx="11914359" cy="1107996"/>
          </a:xfrm>
          <a:prstGeom prst="rect">
            <a:avLst/>
          </a:prstGeom>
          <a:noFill/>
          <a:ln>
            <a:noFill/>
          </a:ln>
        </p:spPr>
        <p:txBody>
          <a:bodyPr wrap="square" rtlCol="0">
            <a:spAutoFit/>
          </a:bodyPr>
          <a:lstStyle/>
          <a:p>
            <a:pPr algn="just"/>
            <a:r>
              <a:rPr lang="en-US" b="1" dirty="0">
                <a:solidFill>
                  <a:srgbClr val="7E249F"/>
                </a:solidFill>
              </a:rPr>
              <a:t>Note: </a:t>
            </a:r>
            <a:r>
              <a:rPr lang="en-US" sz="1600" dirty="0">
                <a:solidFill>
                  <a:schemeClr val="tx1">
                    <a:lumMod val="75000"/>
                    <a:lumOff val="25000"/>
                  </a:schemeClr>
                </a:solidFill>
              </a:rPr>
              <a:t>All expenses need to be submitted in Concur with in 2-weeks of returning from travel.  All expenses submitted and approved by Monday COB of the Non-Payroll week would be reimbursed in the forthcoming Payroll. Any expenses submitted beyond the Non-Payroll Monday would be reimbursed in the Subsequent/Next Payroll. This is required to ensure that all the expenses are thoroughly reviewed and analyzed.</a:t>
            </a:r>
          </a:p>
        </p:txBody>
      </p:sp>
    </p:spTree>
    <p:extLst>
      <p:ext uri="{BB962C8B-B14F-4D97-AF65-F5344CB8AC3E}">
        <p14:creationId xmlns:p14="http://schemas.microsoft.com/office/powerpoint/2010/main" val="13743554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41B38E0-5EE3-40B6-968F-6163603DB97E}"/>
              </a:ext>
            </a:extLst>
          </p:cNvPr>
          <p:cNvSpPr txBox="1"/>
          <p:nvPr/>
        </p:nvSpPr>
        <p:spPr>
          <a:xfrm>
            <a:off x="76697" y="246156"/>
            <a:ext cx="10271989"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REIMBURSEMENTS</a:t>
            </a:r>
          </a:p>
        </p:txBody>
      </p:sp>
      <p:sp>
        <p:nvSpPr>
          <p:cNvPr id="6" name="Shape 7336">
            <a:extLst>
              <a:ext uri="{FF2B5EF4-FFF2-40B4-BE49-F238E27FC236}">
                <a16:creationId xmlns:a16="http://schemas.microsoft.com/office/drawing/2014/main" id="{1FB9C36C-D789-4369-A897-26971DBF6574}"/>
              </a:ext>
            </a:extLst>
          </p:cNvPr>
          <p:cNvSpPr/>
          <p:nvPr/>
        </p:nvSpPr>
        <p:spPr>
          <a:xfrm>
            <a:off x="9443638" y="3727499"/>
            <a:ext cx="2314407" cy="2314407"/>
          </a:xfrm>
          <a:prstGeom prst="ellipse">
            <a:avLst/>
          </a:prstGeom>
          <a:solidFill>
            <a:srgbClr val="1E3ADA"/>
          </a:solidFill>
          <a:ln w="28575" cap="rnd" cmpd="sng">
            <a:solidFill>
              <a:schemeClr val="bg1">
                <a:lumMod val="75000"/>
              </a:schemeClr>
            </a:solidFill>
            <a:custDash>
              <a:ds d="100000" sp="200000"/>
            </a:custDash>
          </a:ln>
        </p:spPr>
        <p:txBody>
          <a:bodyPr lIns="25400" tIns="25400" rIns="25400" bIns="25400" anchor="ctr"/>
          <a:lstStyle/>
          <a:p>
            <a:pPr>
              <a:defRPr sz="3200">
                <a:solidFill>
                  <a:srgbClr val="FFFFFF"/>
                </a:solidFill>
              </a:defRPr>
            </a:pPr>
            <a:endParaRPr sz="1600">
              <a:solidFill>
                <a:schemeClr val="tx1">
                  <a:lumMod val="75000"/>
                  <a:lumOff val="25000"/>
                </a:schemeClr>
              </a:solidFill>
            </a:endParaRPr>
          </a:p>
        </p:txBody>
      </p:sp>
      <p:sp>
        <p:nvSpPr>
          <p:cNvPr id="7" name="Shape 7337">
            <a:extLst>
              <a:ext uri="{FF2B5EF4-FFF2-40B4-BE49-F238E27FC236}">
                <a16:creationId xmlns:a16="http://schemas.microsoft.com/office/drawing/2014/main" id="{3A6FBDEC-A432-40F7-A898-AA2ABB18FA5B}"/>
              </a:ext>
            </a:extLst>
          </p:cNvPr>
          <p:cNvSpPr/>
          <p:nvPr/>
        </p:nvSpPr>
        <p:spPr>
          <a:xfrm>
            <a:off x="9566855" y="3850716"/>
            <a:ext cx="2067972" cy="2067972"/>
          </a:xfrm>
          <a:prstGeom prst="ellipse">
            <a:avLst/>
          </a:prstGeom>
          <a:solidFill>
            <a:schemeClr val="bg1"/>
          </a:solidFill>
          <a:ln w="12700">
            <a:solidFill>
              <a:schemeClr val="bg1">
                <a:lumMod val="75000"/>
              </a:schemeClr>
            </a:solidFill>
            <a:miter lim="400000"/>
          </a:ln>
        </p:spPr>
        <p:txBody>
          <a:bodyPr lIns="25400" tIns="25400" rIns="25400" bIns="25400" anchor="ctr"/>
          <a:lstStyle/>
          <a:p>
            <a:pPr>
              <a:defRPr sz="3200">
                <a:solidFill>
                  <a:srgbClr val="FFFFFF"/>
                </a:solidFill>
              </a:defRPr>
            </a:pPr>
            <a:endParaRPr sz="1600">
              <a:solidFill>
                <a:schemeClr val="tx1">
                  <a:lumMod val="75000"/>
                  <a:lumOff val="25000"/>
                </a:schemeClr>
              </a:solidFill>
            </a:endParaRPr>
          </a:p>
        </p:txBody>
      </p:sp>
      <p:sp>
        <p:nvSpPr>
          <p:cNvPr id="8" name="Shape 1736">
            <a:extLst>
              <a:ext uri="{FF2B5EF4-FFF2-40B4-BE49-F238E27FC236}">
                <a16:creationId xmlns:a16="http://schemas.microsoft.com/office/drawing/2014/main" id="{597C2A7B-1A6C-41C2-AF34-0B7321E4A252}"/>
              </a:ext>
            </a:extLst>
          </p:cNvPr>
          <p:cNvSpPr/>
          <p:nvPr/>
        </p:nvSpPr>
        <p:spPr>
          <a:xfrm rot="10800000" flipV="1">
            <a:off x="4577541" y="2842920"/>
            <a:ext cx="6095999" cy="7716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28575" cap="rnd" cmpd="sng">
            <a:solidFill>
              <a:schemeClr val="tx1">
                <a:lumMod val="50000"/>
                <a:lumOff val="50000"/>
              </a:schemeClr>
            </a:solidFill>
            <a:custDash>
              <a:ds d="100000" sp="200000"/>
            </a:custDash>
            <a:tailEnd type="oval"/>
          </a:ln>
        </p:spPr>
        <p:txBody>
          <a:bodyPr lIns="25400" tIns="25400" rIns="25400" bIns="25400" anchor="ctr"/>
          <a:lstStyle/>
          <a:p>
            <a:pPr defTabSz="1219170">
              <a:defRPr sz="3200"/>
            </a:pPr>
            <a:endParaRPr sz="1600" kern="0">
              <a:solidFill>
                <a:schemeClr val="tx1">
                  <a:lumMod val="75000"/>
                  <a:lumOff val="25000"/>
                </a:schemeClr>
              </a:solidFill>
            </a:endParaRPr>
          </a:p>
        </p:txBody>
      </p:sp>
      <p:sp>
        <p:nvSpPr>
          <p:cNvPr id="10" name="Shape 3409">
            <a:extLst>
              <a:ext uri="{FF2B5EF4-FFF2-40B4-BE49-F238E27FC236}">
                <a16:creationId xmlns:a16="http://schemas.microsoft.com/office/drawing/2014/main" id="{1ADA1E1C-FA26-469E-B6BD-6DD585D8E34A}"/>
              </a:ext>
            </a:extLst>
          </p:cNvPr>
          <p:cNvSpPr/>
          <p:nvPr/>
        </p:nvSpPr>
        <p:spPr>
          <a:xfrm>
            <a:off x="1325910" y="3935352"/>
            <a:ext cx="3554496" cy="1318292"/>
          </a:xfrm>
          <a:prstGeom prst="rect">
            <a:avLst/>
          </a:prstGeom>
          <a:solidFill>
            <a:srgbClr val="00B6AD"/>
          </a:solidFill>
          <a:ln w="12700" cap="flat">
            <a:noFill/>
            <a:miter lim="400000"/>
          </a:ln>
          <a:effectLst/>
        </p:spPr>
        <p:txBody>
          <a:bodyPr wrap="square" lIns="25400" tIns="25400" rIns="25400" bIns="25400" numCol="1" anchor="ctr">
            <a:noAutofit/>
          </a:bodyPr>
          <a:lstStyle/>
          <a:p>
            <a:pPr defTabSz="1219170">
              <a:defRPr sz="3200">
                <a:solidFill>
                  <a:srgbClr val="FFFFFF"/>
                </a:solidFill>
              </a:defRPr>
            </a:pPr>
            <a:endParaRPr sz="1867" kern="0">
              <a:solidFill>
                <a:schemeClr val="tx1">
                  <a:lumMod val="75000"/>
                  <a:lumOff val="25000"/>
                </a:schemeClr>
              </a:solidFill>
            </a:endParaRPr>
          </a:p>
        </p:txBody>
      </p:sp>
      <p:sp>
        <p:nvSpPr>
          <p:cNvPr id="11" name="Shape 3410">
            <a:extLst>
              <a:ext uri="{FF2B5EF4-FFF2-40B4-BE49-F238E27FC236}">
                <a16:creationId xmlns:a16="http://schemas.microsoft.com/office/drawing/2014/main" id="{5E60133D-371C-4107-A553-B5454424D18B}"/>
              </a:ext>
            </a:extLst>
          </p:cNvPr>
          <p:cNvSpPr/>
          <p:nvPr/>
        </p:nvSpPr>
        <p:spPr>
          <a:xfrm>
            <a:off x="1412297" y="3935352"/>
            <a:ext cx="3381721" cy="1233061"/>
          </a:xfrm>
          <a:prstGeom prst="rect">
            <a:avLst/>
          </a:prstGeom>
          <a:solidFill>
            <a:schemeClr val="bg1"/>
          </a:solidFill>
          <a:ln w="12700" cap="flat">
            <a:noFill/>
            <a:miter lim="400000"/>
          </a:ln>
          <a:effectLst/>
        </p:spPr>
        <p:txBody>
          <a:bodyPr wrap="square" lIns="25400" tIns="25400" rIns="25400" bIns="25400" numCol="1" anchor="ctr">
            <a:noAutofit/>
          </a:bodyPr>
          <a:lstStyle/>
          <a:p>
            <a:pPr defTabSz="1219170">
              <a:defRPr sz="3200">
                <a:solidFill>
                  <a:srgbClr val="FFFFFF"/>
                </a:solidFill>
              </a:defRPr>
            </a:pPr>
            <a:endParaRPr sz="1867" kern="0">
              <a:solidFill>
                <a:schemeClr val="tx1">
                  <a:lumMod val="75000"/>
                  <a:lumOff val="25000"/>
                </a:schemeClr>
              </a:solidFill>
            </a:endParaRPr>
          </a:p>
        </p:txBody>
      </p:sp>
      <p:sp>
        <p:nvSpPr>
          <p:cNvPr id="12" name="Shape 3411">
            <a:extLst>
              <a:ext uri="{FF2B5EF4-FFF2-40B4-BE49-F238E27FC236}">
                <a16:creationId xmlns:a16="http://schemas.microsoft.com/office/drawing/2014/main" id="{00DDC4F7-50BF-4A76-9D0F-119E66FF2DBB}"/>
              </a:ext>
            </a:extLst>
          </p:cNvPr>
          <p:cNvSpPr/>
          <p:nvPr/>
        </p:nvSpPr>
        <p:spPr>
          <a:xfrm>
            <a:off x="1325953" y="1448492"/>
            <a:ext cx="3554319" cy="251355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9551" y="2216"/>
                </a:lnTo>
                <a:lnTo>
                  <a:pt x="0" y="2216"/>
                </a:lnTo>
                <a:lnTo>
                  <a:pt x="0" y="21600"/>
                </a:lnTo>
                <a:lnTo>
                  <a:pt x="21600" y="21600"/>
                </a:lnTo>
                <a:lnTo>
                  <a:pt x="21600" y="2216"/>
                </a:lnTo>
                <a:lnTo>
                  <a:pt x="12049" y="2216"/>
                </a:lnTo>
                <a:lnTo>
                  <a:pt x="10800" y="0"/>
                </a:lnTo>
                <a:close/>
              </a:path>
            </a:pathLst>
          </a:custGeom>
          <a:solidFill>
            <a:srgbClr val="00B6AD"/>
          </a:solidFill>
          <a:ln w="12700" cap="flat">
            <a:noFill/>
            <a:miter lim="400000"/>
          </a:ln>
          <a:effectLst/>
        </p:spPr>
        <p:txBody>
          <a:bodyPr wrap="square" lIns="25400" tIns="25400" rIns="25400" bIns="25400" numCol="1" anchor="ctr">
            <a:noAutofit/>
          </a:bodyPr>
          <a:lstStyle/>
          <a:p>
            <a:pPr defTabSz="1219170">
              <a:defRPr sz="3200">
                <a:solidFill>
                  <a:srgbClr val="FFFFFF"/>
                </a:solidFill>
              </a:defRPr>
            </a:pPr>
            <a:endParaRPr sz="1867" kern="0">
              <a:solidFill>
                <a:schemeClr val="tx1">
                  <a:lumMod val="75000"/>
                  <a:lumOff val="25000"/>
                </a:schemeClr>
              </a:solidFill>
            </a:endParaRPr>
          </a:p>
        </p:txBody>
      </p:sp>
      <p:sp>
        <p:nvSpPr>
          <p:cNvPr id="13" name="Shape 3493">
            <a:extLst>
              <a:ext uri="{FF2B5EF4-FFF2-40B4-BE49-F238E27FC236}">
                <a16:creationId xmlns:a16="http://schemas.microsoft.com/office/drawing/2014/main" id="{ECBDF996-F534-4E28-8078-767A772A8E77}"/>
              </a:ext>
            </a:extLst>
          </p:cNvPr>
          <p:cNvSpPr/>
          <p:nvPr/>
        </p:nvSpPr>
        <p:spPr>
          <a:xfrm>
            <a:off x="5294801" y="3935352"/>
            <a:ext cx="3554497" cy="1318292"/>
          </a:xfrm>
          <a:prstGeom prst="rect">
            <a:avLst/>
          </a:prstGeom>
          <a:solidFill>
            <a:srgbClr val="7E249F"/>
          </a:solidFill>
          <a:ln w="12700" cap="flat">
            <a:noFill/>
            <a:miter lim="400000"/>
          </a:ln>
          <a:effectLst/>
        </p:spPr>
        <p:txBody>
          <a:bodyPr wrap="square" lIns="25400" tIns="25400" rIns="25400" bIns="25400" numCol="1" anchor="ctr">
            <a:noAutofit/>
          </a:bodyPr>
          <a:lstStyle/>
          <a:p>
            <a:pPr defTabSz="1219170">
              <a:defRPr sz="3200">
                <a:solidFill>
                  <a:srgbClr val="FFFFFF"/>
                </a:solidFill>
              </a:defRPr>
            </a:pPr>
            <a:endParaRPr sz="1867" kern="0">
              <a:solidFill>
                <a:schemeClr val="tx1">
                  <a:lumMod val="75000"/>
                  <a:lumOff val="25000"/>
                </a:schemeClr>
              </a:solidFill>
            </a:endParaRPr>
          </a:p>
        </p:txBody>
      </p:sp>
      <p:sp>
        <p:nvSpPr>
          <p:cNvPr id="14" name="Shape 3494">
            <a:extLst>
              <a:ext uri="{FF2B5EF4-FFF2-40B4-BE49-F238E27FC236}">
                <a16:creationId xmlns:a16="http://schemas.microsoft.com/office/drawing/2014/main" id="{39C28F68-6175-46DD-BD7B-8E5F9210CDA0}"/>
              </a:ext>
            </a:extLst>
          </p:cNvPr>
          <p:cNvSpPr/>
          <p:nvPr/>
        </p:nvSpPr>
        <p:spPr>
          <a:xfrm>
            <a:off x="5381187" y="3935352"/>
            <a:ext cx="3381723" cy="1233061"/>
          </a:xfrm>
          <a:prstGeom prst="rect">
            <a:avLst/>
          </a:prstGeom>
          <a:solidFill>
            <a:schemeClr val="bg1"/>
          </a:solidFill>
          <a:ln w="12700" cap="flat">
            <a:noFill/>
            <a:miter lim="400000"/>
          </a:ln>
          <a:effectLst/>
        </p:spPr>
        <p:txBody>
          <a:bodyPr wrap="square" lIns="25400" tIns="25400" rIns="25400" bIns="25400" numCol="1" anchor="ctr">
            <a:noAutofit/>
          </a:bodyPr>
          <a:lstStyle/>
          <a:p>
            <a:pPr defTabSz="1219170">
              <a:defRPr sz="3200">
                <a:solidFill>
                  <a:srgbClr val="FFFFFF"/>
                </a:solidFill>
              </a:defRPr>
            </a:pPr>
            <a:endParaRPr sz="1867" kern="0">
              <a:solidFill>
                <a:schemeClr val="tx1">
                  <a:lumMod val="75000"/>
                  <a:lumOff val="25000"/>
                </a:schemeClr>
              </a:solidFill>
            </a:endParaRPr>
          </a:p>
        </p:txBody>
      </p:sp>
      <p:sp>
        <p:nvSpPr>
          <p:cNvPr id="15" name="Shape 3495">
            <a:extLst>
              <a:ext uri="{FF2B5EF4-FFF2-40B4-BE49-F238E27FC236}">
                <a16:creationId xmlns:a16="http://schemas.microsoft.com/office/drawing/2014/main" id="{F6CBC354-4EE0-4A95-8F14-234E5274D5C0}"/>
              </a:ext>
            </a:extLst>
          </p:cNvPr>
          <p:cNvSpPr/>
          <p:nvPr/>
        </p:nvSpPr>
        <p:spPr>
          <a:xfrm>
            <a:off x="5294843" y="1448492"/>
            <a:ext cx="3554320" cy="251355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9551" y="2216"/>
                </a:lnTo>
                <a:lnTo>
                  <a:pt x="0" y="2216"/>
                </a:lnTo>
                <a:lnTo>
                  <a:pt x="0" y="21600"/>
                </a:lnTo>
                <a:lnTo>
                  <a:pt x="21600" y="21600"/>
                </a:lnTo>
                <a:lnTo>
                  <a:pt x="21600" y="2216"/>
                </a:lnTo>
                <a:lnTo>
                  <a:pt x="12049" y="2216"/>
                </a:lnTo>
                <a:lnTo>
                  <a:pt x="10800" y="0"/>
                </a:lnTo>
                <a:close/>
              </a:path>
            </a:pathLst>
          </a:custGeom>
          <a:solidFill>
            <a:srgbClr val="7E249F"/>
          </a:solidFill>
          <a:ln w="12700" cap="flat">
            <a:noFill/>
            <a:miter lim="400000"/>
          </a:ln>
          <a:effectLst/>
        </p:spPr>
        <p:txBody>
          <a:bodyPr wrap="square" lIns="25400" tIns="25400" rIns="25400" bIns="25400" numCol="1" anchor="ctr">
            <a:noAutofit/>
          </a:bodyPr>
          <a:lstStyle/>
          <a:p>
            <a:pPr defTabSz="1219170">
              <a:defRPr sz="3200">
                <a:solidFill>
                  <a:srgbClr val="FFFFFF"/>
                </a:solidFill>
              </a:defRPr>
            </a:pPr>
            <a:endParaRPr sz="1867" kern="0">
              <a:solidFill>
                <a:schemeClr val="tx1">
                  <a:lumMod val="75000"/>
                  <a:lumOff val="25000"/>
                </a:schemeClr>
              </a:solidFill>
            </a:endParaRPr>
          </a:p>
        </p:txBody>
      </p:sp>
      <p:sp>
        <p:nvSpPr>
          <p:cNvPr id="16" name="TextBox 15">
            <a:extLst>
              <a:ext uri="{FF2B5EF4-FFF2-40B4-BE49-F238E27FC236}">
                <a16:creationId xmlns:a16="http://schemas.microsoft.com/office/drawing/2014/main" id="{855BFDBD-9F4E-42EE-A196-79F79959F718}"/>
              </a:ext>
            </a:extLst>
          </p:cNvPr>
          <p:cNvSpPr txBox="1"/>
          <p:nvPr/>
        </p:nvSpPr>
        <p:spPr>
          <a:xfrm>
            <a:off x="1607379" y="2128519"/>
            <a:ext cx="2803908" cy="1200329"/>
          </a:xfrm>
          <a:prstGeom prst="rect">
            <a:avLst/>
          </a:prstGeom>
          <a:noFill/>
        </p:spPr>
        <p:txBody>
          <a:bodyPr wrap="square" rtlCol="0">
            <a:spAutoFit/>
          </a:bodyPr>
          <a:lstStyle/>
          <a:p>
            <a:pPr marL="241294" indent="-241294">
              <a:lnSpc>
                <a:spcPct val="90000"/>
              </a:lnSpc>
              <a:buFont typeface="Arial" pitchFamily="34" charset="0"/>
              <a:buChar char="•"/>
            </a:pPr>
            <a:r>
              <a:rPr lang="en-GB" sz="1600" dirty="0">
                <a:solidFill>
                  <a:schemeClr val="bg1"/>
                </a:solidFill>
                <a:ea typeface="Roboto" pitchFamily="2" charset="0"/>
              </a:rPr>
              <a:t>All reimbursements should  be claimed through Concur (Online Tool ) along with the supporting documents</a:t>
            </a:r>
          </a:p>
          <a:p>
            <a:pPr marL="241294" indent="-241294">
              <a:lnSpc>
                <a:spcPct val="90000"/>
              </a:lnSpc>
              <a:buFont typeface="Arial" pitchFamily="34" charset="0"/>
              <a:buChar char="•"/>
            </a:pPr>
            <a:endParaRPr lang="en-GB" sz="1600" dirty="0">
              <a:solidFill>
                <a:schemeClr val="bg1"/>
              </a:solidFill>
              <a:ea typeface="Roboto" pitchFamily="2" charset="0"/>
            </a:endParaRPr>
          </a:p>
        </p:txBody>
      </p:sp>
      <p:sp>
        <p:nvSpPr>
          <p:cNvPr id="17" name="Rectangle 16">
            <a:extLst>
              <a:ext uri="{FF2B5EF4-FFF2-40B4-BE49-F238E27FC236}">
                <a16:creationId xmlns:a16="http://schemas.microsoft.com/office/drawing/2014/main" id="{325CEDC4-4794-45D7-BA29-E3811051222A}"/>
              </a:ext>
            </a:extLst>
          </p:cNvPr>
          <p:cNvSpPr/>
          <p:nvPr/>
        </p:nvSpPr>
        <p:spPr>
          <a:xfrm>
            <a:off x="1373475" y="4342860"/>
            <a:ext cx="3436823" cy="461729"/>
          </a:xfrm>
          <a:prstGeom prst="rect">
            <a:avLst/>
          </a:prstGeom>
        </p:spPr>
        <p:txBody>
          <a:bodyPr wrap="square">
            <a:spAutoFit/>
          </a:bodyPr>
          <a:lstStyle/>
          <a:p>
            <a:pPr algn="ctr">
              <a:lnSpc>
                <a:spcPct val="90000"/>
              </a:lnSpc>
              <a:defRPr/>
            </a:pPr>
            <a:r>
              <a:rPr lang="en-US" sz="2667" b="1" dirty="0">
                <a:solidFill>
                  <a:srgbClr val="00B6AD"/>
                </a:solidFill>
                <a:ea typeface="Roboto Black" pitchFamily="2" charset="0"/>
              </a:rPr>
              <a:t>For Reimbursements </a:t>
            </a:r>
          </a:p>
        </p:txBody>
      </p:sp>
      <p:sp>
        <p:nvSpPr>
          <p:cNvPr id="18" name="Rectangle 17">
            <a:extLst>
              <a:ext uri="{FF2B5EF4-FFF2-40B4-BE49-F238E27FC236}">
                <a16:creationId xmlns:a16="http://schemas.microsoft.com/office/drawing/2014/main" id="{DCAE3729-2306-45E2-8516-1342D158A660}"/>
              </a:ext>
            </a:extLst>
          </p:cNvPr>
          <p:cNvSpPr/>
          <p:nvPr/>
        </p:nvSpPr>
        <p:spPr>
          <a:xfrm>
            <a:off x="5370022" y="4187689"/>
            <a:ext cx="3436823" cy="831125"/>
          </a:xfrm>
          <a:prstGeom prst="rect">
            <a:avLst/>
          </a:prstGeom>
        </p:spPr>
        <p:txBody>
          <a:bodyPr wrap="square">
            <a:spAutoFit/>
          </a:bodyPr>
          <a:lstStyle/>
          <a:p>
            <a:pPr algn="ctr">
              <a:lnSpc>
                <a:spcPct val="90000"/>
              </a:lnSpc>
              <a:defRPr/>
            </a:pPr>
            <a:r>
              <a:rPr lang="en-US" sz="2667" b="1" dirty="0">
                <a:solidFill>
                  <a:srgbClr val="7E249F"/>
                </a:solidFill>
                <a:ea typeface="Roboto Black" pitchFamily="2" charset="0"/>
              </a:rPr>
              <a:t>SLAs for Reimbursements</a:t>
            </a:r>
          </a:p>
        </p:txBody>
      </p:sp>
      <p:sp>
        <p:nvSpPr>
          <p:cNvPr id="19" name="TextBox 18">
            <a:extLst>
              <a:ext uri="{FF2B5EF4-FFF2-40B4-BE49-F238E27FC236}">
                <a16:creationId xmlns:a16="http://schemas.microsoft.com/office/drawing/2014/main" id="{88169E47-3D52-4E72-870B-09BA35E9780C}"/>
              </a:ext>
            </a:extLst>
          </p:cNvPr>
          <p:cNvSpPr txBox="1"/>
          <p:nvPr/>
        </p:nvSpPr>
        <p:spPr>
          <a:xfrm>
            <a:off x="5395883" y="1962265"/>
            <a:ext cx="3282604" cy="1643527"/>
          </a:xfrm>
          <a:prstGeom prst="rect">
            <a:avLst/>
          </a:prstGeom>
          <a:noFill/>
        </p:spPr>
        <p:txBody>
          <a:bodyPr wrap="square" rtlCol="0">
            <a:spAutoFit/>
          </a:bodyPr>
          <a:lstStyle/>
          <a:p>
            <a:pPr marL="241294" indent="-241294">
              <a:lnSpc>
                <a:spcPct val="90000"/>
              </a:lnSpc>
              <a:buFont typeface="Arial" pitchFamily="34" charset="0"/>
              <a:buChar char="•"/>
            </a:pPr>
            <a:r>
              <a:rPr lang="en-GB" sz="1600" dirty="0">
                <a:solidFill>
                  <a:schemeClr val="bg1"/>
                </a:solidFill>
                <a:ea typeface="Roboto" pitchFamily="2" charset="0"/>
              </a:rPr>
              <a:t>Reimbursement claims received and approved </a:t>
            </a:r>
            <a:r>
              <a:rPr lang="en-US" sz="1600" dirty="0">
                <a:solidFill>
                  <a:schemeClr val="bg1"/>
                </a:solidFill>
                <a:ea typeface="Roboto" pitchFamily="2" charset="0"/>
              </a:rPr>
              <a:t>by Monday COB of the Non-Payroll week would be reimbursed in the forthcoming Payroll</a:t>
            </a:r>
            <a:endParaRPr lang="en-GB" sz="1600" dirty="0">
              <a:solidFill>
                <a:schemeClr val="bg1"/>
              </a:solidFill>
              <a:ea typeface="Roboto" pitchFamily="2" charset="0"/>
            </a:endParaRPr>
          </a:p>
          <a:p>
            <a:pPr marL="241294" indent="-241294">
              <a:lnSpc>
                <a:spcPct val="90000"/>
              </a:lnSpc>
              <a:buFont typeface="Arial" pitchFamily="34" charset="0"/>
              <a:buChar char="•"/>
            </a:pPr>
            <a:r>
              <a:rPr lang="en-GB" sz="1600" dirty="0">
                <a:solidFill>
                  <a:schemeClr val="bg1"/>
                </a:solidFill>
                <a:ea typeface="Roboto" pitchFamily="2" charset="0"/>
              </a:rPr>
              <a:t>Reimbursements will be paid as per Company Policy</a:t>
            </a:r>
          </a:p>
        </p:txBody>
      </p:sp>
      <p:sp>
        <p:nvSpPr>
          <p:cNvPr id="22" name="Freeform 7">
            <a:extLst>
              <a:ext uri="{FF2B5EF4-FFF2-40B4-BE49-F238E27FC236}">
                <a16:creationId xmlns:a16="http://schemas.microsoft.com/office/drawing/2014/main" id="{F9C7BEBB-062F-45DE-AEBA-048264E0D60E}"/>
              </a:ext>
            </a:extLst>
          </p:cNvPr>
          <p:cNvSpPr>
            <a:spLocks/>
          </p:cNvSpPr>
          <p:nvPr/>
        </p:nvSpPr>
        <p:spPr bwMode="auto">
          <a:xfrm>
            <a:off x="10460567" y="4442884"/>
            <a:ext cx="133350" cy="336550"/>
          </a:xfrm>
          <a:custGeom>
            <a:avLst/>
            <a:gdLst/>
            <a:ahLst/>
            <a:cxnLst>
              <a:cxn ang="0">
                <a:pos x="125" y="0"/>
              </a:cxn>
              <a:cxn ang="0">
                <a:pos x="125" y="0"/>
              </a:cxn>
              <a:cxn ang="0">
                <a:pos x="126" y="40"/>
              </a:cxn>
              <a:cxn ang="0">
                <a:pos x="127" y="79"/>
              </a:cxn>
              <a:cxn ang="0">
                <a:pos x="127" y="158"/>
              </a:cxn>
              <a:cxn ang="0">
                <a:pos x="127" y="238"/>
              </a:cxn>
              <a:cxn ang="0">
                <a:pos x="127" y="318"/>
              </a:cxn>
              <a:cxn ang="0">
                <a:pos x="127" y="318"/>
              </a:cxn>
              <a:cxn ang="0">
                <a:pos x="103" y="304"/>
              </a:cxn>
              <a:cxn ang="0">
                <a:pos x="79" y="289"/>
              </a:cxn>
              <a:cxn ang="0">
                <a:pos x="68" y="280"/>
              </a:cxn>
              <a:cxn ang="0">
                <a:pos x="58" y="272"/>
              </a:cxn>
              <a:cxn ang="0">
                <a:pos x="48" y="262"/>
              </a:cxn>
              <a:cxn ang="0">
                <a:pos x="39" y="252"/>
              </a:cxn>
              <a:cxn ang="0">
                <a:pos x="31" y="241"/>
              </a:cxn>
              <a:cxn ang="0">
                <a:pos x="23" y="231"/>
              </a:cxn>
              <a:cxn ang="0">
                <a:pos x="16" y="219"/>
              </a:cxn>
              <a:cxn ang="0">
                <a:pos x="11" y="206"/>
              </a:cxn>
              <a:cxn ang="0">
                <a:pos x="6" y="193"/>
              </a:cxn>
              <a:cxn ang="0">
                <a:pos x="2" y="178"/>
              </a:cxn>
              <a:cxn ang="0">
                <a:pos x="0" y="163"/>
              </a:cxn>
              <a:cxn ang="0">
                <a:pos x="0" y="148"/>
              </a:cxn>
              <a:cxn ang="0">
                <a:pos x="0" y="148"/>
              </a:cxn>
              <a:cxn ang="0">
                <a:pos x="0" y="134"/>
              </a:cxn>
              <a:cxn ang="0">
                <a:pos x="2" y="121"/>
              </a:cxn>
              <a:cxn ang="0">
                <a:pos x="6" y="108"/>
              </a:cxn>
              <a:cxn ang="0">
                <a:pos x="10" y="96"/>
              </a:cxn>
              <a:cxn ang="0">
                <a:pos x="15" y="84"/>
              </a:cxn>
              <a:cxn ang="0">
                <a:pos x="21" y="73"/>
              </a:cxn>
              <a:cxn ang="0">
                <a:pos x="28" y="63"/>
              </a:cxn>
              <a:cxn ang="0">
                <a:pos x="37" y="55"/>
              </a:cxn>
              <a:cxn ang="0">
                <a:pos x="46" y="45"/>
              </a:cxn>
              <a:cxn ang="0">
                <a:pos x="54" y="37"/>
              </a:cxn>
              <a:cxn ang="0">
                <a:pos x="65" y="30"/>
              </a:cxn>
              <a:cxn ang="0">
                <a:pos x="76" y="23"/>
              </a:cxn>
              <a:cxn ang="0">
                <a:pos x="87" y="17"/>
              </a:cxn>
              <a:cxn ang="0">
                <a:pos x="99" y="10"/>
              </a:cxn>
              <a:cxn ang="0">
                <a:pos x="123" y="0"/>
              </a:cxn>
              <a:cxn ang="0">
                <a:pos x="123" y="0"/>
              </a:cxn>
              <a:cxn ang="0">
                <a:pos x="125" y="0"/>
              </a:cxn>
              <a:cxn ang="0">
                <a:pos x="125" y="0"/>
              </a:cxn>
            </a:cxnLst>
            <a:rect l="0" t="0" r="r" b="b"/>
            <a:pathLst>
              <a:path w="127" h="318">
                <a:moveTo>
                  <a:pt x="125" y="0"/>
                </a:moveTo>
                <a:lnTo>
                  <a:pt x="125" y="0"/>
                </a:lnTo>
                <a:lnTo>
                  <a:pt x="126" y="40"/>
                </a:lnTo>
                <a:lnTo>
                  <a:pt x="127" y="79"/>
                </a:lnTo>
                <a:lnTo>
                  <a:pt x="127" y="158"/>
                </a:lnTo>
                <a:lnTo>
                  <a:pt x="127" y="238"/>
                </a:lnTo>
                <a:lnTo>
                  <a:pt x="127" y="318"/>
                </a:lnTo>
                <a:lnTo>
                  <a:pt x="127" y="318"/>
                </a:lnTo>
                <a:lnTo>
                  <a:pt x="103" y="304"/>
                </a:lnTo>
                <a:lnTo>
                  <a:pt x="79" y="289"/>
                </a:lnTo>
                <a:lnTo>
                  <a:pt x="68" y="280"/>
                </a:lnTo>
                <a:lnTo>
                  <a:pt x="58" y="272"/>
                </a:lnTo>
                <a:lnTo>
                  <a:pt x="48" y="262"/>
                </a:lnTo>
                <a:lnTo>
                  <a:pt x="39" y="252"/>
                </a:lnTo>
                <a:lnTo>
                  <a:pt x="31" y="241"/>
                </a:lnTo>
                <a:lnTo>
                  <a:pt x="23" y="231"/>
                </a:lnTo>
                <a:lnTo>
                  <a:pt x="16" y="219"/>
                </a:lnTo>
                <a:lnTo>
                  <a:pt x="11" y="206"/>
                </a:lnTo>
                <a:lnTo>
                  <a:pt x="6" y="193"/>
                </a:lnTo>
                <a:lnTo>
                  <a:pt x="2" y="178"/>
                </a:lnTo>
                <a:lnTo>
                  <a:pt x="0" y="163"/>
                </a:lnTo>
                <a:lnTo>
                  <a:pt x="0" y="148"/>
                </a:lnTo>
                <a:lnTo>
                  <a:pt x="0" y="148"/>
                </a:lnTo>
                <a:lnTo>
                  <a:pt x="0" y="134"/>
                </a:lnTo>
                <a:lnTo>
                  <a:pt x="2" y="121"/>
                </a:lnTo>
                <a:lnTo>
                  <a:pt x="6" y="108"/>
                </a:lnTo>
                <a:lnTo>
                  <a:pt x="10" y="96"/>
                </a:lnTo>
                <a:lnTo>
                  <a:pt x="15" y="84"/>
                </a:lnTo>
                <a:lnTo>
                  <a:pt x="21" y="73"/>
                </a:lnTo>
                <a:lnTo>
                  <a:pt x="28" y="63"/>
                </a:lnTo>
                <a:lnTo>
                  <a:pt x="37" y="55"/>
                </a:lnTo>
                <a:lnTo>
                  <a:pt x="46" y="45"/>
                </a:lnTo>
                <a:lnTo>
                  <a:pt x="54" y="37"/>
                </a:lnTo>
                <a:lnTo>
                  <a:pt x="65" y="30"/>
                </a:lnTo>
                <a:lnTo>
                  <a:pt x="76" y="23"/>
                </a:lnTo>
                <a:lnTo>
                  <a:pt x="87" y="17"/>
                </a:lnTo>
                <a:lnTo>
                  <a:pt x="99" y="10"/>
                </a:lnTo>
                <a:lnTo>
                  <a:pt x="123" y="0"/>
                </a:lnTo>
                <a:lnTo>
                  <a:pt x="123" y="0"/>
                </a:lnTo>
                <a:lnTo>
                  <a:pt x="125" y="0"/>
                </a:lnTo>
                <a:lnTo>
                  <a:pt x="125" y="0"/>
                </a:lnTo>
                <a:close/>
              </a:path>
            </a:pathLst>
          </a:custGeom>
          <a:solidFill>
            <a:srgbClr val="FFFFFF"/>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solidFill>
                <a:schemeClr val="tx1">
                  <a:lumMod val="75000"/>
                  <a:lumOff val="25000"/>
                </a:schemeClr>
              </a:solidFill>
            </a:endParaRPr>
          </a:p>
        </p:txBody>
      </p:sp>
      <p:sp>
        <p:nvSpPr>
          <p:cNvPr id="23" name="Freeform 8">
            <a:extLst>
              <a:ext uri="{FF2B5EF4-FFF2-40B4-BE49-F238E27FC236}">
                <a16:creationId xmlns:a16="http://schemas.microsoft.com/office/drawing/2014/main" id="{4EE89166-2F77-4871-A787-E55C4167AE45}"/>
              </a:ext>
            </a:extLst>
          </p:cNvPr>
          <p:cNvSpPr>
            <a:spLocks/>
          </p:cNvSpPr>
          <p:nvPr/>
        </p:nvSpPr>
        <p:spPr bwMode="auto">
          <a:xfrm>
            <a:off x="10665884" y="4978401"/>
            <a:ext cx="131233" cy="338667"/>
          </a:xfrm>
          <a:custGeom>
            <a:avLst/>
            <a:gdLst/>
            <a:ahLst/>
            <a:cxnLst>
              <a:cxn ang="0">
                <a:pos x="3" y="0"/>
              </a:cxn>
              <a:cxn ang="0">
                <a:pos x="3" y="0"/>
              </a:cxn>
              <a:cxn ang="0">
                <a:pos x="22" y="12"/>
              </a:cxn>
              <a:cxn ang="0">
                <a:pos x="41" y="25"/>
              </a:cxn>
              <a:cxn ang="0">
                <a:pos x="60" y="40"/>
              </a:cxn>
              <a:cxn ang="0">
                <a:pos x="78" y="57"/>
              </a:cxn>
              <a:cxn ang="0">
                <a:pos x="87" y="65"/>
              </a:cxn>
              <a:cxn ang="0">
                <a:pos x="94" y="75"/>
              </a:cxn>
              <a:cxn ang="0">
                <a:pos x="102" y="85"/>
              </a:cxn>
              <a:cxn ang="0">
                <a:pos x="107" y="95"/>
              </a:cxn>
              <a:cxn ang="0">
                <a:pos x="114" y="105"/>
              </a:cxn>
              <a:cxn ang="0">
                <a:pos x="118" y="116"/>
              </a:cxn>
              <a:cxn ang="0">
                <a:pos x="121" y="128"/>
              </a:cxn>
              <a:cxn ang="0">
                <a:pos x="124" y="140"/>
              </a:cxn>
              <a:cxn ang="0">
                <a:pos x="124" y="140"/>
              </a:cxn>
              <a:cxn ang="0">
                <a:pos x="125" y="156"/>
              </a:cxn>
              <a:cxn ang="0">
                <a:pos x="124" y="173"/>
              </a:cxn>
              <a:cxn ang="0">
                <a:pos x="122" y="188"/>
              </a:cxn>
              <a:cxn ang="0">
                <a:pos x="119" y="202"/>
              </a:cxn>
              <a:cxn ang="0">
                <a:pos x="114" y="216"/>
              </a:cxn>
              <a:cxn ang="0">
                <a:pos x="108" y="230"/>
              </a:cxn>
              <a:cxn ang="0">
                <a:pos x="102" y="243"/>
              </a:cxn>
              <a:cxn ang="0">
                <a:pos x="93" y="255"/>
              </a:cxn>
              <a:cxn ang="0">
                <a:pos x="85" y="266"/>
              </a:cxn>
              <a:cxn ang="0">
                <a:pos x="75" y="277"/>
              </a:cxn>
              <a:cxn ang="0">
                <a:pos x="64" y="287"/>
              </a:cxn>
              <a:cxn ang="0">
                <a:pos x="52" y="295"/>
              </a:cxn>
              <a:cxn ang="0">
                <a:pos x="40" y="303"/>
              </a:cxn>
              <a:cxn ang="0">
                <a:pos x="27" y="309"/>
              </a:cxn>
              <a:cxn ang="0">
                <a:pos x="14" y="316"/>
              </a:cxn>
              <a:cxn ang="0">
                <a:pos x="1" y="320"/>
              </a:cxn>
              <a:cxn ang="0">
                <a:pos x="1" y="320"/>
              </a:cxn>
              <a:cxn ang="0">
                <a:pos x="0" y="239"/>
              </a:cxn>
              <a:cxn ang="0">
                <a:pos x="1" y="160"/>
              </a:cxn>
              <a:cxn ang="0">
                <a:pos x="2" y="79"/>
              </a:cxn>
              <a:cxn ang="0">
                <a:pos x="3" y="0"/>
              </a:cxn>
              <a:cxn ang="0">
                <a:pos x="3" y="0"/>
              </a:cxn>
            </a:cxnLst>
            <a:rect l="0" t="0" r="r" b="b"/>
            <a:pathLst>
              <a:path w="125" h="320">
                <a:moveTo>
                  <a:pt x="3" y="0"/>
                </a:moveTo>
                <a:lnTo>
                  <a:pt x="3" y="0"/>
                </a:lnTo>
                <a:lnTo>
                  <a:pt x="22" y="12"/>
                </a:lnTo>
                <a:lnTo>
                  <a:pt x="41" y="25"/>
                </a:lnTo>
                <a:lnTo>
                  <a:pt x="60" y="40"/>
                </a:lnTo>
                <a:lnTo>
                  <a:pt x="78" y="57"/>
                </a:lnTo>
                <a:lnTo>
                  <a:pt x="87" y="65"/>
                </a:lnTo>
                <a:lnTo>
                  <a:pt x="94" y="75"/>
                </a:lnTo>
                <a:lnTo>
                  <a:pt x="102" y="85"/>
                </a:lnTo>
                <a:lnTo>
                  <a:pt x="107" y="95"/>
                </a:lnTo>
                <a:lnTo>
                  <a:pt x="114" y="105"/>
                </a:lnTo>
                <a:lnTo>
                  <a:pt x="118" y="116"/>
                </a:lnTo>
                <a:lnTo>
                  <a:pt x="121" y="128"/>
                </a:lnTo>
                <a:lnTo>
                  <a:pt x="124" y="140"/>
                </a:lnTo>
                <a:lnTo>
                  <a:pt x="124" y="140"/>
                </a:lnTo>
                <a:lnTo>
                  <a:pt x="125" y="156"/>
                </a:lnTo>
                <a:lnTo>
                  <a:pt x="124" y="173"/>
                </a:lnTo>
                <a:lnTo>
                  <a:pt x="122" y="188"/>
                </a:lnTo>
                <a:lnTo>
                  <a:pt x="119" y="202"/>
                </a:lnTo>
                <a:lnTo>
                  <a:pt x="114" y="216"/>
                </a:lnTo>
                <a:lnTo>
                  <a:pt x="108" y="230"/>
                </a:lnTo>
                <a:lnTo>
                  <a:pt x="102" y="243"/>
                </a:lnTo>
                <a:lnTo>
                  <a:pt x="93" y="255"/>
                </a:lnTo>
                <a:lnTo>
                  <a:pt x="85" y="266"/>
                </a:lnTo>
                <a:lnTo>
                  <a:pt x="75" y="277"/>
                </a:lnTo>
                <a:lnTo>
                  <a:pt x="64" y="287"/>
                </a:lnTo>
                <a:lnTo>
                  <a:pt x="52" y="295"/>
                </a:lnTo>
                <a:lnTo>
                  <a:pt x="40" y="303"/>
                </a:lnTo>
                <a:lnTo>
                  <a:pt x="27" y="309"/>
                </a:lnTo>
                <a:lnTo>
                  <a:pt x="14" y="316"/>
                </a:lnTo>
                <a:lnTo>
                  <a:pt x="1" y="320"/>
                </a:lnTo>
                <a:lnTo>
                  <a:pt x="1" y="320"/>
                </a:lnTo>
                <a:lnTo>
                  <a:pt x="0" y="239"/>
                </a:lnTo>
                <a:lnTo>
                  <a:pt x="1" y="160"/>
                </a:lnTo>
                <a:lnTo>
                  <a:pt x="2" y="79"/>
                </a:lnTo>
                <a:lnTo>
                  <a:pt x="3" y="0"/>
                </a:lnTo>
                <a:lnTo>
                  <a:pt x="3" y="0"/>
                </a:lnTo>
                <a:close/>
              </a:path>
            </a:pathLst>
          </a:custGeom>
          <a:solidFill>
            <a:srgbClr val="FFFFFF"/>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solidFill>
                <a:schemeClr val="tx1">
                  <a:lumMod val="75000"/>
                  <a:lumOff val="25000"/>
                </a:schemeClr>
              </a:solidFill>
            </a:endParaRPr>
          </a:p>
        </p:txBody>
      </p:sp>
      <p:sp>
        <p:nvSpPr>
          <p:cNvPr id="24" name="Freeform 9">
            <a:extLst>
              <a:ext uri="{FF2B5EF4-FFF2-40B4-BE49-F238E27FC236}">
                <a16:creationId xmlns:a16="http://schemas.microsoft.com/office/drawing/2014/main" id="{49755BDC-BFD5-45C2-9994-BE3293D73546}"/>
              </a:ext>
            </a:extLst>
          </p:cNvPr>
          <p:cNvSpPr>
            <a:spLocks/>
          </p:cNvSpPr>
          <p:nvPr/>
        </p:nvSpPr>
        <p:spPr bwMode="auto">
          <a:xfrm>
            <a:off x="10007601" y="5386918"/>
            <a:ext cx="247650" cy="232833"/>
          </a:xfrm>
          <a:custGeom>
            <a:avLst/>
            <a:gdLst/>
            <a:ahLst/>
            <a:cxnLst>
              <a:cxn ang="0">
                <a:pos x="0" y="0"/>
              </a:cxn>
              <a:cxn ang="0">
                <a:pos x="0" y="0"/>
              </a:cxn>
              <a:cxn ang="0">
                <a:pos x="60" y="8"/>
              </a:cxn>
              <a:cxn ang="0">
                <a:pos x="117" y="16"/>
              </a:cxn>
              <a:cxn ang="0">
                <a:pos x="176" y="23"/>
              </a:cxn>
              <a:cxn ang="0">
                <a:pos x="234" y="31"/>
              </a:cxn>
              <a:cxn ang="0">
                <a:pos x="234" y="31"/>
              </a:cxn>
              <a:cxn ang="0">
                <a:pos x="234" y="45"/>
              </a:cxn>
              <a:cxn ang="0">
                <a:pos x="232" y="59"/>
              </a:cxn>
              <a:cxn ang="0">
                <a:pos x="230" y="73"/>
              </a:cxn>
              <a:cxn ang="0">
                <a:pos x="230" y="87"/>
              </a:cxn>
              <a:cxn ang="0">
                <a:pos x="230" y="87"/>
              </a:cxn>
              <a:cxn ang="0">
                <a:pos x="154" y="77"/>
              </a:cxn>
              <a:cxn ang="0">
                <a:pos x="78" y="69"/>
              </a:cxn>
              <a:cxn ang="0">
                <a:pos x="78" y="69"/>
              </a:cxn>
              <a:cxn ang="0">
                <a:pos x="84" y="101"/>
              </a:cxn>
              <a:cxn ang="0">
                <a:pos x="91" y="136"/>
              </a:cxn>
              <a:cxn ang="0">
                <a:pos x="100" y="172"/>
              </a:cxn>
              <a:cxn ang="0">
                <a:pos x="110" y="205"/>
              </a:cxn>
              <a:cxn ang="0">
                <a:pos x="110" y="205"/>
              </a:cxn>
              <a:cxn ang="0">
                <a:pos x="103" y="209"/>
              </a:cxn>
              <a:cxn ang="0">
                <a:pos x="97" y="211"/>
              </a:cxn>
              <a:cxn ang="0">
                <a:pos x="83" y="214"/>
              </a:cxn>
              <a:cxn ang="0">
                <a:pos x="68" y="217"/>
              </a:cxn>
              <a:cxn ang="0">
                <a:pos x="52" y="221"/>
              </a:cxn>
              <a:cxn ang="0">
                <a:pos x="52" y="221"/>
              </a:cxn>
              <a:cxn ang="0">
                <a:pos x="26" y="111"/>
              </a:cxn>
              <a:cxn ang="0">
                <a:pos x="13" y="57"/>
              </a:cxn>
              <a:cxn ang="0">
                <a:pos x="0" y="0"/>
              </a:cxn>
              <a:cxn ang="0">
                <a:pos x="0" y="0"/>
              </a:cxn>
            </a:cxnLst>
            <a:rect l="0" t="0" r="r" b="b"/>
            <a:pathLst>
              <a:path w="234" h="221">
                <a:moveTo>
                  <a:pt x="0" y="0"/>
                </a:moveTo>
                <a:lnTo>
                  <a:pt x="0" y="0"/>
                </a:lnTo>
                <a:lnTo>
                  <a:pt x="60" y="8"/>
                </a:lnTo>
                <a:lnTo>
                  <a:pt x="117" y="16"/>
                </a:lnTo>
                <a:lnTo>
                  <a:pt x="176" y="23"/>
                </a:lnTo>
                <a:lnTo>
                  <a:pt x="234" y="31"/>
                </a:lnTo>
                <a:lnTo>
                  <a:pt x="234" y="31"/>
                </a:lnTo>
                <a:lnTo>
                  <a:pt x="234" y="45"/>
                </a:lnTo>
                <a:lnTo>
                  <a:pt x="232" y="59"/>
                </a:lnTo>
                <a:lnTo>
                  <a:pt x="230" y="73"/>
                </a:lnTo>
                <a:lnTo>
                  <a:pt x="230" y="87"/>
                </a:lnTo>
                <a:lnTo>
                  <a:pt x="230" y="87"/>
                </a:lnTo>
                <a:lnTo>
                  <a:pt x="154" y="77"/>
                </a:lnTo>
                <a:lnTo>
                  <a:pt x="78" y="69"/>
                </a:lnTo>
                <a:lnTo>
                  <a:pt x="78" y="69"/>
                </a:lnTo>
                <a:lnTo>
                  <a:pt x="84" y="101"/>
                </a:lnTo>
                <a:lnTo>
                  <a:pt x="91" y="136"/>
                </a:lnTo>
                <a:lnTo>
                  <a:pt x="100" y="172"/>
                </a:lnTo>
                <a:lnTo>
                  <a:pt x="110" y="205"/>
                </a:lnTo>
                <a:lnTo>
                  <a:pt x="110" y="205"/>
                </a:lnTo>
                <a:lnTo>
                  <a:pt x="103" y="209"/>
                </a:lnTo>
                <a:lnTo>
                  <a:pt x="97" y="211"/>
                </a:lnTo>
                <a:lnTo>
                  <a:pt x="83" y="214"/>
                </a:lnTo>
                <a:lnTo>
                  <a:pt x="68" y="217"/>
                </a:lnTo>
                <a:lnTo>
                  <a:pt x="52" y="221"/>
                </a:lnTo>
                <a:lnTo>
                  <a:pt x="52" y="221"/>
                </a:lnTo>
                <a:lnTo>
                  <a:pt x="26" y="111"/>
                </a:lnTo>
                <a:lnTo>
                  <a:pt x="13" y="57"/>
                </a:lnTo>
                <a:lnTo>
                  <a:pt x="0" y="0"/>
                </a:lnTo>
                <a:lnTo>
                  <a:pt x="0" y="0"/>
                </a:lnTo>
                <a:close/>
              </a:path>
            </a:pathLst>
          </a:custGeom>
          <a:solidFill>
            <a:srgbClr val="1E3ADA"/>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solidFill>
                <a:schemeClr val="tx1">
                  <a:lumMod val="75000"/>
                  <a:lumOff val="25000"/>
                </a:schemeClr>
              </a:solidFill>
            </a:endParaRPr>
          </a:p>
        </p:txBody>
      </p:sp>
      <p:sp>
        <p:nvSpPr>
          <p:cNvPr id="25" name="Freeform 10">
            <a:extLst>
              <a:ext uri="{FF2B5EF4-FFF2-40B4-BE49-F238E27FC236}">
                <a16:creationId xmlns:a16="http://schemas.microsoft.com/office/drawing/2014/main" id="{AE7B9BF0-DF03-4057-8E49-076C4762B759}"/>
              </a:ext>
            </a:extLst>
          </p:cNvPr>
          <p:cNvSpPr>
            <a:spLocks noEditPoints="1"/>
          </p:cNvSpPr>
          <p:nvPr/>
        </p:nvSpPr>
        <p:spPr bwMode="auto">
          <a:xfrm>
            <a:off x="9973734" y="4097867"/>
            <a:ext cx="1297517" cy="1581151"/>
          </a:xfrm>
          <a:custGeom>
            <a:avLst/>
            <a:gdLst/>
            <a:ahLst/>
            <a:cxnLst>
              <a:cxn ang="0">
                <a:pos x="784" y="771"/>
              </a:cxn>
              <a:cxn ang="0">
                <a:pos x="888" y="894"/>
              </a:cxn>
              <a:cxn ang="0">
                <a:pos x="897" y="1009"/>
              </a:cxn>
              <a:cxn ang="0">
                <a:pos x="856" y="1129"/>
              </a:cxn>
              <a:cxn ang="0">
                <a:pos x="734" y="1237"/>
              </a:cxn>
              <a:cxn ang="0">
                <a:pos x="586" y="1170"/>
              </a:cxn>
              <a:cxn ang="0">
                <a:pos x="360" y="1122"/>
              </a:cxn>
              <a:cxn ang="0">
                <a:pos x="185" y="1011"/>
              </a:cxn>
              <a:cxn ang="0">
                <a:pos x="36" y="794"/>
              </a:cxn>
              <a:cxn ang="0">
                <a:pos x="3" y="527"/>
              </a:cxn>
              <a:cxn ang="0">
                <a:pos x="57" y="339"/>
              </a:cxn>
              <a:cxn ang="0">
                <a:pos x="167" y="187"/>
              </a:cxn>
              <a:cxn ang="0">
                <a:pos x="380" y="44"/>
              </a:cxn>
              <a:cxn ang="0">
                <a:pos x="587" y="0"/>
              </a:cxn>
              <a:cxn ang="0">
                <a:pos x="782" y="20"/>
              </a:cxn>
              <a:cxn ang="0">
                <a:pos x="954" y="97"/>
              </a:cxn>
              <a:cxn ang="0">
                <a:pos x="1017" y="79"/>
              </a:cxn>
              <a:cxn ang="0">
                <a:pos x="1096" y="136"/>
              </a:cxn>
              <a:cxn ang="0">
                <a:pos x="895" y="202"/>
              </a:cxn>
              <a:cxn ang="0">
                <a:pos x="1029" y="164"/>
              </a:cxn>
              <a:cxn ang="0">
                <a:pos x="855" y="94"/>
              </a:cxn>
              <a:cxn ang="0">
                <a:pos x="611" y="79"/>
              </a:cxn>
              <a:cxn ang="0">
                <a:pos x="389" y="152"/>
              </a:cxn>
              <a:cxn ang="0">
                <a:pos x="194" y="331"/>
              </a:cxn>
              <a:cxn ang="0">
                <a:pos x="112" y="578"/>
              </a:cxn>
              <a:cxn ang="0">
                <a:pos x="166" y="839"/>
              </a:cxn>
              <a:cxn ang="0">
                <a:pos x="311" y="1021"/>
              </a:cxn>
              <a:cxn ang="0">
                <a:pos x="552" y="1144"/>
              </a:cxn>
              <a:cxn ang="0">
                <a:pos x="566" y="779"/>
              </a:cxn>
              <a:cxn ang="0">
                <a:pos x="375" y="614"/>
              </a:cxn>
              <a:cxn ang="0">
                <a:pos x="337" y="494"/>
              </a:cxn>
              <a:cxn ang="0">
                <a:pos x="390" y="319"/>
              </a:cxn>
              <a:cxn ang="0">
                <a:pos x="586" y="226"/>
              </a:cxn>
              <a:cxn ang="0">
                <a:pos x="656" y="267"/>
              </a:cxn>
              <a:cxn ang="0">
                <a:pos x="825" y="345"/>
              </a:cxn>
              <a:cxn ang="0">
                <a:pos x="1022" y="459"/>
              </a:cxn>
              <a:cxn ang="0">
                <a:pos x="1150" y="609"/>
              </a:cxn>
              <a:cxn ang="0">
                <a:pos x="1225" y="843"/>
              </a:cxn>
              <a:cxn ang="0">
                <a:pos x="1204" y="1056"/>
              </a:cxn>
              <a:cxn ang="0">
                <a:pos x="1108" y="1246"/>
              </a:cxn>
              <a:cxn ang="0">
                <a:pos x="960" y="1382"/>
              </a:cxn>
              <a:cxn ang="0">
                <a:pos x="795" y="1461"/>
              </a:cxn>
              <a:cxn ang="0">
                <a:pos x="557" y="1493"/>
              </a:cxn>
              <a:cxn ang="0">
                <a:pos x="351" y="1453"/>
              </a:cxn>
              <a:cxn ang="0">
                <a:pos x="177" y="1351"/>
              </a:cxn>
              <a:cxn ang="0">
                <a:pos x="245" y="1362"/>
              </a:cxn>
              <a:cxn ang="0">
                <a:pos x="454" y="1415"/>
              </a:cxn>
              <a:cxn ang="0">
                <a:pos x="658" y="1404"/>
              </a:cxn>
              <a:cxn ang="0">
                <a:pos x="830" y="1340"/>
              </a:cxn>
              <a:cxn ang="0">
                <a:pos x="1045" y="1136"/>
              </a:cxn>
              <a:cxn ang="0">
                <a:pos x="1112" y="967"/>
              </a:cxn>
              <a:cxn ang="0">
                <a:pos x="1104" y="759"/>
              </a:cxn>
              <a:cxn ang="0">
                <a:pos x="1007" y="563"/>
              </a:cxn>
              <a:cxn ang="0">
                <a:pos x="875" y="435"/>
              </a:cxn>
              <a:cxn ang="0">
                <a:pos x="681" y="342"/>
              </a:cxn>
              <a:cxn ang="0">
                <a:pos x="513" y="362"/>
              </a:cxn>
              <a:cxn ang="0">
                <a:pos x="459" y="459"/>
              </a:cxn>
              <a:cxn ang="0">
                <a:pos x="490" y="566"/>
              </a:cxn>
              <a:cxn ang="0">
                <a:pos x="586" y="563"/>
              </a:cxn>
              <a:cxn ang="0">
                <a:pos x="654" y="1152"/>
              </a:cxn>
              <a:cxn ang="0">
                <a:pos x="755" y="1075"/>
              </a:cxn>
              <a:cxn ang="0">
                <a:pos x="774" y="960"/>
              </a:cxn>
              <a:cxn ang="0">
                <a:pos x="694" y="857"/>
              </a:cxn>
            </a:cxnLst>
            <a:rect l="0" t="0" r="r" b="b"/>
            <a:pathLst>
              <a:path w="1226" h="1494">
                <a:moveTo>
                  <a:pt x="656" y="334"/>
                </a:moveTo>
                <a:lnTo>
                  <a:pt x="656" y="334"/>
                </a:lnTo>
                <a:lnTo>
                  <a:pt x="656" y="687"/>
                </a:lnTo>
                <a:lnTo>
                  <a:pt x="656" y="687"/>
                </a:lnTo>
                <a:lnTo>
                  <a:pt x="673" y="700"/>
                </a:lnTo>
                <a:lnTo>
                  <a:pt x="690" y="713"/>
                </a:lnTo>
                <a:lnTo>
                  <a:pt x="727" y="736"/>
                </a:lnTo>
                <a:lnTo>
                  <a:pt x="765" y="759"/>
                </a:lnTo>
                <a:lnTo>
                  <a:pt x="784" y="771"/>
                </a:lnTo>
                <a:lnTo>
                  <a:pt x="801" y="784"/>
                </a:lnTo>
                <a:lnTo>
                  <a:pt x="819" y="797"/>
                </a:lnTo>
                <a:lnTo>
                  <a:pt x="835" y="812"/>
                </a:lnTo>
                <a:lnTo>
                  <a:pt x="850" y="827"/>
                </a:lnTo>
                <a:lnTo>
                  <a:pt x="863" y="844"/>
                </a:lnTo>
                <a:lnTo>
                  <a:pt x="875" y="863"/>
                </a:lnTo>
                <a:lnTo>
                  <a:pt x="881" y="872"/>
                </a:lnTo>
                <a:lnTo>
                  <a:pt x="885" y="883"/>
                </a:lnTo>
                <a:lnTo>
                  <a:pt x="888" y="894"/>
                </a:lnTo>
                <a:lnTo>
                  <a:pt x="891" y="905"/>
                </a:lnTo>
                <a:lnTo>
                  <a:pt x="895" y="917"/>
                </a:lnTo>
                <a:lnTo>
                  <a:pt x="897" y="930"/>
                </a:lnTo>
                <a:lnTo>
                  <a:pt x="897" y="930"/>
                </a:lnTo>
                <a:lnTo>
                  <a:pt x="898" y="946"/>
                </a:lnTo>
                <a:lnTo>
                  <a:pt x="899" y="962"/>
                </a:lnTo>
                <a:lnTo>
                  <a:pt x="899" y="978"/>
                </a:lnTo>
                <a:lnTo>
                  <a:pt x="899" y="994"/>
                </a:lnTo>
                <a:lnTo>
                  <a:pt x="897" y="1009"/>
                </a:lnTo>
                <a:lnTo>
                  <a:pt x="896" y="1024"/>
                </a:lnTo>
                <a:lnTo>
                  <a:pt x="892" y="1038"/>
                </a:lnTo>
                <a:lnTo>
                  <a:pt x="889" y="1052"/>
                </a:lnTo>
                <a:lnTo>
                  <a:pt x="885" y="1067"/>
                </a:lnTo>
                <a:lnTo>
                  <a:pt x="881" y="1080"/>
                </a:lnTo>
                <a:lnTo>
                  <a:pt x="875" y="1093"/>
                </a:lnTo>
                <a:lnTo>
                  <a:pt x="870" y="1106"/>
                </a:lnTo>
                <a:lnTo>
                  <a:pt x="863" y="1118"/>
                </a:lnTo>
                <a:lnTo>
                  <a:pt x="856" y="1129"/>
                </a:lnTo>
                <a:lnTo>
                  <a:pt x="848" y="1141"/>
                </a:lnTo>
                <a:lnTo>
                  <a:pt x="840" y="1152"/>
                </a:lnTo>
                <a:lnTo>
                  <a:pt x="832" y="1163"/>
                </a:lnTo>
                <a:lnTo>
                  <a:pt x="823" y="1173"/>
                </a:lnTo>
                <a:lnTo>
                  <a:pt x="813" y="1183"/>
                </a:lnTo>
                <a:lnTo>
                  <a:pt x="803" y="1192"/>
                </a:lnTo>
                <a:lnTo>
                  <a:pt x="782" y="1209"/>
                </a:lnTo>
                <a:lnTo>
                  <a:pt x="759" y="1224"/>
                </a:lnTo>
                <a:lnTo>
                  <a:pt x="734" y="1237"/>
                </a:lnTo>
                <a:lnTo>
                  <a:pt x="708" y="1248"/>
                </a:lnTo>
                <a:lnTo>
                  <a:pt x="681" y="1256"/>
                </a:lnTo>
                <a:lnTo>
                  <a:pt x="654" y="1263"/>
                </a:lnTo>
                <a:lnTo>
                  <a:pt x="654" y="1263"/>
                </a:lnTo>
                <a:lnTo>
                  <a:pt x="654" y="1350"/>
                </a:lnTo>
                <a:lnTo>
                  <a:pt x="654" y="1350"/>
                </a:lnTo>
                <a:lnTo>
                  <a:pt x="586" y="1350"/>
                </a:lnTo>
                <a:lnTo>
                  <a:pt x="586" y="1350"/>
                </a:lnTo>
                <a:lnTo>
                  <a:pt x="586" y="1170"/>
                </a:lnTo>
                <a:lnTo>
                  <a:pt x="586" y="1170"/>
                </a:lnTo>
                <a:lnTo>
                  <a:pt x="555" y="1167"/>
                </a:lnTo>
                <a:lnTo>
                  <a:pt x="524" y="1164"/>
                </a:lnTo>
                <a:lnTo>
                  <a:pt x="495" y="1160"/>
                </a:lnTo>
                <a:lnTo>
                  <a:pt x="466" y="1154"/>
                </a:lnTo>
                <a:lnTo>
                  <a:pt x="438" y="1148"/>
                </a:lnTo>
                <a:lnTo>
                  <a:pt x="410" y="1140"/>
                </a:lnTo>
                <a:lnTo>
                  <a:pt x="384" y="1132"/>
                </a:lnTo>
                <a:lnTo>
                  <a:pt x="360" y="1122"/>
                </a:lnTo>
                <a:lnTo>
                  <a:pt x="335" y="1112"/>
                </a:lnTo>
                <a:lnTo>
                  <a:pt x="311" y="1100"/>
                </a:lnTo>
                <a:lnTo>
                  <a:pt x="288" y="1088"/>
                </a:lnTo>
                <a:lnTo>
                  <a:pt x="265" y="1074"/>
                </a:lnTo>
                <a:lnTo>
                  <a:pt x="245" y="1060"/>
                </a:lnTo>
                <a:lnTo>
                  <a:pt x="224" y="1045"/>
                </a:lnTo>
                <a:lnTo>
                  <a:pt x="204" y="1029"/>
                </a:lnTo>
                <a:lnTo>
                  <a:pt x="185" y="1011"/>
                </a:lnTo>
                <a:lnTo>
                  <a:pt x="185" y="1011"/>
                </a:lnTo>
                <a:lnTo>
                  <a:pt x="165" y="992"/>
                </a:lnTo>
                <a:lnTo>
                  <a:pt x="145" y="971"/>
                </a:lnTo>
                <a:lnTo>
                  <a:pt x="127" y="949"/>
                </a:lnTo>
                <a:lnTo>
                  <a:pt x="109" y="927"/>
                </a:lnTo>
                <a:lnTo>
                  <a:pt x="92" y="903"/>
                </a:lnTo>
                <a:lnTo>
                  <a:pt x="77" y="878"/>
                </a:lnTo>
                <a:lnTo>
                  <a:pt x="62" y="851"/>
                </a:lnTo>
                <a:lnTo>
                  <a:pt x="49" y="823"/>
                </a:lnTo>
                <a:lnTo>
                  <a:pt x="36" y="794"/>
                </a:lnTo>
                <a:lnTo>
                  <a:pt x="26" y="764"/>
                </a:lnTo>
                <a:lnTo>
                  <a:pt x="17" y="732"/>
                </a:lnTo>
                <a:lnTo>
                  <a:pt x="10" y="699"/>
                </a:lnTo>
                <a:lnTo>
                  <a:pt x="4" y="664"/>
                </a:lnTo>
                <a:lnTo>
                  <a:pt x="1" y="628"/>
                </a:lnTo>
                <a:lnTo>
                  <a:pt x="0" y="590"/>
                </a:lnTo>
                <a:lnTo>
                  <a:pt x="1" y="550"/>
                </a:lnTo>
                <a:lnTo>
                  <a:pt x="1" y="550"/>
                </a:lnTo>
                <a:lnTo>
                  <a:pt x="3" y="527"/>
                </a:lnTo>
                <a:lnTo>
                  <a:pt x="5" y="505"/>
                </a:lnTo>
                <a:lnTo>
                  <a:pt x="9" y="483"/>
                </a:lnTo>
                <a:lnTo>
                  <a:pt x="14" y="461"/>
                </a:lnTo>
                <a:lnTo>
                  <a:pt x="19" y="439"/>
                </a:lnTo>
                <a:lnTo>
                  <a:pt x="25" y="419"/>
                </a:lnTo>
                <a:lnTo>
                  <a:pt x="32" y="398"/>
                </a:lnTo>
                <a:lnTo>
                  <a:pt x="40" y="378"/>
                </a:lnTo>
                <a:lnTo>
                  <a:pt x="48" y="358"/>
                </a:lnTo>
                <a:lnTo>
                  <a:pt x="57" y="339"/>
                </a:lnTo>
                <a:lnTo>
                  <a:pt x="67" y="320"/>
                </a:lnTo>
                <a:lnTo>
                  <a:pt x="77" y="302"/>
                </a:lnTo>
                <a:lnTo>
                  <a:pt x="89" y="283"/>
                </a:lnTo>
                <a:lnTo>
                  <a:pt x="100" y="266"/>
                </a:lnTo>
                <a:lnTo>
                  <a:pt x="113" y="250"/>
                </a:lnTo>
                <a:lnTo>
                  <a:pt x="126" y="233"/>
                </a:lnTo>
                <a:lnTo>
                  <a:pt x="139" y="217"/>
                </a:lnTo>
                <a:lnTo>
                  <a:pt x="153" y="202"/>
                </a:lnTo>
                <a:lnTo>
                  <a:pt x="167" y="187"/>
                </a:lnTo>
                <a:lnTo>
                  <a:pt x="181" y="173"/>
                </a:lnTo>
                <a:lnTo>
                  <a:pt x="196" y="158"/>
                </a:lnTo>
                <a:lnTo>
                  <a:pt x="211" y="145"/>
                </a:lnTo>
                <a:lnTo>
                  <a:pt x="244" y="120"/>
                </a:lnTo>
                <a:lnTo>
                  <a:pt x="276" y="98"/>
                </a:lnTo>
                <a:lnTo>
                  <a:pt x="310" y="77"/>
                </a:lnTo>
                <a:lnTo>
                  <a:pt x="344" y="60"/>
                </a:lnTo>
                <a:lnTo>
                  <a:pt x="380" y="44"/>
                </a:lnTo>
                <a:lnTo>
                  <a:pt x="380" y="44"/>
                </a:lnTo>
                <a:lnTo>
                  <a:pt x="401" y="36"/>
                </a:lnTo>
                <a:lnTo>
                  <a:pt x="421" y="29"/>
                </a:lnTo>
                <a:lnTo>
                  <a:pt x="444" y="23"/>
                </a:lnTo>
                <a:lnTo>
                  <a:pt x="467" y="17"/>
                </a:lnTo>
                <a:lnTo>
                  <a:pt x="490" y="12"/>
                </a:lnTo>
                <a:lnTo>
                  <a:pt x="513" y="8"/>
                </a:lnTo>
                <a:lnTo>
                  <a:pt x="537" y="4"/>
                </a:lnTo>
                <a:lnTo>
                  <a:pt x="562" y="2"/>
                </a:lnTo>
                <a:lnTo>
                  <a:pt x="587" y="0"/>
                </a:lnTo>
                <a:lnTo>
                  <a:pt x="612" y="0"/>
                </a:lnTo>
                <a:lnTo>
                  <a:pt x="637" y="0"/>
                </a:lnTo>
                <a:lnTo>
                  <a:pt x="662" y="1"/>
                </a:lnTo>
                <a:lnTo>
                  <a:pt x="687" y="3"/>
                </a:lnTo>
                <a:lnTo>
                  <a:pt x="712" y="5"/>
                </a:lnTo>
                <a:lnTo>
                  <a:pt x="736" y="10"/>
                </a:lnTo>
                <a:lnTo>
                  <a:pt x="760" y="14"/>
                </a:lnTo>
                <a:lnTo>
                  <a:pt x="760" y="14"/>
                </a:lnTo>
                <a:lnTo>
                  <a:pt x="782" y="20"/>
                </a:lnTo>
                <a:lnTo>
                  <a:pt x="804" y="26"/>
                </a:lnTo>
                <a:lnTo>
                  <a:pt x="824" y="33"/>
                </a:lnTo>
                <a:lnTo>
                  <a:pt x="845" y="40"/>
                </a:lnTo>
                <a:lnTo>
                  <a:pt x="864" y="48"/>
                </a:lnTo>
                <a:lnTo>
                  <a:pt x="884" y="56"/>
                </a:lnTo>
                <a:lnTo>
                  <a:pt x="902" y="66"/>
                </a:lnTo>
                <a:lnTo>
                  <a:pt x="920" y="76"/>
                </a:lnTo>
                <a:lnTo>
                  <a:pt x="938" y="86"/>
                </a:lnTo>
                <a:lnTo>
                  <a:pt x="954" y="97"/>
                </a:lnTo>
                <a:lnTo>
                  <a:pt x="970" y="107"/>
                </a:lnTo>
                <a:lnTo>
                  <a:pt x="987" y="119"/>
                </a:lnTo>
                <a:lnTo>
                  <a:pt x="1002" y="132"/>
                </a:lnTo>
                <a:lnTo>
                  <a:pt x="1017" y="144"/>
                </a:lnTo>
                <a:lnTo>
                  <a:pt x="1046" y="171"/>
                </a:lnTo>
                <a:lnTo>
                  <a:pt x="1046" y="171"/>
                </a:lnTo>
                <a:lnTo>
                  <a:pt x="1036" y="140"/>
                </a:lnTo>
                <a:lnTo>
                  <a:pt x="1027" y="110"/>
                </a:lnTo>
                <a:lnTo>
                  <a:pt x="1017" y="79"/>
                </a:lnTo>
                <a:lnTo>
                  <a:pt x="1007" y="49"/>
                </a:lnTo>
                <a:lnTo>
                  <a:pt x="1007" y="49"/>
                </a:lnTo>
                <a:lnTo>
                  <a:pt x="1013" y="44"/>
                </a:lnTo>
                <a:lnTo>
                  <a:pt x="1019" y="41"/>
                </a:lnTo>
                <a:lnTo>
                  <a:pt x="1032" y="36"/>
                </a:lnTo>
                <a:lnTo>
                  <a:pt x="1061" y="28"/>
                </a:lnTo>
                <a:lnTo>
                  <a:pt x="1061" y="28"/>
                </a:lnTo>
                <a:lnTo>
                  <a:pt x="1079" y="82"/>
                </a:lnTo>
                <a:lnTo>
                  <a:pt x="1096" y="136"/>
                </a:lnTo>
                <a:lnTo>
                  <a:pt x="1113" y="189"/>
                </a:lnTo>
                <a:lnTo>
                  <a:pt x="1122" y="216"/>
                </a:lnTo>
                <a:lnTo>
                  <a:pt x="1130" y="244"/>
                </a:lnTo>
                <a:lnTo>
                  <a:pt x="1130" y="244"/>
                </a:lnTo>
                <a:lnTo>
                  <a:pt x="1013" y="238"/>
                </a:lnTo>
                <a:lnTo>
                  <a:pt x="895" y="232"/>
                </a:lnTo>
                <a:lnTo>
                  <a:pt x="895" y="232"/>
                </a:lnTo>
                <a:lnTo>
                  <a:pt x="894" y="217"/>
                </a:lnTo>
                <a:lnTo>
                  <a:pt x="895" y="202"/>
                </a:lnTo>
                <a:lnTo>
                  <a:pt x="897" y="174"/>
                </a:lnTo>
                <a:lnTo>
                  <a:pt x="897" y="174"/>
                </a:lnTo>
                <a:lnTo>
                  <a:pt x="935" y="176"/>
                </a:lnTo>
                <a:lnTo>
                  <a:pt x="974" y="178"/>
                </a:lnTo>
                <a:lnTo>
                  <a:pt x="1013" y="180"/>
                </a:lnTo>
                <a:lnTo>
                  <a:pt x="1051" y="182"/>
                </a:lnTo>
                <a:lnTo>
                  <a:pt x="1051" y="182"/>
                </a:lnTo>
                <a:lnTo>
                  <a:pt x="1041" y="173"/>
                </a:lnTo>
                <a:lnTo>
                  <a:pt x="1029" y="164"/>
                </a:lnTo>
                <a:lnTo>
                  <a:pt x="1017" y="156"/>
                </a:lnTo>
                <a:lnTo>
                  <a:pt x="1004" y="149"/>
                </a:lnTo>
                <a:lnTo>
                  <a:pt x="976" y="136"/>
                </a:lnTo>
                <a:lnTo>
                  <a:pt x="947" y="124"/>
                </a:lnTo>
                <a:lnTo>
                  <a:pt x="947" y="124"/>
                </a:lnTo>
                <a:lnTo>
                  <a:pt x="925" y="115"/>
                </a:lnTo>
                <a:lnTo>
                  <a:pt x="902" y="107"/>
                </a:lnTo>
                <a:lnTo>
                  <a:pt x="878" y="100"/>
                </a:lnTo>
                <a:lnTo>
                  <a:pt x="855" y="94"/>
                </a:lnTo>
                <a:lnTo>
                  <a:pt x="830" y="89"/>
                </a:lnTo>
                <a:lnTo>
                  <a:pt x="804" y="84"/>
                </a:lnTo>
                <a:lnTo>
                  <a:pt x="777" y="80"/>
                </a:lnTo>
                <a:lnTo>
                  <a:pt x="749" y="77"/>
                </a:lnTo>
                <a:lnTo>
                  <a:pt x="722" y="75"/>
                </a:lnTo>
                <a:lnTo>
                  <a:pt x="694" y="75"/>
                </a:lnTo>
                <a:lnTo>
                  <a:pt x="667" y="75"/>
                </a:lnTo>
                <a:lnTo>
                  <a:pt x="639" y="76"/>
                </a:lnTo>
                <a:lnTo>
                  <a:pt x="611" y="79"/>
                </a:lnTo>
                <a:lnTo>
                  <a:pt x="584" y="82"/>
                </a:lnTo>
                <a:lnTo>
                  <a:pt x="557" y="88"/>
                </a:lnTo>
                <a:lnTo>
                  <a:pt x="530" y="94"/>
                </a:lnTo>
                <a:lnTo>
                  <a:pt x="530" y="94"/>
                </a:lnTo>
                <a:lnTo>
                  <a:pt x="499" y="103"/>
                </a:lnTo>
                <a:lnTo>
                  <a:pt x="471" y="113"/>
                </a:lnTo>
                <a:lnTo>
                  <a:pt x="443" y="125"/>
                </a:lnTo>
                <a:lnTo>
                  <a:pt x="415" y="138"/>
                </a:lnTo>
                <a:lnTo>
                  <a:pt x="389" y="152"/>
                </a:lnTo>
                <a:lnTo>
                  <a:pt x="363" y="167"/>
                </a:lnTo>
                <a:lnTo>
                  <a:pt x="338" y="184"/>
                </a:lnTo>
                <a:lnTo>
                  <a:pt x="313" y="202"/>
                </a:lnTo>
                <a:lnTo>
                  <a:pt x="290" y="221"/>
                </a:lnTo>
                <a:lnTo>
                  <a:pt x="269" y="241"/>
                </a:lnTo>
                <a:lnTo>
                  <a:pt x="248" y="261"/>
                </a:lnTo>
                <a:lnTo>
                  <a:pt x="229" y="284"/>
                </a:lnTo>
                <a:lnTo>
                  <a:pt x="210" y="307"/>
                </a:lnTo>
                <a:lnTo>
                  <a:pt x="194" y="331"/>
                </a:lnTo>
                <a:lnTo>
                  <a:pt x="179" y="355"/>
                </a:lnTo>
                <a:lnTo>
                  <a:pt x="165" y="380"/>
                </a:lnTo>
                <a:lnTo>
                  <a:pt x="165" y="380"/>
                </a:lnTo>
                <a:lnTo>
                  <a:pt x="151" y="410"/>
                </a:lnTo>
                <a:lnTo>
                  <a:pt x="139" y="442"/>
                </a:lnTo>
                <a:lnTo>
                  <a:pt x="128" y="474"/>
                </a:lnTo>
                <a:lnTo>
                  <a:pt x="120" y="509"/>
                </a:lnTo>
                <a:lnTo>
                  <a:pt x="115" y="544"/>
                </a:lnTo>
                <a:lnTo>
                  <a:pt x="112" y="578"/>
                </a:lnTo>
                <a:lnTo>
                  <a:pt x="110" y="614"/>
                </a:lnTo>
                <a:lnTo>
                  <a:pt x="113" y="650"/>
                </a:lnTo>
                <a:lnTo>
                  <a:pt x="113" y="650"/>
                </a:lnTo>
                <a:lnTo>
                  <a:pt x="116" y="686"/>
                </a:lnTo>
                <a:lnTo>
                  <a:pt x="122" y="719"/>
                </a:lnTo>
                <a:lnTo>
                  <a:pt x="131" y="752"/>
                </a:lnTo>
                <a:lnTo>
                  <a:pt x="141" y="782"/>
                </a:lnTo>
                <a:lnTo>
                  <a:pt x="153" y="810"/>
                </a:lnTo>
                <a:lnTo>
                  <a:pt x="166" y="839"/>
                </a:lnTo>
                <a:lnTo>
                  <a:pt x="180" y="865"/>
                </a:lnTo>
                <a:lnTo>
                  <a:pt x="196" y="891"/>
                </a:lnTo>
                <a:lnTo>
                  <a:pt x="196" y="891"/>
                </a:lnTo>
                <a:lnTo>
                  <a:pt x="212" y="916"/>
                </a:lnTo>
                <a:lnTo>
                  <a:pt x="231" y="938"/>
                </a:lnTo>
                <a:lnTo>
                  <a:pt x="249" y="960"/>
                </a:lnTo>
                <a:lnTo>
                  <a:pt x="269" y="982"/>
                </a:lnTo>
                <a:lnTo>
                  <a:pt x="289" y="1001"/>
                </a:lnTo>
                <a:lnTo>
                  <a:pt x="311" y="1021"/>
                </a:lnTo>
                <a:lnTo>
                  <a:pt x="334" y="1038"/>
                </a:lnTo>
                <a:lnTo>
                  <a:pt x="357" y="1056"/>
                </a:lnTo>
                <a:lnTo>
                  <a:pt x="382" y="1071"/>
                </a:lnTo>
                <a:lnTo>
                  <a:pt x="408" y="1086"/>
                </a:lnTo>
                <a:lnTo>
                  <a:pt x="435" y="1099"/>
                </a:lnTo>
                <a:lnTo>
                  <a:pt x="462" y="1112"/>
                </a:lnTo>
                <a:lnTo>
                  <a:pt x="492" y="1124"/>
                </a:lnTo>
                <a:lnTo>
                  <a:pt x="521" y="1134"/>
                </a:lnTo>
                <a:lnTo>
                  <a:pt x="552" y="1144"/>
                </a:lnTo>
                <a:lnTo>
                  <a:pt x="584" y="1152"/>
                </a:lnTo>
                <a:lnTo>
                  <a:pt x="584" y="1152"/>
                </a:lnTo>
                <a:lnTo>
                  <a:pt x="585" y="1109"/>
                </a:lnTo>
                <a:lnTo>
                  <a:pt x="586" y="1064"/>
                </a:lnTo>
                <a:lnTo>
                  <a:pt x="586" y="974"/>
                </a:lnTo>
                <a:lnTo>
                  <a:pt x="586" y="883"/>
                </a:lnTo>
                <a:lnTo>
                  <a:pt x="586" y="793"/>
                </a:lnTo>
                <a:lnTo>
                  <a:pt x="586" y="793"/>
                </a:lnTo>
                <a:lnTo>
                  <a:pt x="566" y="779"/>
                </a:lnTo>
                <a:lnTo>
                  <a:pt x="546" y="765"/>
                </a:lnTo>
                <a:lnTo>
                  <a:pt x="505" y="736"/>
                </a:lnTo>
                <a:lnTo>
                  <a:pt x="483" y="722"/>
                </a:lnTo>
                <a:lnTo>
                  <a:pt x="462" y="706"/>
                </a:lnTo>
                <a:lnTo>
                  <a:pt x="443" y="690"/>
                </a:lnTo>
                <a:lnTo>
                  <a:pt x="423" y="673"/>
                </a:lnTo>
                <a:lnTo>
                  <a:pt x="406" y="654"/>
                </a:lnTo>
                <a:lnTo>
                  <a:pt x="389" y="635"/>
                </a:lnTo>
                <a:lnTo>
                  <a:pt x="375" y="614"/>
                </a:lnTo>
                <a:lnTo>
                  <a:pt x="368" y="603"/>
                </a:lnTo>
                <a:lnTo>
                  <a:pt x="362" y="591"/>
                </a:lnTo>
                <a:lnTo>
                  <a:pt x="356" y="579"/>
                </a:lnTo>
                <a:lnTo>
                  <a:pt x="351" y="566"/>
                </a:lnTo>
                <a:lnTo>
                  <a:pt x="347" y="553"/>
                </a:lnTo>
                <a:lnTo>
                  <a:pt x="343" y="539"/>
                </a:lnTo>
                <a:lnTo>
                  <a:pt x="340" y="525"/>
                </a:lnTo>
                <a:lnTo>
                  <a:pt x="338" y="510"/>
                </a:lnTo>
                <a:lnTo>
                  <a:pt x="337" y="494"/>
                </a:lnTo>
                <a:lnTo>
                  <a:pt x="337" y="477"/>
                </a:lnTo>
                <a:lnTo>
                  <a:pt x="337" y="477"/>
                </a:lnTo>
                <a:lnTo>
                  <a:pt x="338" y="451"/>
                </a:lnTo>
                <a:lnTo>
                  <a:pt x="341" y="426"/>
                </a:lnTo>
                <a:lnTo>
                  <a:pt x="347" y="403"/>
                </a:lnTo>
                <a:lnTo>
                  <a:pt x="354" y="380"/>
                </a:lnTo>
                <a:lnTo>
                  <a:pt x="365" y="358"/>
                </a:lnTo>
                <a:lnTo>
                  <a:pt x="377" y="337"/>
                </a:lnTo>
                <a:lnTo>
                  <a:pt x="390" y="319"/>
                </a:lnTo>
                <a:lnTo>
                  <a:pt x="406" y="302"/>
                </a:lnTo>
                <a:lnTo>
                  <a:pt x="423" y="285"/>
                </a:lnTo>
                <a:lnTo>
                  <a:pt x="443" y="271"/>
                </a:lnTo>
                <a:lnTo>
                  <a:pt x="464" y="259"/>
                </a:lnTo>
                <a:lnTo>
                  <a:pt x="485" y="248"/>
                </a:lnTo>
                <a:lnTo>
                  <a:pt x="509" y="240"/>
                </a:lnTo>
                <a:lnTo>
                  <a:pt x="533" y="233"/>
                </a:lnTo>
                <a:lnTo>
                  <a:pt x="559" y="228"/>
                </a:lnTo>
                <a:lnTo>
                  <a:pt x="586" y="226"/>
                </a:lnTo>
                <a:lnTo>
                  <a:pt x="586" y="226"/>
                </a:lnTo>
                <a:lnTo>
                  <a:pt x="586" y="139"/>
                </a:lnTo>
                <a:lnTo>
                  <a:pt x="586" y="139"/>
                </a:lnTo>
                <a:lnTo>
                  <a:pt x="656" y="139"/>
                </a:lnTo>
                <a:lnTo>
                  <a:pt x="656" y="139"/>
                </a:lnTo>
                <a:lnTo>
                  <a:pt x="654" y="161"/>
                </a:lnTo>
                <a:lnTo>
                  <a:pt x="654" y="181"/>
                </a:lnTo>
                <a:lnTo>
                  <a:pt x="654" y="224"/>
                </a:lnTo>
                <a:lnTo>
                  <a:pt x="656" y="267"/>
                </a:lnTo>
                <a:lnTo>
                  <a:pt x="656" y="289"/>
                </a:lnTo>
                <a:lnTo>
                  <a:pt x="656" y="309"/>
                </a:lnTo>
                <a:lnTo>
                  <a:pt x="656" y="309"/>
                </a:lnTo>
                <a:lnTo>
                  <a:pt x="687" y="314"/>
                </a:lnTo>
                <a:lnTo>
                  <a:pt x="717" y="318"/>
                </a:lnTo>
                <a:lnTo>
                  <a:pt x="745" y="323"/>
                </a:lnTo>
                <a:lnTo>
                  <a:pt x="773" y="329"/>
                </a:lnTo>
                <a:lnTo>
                  <a:pt x="800" y="336"/>
                </a:lnTo>
                <a:lnTo>
                  <a:pt x="825" y="345"/>
                </a:lnTo>
                <a:lnTo>
                  <a:pt x="851" y="354"/>
                </a:lnTo>
                <a:lnTo>
                  <a:pt x="875" y="365"/>
                </a:lnTo>
                <a:lnTo>
                  <a:pt x="898" y="375"/>
                </a:lnTo>
                <a:lnTo>
                  <a:pt x="921" y="387"/>
                </a:lnTo>
                <a:lnTo>
                  <a:pt x="942" y="399"/>
                </a:lnTo>
                <a:lnTo>
                  <a:pt x="964" y="413"/>
                </a:lnTo>
                <a:lnTo>
                  <a:pt x="984" y="427"/>
                </a:lnTo>
                <a:lnTo>
                  <a:pt x="1004" y="443"/>
                </a:lnTo>
                <a:lnTo>
                  <a:pt x="1022" y="459"/>
                </a:lnTo>
                <a:lnTo>
                  <a:pt x="1042" y="475"/>
                </a:lnTo>
                <a:lnTo>
                  <a:pt x="1042" y="475"/>
                </a:lnTo>
                <a:lnTo>
                  <a:pt x="1058" y="491"/>
                </a:lnTo>
                <a:lnTo>
                  <a:pt x="1075" y="509"/>
                </a:lnTo>
                <a:lnTo>
                  <a:pt x="1092" y="527"/>
                </a:lnTo>
                <a:lnTo>
                  <a:pt x="1107" y="547"/>
                </a:lnTo>
                <a:lnTo>
                  <a:pt x="1122" y="566"/>
                </a:lnTo>
                <a:lnTo>
                  <a:pt x="1136" y="587"/>
                </a:lnTo>
                <a:lnTo>
                  <a:pt x="1150" y="609"/>
                </a:lnTo>
                <a:lnTo>
                  <a:pt x="1163" y="631"/>
                </a:lnTo>
                <a:lnTo>
                  <a:pt x="1175" y="654"/>
                </a:lnTo>
                <a:lnTo>
                  <a:pt x="1186" y="679"/>
                </a:lnTo>
                <a:lnTo>
                  <a:pt x="1196" y="704"/>
                </a:lnTo>
                <a:lnTo>
                  <a:pt x="1204" y="730"/>
                </a:lnTo>
                <a:lnTo>
                  <a:pt x="1212" y="757"/>
                </a:lnTo>
                <a:lnTo>
                  <a:pt x="1217" y="784"/>
                </a:lnTo>
                <a:lnTo>
                  <a:pt x="1222" y="814"/>
                </a:lnTo>
                <a:lnTo>
                  <a:pt x="1225" y="843"/>
                </a:lnTo>
                <a:lnTo>
                  <a:pt x="1225" y="843"/>
                </a:lnTo>
                <a:lnTo>
                  <a:pt x="1226" y="872"/>
                </a:lnTo>
                <a:lnTo>
                  <a:pt x="1226" y="901"/>
                </a:lnTo>
                <a:lnTo>
                  <a:pt x="1225" y="928"/>
                </a:lnTo>
                <a:lnTo>
                  <a:pt x="1224" y="955"/>
                </a:lnTo>
                <a:lnTo>
                  <a:pt x="1221" y="981"/>
                </a:lnTo>
                <a:lnTo>
                  <a:pt x="1216" y="1007"/>
                </a:lnTo>
                <a:lnTo>
                  <a:pt x="1211" y="1032"/>
                </a:lnTo>
                <a:lnTo>
                  <a:pt x="1204" y="1056"/>
                </a:lnTo>
                <a:lnTo>
                  <a:pt x="1197" y="1080"/>
                </a:lnTo>
                <a:lnTo>
                  <a:pt x="1189" y="1102"/>
                </a:lnTo>
                <a:lnTo>
                  <a:pt x="1179" y="1125"/>
                </a:lnTo>
                <a:lnTo>
                  <a:pt x="1170" y="1147"/>
                </a:lnTo>
                <a:lnTo>
                  <a:pt x="1159" y="1167"/>
                </a:lnTo>
                <a:lnTo>
                  <a:pt x="1148" y="1188"/>
                </a:lnTo>
                <a:lnTo>
                  <a:pt x="1135" y="1208"/>
                </a:lnTo>
                <a:lnTo>
                  <a:pt x="1122" y="1227"/>
                </a:lnTo>
                <a:lnTo>
                  <a:pt x="1108" y="1246"/>
                </a:lnTo>
                <a:lnTo>
                  <a:pt x="1094" y="1263"/>
                </a:lnTo>
                <a:lnTo>
                  <a:pt x="1079" y="1280"/>
                </a:lnTo>
                <a:lnTo>
                  <a:pt x="1064" y="1297"/>
                </a:lnTo>
                <a:lnTo>
                  <a:pt x="1047" y="1313"/>
                </a:lnTo>
                <a:lnTo>
                  <a:pt x="1031" y="1328"/>
                </a:lnTo>
                <a:lnTo>
                  <a:pt x="1014" y="1343"/>
                </a:lnTo>
                <a:lnTo>
                  <a:pt x="995" y="1356"/>
                </a:lnTo>
                <a:lnTo>
                  <a:pt x="978" y="1370"/>
                </a:lnTo>
                <a:lnTo>
                  <a:pt x="960" y="1382"/>
                </a:lnTo>
                <a:lnTo>
                  <a:pt x="940" y="1394"/>
                </a:lnTo>
                <a:lnTo>
                  <a:pt x="922" y="1406"/>
                </a:lnTo>
                <a:lnTo>
                  <a:pt x="902" y="1417"/>
                </a:lnTo>
                <a:lnTo>
                  <a:pt x="882" y="1427"/>
                </a:lnTo>
                <a:lnTo>
                  <a:pt x="862" y="1436"/>
                </a:lnTo>
                <a:lnTo>
                  <a:pt x="842" y="1445"/>
                </a:lnTo>
                <a:lnTo>
                  <a:pt x="842" y="1445"/>
                </a:lnTo>
                <a:lnTo>
                  <a:pt x="819" y="1454"/>
                </a:lnTo>
                <a:lnTo>
                  <a:pt x="795" y="1461"/>
                </a:lnTo>
                <a:lnTo>
                  <a:pt x="771" y="1469"/>
                </a:lnTo>
                <a:lnTo>
                  <a:pt x="745" y="1476"/>
                </a:lnTo>
                <a:lnTo>
                  <a:pt x="720" y="1481"/>
                </a:lnTo>
                <a:lnTo>
                  <a:pt x="693" y="1485"/>
                </a:lnTo>
                <a:lnTo>
                  <a:pt x="666" y="1489"/>
                </a:lnTo>
                <a:lnTo>
                  <a:pt x="639" y="1492"/>
                </a:lnTo>
                <a:lnTo>
                  <a:pt x="612" y="1493"/>
                </a:lnTo>
                <a:lnTo>
                  <a:pt x="585" y="1494"/>
                </a:lnTo>
                <a:lnTo>
                  <a:pt x="557" y="1493"/>
                </a:lnTo>
                <a:lnTo>
                  <a:pt x="529" y="1492"/>
                </a:lnTo>
                <a:lnTo>
                  <a:pt x="501" y="1490"/>
                </a:lnTo>
                <a:lnTo>
                  <a:pt x="474" y="1485"/>
                </a:lnTo>
                <a:lnTo>
                  <a:pt x="447" y="1481"/>
                </a:lnTo>
                <a:lnTo>
                  <a:pt x="420" y="1474"/>
                </a:lnTo>
                <a:lnTo>
                  <a:pt x="420" y="1474"/>
                </a:lnTo>
                <a:lnTo>
                  <a:pt x="396" y="1468"/>
                </a:lnTo>
                <a:lnTo>
                  <a:pt x="374" y="1460"/>
                </a:lnTo>
                <a:lnTo>
                  <a:pt x="351" y="1453"/>
                </a:lnTo>
                <a:lnTo>
                  <a:pt x="329" y="1444"/>
                </a:lnTo>
                <a:lnTo>
                  <a:pt x="308" y="1434"/>
                </a:lnTo>
                <a:lnTo>
                  <a:pt x="287" y="1425"/>
                </a:lnTo>
                <a:lnTo>
                  <a:pt x="268" y="1414"/>
                </a:lnTo>
                <a:lnTo>
                  <a:pt x="248" y="1402"/>
                </a:lnTo>
                <a:lnTo>
                  <a:pt x="230" y="1390"/>
                </a:lnTo>
                <a:lnTo>
                  <a:pt x="211" y="1378"/>
                </a:lnTo>
                <a:lnTo>
                  <a:pt x="194" y="1365"/>
                </a:lnTo>
                <a:lnTo>
                  <a:pt x="177" y="1351"/>
                </a:lnTo>
                <a:lnTo>
                  <a:pt x="160" y="1337"/>
                </a:lnTo>
                <a:lnTo>
                  <a:pt x="144" y="1321"/>
                </a:lnTo>
                <a:lnTo>
                  <a:pt x="129" y="1306"/>
                </a:lnTo>
                <a:lnTo>
                  <a:pt x="115" y="1290"/>
                </a:lnTo>
                <a:lnTo>
                  <a:pt x="115" y="1290"/>
                </a:lnTo>
                <a:lnTo>
                  <a:pt x="144" y="1310"/>
                </a:lnTo>
                <a:lnTo>
                  <a:pt x="175" y="1328"/>
                </a:lnTo>
                <a:lnTo>
                  <a:pt x="209" y="1345"/>
                </a:lnTo>
                <a:lnTo>
                  <a:pt x="245" y="1362"/>
                </a:lnTo>
                <a:lnTo>
                  <a:pt x="282" y="1377"/>
                </a:lnTo>
                <a:lnTo>
                  <a:pt x="321" y="1390"/>
                </a:lnTo>
                <a:lnTo>
                  <a:pt x="341" y="1395"/>
                </a:lnTo>
                <a:lnTo>
                  <a:pt x="362" y="1401"/>
                </a:lnTo>
                <a:lnTo>
                  <a:pt x="383" y="1405"/>
                </a:lnTo>
                <a:lnTo>
                  <a:pt x="405" y="1408"/>
                </a:lnTo>
                <a:lnTo>
                  <a:pt x="405" y="1408"/>
                </a:lnTo>
                <a:lnTo>
                  <a:pt x="430" y="1412"/>
                </a:lnTo>
                <a:lnTo>
                  <a:pt x="454" y="1415"/>
                </a:lnTo>
                <a:lnTo>
                  <a:pt x="479" y="1417"/>
                </a:lnTo>
                <a:lnTo>
                  <a:pt x="503" y="1418"/>
                </a:lnTo>
                <a:lnTo>
                  <a:pt x="525" y="1418"/>
                </a:lnTo>
                <a:lnTo>
                  <a:pt x="548" y="1418"/>
                </a:lnTo>
                <a:lnTo>
                  <a:pt x="571" y="1416"/>
                </a:lnTo>
                <a:lnTo>
                  <a:pt x="594" y="1415"/>
                </a:lnTo>
                <a:lnTo>
                  <a:pt x="615" y="1412"/>
                </a:lnTo>
                <a:lnTo>
                  <a:pt x="637" y="1408"/>
                </a:lnTo>
                <a:lnTo>
                  <a:pt x="658" y="1404"/>
                </a:lnTo>
                <a:lnTo>
                  <a:pt x="679" y="1400"/>
                </a:lnTo>
                <a:lnTo>
                  <a:pt x="699" y="1394"/>
                </a:lnTo>
                <a:lnTo>
                  <a:pt x="719" y="1388"/>
                </a:lnTo>
                <a:lnTo>
                  <a:pt x="739" y="1381"/>
                </a:lnTo>
                <a:lnTo>
                  <a:pt x="757" y="1375"/>
                </a:lnTo>
                <a:lnTo>
                  <a:pt x="777" y="1367"/>
                </a:lnTo>
                <a:lnTo>
                  <a:pt x="794" y="1358"/>
                </a:lnTo>
                <a:lnTo>
                  <a:pt x="812" y="1350"/>
                </a:lnTo>
                <a:lnTo>
                  <a:pt x="830" y="1340"/>
                </a:lnTo>
                <a:lnTo>
                  <a:pt x="862" y="1320"/>
                </a:lnTo>
                <a:lnTo>
                  <a:pt x="894" y="1299"/>
                </a:lnTo>
                <a:lnTo>
                  <a:pt x="924" y="1276"/>
                </a:lnTo>
                <a:lnTo>
                  <a:pt x="951" y="1251"/>
                </a:lnTo>
                <a:lnTo>
                  <a:pt x="977" y="1225"/>
                </a:lnTo>
                <a:lnTo>
                  <a:pt x="1001" y="1198"/>
                </a:lnTo>
                <a:lnTo>
                  <a:pt x="1001" y="1198"/>
                </a:lnTo>
                <a:lnTo>
                  <a:pt x="1023" y="1169"/>
                </a:lnTo>
                <a:lnTo>
                  <a:pt x="1045" y="1136"/>
                </a:lnTo>
                <a:lnTo>
                  <a:pt x="1055" y="1120"/>
                </a:lnTo>
                <a:lnTo>
                  <a:pt x="1065" y="1102"/>
                </a:lnTo>
                <a:lnTo>
                  <a:pt x="1073" y="1085"/>
                </a:lnTo>
                <a:lnTo>
                  <a:pt x="1082" y="1067"/>
                </a:lnTo>
                <a:lnTo>
                  <a:pt x="1090" y="1047"/>
                </a:lnTo>
                <a:lnTo>
                  <a:pt x="1096" y="1029"/>
                </a:lnTo>
                <a:lnTo>
                  <a:pt x="1103" y="1008"/>
                </a:lnTo>
                <a:lnTo>
                  <a:pt x="1108" y="988"/>
                </a:lnTo>
                <a:lnTo>
                  <a:pt x="1112" y="967"/>
                </a:lnTo>
                <a:lnTo>
                  <a:pt x="1116" y="946"/>
                </a:lnTo>
                <a:lnTo>
                  <a:pt x="1118" y="924"/>
                </a:lnTo>
                <a:lnTo>
                  <a:pt x="1119" y="903"/>
                </a:lnTo>
                <a:lnTo>
                  <a:pt x="1119" y="903"/>
                </a:lnTo>
                <a:lnTo>
                  <a:pt x="1118" y="871"/>
                </a:lnTo>
                <a:lnTo>
                  <a:pt x="1117" y="842"/>
                </a:lnTo>
                <a:lnTo>
                  <a:pt x="1113" y="814"/>
                </a:lnTo>
                <a:lnTo>
                  <a:pt x="1109" y="787"/>
                </a:lnTo>
                <a:lnTo>
                  <a:pt x="1104" y="759"/>
                </a:lnTo>
                <a:lnTo>
                  <a:pt x="1097" y="735"/>
                </a:lnTo>
                <a:lnTo>
                  <a:pt x="1088" y="711"/>
                </a:lnTo>
                <a:lnTo>
                  <a:pt x="1080" y="687"/>
                </a:lnTo>
                <a:lnTo>
                  <a:pt x="1070" y="664"/>
                </a:lnTo>
                <a:lnTo>
                  <a:pt x="1059" y="642"/>
                </a:lnTo>
                <a:lnTo>
                  <a:pt x="1047" y="622"/>
                </a:lnTo>
                <a:lnTo>
                  <a:pt x="1035" y="602"/>
                </a:lnTo>
                <a:lnTo>
                  <a:pt x="1021" y="583"/>
                </a:lnTo>
                <a:lnTo>
                  <a:pt x="1007" y="563"/>
                </a:lnTo>
                <a:lnTo>
                  <a:pt x="993" y="546"/>
                </a:lnTo>
                <a:lnTo>
                  <a:pt x="978" y="527"/>
                </a:lnTo>
                <a:lnTo>
                  <a:pt x="978" y="527"/>
                </a:lnTo>
                <a:lnTo>
                  <a:pt x="962" y="511"/>
                </a:lnTo>
                <a:lnTo>
                  <a:pt x="945" y="495"/>
                </a:lnTo>
                <a:lnTo>
                  <a:pt x="929" y="478"/>
                </a:lnTo>
                <a:lnTo>
                  <a:pt x="912" y="463"/>
                </a:lnTo>
                <a:lnTo>
                  <a:pt x="894" y="449"/>
                </a:lnTo>
                <a:lnTo>
                  <a:pt x="875" y="435"/>
                </a:lnTo>
                <a:lnTo>
                  <a:pt x="856" y="422"/>
                </a:lnTo>
                <a:lnTo>
                  <a:pt x="836" y="410"/>
                </a:lnTo>
                <a:lnTo>
                  <a:pt x="816" y="398"/>
                </a:lnTo>
                <a:lnTo>
                  <a:pt x="795" y="387"/>
                </a:lnTo>
                <a:lnTo>
                  <a:pt x="773" y="376"/>
                </a:lnTo>
                <a:lnTo>
                  <a:pt x="752" y="367"/>
                </a:lnTo>
                <a:lnTo>
                  <a:pt x="728" y="358"/>
                </a:lnTo>
                <a:lnTo>
                  <a:pt x="705" y="349"/>
                </a:lnTo>
                <a:lnTo>
                  <a:pt x="681" y="342"/>
                </a:lnTo>
                <a:lnTo>
                  <a:pt x="656" y="334"/>
                </a:lnTo>
                <a:lnTo>
                  <a:pt x="656" y="334"/>
                </a:lnTo>
                <a:close/>
                <a:moveTo>
                  <a:pt x="582" y="325"/>
                </a:moveTo>
                <a:lnTo>
                  <a:pt x="582" y="325"/>
                </a:lnTo>
                <a:lnTo>
                  <a:pt x="558" y="335"/>
                </a:lnTo>
                <a:lnTo>
                  <a:pt x="546" y="342"/>
                </a:lnTo>
                <a:lnTo>
                  <a:pt x="535" y="348"/>
                </a:lnTo>
                <a:lnTo>
                  <a:pt x="524" y="355"/>
                </a:lnTo>
                <a:lnTo>
                  <a:pt x="513" y="362"/>
                </a:lnTo>
                <a:lnTo>
                  <a:pt x="505" y="370"/>
                </a:lnTo>
                <a:lnTo>
                  <a:pt x="496" y="380"/>
                </a:lnTo>
                <a:lnTo>
                  <a:pt x="487" y="388"/>
                </a:lnTo>
                <a:lnTo>
                  <a:pt x="480" y="398"/>
                </a:lnTo>
                <a:lnTo>
                  <a:pt x="474" y="409"/>
                </a:lnTo>
                <a:lnTo>
                  <a:pt x="469" y="421"/>
                </a:lnTo>
                <a:lnTo>
                  <a:pt x="465" y="433"/>
                </a:lnTo>
                <a:lnTo>
                  <a:pt x="461" y="446"/>
                </a:lnTo>
                <a:lnTo>
                  <a:pt x="459" y="459"/>
                </a:lnTo>
                <a:lnTo>
                  <a:pt x="459" y="473"/>
                </a:lnTo>
                <a:lnTo>
                  <a:pt x="459" y="473"/>
                </a:lnTo>
                <a:lnTo>
                  <a:pt x="459" y="488"/>
                </a:lnTo>
                <a:lnTo>
                  <a:pt x="461" y="503"/>
                </a:lnTo>
                <a:lnTo>
                  <a:pt x="465" y="518"/>
                </a:lnTo>
                <a:lnTo>
                  <a:pt x="470" y="531"/>
                </a:lnTo>
                <a:lnTo>
                  <a:pt x="475" y="544"/>
                </a:lnTo>
                <a:lnTo>
                  <a:pt x="482" y="556"/>
                </a:lnTo>
                <a:lnTo>
                  <a:pt x="490" y="566"/>
                </a:lnTo>
                <a:lnTo>
                  <a:pt x="498" y="577"/>
                </a:lnTo>
                <a:lnTo>
                  <a:pt x="507" y="587"/>
                </a:lnTo>
                <a:lnTo>
                  <a:pt x="517" y="597"/>
                </a:lnTo>
                <a:lnTo>
                  <a:pt x="527" y="605"/>
                </a:lnTo>
                <a:lnTo>
                  <a:pt x="538" y="614"/>
                </a:lnTo>
                <a:lnTo>
                  <a:pt x="562" y="629"/>
                </a:lnTo>
                <a:lnTo>
                  <a:pt x="586" y="643"/>
                </a:lnTo>
                <a:lnTo>
                  <a:pt x="586" y="643"/>
                </a:lnTo>
                <a:lnTo>
                  <a:pt x="586" y="563"/>
                </a:lnTo>
                <a:lnTo>
                  <a:pt x="586" y="483"/>
                </a:lnTo>
                <a:lnTo>
                  <a:pt x="586" y="404"/>
                </a:lnTo>
                <a:lnTo>
                  <a:pt x="585" y="365"/>
                </a:lnTo>
                <a:lnTo>
                  <a:pt x="584" y="325"/>
                </a:lnTo>
                <a:lnTo>
                  <a:pt x="584" y="325"/>
                </a:lnTo>
                <a:lnTo>
                  <a:pt x="582" y="325"/>
                </a:lnTo>
                <a:lnTo>
                  <a:pt x="582" y="325"/>
                </a:lnTo>
                <a:close/>
                <a:moveTo>
                  <a:pt x="654" y="1152"/>
                </a:moveTo>
                <a:lnTo>
                  <a:pt x="654" y="1152"/>
                </a:lnTo>
                <a:lnTo>
                  <a:pt x="667" y="1148"/>
                </a:lnTo>
                <a:lnTo>
                  <a:pt x="680" y="1141"/>
                </a:lnTo>
                <a:lnTo>
                  <a:pt x="693" y="1135"/>
                </a:lnTo>
                <a:lnTo>
                  <a:pt x="705" y="1127"/>
                </a:lnTo>
                <a:lnTo>
                  <a:pt x="717" y="1119"/>
                </a:lnTo>
                <a:lnTo>
                  <a:pt x="728" y="1109"/>
                </a:lnTo>
                <a:lnTo>
                  <a:pt x="738" y="1098"/>
                </a:lnTo>
                <a:lnTo>
                  <a:pt x="746" y="1087"/>
                </a:lnTo>
                <a:lnTo>
                  <a:pt x="755" y="1075"/>
                </a:lnTo>
                <a:lnTo>
                  <a:pt x="761" y="1062"/>
                </a:lnTo>
                <a:lnTo>
                  <a:pt x="767" y="1048"/>
                </a:lnTo>
                <a:lnTo>
                  <a:pt x="772" y="1034"/>
                </a:lnTo>
                <a:lnTo>
                  <a:pt x="775" y="1020"/>
                </a:lnTo>
                <a:lnTo>
                  <a:pt x="777" y="1005"/>
                </a:lnTo>
                <a:lnTo>
                  <a:pt x="778" y="988"/>
                </a:lnTo>
                <a:lnTo>
                  <a:pt x="777" y="972"/>
                </a:lnTo>
                <a:lnTo>
                  <a:pt x="777" y="972"/>
                </a:lnTo>
                <a:lnTo>
                  <a:pt x="774" y="960"/>
                </a:lnTo>
                <a:lnTo>
                  <a:pt x="771" y="948"/>
                </a:lnTo>
                <a:lnTo>
                  <a:pt x="767" y="937"/>
                </a:lnTo>
                <a:lnTo>
                  <a:pt x="760" y="927"/>
                </a:lnTo>
                <a:lnTo>
                  <a:pt x="755" y="917"/>
                </a:lnTo>
                <a:lnTo>
                  <a:pt x="747" y="907"/>
                </a:lnTo>
                <a:lnTo>
                  <a:pt x="740" y="897"/>
                </a:lnTo>
                <a:lnTo>
                  <a:pt x="731" y="889"/>
                </a:lnTo>
                <a:lnTo>
                  <a:pt x="713" y="872"/>
                </a:lnTo>
                <a:lnTo>
                  <a:pt x="694" y="857"/>
                </a:lnTo>
                <a:lnTo>
                  <a:pt x="675" y="844"/>
                </a:lnTo>
                <a:lnTo>
                  <a:pt x="656" y="832"/>
                </a:lnTo>
                <a:lnTo>
                  <a:pt x="656" y="832"/>
                </a:lnTo>
                <a:lnTo>
                  <a:pt x="655" y="911"/>
                </a:lnTo>
                <a:lnTo>
                  <a:pt x="654" y="992"/>
                </a:lnTo>
                <a:lnTo>
                  <a:pt x="653" y="1071"/>
                </a:lnTo>
                <a:lnTo>
                  <a:pt x="654" y="1152"/>
                </a:lnTo>
                <a:lnTo>
                  <a:pt x="654" y="1152"/>
                </a:lnTo>
                <a:close/>
              </a:path>
            </a:pathLst>
          </a:custGeom>
          <a:solidFill>
            <a:srgbClr val="1E3ADA"/>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solidFill>
                <a:schemeClr val="tx1">
                  <a:lumMod val="75000"/>
                  <a:lumOff val="25000"/>
                </a:schemeClr>
              </a:solidFill>
            </a:endParaRPr>
          </a:p>
        </p:txBody>
      </p:sp>
    </p:spTree>
    <p:extLst>
      <p:ext uri="{BB962C8B-B14F-4D97-AF65-F5344CB8AC3E}">
        <p14:creationId xmlns:p14="http://schemas.microsoft.com/office/powerpoint/2010/main" val="37878757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89F43-9AAC-209E-E7FA-49FA122B2A48}"/>
            </a:ext>
          </a:extLst>
        </p:cNvPr>
        <p:cNvGrpSpPr/>
        <p:nvPr/>
      </p:nvGrpSpPr>
      <p:grpSpPr>
        <a:xfrm>
          <a:off x="0" y="0"/>
          <a:ext cx="0" cy="0"/>
          <a:chOff x="0" y="0"/>
          <a:chExt cx="0" cy="0"/>
        </a:xfrm>
      </p:grpSpPr>
      <p:sp>
        <p:nvSpPr>
          <p:cNvPr id="48" name="Rectangle 47">
            <a:extLst>
              <a:ext uri="{FF2B5EF4-FFF2-40B4-BE49-F238E27FC236}">
                <a16:creationId xmlns:a16="http://schemas.microsoft.com/office/drawing/2014/main" id="{337F2D5B-2023-073B-B9D0-BB605A97D10A}"/>
              </a:ext>
            </a:extLst>
          </p:cNvPr>
          <p:cNvSpPr/>
          <p:nvPr/>
        </p:nvSpPr>
        <p:spPr>
          <a:xfrm>
            <a:off x="3538" y="4131"/>
            <a:ext cx="12192000" cy="6856814"/>
          </a:xfrm>
          <a:prstGeom prst="rect">
            <a:avLst/>
          </a:prstGeom>
          <a:gradFill flip="none" rotWithShape="1">
            <a:gsLst>
              <a:gs pos="84000">
                <a:srgbClr val="DDEDF8"/>
              </a:gs>
              <a:gs pos="14000">
                <a:srgbClr val="FBE6F8"/>
              </a:gs>
            </a:gsLst>
            <a:lin ang="10800000" scaled="1"/>
            <a:tileRect/>
          </a:grad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32D1E3"/>
              </a:buClr>
              <a:buSzTx/>
              <a:buFontTx/>
              <a:buNone/>
              <a:tabLst>
                <a:tab pos="457200" algn="l"/>
              </a:tabLst>
              <a:defRPr/>
            </a:pPr>
            <a:endParaRPr kumimoji="0" lang="en-US" sz="1200" b="1"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2A236933-CA03-5DA3-EAB4-1C657696ED1C}"/>
              </a:ext>
            </a:extLst>
          </p:cNvPr>
          <p:cNvSpPr>
            <a:spLocks noGrp="1"/>
          </p:cNvSpPr>
          <p:nvPr>
            <p:ph type="title"/>
          </p:nvPr>
        </p:nvSpPr>
        <p:spPr/>
        <p:txBody>
          <a:bodyPr/>
          <a:lstStyle/>
          <a:p>
            <a:r>
              <a:rPr lang="en-US" dirty="0"/>
              <a:t>Our Values - I-N-F-I-C-S</a:t>
            </a:r>
          </a:p>
        </p:txBody>
      </p:sp>
      <p:sp>
        <p:nvSpPr>
          <p:cNvPr id="3" name="Slide Number Placeholder 2">
            <a:extLst>
              <a:ext uri="{FF2B5EF4-FFF2-40B4-BE49-F238E27FC236}">
                <a16:creationId xmlns:a16="http://schemas.microsoft.com/office/drawing/2014/main" id="{CC707886-2950-A753-2A7F-D7C9F761AA6E}"/>
              </a:ext>
            </a:extLst>
          </p:cNvPr>
          <p:cNvSpPr>
            <a:spLocks noGrp="1"/>
          </p:cNvSpPr>
          <p:nvPr>
            <p:ph type="sldNum" sz="quarter" idx="12"/>
          </p:nvPr>
        </p:nvSpPr>
        <p:spPr/>
        <p:txBody>
          <a:bodyPr/>
          <a:lstStyle/>
          <a:p>
            <a:fld id="{656FEE46-54D6-4306-A6BD-73AF3F3AD20B}" type="slidenum">
              <a:rPr lang="en-US" smtClean="0"/>
              <a:t>5</a:t>
            </a:fld>
            <a:endParaRPr lang="en-US"/>
          </a:p>
        </p:txBody>
      </p:sp>
      <p:sp>
        <p:nvSpPr>
          <p:cNvPr id="49" name="Rectangle: Rounded Corners 48">
            <a:extLst>
              <a:ext uri="{FF2B5EF4-FFF2-40B4-BE49-F238E27FC236}">
                <a16:creationId xmlns:a16="http://schemas.microsoft.com/office/drawing/2014/main" id="{1EC88DA1-7B83-B0CA-E315-CEA9518BB241}"/>
              </a:ext>
            </a:extLst>
          </p:cNvPr>
          <p:cNvSpPr/>
          <p:nvPr/>
        </p:nvSpPr>
        <p:spPr>
          <a:xfrm>
            <a:off x="470200" y="1325083"/>
            <a:ext cx="3615216" cy="2321431"/>
          </a:xfrm>
          <a:prstGeom prst="roundRect">
            <a:avLst>
              <a:gd name="adj" fmla="val 7433"/>
            </a:avLst>
          </a:prstGeom>
          <a:solidFill>
            <a:srgbClr val="FFFFFF"/>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0" name="Rectangle: Rounded Corners 49">
            <a:extLst>
              <a:ext uri="{FF2B5EF4-FFF2-40B4-BE49-F238E27FC236}">
                <a16:creationId xmlns:a16="http://schemas.microsoft.com/office/drawing/2014/main" id="{37F6EA11-E2E0-A2EC-C15E-1612C20325F3}"/>
              </a:ext>
            </a:extLst>
          </p:cNvPr>
          <p:cNvSpPr/>
          <p:nvPr/>
        </p:nvSpPr>
        <p:spPr>
          <a:xfrm>
            <a:off x="470200" y="3979547"/>
            <a:ext cx="3615216" cy="2321431"/>
          </a:xfrm>
          <a:prstGeom prst="roundRect">
            <a:avLst>
              <a:gd name="adj" fmla="val 6279"/>
            </a:avLst>
          </a:prstGeom>
          <a:solidFill>
            <a:srgbClr val="FFFFFF"/>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1" name="Rectangle: Rounded Corners 50">
            <a:extLst>
              <a:ext uri="{FF2B5EF4-FFF2-40B4-BE49-F238E27FC236}">
                <a16:creationId xmlns:a16="http://schemas.microsoft.com/office/drawing/2014/main" id="{E318C516-B3E8-A795-F061-1A97569B4392}"/>
              </a:ext>
            </a:extLst>
          </p:cNvPr>
          <p:cNvSpPr/>
          <p:nvPr/>
        </p:nvSpPr>
        <p:spPr>
          <a:xfrm>
            <a:off x="4353300" y="1325083"/>
            <a:ext cx="3615216" cy="2321431"/>
          </a:xfrm>
          <a:prstGeom prst="roundRect">
            <a:avLst>
              <a:gd name="adj" fmla="val 7433"/>
            </a:avLst>
          </a:prstGeom>
          <a:solidFill>
            <a:srgbClr val="FFFFFF"/>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2" name="Rectangle: Rounded Corners 51">
            <a:extLst>
              <a:ext uri="{FF2B5EF4-FFF2-40B4-BE49-F238E27FC236}">
                <a16:creationId xmlns:a16="http://schemas.microsoft.com/office/drawing/2014/main" id="{74E05B23-E1EC-C182-E08B-F6C63F8CC4A5}"/>
              </a:ext>
            </a:extLst>
          </p:cNvPr>
          <p:cNvSpPr/>
          <p:nvPr/>
        </p:nvSpPr>
        <p:spPr>
          <a:xfrm>
            <a:off x="4353300" y="3979547"/>
            <a:ext cx="3615216" cy="2321431"/>
          </a:xfrm>
          <a:prstGeom prst="roundRect">
            <a:avLst>
              <a:gd name="adj" fmla="val 6279"/>
            </a:avLst>
          </a:prstGeom>
          <a:solidFill>
            <a:srgbClr val="FFFFFF"/>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3" name="Rectangle: Rounded Corners 52">
            <a:extLst>
              <a:ext uri="{FF2B5EF4-FFF2-40B4-BE49-F238E27FC236}">
                <a16:creationId xmlns:a16="http://schemas.microsoft.com/office/drawing/2014/main" id="{C72460D5-4045-8929-37A9-FFF67F4AE04C}"/>
              </a:ext>
            </a:extLst>
          </p:cNvPr>
          <p:cNvSpPr/>
          <p:nvPr/>
        </p:nvSpPr>
        <p:spPr>
          <a:xfrm>
            <a:off x="8236400" y="1325083"/>
            <a:ext cx="3615216" cy="2321431"/>
          </a:xfrm>
          <a:prstGeom prst="roundRect">
            <a:avLst>
              <a:gd name="adj" fmla="val 7433"/>
            </a:avLst>
          </a:prstGeom>
          <a:solidFill>
            <a:srgbClr val="FFFFFF"/>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4" name="Rectangle: Rounded Corners 53">
            <a:extLst>
              <a:ext uri="{FF2B5EF4-FFF2-40B4-BE49-F238E27FC236}">
                <a16:creationId xmlns:a16="http://schemas.microsoft.com/office/drawing/2014/main" id="{6F7B51AE-7D8E-17F2-CEB1-D5CD89822FA4}"/>
              </a:ext>
            </a:extLst>
          </p:cNvPr>
          <p:cNvSpPr/>
          <p:nvPr/>
        </p:nvSpPr>
        <p:spPr>
          <a:xfrm>
            <a:off x="8236400" y="3979547"/>
            <a:ext cx="3615216" cy="2321431"/>
          </a:xfrm>
          <a:prstGeom prst="roundRect">
            <a:avLst>
              <a:gd name="adj" fmla="val 6279"/>
            </a:avLst>
          </a:prstGeom>
          <a:solidFill>
            <a:srgbClr val="FFFFFF"/>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5" name="Title 1">
            <a:extLst>
              <a:ext uri="{FF2B5EF4-FFF2-40B4-BE49-F238E27FC236}">
                <a16:creationId xmlns:a16="http://schemas.microsoft.com/office/drawing/2014/main" id="{A154508D-3DA0-6987-972F-A784B2D780A7}"/>
              </a:ext>
            </a:extLst>
          </p:cNvPr>
          <p:cNvSpPr txBox="1">
            <a:spLocks/>
          </p:cNvSpPr>
          <p:nvPr/>
        </p:nvSpPr>
        <p:spPr>
          <a:xfrm>
            <a:off x="366548" y="718724"/>
            <a:ext cx="11712241" cy="26161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309" rtl="0" eaLnBrk="1" fontAlgn="auto" latinLnBrk="0" hangingPunct="1">
              <a:lnSpc>
                <a:spcPct val="100000"/>
              </a:lnSpc>
              <a:spcBef>
                <a:spcPct val="0"/>
              </a:spcBef>
              <a:spcAft>
                <a:spcPts val="900"/>
              </a:spcAft>
              <a:buClrTx/>
              <a:buSzTx/>
              <a:buFontTx/>
              <a:buNone/>
              <a:tabLst/>
              <a:defRPr/>
            </a:pPr>
            <a:r>
              <a:rPr kumimoji="0" lang="en-US" sz="1700" b="0" i="0" u="none" strike="noStrike" kern="1200" cap="none" spc="0" normalizeH="0" baseline="0" noProof="0">
                <a:ln>
                  <a:noFill/>
                </a:ln>
                <a:solidFill>
                  <a:srgbClr val="013482"/>
                </a:solidFill>
                <a:effectLst/>
                <a:uLnTx/>
                <a:uFillTx/>
                <a:latin typeface="Segoe UI" panose="020B0502040204020203" pitchFamily="34" charset="0"/>
                <a:ea typeface="Open Sans" panose="020B0606030504020204" pitchFamily="34" charset="0"/>
                <a:cs typeface="Segoe UI" panose="020B0502040204020203" pitchFamily="34" charset="0"/>
              </a:rPr>
              <a:t>Infinite instils a strong sense of values amongst employees through the spirit of where each letter has a strong meaning.</a:t>
            </a:r>
          </a:p>
        </p:txBody>
      </p:sp>
      <p:sp>
        <p:nvSpPr>
          <p:cNvPr id="56" name="Rectangle 55">
            <a:extLst>
              <a:ext uri="{FF2B5EF4-FFF2-40B4-BE49-F238E27FC236}">
                <a16:creationId xmlns:a16="http://schemas.microsoft.com/office/drawing/2014/main" id="{DC9FB431-6AD9-EF44-A0A5-A2E500A08D6F}"/>
              </a:ext>
            </a:extLst>
          </p:cNvPr>
          <p:cNvSpPr/>
          <p:nvPr/>
        </p:nvSpPr>
        <p:spPr>
          <a:xfrm>
            <a:off x="1450478" y="2306150"/>
            <a:ext cx="1699391"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0000"/>
              </a:lnSpc>
              <a:spcBef>
                <a:spcPts val="600"/>
              </a:spcBef>
              <a:spcAft>
                <a:spcPts val="600"/>
              </a:spcAft>
              <a:buClrTx/>
              <a:buSzTx/>
              <a:buFontTx/>
              <a:buNone/>
              <a:tabLst/>
              <a:defRPr/>
            </a:pPr>
            <a:r>
              <a:rPr kumimoji="0" lang="en-US" sz="1600" b="1" i="0" u="none" strike="noStrike" kern="1200" cap="none" spc="-50" normalizeH="0" baseline="0" noProof="0">
                <a:ln w="3175">
                  <a:noFill/>
                </a:ln>
                <a:gradFill flip="none" rotWithShape="1">
                  <a:gsLst>
                    <a:gs pos="97000">
                      <a:srgbClr val="8661C5"/>
                    </a:gs>
                    <a:gs pos="0">
                      <a:srgbClr val="F04E56"/>
                    </a:gs>
                  </a:gsLst>
                  <a:lin ang="2700000" scaled="1"/>
                  <a:tileRect/>
                </a:gradFill>
                <a:effectLst/>
                <a:uLnTx/>
                <a:uFillTx/>
                <a:latin typeface="Segoe UI" panose="020B0502040204020203" pitchFamily="34" charset="0"/>
                <a:ea typeface="+mn-ea"/>
                <a:cs typeface="Segoe UI" panose="020B0502040204020203" pitchFamily="34" charset="0"/>
              </a:rPr>
              <a:t>IGNITE</a:t>
            </a:r>
          </a:p>
        </p:txBody>
      </p:sp>
      <p:sp>
        <p:nvSpPr>
          <p:cNvPr id="57" name="Rectangle 56">
            <a:extLst>
              <a:ext uri="{FF2B5EF4-FFF2-40B4-BE49-F238E27FC236}">
                <a16:creationId xmlns:a16="http://schemas.microsoft.com/office/drawing/2014/main" id="{BF2D21E8-CCFC-83A7-6C2C-84DC83EE9DE5}"/>
              </a:ext>
            </a:extLst>
          </p:cNvPr>
          <p:cNvSpPr/>
          <p:nvPr/>
        </p:nvSpPr>
        <p:spPr>
          <a:xfrm>
            <a:off x="704621" y="2763350"/>
            <a:ext cx="3191104"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309" rtl="0" eaLnBrk="1" fontAlgn="auto" latinLnBrk="0" hangingPunct="1">
              <a:spcBef>
                <a:spcPct val="0"/>
              </a:spcBef>
              <a:spcAft>
                <a:spcPts val="900"/>
              </a:spcAft>
              <a:buClrTx/>
              <a:buSzTx/>
              <a:buFontTx/>
              <a:buNone/>
              <a:tabLst/>
              <a:defRPr/>
            </a:pPr>
            <a:r>
              <a:rPr kumimoji="0" lang="en-US" sz="1600" b="0" i="0" u="none" strike="noStrike" kern="1200" cap="none" spc="0" normalizeH="0" baseline="0" noProof="0" dirty="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t>Thought, leadership, passion</a:t>
            </a:r>
            <a:br>
              <a:rPr kumimoji="0" lang="en-US" sz="1600" b="0" i="0" u="none" strike="noStrike" kern="1200" cap="none" spc="0" normalizeH="0" baseline="0" noProof="0" dirty="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br>
            <a:r>
              <a:rPr kumimoji="0" lang="en-US" sz="1600" b="0" i="0" u="none" strike="noStrike" kern="1200" cap="none" spc="0" normalizeH="0" baseline="0" noProof="0" dirty="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t> and innovation</a:t>
            </a:r>
          </a:p>
        </p:txBody>
      </p:sp>
      <p:sp>
        <p:nvSpPr>
          <p:cNvPr id="58" name="Rectangle 57">
            <a:extLst>
              <a:ext uri="{FF2B5EF4-FFF2-40B4-BE49-F238E27FC236}">
                <a16:creationId xmlns:a16="http://schemas.microsoft.com/office/drawing/2014/main" id="{73572FD5-1008-215D-AC80-30A4DD2666B7}"/>
              </a:ext>
            </a:extLst>
          </p:cNvPr>
          <p:cNvSpPr/>
          <p:nvPr/>
        </p:nvSpPr>
        <p:spPr>
          <a:xfrm>
            <a:off x="5347958" y="2306150"/>
            <a:ext cx="1699391"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0000"/>
              </a:lnSpc>
              <a:spcBef>
                <a:spcPts val="600"/>
              </a:spcBef>
              <a:spcAft>
                <a:spcPts val="600"/>
              </a:spcAft>
              <a:buClrTx/>
              <a:buSzTx/>
              <a:buFontTx/>
              <a:buNone/>
              <a:tabLst/>
              <a:defRPr/>
            </a:pPr>
            <a:r>
              <a:rPr kumimoji="0" lang="en-US" sz="1600" b="1" i="0" u="none" strike="noStrike" kern="1200" cap="none" spc="-50" normalizeH="0" baseline="0" noProof="0">
                <a:ln w="3175">
                  <a:noFill/>
                </a:ln>
                <a:gradFill flip="none" rotWithShape="1">
                  <a:gsLst>
                    <a:gs pos="97000">
                      <a:srgbClr val="8661C5"/>
                    </a:gs>
                    <a:gs pos="0">
                      <a:srgbClr val="F04E56"/>
                    </a:gs>
                  </a:gsLst>
                  <a:lin ang="2700000" scaled="1"/>
                  <a:tileRect/>
                </a:gradFill>
                <a:effectLst/>
                <a:uLnTx/>
                <a:uFillTx/>
                <a:latin typeface="Segoe UI" panose="020B0502040204020203" pitchFamily="34" charset="0"/>
                <a:ea typeface="+mn-ea"/>
                <a:cs typeface="Segoe UI" panose="020B0502040204020203" pitchFamily="34" charset="0"/>
              </a:rPr>
              <a:t>NURTURE</a:t>
            </a:r>
          </a:p>
        </p:txBody>
      </p:sp>
      <p:sp>
        <p:nvSpPr>
          <p:cNvPr id="59" name="Rectangle 58">
            <a:extLst>
              <a:ext uri="{FF2B5EF4-FFF2-40B4-BE49-F238E27FC236}">
                <a16:creationId xmlns:a16="http://schemas.microsoft.com/office/drawing/2014/main" id="{CDD64732-3241-DBE5-E62E-38DC99A57251}"/>
              </a:ext>
            </a:extLst>
          </p:cNvPr>
          <p:cNvSpPr/>
          <p:nvPr/>
        </p:nvSpPr>
        <p:spPr>
          <a:xfrm>
            <a:off x="4522099" y="2763350"/>
            <a:ext cx="3351109"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309" rtl="0" eaLnBrk="1" fontAlgn="auto" latinLnBrk="0" hangingPunct="1">
              <a:spcBef>
                <a:spcPct val="0"/>
              </a:spcBef>
              <a:spcAft>
                <a:spcPts val="900"/>
              </a:spcAft>
              <a:buClrTx/>
              <a:buSzTx/>
              <a:buFontTx/>
              <a:buNone/>
              <a:tabLst/>
              <a:defRPr/>
            </a:pPr>
            <a:r>
              <a:rPr kumimoji="0" lang="en-US" sz="1600" b="0" i="0" u="none" strike="noStrike" kern="1200" cap="none" spc="0" normalizeH="0" baseline="0" noProof="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t>A positive and creative environment for the holistic development of human capital.</a:t>
            </a:r>
          </a:p>
        </p:txBody>
      </p:sp>
      <p:sp>
        <p:nvSpPr>
          <p:cNvPr id="60" name="Rectangle 59">
            <a:extLst>
              <a:ext uri="{FF2B5EF4-FFF2-40B4-BE49-F238E27FC236}">
                <a16:creationId xmlns:a16="http://schemas.microsoft.com/office/drawing/2014/main" id="{FD14E94B-1F25-74C0-13E0-DDF4BBA0C83C}"/>
              </a:ext>
            </a:extLst>
          </p:cNvPr>
          <p:cNvSpPr/>
          <p:nvPr/>
        </p:nvSpPr>
        <p:spPr>
          <a:xfrm>
            <a:off x="9260062" y="2306150"/>
            <a:ext cx="1699391"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0000"/>
              </a:lnSpc>
              <a:spcBef>
                <a:spcPts val="600"/>
              </a:spcBef>
              <a:spcAft>
                <a:spcPts val="600"/>
              </a:spcAft>
              <a:buClrTx/>
              <a:buSzTx/>
              <a:buFontTx/>
              <a:buNone/>
              <a:tabLst/>
              <a:defRPr/>
            </a:pPr>
            <a:r>
              <a:rPr kumimoji="0" lang="en-US" sz="1600" b="1" i="0" u="none" strike="noStrike" kern="1200" cap="none" spc="-50" normalizeH="0" baseline="0" noProof="0">
                <a:ln w="3175">
                  <a:noFill/>
                </a:ln>
                <a:gradFill flip="none" rotWithShape="1">
                  <a:gsLst>
                    <a:gs pos="97000">
                      <a:srgbClr val="8661C5"/>
                    </a:gs>
                    <a:gs pos="0">
                      <a:srgbClr val="F04E56"/>
                    </a:gs>
                  </a:gsLst>
                  <a:lin ang="2700000" scaled="1"/>
                  <a:tileRect/>
                </a:gradFill>
                <a:effectLst/>
                <a:uLnTx/>
                <a:uFillTx/>
                <a:latin typeface="Segoe UI" panose="020B0502040204020203" pitchFamily="34" charset="0"/>
                <a:ea typeface="+mn-ea"/>
                <a:cs typeface="Segoe UI" panose="020B0502040204020203" pitchFamily="34" charset="0"/>
              </a:rPr>
              <a:t>FOSTER</a:t>
            </a:r>
          </a:p>
        </p:txBody>
      </p:sp>
      <p:sp>
        <p:nvSpPr>
          <p:cNvPr id="61" name="Rectangle 60">
            <a:extLst>
              <a:ext uri="{FF2B5EF4-FFF2-40B4-BE49-F238E27FC236}">
                <a16:creationId xmlns:a16="http://schemas.microsoft.com/office/drawing/2014/main" id="{967EBA23-2AB1-6073-B8C9-A6F0F65E7BC1}"/>
              </a:ext>
            </a:extLst>
          </p:cNvPr>
          <p:cNvSpPr/>
          <p:nvPr/>
        </p:nvSpPr>
        <p:spPr>
          <a:xfrm>
            <a:off x="8497715" y="2763350"/>
            <a:ext cx="2989664"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309" rtl="0" eaLnBrk="1" fontAlgn="auto" latinLnBrk="0" hangingPunct="1">
              <a:spcBef>
                <a:spcPct val="0"/>
              </a:spcBef>
              <a:spcAft>
                <a:spcPts val="900"/>
              </a:spcAft>
              <a:buClrTx/>
              <a:buSzTx/>
              <a:buFontTx/>
              <a:buNone/>
              <a:tabLst/>
              <a:defRPr/>
            </a:pPr>
            <a:r>
              <a:rPr kumimoji="0" lang="en-US" sz="1600" b="0" i="0" u="none" strike="noStrike" kern="1200" cap="none" spc="0" normalizeH="0" baseline="0" noProof="0" dirty="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t>Freedom of thought, </a:t>
            </a:r>
            <a:br>
              <a:rPr kumimoji="0" lang="en-US" sz="1600" b="0" i="0" u="none" strike="noStrike" kern="1200" cap="none" spc="0" normalizeH="0" baseline="0" noProof="0" dirty="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br>
            <a:r>
              <a:rPr kumimoji="0" lang="en-US" sz="1600" b="0" i="0" u="none" strike="noStrike" kern="1200" cap="none" spc="0" normalizeH="0" baseline="0" noProof="0" dirty="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t>expression and action.</a:t>
            </a:r>
          </a:p>
        </p:txBody>
      </p:sp>
      <p:sp>
        <p:nvSpPr>
          <p:cNvPr id="62" name="Rectangle 61">
            <a:extLst>
              <a:ext uri="{FF2B5EF4-FFF2-40B4-BE49-F238E27FC236}">
                <a16:creationId xmlns:a16="http://schemas.microsoft.com/office/drawing/2014/main" id="{0BD5DEDB-27B4-31AB-8B07-6A3D7CF06E0D}"/>
              </a:ext>
            </a:extLst>
          </p:cNvPr>
          <p:cNvSpPr/>
          <p:nvPr/>
        </p:nvSpPr>
        <p:spPr>
          <a:xfrm>
            <a:off x="1450478" y="5008670"/>
            <a:ext cx="1699391"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0000"/>
              </a:lnSpc>
              <a:spcBef>
                <a:spcPts val="600"/>
              </a:spcBef>
              <a:spcAft>
                <a:spcPts val="600"/>
              </a:spcAft>
              <a:buClrTx/>
              <a:buSzTx/>
              <a:buFontTx/>
              <a:buNone/>
              <a:tabLst/>
              <a:defRPr/>
            </a:pPr>
            <a:r>
              <a:rPr kumimoji="0" lang="en-US" sz="1600" b="1" i="0" u="none" strike="noStrike" kern="1200" cap="none" spc="-50" normalizeH="0" baseline="0" noProof="0">
                <a:ln w="3175">
                  <a:noFill/>
                </a:ln>
                <a:gradFill flip="none" rotWithShape="1">
                  <a:gsLst>
                    <a:gs pos="97000">
                      <a:srgbClr val="8661C5"/>
                    </a:gs>
                    <a:gs pos="0">
                      <a:srgbClr val="F04E56"/>
                    </a:gs>
                  </a:gsLst>
                  <a:lin ang="2700000" scaled="1"/>
                  <a:tileRect/>
                </a:gradFill>
                <a:effectLst/>
                <a:uLnTx/>
                <a:uFillTx/>
                <a:latin typeface="Segoe UI" panose="020B0502040204020203" pitchFamily="34" charset="0"/>
                <a:ea typeface="+mn-ea"/>
                <a:cs typeface="Segoe UI" panose="020B0502040204020203" pitchFamily="34" charset="0"/>
              </a:rPr>
              <a:t>INSPIRE</a:t>
            </a:r>
          </a:p>
        </p:txBody>
      </p:sp>
      <p:sp>
        <p:nvSpPr>
          <p:cNvPr id="63" name="Rectangle 62">
            <a:extLst>
              <a:ext uri="{FF2B5EF4-FFF2-40B4-BE49-F238E27FC236}">
                <a16:creationId xmlns:a16="http://schemas.microsoft.com/office/drawing/2014/main" id="{EDCDB7D0-5378-0243-36DC-88E3E8361CC3}"/>
              </a:ext>
            </a:extLst>
          </p:cNvPr>
          <p:cNvSpPr/>
          <p:nvPr/>
        </p:nvSpPr>
        <p:spPr>
          <a:xfrm>
            <a:off x="704621" y="5465870"/>
            <a:ext cx="2997495"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309" rtl="0" eaLnBrk="1" fontAlgn="auto" latinLnBrk="0" hangingPunct="1">
              <a:spcBef>
                <a:spcPct val="0"/>
              </a:spcBef>
              <a:spcAft>
                <a:spcPts val="900"/>
              </a:spcAft>
              <a:buClrTx/>
              <a:buSzTx/>
              <a:buFontTx/>
              <a:buNone/>
              <a:tabLst/>
              <a:defRPr/>
            </a:pPr>
            <a:r>
              <a:rPr kumimoji="0" lang="en-US" sz="1600" b="0" i="0" u="none" strike="noStrike" kern="1200" cap="none" spc="0" normalizeH="0" baseline="0" noProof="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t>Integrity and strength of character in interactions with customers.</a:t>
            </a:r>
          </a:p>
        </p:txBody>
      </p:sp>
      <p:sp>
        <p:nvSpPr>
          <p:cNvPr id="64" name="Rectangle 63">
            <a:extLst>
              <a:ext uri="{FF2B5EF4-FFF2-40B4-BE49-F238E27FC236}">
                <a16:creationId xmlns:a16="http://schemas.microsoft.com/office/drawing/2014/main" id="{BFB99086-828E-C2C8-6831-83F3776E4801}"/>
              </a:ext>
            </a:extLst>
          </p:cNvPr>
          <p:cNvSpPr/>
          <p:nvPr/>
        </p:nvSpPr>
        <p:spPr>
          <a:xfrm>
            <a:off x="5347958" y="5008670"/>
            <a:ext cx="1699391"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0000"/>
              </a:lnSpc>
              <a:spcBef>
                <a:spcPts val="600"/>
              </a:spcBef>
              <a:spcAft>
                <a:spcPts val="600"/>
              </a:spcAft>
              <a:buClrTx/>
              <a:buSzTx/>
              <a:buFontTx/>
              <a:buNone/>
              <a:tabLst/>
              <a:defRPr/>
            </a:pPr>
            <a:r>
              <a:rPr kumimoji="0" lang="en-US" sz="1600" b="1" i="0" u="none" strike="noStrike" kern="1200" cap="none" spc="-50" normalizeH="0" baseline="0" noProof="0">
                <a:ln w="3175">
                  <a:noFill/>
                </a:ln>
                <a:gradFill flip="none" rotWithShape="1">
                  <a:gsLst>
                    <a:gs pos="97000">
                      <a:srgbClr val="8661C5"/>
                    </a:gs>
                    <a:gs pos="0">
                      <a:srgbClr val="F04E56"/>
                    </a:gs>
                  </a:gsLst>
                  <a:lin ang="2700000" scaled="1"/>
                  <a:tileRect/>
                </a:gradFill>
                <a:effectLst/>
                <a:uLnTx/>
                <a:uFillTx/>
                <a:latin typeface="Segoe UI" panose="020B0502040204020203" pitchFamily="34" charset="0"/>
                <a:ea typeface="+mn-ea"/>
                <a:cs typeface="Segoe UI" panose="020B0502040204020203" pitchFamily="34" charset="0"/>
              </a:rPr>
              <a:t>CHALLENGE</a:t>
            </a:r>
          </a:p>
        </p:txBody>
      </p:sp>
      <p:sp>
        <p:nvSpPr>
          <p:cNvPr id="65" name="Rectangle 64">
            <a:extLst>
              <a:ext uri="{FF2B5EF4-FFF2-40B4-BE49-F238E27FC236}">
                <a16:creationId xmlns:a16="http://schemas.microsoft.com/office/drawing/2014/main" id="{DD3FC277-151A-1183-B617-30A3D656CD72}"/>
              </a:ext>
            </a:extLst>
          </p:cNvPr>
          <p:cNvSpPr/>
          <p:nvPr/>
        </p:nvSpPr>
        <p:spPr>
          <a:xfrm>
            <a:off x="4522099" y="5465870"/>
            <a:ext cx="3050218"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309" rtl="0" eaLnBrk="1" fontAlgn="auto" latinLnBrk="0" hangingPunct="1">
              <a:spcBef>
                <a:spcPct val="0"/>
              </a:spcBef>
              <a:spcAft>
                <a:spcPts val="900"/>
              </a:spcAft>
              <a:buClrTx/>
              <a:buSzTx/>
              <a:buFontTx/>
              <a:buNone/>
              <a:tabLst/>
              <a:defRPr/>
            </a:pPr>
            <a:r>
              <a:rPr kumimoji="0" lang="en-US" sz="1600" b="0" i="0" u="none" strike="noStrike" kern="1200" cap="none" spc="0" normalizeH="0" baseline="0" noProof="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t>I, the individual and we, the team, to achieve excellence.</a:t>
            </a:r>
          </a:p>
        </p:txBody>
      </p:sp>
      <p:sp>
        <p:nvSpPr>
          <p:cNvPr id="66" name="Rectangle 65">
            <a:extLst>
              <a:ext uri="{FF2B5EF4-FFF2-40B4-BE49-F238E27FC236}">
                <a16:creationId xmlns:a16="http://schemas.microsoft.com/office/drawing/2014/main" id="{763B62A5-A41F-1E10-1461-F7012A7D69DB}"/>
              </a:ext>
            </a:extLst>
          </p:cNvPr>
          <p:cNvSpPr/>
          <p:nvPr/>
        </p:nvSpPr>
        <p:spPr>
          <a:xfrm>
            <a:off x="9260062" y="5008670"/>
            <a:ext cx="1699391"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0000"/>
              </a:lnSpc>
              <a:spcBef>
                <a:spcPts val="600"/>
              </a:spcBef>
              <a:spcAft>
                <a:spcPts val="600"/>
              </a:spcAft>
              <a:buClrTx/>
              <a:buSzTx/>
              <a:buFontTx/>
              <a:buNone/>
              <a:tabLst/>
              <a:defRPr/>
            </a:pPr>
            <a:r>
              <a:rPr kumimoji="0" lang="en-US" sz="1600" b="1" i="0" u="none" strike="noStrike" kern="1200" cap="none" spc="-50" normalizeH="0" baseline="0" noProof="0">
                <a:ln w="3175">
                  <a:noFill/>
                </a:ln>
                <a:gradFill flip="none" rotWithShape="1">
                  <a:gsLst>
                    <a:gs pos="97000">
                      <a:srgbClr val="8661C5"/>
                    </a:gs>
                    <a:gs pos="0">
                      <a:srgbClr val="F04E56"/>
                    </a:gs>
                  </a:gsLst>
                  <a:lin ang="2700000" scaled="1"/>
                  <a:tileRect/>
                </a:gradFill>
                <a:effectLst/>
                <a:uLnTx/>
                <a:uFillTx/>
                <a:latin typeface="Segoe UI" panose="020B0502040204020203" pitchFamily="34" charset="0"/>
                <a:ea typeface="+mn-ea"/>
                <a:cs typeface="Segoe UI" panose="020B0502040204020203" pitchFamily="34" charset="0"/>
              </a:rPr>
              <a:t>SUPPORT</a:t>
            </a:r>
          </a:p>
        </p:txBody>
      </p:sp>
      <p:sp>
        <p:nvSpPr>
          <p:cNvPr id="67" name="Rectangle 66">
            <a:extLst>
              <a:ext uri="{FF2B5EF4-FFF2-40B4-BE49-F238E27FC236}">
                <a16:creationId xmlns:a16="http://schemas.microsoft.com/office/drawing/2014/main" id="{04E0AA46-B267-2AEC-D93E-5CDFFB1CFBEE}"/>
              </a:ext>
            </a:extLst>
          </p:cNvPr>
          <p:cNvSpPr/>
          <p:nvPr/>
        </p:nvSpPr>
        <p:spPr>
          <a:xfrm>
            <a:off x="8497715" y="5465870"/>
            <a:ext cx="3224085" cy="457200"/>
          </a:xfrm>
          <a:prstGeom prst="rect">
            <a:avLst/>
          </a:prstGeom>
          <a:noFill/>
          <a:ln w="9525" cap="rnd">
            <a:noFill/>
            <a:prstDash val="solid"/>
            <a:rou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309" rtl="0" eaLnBrk="1" fontAlgn="auto" latinLnBrk="0" hangingPunct="1">
              <a:spcBef>
                <a:spcPct val="0"/>
              </a:spcBef>
              <a:spcAft>
                <a:spcPts val="900"/>
              </a:spcAft>
              <a:buClrTx/>
              <a:buSzTx/>
              <a:buFontTx/>
              <a:buNone/>
              <a:tabLst/>
              <a:defRPr/>
            </a:pPr>
            <a:r>
              <a:rPr kumimoji="0" lang="en-US" sz="1600" b="0" i="0" u="none" strike="noStrike" kern="1200" cap="none" spc="0" normalizeH="0" baseline="0" noProof="0">
                <a:ln>
                  <a:noFill/>
                </a:ln>
                <a:solidFill>
                  <a:srgbClr val="232324"/>
                </a:solidFill>
                <a:effectLst/>
                <a:uLnTx/>
                <a:uFillTx/>
                <a:latin typeface="Segoe UI" panose="020B0502040204020203" pitchFamily="34" charset="0"/>
                <a:ea typeface="Open Sans" panose="020B0606030504020204" pitchFamily="34" charset="0"/>
                <a:cs typeface="Segoe UI" panose="020B0502040204020203" pitchFamily="34" charset="0"/>
              </a:rPr>
              <a:t>Social causes through compassion and collaboration.</a:t>
            </a:r>
          </a:p>
        </p:txBody>
      </p:sp>
      <p:grpSp>
        <p:nvGrpSpPr>
          <p:cNvPr id="74" name="Group 73">
            <a:extLst>
              <a:ext uri="{FF2B5EF4-FFF2-40B4-BE49-F238E27FC236}">
                <a16:creationId xmlns:a16="http://schemas.microsoft.com/office/drawing/2014/main" id="{51AF4037-69A9-B2D9-9DB0-5B4676CEEC0B}"/>
              </a:ext>
            </a:extLst>
          </p:cNvPr>
          <p:cNvGrpSpPr/>
          <p:nvPr/>
        </p:nvGrpSpPr>
        <p:grpSpPr>
          <a:xfrm>
            <a:off x="275044" y="6477021"/>
            <a:ext cx="297180" cy="304884"/>
            <a:chOff x="480261" y="6473483"/>
            <a:chExt cx="297180" cy="304884"/>
          </a:xfrm>
        </p:grpSpPr>
        <p:sp>
          <p:nvSpPr>
            <p:cNvPr id="75" name="object 3">
              <a:extLst>
                <a:ext uri="{FF2B5EF4-FFF2-40B4-BE49-F238E27FC236}">
                  <a16:creationId xmlns:a16="http://schemas.microsoft.com/office/drawing/2014/main" id="{FDE5669B-DFC4-FE70-BF3E-5C901491A011}"/>
                </a:ext>
              </a:extLst>
            </p:cNvPr>
            <p:cNvSpPr/>
            <p:nvPr/>
          </p:nvSpPr>
          <p:spPr>
            <a:xfrm>
              <a:off x="488654" y="6473483"/>
              <a:ext cx="269875" cy="218440"/>
            </a:xfrm>
            <a:custGeom>
              <a:avLst/>
              <a:gdLst/>
              <a:ahLst/>
              <a:cxnLst/>
              <a:rect l="l" t="t" r="r" b="b"/>
              <a:pathLst>
                <a:path w="269875" h="218440">
                  <a:moveTo>
                    <a:pt x="133286" y="0"/>
                  </a:moveTo>
                  <a:lnTo>
                    <a:pt x="0" y="218033"/>
                  </a:lnTo>
                  <a:lnTo>
                    <a:pt x="269544" y="216192"/>
                  </a:lnTo>
                  <a:lnTo>
                    <a:pt x="133286" y="0"/>
                  </a:lnTo>
                  <a:close/>
                </a:path>
              </a:pathLst>
            </a:custGeom>
            <a:solidFill>
              <a:srgbClr val="1C8BC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76" name="object 4">
              <a:extLst>
                <a:ext uri="{FF2B5EF4-FFF2-40B4-BE49-F238E27FC236}">
                  <a16:creationId xmlns:a16="http://schemas.microsoft.com/office/drawing/2014/main" id="{BB96BCB4-7F69-5518-4D20-80F1C145A5D4}"/>
                </a:ext>
              </a:extLst>
            </p:cNvPr>
            <p:cNvPicPr/>
            <p:nvPr/>
          </p:nvPicPr>
          <p:blipFill>
            <a:blip r:embed="rId3" cstate="screen">
              <a:extLst>
                <a:ext uri="{28A0092B-C50C-407E-A947-70E740481C1C}">
                  <a14:useLocalDpi xmlns:a14="http://schemas.microsoft.com/office/drawing/2010/main"/>
                </a:ext>
              </a:extLst>
            </a:blip>
            <a:stretch>
              <a:fillRect/>
            </a:stretch>
          </p:blipFill>
          <p:spPr>
            <a:xfrm>
              <a:off x="575304" y="6474180"/>
              <a:ext cx="192015" cy="172148"/>
            </a:xfrm>
            <a:prstGeom prst="rect">
              <a:avLst/>
            </a:prstGeom>
          </p:spPr>
        </p:pic>
        <p:sp>
          <p:nvSpPr>
            <p:cNvPr id="77" name="object 5">
              <a:extLst>
                <a:ext uri="{FF2B5EF4-FFF2-40B4-BE49-F238E27FC236}">
                  <a16:creationId xmlns:a16="http://schemas.microsoft.com/office/drawing/2014/main" id="{54FED7B3-00F0-340A-33AD-813CB95A7F6D}"/>
                </a:ext>
              </a:extLst>
            </p:cNvPr>
            <p:cNvSpPr/>
            <p:nvPr/>
          </p:nvSpPr>
          <p:spPr>
            <a:xfrm>
              <a:off x="480261" y="6523419"/>
              <a:ext cx="297180" cy="204470"/>
            </a:xfrm>
            <a:custGeom>
              <a:avLst/>
              <a:gdLst/>
              <a:ahLst/>
              <a:cxnLst/>
              <a:rect l="l" t="t" r="r" b="b"/>
              <a:pathLst>
                <a:path w="297180" h="204470">
                  <a:moveTo>
                    <a:pt x="50416" y="0"/>
                  </a:moveTo>
                  <a:lnTo>
                    <a:pt x="29033" y="1654"/>
                  </a:lnTo>
                  <a:lnTo>
                    <a:pt x="12525" y="7804"/>
                  </a:lnTo>
                  <a:lnTo>
                    <a:pt x="1787" y="18577"/>
                  </a:lnTo>
                  <a:lnTo>
                    <a:pt x="0" y="48188"/>
                  </a:lnTo>
                  <a:lnTo>
                    <a:pt x="20415" y="85028"/>
                  </a:lnTo>
                  <a:lnTo>
                    <a:pt x="59437" y="124485"/>
                  </a:lnTo>
                  <a:lnTo>
                    <a:pt x="113471" y="161947"/>
                  </a:lnTo>
                  <a:lnTo>
                    <a:pt x="172839" y="190133"/>
                  </a:lnTo>
                  <a:lnTo>
                    <a:pt x="226425" y="204291"/>
                  </a:lnTo>
                  <a:lnTo>
                    <a:pt x="268447" y="203601"/>
                  </a:lnTo>
                  <a:lnTo>
                    <a:pt x="293125" y="187246"/>
                  </a:lnTo>
                  <a:lnTo>
                    <a:pt x="297074" y="171813"/>
                  </a:lnTo>
                  <a:lnTo>
                    <a:pt x="293549" y="153470"/>
                  </a:lnTo>
                  <a:lnTo>
                    <a:pt x="283183" y="133032"/>
                  </a:lnTo>
                  <a:lnTo>
                    <a:pt x="266607" y="111312"/>
                  </a:lnTo>
                  <a:lnTo>
                    <a:pt x="278829" y="130753"/>
                  </a:lnTo>
                  <a:lnTo>
                    <a:pt x="286310" y="149415"/>
                  </a:lnTo>
                  <a:lnTo>
                    <a:pt x="288512" y="166130"/>
                  </a:lnTo>
                  <a:lnTo>
                    <a:pt x="284895" y="179727"/>
                  </a:lnTo>
                  <a:lnTo>
                    <a:pt x="261667" y="194707"/>
                  </a:lnTo>
                  <a:lnTo>
                    <a:pt x="221780" y="195423"/>
                  </a:lnTo>
                  <a:lnTo>
                    <a:pt x="171324" y="182572"/>
                  </a:lnTo>
                  <a:lnTo>
                    <a:pt x="116392" y="156854"/>
                  </a:lnTo>
                  <a:lnTo>
                    <a:pt x="66353" y="121857"/>
                  </a:lnTo>
                  <a:lnTo>
                    <a:pt x="29224" y="84110"/>
                  </a:lnTo>
                  <a:lnTo>
                    <a:pt x="9094" y="48757"/>
                  </a:lnTo>
                  <a:lnTo>
                    <a:pt x="10055" y="20939"/>
                  </a:lnTo>
                  <a:lnTo>
                    <a:pt x="19643" y="11426"/>
                  </a:lnTo>
                  <a:lnTo>
                    <a:pt x="34720" y="5150"/>
                  </a:lnTo>
                  <a:lnTo>
                    <a:pt x="53894" y="2212"/>
                  </a:lnTo>
                  <a:lnTo>
                    <a:pt x="75777" y="2715"/>
                  </a:lnTo>
                  <a:lnTo>
                    <a:pt x="50416" y="0"/>
                  </a:lnTo>
                  <a:close/>
                </a:path>
              </a:pathLst>
            </a:custGeom>
            <a:solidFill>
              <a:srgbClr val="00B8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8" name="object 6">
              <a:extLst>
                <a:ext uri="{FF2B5EF4-FFF2-40B4-BE49-F238E27FC236}">
                  <a16:creationId xmlns:a16="http://schemas.microsoft.com/office/drawing/2014/main" id="{B1D9E147-3E56-177C-F2ED-A608029E98A7}"/>
                </a:ext>
              </a:extLst>
            </p:cNvPr>
            <p:cNvSpPr/>
            <p:nvPr/>
          </p:nvSpPr>
          <p:spPr>
            <a:xfrm>
              <a:off x="494708" y="6698357"/>
              <a:ext cx="259079" cy="80010"/>
            </a:xfrm>
            <a:custGeom>
              <a:avLst/>
              <a:gdLst/>
              <a:ahLst/>
              <a:cxnLst/>
              <a:rect l="l" t="t" r="r" b="b"/>
              <a:pathLst>
                <a:path w="259079" h="80009">
                  <a:moveTo>
                    <a:pt x="237553" y="33375"/>
                  </a:moveTo>
                  <a:lnTo>
                    <a:pt x="228374" y="35268"/>
                  </a:lnTo>
                  <a:lnTo>
                    <a:pt x="221653" y="40412"/>
                  </a:lnTo>
                  <a:lnTo>
                    <a:pt x="217522" y="48007"/>
                  </a:lnTo>
                  <a:lnTo>
                    <a:pt x="216115" y="57251"/>
                  </a:lnTo>
                  <a:lnTo>
                    <a:pt x="217645" y="66158"/>
                  </a:lnTo>
                  <a:lnTo>
                    <a:pt x="221995" y="73382"/>
                  </a:lnTo>
                  <a:lnTo>
                    <a:pt x="228813" y="78227"/>
                  </a:lnTo>
                  <a:lnTo>
                    <a:pt x="237743" y="79997"/>
                  </a:lnTo>
                  <a:lnTo>
                    <a:pt x="246773" y="79997"/>
                  </a:lnTo>
                  <a:lnTo>
                    <a:pt x="253911" y="75488"/>
                  </a:lnTo>
                  <a:lnTo>
                    <a:pt x="255216" y="73050"/>
                  </a:lnTo>
                  <a:lnTo>
                    <a:pt x="229755" y="73050"/>
                  </a:lnTo>
                  <a:lnTo>
                    <a:pt x="223926" y="66459"/>
                  </a:lnTo>
                  <a:lnTo>
                    <a:pt x="223824" y="58280"/>
                  </a:lnTo>
                  <a:lnTo>
                    <a:pt x="258521" y="58280"/>
                  </a:lnTo>
                  <a:lnTo>
                    <a:pt x="257869" y="51892"/>
                  </a:lnTo>
                  <a:lnTo>
                    <a:pt x="224205" y="51892"/>
                  </a:lnTo>
                  <a:lnTo>
                    <a:pt x="225145" y="45504"/>
                  </a:lnTo>
                  <a:lnTo>
                    <a:pt x="231165" y="40335"/>
                  </a:lnTo>
                  <a:lnTo>
                    <a:pt x="252957" y="40335"/>
                  </a:lnTo>
                  <a:lnTo>
                    <a:pt x="246925" y="35416"/>
                  </a:lnTo>
                  <a:lnTo>
                    <a:pt x="237553" y="33375"/>
                  </a:lnTo>
                  <a:close/>
                </a:path>
                <a:path w="259079" h="80009">
                  <a:moveTo>
                    <a:pt x="251752" y="63919"/>
                  </a:moveTo>
                  <a:lnTo>
                    <a:pt x="248831" y="69189"/>
                  </a:lnTo>
                  <a:lnTo>
                    <a:pt x="244703" y="73050"/>
                  </a:lnTo>
                  <a:lnTo>
                    <a:pt x="255216" y="73050"/>
                  </a:lnTo>
                  <a:lnTo>
                    <a:pt x="258140" y="67589"/>
                  </a:lnTo>
                  <a:lnTo>
                    <a:pt x="251752" y="63919"/>
                  </a:lnTo>
                  <a:close/>
                </a:path>
                <a:path w="259079" h="80009">
                  <a:moveTo>
                    <a:pt x="252957" y="40335"/>
                  </a:moveTo>
                  <a:lnTo>
                    <a:pt x="244233" y="40335"/>
                  </a:lnTo>
                  <a:lnTo>
                    <a:pt x="249593" y="45504"/>
                  </a:lnTo>
                  <a:lnTo>
                    <a:pt x="250621" y="51892"/>
                  </a:lnTo>
                  <a:lnTo>
                    <a:pt x="257869" y="51892"/>
                  </a:lnTo>
                  <a:lnTo>
                    <a:pt x="257557" y="48838"/>
                  </a:lnTo>
                  <a:lnTo>
                    <a:pt x="253642" y="40893"/>
                  </a:lnTo>
                  <a:lnTo>
                    <a:pt x="252957" y="40335"/>
                  </a:lnTo>
                  <a:close/>
                </a:path>
                <a:path w="259079" h="80009">
                  <a:moveTo>
                    <a:pt x="205384" y="41554"/>
                  </a:moveTo>
                  <a:lnTo>
                    <a:pt x="197865" y="41554"/>
                  </a:lnTo>
                  <a:lnTo>
                    <a:pt x="197865" y="78778"/>
                  </a:lnTo>
                  <a:lnTo>
                    <a:pt x="205384" y="78778"/>
                  </a:lnTo>
                  <a:lnTo>
                    <a:pt x="205384" y="41554"/>
                  </a:lnTo>
                  <a:close/>
                </a:path>
                <a:path w="259079" h="80009">
                  <a:moveTo>
                    <a:pt x="213283" y="34594"/>
                  </a:moveTo>
                  <a:lnTo>
                    <a:pt x="193255" y="34594"/>
                  </a:lnTo>
                  <a:lnTo>
                    <a:pt x="193255" y="41554"/>
                  </a:lnTo>
                  <a:lnTo>
                    <a:pt x="213283" y="41554"/>
                  </a:lnTo>
                  <a:lnTo>
                    <a:pt x="213283" y="34594"/>
                  </a:lnTo>
                  <a:close/>
                </a:path>
                <a:path w="259079" h="80009">
                  <a:moveTo>
                    <a:pt x="205384" y="18707"/>
                  </a:moveTo>
                  <a:lnTo>
                    <a:pt x="197865" y="18707"/>
                  </a:lnTo>
                  <a:lnTo>
                    <a:pt x="197865" y="34594"/>
                  </a:lnTo>
                  <a:lnTo>
                    <a:pt x="205384" y="34594"/>
                  </a:lnTo>
                  <a:lnTo>
                    <a:pt x="205384" y="18707"/>
                  </a:lnTo>
                  <a:close/>
                </a:path>
                <a:path w="259079" h="80009">
                  <a:moveTo>
                    <a:pt x="180962" y="12598"/>
                  </a:moveTo>
                  <a:lnTo>
                    <a:pt x="175132" y="12598"/>
                  </a:lnTo>
                  <a:lnTo>
                    <a:pt x="172694" y="15036"/>
                  </a:lnTo>
                  <a:lnTo>
                    <a:pt x="172694" y="20967"/>
                  </a:lnTo>
                  <a:lnTo>
                    <a:pt x="175132" y="23317"/>
                  </a:lnTo>
                  <a:lnTo>
                    <a:pt x="180962" y="23317"/>
                  </a:lnTo>
                  <a:lnTo>
                    <a:pt x="183413" y="20967"/>
                  </a:lnTo>
                  <a:lnTo>
                    <a:pt x="183413" y="15036"/>
                  </a:lnTo>
                  <a:lnTo>
                    <a:pt x="180962" y="12598"/>
                  </a:lnTo>
                  <a:close/>
                </a:path>
                <a:path w="259079" h="80009">
                  <a:moveTo>
                    <a:pt x="181813" y="34594"/>
                  </a:moveTo>
                  <a:lnTo>
                    <a:pt x="174294" y="34594"/>
                  </a:lnTo>
                  <a:lnTo>
                    <a:pt x="174294" y="78778"/>
                  </a:lnTo>
                  <a:lnTo>
                    <a:pt x="181813" y="78778"/>
                  </a:lnTo>
                  <a:lnTo>
                    <a:pt x="181813" y="34594"/>
                  </a:lnTo>
                  <a:close/>
                </a:path>
                <a:path w="259079" h="80009">
                  <a:moveTo>
                    <a:pt x="130733" y="34594"/>
                  </a:moveTo>
                  <a:lnTo>
                    <a:pt x="123215" y="34594"/>
                  </a:lnTo>
                  <a:lnTo>
                    <a:pt x="123215" y="78778"/>
                  </a:lnTo>
                  <a:lnTo>
                    <a:pt x="130733" y="78778"/>
                  </a:lnTo>
                  <a:lnTo>
                    <a:pt x="130733" y="49923"/>
                  </a:lnTo>
                  <a:lnTo>
                    <a:pt x="131394" y="40335"/>
                  </a:lnTo>
                  <a:lnTo>
                    <a:pt x="157959" y="40335"/>
                  </a:lnTo>
                  <a:lnTo>
                    <a:pt x="157838" y="39954"/>
                  </a:lnTo>
                  <a:lnTo>
                    <a:pt x="130733" y="39954"/>
                  </a:lnTo>
                  <a:lnTo>
                    <a:pt x="130733" y="34594"/>
                  </a:lnTo>
                  <a:close/>
                </a:path>
                <a:path w="259079" h="80009">
                  <a:moveTo>
                    <a:pt x="157959" y="40335"/>
                  </a:moveTo>
                  <a:lnTo>
                    <a:pt x="150482" y="40335"/>
                  </a:lnTo>
                  <a:lnTo>
                    <a:pt x="151041" y="46723"/>
                  </a:lnTo>
                  <a:lnTo>
                    <a:pt x="151041" y="78778"/>
                  </a:lnTo>
                  <a:lnTo>
                    <a:pt x="158559" y="78778"/>
                  </a:lnTo>
                  <a:lnTo>
                    <a:pt x="158559" y="42214"/>
                  </a:lnTo>
                  <a:lnTo>
                    <a:pt x="157959" y="40335"/>
                  </a:lnTo>
                  <a:close/>
                </a:path>
                <a:path w="259079" h="80009">
                  <a:moveTo>
                    <a:pt x="155740" y="33375"/>
                  </a:moveTo>
                  <a:lnTo>
                    <a:pt x="138061" y="33375"/>
                  </a:lnTo>
                  <a:lnTo>
                    <a:pt x="134023" y="35725"/>
                  </a:lnTo>
                  <a:lnTo>
                    <a:pt x="130924" y="39954"/>
                  </a:lnTo>
                  <a:lnTo>
                    <a:pt x="157838" y="39954"/>
                  </a:lnTo>
                  <a:lnTo>
                    <a:pt x="155740" y="33375"/>
                  </a:lnTo>
                  <a:close/>
                </a:path>
                <a:path w="259079" h="80009">
                  <a:moveTo>
                    <a:pt x="106705" y="12598"/>
                  </a:moveTo>
                  <a:lnTo>
                    <a:pt x="100876" y="12598"/>
                  </a:lnTo>
                  <a:lnTo>
                    <a:pt x="98437" y="15036"/>
                  </a:lnTo>
                  <a:lnTo>
                    <a:pt x="98437" y="20967"/>
                  </a:lnTo>
                  <a:lnTo>
                    <a:pt x="100876" y="23317"/>
                  </a:lnTo>
                  <a:lnTo>
                    <a:pt x="106705" y="23317"/>
                  </a:lnTo>
                  <a:lnTo>
                    <a:pt x="109156" y="20967"/>
                  </a:lnTo>
                  <a:lnTo>
                    <a:pt x="109156" y="15036"/>
                  </a:lnTo>
                  <a:lnTo>
                    <a:pt x="106705" y="12598"/>
                  </a:lnTo>
                  <a:close/>
                </a:path>
                <a:path w="259079" h="80009">
                  <a:moveTo>
                    <a:pt x="107556" y="34594"/>
                  </a:moveTo>
                  <a:lnTo>
                    <a:pt x="100037" y="34594"/>
                  </a:lnTo>
                  <a:lnTo>
                    <a:pt x="100037" y="78778"/>
                  </a:lnTo>
                  <a:lnTo>
                    <a:pt x="107556" y="78778"/>
                  </a:lnTo>
                  <a:lnTo>
                    <a:pt x="107556" y="34594"/>
                  </a:lnTo>
                  <a:close/>
                </a:path>
                <a:path w="259079" h="80009">
                  <a:moveTo>
                    <a:pt x="81508" y="41554"/>
                  </a:moveTo>
                  <a:lnTo>
                    <a:pt x="73990" y="41554"/>
                  </a:lnTo>
                  <a:lnTo>
                    <a:pt x="73990" y="78778"/>
                  </a:lnTo>
                  <a:lnTo>
                    <a:pt x="81508" y="78778"/>
                  </a:lnTo>
                  <a:lnTo>
                    <a:pt x="81508" y="41554"/>
                  </a:lnTo>
                  <a:close/>
                </a:path>
                <a:path w="259079" h="80009">
                  <a:moveTo>
                    <a:pt x="92697" y="34594"/>
                  </a:moveTo>
                  <a:lnTo>
                    <a:pt x="69862" y="34594"/>
                  </a:lnTo>
                  <a:lnTo>
                    <a:pt x="69862" y="41554"/>
                  </a:lnTo>
                  <a:lnTo>
                    <a:pt x="92697" y="41554"/>
                  </a:lnTo>
                  <a:lnTo>
                    <a:pt x="92697" y="34594"/>
                  </a:lnTo>
                  <a:close/>
                </a:path>
                <a:path w="259079" h="80009">
                  <a:moveTo>
                    <a:pt x="89128" y="0"/>
                  </a:moveTo>
                  <a:lnTo>
                    <a:pt x="82829" y="0"/>
                  </a:lnTo>
                  <a:lnTo>
                    <a:pt x="78409" y="1600"/>
                  </a:lnTo>
                  <a:lnTo>
                    <a:pt x="74100" y="8559"/>
                  </a:lnTo>
                  <a:lnTo>
                    <a:pt x="73990" y="34594"/>
                  </a:lnTo>
                  <a:lnTo>
                    <a:pt x="81508" y="34594"/>
                  </a:lnTo>
                  <a:lnTo>
                    <a:pt x="81508" y="7518"/>
                  </a:lnTo>
                  <a:lnTo>
                    <a:pt x="92697" y="7518"/>
                  </a:lnTo>
                  <a:lnTo>
                    <a:pt x="92697" y="939"/>
                  </a:lnTo>
                  <a:lnTo>
                    <a:pt x="90919" y="380"/>
                  </a:lnTo>
                  <a:lnTo>
                    <a:pt x="89128" y="0"/>
                  </a:lnTo>
                  <a:close/>
                </a:path>
                <a:path w="259079" h="80009">
                  <a:moveTo>
                    <a:pt x="92697" y="7518"/>
                  </a:moveTo>
                  <a:lnTo>
                    <a:pt x="89509" y="7518"/>
                  </a:lnTo>
                  <a:lnTo>
                    <a:pt x="91008" y="7988"/>
                  </a:lnTo>
                  <a:lnTo>
                    <a:pt x="92697" y="8559"/>
                  </a:lnTo>
                  <a:lnTo>
                    <a:pt x="92697" y="7518"/>
                  </a:lnTo>
                  <a:close/>
                </a:path>
                <a:path w="259079" h="80009">
                  <a:moveTo>
                    <a:pt x="32321" y="34594"/>
                  </a:moveTo>
                  <a:lnTo>
                    <a:pt x="24803" y="34594"/>
                  </a:lnTo>
                  <a:lnTo>
                    <a:pt x="24803" y="78778"/>
                  </a:lnTo>
                  <a:lnTo>
                    <a:pt x="32321" y="78778"/>
                  </a:lnTo>
                  <a:lnTo>
                    <a:pt x="32321" y="49923"/>
                  </a:lnTo>
                  <a:lnTo>
                    <a:pt x="32981" y="40335"/>
                  </a:lnTo>
                  <a:lnTo>
                    <a:pt x="59547" y="40335"/>
                  </a:lnTo>
                  <a:lnTo>
                    <a:pt x="59426" y="39954"/>
                  </a:lnTo>
                  <a:lnTo>
                    <a:pt x="32321" y="39954"/>
                  </a:lnTo>
                  <a:lnTo>
                    <a:pt x="32321" y="34594"/>
                  </a:lnTo>
                  <a:close/>
                </a:path>
                <a:path w="259079" h="80009">
                  <a:moveTo>
                    <a:pt x="59547" y="40335"/>
                  </a:moveTo>
                  <a:lnTo>
                    <a:pt x="52057" y="40335"/>
                  </a:lnTo>
                  <a:lnTo>
                    <a:pt x="52628" y="46723"/>
                  </a:lnTo>
                  <a:lnTo>
                    <a:pt x="52628" y="78778"/>
                  </a:lnTo>
                  <a:lnTo>
                    <a:pt x="60147" y="78778"/>
                  </a:lnTo>
                  <a:lnTo>
                    <a:pt x="60147" y="42214"/>
                  </a:lnTo>
                  <a:lnTo>
                    <a:pt x="59547" y="40335"/>
                  </a:lnTo>
                  <a:close/>
                </a:path>
                <a:path w="259079" h="80009">
                  <a:moveTo>
                    <a:pt x="57327" y="33375"/>
                  </a:moveTo>
                  <a:lnTo>
                    <a:pt x="39649" y="33375"/>
                  </a:lnTo>
                  <a:lnTo>
                    <a:pt x="35610" y="35725"/>
                  </a:lnTo>
                  <a:lnTo>
                    <a:pt x="32511" y="39954"/>
                  </a:lnTo>
                  <a:lnTo>
                    <a:pt x="59426" y="39954"/>
                  </a:lnTo>
                  <a:lnTo>
                    <a:pt x="57327" y="33375"/>
                  </a:lnTo>
                  <a:close/>
                </a:path>
                <a:path w="259079" h="80009">
                  <a:moveTo>
                    <a:pt x="8280" y="12598"/>
                  </a:moveTo>
                  <a:lnTo>
                    <a:pt x="2451" y="12598"/>
                  </a:lnTo>
                  <a:lnTo>
                    <a:pt x="0" y="15036"/>
                  </a:lnTo>
                  <a:lnTo>
                    <a:pt x="0" y="20967"/>
                  </a:lnTo>
                  <a:lnTo>
                    <a:pt x="2451" y="23317"/>
                  </a:lnTo>
                  <a:lnTo>
                    <a:pt x="8280" y="23317"/>
                  </a:lnTo>
                  <a:lnTo>
                    <a:pt x="10718" y="20967"/>
                  </a:lnTo>
                  <a:lnTo>
                    <a:pt x="10718" y="15036"/>
                  </a:lnTo>
                  <a:lnTo>
                    <a:pt x="8280" y="12598"/>
                  </a:lnTo>
                  <a:close/>
                </a:path>
                <a:path w="259079" h="80009">
                  <a:moveTo>
                    <a:pt x="9118" y="34594"/>
                  </a:moveTo>
                  <a:lnTo>
                    <a:pt x="1600" y="34594"/>
                  </a:lnTo>
                  <a:lnTo>
                    <a:pt x="1600" y="78778"/>
                  </a:lnTo>
                  <a:lnTo>
                    <a:pt x="9118" y="78778"/>
                  </a:lnTo>
                  <a:lnTo>
                    <a:pt x="9118" y="34594"/>
                  </a:lnTo>
                  <a:close/>
                </a:path>
              </a:pathLst>
            </a:custGeom>
            <a:solidFill>
              <a:srgbClr val="1B1B1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79" name="TextBox 78">
            <a:extLst>
              <a:ext uri="{FF2B5EF4-FFF2-40B4-BE49-F238E27FC236}">
                <a16:creationId xmlns:a16="http://schemas.microsoft.com/office/drawing/2014/main" id="{3225994B-967F-6503-88E7-44F246CB60FF}"/>
              </a:ext>
            </a:extLst>
          </p:cNvPr>
          <p:cNvSpPr txBox="1"/>
          <p:nvPr/>
        </p:nvSpPr>
        <p:spPr>
          <a:xfrm>
            <a:off x="658874" y="6504388"/>
            <a:ext cx="175240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2025 Infinite Confidential</a:t>
            </a:r>
            <a:endParaRPr kumimoji="0" lang="en-IN"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5" name="Graphic 13" descr="Left Brain outline">
            <a:extLst>
              <a:ext uri="{FF2B5EF4-FFF2-40B4-BE49-F238E27FC236}">
                <a16:creationId xmlns:a16="http://schemas.microsoft.com/office/drawing/2014/main" id="{9C5E2CF7-0C1F-966A-DC9F-39057EF77FC3}"/>
              </a:ext>
            </a:extLst>
          </p:cNvPr>
          <p:cNvGrpSpPr/>
          <p:nvPr/>
        </p:nvGrpSpPr>
        <p:grpSpPr>
          <a:xfrm>
            <a:off x="9760475" y="1706543"/>
            <a:ext cx="635512" cy="523615"/>
            <a:chOff x="9760475" y="1593046"/>
            <a:chExt cx="635512" cy="523615"/>
          </a:xfrm>
          <a:gradFill>
            <a:gsLst>
              <a:gs pos="0">
                <a:srgbClr val="3FB6FA"/>
              </a:gs>
              <a:gs pos="100000">
                <a:srgbClr val="8745A6"/>
              </a:gs>
            </a:gsLst>
            <a:lin ang="10800000" scaled="1"/>
          </a:gradFill>
        </p:grpSpPr>
        <p:sp>
          <p:nvSpPr>
            <p:cNvPr id="6" name="Freeform: Shape 5">
              <a:extLst>
                <a:ext uri="{FF2B5EF4-FFF2-40B4-BE49-F238E27FC236}">
                  <a16:creationId xmlns:a16="http://schemas.microsoft.com/office/drawing/2014/main" id="{CA18C4D7-5B12-CCFD-23FA-D141BD75D19A}"/>
                </a:ext>
              </a:extLst>
            </p:cNvPr>
            <p:cNvSpPr/>
            <p:nvPr/>
          </p:nvSpPr>
          <p:spPr>
            <a:xfrm>
              <a:off x="10148322" y="1593046"/>
              <a:ext cx="247665" cy="516674"/>
            </a:xfrm>
            <a:custGeom>
              <a:avLst/>
              <a:gdLst>
                <a:gd name="connsiteX0" fmla="*/ 70784 w 247665"/>
                <a:gd name="connsiteY0" fmla="*/ 15977 h 516674"/>
                <a:gd name="connsiteX1" fmla="*/ 125336 w 247665"/>
                <a:gd name="connsiteY1" fmla="*/ 67149 h 516674"/>
                <a:gd name="connsiteX2" fmla="*/ 126087 w 247665"/>
                <a:gd name="connsiteY2" fmla="*/ 78581 h 516674"/>
                <a:gd name="connsiteX3" fmla="*/ 137151 w 247665"/>
                <a:gd name="connsiteY3" fmla="*/ 81544 h 516674"/>
                <a:gd name="connsiteX4" fmla="*/ 138533 w 247665"/>
                <a:gd name="connsiteY4" fmla="*/ 81928 h 516674"/>
                <a:gd name="connsiteX5" fmla="*/ 172922 w 247665"/>
                <a:gd name="connsiteY5" fmla="*/ 145586 h 516674"/>
                <a:gd name="connsiteX6" fmla="*/ 169072 w 247665"/>
                <a:gd name="connsiteY6" fmla="*/ 158527 h 516674"/>
                <a:gd name="connsiteX7" fmla="*/ 181182 w 247665"/>
                <a:gd name="connsiteY7" fmla="*/ 164487 h 516674"/>
                <a:gd name="connsiteX8" fmla="*/ 185975 w 247665"/>
                <a:gd name="connsiteY8" fmla="*/ 167107 h 516674"/>
                <a:gd name="connsiteX9" fmla="*/ 208199 w 247665"/>
                <a:gd name="connsiteY9" fmla="*/ 256512 h 516674"/>
                <a:gd name="connsiteX10" fmla="*/ 201648 w 247665"/>
                <a:gd name="connsiteY10" fmla="*/ 267392 h 516674"/>
                <a:gd name="connsiteX11" fmla="*/ 210771 w 247665"/>
                <a:gd name="connsiteY11" fmla="*/ 276227 h 516674"/>
                <a:gd name="connsiteX12" fmla="*/ 212235 w 247665"/>
                <a:gd name="connsiteY12" fmla="*/ 373586 h 516674"/>
                <a:gd name="connsiteX13" fmla="*/ 191471 w 247665"/>
                <a:gd name="connsiteY13" fmla="*/ 388246 h 516674"/>
                <a:gd name="connsiteX14" fmla="*/ 182141 w 247665"/>
                <a:gd name="connsiteY14" fmla="*/ 392512 h 516674"/>
                <a:gd name="connsiteX15" fmla="*/ 182141 w 247665"/>
                <a:gd name="connsiteY15" fmla="*/ 403488 h 516674"/>
                <a:gd name="connsiteX16" fmla="*/ 120648 w 247665"/>
                <a:gd name="connsiteY16" fmla="*/ 465366 h 516674"/>
                <a:gd name="connsiteX17" fmla="*/ 107139 w 247665"/>
                <a:gd name="connsiteY17" fmla="*/ 463911 h 516674"/>
                <a:gd name="connsiteX18" fmla="*/ 92856 w 247665"/>
                <a:gd name="connsiteY18" fmla="*/ 460780 h 516674"/>
                <a:gd name="connsiteX19" fmla="*/ 88470 w 247665"/>
                <a:gd name="connsiteY19" fmla="*/ 474704 h 516674"/>
                <a:gd name="connsiteX20" fmla="*/ 41968 w 247665"/>
                <a:gd name="connsiteY20" fmla="*/ 498994 h 516674"/>
                <a:gd name="connsiteX21" fmla="*/ 15977 w 247665"/>
                <a:gd name="connsiteY21" fmla="*/ 463600 h 516674"/>
                <a:gd name="connsiteX22" fmla="*/ 15977 w 247665"/>
                <a:gd name="connsiteY22" fmla="*/ 70800 h 516674"/>
                <a:gd name="connsiteX23" fmla="*/ 67102 w 247665"/>
                <a:gd name="connsiteY23" fmla="*/ 16104 h 516674"/>
                <a:gd name="connsiteX24" fmla="*/ 70752 w 247665"/>
                <a:gd name="connsiteY24" fmla="*/ 15977 h 516674"/>
                <a:gd name="connsiteX25" fmla="*/ 70752 w 247665"/>
                <a:gd name="connsiteY25" fmla="*/ 0 h 516674"/>
                <a:gd name="connsiteX26" fmla="*/ 66055 w 247665"/>
                <a:gd name="connsiteY26" fmla="*/ 160 h 516674"/>
                <a:gd name="connsiteX27" fmla="*/ 0 w 247665"/>
                <a:gd name="connsiteY27" fmla="*/ 70816 h 516674"/>
                <a:gd name="connsiteX28" fmla="*/ 0 w 247665"/>
                <a:gd name="connsiteY28" fmla="*/ 463600 h 516674"/>
                <a:gd name="connsiteX29" fmla="*/ 53074 w 247665"/>
                <a:gd name="connsiteY29" fmla="*/ 516674 h 516674"/>
                <a:gd name="connsiteX30" fmla="*/ 53074 w 247665"/>
                <a:gd name="connsiteY30" fmla="*/ 516674 h 516674"/>
                <a:gd name="connsiteX31" fmla="*/ 103720 w 247665"/>
                <a:gd name="connsiteY31" fmla="*/ 479497 h 516674"/>
                <a:gd name="connsiteX32" fmla="*/ 196310 w 247665"/>
                <a:gd name="connsiteY32" fmla="*/ 420170 h 516674"/>
                <a:gd name="connsiteX33" fmla="*/ 198109 w 247665"/>
                <a:gd name="connsiteY33" fmla="*/ 403440 h 516674"/>
                <a:gd name="connsiteX34" fmla="*/ 198109 w 247665"/>
                <a:gd name="connsiteY34" fmla="*/ 402737 h 516674"/>
                <a:gd name="connsiteX35" fmla="*/ 239958 w 247665"/>
                <a:gd name="connsiteY35" fmla="*/ 290321 h 516674"/>
                <a:gd name="connsiteX36" fmla="*/ 221875 w 247665"/>
                <a:gd name="connsiteY36" fmla="*/ 264716 h 516674"/>
                <a:gd name="connsiteX37" fmla="*/ 194211 w 247665"/>
                <a:gd name="connsiteY37" fmla="*/ 153383 h 516674"/>
                <a:gd name="connsiteX38" fmla="*/ 188228 w 247665"/>
                <a:gd name="connsiteY38" fmla="*/ 150116 h 516674"/>
                <a:gd name="connsiteX39" fmla="*/ 143116 w 247665"/>
                <a:gd name="connsiteY39" fmla="*/ 66629 h 516674"/>
                <a:gd name="connsiteX40" fmla="*/ 143094 w 247665"/>
                <a:gd name="connsiteY40" fmla="*/ 66622 h 516674"/>
                <a:gd name="connsiteX41" fmla="*/ 141273 w 247665"/>
                <a:gd name="connsiteY41" fmla="*/ 66111 h 516674"/>
                <a:gd name="connsiteX42" fmla="*/ 70776 w 247665"/>
                <a:gd name="connsiteY42" fmla="*/ 0 h 516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47665" h="516674">
                  <a:moveTo>
                    <a:pt x="70784" y="15977"/>
                  </a:moveTo>
                  <a:cubicBezTo>
                    <a:pt x="99584" y="16063"/>
                    <a:pt x="123411" y="38413"/>
                    <a:pt x="125336" y="67149"/>
                  </a:cubicBezTo>
                  <a:lnTo>
                    <a:pt x="126087" y="78581"/>
                  </a:lnTo>
                  <a:lnTo>
                    <a:pt x="137151" y="81544"/>
                  </a:lnTo>
                  <a:lnTo>
                    <a:pt x="138533" y="81928"/>
                  </a:lnTo>
                  <a:cubicBezTo>
                    <a:pt x="165592" y="90030"/>
                    <a:pt x="180979" y="118514"/>
                    <a:pt x="172922" y="145586"/>
                  </a:cubicBezTo>
                  <a:lnTo>
                    <a:pt x="169072" y="158527"/>
                  </a:lnTo>
                  <a:lnTo>
                    <a:pt x="181182" y="164487"/>
                  </a:lnTo>
                  <a:cubicBezTo>
                    <a:pt x="182780" y="165286"/>
                    <a:pt x="184418" y="166164"/>
                    <a:pt x="185975" y="167107"/>
                  </a:cubicBezTo>
                  <a:cubicBezTo>
                    <a:pt x="216761" y="185688"/>
                    <a:pt x="226702" y="225679"/>
                    <a:pt x="208199" y="256512"/>
                  </a:cubicBezTo>
                  <a:lnTo>
                    <a:pt x="201648" y="267392"/>
                  </a:lnTo>
                  <a:lnTo>
                    <a:pt x="210771" y="276227"/>
                  </a:lnTo>
                  <a:cubicBezTo>
                    <a:pt x="238060" y="302707"/>
                    <a:pt x="238715" y="346297"/>
                    <a:pt x="212235" y="373586"/>
                  </a:cubicBezTo>
                  <a:cubicBezTo>
                    <a:pt x="206284" y="379719"/>
                    <a:pt x="199242" y="384691"/>
                    <a:pt x="191471" y="388246"/>
                  </a:cubicBezTo>
                  <a:lnTo>
                    <a:pt x="182141" y="392512"/>
                  </a:lnTo>
                  <a:lnTo>
                    <a:pt x="182141" y="403488"/>
                  </a:lnTo>
                  <a:cubicBezTo>
                    <a:pt x="182247" y="437556"/>
                    <a:pt x="154716" y="465260"/>
                    <a:pt x="120648" y="465366"/>
                  </a:cubicBezTo>
                  <a:cubicBezTo>
                    <a:pt x="116105" y="465380"/>
                    <a:pt x="111575" y="464892"/>
                    <a:pt x="107139" y="463911"/>
                  </a:cubicBezTo>
                  <a:lnTo>
                    <a:pt x="92856" y="460780"/>
                  </a:lnTo>
                  <a:lnTo>
                    <a:pt x="88470" y="474704"/>
                  </a:lnTo>
                  <a:cubicBezTo>
                    <a:pt x="82337" y="494253"/>
                    <a:pt x="61517" y="505127"/>
                    <a:pt x="41968" y="498994"/>
                  </a:cubicBezTo>
                  <a:cubicBezTo>
                    <a:pt x="26502" y="494141"/>
                    <a:pt x="15977" y="479809"/>
                    <a:pt x="15977" y="463600"/>
                  </a:cubicBezTo>
                  <a:lnTo>
                    <a:pt x="15977" y="70800"/>
                  </a:lnTo>
                  <a:cubicBezTo>
                    <a:pt x="15994" y="41965"/>
                    <a:pt x="38333" y="18065"/>
                    <a:pt x="67102" y="16104"/>
                  </a:cubicBezTo>
                  <a:cubicBezTo>
                    <a:pt x="68324" y="16016"/>
                    <a:pt x="69546" y="15977"/>
                    <a:pt x="70752" y="15977"/>
                  </a:cubicBezTo>
                  <a:moveTo>
                    <a:pt x="70752" y="0"/>
                  </a:moveTo>
                  <a:cubicBezTo>
                    <a:pt x="69197" y="0"/>
                    <a:pt x="67631" y="54"/>
                    <a:pt x="66055" y="160"/>
                  </a:cubicBezTo>
                  <a:cubicBezTo>
                    <a:pt x="28855" y="2619"/>
                    <a:pt x="-47" y="33535"/>
                    <a:pt x="0" y="70816"/>
                  </a:cubicBezTo>
                  <a:lnTo>
                    <a:pt x="0" y="463600"/>
                  </a:lnTo>
                  <a:cubicBezTo>
                    <a:pt x="5" y="492911"/>
                    <a:pt x="23764" y="516670"/>
                    <a:pt x="53074" y="516674"/>
                  </a:cubicBezTo>
                  <a:lnTo>
                    <a:pt x="53074" y="516674"/>
                  </a:lnTo>
                  <a:cubicBezTo>
                    <a:pt x="76264" y="516672"/>
                    <a:pt x="96769" y="501620"/>
                    <a:pt x="103720" y="479497"/>
                  </a:cubicBezTo>
                  <a:cubicBezTo>
                    <a:pt x="145670" y="488682"/>
                    <a:pt x="187125" y="462120"/>
                    <a:pt x="196310" y="420170"/>
                  </a:cubicBezTo>
                  <a:cubicBezTo>
                    <a:pt x="197514" y="414675"/>
                    <a:pt x="198117" y="409066"/>
                    <a:pt x="198109" y="403440"/>
                  </a:cubicBezTo>
                  <a:lnTo>
                    <a:pt x="198109" y="402737"/>
                  </a:lnTo>
                  <a:cubicBezTo>
                    <a:pt x="240709" y="383250"/>
                    <a:pt x="259444" y="332920"/>
                    <a:pt x="239958" y="290321"/>
                  </a:cubicBezTo>
                  <a:cubicBezTo>
                    <a:pt x="235573" y="280736"/>
                    <a:pt x="229440" y="272053"/>
                    <a:pt x="221875" y="264716"/>
                  </a:cubicBezTo>
                  <a:cubicBezTo>
                    <a:pt x="244973" y="226332"/>
                    <a:pt x="232588" y="176491"/>
                    <a:pt x="194211" y="153383"/>
                  </a:cubicBezTo>
                  <a:cubicBezTo>
                    <a:pt x="192262" y="152217"/>
                    <a:pt x="190265" y="151122"/>
                    <a:pt x="188228" y="150116"/>
                  </a:cubicBezTo>
                  <a:cubicBezTo>
                    <a:pt x="198825" y="114604"/>
                    <a:pt x="178628" y="77225"/>
                    <a:pt x="143116" y="66629"/>
                  </a:cubicBezTo>
                  <a:cubicBezTo>
                    <a:pt x="143109" y="66626"/>
                    <a:pt x="143101" y="66625"/>
                    <a:pt x="143094" y="66622"/>
                  </a:cubicBezTo>
                  <a:cubicBezTo>
                    <a:pt x="142487" y="66439"/>
                    <a:pt x="141880" y="66271"/>
                    <a:pt x="141273" y="66111"/>
                  </a:cubicBezTo>
                  <a:cubicBezTo>
                    <a:pt x="138842" y="28952"/>
                    <a:pt x="108014" y="42"/>
                    <a:pt x="70776" y="0"/>
                  </a:cubicBezTo>
                  <a:close/>
                </a:path>
              </a:pathLst>
            </a:custGeom>
            <a:grpFill/>
            <a:ln w="7938" cap="flat">
              <a:noFill/>
              <a:prstDash val="solid"/>
              <a:miter/>
            </a:ln>
          </p:spPr>
          <p:txBody>
            <a:bodyPr rtlCol="0" anchor="ctr"/>
            <a:lstStyle/>
            <a:p>
              <a:endParaRPr lang="en-IN"/>
            </a:p>
          </p:txBody>
        </p:sp>
        <p:sp>
          <p:nvSpPr>
            <p:cNvPr id="7" name="Freeform: Shape 6">
              <a:extLst>
                <a:ext uri="{FF2B5EF4-FFF2-40B4-BE49-F238E27FC236}">
                  <a16:creationId xmlns:a16="http://schemas.microsoft.com/office/drawing/2014/main" id="{4C13E349-6B71-0482-C5C8-E79C042CB4C3}"/>
                </a:ext>
              </a:extLst>
            </p:cNvPr>
            <p:cNvSpPr/>
            <p:nvPr/>
          </p:nvSpPr>
          <p:spPr>
            <a:xfrm>
              <a:off x="9868739" y="1593078"/>
              <a:ext cx="247629" cy="516667"/>
            </a:xfrm>
            <a:custGeom>
              <a:avLst/>
              <a:gdLst>
                <a:gd name="connsiteX0" fmla="*/ 176885 w 247629"/>
                <a:gd name="connsiteY0" fmla="*/ 15977 h 516667"/>
                <a:gd name="connsiteX1" fmla="*/ 231653 w 247629"/>
                <a:gd name="connsiteY1" fmla="*/ 70784 h 516667"/>
                <a:gd name="connsiteX2" fmla="*/ 231653 w 247629"/>
                <a:gd name="connsiteY2" fmla="*/ 463536 h 516667"/>
                <a:gd name="connsiteX3" fmla="*/ 194511 w 247629"/>
                <a:gd name="connsiteY3" fmla="*/ 500574 h 516667"/>
                <a:gd name="connsiteX4" fmla="*/ 159191 w 247629"/>
                <a:gd name="connsiteY4" fmla="*/ 474640 h 516667"/>
                <a:gd name="connsiteX5" fmla="*/ 154797 w 247629"/>
                <a:gd name="connsiteY5" fmla="*/ 460724 h 516667"/>
                <a:gd name="connsiteX6" fmla="*/ 140538 w 247629"/>
                <a:gd name="connsiteY6" fmla="*/ 463848 h 516667"/>
                <a:gd name="connsiteX7" fmla="*/ 127238 w 247629"/>
                <a:gd name="connsiteY7" fmla="*/ 465285 h 516667"/>
                <a:gd name="connsiteX8" fmla="*/ 65496 w 247629"/>
                <a:gd name="connsiteY8" fmla="*/ 403480 h 516667"/>
                <a:gd name="connsiteX9" fmla="*/ 65496 w 247629"/>
                <a:gd name="connsiteY9" fmla="*/ 403408 h 516667"/>
                <a:gd name="connsiteX10" fmla="*/ 65496 w 247629"/>
                <a:gd name="connsiteY10" fmla="*/ 392440 h 516667"/>
                <a:gd name="connsiteX11" fmla="*/ 56158 w 247629"/>
                <a:gd name="connsiteY11" fmla="*/ 388175 h 516667"/>
                <a:gd name="connsiteX12" fmla="*/ 22136 w 247629"/>
                <a:gd name="connsiteY12" fmla="*/ 296990 h 516667"/>
                <a:gd name="connsiteX13" fmla="*/ 36843 w 247629"/>
                <a:gd name="connsiteY13" fmla="*/ 276155 h 516667"/>
                <a:gd name="connsiteX14" fmla="*/ 45957 w 247629"/>
                <a:gd name="connsiteY14" fmla="*/ 267320 h 516667"/>
                <a:gd name="connsiteX15" fmla="*/ 39407 w 247629"/>
                <a:gd name="connsiteY15" fmla="*/ 256448 h 516667"/>
                <a:gd name="connsiteX16" fmla="*/ 36771 w 247629"/>
                <a:gd name="connsiteY16" fmla="*/ 251655 h 516667"/>
                <a:gd name="connsiteX17" fmla="*/ 66455 w 247629"/>
                <a:gd name="connsiteY17" fmla="*/ 164423 h 516667"/>
                <a:gd name="connsiteX18" fmla="*/ 78549 w 247629"/>
                <a:gd name="connsiteY18" fmla="*/ 158464 h 516667"/>
                <a:gd name="connsiteX19" fmla="*/ 74707 w 247629"/>
                <a:gd name="connsiteY19" fmla="*/ 145554 h 516667"/>
                <a:gd name="connsiteX20" fmla="*/ 74308 w 247629"/>
                <a:gd name="connsiteY20" fmla="*/ 144149 h 516667"/>
                <a:gd name="connsiteX21" fmla="*/ 110486 w 247629"/>
                <a:gd name="connsiteY21" fmla="*/ 81520 h 516667"/>
                <a:gd name="connsiteX22" fmla="*/ 121550 w 247629"/>
                <a:gd name="connsiteY22" fmla="*/ 78565 h 516667"/>
                <a:gd name="connsiteX23" fmla="*/ 122301 w 247629"/>
                <a:gd name="connsiteY23" fmla="*/ 67142 h 516667"/>
                <a:gd name="connsiteX24" fmla="*/ 176885 w 247629"/>
                <a:gd name="connsiteY24" fmla="*/ 16017 h 516667"/>
                <a:gd name="connsiteX25" fmla="*/ 176885 w 247629"/>
                <a:gd name="connsiteY25" fmla="*/ 40 h 516667"/>
                <a:gd name="connsiteX26" fmla="*/ 176885 w 247629"/>
                <a:gd name="connsiteY26" fmla="*/ 40 h 516667"/>
                <a:gd name="connsiteX27" fmla="*/ 106365 w 247629"/>
                <a:gd name="connsiteY27" fmla="*/ 66103 h 516667"/>
                <a:gd name="connsiteX28" fmla="*/ 58873 w 247629"/>
                <a:gd name="connsiteY28" fmla="*/ 148260 h 516667"/>
                <a:gd name="connsiteX29" fmla="*/ 58882 w 247629"/>
                <a:gd name="connsiteY29" fmla="*/ 148294 h 516667"/>
                <a:gd name="connsiteX30" fmla="*/ 59401 w 247629"/>
                <a:gd name="connsiteY30" fmla="*/ 150124 h 516667"/>
                <a:gd name="connsiteX31" fmla="*/ 22480 w 247629"/>
                <a:gd name="connsiteY31" fmla="*/ 258716 h 516667"/>
                <a:gd name="connsiteX32" fmla="*/ 25763 w 247629"/>
                <a:gd name="connsiteY32" fmla="*/ 264724 h 516667"/>
                <a:gd name="connsiteX33" fmla="*/ 23924 w 247629"/>
                <a:gd name="connsiteY33" fmla="*/ 384629 h 516667"/>
                <a:gd name="connsiteX34" fmla="*/ 49520 w 247629"/>
                <a:gd name="connsiteY34" fmla="*/ 402705 h 516667"/>
                <a:gd name="connsiteX35" fmla="*/ 49520 w 247629"/>
                <a:gd name="connsiteY35" fmla="*/ 403408 h 516667"/>
                <a:gd name="connsiteX36" fmla="*/ 127190 w 247629"/>
                <a:gd name="connsiteY36" fmla="*/ 481262 h 516667"/>
                <a:gd name="connsiteX37" fmla="*/ 127286 w 247629"/>
                <a:gd name="connsiteY37" fmla="*/ 481262 h 516667"/>
                <a:gd name="connsiteX38" fmla="*/ 143925 w 247629"/>
                <a:gd name="connsiteY38" fmla="*/ 479457 h 516667"/>
                <a:gd name="connsiteX39" fmla="*/ 210433 w 247629"/>
                <a:gd name="connsiteY39" fmla="*/ 514225 h 516667"/>
                <a:gd name="connsiteX40" fmla="*/ 247629 w 247629"/>
                <a:gd name="connsiteY40" fmla="*/ 463568 h 516667"/>
                <a:gd name="connsiteX41" fmla="*/ 247629 w 247629"/>
                <a:gd name="connsiteY41" fmla="*/ 70784 h 516667"/>
                <a:gd name="connsiteX42" fmla="*/ 176885 w 247629"/>
                <a:gd name="connsiteY42" fmla="*/ 0 h 51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47629" h="516667">
                  <a:moveTo>
                    <a:pt x="176885" y="15977"/>
                  </a:moveTo>
                  <a:cubicBezTo>
                    <a:pt x="207128" y="16025"/>
                    <a:pt x="231626" y="40541"/>
                    <a:pt x="231653" y="70784"/>
                  </a:cubicBezTo>
                  <a:lnTo>
                    <a:pt x="231653" y="463536"/>
                  </a:lnTo>
                  <a:cubicBezTo>
                    <a:pt x="231624" y="484020"/>
                    <a:pt x="214996" y="500602"/>
                    <a:pt x="194511" y="500574"/>
                  </a:cubicBezTo>
                  <a:cubicBezTo>
                    <a:pt x="178344" y="500550"/>
                    <a:pt x="164053" y="490059"/>
                    <a:pt x="159191" y="474640"/>
                  </a:cubicBezTo>
                  <a:lnTo>
                    <a:pt x="154797" y="460724"/>
                  </a:lnTo>
                  <a:lnTo>
                    <a:pt x="140538" y="463848"/>
                  </a:lnTo>
                  <a:cubicBezTo>
                    <a:pt x="136170" y="464805"/>
                    <a:pt x="131711" y="465287"/>
                    <a:pt x="127238" y="465285"/>
                  </a:cubicBezTo>
                  <a:cubicBezTo>
                    <a:pt x="93122" y="465268"/>
                    <a:pt x="65479" y="437596"/>
                    <a:pt x="65496" y="403480"/>
                  </a:cubicBezTo>
                  <a:cubicBezTo>
                    <a:pt x="65496" y="403456"/>
                    <a:pt x="65496" y="403432"/>
                    <a:pt x="65496" y="403408"/>
                  </a:cubicBezTo>
                  <a:lnTo>
                    <a:pt x="65496" y="392440"/>
                  </a:lnTo>
                  <a:lnTo>
                    <a:pt x="56158" y="388175"/>
                  </a:lnTo>
                  <a:cubicBezTo>
                    <a:pt x="21583" y="372390"/>
                    <a:pt x="6351" y="331565"/>
                    <a:pt x="22136" y="296990"/>
                  </a:cubicBezTo>
                  <a:cubicBezTo>
                    <a:pt x="25697" y="289189"/>
                    <a:pt x="30685" y="282123"/>
                    <a:pt x="36843" y="276155"/>
                  </a:cubicBezTo>
                  <a:lnTo>
                    <a:pt x="45957" y="267320"/>
                  </a:lnTo>
                  <a:lnTo>
                    <a:pt x="39407" y="256448"/>
                  </a:lnTo>
                  <a:cubicBezTo>
                    <a:pt x="38464" y="254850"/>
                    <a:pt x="37577" y="253252"/>
                    <a:pt x="36771" y="251655"/>
                  </a:cubicBezTo>
                  <a:cubicBezTo>
                    <a:pt x="20911" y="219367"/>
                    <a:pt x="34193" y="180335"/>
                    <a:pt x="66455" y="164423"/>
                  </a:cubicBezTo>
                  <a:lnTo>
                    <a:pt x="78549" y="158464"/>
                  </a:lnTo>
                  <a:lnTo>
                    <a:pt x="74707" y="145554"/>
                  </a:lnTo>
                  <a:cubicBezTo>
                    <a:pt x="74571" y="145091"/>
                    <a:pt x="74435" y="144628"/>
                    <a:pt x="74308" y="144149"/>
                  </a:cubicBezTo>
                  <a:cubicBezTo>
                    <a:pt x="67045" y="116869"/>
                    <a:pt x="83227" y="88857"/>
                    <a:pt x="110486" y="81520"/>
                  </a:cubicBezTo>
                  <a:lnTo>
                    <a:pt x="121550" y="78565"/>
                  </a:lnTo>
                  <a:lnTo>
                    <a:pt x="122301" y="67142"/>
                  </a:lnTo>
                  <a:cubicBezTo>
                    <a:pt x="124267" y="38420"/>
                    <a:pt x="148096" y="16100"/>
                    <a:pt x="176885" y="16017"/>
                  </a:cubicBezTo>
                  <a:moveTo>
                    <a:pt x="176885" y="40"/>
                  </a:moveTo>
                  <a:lnTo>
                    <a:pt x="176885" y="40"/>
                  </a:lnTo>
                  <a:cubicBezTo>
                    <a:pt x="139652" y="61"/>
                    <a:pt x="108813" y="28950"/>
                    <a:pt x="106365" y="66103"/>
                  </a:cubicBezTo>
                  <a:cubicBezTo>
                    <a:pt x="70563" y="75675"/>
                    <a:pt x="49300" y="112459"/>
                    <a:pt x="58873" y="148260"/>
                  </a:cubicBezTo>
                  <a:cubicBezTo>
                    <a:pt x="58876" y="148271"/>
                    <a:pt x="58879" y="148283"/>
                    <a:pt x="58882" y="148294"/>
                  </a:cubicBezTo>
                  <a:cubicBezTo>
                    <a:pt x="59042" y="148910"/>
                    <a:pt x="59218" y="149517"/>
                    <a:pt x="59401" y="150124"/>
                  </a:cubicBezTo>
                  <a:cubicBezTo>
                    <a:pt x="19227" y="169922"/>
                    <a:pt x="2698" y="218533"/>
                    <a:pt x="22480" y="258716"/>
                  </a:cubicBezTo>
                  <a:cubicBezTo>
                    <a:pt x="23486" y="260772"/>
                    <a:pt x="24580" y="262775"/>
                    <a:pt x="25763" y="264724"/>
                  </a:cubicBezTo>
                  <a:cubicBezTo>
                    <a:pt x="-7856" y="297327"/>
                    <a:pt x="-8680" y="351010"/>
                    <a:pt x="23924" y="384629"/>
                  </a:cubicBezTo>
                  <a:cubicBezTo>
                    <a:pt x="31259" y="392192"/>
                    <a:pt x="39939" y="398322"/>
                    <a:pt x="49520" y="402705"/>
                  </a:cubicBezTo>
                  <a:lnTo>
                    <a:pt x="49520" y="403408"/>
                  </a:lnTo>
                  <a:cubicBezTo>
                    <a:pt x="49471" y="446354"/>
                    <a:pt x="84244" y="481209"/>
                    <a:pt x="127190" y="481262"/>
                  </a:cubicBezTo>
                  <a:lnTo>
                    <a:pt x="127286" y="481262"/>
                  </a:lnTo>
                  <a:cubicBezTo>
                    <a:pt x="132881" y="481261"/>
                    <a:pt x="138460" y="480656"/>
                    <a:pt x="143925" y="479457"/>
                  </a:cubicBezTo>
                  <a:cubicBezTo>
                    <a:pt x="152690" y="507423"/>
                    <a:pt x="182466" y="522990"/>
                    <a:pt x="210433" y="514225"/>
                  </a:cubicBezTo>
                  <a:cubicBezTo>
                    <a:pt x="232572" y="507286"/>
                    <a:pt x="247638" y="486770"/>
                    <a:pt x="247629" y="463568"/>
                  </a:cubicBezTo>
                  <a:lnTo>
                    <a:pt x="247629" y="70784"/>
                  </a:lnTo>
                  <a:cubicBezTo>
                    <a:pt x="247638" y="31703"/>
                    <a:pt x="215966" y="14"/>
                    <a:pt x="176885" y="0"/>
                  </a:cubicBezTo>
                  <a:close/>
                </a:path>
              </a:pathLst>
            </a:custGeom>
            <a:grpFill/>
            <a:ln w="7938" cap="flat">
              <a:noFill/>
              <a:prstDash val="solid"/>
              <a:miter/>
            </a:ln>
          </p:spPr>
          <p:txBody>
            <a:bodyPr rtlCol="0" anchor="ctr"/>
            <a:lstStyle/>
            <a:p>
              <a:endParaRPr lang="en-IN"/>
            </a:p>
          </p:txBody>
        </p:sp>
        <p:sp>
          <p:nvSpPr>
            <p:cNvPr id="8" name="Freeform: Shape 7">
              <a:extLst>
                <a:ext uri="{FF2B5EF4-FFF2-40B4-BE49-F238E27FC236}">
                  <a16:creationId xmlns:a16="http://schemas.microsoft.com/office/drawing/2014/main" id="{6E1A52BD-4302-7FA5-3740-C5F717A00490}"/>
                </a:ext>
              </a:extLst>
            </p:cNvPr>
            <p:cNvSpPr/>
            <p:nvPr/>
          </p:nvSpPr>
          <p:spPr>
            <a:xfrm>
              <a:off x="9855719" y="1593567"/>
              <a:ext cx="53998" cy="53704"/>
            </a:xfrm>
            <a:custGeom>
              <a:avLst/>
              <a:gdLst>
                <a:gd name="connsiteX0" fmla="*/ 45980 w 53998"/>
                <a:gd name="connsiteY0" fmla="*/ 53704 h 53704"/>
                <a:gd name="connsiteX1" fmla="*/ 40388 w 53998"/>
                <a:gd name="connsiteY1" fmla="*/ 51387 h 53704"/>
                <a:gd name="connsiteX2" fmla="*/ 2460 w 53998"/>
                <a:gd name="connsiteY2" fmla="*/ 13755 h 53704"/>
                <a:gd name="connsiteX3" fmla="*/ 2222 w 53998"/>
                <a:gd name="connsiteY3" fmla="*/ 2460 h 53704"/>
                <a:gd name="connsiteX4" fmla="*/ 13517 w 53998"/>
                <a:gd name="connsiteY4" fmla="*/ 2222 h 53704"/>
                <a:gd name="connsiteX5" fmla="*/ 13708 w 53998"/>
                <a:gd name="connsiteY5" fmla="*/ 2411 h 53704"/>
                <a:gd name="connsiteX6" fmla="*/ 51636 w 53998"/>
                <a:gd name="connsiteY6" fmla="*/ 40044 h 53704"/>
                <a:gd name="connsiteX7" fmla="*/ 51682 w 53998"/>
                <a:gd name="connsiteY7" fmla="*/ 51341 h 53704"/>
                <a:gd name="connsiteX8" fmla="*/ 46044 w 53998"/>
                <a:gd name="connsiteY8" fmla="*/ 53704 h 5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98" h="53704">
                  <a:moveTo>
                    <a:pt x="45980" y="53704"/>
                  </a:moveTo>
                  <a:cubicBezTo>
                    <a:pt x="43885" y="53695"/>
                    <a:pt x="41877" y="52863"/>
                    <a:pt x="40388" y="51387"/>
                  </a:cubicBezTo>
                  <a:lnTo>
                    <a:pt x="2460" y="13755"/>
                  </a:lnTo>
                  <a:cubicBezTo>
                    <a:pt x="-725" y="10702"/>
                    <a:pt x="-831" y="5645"/>
                    <a:pt x="2222" y="2460"/>
                  </a:cubicBezTo>
                  <a:cubicBezTo>
                    <a:pt x="5275" y="-725"/>
                    <a:pt x="10332" y="-831"/>
                    <a:pt x="13517" y="2222"/>
                  </a:cubicBezTo>
                  <a:cubicBezTo>
                    <a:pt x="13581" y="2284"/>
                    <a:pt x="13645" y="2347"/>
                    <a:pt x="13708" y="2411"/>
                  </a:cubicBezTo>
                  <a:lnTo>
                    <a:pt x="51636" y="40044"/>
                  </a:lnTo>
                  <a:cubicBezTo>
                    <a:pt x="54768" y="43151"/>
                    <a:pt x="54789" y="48209"/>
                    <a:pt x="51682" y="51341"/>
                  </a:cubicBezTo>
                  <a:cubicBezTo>
                    <a:pt x="50191" y="52845"/>
                    <a:pt x="48163" y="53695"/>
                    <a:pt x="46044" y="53704"/>
                  </a:cubicBezTo>
                  <a:close/>
                </a:path>
              </a:pathLst>
            </a:custGeom>
            <a:grpFill/>
            <a:ln w="7938" cap="flat">
              <a:noFill/>
              <a:prstDash val="solid"/>
              <a:miter/>
            </a:ln>
          </p:spPr>
          <p:txBody>
            <a:bodyPr rtlCol="0" anchor="ctr"/>
            <a:lstStyle/>
            <a:p>
              <a:endParaRPr lang="en-IN"/>
            </a:p>
          </p:txBody>
        </p:sp>
        <p:sp>
          <p:nvSpPr>
            <p:cNvPr id="9" name="Freeform: Shape 8">
              <a:extLst>
                <a:ext uri="{FF2B5EF4-FFF2-40B4-BE49-F238E27FC236}">
                  <a16:creationId xmlns:a16="http://schemas.microsoft.com/office/drawing/2014/main" id="{A3A42943-BFCA-6321-12FB-ABD2E6EFF9DA}"/>
                </a:ext>
              </a:extLst>
            </p:cNvPr>
            <p:cNvSpPr/>
            <p:nvPr/>
          </p:nvSpPr>
          <p:spPr>
            <a:xfrm>
              <a:off x="9787642" y="1710407"/>
              <a:ext cx="70350" cy="39057"/>
            </a:xfrm>
            <a:custGeom>
              <a:avLst/>
              <a:gdLst>
                <a:gd name="connsiteX0" fmla="*/ 62349 w 70350"/>
                <a:gd name="connsiteY0" fmla="*/ 39058 h 39057"/>
                <a:gd name="connsiteX1" fmla="*/ 59234 w 70350"/>
                <a:gd name="connsiteY1" fmla="*/ 38418 h 39057"/>
                <a:gd name="connsiteX2" fmla="*/ 4770 w 70350"/>
                <a:gd name="connsiteY2" fmla="*/ 15300 h 39057"/>
                <a:gd name="connsiteX3" fmla="*/ 680 w 70350"/>
                <a:gd name="connsiteY3" fmla="*/ 4769 h 39057"/>
                <a:gd name="connsiteX4" fmla="*/ 11008 w 70350"/>
                <a:gd name="connsiteY4" fmla="*/ 594 h 39057"/>
                <a:gd name="connsiteX5" fmla="*/ 65473 w 70350"/>
                <a:gd name="connsiteY5" fmla="*/ 23712 h 39057"/>
                <a:gd name="connsiteX6" fmla="*/ 69718 w 70350"/>
                <a:gd name="connsiteY6" fmla="*/ 34181 h 39057"/>
                <a:gd name="connsiteX7" fmla="*/ 62349 w 70350"/>
                <a:gd name="connsiteY7" fmla="*/ 39058 h 3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50" h="39057">
                  <a:moveTo>
                    <a:pt x="62349" y="39058"/>
                  </a:moveTo>
                  <a:cubicBezTo>
                    <a:pt x="61279" y="39055"/>
                    <a:pt x="60219" y="38838"/>
                    <a:pt x="59234" y="38418"/>
                  </a:cubicBezTo>
                  <a:lnTo>
                    <a:pt x="4770" y="15300"/>
                  </a:lnTo>
                  <a:cubicBezTo>
                    <a:pt x="732" y="13521"/>
                    <a:pt x="-1099" y="8807"/>
                    <a:pt x="680" y="4769"/>
                  </a:cubicBezTo>
                  <a:cubicBezTo>
                    <a:pt x="2424" y="810"/>
                    <a:pt x="7003" y="-1040"/>
                    <a:pt x="11008" y="594"/>
                  </a:cubicBezTo>
                  <a:lnTo>
                    <a:pt x="65473" y="23712"/>
                  </a:lnTo>
                  <a:cubicBezTo>
                    <a:pt x="69536" y="25430"/>
                    <a:pt x="71437" y="30118"/>
                    <a:pt x="69718" y="34181"/>
                  </a:cubicBezTo>
                  <a:cubicBezTo>
                    <a:pt x="68466" y="37141"/>
                    <a:pt x="65563" y="39062"/>
                    <a:pt x="62349" y="39058"/>
                  </a:cubicBezTo>
                  <a:close/>
                </a:path>
              </a:pathLst>
            </a:custGeom>
            <a:grpFill/>
            <a:ln w="7938" cap="flat">
              <a:noFill/>
              <a:prstDash val="solid"/>
              <a:miter/>
            </a:ln>
          </p:spPr>
          <p:txBody>
            <a:bodyPr rtlCol="0" anchor="ctr"/>
            <a:lstStyle/>
            <a:p>
              <a:endParaRPr lang="en-IN"/>
            </a:p>
          </p:txBody>
        </p:sp>
        <p:sp>
          <p:nvSpPr>
            <p:cNvPr id="10" name="Freeform: Shape 9">
              <a:extLst>
                <a:ext uri="{FF2B5EF4-FFF2-40B4-BE49-F238E27FC236}">
                  <a16:creationId xmlns:a16="http://schemas.microsoft.com/office/drawing/2014/main" id="{DCA06A30-5A07-BA71-C9B0-077B571BEC38}"/>
                </a:ext>
              </a:extLst>
            </p:cNvPr>
            <p:cNvSpPr/>
            <p:nvPr/>
          </p:nvSpPr>
          <p:spPr>
            <a:xfrm>
              <a:off x="9760475" y="1846043"/>
              <a:ext cx="72629" cy="15976"/>
            </a:xfrm>
            <a:custGeom>
              <a:avLst/>
              <a:gdLst>
                <a:gd name="connsiteX0" fmla="*/ 64641 w 72629"/>
                <a:gd name="connsiteY0" fmla="*/ 15977 h 15976"/>
                <a:gd name="connsiteX1" fmla="*/ 7988 w 72629"/>
                <a:gd name="connsiteY1" fmla="*/ 15977 h 15976"/>
                <a:gd name="connsiteX2" fmla="*/ 0 w 72629"/>
                <a:gd name="connsiteY2" fmla="*/ 7988 h 15976"/>
                <a:gd name="connsiteX3" fmla="*/ 7988 w 72629"/>
                <a:gd name="connsiteY3" fmla="*/ 0 h 15976"/>
                <a:gd name="connsiteX4" fmla="*/ 64641 w 72629"/>
                <a:gd name="connsiteY4" fmla="*/ 0 h 15976"/>
                <a:gd name="connsiteX5" fmla="*/ 72629 w 72629"/>
                <a:gd name="connsiteY5" fmla="*/ 7988 h 15976"/>
                <a:gd name="connsiteX6" fmla="*/ 64641 w 72629"/>
                <a:gd name="connsiteY6" fmla="*/ 15977 h 1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29" h="15976">
                  <a:moveTo>
                    <a:pt x="64641" y="15977"/>
                  </a:moveTo>
                  <a:lnTo>
                    <a:pt x="7988" y="15977"/>
                  </a:lnTo>
                  <a:cubicBezTo>
                    <a:pt x="3577" y="15977"/>
                    <a:pt x="0" y="12400"/>
                    <a:pt x="0" y="7988"/>
                  </a:cubicBezTo>
                  <a:cubicBezTo>
                    <a:pt x="0" y="3576"/>
                    <a:pt x="3577" y="0"/>
                    <a:pt x="7988" y="0"/>
                  </a:cubicBezTo>
                  <a:lnTo>
                    <a:pt x="64641" y="0"/>
                  </a:lnTo>
                  <a:cubicBezTo>
                    <a:pt x="69053" y="0"/>
                    <a:pt x="72629" y="3576"/>
                    <a:pt x="72629" y="7988"/>
                  </a:cubicBezTo>
                  <a:cubicBezTo>
                    <a:pt x="72629" y="12400"/>
                    <a:pt x="69053" y="15977"/>
                    <a:pt x="64641" y="15977"/>
                  </a:cubicBezTo>
                  <a:close/>
                </a:path>
              </a:pathLst>
            </a:custGeom>
            <a:grpFill/>
            <a:ln w="7938" cap="flat">
              <a:noFill/>
              <a:prstDash val="solid"/>
              <a:miter/>
            </a:ln>
          </p:spPr>
          <p:txBody>
            <a:bodyPr rtlCol="0" anchor="ctr"/>
            <a:lstStyle/>
            <a:p>
              <a:endParaRPr lang="en-IN"/>
            </a:p>
          </p:txBody>
        </p:sp>
        <p:sp>
          <p:nvSpPr>
            <p:cNvPr id="11" name="Freeform: Shape 10">
              <a:extLst>
                <a:ext uri="{FF2B5EF4-FFF2-40B4-BE49-F238E27FC236}">
                  <a16:creationId xmlns:a16="http://schemas.microsoft.com/office/drawing/2014/main" id="{445A6644-68A4-BBF9-49FD-949C67A92B8B}"/>
                </a:ext>
              </a:extLst>
            </p:cNvPr>
            <p:cNvSpPr/>
            <p:nvPr/>
          </p:nvSpPr>
          <p:spPr>
            <a:xfrm>
              <a:off x="9775446" y="1965027"/>
              <a:ext cx="62527" cy="36939"/>
            </a:xfrm>
            <a:custGeom>
              <a:avLst/>
              <a:gdLst>
                <a:gd name="connsiteX0" fmla="*/ 7995 w 62527"/>
                <a:gd name="connsiteY0" fmla="*/ 36939 h 36939"/>
                <a:gd name="connsiteX1" fmla="*/ 0 w 62527"/>
                <a:gd name="connsiteY1" fmla="*/ 28957 h 36939"/>
                <a:gd name="connsiteX2" fmla="*/ 4712 w 62527"/>
                <a:gd name="connsiteY2" fmla="*/ 21666 h 36939"/>
                <a:gd name="connsiteX3" fmla="*/ 51139 w 62527"/>
                <a:gd name="connsiteY3" fmla="*/ 760 h 36939"/>
                <a:gd name="connsiteX4" fmla="*/ 61767 w 62527"/>
                <a:gd name="connsiteY4" fmla="*/ 4592 h 36939"/>
                <a:gd name="connsiteX5" fmla="*/ 57934 w 62527"/>
                <a:gd name="connsiteY5" fmla="*/ 15220 h 36939"/>
                <a:gd name="connsiteX6" fmla="*/ 57706 w 62527"/>
                <a:gd name="connsiteY6" fmla="*/ 15323 h 36939"/>
                <a:gd name="connsiteX7" fmla="*/ 11278 w 62527"/>
                <a:gd name="connsiteY7" fmla="*/ 36228 h 36939"/>
                <a:gd name="connsiteX8" fmla="*/ 7995 w 62527"/>
                <a:gd name="connsiteY8" fmla="*/ 36939 h 36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27" h="36939">
                  <a:moveTo>
                    <a:pt x="7995" y="36939"/>
                  </a:moveTo>
                  <a:cubicBezTo>
                    <a:pt x="3583" y="36943"/>
                    <a:pt x="4" y="33369"/>
                    <a:pt x="0" y="28957"/>
                  </a:cubicBezTo>
                  <a:cubicBezTo>
                    <a:pt x="-3" y="25811"/>
                    <a:pt x="1842" y="22957"/>
                    <a:pt x="4712" y="21666"/>
                  </a:cubicBezTo>
                  <a:lnTo>
                    <a:pt x="51139" y="760"/>
                  </a:lnTo>
                  <a:cubicBezTo>
                    <a:pt x="55132" y="-1116"/>
                    <a:pt x="59891" y="600"/>
                    <a:pt x="61767" y="4592"/>
                  </a:cubicBezTo>
                  <a:cubicBezTo>
                    <a:pt x="63644" y="8586"/>
                    <a:pt x="61928" y="13344"/>
                    <a:pt x="57934" y="15220"/>
                  </a:cubicBezTo>
                  <a:cubicBezTo>
                    <a:pt x="57859" y="15255"/>
                    <a:pt x="57783" y="15290"/>
                    <a:pt x="57706" y="15323"/>
                  </a:cubicBezTo>
                  <a:lnTo>
                    <a:pt x="11278" y="36228"/>
                  </a:lnTo>
                  <a:cubicBezTo>
                    <a:pt x="10246" y="36696"/>
                    <a:pt x="9127" y="36938"/>
                    <a:pt x="7995" y="36939"/>
                  </a:cubicBezTo>
                  <a:close/>
                </a:path>
              </a:pathLst>
            </a:custGeom>
            <a:grpFill/>
            <a:ln w="7938" cap="flat">
              <a:noFill/>
              <a:prstDash val="solid"/>
              <a:miter/>
            </a:ln>
          </p:spPr>
          <p:txBody>
            <a:bodyPr rtlCol="0" anchor="ctr"/>
            <a:lstStyle/>
            <a:p>
              <a:endParaRPr lang="en-IN"/>
            </a:p>
          </p:txBody>
        </p:sp>
        <p:sp>
          <p:nvSpPr>
            <p:cNvPr id="12" name="Freeform: Shape 11">
              <a:extLst>
                <a:ext uri="{FF2B5EF4-FFF2-40B4-BE49-F238E27FC236}">
                  <a16:creationId xmlns:a16="http://schemas.microsoft.com/office/drawing/2014/main" id="{86029AD7-4C20-48A9-BF99-BD47D6E5153D}"/>
                </a:ext>
              </a:extLst>
            </p:cNvPr>
            <p:cNvSpPr/>
            <p:nvPr/>
          </p:nvSpPr>
          <p:spPr>
            <a:xfrm>
              <a:off x="9853025" y="2066583"/>
              <a:ext cx="51725" cy="50078"/>
            </a:xfrm>
            <a:custGeom>
              <a:avLst/>
              <a:gdLst>
                <a:gd name="connsiteX0" fmla="*/ 7982 w 51725"/>
                <a:gd name="connsiteY0" fmla="*/ 50079 h 50078"/>
                <a:gd name="connsiteX1" fmla="*/ 0 w 51725"/>
                <a:gd name="connsiteY1" fmla="*/ 42083 h 50078"/>
                <a:gd name="connsiteX2" fmla="*/ 2470 w 51725"/>
                <a:gd name="connsiteY2" fmla="*/ 36315 h 50078"/>
                <a:gd name="connsiteX3" fmla="*/ 38194 w 51725"/>
                <a:gd name="connsiteY3" fmla="*/ 2221 h 50078"/>
                <a:gd name="connsiteX4" fmla="*/ 49505 w 51725"/>
                <a:gd name="connsiteY4" fmla="*/ 2469 h 50078"/>
                <a:gd name="connsiteX5" fmla="*/ 49257 w 51725"/>
                <a:gd name="connsiteY5" fmla="*/ 13780 h 50078"/>
                <a:gd name="connsiteX6" fmla="*/ 13534 w 51725"/>
                <a:gd name="connsiteY6" fmla="*/ 47874 h 50078"/>
                <a:gd name="connsiteX7" fmla="*/ 7982 w 51725"/>
                <a:gd name="connsiteY7" fmla="*/ 50079 h 5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25" h="50078">
                  <a:moveTo>
                    <a:pt x="7982" y="50079"/>
                  </a:moveTo>
                  <a:cubicBezTo>
                    <a:pt x="3570" y="50075"/>
                    <a:pt x="-3" y="46495"/>
                    <a:pt x="0" y="42083"/>
                  </a:cubicBezTo>
                  <a:cubicBezTo>
                    <a:pt x="2" y="39904"/>
                    <a:pt x="895" y="37821"/>
                    <a:pt x="2470" y="36315"/>
                  </a:cubicBezTo>
                  <a:lnTo>
                    <a:pt x="38194" y="2221"/>
                  </a:lnTo>
                  <a:cubicBezTo>
                    <a:pt x="41386" y="-835"/>
                    <a:pt x="46449" y="-723"/>
                    <a:pt x="49505" y="2469"/>
                  </a:cubicBezTo>
                  <a:cubicBezTo>
                    <a:pt x="52561" y="5661"/>
                    <a:pt x="52449" y="10724"/>
                    <a:pt x="49257" y="13780"/>
                  </a:cubicBezTo>
                  <a:lnTo>
                    <a:pt x="13534" y="47874"/>
                  </a:lnTo>
                  <a:cubicBezTo>
                    <a:pt x="12038" y="49299"/>
                    <a:pt x="10048" y="50089"/>
                    <a:pt x="7982" y="50079"/>
                  </a:cubicBezTo>
                  <a:close/>
                </a:path>
              </a:pathLst>
            </a:custGeom>
            <a:grpFill/>
            <a:ln w="7938" cap="flat">
              <a:noFill/>
              <a:prstDash val="solid"/>
              <a:miter/>
            </a:ln>
          </p:spPr>
          <p:txBody>
            <a:bodyPr rtlCol="0" anchor="ctr"/>
            <a:lstStyle/>
            <a:p>
              <a:endParaRPr lang="en-IN"/>
            </a:p>
          </p:txBody>
        </p:sp>
        <p:sp>
          <p:nvSpPr>
            <p:cNvPr id="13" name="Freeform: Shape 12">
              <a:extLst>
                <a:ext uri="{FF2B5EF4-FFF2-40B4-BE49-F238E27FC236}">
                  <a16:creationId xmlns:a16="http://schemas.microsoft.com/office/drawing/2014/main" id="{C13CC429-4AD0-86C9-F94A-F3FEE7C86F43}"/>
                </a:ext>
              </a:extLst>
            </p:cNvPr>
            <p:cNvSpPr/>
            <p:nvPr/>
          </p:nvSpPr>
          <p:spPr>
            <a:xfrm>
              <a:off x="9958951" y="1736715"/>
              <a:ext cx="113912" cy="114000"/>
            </a:xfrm>
            <a:custGeom>
              <a:avLst/>
              <a:gdLst>
                <a:gd name="connsiteX0" fmla="*/ 62868 w 113912"/>
                <a:gd name="connsiteY0" fmla="*/ 114001 h 114000"/>
                <a:gd name="connsiteX1" fmla="*/ 54081 w 113912"/>
                <a:gd name="connsiteY1" fmla="*/ 104694 h 114000"/>
                <a:gd name="connsiteX2" fmla="*/ 49943 w 113912"/>
                <a:gd name="connsiteY2" fmla="*/ 104287 h 114000"/>
                <a:gd name="connsiteX3" fmla="*/ 39558 w 113912"/>
                <a:gd name="connsiteY3" fmla="*/ 111628 h 114000"/>
                <a:gd name="connsiteX4" fmla="*/ 20817 w 113912"/>
                <a:gd name="connsiteY4" fmla="*/ 101539 h 114000"/>
                <a:gd name="connsiteX5" fmla="*/ 21289 w 113912"/>
                <a:gd name="connsiteY5" fmla="*/ 88662 h 114000"/>
                <a:gd name="connsiteX6" fmla="*/ 18701 w 113912"/>
                <a:gd name="connsiteY6" fmla="*/ 85467 h 114000"/>
                <a:gd name="connsiteX7" fmla="*/ 6143 w 113912"/>
                <a:gd name="connsiteY7" fmla="*/ 83342 h 114000"/>
                <a:gd name="connsiteX8" fmla="*/ 0 w 113912"/>
                <a:gd name="connsiteY8" fmla="*/ 63028 h 114000"/>
                <a:gd name="connsiteX9" fmla="*/ 9298 w 113912"/>
                <a:gd name="connsiteY9" fmla="*/ 54240 h 114000"/>
                <a:gd name="connsiteX10" fmla="*/ 9698 w 113912"/>
                <a:gd name="connsiteY10" fmla="*/ 50150 h 114000"/>
                <a:gd name="connsiteX11" fmla="*/ 2221 w 113912"/>
                <a:gd name="connsiteY11" fmla="*/ 39670 h 114000"/>
                <a:gd name="connsiteX12" fmla="*/ 12414 w 113912"/>
                <a:gd name="connsiteY12" fmla="*/ 20897 h 114000"/>
                <a:gd name="connsiteX13" fmla="*/ 25195 w 113912"/>
                <a:gd name="connsiteY13" fmla="*/ 21281 h 114000"/>
                <a:gd name="connsiteX14" fmla="*/ 28454 w 113912"/>
                <a:gd name="connsiteY14" fmla="*/ 18669 h 114000"/>
                <a:gd name="connsiteX15" fmla="*/ 30627 w 113912"/>
                <a:gd name="connsiteY15" fmla="*/ 6143 h 114000"/>
                <a:gd name="connsiteX16" fmla="*/ 50909 w 113912"/>
                <a:gd name="connsiteY16" fmla="*/ 0 h 114000"/>
                <a:gd name="connsiteX17" fmla="*/ 59696 w 113912"/>
                <a:gd name="connsiteY17" fmla="*/ 9234 h 114000"/>
                <a:gd name="connsiteX18" fmla="*/ 63850 w 113912"/>
                <a:gd name="connsiteY18" fmla="*/ 9650 h 114000"/>
                <a:gd name="connsiteX19" fmla="*/ 74283 w 113912"/>
                <a:gd name="connsiteY19" fmla="*/ 2333 h 114000"/>
                <a:gd name="connsiteX20" fmla="*/ 92984 w 113912"/>
                <a:gd name="connsiteY20" fmla="*/ 12390 h 114000"/>
                <a:gd name="connsiteX21" fmla="*/ 92592 w 113912"/>
                <a:gd name="connsiteY21" fmla="*/ 25171 h 114000"/>
                <a:gd name="connsiteX22" fmla="*/ 95204 w 113912"/>
                <a:gd name="connsiteY22" fmla="*/ 28366 h 114000"/>
                <a:gd name="connsiteX23" fmla="*/ 107770 w 113912"/>
                <a:gd name="connsiteY23" fmla="*/ 30499 h 114000"/>
                <a:gd name="connsiteX24" fmla="*/ 113913 w 113912"/>
                <a:gd name="connsiteY24" fmla="*/ 50829 h 114000"/>
                <a:gd name="connsiteX25" fmla="*/ 104591 w 113912"/>
                <a:gd name="connsiteY25" fmla="*/ 59617 h 114000"/>
                <a:gd name="connsiteX26" fmla="*/ 104143 w 113912"/>
                <a:gd name="connsiteY26" fmla="*/ 63882 h 114000"/>
                <a:gd name="connsiteX27" fmla="*/ 111468 w 113912"/>
                <a:gd name="connsiteY27" fmla="*/ 74267 h 114000"/>
                <a:gd name="connsiteX28" fmla="*/ 101323 w 113912"/>
                <a:gd name="connsiteY28" fmla="*/ 92984 h 114000"/>
                <a:gd name="connsiteX29" fmla="*/ 88598 w 113912"/>
                <a:gd name="connsiteY29" fmla="*/ 92608 h 114000"/>
                <a:gd name="connsiteX30" fmla="*/ 85355 w 113912"/>
                <a:gd name="connsiteY30" fmla="*/ 95268 h 114000"/>
                <a:gd name="connsiteX31" fmla="*/ 83126 w 113912"/>
                <a:gd name="connsiteY31" fmla="*/ 107858 h 114000"/>
                <a:gd name="connsiteX32" fmla="*/ 61006 w 113912"/>
                <a:gd name="connsiteY32" fmla="*/ 88710 h 114000"/>
                <a:gd name="connsiteX33" fmla="*/ 67717 w 113912"/>
                <a:gd name="connsiteY33" fmla="*/ 95835 h 114000"/>
                <a:gd name="connsiteX34" fmla="*/ 69115 w 113912"/>
                <a:gd name="connsiteY34" fmla="*/ 95420 h 114000"/>
                <a:gd name="connsiteX35" fmla="*/ 70792 w 113912"/>
                <a:gd name="connsiteY35" fmla="*/ 85754 h 114000"/>
                <a:gd name="connsiteX36" fmla="*/ 73788 w 113912"/>
                <a:gd name="connsiteY36" fmla="*/ 83861 h 114000"/>
                <a:gd name="connsiteX37" fmla="*/ 79691 w 113912"/>
                <a:gd name="connsiteY37" fmla="*/ 79012 h 114000"/>
                <a:gd name="connsiteX38" fmla="*/ 82151 w 113912"/>
                <a:gd name="connsiteY38" fmla="*/ 76432 h 114000"/>
                <a:gd name="connsiteX39" fmla="*/ 91929 w 113912"/>
                <a:gd name="connsiteY39" fmla="*/ 76727 h 114000"/>
                <a:gd name="connsiteX40" fmla="*/ 92632 w 113912"/>
                <a:gd name="connsiteY40" fmla="*/ 75425 h 114000"/>
                <a:gd name="connsiteX41" fmla="*/ 86976 w 113912"/>
                <a:gd name="connsiteY41" fmla="*/ 67437 h 114000"/>
                <a:gd name="connsiteX42" fmla="*/ 87775 w 113912"/>
                <a:gd name="connsiteY42" fmla="*/ 63930 h 114000"/>
                <a:gd name="connsiteX43" fmla="*/ 88574 w 113912"/>
                <a:gd name="connsiteY43" fmla="*/ 56253 h 114000"/>
                <a:gd name="connsiteX44" fmla="*/ 88518 w 113912"/>
                <a:gd name="connsiteY44" fmla="*/ 52723 h 114000"/>
                <a:gd name="connsiteX45" fmla="*/ 95628 w 113912"/>
                <a:gd name="connsiteY45" fmla="*/ 46036 h 114000"/>
                <a:gd name="connsiteX46" fmla="*/ 95212 w 113912"/>
                <a:gd name="connsiteY46" fmla="*/ 44654 h 114000"/>
                <a:gd name="connsiteX47" fmla="*/ 85546 w 113912"/>
                <a:gd name="connsiteY47" fmla="*/ 43057 h 114000"/>
                <a:gd name="connsiteX48" fmla="*/ 83645 w 113912"/>
                <a:gd name="connsiteY48" fmla="*/ 40029 h 114000"/>
                <a:gd name="connsiteX49" fmla="*/ 78852 w 113912"/>
                <a:gd name="connsiteY49" fmla="*/ 34126 h 114000"/>
                <a:gd name="connsiteX50" fmla="*/ 76288 w 113912"/>
                <a:gd name="connsiteY50" fmla="*/ 31666 h 114000"/>
                <a:gd name="connsiteX51" fmla="*/ 76592 w 113912"/>
                <a:gd name="connsiteY51" fmla="*/ 21840 h 114000"/>
                <a:gd name="connsiteX52" fmla="*/ 75274 w 113912"/>
                <a:gd name="connsiteY52" fmla="*/ 21129 h 114000"/>
                <a:gd name="connsiteX53" fmla="*/ 67285 w 113912"/>
                <a:gd name="connsiteY53" fmla="*/ 26721 h 114000"/>
                <a:gd name="connsiteX54" fmla="*/ 63842 w 113912"/>
                <a:gd name="connsiteY54" fmla="*/ 25922 h 114000"/>
                <a:gd name="connsiteX55" fmla="*/ 56245 w 113912"/>
                <a:gd name="connsiteY55" fmla="*/ 25171 h 114000"/>
                <a:gd name="connsiteX56" fmla="*/ 52715 w 113912"/>
                <a:gd name="connsiteY56" fmla="*/ 25243 h 114000"/>
                <a:gd name="connsiteX57" fmla="*/ 46020 w 113912"/>
                <a:gd name="connsiteY57" fmla="*/ 18173 h 114000"/>
                <a:gd name="connsiteX58" fmla="*/ 44615 w 113912"/>
                <a:gd name="connsiteY58" fmla="*/ 18597 h 114000"/>
                <a:gd name="connsiteX59" fmla="*/ 42929 w 113912"/>
                <a:gd name="connsiteY59" fmla="*/ 28318 h 114000"/>
                <a:gd name="connsiteX60" fmla="*/ 39862 w 113912"/>
                <a:gd name="connsiteY60" fmla="*/ 30212 h 114000"/>
                <a:gd name="connsiteX61" fmla="*/ 33926 w 113912"/>
                <a:gd name="connsiteY61" fmla="*/ 34965 h 114000"/>
                <a:gd name="connsiteX62" fmla="*/ 31474 w 113912"/>
                <a:gd name="connsiteY62" fmla="*/ 37481 h 114000"/>
                <a:gd name="connsiteX63" fmla="*/ 21712 w 113912"/>
                <a:gd name="connsiteY63" fmla="*/ 37193 h 114000"/>
                <a:gd name="connsiteX64" fmla="*/ 20977 w 113912"/>
                <a:gd name="connsiteY64" fmla="*/ 38543 h 114000"/>
                <a:gd name="connsiteX65" fmla="*/ 26673 w 113912"/>
                <a:gd name="connsiteY65" fmla="*/ 46532 h 114000"/>
                <a:gd name="connsiteX66" fmla="*/ 25874 w 113912"/>
                <a:gd name="connsiteY66" fmla="*/ 49999 h 114000"/>
                <a:gd name="connsiteX67" fmla="*/ 25131 w 113912"/>
                <a:gd name="connsiteY67" fmla="*/ 57603 h 114000"/>
                <a:gd name="connsiteX68" fmla="*/ 25211 w 113912"/>
                <a:gd name="connsiteY68" fmla="*/ 61158 h 114000"/>
                <a:gd name="connsiteX69" fmla="*/ 18077 w 113912"/>
                <a:gd name="connsiteY69" fmla="*/ 67876 h 114000"/>
                <a:gd name="connsiteX70" fmla="*/ 18493 w 113912"/>
                <a:gd name="connsiteY70" fmla="*/ 69250 h 114000"/>
                <a:gd name="connsiteX71" fmla="*/ 28143 w 113912"/>
                <a:gd name="connsiteY71" fmla="*/ 70848 h 114000"/>
                <a:gd name="connsiteX72" fmla="*/ 30052 w 113912"/>
                <a:gd name="connsiteY72" fmla="*/ 73876 h 114000"/>
                <a:gd name="connsiteX73" fmla="*/ 34845 w 113912"/>
                <a:gd name="connsiteY73" fmla="*/ 79779 h 114000"/>
                <a:gd name="connsiteX74" fmla="*/ 37425 w 113912"/>
                <a:gd name="connsiteY74" fmla="*/ 82263 h 114000"/>
                <a:gd name="connsiteX75" fmla="*/ 37138 w 113912"/>
                <a:gd name="connsiteY75" fmla="*/ 92185 h 114000"/>
                <a:gd name="connsiteX76" fmla="*/ 38424 w 113912"/>
                <a:gd name="connsiteY76" fmla="*/ 92880 h 114000"/>
                <a:gd name="connsiteX77" fmla="*/ 46412 w 113912"/>
                <a:gd name="connsiteY77" fmla="*/ 87248 h 114000"/>
                <a:gd name="connsiteX78" fmla="*/ 49871 w 113912"/>
                <a:gd name="connsiteY78" fmla="*/ 88047 h 114000"/>
                <a:gd name="connsiteX79" fmla="*/ 57452 w 113912"/>
                <a:gd name="connsiteY79" fmla="*/ 88806 h 11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13912" h="114000">
                  <a:moveTo>
                    <a:pt x="62868" y="114001"/>
                  </a:moveTo>
                  <a:lnTo>
                    <a:pt x="54081" y="104694"/>
                  </a:lnTo>
                  <a:cubicBezTo>
                    <a:pt x="52699" y="104623"/>
                    <a:pt x="51317" y="104479"/>
                    <a:pt x="49943" y="104287"/>
                  </a:cubicBezTo>
                  <a:lnTo>
                    <a:pt x="39558" y="111628"/>
                  </a:lnTo>
                  <a:lnTo>
                    <a:pt x="20817" y="101539"/>
                  </a:lnTo>
                  <a:lnTo>
                    <a:pt x="21289" y="88662"/>
                  </a:lnTo>
                  <a:cubicBezTo>
                    <a:pt x="20378" y="87639"/>
                    <a:pt x="19515" y="86575"/>
                    <a:pt x="18701" y="85467"/>
                  </a:cubicBezTo>
                  <a:lnTo>
                    <a:pt x="6143" y="83342"/>
                  </a:lnTo>
                  <a:lnTo>
                    <a:pt x="0" y="63028"/>
                  </a:lnTo>
                  <a:lnTo>
                    <a:pt x="9298" y="54240"/>
                  </a:lnTo>
                  <a:cubicBezTo>
                    <a:pt x="9370" y="52866"/>
                    <a:pt x="9506" y="51508"/>
                    <a:pt x="9698" y="50150"/>
                  </a:cubicBezTo>
                  <a:lnTo>
                    <a:pt x="2221" y="39670"/>
                  </a:lnTo>
                  <a:lnTo>
                    <a:pt x="12414" y="20897"/>
                  </a:lnTo>
                  <a:lnTo>
                    <a:pt x="25195" y="21281"/>
                  </a:lnTo>
                  <a:cubicBezTo>
                    <a:pt x="26242" y="20370"/>
                    <a:pt x="27328" y="19491"/>
                    <a:pt x="28454" y="18669"/>
                  </a:cubicBezTo>
                  <a:lnTo>
                    <a:pt x="30627" y="6143"/>
                  </a:lnTo>
                  <a:lnTo>
                    <a:pt x="50909" y="0"/>
                  </a:lnTo>
                  <a:lnTo>
                    <a:pt x="59696" y="9234"/>
                  </a:lnTo>
                  <a:cubicBezTo>
                    <a:pt x="61086" y="9314"/>
                    <a:pt x="62468" y="9450"/>
                    <a:pt x="63850" y="9650"/>
                  </a:cubicBezTo>
                  <a:lnTo>
                    <a:pt x="74283" y="2333"/>
                  </a:lnTo>
                  <a:lnTo>
                    <a:pt x="92984" y="12390"/>
                  </a:lnTo>
                  <a:lnTo>
                    <a:pt x="92592" y="25171"/>
                  </a:lnTo>
                  <a:cubicBezTo>
                    <a:pt x="93513" y="26204"/>
                    <a:pt x="94384" y="27270"/>
                    <a:pt x="95204" y="28366"/>
                  </a:cubicBezTo>
                  <a:lnTo>
                    <a:pt x="107770" y="30499"/>
                  </a:lnTo>
                  <a:lnTo>
                    <a:pt x="113913" y="50829"/>
                  </a:lnTo>
                  <a:lnTo>
                    <a:pt x="104591" y="59617"/>
                  </a:lnTo>
                  <a:cubicBezTo>
                    <a:pt x="104503" y="61046"/>
                    <a:pt x="104351" y="62468"/>
                    <a:pt x="104143" y="63882"/>
                  </a:cubicBezTo>
                  <a:lnTo>
                    <a:pt x="111468" y="74267"/>
                  </a:lnTo>
                  <a:lnTo>
                    <a:pt x="101323" y="92984"/>
                  </a:lnTo>
                  <a:lnTo>
                    <a:pt x="88598" y="92608"/>
                  </a:lnTo>
                  <a:cubicBezTo>
                    <a:pt x="87533" y="93540"/>
                    <a:pt x="86452" y="94427"/>
                    <a:pt x="85355" y="95268"/>
                  </a:cubicBezTo>
                  <a:lnTo>
                    <a:pt x="83126" y="107858"/>
                  </a:lnTo>
                  <a:close/>
                  <a:moveTo>
                    <a:pt x="61006" y="88710"/>
                  </a:moveTo>
                  <a:lnTo>
                    <a:pt x="67717" y="95835"/>
                  </a:lnTo>
                  <a:lnTo>
                    <a:pt x="69115" y="95420"/>
                  </a:lnTo>
                  <a:lnTo>
                    <a:pt x="70792" y="85754"/>
                  </a:lnTo>
                  <a:lnTo>
                    <a:pt x="73788" y="83861"/>
                  </a:lnTo>
                  <a:cubicBezTo>
                    <a:pt x="75947" y="82493"/>
                    <a:pt x="77930" y="80865"/>
                    <a:pt x="79691" y="79012"/>
                  </a:cubicBezTo>
                  <a:lnTo>
                    <a:pt x="82151" y="76432"/>
                  </a:lnTo>
                  <a:lnTo>
                    <a:pt x="91929" y="76727"/>
                  </a:lnTo>
                  <a:lnTo>
                    <a:pt x="92632" y="75425"/>
                  </a:lnTo>
                  <a:lnTo>
                    <a:pt x="86976" y="67437"/>
                  </a:lnTo>
                  <a:lnTo>
                    <a:pt x="87775" y="63930"/>
                  </a:lnTo>
                  <a:cubicBezTo>
                    <a:pt x="88357" y="61414"/>
                    <a:pt x="88625" y="58835"/>
                    <a:pt x="88574" y="56253"/>
                  </a:cubicBezTo>
                  <a:lnTo>
                    <a:pt x="88518" y="52723"/>
                  </a:lnTo>
                  <a:lnTo>
                    <a:pt x="95628" y="46036"/>
                  </a:lnTo>
                  <a:lnTo>
                    <a:pt x="95212" y="44654"/>
                  </a:lnTo>
                  <a:lnTo>
                    <a:pt x="85546" y="43057"/>
                  </a:lnTo>
                  <a:lnTo>
                    <a:pt x="83645" y="40029"/>
                  </a:lnTo>
                  <a:cubicBezTo>
                    <a:pt x="82292" y="37875"/>
                    <a:pt x="80682" y="35893"/>
                    <a:pt x="78852" y="34126"/>
                  </a:cubicBezTo>
                  <a:lnTo>
                    <a:pt x="76288" y="31666"/>
                  </a:lnTo>
                  <a:lnTo>
                    <a:pt x="76592" y="21840"/>
                  </a:lnTo>
                  <a:lnTo>
                    <a:pt x="75274" y="21129"/>
                  </a:lnTo>
                  <a:lnTo>
                    <a:pt x="67285" y="26721"/>
                  </a:lnTo>
                  <a:lnTo>
                    <a:pt x="63842" y="25922"/>
                  </a:lnTo>
                  <a:cubicBezTo>
                    <a:pt x="61352" y="25348"/>
                    <a:pt x="58799" y="25095"/>
                    <a:pt x="56245" y="25171"/>
                  </a:cubicBezTo>
                  <a:lnTo>
                    <a:pt x="52715" y="25243"/>
                  </a:lnTo>
                  <a:lnTo>
                    <a:pt x="46020" y="18173"/>
                  </a:lnTo>
                  <a:lnTo>
                    <a:pt x="44615" y="18597"/>
                  </a:lnTo>
                  <a:lnTo>
                    <a:pt x="42929" y="28318"/>
                  </a:lnTo>
                  <a:lnTo>
                    <a:pt x="39862" y="30212"/>
                  </a:lnTo>
                  <a:cubicBezTo>
                    <a:pt x="37695" y="31546"/>
                    <a:pt x="35702" y="33143"/>
                    <a:pt x="33926" y="34965"/>
                  </a:cubicBezTo>
                  <a:lnTo>
                    <a:pt x="31474" y="37481"/>
                  </a:lnTo>
                  <a:lnTo>
                    <a:pt x="21712" y="37193"/>
                  </a:lnTo>
                  <a:lnTo>
                    <a:pt x="20977" y="38543"/>
                  </a:lnTo>
                  <a:lnTo>
                    <a:pt x="26673" y="46532"/>
                  </a:lnTo>
                  <a:lnTo>
                    <a:pt x="25874" y="49999"/>
                  </a:lnTo>
                  <a:cubicBezTo>
                    <a:pt x="25324" y="52495"/>
                    <a:pt x="25074" y="55048"/>
                    <a:pt x="25131" y="57603"/>
                  </a:cubicBezTo>
                  <a:lnTo>
                    <a:pt x="25211" y="61158"/>
                  </a:lnTo>
                  <a:lnTo>
                    <a:pt x="18077" y="67876"/>
                  </a:lnTo>
                  <a:lnTo>
                    <a:pt x="18493" y="69250"/>
                  </a:lnTo>
                  <a:lnTo>
                    <a:pt x="28143" y="70848"/>
                  </a:lnTo>
                  <a:lnTo>
                    <a:pt x="30052" y="73876"/>
                  </a:lnTo>
                  <a:cubicBezTo>
                    <a:pt x="31402" y="76032"/>
                    <a:pt x="33012" y="78014"/>
                    <a:pt x="34845" y="79779"/>
                  </a:cubicBezTo>
                  <a:lnTo>
                    <a:pt x="37425" y="82263"/>
                  </a:lnTo>
                  <a:lnTo>
                    <a:pt x="37138" y="92185"/>
                  </a:lnTo>
                  <a:lnTo>
                    <a:pt x="38424" y="92880"/>
                  </a:lnTo>
                  <a:lnTo>
                    <a:pt x="46412" y="87248"/>
                  </a:lnTo>
                  <a:lnTo>
                    <a:pt x="49871" y="88047"/>
                  </a:lnTo>
                  <a:cubicBezTo>
                    <a:pt x="52354" y="88630"/>
                    <a:pt x="54903" y="88885"/>
                    <a:pt x="57452" y="88806"/>
                  </a:cubicBezTo>
                  <a:close/>
                </a:path>
              </a:pathLst>
            </a:custGeom>
            <a:grpFill/>
            <a:ln w="7938" cap="flat">
              <a:noFill/>
              <a:prstDash val="solid"/>
              <a:miter/>
            </a:ln>
          </p:spPr>
          <p:txBody>
            <a:bodyPr rtlCol="0" anchor="ctr"/>
            <a:lstStyle/>
            <a:p>
              <a:endParaRPr lang="en-IN"/>
            </a:p>
          </p:txBody>
        </p:sp>
        <p:sp>
          <p:nvSpPr>
            <p:cNvPr id="15" name="Freeform: Shape 14">
              <a:extLst>
                <a:ext uri="{FF2B5EF4-FFF2-40B4-BE49-F238E27FC236}">
                  <a16:creationId xmlns:a16="http://schemas.microsoft.com/office/drawing/2014/main" id="{C9905C71-5E2C-933E-D18D-C5A8B2328FB7}"/>
                </a:ext>
              </a:extLst>
            </p:cNvPr>
            <p:cNvSpPr/>
            <p:nvPr/>
          </p:nvSpPr>
          <p:spPr>
            <a:xfrm>
              <a:off x="10001273" y="1779085"/>
              <a:ext cx="29228" cy="29224"/>
            </a:xfrm>
            <a:custGeom>
              <a:avLst/>
              <a:gdLst>
                <a:gd name="connsiteX0" fmla="*/ 14603 w 29228"/>
                <a:gd name="connsiteY0" fmla="*/ 0 h 29224"/>
                <a:gd name="connsiteX1" fmla="*/ 10393 w 29228"/>
                <a:gd name="connsiteY1" fmla="*/ 623 h 29224"/>
                <a:gd name="connsiteX2" fmla="*/ 10393 w 29228"/>
                <a:gd name="connsiteY2" fmla="*/ 623 h 29224"/>
                <a:gd name="connsiteX3" fmla="*/ 627 w 29228"/>
                <a:gd name="connsiteY3" fmla="*/ 18832 h 29224"/>
                <a:gd name="connsiteX4" fmla="*/ 18836 w 29228"/>
                <a:gd name="connsiteY4" fmla="*/ 28598 h 29224"/>
                <a:gd name="connsiteX5" fmla="*/ 28602 w 29228"/>
                <a:gd name="connsiteY5" fmla="*/ 10390 h 29224"/>
                <a:gd name="connsiteX6" fmla="*/ 14611 w 29228"/>
                <a:gd name="connsiteY6" fmla="*/ 0 h 2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28" h="29224">
                  <a:moveTo>
                    <a:pt x="14603" y="0"/>
                  </a:moveTo>
                  <a:cubicBezTo>
                    <a:pt x="13177" y="1"/>
                    <a:pt x="11758" y="210"/>
                    <a:pt x="10393" y="623"/>
                  </a:cubicBezTo>
                  <a:lnTo>
                    <a:pt x="10393" y="623"/>
                  </a:lnTo>
                  <a:cubicBezTo>
                    <a:pt x="2669" y="2954"/>
                    <a:pt x="-1704" y="11107"/>
                    <a:pt x="627" y="18832"/>
                  </a:cubicBezTo>
                  <a:cubicBezTo>
                    <a:pt x="2959" y="26557"/>
                    <a:pt x="11111" y="30929"/>
                    <a:pt x="18836" y="28598"/>
                  </a:cubicBezTo>
                  <a:cubicBezTo>
                    <a:pt x="26561" y="26267"/>
                    <a:pt x="30933" y="18114"/>
                    <a:pt x="28602" y="10390"/>
                  </a:cubicBezTo>
                  <a:cubicBezTo>
                    <a:pt x="26740" y="4219"/>
                    <a:pt x="21056" y="-2"/>
                    <a:pt x="14611" y="0"/>
                  </a:cubicBezTo>
                  <a:close/>
                </a:path>
              </a:pathLst>
            </a:custGeom>
            <a:grpFill/>
            <a:ln w="7938" cap="flat">
              <a:noFill/>
              <a:prstDash val="solid"/>
              <a:miter/>
            </a:ln>
          </p:spPr>
          <p:txBody>
            <a:bodyPr rtlCol="0" anchor="ctr"/>
            <a:lstStyle/>
            <a:p>
              <a:endParaRPr lang="en-IN"/>
            </a:p>
          </p:txBody>
        </p:sp>
        <p:sp>
          <p:nvSpPr>
            <p:cNvPr id="17" name="Freeform: Shape 16">
              <a:extLst>
                <a:ext uri="{FF2B5EF4-FFF2-40B4-BE49-F238E27FC236}">
                  <a16:creationId xmlns:a16="http://schemas.microsoft.com/office/drawing/2014/main" id="{82538C71-6469-D475-6127-25BB962802AD}"/>
                </a:ext>
              </a:extLst>
            </p:cNvPr>
            <p:cNvSpPr/>
            <p:nvPr/>
          </p:nvSpPr>
          <p:spPr>
            <a:xfrm>
              <a:off x="9936872" y="1854670"/>
              <a:ext cx="113809" cy="113976"/>
            </a:xfrm>
            <a:custGeom>
              <a:avLst/>
              <a:gdLst>
                <a:gd name="connsiteX0" fmla="*/ 62868 w 113809"/>
                <a:gd name="connsiteY0" fmla="*/ 113977 h 113976"/>
                <a:gd name="connsiteX1" fmla="*/ 54081 w 113809"/>
                <a:gd name="connsiteY1" fmla="*/ 104670 h 113976"/>
                <a:gd name="connsiteX2" fmla="*/ 49943 w 113809"/>
                <a:gd name="connsiteY2" fmla="*/ 104255 h 113976"/>
                <a:gd name="connsiteX3" fmla="*/ 39558 w 113809"/>
                <a:gd name="connsiteY3" fmla="*/ 111604 h 113976"/>
                <a:gd name="connsiteX4" fmla="*/ 20825 w 113809"/>
                <a:gd name="connsiteY4" fmla="*/ 101507 h 113976"/>
                <a:gd name="connsiteX5" fmla="*/ 21297 w 113809"/>
                <a:gd name="connsiteY5" fmla="*/ 88638 h 113976"/>
                <a:gd name="connsiteX6" fmla="*/ 18693 w 113809"/>
                <a:gd name="connsiteY6" fmla="*/ 85443 h 113976"/>
                <a:gd name="connsiteX7" fmla="*/ 6143 w 113809"/>
                <a:gd name="connsiteY7" fmla="*/ 83318 h 113976"/>
                <a:gd name="connsiteX8" fmla="*/ 0 w 113809"/>
                <a:gd name="connsiteY8" fmla="*/ 62996 h 113976"/>
                <a:gd name="connsiteX9" fmla="*/ 9298 w 113809"/>
                <a:gd name="connsiteY9" fmla="*/ 54208 h 113976"/>
                <a:gd name="connsiteX10" fmla="*/ 9698 w 113809"/>
                <a:gd name="connsiteY10" fmla="*/ 50110 h 113976"/>
                <a:gd name="connsiteX11" fmla="*/ 2157 w 113809"/>
                <a:gd name="connsiteY11" fmla="*/ 39670 h 113976"/>
                <a:gd name="connsiteX12" fmla="*/ 12358 w 113809"/>
                <a:gd name="connsiteY12" fmla="*/ 20905 h 113976"/>
                <a:gd name="connsiteX13" fmla="*/ 25139 w 113809"/>
                <a:gd name="connsiteY13" fmla="*/ 21289 h 113976"/>
                <a:gd name="connsiteX14" fmla="*/ 28390 w 113809"/>
                <a:gd name="connsiteY14" fmla="*/ 18677 h 113976"/>
                <a:gd name="connsiteX15" fmla="*/ 30571 w 113809"/>
                <a:gd name="connsiteY15" fmla="*/ 6143 h 113976"/>
                <a:gd name="connsiteX16" fmla="*/ 50845 w 113809"/>
                <a:gd name="connsiteY16" fmla="*/ 0 h 113976"/>
                <a:gd name="connsiteX17" fmla="*/ 59593 w 113809"/>
                <a:gd name="connsiteY17" fmla="*/ 9234 h 113976"/>
                <a:gd name="connsiteX18" fmla="*/ 63746 w 113809"/>
                <a:gd name="connsiteY18" fmla="*/ 9650 h 113976"/>
                <a:gd name="connsiteX19" fmla="*/ 74179 w 113809"/>
                <a:gd name="connsiteY19" fmla="*/ 2333 h 113976"/>
                <a:gd name="connsiteX20" fmla="*/ 92872 w 113809"/>
                <a:gd name="connsiteY20" fmla="*/ 12398 h 113976"/>
                <a:gd name="connsiteX21" fmla="*/ 92488 w 113809"/>
                <a:gd name="connsiteY21" fmla="*/ 25179 h 113976"/>
                <a:gd name="connsiteX22" fmla="*/ 95100 w 113809"/>
                <a:gd name="connsiteY22" fmla="*/ 28374 h 113976"/>
                <a:gd name="connsiteX23" fmla="*/ 107666 w 113809"/>
                <a:gd name="connsiteY23" fmla="*/ 30499 h 113976"/>
                <a:gd name="connsiteX24" fmla="*/ 113809 w 113809"/>
                <a:gd name="connsiteY24" fmla="*/ 50829 h 113976"/>
                <a:gd name="connsiteX25" fmla="*/ 104487 w 113809"/>
                <a:gd name="connsiteY25" fmla="*/ 59617 h 113976"/>
                <a:gd name="connsiteX26" fmla="*/ 104031 w 113809"/>
                <a:gd name="connsiteY26" fmla="*/ 63882 h 113976"/>
                <a:gd name="connsiteX27" fmla="*/ 111357 w 113809"/>
                <a:gd name="connsiteY27" fmla="*/ 74267 h 113976"/>
                <a:gd name="connsiteX28" fmla="*/ 101291 w 113809"/>
                <a:gd name="connsiteY28" fmla="*/ 92984 h 113976"/>
                <a:gd name="connsiteX29" fmla="*/ 88566 w 113809"/>
                <a:gd name="connsiteY29" fmla="*/ 92600 h 113976"/>
                <a:gd name="connsiteX30" fmla="*/ 85323 w 113809"/>
                <a:gd name="connsiteY30" fmla="*/ 95260 h 113976"/>
                <a:gd name="connsiteX31" fmla="*/ 83134 w 113809"/>
                <a:gd name="connsiteY31" fmla="*/ 107842 h 113976"/>
                <a:gd name="connsiteX32" fmla="*/ 60999 w 113809"/>
                <a:gd name="connsiteY32" fmla="*/ 88678 h 113976"/>
                <a:gd name="connsiteX33" fmla="*/ 67709 w 113809"/>
                <a:gd name="connsiteY33" fmla="*/ 95811 h 113976"/>
                <a:gd name="connsiteX34" fmla="*/ 69099 w 113809"/>
                <a:gd name="connsiteY34" fmla="*/ 95388 h 113976"/>
                <a:gd name="connsiteX35" fmla="*/ 70776 w 113809"/>
                <a:gd name="connsiteY35" fmla="*/ 85722 h 113976"/>
                <a:gd name="connsiteX36" fmla="*/ 73772 w 113809"/>
                <a:gd name="connsiteY36" fmla="*/ 83829 h 113976"/>
                <a:gd name="connsiteX37" fmla="*/ 79691 w 113809"/>
                <a:gd name="connsiteY37" fmla="*/ 78980 h 113976"/>
                <a:gd name="connsiteX38" fmla="*/ 82151 w 113809"/>
                <a:gd name="connsiteY38" fmla="*/ 76408 h 113976"/>
                <a:gd name="connsiteX39" fmla="*/ 91921 w 113809"/>
                <a:gd name="connsiteY39" fmla="*/ 76703 h 113976"/>
                <a:gd name="connsiteX40" fmla="*/ 92624 w 113809"/>
                <a:gd name="connsiteY40" fmla="*/ 75393 h 113976"/>
                <a:gd name="connsiteX41" fmla="*/ 86968 w 113809"/>
                <a:gd name="connsiteY41" fmla="*/ 67405 h 113976"/>
                <a:gd name="connsiteX42" fmla="*/ 87767 w 113809"/>
                <a:gd name="connsiteY42" fmla="*/ 63898 h 113976"/>
                <a:gd name="connsiteX43" fmla="*/ 88566 w 113809"/>
                <a:gd name="connsiteY43" fmla="*/ 56222 h 113976"/>
                <a:gd name="connsiteX44" fmla="*/ 88510 w 113809"/>
                <a:gd name="connsiteY44" fmla="*/ 52699 h 113976"/>
                <a:gd name="connsiteX45" fmla="*/ 95620 w 113809"/>
                <a:gd name="connsiteY45" fmla="*/ 46005 h 113976"/>
                <a:gd name="connsiteX46" fmla="*/ 95204 w 113809"/>
                <a:gd name="connsiteY46" fmla="*/ 44623 h 113976"/>
                <a:gd name="connsiteX47" fmla="*/ 85539 w 113809"/>
                <a:gd name="connsiteY47" fmla="*/ 43025 h 113976"/>
                <a:gd name="connsiteX48" fmla="*/ 83637 w 113809"/>
                <a:gd name="connsiteY48" fmla="*/ 39965 h 113976"/>
                <a:gd name="connsiteX49" fmla="*/ 78844 w 113809"/>
                <a:gd name="connsiteY49" fmla="*/ 34070 h 113976"/>
                <a:gd name="connsiteX50" fmla="*/ 76288 w 113809"/>
                <a:gd name="connsiteY50" fmla="*/ 31610 h 113976"/>
                <a:gd name="connsiteX51" fmla="*/ 76584 w 113809"/>
                <a:gd name="connsiteY51" fmla="*/ 21784 h 113976"/>
                <a:gd name="connsiteX52" fmla="*/ 75266 w 113809"/>
                <a:gd name="connsiteY52" fmla="*/ 21073 h 113976"/>
                <a:gd name="connsiteX53" fmla="*/ 67277 w 113809"/>
                <a:gd name="connsiteY53" fmla="*/ 26665 h 113976"/>
                <a:gd name="connsiteX54" fmla="*/ 63834 w 113809"/>
                <a:gd name="connsiteY54" fmla="*/ 25866 h 113976"/>
                <a:gd name="connsiteX55" fmla="*/ 56245 w 113809"/>
                <a:gd name="connsiteY55" fmla="*/ 25107 h 113976"/>
                <a:gd name="connsiteX56" fmla="*/ 52707 w 113809"/>
                <a:gd name="connsiteY56" fmla="*/ 25179 h 113976"/>
                <a:gd name="connsiteX57" fmla="*/ 46020 w 113809"/>
                <a:gd name="connsiteY57" fmla="*/ 18109 h 113976"/>
                <a:gd name="connsiteX58" fmla="*/ 44607 w 113809"/>
                <a:gd name="connsiteY58" fmla="*/ 18541 h 113976"/>
                <a:gd name="connsiteX59" fmla="*/ 42921 w 113809"/>
                <a:gd name="connsiteY59" fmla="*/ 28247 h 113976"/>
                <a:gd name="connsiteX60" fmla="*/ 39870 w 113809"/>
                <a:gd name="connsiteY60" fmla="*/ 30140 h 113976"/>
                <a:gd name="connsiteX61" fmla="*/ 33902 w 113809"/>
                <a:gd name="connsiteY61" fmla="*/ 34933 h 113976"/>
                <a:gd name="connsiteX62" fmla="*/ 31450 w 113809"/>
                <a:gd name="connsiteY62" fmla="*/ 37433 h 113976"/>
                <a:gd name="connsiteX63" fmla="*/ 21712 w 113809"/>
                <a:gd name="connsiteY63" fmla="*/ 37146 h 113976"/>
                <a:gd name="connsiteX64" fmla="*/ 20969 w 113809"/>
                <a:gd name="connsiteY64" fmla="*/ 38496 h 113976"/>
                <a:gd name="connsiteX65" fmla="*/ 26665 w 113809"/>
                <a:gd name="connsiteY65" fmla="*/ 46484 h 113976"/>
                <a:gd name="connsiteX66" fmla="*/ 25866 w 113809"/>
                <a:gd name="connsiteY66" fmla="*/ 49951 h 113976"/>
                <a:gd name="connsiteX67" fmla="*/ 25115 w 113809"/>
                <a:gd name="connsiteY67" fmla="*/ 57556 h 113976"/>
                <a:gd name="connsiteX68" fmla="*/ 25203 w 113809"/>
                <a:gd name="connsiteY68" fmla="*/ 61110 h 113976"/>
                <a:gd name="connsiteX69" fmla="*/ 18069 w 113809"/>
                <a:gd name="connsiteY69" fmla="*/ 67836 h 113976"/>
                <a:gd name="connsiteX70" fmla="*/ 18485 w 113809"/>
                <a:gd name="connsiteY70" fmla="*/ 69210 h 113976"/>
                <a:gd name="connsiteX71" fmla="*/ 28135 w 113809"/>
                <a:gd name="connsiteY71" fmla="*/ 70808 h 113976"/>
                <a:gd name="connsiteX72" fmla="*/ 30044 w 113809"/>
                <a:gd name="connsiteY72" fmla="*/ 73836 h 113976"/>
                <a:gd name="connsiteX73" fmla="*/ 34837 w 113809"/>
                <a:gd name="connsiteY73" fmla="*/ 79731 h 113976"/>
                <a:gd name="connsiteX74" fmla="*/ 37417 w 113809"/>
                <a:gd name="connsiteY74" fmla="*/ 82215 h 113976"/>
                <a:gd name="connsiteX75" fmla="*/ 37058 w 113809"/>
                <a:gd name="connsiteY75" fmla="*/ 92105 h 113976"/>
                <a:gd name="connsiteX76" fmla="*/ 38336 w 113809"/>
                <a:gd name="connsiteY76" fmla="*/ 92792 h 113976"/>
                <a:gd name="connsiteX77" fmla="*/ 46324 w 113809"/>
                <a:gd name="connsiteY77" fmla="*/ 87200 h 113976"/>
                <a:gd name="connsiteX78" fmla="*/ 49783 w 113809"/>
                <a:gd name="connsiteY78" fmla="*/ 87999 h 113976"/>
                <a:gd name="connsiteX79" fmla="*/ 57364 w 113809"/>
                <a:gd name="connsiteY79" fmla="*/ 88758 h 113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13809" h="113976">
                  <a:moveTo>
                    <a:pt x="62868" y="113977"/>
                  </a:moveTo>
                  <a:lnTo>
                    <a:pt x="54081" y="104670"/>
                  </a:lnTo>
                  <a:cubicBezTo>
                    <a:pt x="52699" y="104591"/>
                    <a:pt x="51317" y="104455"/>
                    <a:pt x="49943" y="104255"/>
                  </a:cubicBezTo>
                  <a:lnTo>
                    <a:pt x="39558" y="111604"/>
                  </a:lnTo>
                  <a:lnTo>
                    <a:pt x="20825" y="101507"/>
                  </a:lnTo>
                  <a:lnTo>
                    <a:pt x="21297" y="88638"/>
                  </a:lnTo>
                  <a:cubicBezTo>
                    <a:pt x="20378" y="87615"/>
                    <a:pt x="19515" y="86545"/>
                    <a:pt x="18693" y="85443"/>
                  </a:cubicBezTo>
                  <a:lnTo>
                    <a:pt x="6143" y="83318"/>
                  </a:lnTo>
                  <a:lnTo>
                    <a:pt x="0" y="62996"/>
                  </a:lnTo>
                  <a:lnTo>
                    <a:pt x="9298" y="54208"/>
                  </a:lnTo>
                  <a:cubicBezTo>
                    <a:pt x="9370" y="52835"/>
                    <a:pt x="9506" y="51469"/>
                    <a:pt x="9698" y="50110"/>
                  </a:cubicBezTo>
                  <a:lnTo>
                    <a:pt x="2157" y="39670"/>
                  </a:lnTo>
                  <a:lnTo>
                    <a:pt x="12358" y="20905"/>
                  </a:lnTo>
                  <a:lnTo>
                    <a:pt x="25139" y="21289"/>
                  </a:lnTo>
                  <a:cubicBezTo>
                    <a:pt x="26178" y="20370"/>
                    <a:pt x="27272" y="19499"/>
                    <a:pt x="28390" y="18677"/>
                  </a:cubicBezTo>
                  <a:lnTo>
                    <a:pt x="30571" y="6143"/>
                  </a:lnTo>
                  <a:lnTo>
                    <a:pt x="50845" y="0"/>
                  </a:lnTo>
                  <a:lnTo>
                    <a:pt x="59593" y="9234"/>
                  </a:lnTo>
                  <a:cubicBezTo>
                    <a:pt x="60983" y="9314"/>
                    <a:pt x="62365" y="9458"/>
                    <a:pt x="63746" y="9650"/>
                  </a:cubicBezTo>
                  <a:lnTo>
                    <a:pt x="74179" y="2333"/>
                  </a:lnTo>
                  <a:lnTo>
                    <a:pt x="92872" y="12398"/>
                  </a:lnTo>
                  <a:lnTo>
                    <a:pt x="92488" y="25179"/>
                  </a:lnTo>
                  <a:cubicBezTo>
                    <a:pt x="93409" y="26212"/>
                    <a:pt x="94280" y="27278"/>
                    <a:pt x="95100" y="28374"/>
                  </a:cubicBezTo>
                  <a:lnTo>
                    <a:pt x="107666" y="30499"/>
                  </a:lnTo>
                  <a:lnTo>
                    <a:pt x="113809" y="50829"/>
                  </a:lnTo>
                  <a:lnTo>
                    <a:pt x="104487" y="59617"/>
                  </a:lnTo>
                  <a:cubicBezTo>
                    <a:pt x="104396" y="61049"/>
                    <a:pt x="104245" y="62471"/>
                    <a:pt x="104031" y="63882"/>
                  </a:cubicBezTo>
                  <a:lnTo>
                    <a:pt x="111357" y="74267"/>
                  </a:lnTo>
                  <a:lnTo>
                    <a:pt x="101291" y="92984"/>
                  </a:lnTo>
                  <a:lnTo>
                    <a:pt x="88566" y="92600"/>
                  </a:lnTo>
                  <a:cubicBezTo>
                    <a:pt x="87528" y="93535"/>
                    <a:pt x="86441" y="94421"/>
                    <a:pt x="85323" y="95260"/>
                  </a:cubicBezTo>
                  <a:lnTo>
                    <a:pt x="83134" y="107842"/>
                  </a:lnTo>
                  <a:close/>
                  <a:moveTo>
                    <a:pt x="60999" y="88678"/>
                  </a:moveTo>
                  <a:lnTo>
                    <a:pt x="67709" y="95811"/>
                  </a:lnTo>
                  <a:lnTo>
                    <a:pt x="69099" y="95388"/>
                  </a:lnTo>
                  <a:lnTo>
                    <a:pt x="70776" y="85722"/>
                  </a:lnTo>
                  <a:lnTo>
                    <a:pt x="73772" y="83829"/>
                  </a:lnTo>
                  <a:cubicBezTo>
                    <a:pt x="75934" y="82458"/>
                    <a:pt x="77922" y="80830"/>
                    <a:pt x="79691" y="78980"/>
                  </a:cubicBezTo>
                  <a:lnTo>
                    <a:pt x="82151" y="76408"/>
                  </a:lnTo>
                  <a:lnTo>
                    <a:pt x="91921" y="76703"/>
                  </a:lnTo>
                  <a:lnTo>
                    <a:pt x="92624" y="75393"/>
                  </a:lnTo>
                  <a:lnTo>
                    <a:pt x="86968" y="67405"/>
                  </a:lnTo>
                  <a:lnTo>
                    <a:pt x="87767" y="63898"/>
                  </a:lnTo>
                  <a:cubicBezTo>
                    <a:pt x="88349" y="61382"/>
                    <a:pt x="88617" y="58803"/>
                    <a:pt x="88566" y="56222"/>
                  </a:cubicBezTo>
                  <a:lnTo>
                    <a:pt x="88510" y="52699"/>
                  </a:lnTo>
                  <a:lnTo>
                    <a:pt x="95620" y="46005"/>
                  </a:lnTo>
                  <a:lnTo>
                    <a:pt x="95204" y="44623"/>
                  </a:lnTo>
                  <a:lnTo>
                    <a:pt x="85539" y="43025"/>
                  </a:lnTo>
                  <a:lnTo>
                    <a:pt x="83637" y="39965"/>
                  </a:lnTo>
                  <a:cubicBezTo>
                    <a:pt x="82290" y="37809"/>
                    <a:pt x="80680" y="35829"/>
                    <a:pt x="78844" y="34070"/>
                  </a:cubicBezTo>
                  <a:lnTo>
                    <a:pt x="76288" y="31610"/>
                  </a:lnTo>
                  <a:lnTo>
                    <a:pt x="76584" y="21784"/>
                  </a:lnTo>
                  <a:lnTo>
                    <a:pt x="75266" y="21073"/>
                  </a:lnTo>
                  <a:lnTo>
                    <a:pt x="67277" y="26665"/>
                  </a:lnTo>
                  <a:lnTo>
                    <a:pt x="63834" y="25866"/>
                  </a:lnTo>
                  <a:cubicBezTo>
                    <a:pt x="61348" y="25285"/>
                    <a:pt x="58797" y="25030"/>
                    <a:pt x="56245" y="25107"/>
                  </a:cubicBezTo>
                  <a:lnTo>
                    <a:pt x="52707" y="25179"/>
                  </a:lnTo>
                  <a:lnTo>
                    <a:pt x="46020" y="18109"/>
                  </a:lnTo>
                  <a:lnTo>
                    <a:pt x="44607" y="18541"/>
                  </a:lnTo>
                  <a:lnTo>
                    <a:pt x="42921" y="28247"/>
                  </a:lnTo>
                  <a:lnTo>
                    <a:pt x="39870" y="30140"/>
                  </a:lnTo>
                  <a:cubicBezTo>
                    <a:pt x="37694" y="31489"/>
                    <a:pt x="35689" y="33099"/>
                    <a:pt x="33902" y="34933"/>
                  </a:cubicBezTo>
                  <a:lnTo>
                    <a:pt x="31450" y="37433"/>
                  </a:lnTo>
                  <a:lnTo>
                    <a:pt x="21712" y="37146"/>
                  </a:lnTo>
                  <a:lnTo>
                    <a:pt x="20969" y="38496"/>
                  </a:lnTo>
                  <a:lnTo>
                    <a:pt x="26665" y="46484"/>
                  </a:lnTo>
                  <a:lnTo>
                    <a:pt x="25866" y="49951"/>
                  </a:lnTo>
                  <a:cubicBezTo>
                    <a:pt x="25317" y="52447"/>
                    <a:pt x="25065" y="55000"/>
                    <a:pt x="25115" y="57556"/>
                  </a:cubicBezTo>
                  <a:lnTo>
                    <a:pt x="25203" y="61110"/>
                  </a:lnTo>
                  <a:lnTo>
                    <a:pt x="18069" y="67836"/>
                  </a:lnTo>
                  <a:lnTo>
                    <a:pt x="18485" y="69210"/>
                  </a:lnTo>
                  <a:lnTo>
                    <a:pt x="28135" y="70808"/>
                  </a:lnTo>
                  <a:lnTo>
                    <a:pt x="30044" y="73836"/>
                  </a:lnTo>
                  <a:cubicBezTo>
                    <a:pt x="31396" y="75989"/>
                    <a:pt x="33005" y="77969"/>
                    <a:pt x="34837" y="79731"/>
                  </a:cubicBezTo>
                  <a:lnTo>
                    <a:pt x="37417" y="82215"/>
                  </a:lnTo>
                  <a:lnTo>
                    <a:pt x="37058" y="92105"/>
                  </a:lnTo>
                  <a:lnTo>
                    <a:pt x="38336" y="92792"/>
                  </a:lnTo>
                  <a:lnTo>
                    <a:pt x="46324" y="87200"/>
                  </a:lnTo>
                  <a:lnTo>
                    <a:pt x="49783" y="87999"/>
                  </a:lnTo>
                  <a:cubicBezTo>
                    <a:pt x="52265" y="88588"/>
                    <a:pt x="54814" y="88844"/>
                    <a:pt x="57364" y="88758"/>
                  </a:cubicBezTo>
                  <a:close/>
                </a:path>
              </a:pathLst>
            </a:custGeom>
            <a:grpFill/>
            <a:ln w="7938" cap="flat">
              <a:noFill/>
              <a:prstDash val="solid"/>
              <a:miter/>
            </a:ln>
          </p:spPr>
          <p:txBody>
            <a:bodyPr rtlCol="0" anchor="ctr"/>
            <a:lstStyle/>
            <a:p>
              <a:endParaRPr lang="en-IN"/>
            </a:p>
          </p:txBody>
        </p:sp>
        <p:sp>
          <p:nvSpPr>
            <p:cNvPr id="18" name="Freeform: Shape 17">
              <a:extLst>
                <a:ext uri="{FF2B5EF4-FFF2-40B4-BE49-F238E27FC236}">
                  <a16:creationId xmlns:a16="http://schemas.microsoft.com/office/drawing/2014/main" id="{5871646F-5714-F4A3-23CE-CB47E7DA1F57}"/>
                </a:ext>
              </a:extLst>
            </p:cNvPr>
            <p:cNvSpPr/>
            <p:nvPr/>
          </p:nvSpPr>
          <p:spPr>
            <a:xfrm>
              <a:off x="9979208" y="1897000"/>
              <a:ext cx="29180" cy="29177"/>
            </a:xfrm>
            <a:custGeom>
              <a:avLst/>
              <a:gdLst>
                <a:gd name="connsiteX0" fmla="*/ 14556 w 29180"/>
                <a:gd name="connsiteY0" fmla="*/ 8 h 29177"/>
                <a:gd name="connsiteX1" fmla="*/ 10346 w 29180"/>
                <a:gd name="connsiteY1" fmla="*/ 631 h 29177"/>
                <a:gd name="connsiteX2" fmla="*/ 10346 w 29180"/>
                <a:gd name="connsiteY2" fmla="*/ 631 h 29177"/>
                <a:gd name="connsiteX3" fmla="*/ 635 w 29180"/>
                <a:gd name="connsiteY3" fmla="*/ 18831 h 29177"/>
                <a:gd name="connsiteX4" fmla="*/ 18835 w 29180"/>
                <a:gd name="connsiteY4" fmla="*/ 28542 h 29177"/>
                <a:gd name="connsiteX5" fmla="*/ 28546 w 29180"/>
                <a:gd name="connsiteY5" fmla="*/ 10342 h 29177"/>
                <a:gd name="connsiteX6" fmla="*/ 14564 w 29180"/>
                <a:gd name="connsiteY6" fmla="*/ 0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180" h="29177">
                  <a:moveTo>
                    <a:pt x="14556" y="8"/>
                  </a:moveTo>
                  <a:cubicBezTo>
                    <a:pt x="13130" y="13"/>
                    <a:pt x="11712" y="222"/>
                    <a:pt x="10346" y="631"/>
                  </a:cubicBezTo>
                  <a:lnTo>
                    <a:pt x="10346" y="631"/>
                  </a:lnTo>
                  <a:cubicBezTo>
                    <a:pt x="2639" y="2975"/>
                    <a:pt x="-1709" y="11124"/>
                    <a:pt x="635" y="18831"/>
                  </a:cubicBezTo>
                  <a:cubicBezTo>
                    <a:pt x="2979" y="26538"/>
                    <a:pt x="11127" y="30886"/>
                    <a:pt x="18835" y="28542"/>
                  </a:cubicBezTo>
                  <a:cubicBezTo>
                    <a:pt x="26542" y="26198"/>
                    <a:pt x="30890" y="18050"/>
                    <a:pt x="28546" y="10342"/>
                  </a:cubicBezTo>
                  <a:cubicBezTo>
                    <a:pt x="26675" y="4190"/>
                    <a:pt x="20995" y="-12"/>
                    <a:pt x="14564" y="0"/>
                  </a:cubicBezTo>
                  <a:close/>
                </a:path>
              </a:pathLst>
            </a:custGeom>
            <a:grpFill/>
            <a:ln w="7938" cap="flat">
              <a:noFill/>
              <a:prstDash val="solid"/>
              <a:miter/>
            </a:ln>
          </p:spPr>
          <p:txBody>
            <a:bodyPr rtlCol="0" anchor="ctr"/>
            <a:lstStyle/>
            <a:p>
              <a:endParaRPr lang="en-IN"/>
            </a:p>
          </p:txBody>
        </p:sp>
      </p:grpSp>
      <p:grpSp>
        <p:nvGrpSpPr>
          <p:cNvPr id="20" name="Graphic 15" descr="Lightbulb outline">
            <a:extLst>
              <a:ext uri="{FF2B5EF4-FFF2-40B4-BE49-F238E27FC236}">
                <a16:creationId xmlns:a16="http://schemas.microsoft.com/office/drawing/2014/main" id="{2264EB54-7643-B88B-09FD-6DE791589723}"/>
              </a:ext>
            </a:extLst>
          </p:cNvPr>
          <p:cNvGrpSpPr/>
          <p:nvPr/>
        </p:nvGrpSpPr>
        <p:grpSpPr>
          <a:xfrm>
            <a:off x="2128163" y="1649227"/>
            <a:ext cx="399414" cy="644805"/>
            <a:chOff x="2128163" y="1535730"/>
            <a:chExt cx="399414" cy="644805"/>
          </a:xfrm>
          <a:gradFill>
            <a:gsLst>
              <a:gs pos="0">
                <a:srgbClr val="3FB6FA"/>
              </a:gs>
              <a:gs pos="100000">
                <a:srgbClr val="8745A6"/>
              </a:gs>
            </a:gsLst>
            <a:lin ang="10800000" scaled="1"/>
          </a:gradFill>
        </p:grpSpPr>
        <p:sp>
          <p:nvSpPr>
            <p:cNvPr id="21" name="Freeform: Shape 20">
              <a:extLst>
                <a:ext uri="{FF2B5EF4-FFF2-40B4-BE49-F238E27FC236}">
                  <a16:creationId xmlns:a16="http://schemas.microsoft.com/office/drawing/2014/main" id="{13E89DFB-8A29-06D6-2746-BB115416F865}"/>
                </a:ext>
              </a:extLst>
            </p:cNvPr>
            <p:cNvSpPr/>
            <p:nvPr/>
          </p:nvSpPr>
          <p:spPr>
            <a:xfrm>
              <a:off x="2128163" y="1535730"/>
              <a:ext cx="399414" cy="416876"/>
            </a:xfrm>
            <a:custGeom>
              <a:avLst/>
              <a:gdLst>
                <a:gd name="connsiteX0" fmla="*/ 304122 w 399414"/>
                <a:gd name="connsiteY0" fmla="*/ 408393 h 416876"/>
                <a:gd name="connsiteX1" fmla="*/ 350853 w 399414"/>
                <a:gd name="connsiteY1" fmla="*/ 332504 h 416876"/>
                <a:gd name="connsiteX2" fmla="*/ 385522 w 399414"/>
                <a:gd name="connsiteY2" fmla="*/ 275692 h 416876"/>
                <a:gd name="connsiteX3" fmla="*/ 399414 w 399414"/>
                <a:gd name="connsiteY3" fmla="*/ 206553 h 416876"/>
                <a:gd name="connsiteX4" fmla="*/ 399414 w 399414"/>
                <a:gd name="connsiteY4" fmla="*/ 199707 h 416876"/>
                <a:gd name="connsiteX5" fmla="*/ 199707 w 399414"/>
                <a:gd name="connsiteY5" fmla="*/ 0 h 416876"/>
                <a:gd name="connsiteX6" fmla="*/ 0 w 399414"/>
                <a:gd name="connsiteY6" fmla="*/ 199707 h 416876"/>
                <a:gd name="connsiteX7" fmla="*/ 0 w 399414"/>
                <a:gd name="connsiteY7" fmla="*/ 206577 h 416876"/>
                <a:gd name="connsiteX8" fmla="*/ 13900 w 399414"/>
                <a:gd name="connsiteY8" fmla="*/ 275700 h 416876"/>
                <a:gd name="connsiteX9" fmla="*/ 48569 w 399414"/>
                <a:gd name="connsiteY9" fmla="*/ 332512 h 416876"/>
                <a:gd name="connsiteX10" fmla="*/ 95300 w 399414"/>
                <a:gd name="connsiteY10" fmla="*/ 408401 h 416876"/>
                <a:gd name="connsiteX11" fmla="*/ 108968 w 399414"/>
                <a:gd name="connsiteY11" fmla="*/ 416876 h 416876"/>
                <a:gd name="connsiteX12" fmla="*/ 290454 w 399414"/>
                <a:gd name="connsiteY12" fmla="*/ 416876 h 416876"/>
                <a:gd name="connsiteX13" fmla="*/ 304122 w 399414"/>
                <a:gd name="connsiteY13" fmla="*/ 408393 h 416876"/>
                <a:gd name="connsiteX14" fmla="*/ 289975 w 399414"/>
                <a:gd name="connsiteY14" fmla="*/ 400892 h 416876"/>
                <a:gd name="connsiteX15" fmla="*/ 109439 w 399414"/>
                <a:gd name="connsiteY15" fmla="*/ 400892 h 416876"/>
                <a:gd name="connsiteX16" fmla="*/ 60543 w 399414"/>
                <a:gd name="connsiteY16" fmla="*/ 321880 h 416876"/>
                <a:gd name="connsiteX17" fmla="*/ 28838 w 399414"/>
                <a:gd name="connsiteY17" fmla="*/ 269956 h 416876"/>
                <a:gd name="connsiteX18" fmla="*/ 15977 w 399414"/>
                <a:gd name="connsiteY18" fmla="*/ 206297 h 416876"/>
                <a:gd name="connsiteX19" fmla="*/ 15977 w 399414"/>
                <a:gd name="connsiteY19" fmla="*/ 199979 h 416876"/>
                <a:gd name="connsiteX20" fmla="*/ 199571 w 399414"/>
                <a:gd name="connsiteY20" fmla="*/ 16112 h 416876"/>
                <a:gd name="connsiteX21" fmla="*/ 383438 w 399414"/>
                <a:gd name="connsiteY21" fmla="*/ 199707 h 416876"/>
                <a:gd name="connsiteX22" fmla="*/ 383438 w 399414"/>
                <a:gd name="connsiteY22" fmla="*/ 206329 h 416876"/>
                <a:gd name="connsiteX23" fmla="*/ 370616 w 399414"/>
                <a:gd name="connsiteY23" fmla="*/ 269916 h 416876"/>
                <a:gd name="connsiteX24" fmla="*/ 339063 w 399414"/>
                <a:gd name="connsiteY24" fmla="*/ 321720 h 416876"/>
                <a:gd name="connsiteX25" fmla="*/ 289975 w 399414"/>
                <a:gd name="connsiteY25" fmla="*/ 400892 h 4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9414" h="416876">
                  <a:moveTo>
                    <a:pt x="304122" y="408393"/>
                  </a:moveTo>
                  <a:cubicBezTo>
                    <a:pt x="312589" y="391138"/>
                    <a:pt x="332560" y="352475"/>
                    <a:pt x="350853" y="332504"/>
                  </a:cubicBezTo>
                  <a:cubicBezTo>
                    <a:pt x="365696" y="315779"/>
                    <a:pt x="377437" y="296540"/>
                    <a:pt x="385522" y="275692"/>
                  </a:cubicBezTo>
                  <a:cubicBezTo>
                    <a:pt x="393996" y="253587"/>
                    <a:pt x="398691" y="230215"/>
                    <a:pt x="399414" y="206553"/>
                  </a:cubicBezTo>
                  <a:lnTo>
                    <a:pt x="399414" y="199707"/>
                  </a:lnTo>
                  <a:cubicBezTo>
                    <a:pt x="399414" y="89412"/>
                    <a:pt x="310002" y="0"/>
                    <a:pt x="199707" y="0"/>
                  </a:cubicBezTo>
                  <a:cubicBezTo>
                    <a:pt x="89412" y="0"/>
                    <a:pt x="0" y="89412"/>
                    <a:pt x="0" y="199707"/>
                  </a:cubicBezTo>
                  <a:lnTo>
                    <a:pt x="0" y="206577"/>
                  </a:lnTo>
                  <a:cubicBezTo>
                    <a:pt x="727" y="230234"/>
                    <a:pt x="5426" y="253601"/>
                    <a:pt x="13900" y="275700"/>
                  </a:cubicBezTo>
                  <a:cubicBezTo>
                    <a:pt x="21985" y="296548"/>
                    <a:pt x="33726" y="315787"/>
                    <a:pt x="48569" y="332512"/>
                  </a:cubicBezTo>
                  <a:cubicBezTo>
                    <a:pt x="66862" y="352403"/>
                    <a:pt x="86833" y="391162"/>
                    <a:pt x="95300" y="408401"/>
                  </a:cubicBezTo>
                  <a:cubicBezTo>
                    <a:pt x="97878" y="413592"/>
                    <a:pt x="103173" y="416875"/>
                    <a:pt x="108968" y="416876"/>
                  </a:cubicBezTo>
                  <a:lnTo>
                    <a:pt x="290454" y="416876"/>
                  </a:lnTo>
                  <a:cubicBezTo>
                    <a:pt x="296251" y="416873"/>
                    <a:pt x="301546" y="413587"/>
                    <a:pt x="304122" y="408393"/>
                  </a:cubicBezTo>
                  <a:close/>
                  <a:moveTo>
                    <a:pt x="289975" y="400892"/>
                  </a:moveTo>
                  <a:lnTo>
                    <a:pt x="109439" y="400892"/>
                  </a:lnTo>
                  <a:cubicBezTo>
                    <a:pt x="99135" y="379931"/>
                    <a:pt x="79284" y="342258"/>
                    <a:pt x="60543" y="321880"/>
                  </a:cubicBezTo>
                  <a:cubicBezTo>
                    <a:pt x="46965" y="306600"/>
                    <a:pt x="36228" y="289015"/>
                    <a:pt x="28838" y="269956"/>
                  </a:cubicBezTo>
                  <a:cubicBezTo>
                    <a:pt x="21021" y="249605"/>
                    <a:pt x="16673" y="228087"/>
                    <a:pt x="15977" y="206297"/>
                  </a:cubicBezTo>
                  <a:lnTo>
                    <a:pt x="15977" y="199979"/>
                  </a:lnTo>
                  <a:cubicBezTo>
                    <a:pt x="15901" y="98507"/>
                    <a:pt x="98099" y="16187"/>
                    <a:pt x="199571" y="16112"/>
                  </a:cubicBezTo>
                  <a:cubicBezTo>
                    <a:pt x="301043" y="16037"/>
                    <a:pt x="383362" y="98236"/>
                    <a:pt x="383438" y="199707"/>
                  </a:cubicBezTo>
                  <a:lnTo>
                    <a:pt x="383438" y="206329"/>
                  </a:lnTo>
                  <a:cubicBezTo>
                    <a:pt x="382751" y="228093"/>
                    <a:pt x="378417" y="249587"/>
                    <a:pt x="370616" y="269916"/>
                  </a:cubicBezTo>
                  <a:cubicBezTo>
                    <a:pt x="363266" y="288925"/>
                    <a:pt x="352581" y="306469"/>
                    <a:pt x="339063" y="321720"/>
                  </a:cubicBezTo>
                  <a:cubicBezTo>
                    <a:pt x="320059" y="342458"/>
                    <a:pt x="300224" y="380090"/>
                    <a:pt x="289975" y="400892"/>
                  </a:cubicBezTo>
                  <a:close/>
                </a:path>
              </a:pathLst>
            </a:custGeom>
            <a:grpFill/>
            <a:ln w="7938" cap="flat">
              <a:noFill/>
              <a:prstDash val="solid"/>
              <a:miter/>
            </a:ln>
          </p:spPr>
          <p:txBody>
            <a:bodyPr rtlCol="0" anchor="ctr"/>
            <a:lstStyle/>
            <a:p>
              <a:endParaRPr lang="en-IN"/>
            </a:p>
          </p:txBody>
        </p:sp>
        <p:sp>
          <p:nvSpPr>
            <p:cNvPr id="23" name="Freeform: Shape 22">
              <a:extLst>
                <a:ext uri="{FF2B5EF4-FFF2-40B4-BE49-F238E27FC236}">
                  <a16:creationId xmlns:a16="http://schemas.microsoft.com/office/drawing/2014/main" id="{2B0B3145-7CE7-02B6-7CD0-873E19227876}"/>
                </a:ext>
              </a:extLst>
            </p:cNvPr>
            <p:cNvSpPr/>
            <p:nvPr/>
          </p:nvSpPr>
          <p:spPr>
            <a:xfrm>
              <a:off x="2233273" y="2000976"/>
              <a:ext cx="191718" cy="15976"/>
            </a:xfrm>
            <a:custGeom>
              <a:avLst/>
              <a:gdLst>
                <a:gd name="connsiteX0" fmla="*/ 183730 w 191718"/>
                <a:gd name="connsiteY0" fmla="*/ 0 h 15976"/>
                <a:gd name="connsiteX1" fmla="*/ 7988 w 191718"/>
                <a:gd name="connsiteY1" fmla="*/ 0 h 15976"/>
                <a:gd name="connsiteX2" fmla="*/ 0 w 191718"/>
                <a:gd name="connsiteY2" fmla="*/ 7988 h 15976"/>
                <a:gd name="connsiteX3" fmla="*/ 7988 w 191718"/>
                <a:gd name="connsiteY3" fmla="*/ 15977 h 15976"/>
                <a:gd name="connsiteX4" fmla="*/ 183730 w 191718"/>
                <a:gd name="connsiteY4" fmla="*/ 15977 h 15976"/>
                <a:gd name="connsiteX5" fmla="*/ 191719 w 191718"/>
                <a:gd name="connsiteY5" fmla="*/ 7988 h 15976"/>
                <a:gd name="connsiteX6" fmla="*/ 183730 w 191718"/>
                <a:gd name="connsiteY6" fmla="*/ 0 h 1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718" h="15976">
                  <a:moveTo>
                    <a:pt x="183730" y="0"/>
                  </a:moveTo>
                  <a:lnTo>
                    <a:pt x="7988" y="0"/>
                  </a:lnTo>
                  <a:cubicBezTo>
                    <a:pt x="3576" y="0"/>
                    <a:pt x="0" y="3576"/>
                    <a:pt x="0" y="7988"/>
                  </a:cubicBezTo>
                  <a:cubicBezTo>
                    <a:pt x="0" y="12400"/>
                    <a:pt x="3576" y="15977"/>
                    <a:pt x="7988" y="15977"/>
                  </a:cubicBezTo>
                  <a:lnTo>
                    <a:pt x="183730" y="15977"/>
                  </a:lnTo>
                  <a:cubicBezTo>
                    <a:pt x="188142" y="15977"/>
                    <a:pt x="191719" y="12400"/>
                    <a:pt x="191719" y="7988"/>
                  </a:cubicBezTo>
                  <a:cubicBezTo>
                    <a:pt x="191719" y="3576"/>
                    <a:pt x="188142" y="0"/>
                    <a:pt x="183730" y="0"/>
                  </a:cubicBezTo>
                  <a:close/>
                </a:path>
              </a:pathLst>
            </a:custGeom>
            <a:grpFill/>
            <a:ln w="7938" cap="flat">
              <a:noFill/>
              <a:prstDash val="solid"/>
              <a:miter/>
            </a:ln>
          </p:spPr>
          <p:txBody>
            <a:bodyPr rtlCol="0" anchor="ctr"/>
            <a:lstStyle/>
            <a:p>
              <a:endParaRPr lang="en-IN"/>
            </a:p>
          </p:txBody>
        </p:sp>
        <p:sp>
          <p:nvSpPr>
            <p:cNvPr id="24" name="Freeform: Shape 23">
              <a:extLst>
                <a:ext uri="{FF2B5EF4-FFF2-40B4-BE49-F238E27FC236}">
                  <a16:creationId xmlns:a16="http://schemas.microsoft.com/office/drawing/2014/main" id="{50D82AB5-4025-FB35-C260-E75A950714A3}"/>
                </a:ext>
              </a:extLst>
            </p:cNvPr>
            <p:cNvSpPr/>
            <p:nvPr/>
          </p:nvSpPr>
          <p:spPr>
            <a:xfrm>
              <a:off x="2233273" y="2065912"/>
              <a:ext cx="191718" cy="15976"/>
            </a:xfrm>
            <a:custGeom>
              <a:avLst/>
              <a:gdLst>
                <a:gd name="connsiteX0" fmla="*/ 191719 w 191718"/>
                <a:gd name="connsiteY0" fmla="*/ 7988 h 15976"/>
                <a:gd name="connsiteX1" fmla="*/ 183730 w 191718"/>
                <a:gd name="connsiteY1" fmla="*/ 0 h 15976"/>
                <a:gd name="connsiteX2" fmla="*/ 7988 w 191718"/>
                <a:gd name="connsiteY2" fmla="*/ 0 h 15976"/>
                <a:gd name="connsiteX3" fmla="*/ 0 w 191718"/>
                <a:gd name="connsiteY3" fmla="*/ 7988 h 15976"/>
                <a:gd name="connsiteX4" fmla="*/ 7988 w 191718"/>
                <a:gd name="connsiteY4" fmla="*/ 15977 h 15976"/>
                <a:gd name="connsiteX5" fmla="*/ 183730 w 191718"/>
                <a:gd name="connsiteY5" fmla="*/ 15977 h 15976"/>
                <a:gd name="connsiteX6" fmla="*/ 191719 w 191718"/>
                <a:gd name="connsiteY6" fmla="*/ 7988 h 1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718" h="15976">
                  <a:moveTo>
                    <a:pt x="191719" y="7988"/>
                  </a:moveTo>
                  <a:cubicBezTo>
                    <a:pt x="191719" y="3576"/>
                    <a:pt x="188142" y="0"/>
                    <a:pt x="183730" y="0"/>
                  </a:cubicBezTo>
                  <a:lnTo>
                    <a:pt x="7988" y="0"/>
                  </a:lnTo>
                  <a:cubicBezTo>
                    <a:pt x="3576" y="0"/>
                    <a:pt x="0" y="3576"/>
                    <a:pt x="0" y="7988"/>
                  </a:cubicBezTo>
                  <a:cubicBezTo>
                    <a:pt x="0" y="12400"/>
                    <a:pt x="3576" y="15977"/>
                    <a:pt x="7988" y="15977"/>
                  </a:cubicBezTo>
                  <a:lnTo>
                    <a:pt x="183730" y="15977"/>
                  </a:lnTo>
                  <a:cubicBezTo>
                    <a:pt x="188142" y="15977"/>
                    <a:pt x="191719" y="12400"/>
                    <a:pt x="191719" y="7988"/>
                  </a:cubicBezTo>
                  <a:close/>
                </a:path>
              </a:pathLst>
            </a:custGeom>
            <a:grpFill/>
            <a:ln w="7938" cap="flat">
              <a:noFill/>
              <a:prstDash val="solid"/>
              <a:miter/>
            </a:ln>
          </p:spPr>
          <p:txBody>
            <a:bodyPr rtlCol="0" anchor="ctr"/>
            <a:lstStyle/>
            <a:p>
              <a:endParaRPr lang="en-IN"/>
            </a:p>
          </p:txBody>
        </p:sp>
        <p:sp>
          <p:nvSpPr>
            <p:cNvPr id="25" name="Freeform: Shape 24">
              <a:extLst>
                <a:ext uri="{FF2B5EF4-FFF2-40B4-BE49-F238E27FC236}">
                  <a16:creationId xmlns:a16="http://schemas.microsoft.com/office/drawing/2014/main" id="{4C5193DB-4B86-D876-7C5E-50EB0D5C90BC}"/>
                </a:ext>
              </a:extLst>
            </p:cNvPr>
            <p:cNvSpPr/>
            <p:nvPr/>
          </p:nvSpPr>
          <p:spPr>
            <a:xfrm>
              <a:off x="2281879" y="2129260"/>
              <a:ext cx="92349" cy="51276"/>
            </a:xfrm>
            <a:custGeom>
              <a:avLst/>
              <a:gdLst>
                <a:gd name="connsiteX0" fmla="*/ 92323 w 92349"/>
                <a:gd name="connsiteY0" fmla="*/ 8627 h 51276"/>
                <a:gd name="connsiteX1" fmla="*/ 84999 w 92349"/>
                <a:gd name="connsiteY1" fmla="*/ 26 h 51276"/>
                <a:gd name="connsiteX2" fmla="*/ 84335 w 92349"/>
                <a:gd name="connsiteY2" fmla="*/ 0 h 51276"/>
                <a:gd name="connsiteX3" fmla="*/ 8015 w 92349"/>
                <a:gd name="connsiteY3" fmla="*/ 0 h 51276"/>
                <a:gd name="connsiteX4" fmla="*/ 0 w 92349"/>
                <a:gd name="connsiteY4" fmla="*/ 7962 h 51276"/>
                <a:gd name="connsiteX5" fmla="*/ 26 w 92349"/>
                <a:gd name="connsiteY5" fmla="*/ 8635 h 51276"/>
                <a:gd name="connsiteX6" fmla="*/ 49813 w 92349"/>
                <a:gd name="connsiteY6" fmla="*/ 51130 h 51276"/>
                <a:gd name="connsiteX7" fmla="*/ 92307 w 92349"/>
                <a:gd name="connsiteY7" fmla="*/ 8635 h 51276"/>
                <a:gd name="connsiteX8" fmla="*/ 46231 w 92349"/>
                <a:gd name="connsiteY8" fmla="*/ 35284 h 51276"/>
                <a:gd name="connsiteX9" fmla="*/ 18032 w 92349"/>
                <a:gd name="connsiteY9" fmla="*/ 15977 h 51276"/>
                <a:gd name="connsiteX10" fmla="*/ 74437 w 92349"/>
                <a:gd name="connsiteY10" fmla="*/ 15977 h 51276"/>
                <a:gd name="connsiteX11" fmla="*/ 46239 w 92349"/>
                <a:gd name="connsiteY11" fmla="*/ 35284 h 5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349" h="51276">
                  <a:moveTo>
                    <a:pt x="92323" y="8627"/>
                  </a:moveTo>
                  <a:cubicBezTo>
                    <a:pt x="92676" y="4230"/>
                    <a:pt x="89397" y="379"/>
                    <a:pt x="84999" y="26"/>
                  </a:cubicBezTo>
                  <a:cubicBezTo>
                    <a:pt x="84778" y="8"/>
                    <a:pt x="84557" y="-1"/>
                    <a:pt x="84335" y="0"/>
                  </a:cubicBezTo>
                  <a:lnTo>
                    <a:pt x="8015" y="0"/>
                  </a:lnTo>
                  <a:cubicBezTo>
                    <a:pt x="3603" y="-14"/>
                    <a:pt x="14" y="3550"/>
                    <a:pt x="0" y="7962"/>
                  </a:cubicBezTo>
                  <a:cubicBezTo>
                    <a:pt x="-1" y="8186"/>
                    <a:pt x="8" y="8412"/>
                    <a:pt x="26" y="8635"/>
                  </a:cubicBezTo>
                  <a:cubicBezTo>
                    <a:pt x="2039" y="34118"/>
                    <a:pt x="24330" y="53144"/>
                    <a:pt x="49813" y="51130"/>
                  </a:cubicBezTo>
                  <a:cubicBezTo>
                    <a:pt x="72498" y="49338"/>
                    <a:pt x="90514" y="31320"/>
                    <a:pt x="92307" y="8635"/>
                  </a:cubicBezTo>
                  <a:close/>
                  <a:moveTo>
                    <a:pt x="46231" y="35284"/>
                  </a:moveTo>
                  <a:cubicBezTo>
                    <a:pt x="33781" y="35176"/>
                    <a:pt x="22635" y="27544"/>
                    <a:pt x="18032" y="15977"/>
                  </a:cubicBezTo>
                  <a:lnTo>
                    <a:pt x="74437" y="15977"/>
                  </a:lnTo>
                  <a:cubicBezTo>
                    <a:pt x="69850" y="27557"/>
                    <a:pt x="58695" y="35196"/>
                    <a:pt x="46239" y="35284"/>
                  </a:cubicBezTo>
                  <a:close/>
                </a:path>
              </a:pathLst>
            </a:custGeom>
            <a:grpFill/>
            <a:ln w="7938" cap="flat">
              <a:noFill/>
              <a:prstDash val="solid"/>
              <a:miter/>
            </a:ln>
          </p:spPr>
          <p:txBody>
            <a:bodyPr rtlCol="0" anchor="ctr"/>
            <a:lstStyle/>
            <a:p>
              <a:endParaRPr lang="en-IN"/>
            </a:p>
          </p:txBody>
        </p:sp>
      </p:grpSp>
      <p:grpSp>
        <p:nvGrpSpPr>
          <p:cNvPr id="28" name="Graphic 18" descr="Single gear outline">
            <a:extLst>
              <a:ext uri="{FF2B5EF4-FFF2-40B4-BE49-F238E27FC236}">
                <a16:creationId xmlns:a16="http://schemas.microsoft.com/office/drawing/2014/main" id="{0F961874-9471-FB5F-A2DD-C8061A643977}"/>
              </a:ext>
            </a:extLst>
          </p:cNvPr>
          <p:cNvGrpSpPr/>
          <p:nvPr/>
        </p:nvGrpSpPr>
        <p:grpSpPr>
          <a:xfrm>
            <a:off x="9982524" y="4315094"/>
            <a:ext cx="365563" cy="365118"/>
            <a:chOff x="9982524" y="4199106"/>
            <a:chExt cx="365563" cy="365118"/>
          </a:xfrm>
          <a:gradFill>
            <a:gsLst>
              <a:gs pos="0">
                <a:srgbClr val="3FB6FA"/>
              </a:gs>
              <a:gs pos="100000">
                <a:srgbClr val="8745A6"/>
              </a:gs>
            </a:gsLst>
            <a:lin ang="10800000" scaled="1"/>
          </a:gradFill>
        </p:grpSpPr>
        <p:sp>
          <p:nvSpPr>
            <p:cNvPr id="30" name="Freeform: Shape 29">
              <a:extLst>
                <a:ext uri="{FF2B5EF4-FFF2-40B4-BE49-F238E27FC236}">
                  <a16:creationId xmlns:a16="http://schemas.microsoft.com/office/drawing/2014/main" id="{E22FBFE5-8311-0766-208D-54AE82FBEE4B}"/>
                </a:ext>
              </a:extLst>
            </p:cNvPr>
            <p:cNvSpPr/>
            <p:nvPr/>
          </p:nvSpPr>
          <p:spPr>
            <a:xfrm>
              <a:off x="9982524" y="4199106"/>
              <a:ext cx="365563" cy="365118"/>
            </a:xfrm>
            <a:custGeom>
              <a:avLst/>
              <a:gdLst>
                <a:gd name="connsiteX0" fmla="*/ 51533 w 365563"/>
                <a:gd name="connsiteY0" fmla="*/ 256147 h 365118"/>
                <a:gd name="connsiteX1" fmla="*/ 38113 w 365563"/>
                <a:gd name="connsiteY1" fmla="*/ 296407 h 365118"/>
                <a:gd name="connsiteX2" fmla="*/ 68711 w 365563"/>
                <a:gd name="connsiteY2" fmla="*/ 327005 h 365118"/>
                <a:gd name="connsiteX3" fmla="*/ 108971 w 365563"/>
                <a:gd name="connsiteY3" fmla="*/ 313585 h 365118"/>
                <a:gd name="connsiteX4" fmla="*/ 142790 w 365563"/>
                <a:gd name="connsiteY4" fmla="*/ 327542 h 365118"/>
                <a:gd name="connsiteX5" fmla="*/ 161578 w 365563"/>
                <a:gd name="connsiteY5" fmla="*/ 365118 h 365118"/>
                <a:gd name="connsiteX6" fmla="*/ 204522 w 365563"/>
                <a:gd name="connsiteY6" fmla="*/ 365118 h 365118"/>
                <a:gd name="connsiteX7" fmla="*/ 223311 w 365563"/>
                <a:gd name="connsiteY7" fmla="*/ 327542 h 365118"/>
                <a:gd name="connsiteX8" fmla="*/ 256592 w 365563"/>
                <a:gd name="connsiteY8" fmla="*/ 313585 h 365118"/>
                <a:gd name="connsiteX9" fmla="*/ 296853 w 365563"/>
                <a:gd name="connsiteY9" fmla="*/ 327005 h 365118"/>
                <a:gd name="connsiteX10" fmla="*/ 327451 w 365563"/>
                <a:gd name="connsiteY10" fmla="*/ 296407 h 365118"/>
                <a:gd name="connsiteX11" fmla="*/ 314030 w 365563"/>
                <a:gd name="connsiteY11" fmla="*/ 256147 h 365118"/>
                <a:gd name="connsiteX12" fmla="*/ 327987 w 365563"/>
                <a:gd name="connsiteY12" fmla="*/ 222328 h 365118"/>
                <a:gd name="connsiteX13" fmla="*/ 365564 w 365563"/>
                <a:gd name="connsiteY13" fmla="*/ 203540 h 365118"/>
                <a:gd name="connsiteX14" fmla="*/ 365564 w 365563"/>
                <a:gd name="connsiteY14" fmla="*/ 160596 h 365118"/>
                <a:gd name="connsiteX15" fmla="*/ 327451 w 365563"/>
                <a:gd name="connsiteY15" fmla="*/ 142344 h 365118"/>
                <a:gd name="connsiteX16" fmla="*/ 313494 w 365563"/>
                <a:gd name="connsiteY16" fmla="*/ 109063 h 365118"/>
                <a:gd name="connsiteX17" fmla="*/ 326914 w 365563"/>
                <a:gd name="connsiteY17" fmla="*/ 68802 h 365118"/>
                <a:gd name="connsiteX18" fmla="*/ 296316 w 365563"/>
                <a:gd name="connsiteY18" fmla="*/ 38204 h 365118"/>
                <a:gd name="connsiteX19" fmla="*/ 256056 w 365563"/>
                <a:gd name="connsiteY19" fmla="*/ 51624 h 365118"/>
                <a:gd name="connsiteX20" fmla="*/ 222237 w 365563"/>
                <a:gd name="connsiteY20" fmla="*/ 37668 h 365118"/>
                <a:gd name="connsiteX21" fmla="*/ 203986 w 365563"/>
                <a:gd name="connsiteY21" fmla="*/ 0 h 365118"/>
                <a:gd name="connsiteX22" fmla="*/ 161041 w 365563"/>
                <a:gd name="connsiteY22" fmla="*/ 0 h 365118"/>
                <a:gd name="connsiteX23" fmla="*/ 142253 w 365563"/>
                <a:gd name="connsiteY23" fmla="*/ 37576 h 365118"/>
                <a:gd name="connsiteX24" fmla="*/ 108971 w 365563"/>
                <a:gd name="connsiteY24" fmla="*/ 51533 h 365118"/>
                <a:gd name="connsiteX25" fmla="*/ 68711 w 365563"/>
                <a:gd name="connsiteY25" fmla="*/ 38113 h 365118"/>
                <a:gd name="connsiteX26" fmla="*/ 38113 w 365563"/>
                <a:gd name="connsiteY26" fmla="*/ 68711 h 365118"/>
                <a:gd name="connsiteX27" fmla="*/ 51533 w 365563"/>
                <a:gd name="connsiteY27" fmla="*/ 108971 h 365118"/>
                <a:gd name="connsiteX28" fmla="*/ 37576 w 365563"/>
                <a:gd name="connsiteY28" fmla="*/ 142790 h 365118"/>
                <a:gd name="connsiteX29" fmla="*/ 0 w 365563"/>
                <a:gd name="connsiteY29" fmla="*/ 161041 h 365118"/>
                <a:gd name="connsiteX30" fmla="*/ 0 w 365563"/>
                <a:gd name="connsiteY30" fmla="*/ 203986 h 365118"/>
                <a:gd name="connsiteX31" fmla="*/ 37576 w 365563"/>
                <a:gd name="connsiteY31" fmla="*/ 222774 h 365118"/>
                <a:gd name="connsiteX32" fmla="*/ 51533 w 365563"/>
                <a:gd name="connsiteY32" fmla="*/ 256147 h 365118"/>
                <a:gd name="connsiteX33" fmla="*/ 10736 w 365563"/>
                <a:gd name="connsiteY33" fmla="*/ 167826 h 365118"/>
                <a:gd name="connsiteX34" fmla="*/ 42268 w 365563"/>
                <a:gd name="connsiteY34" fmla="*/ 152506 h 365118"/>
                <a:gd name="connsiteX35" fmla="*/ 46654 w 365563"/>
                <a:gd name="connsiteY35" fmla="*/ 150359 h 365118"/>
                <a:gd name="connsiteX36" fmla="*/ 47937 w 365563"/>
                <a:gd name="connsiteY36" fmla="*/ 145656 h 365118"/>
                <a:gd name="connsiteX37" fmla="*/ 60943 w 365563"/>
                <a:gd name="connsiteY37" fmla="*/ 114173 h 365118"/>
                <a:gd name="connsiteX38" fmla="*/ 63203 w 365563"/>
                <a:gd name="connsiteY38" fmla="*/ 110061 h 365118"/>
                <a:gd name="connsiteX39" fmla="*/ 61722 w 365563"/>
                <a:gd name="connsiteY39" fmla="*/ 105605 h 365118"/>
                <a:gd name="connsiteX40" fmla="*/ 50395 w 365563"/>
                <a:gd name="connsiteY40" fmla="*/ 71631 h 365118"/>
                <a:gd name="connsiteX41" fmla="*/ 71615 w 365563"/>
                <a:gd name="connsiteY41" fmla="*/ 50406 h 365118"/>
                <a:gd name="connsiteX42" fmla="*/ 105579 w 365563"/>
                <a:gd name="connsiteY42" fmla="*/ 61732 h 365118"/>
                <a:gd name="connsiteX43" fmla="*/ 110168 w 365563"/>
                <a:gd name="connsiteY43" fmla="*/ 63262 h 365118"/>
                <a:gd name="connsiteX44" fmla="*/ 114355 w 365563"/>
                <a:gd name="connsiteY44" fmla="*/ 60836 h 365118"/>
                <a:gd name="connsiteX45" fmla="*/ 145082 w 365563"/>
                <a:gd name="connsiteY45" fmla="*/ 47953 h 365118"/>
                <a:gd name="connsiteX46" fmla="*/ 149715 w 365563"/>
                <a:gd name="connsiteY46" fmla="*/ 46691 h 365118"/>
                <a:gd name="connsiteX47" fmla="*/ 151862 w 365563"/>
                <a:gd name="connsiteY47" fmla="*/ 42397 h 365118"/>
                <a:gd name="connsiteX48" fmla="*/ 167687 w 365563"/>
                <a:gd name="connsiteY48" fmla="*/ 10736 h 365118"/>
                <a:gd name="connsiteX49" fmla="*/ 197276 w 365563"/>
                <a:gd name="connsiteY49" fmla="*/ 10736 h 365118"/>
                <a:gd name="connsiteX50" fmla="*/ 212574 w 365563"/>
                <a:gd name="connsiteY50" fmla="*/ 42300 h 365118"/>
                <a:gd name="connsiteX51" fmla="*/ 214722 w 365563"/>
                <a:gd name="connsiteY51" fmla="*/ 46680 h 365118"/>
                <a:gd name="connsiteX52" fmla="*/ 219424 w 365563"/>
                <a:gd name="connsiteY52" fmla="*/ 47963 h 365118"/>
                <a:gd name="connsiteX53" fmla="*/ 250897 w 365563"/>
                <a:gd name="connsiteY53" fmla="*/ 60976 h 365118"/>
                <a:gd name="connsiteX54" fmla="*/ 255014 w 365563"/>
                <a:gd name="connsiteY54" fmla="*/ 63241 h 365118"/>
                <a:gd name="connsiteX55" fmla="*/ 259470 w 365563"/>
                <a:gd name="connsiteY55" fmla="*/ 61754 h 365118"/>
                <a:gd name="connsiteX56" fmla="*/ 293433 w 365563"/>
                <a:gd name="connsiteY56" fmla="*/ 50427 h 365118"/>
                <a:gd name="connsiteX57" fmla="*/ 314653 w 365563"/>
                <a:gd name="connsiteY57" fmla="*/ 71653 h 365118"/>
                <a:gd name="connsiteX58" fmla="*/ 303327 w 365563"/>
                <a:gd name="connsiteY58" fmla="*/ 105627 h 365118"/>
                <a:gd name="connsiteX59" fmla="*/ 301797 w 365563"/>
                <a:gd name="connsiteY59" fmla="*/ 110217 h 365118"/>
                <a:gd name="connsiteX60" fmla="*/ 304223 w 365563"/>
                <a:gd name="connsiteY60" fmla="*/ 114398 h 365118"/>
                <a:gd name="connsiteX61" fmla="*/ 317106 w 365563"/>
                <a:gd name="connsiteY61" fmla="*/ 145136 h 365118"/>
                <a:gd name="connsiteX62" fmla="*/ 318400 w 365563"/>
                <a:gd name="connsiteY62" fmla="*/ 149876 h 365118"/>
                <a:gd name="connsiteX63" fmla="*/ 322829 w 365563"/>
                <a:gd name="connsiteY63" fmla="*/ 151996 h 365118"/>
                <a:gd name="connsiteX64" fmla="*/ 354828 w 365563"/>
                <a:gd name="connsiteY64" fmla="*/ 167333 h 365118"/>
                <a:gd name="connsiteX65" fmla="*/ 354828 w 365563"/>
                <a:gd name="connsiteY65" fmla="*/ 196894 h 365118"/>
                <a:gd name="connsiteX66" fmla="*/ 323183 w 365563"/>
                <a:gd name="connsiteY66" fmla="*/ 212719 h 365118"/>
                <a:gd name="connsiteX67" fmla="*/ 318889 w 365563"/>
                <a:gd name="connsiteY67" fmla="*/ 214867 h 365118"/>
                <a:gd name="connsiteX68" fmla="*/ 317627 w 365563"/>
                <a:gd name="connsiteY68" fmla="*/ 219494 h 365118"/>
                <a:gd name="connsiteX69" fmla="*/ 304620 w 365563"/>
                <a:gd name="connsiteY69" fmla="*/ 250977 h 365118"/>
                <a:gd name="connsiteX70" fmla="*/ 302360 w 365563"/>
                <a:gd name="connsiteY70" fmla="*/ 255089 h 365118"/>
                <a:gd name="connsiteX71" fmla="*/ 303842 w 365563"/>
                <a:gd name="connsiteY71" fmla="*/ 259545 h 365118"/>
                <a:gd name="connsiteX72" fmla="*/ 315168 w 365563"/>
                <a:gd name="connsiteY72" fmla="*/ 293519 h 365118"/>
                <a:gd name="connsiteX73" fmla="*/ 293949 w 365563"/>
                <a:gd name="connsiteY73" fmla="*/ 314744 h 365118"/>
                <a:gd name="connsiteX74" fmla="*/ 259985 w 365563"/>
                <a:gd name="connsiteY74" fmla="*/ 303418 h 365118"/>
                <a:gd name="connsiteX75" fmla="*/ 255395 w 365563"/>
                <a:gd name="connsiteY75" fmla="*/ 301888 h 365118"/>
                <a:gd name="connsiteX76" fmla="*/ 251208 w 365563"/>
                <a:gd name="connsiteY76" fmla="*/ 304314 h 365118"/>
                <a:gd name="connsiteX77" fmla="*/ 220476 w 365563"/>
                <a:gd name="connsiteY77" fmla="*/ 317198 h 365118"/>
                <a:gd name="connsiteX78" fmla="*/ 215849 w 365563"/>
                <a:gd name="connsiteY78" fmla="*/ 318459 h 365118"/>
                <a:gd name="connsiteX79" fmla="*/ 213702 w 365563"/>
                <a:gd name="connsiteY79" fmla="*/ 322754 h 365118"/>
                <a:gd name="connsiteX80" fmla="*/ 197877 w 365563"/>
                <a:gd name="connsiteY80" fmla="*/ 354425 h 365118"/>
                <a:gd name="connsiteX81" fmla="*/ 168224 w 365563"/>
                <a:gd name="connsiteY81" fmla="*/ 354425 h 365118"/>
                <a:gd name="connsiteX82" fmla="*/ 152404 w 365563"/>
                <a:gd name="connsiteY82" fmla="*/ 322754 h 365118"/>
                <a:gd name="connsiteX83" fmla="*/ 150257 w 365563"/>
                <a:gd name="connsiteY83" fmla="*/ 318459 h 365118"/>
                <a:gd name="connsiteX84" fmla="*/ 145624 w 365563"/>
                <a:gd name="connsiteY84" fmla="*/ 317198 h 365118"/>
                <a:gd name="connsiteX85" fmla="*/ 114157 w 365563"/>
                <a:gd name="connsiteY85" fmla="*/ 304185 h 365118"/>
                <a:gd name="connsiteX86" fmla="*/ 110039 w 365563"/>
                <a:gd name="connsiteY86" fmla="*/ 301920 h 365118"/>
                <a:gd name="connsiteX87" fmla="*/ 105584 w 365563"/>
                <a:gd name="connsiteY87" fmla="*/ 303407 h 365118"/>
                <a:gd name="connsiteX88" fmla="*/ 71620 w 365563"/>
                <a:gd name="connsiteY88" fmla="*/ 314734 h 365118"/>
                <a:gd name="connsiteX89" fmla="*/ 50401 w 365563"/>
                <a:gd name="connsiteY89" fmla="*/ 293508 h 365118"/>
                <a:gd name="connsiteX90" fmla="*/ 61732 w 365563"/>
                <a:gd name="connsiteY90" fmla="*/ 259545 h 365118"/>
                <a:gd name="connsiteX91" fmla="*/ 63257 w 365563"/>
                <a:gd name="connsiteY91" fmla="*/ 254955 h 365118"/>
                <a:gd name="connsiteX92" fmla="*/ 60836 w 365563"/>
                <a:gd name="connsiteY92" fmla="*/ 250768 h 365118"/>
                <a:gd name="connsiteX93" fmla="*/ 47953 w 365563"/>
                <a:gd name="connsiteY93" fmla="*/ 220031 h 365118"/>
                <a:gd name="connsiteX94" fmla="*/ 46686 w 365563"/>
                <a:gd name="connsiteY94" fmla="*/ 215403 h 365118"/>
                <a:gd name="connsiteX95" fmla="*/ 42391 w 365563"/>
                <a:gd name="connsiteY95" fmla="*/ 213256 h 365118"/>
                <a:gd name="connsiteX96" fmla="*/ 10736 w 365563"/>
                <a:gd name="connsiteY96" fmla="*/ 197431 h 36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65563" h="365118">
                  <a:moveTo>
                    <a:pt x="51533" y="256147"/>
                  </a:moveTo>
                  <a:lnTo>
                    <a:pt x="38113" y="296407"/>
                  </a:lnTo>
                  <a:lnTo>
                    <a:pt x="68711" y="327005"/>
                  </a:lnTo>
                  <a:lnTo>
                    <a:pt x="108971" y="313585"/>
                  </a:lnTo>
                  <a:cubicBezTo>
                    <a:pt x="119652" y="319559"/>
                    <a:pt x="131004" y="324244"/>
                    <a:pt x="142790" y="327542"/>
                  </a:cubicBezTo>
                  <a:lnTo>
                    <a:pt x="161578" y="365118"/>
                  </a:lnTo>
                  <a:lnTo>
                    <a:pt x="204522" y="365118"/>
                  </a:lnTo>
                  <a:lnTo>
                    <a:pt x="223311" y="327542"/>
                  </a:lnTo>
                  <a:cubicBezTo>
                    <a:pt x="234958" y="324340"/>
                    <a:pt x="246145" y="319649"/>
                    <a:pt x="256592" y="313585"/>
                  </a:cubicBezTo>
                  <a:lnTo>
                    <a:pt x="296853" y="327005"/>
                  </a:lnTo>
                  <a:lnTo>
                    <a:pt x="327451" y="296407"/>
                  </a:lnTo>
                  <a:lnTo>
                    <a:pt x="314030" y="256147"/>
                  </a:lnTo>
                  <a:cubicBezTo>
                    <a:pt x="320002" y="245465"/>
                    <a:pt x="324687" y="234113"/>
                    <a:pt x="327987" y="222328"/>
                  </a:cubicBezTo>
                  <a:lnTo>
                    <a:pt x="365564" y="203540"/>
                  </a:lnTo>
                  <a:lnTo>
                    <a:pt x="365564" y="160596"/>
                  </a:lnTo>
                  <a:lnTo>
                    <a:pt x="327451" y="142344"/>
                  </a:lnTo>
                  <a:cubicBezTo>
                    <a:pt x="324246" y="130697"/>
                    <a:pt x="319555" y="119511"/>
                    <a:pt x="313494" y="109063"/>
                  </a:cubicBezTo>
                  <a:lnTo>
                    <a:pt x="326914" y="68802"/>
                  </a:lnTo>
                  <a:lnTo>
                    <a:pt x="296316" y="38204"/>
                  </a:lnTo>
                  <a:lnTo>
                    <a:pt x="256056" y="51624"/>
                  </a:lnTo>
                  <a:cubicBezTo>
                    <a:pt x="245375" y="45650"/>
                    <a:pt x="234022" y="40965"/>
                    <a:pt x="222237" y="37668"/>
                  </a:cubicBezTo>
                  <a:lnTo>
                    <a:pt x="203986" y="0"/>
                  </a:lnTo>
                  <a:lnTo>
                    <a:pt x="161041" y="0"/>
                  </a:lnTo>
                  <a:lnTo>
                    <a:pt x="142253" y="37576"/>
                  </a:lnTo>
                  <a:cubicBezTo>
                    <a:pt x="130606" y="40778"/>
                    <a:pt x="119419" y="45469"/>
                    <a:pt x="108971" y="51533"/>
                  </a:cubicBezTo>
                  <a:lnTo>
                    <a:pt x="68711" y="38113"/>
                  </a:lnTo>
                  <a:lnTo>
                    <a:pt x="38113" y="68711"/>
                  </a:lnTo>
                  <a:lnTo>
                    <a:pt x="51533" y="108971"/>
                  </a:lnTo>
                  <a:cubicBezTo>
                    <a:pt x="45562" y="119653"/>
                    <a:pt x="40877" y="131005"/>
                    <a:pt x="37576" y="142790"/>
                  </a:cubicBezTo>
                  <a:lnTo>
                    <a:pt x="0" y="161041"/>
                  </a:lnTo>
                  <a:lnTo>
                    <a:pt x="0" y="203986"/>
                  </a:lnTo>
                  <a:lnTo>
                    <a:pt x="37576" y="222774"/>
                  </a:lnTo>
                  <a:cubicBezTo>
                    <a:pt x="40773" y="234452"/>
                    <a:pt x="45465" y="245669"/>
                    <a:pt x="51533" y="256147"/>
                  </a:cubicBezTo>
                  <a:close/>
                  <a:moveTo>
                    <a:pt x="10736" y="167826"/>
                  </a:moveTo>
                  <a:lnTo>
                    <a:pt x="42268" y="152506"/>
                  </a:lnTo>
                  <a:lnTo>
                    <a:pt x="46654" y="150359"/>
                  </a:lnTo>
                  <a:lnTo>
                    <a:pt x="47937" y="145656"/>
                  </a:lnTo>
                  <a:cubicBezTo>
                    <a:pt x="51018" y="134687"/>
                    <a:pt x="55384" y="124119"/>
                    <a:pt x="60943" y="114173"/>
                  </a:cubicBezTo>
                  <a:lnTo>
                    <a:pt x="63203" y="110061"/>
                  </a:lnTo>
                  <a:lnTo>
                    <a:pt x="61722" y="105605"/>
                  </a:lnTo>
                  <a:lnTo>
                    <a:pt x="50395" y="71631"/>
                  </a:lnTo>
                  <a:lnTo>
                    <a:pt x="71615" y="50406"/>
                  </a:lnTo>
                  <a:lnTo>
                    <a:pt x="105579" y="61732"/>
                  </a:lnTo>
                  <a:lnTo>
                    <a:pt x="110168" y="63262"/>
                  </a:lnTo>
                  <a:lnTo>
                    <a:pt x="114355" y="60836"/>
                  </a:lnTo>
                  <a:cubicBezTo>
                    <a:pt x="124001" y="55237"/>
                    <a:pt x="134328" y="50907"/>
                    <a:pt x="145082" y="47953"/>
                  </a:cubicBezTo>
                  <a:lnTo>
                    <a:pt x="149715" y="46691"/>
                  </a:lnTo>
                  <a:lnTo>
                    <a:pt x="151862" y="42397"/>
                  </a:lnTo>
                  <a:lnTo>
                    <a:pt x="167687" y="10736"/>
                  </a:lnTo>
                  <a:lnTo>
                    <a:pt x="197276" y="10736"/>
                  </a:lnTo>
                  <a:lnTo>
                    <a:pt x="212574" y="42300"/>
                  </a:lnTo>
                  <a:lnTo>
                    <a:pt x="214722" y="46680"/>
                  </a:lnTo>
                  <a:lnTo>
                    <a:pt x="219424" y="47963"/>
                  </a:lnTo>
                  <a:cubicBezTo>
                    <a:pt x="230389" y="51050"/>
                    <a:pt x="240953" y="55418"/>
                    <a:pt x="250897" y="60976"/>
                  </a:cubicBezTo>
                  <a:lnTo>
                    <a:pt x="255014" y="63241"/>
                  </a:lnTo>
                  <a:lnTo>
                    <a:pt x="259470" y="61754"/>
                  </a:lnTo>
                  <a:lnTo>
                    <a:pt x="293433" y="50427"/>
                  </a:lnTo>
                  <a:lnTo>
                    <a:pt x="314653" y="71653"/>
                  </a:lnTo>
                  <a:lnTo>
                    <a:pt x="303327" y="105627"/>
                  </a:lnTo>
                  <a:lnTo>
                    <a:pt x="301797" y="110217"/>
                  </a:lnTo>
                  <a:lnTo>
                    <a:pt x="304223" y="114398"/>
                  </a:lnTo>
                  <a:cubicBezTo>
                    <a:pt x="309825" y="124046"/>
                    <a:pt x="314155" y="134378"/>
                    <a:pt x="317106" y="145136"/>
                  </a:cubicBezTo>
                  <a:lnTo>
                    <a:pt x="318400" y="149876"/>
                  </a:lnTo>
                  <a:lnTo>
                    <a:pt x="322829" y="151996"/>
                  </a:lnTo>
                  <a:lnTo>
                    <a:pt x="354828" y="167333"/>
                  </a:lnTo>
                  <a:lnTo>
                    <a:pt x="354828" y="196894"/>
                  </a:lnTo>
                  <a:lnTo>
                    <a:pt x="323183" y="212719"/>
                  </a:lnTo>
                  <a:lnTo>
                    <a:pt x="318889" y="214867"/>
                  </a:lnTo>
                  <a:lnTo>
                    <a:pt x="317627" y="219494"/>
                  </a:lnTo>
                  <a:cubicBezTo>
                    <a:pt x="314544" y="230463"/>
                    <a:pt x="310178" y="241030"/>
                    <a:pt x="304620" y="250977"/>
                  </a:cubicBezTo>
                  <a:lnTo>
                    <a:pt x="302360" y="255089"/>
                  </a:lnTo>
                  <a:lnTo>
                    <a:pt x="303842" y="259545"/>
                  </a:lnTo>
                  <a:lnTo>
                    <a:pt x="315168" y="293519"/>
                  </a:lnTo>
                  <a:lnTo>
                    <a:pt x="293949" y="314744"/>
                  </a:lnTo>
                  <a:lnTo>
                    <a:pt x="259985" y="303418"/>
                  </a:lnTo>
                  <a:lnTo>
                    <a:pt x="255395" y="301888"/>
                  </a:lnTo>
                  <a:lnTo>
                    <a:pt x="251208" y="304314"/>
                  </a:lnTo>
                  <a:cubicBezTo>
                    <a:pt x="241562" y="309914"/>
                    <a:pt x="231232" y="314245"/>
                    <a:pt x="220476" y="317198"/>
                  </a:cubicBezTo>
                  <a:lnTo>
                    <a:pt x="215849" y="318459"/>
                  </a:lnTo>
                  <a:lnTo>
                    <a:pt x="213702" y="322754"/>
                  </a:lnTo>
                  <a:lnTo>
                    <a:pt x="197877" y="354425"/>
                  </a:lnTo>
                  <a:lnTo>
                    <a:pt x="168224" y="354425"/>
                  </a:lnTo>
                  <a:lnTo>
                    <a:pt x="152404" y="322754"/>
                  </a:lnTo>
                  <a:lnTo>
                    <a:pt x="150257" y="318459"/>
                  </a:lnTo>
                  <a:lnTo>
                    <a:pt x="145624" y="317198"/>
                  </a:lnTo>
                  <a:cubicBezTo>
                    <a:pt x="134661" y="314111"/>
                    <a:pt x="124098" y="309744"/>
                    <a:pt x="114157" y="304185"/>
                  </a:cubicBezTo>
                  <a:lnTo>
                    <a:pt x="110039" y="301920"/>
                  </a:lnTo>
                  <a:lnTo>
                    <a:pt x="105584" y="303407"/>
                  </a:lnTo>
                  <a:lnTo>
                    <a:pt x="71620" y="314734"/>
                  </a:lnTo>
                  <a:lnTo>
                    <a:pt x="50401" y="293508"/>
                  </a:lnTo>
                  <a:lnTo>
                    <a:pt x="61732" y="259545"/>
                  </a:lnTo>
                  <a:lnTo>
                    <a:pt x="63257" y="254955"/>
                  </a:lnTo>
                  <a:lnTo>
                    <a:pt x="60836" y="250768"/>
                  </a:lnTo>
                  <a:cubicBezTo>
                    <a:pt x="55233" y="241121"/>
                    <a:pt x="50902" y="230790"/>
                    <a:pt x="47953" y="220031"/>
                  </a:cubicBezTo>
                  <a:lnTo>
                    <a:pt x="46686" y="215403"/>
                  </a:lnTo>
                  <a:lnTo>
                    <a:pt x="42391" y="213256"/>
                  </a:lnTo>
                  <a:lnTo>
                    <a:pt x="10736" y="197431"/>
                  </a:lnTo>
                  <a:close/>
                </a:path>
              </a:pathLst>
            </a:custGeom>
            <a:grpFill/>
            <a:ln w="5358"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8FBE9C4C-3000-8E64-A0D3-3D80A3EE5735}"/>
                </a:ext>
              </a:extLst>
            </p:cNvPr>
            <p:cNvSpPr/>
            <p:nvPr/>
          </p:nvSpPr>
          <p:spPr>
            <a:xfrm>
              <a:off x="10100621" y="4317294"/>
              <a:ext cx="128833" cy="128833"/>
            </a:xfrm>
            <a:custGeom>
              <a:avLst/>
              <a:gdLst>
                <a:gd name="connsiteX0" fmla="*/ 64417 w 128833"/>
                <a:gd name="connsiteY0" fmla="*/ 128833 h 128833"/>
                <a:gd name="connsiteX1" fmla="*/ 128833 w 128833"/>
                <a:gd name="connsiteY1" fmla="*/ 64417 h 128833"/>
                <a:gd name="connsiteX2" fmla="*/ 64417 w 128833"/>
                <a:gd name="connsiteY2" fmla="*/ 0 h 128833"/>
                <a:gd name="connsiteX3" fmla="*/ 0 w 128833"/>
                <a:gd name="connsiteY3" fmla="*/ 64417 h 128833"/>
                <a:gd name="connsiteX4" fmla="*/ 64417 w 128833"/>
                <a:gd name="connsiteY4" fmla="*/ 128833 h 128833"/>
                <a:gd name="connsiteX5" fmla="*/ 64417 w 128833"/>
                <a:gd name="connsiteY5" fmla="*/ 10699 h 128833"/>
                <a:gd name="connsiteX6" fmla="*/ 118097 w 128833"/>
                <a:gd name="connsiteY6" fmla="*/ 64379 h 128833"/>
                <a:gd name="connsiteX7" fmla="*/ 64417 w 128833"/>
                <a:gd name="connsiteY7" fmla="*/ 118059 h 128833"/>
                <a:gd name="connsiteX8" fmla="*/ 10736 w 128833"/>
                <a:gd name="connsiteY8" fmla="*/ 64379 h 128833"/>
                <a:gd name="connsiteX9" fmla="*/ 64417 w 128833"/>
                <a:gd name="connsiteY9" fmla="*/ 10699 h 128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833" h="128833">
                  <a:moveTo>
                    <a:pt x="64417" y="128833"/>
                  </a:moveTo>
                  <a:cubicBezTo>
                    <a:pt x="99993" y="128833"/>
                    <a:pt x="128833" y="99993"/>
                    <a:pt x="128833" y="64417"/>
                  </a:cubicBezTo>
                  <a:cubicBezTo>
                    <a:pt x="128833" y="28840"/>
                    <a:pt x="99993" y="0"/>
                    <a:pt x="64417" y="0"/>
                  </a:cubicBezTo>
                  <a:cubicBezTo>
                    <a:pt x="28840" y="0"/>
                    <a:pt x="0" y="28840"/>
                    <a:pt x="0" y="64417"/>
                  </a:cubicBezTo>
                  <a:cubicBezTo>
                    <a:pt x="112" y="99947"/>
                    <a:pt x="28887" y="128721"/>
                    <a:pt x="64417" y="128833"/>
                  </a:cubicBezTo>
                  <a:close/>
                  <a:moveTo>
                    <a:pt x="64417" y="10699"/>
                  </a:moveTo>
                  <a:cubicBezTo>
                    <a:pt x="94063" y="10699"/>
                    <a:pt x="118097" y="34732"/>
                    <a:pt x="118097" y="64379"/>
                  </a:cubicBezTo>
                  <a:cubicBezTo>
                    <a:pt x="118097" y="94026"/>
                    <a:pt x="94063" y="118059"/>
                    <a:pt x="64417" y="118059"/>
                  </a:cubicBezTo>
                  <a:cubicBezTo>
                    <a:pt x="34770" y="118059"/>
                    <a:pt x="10736" y="94026"/>
                    <a:pt x="10736" y="64379"/>
                  </a:cubicBezTo>
                  <a:cubicBezTo>
                    <a:pt x="10775" y="34748"/>
                    <a:pt x="34785" y="10737"/>
                    <a:pt x="64417" y="10699"/>
                  </a:cubicBezTo>
                  <a:close/>
                </a:path>
              </a:pathLst>
            </a:custGeom>
            <a:grpFill/>
            <a:ln w="5358" cap="flat">
              <a:noFill/>
              <a:prstDash val="solid"/>
              <a:miter/>
            </a:ln>
          </p:spPr>
          <p:txBody>
            <a:bodyPr rtlCol="0" anchor="ctr"/>
            <a:lstStyle/>
            <a:p>
              <a:endParaRPr lang="en-IN"/>
            </a:p>
          </p:txBody>
        </p:sp>
      </p:grpSp>
      <p:grpSp>
        <p:nvGrpSpPr>
          <p:cNvPr id="38" name="Graphic 21" descr="Open hand outline">
            <a:extLst>
              <a:ext uri="{FF2B5EF4-FFF2-40B4-BE49-F238E27FC236}">
                <a16:creationId xmlns:a16="http://schemas.microsoft.com/office/drawing/2014/main" id="{5E189DF4-0C08-C0F9-768F-91B3AD7F3565}"/>
              </a:ext>
            </a:extLst>
          </p:cNvPr>
          <p:cNvGrpSpPr/>
          <p:nvPr/>
        </p:nvGrpSpPr>
        <p:grpSpPr>
          <a:xfrm>
            <a:off x="9772538" y="4645529"/>
            <a:ext cx="719359" cy="311754"/>
            <a:chOff x="9772538" y="4529541"/>
            <a:chExt cx="719359" cy="311754"/>
          </a:xfrm>
          <a:gradFill>
            <a:gsLst>
              <a:gs pos="0">
                <a:srgbClr val="3FB6FA"/>
              </a:gs>
              <a:gs pos="100000">
                <a:srgbClr val="8745A6"/>
              </a:gs>
            </a:gsLst>
            <a:lin ang="10800000" scaled="1"/>
          </a:gradFill>
        </p:grpSpPr>
        <p:sp>
          <p:nvSpPr>
            <p:cNvPr id="39" name="Freeform: Shape 38">
              <a:extLst>
                <a:ext uri="{FF2B5EF4-FFF2-40B4-BE49-F238E27FC236}">
                  <a16:creationId xmlns:a16="http://schemas.microsoft.com/office/drawing/2014/main" id="{5DD6DC99-3836-7C7B-E1E4-97B5085EAFE9}"/>
                </a:ext>
              </a:extLst>
            </p:cNvPr>
            <p:cNvSpPr/>
            <p:nvPr/>
          </p:nvSpPr>
          <p:spPr>
            <a:xfrm>
              <a:off x="9772538" y="4594278"/>
              <a:ext cx="503595" cy="135162"/>
            </a:xfrm>
            <a:custGeom>
              <a:avLst/>
              <a:gdLst>
                <a:gd name="connsiteX0" fmla="*/ 271936 w 503595"/>
                <a:gd name="connsiteY0" fmla="*/ 15977 h 135162"/>
                <a:gd name="connsiteX1" fmla="*/ 463654 w 503595"/>
                <a:gd name="connsiteY1" fmla="*/ 15977 h 135162"/>
                <a:gd name="connsiteX2" fmla="*/ 487619 w 503595"/>
                <a:gd name="connsiteY2" fmla="*/ 39941 h 135162"/>
                <a:gd name="connsiteX3" fmla="*/ 463654 w 503595"/>
                <a:gd name="connsiteY3" fmla="*/ 63906 h 135162"/>
                <a:gd name="connsiteX4" fmla="*/ 319865 w 503595"/>
                <a:gd name="connsiteY4" fmla="*/ 63906 h 135162"/>
                <a:gd name="connsiteX5" fmla="*/ 311877 w 503595"/>
                <a:gd name="connsiteY5" fmla="*/ 71895 h 135162"/>
                <a:gd name="connsiteX6" fmla="*/ 319865 w 503595"/>
                <a:gd name="connsiteY6" fmla="*/ 79883 h 135162"/>
                <a:gd name="connsiteX7" fmla="*/ 463654 w 503595"/>
                <a:gd name="connsiteY7" fmla="*/ 79883 h 135162"/>
                <a:gd name="connsiteX8" fmla="*/ 503596 w 503595"/>
                <a:gd name="connsiteY8" fmla="*/ 39941 h 135162"/>
                <a:gd name="connsiteX9" fmla="*/ 463654 w 503595"/>
                <a:gd name="connsiteY9" fmla="*/ 0 h 135162"/>
                <a:gd name="connsiteX10" fmla="*/ 271936 w 503595"/>
                <a:gd name="connsiteY10" fmla="*/ 0 h 135162"/>
                <a:gd name="connsiteX11" fmla="*/ 230924 w 503595"/>
                <a:gd name="connsiteY11" fmla="*/ 11184 h 135162"/>
                <a:gd name="connsiteX12" fmla="*/ 4855 w 503595"/>
                <a:gd name="connsiteY12" fmla="*/ 119824 h 135162"/>
                <a:gd name="connsiteX13" fmla="*/ 643 w 503595"/>
                <a:gd name="connsiteY13" fmla="*/ 130306 h 135162"/>
                <a:gd name="connsiteX14" fmla="*/ 11125 w 503595"/>
                <a:gd name="connsiteY14" fmla="*/ 134519 h 135162"/>
                <a:gd name="connsiteX15" fmla="*/ 11781 w 503595"/>
                <a:gd name="connsiteY15" fmla="*/ 134203 h 135162"/>
                <a:gd name="connsiteX16" fmla="*/ 238385 w 503595"/>
                <a:gd name="connsiteY16" fmla="*/ 25307 h 135162"/>
                <a:gd name="connsiteX17" fmla="*/ 271936 w 503595"/>
                <a:gd name="connsiteY17" fmla="*/ 15977 h 13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3595" h="135162">
                  <a:moveTo>
                    <a:pt x="271936" y="15977"/>
                  </a:moveTo>
                  <a:lnTo>
                    <a:pt x="463654" y="15977"/>
                  </a:lnTo>
                  <a:cubicBezTo>
                    <a:pt x="476890" y="15977"/>
                    <a:pt x="487619" y="26706"/>
                    <a:pt x="487619" y="39941"/>
                  </a:cubicBezTo>
                  <a:cubicBezTo>
                    <a:pt x="487619" y="53177"/>
                    <a:pt x="476890" y="63906"/>
                    <a:pt x="463654" y="63906"/>
                  </a:cubicBezTo>
                  <a:lnTo>
                    <a:pt x="319865" y="63906"/>
                  </a:lnTo>
                  <a:cubicBezTo>
                    <a:pt x="315453" y="63906"/>
                    <a:pt x="311877" y="67483"/>
                    <a:pt x="311877" y="71895"/>
                  </a:cubicBezTo>
                  <a:cubicBezTo>
                    <a:pt x="311877" y="76306"/>
                    <a:pt x="315453" y="79883"/>
                    <a:pt x="319865" y="79883"/>
                  </a:cubicBezTo>
                  <a:lnTo>
                    <a:pt x="463654" y="79883"/>
                  </a:lnTo>
                  <a:cubicBezTo>
                    <a:pt x="485713" y="79883"/>
                    <a:pt x="503596" y="62000"/>
                    <a:pt x="503596" y="39941"/>
                  </a:cubicBezTo>
                  <a:cubicBezTo>
                    <a:pt x="503596" y="17883"/>
                    <a:pt x="485713" y="0"/>
                    <a:pt x="463654" y="0"/>
                  </a:cubicBezTo>
                  <a:lnTo>
                    <a:pt x="271936" y="0"/>
                  </a:lnTo>
                  <a:cubicBezTo>
                    <a:pt x="257528" y="116"/>
                    <a:pt x="243397" y="3969"/>
                    <a:pt x="230924" y="11184"/>
                  </a:cubicBezTo>
                  <a:lnTo>
                    <a:pt x="4855" y="119824"/>
                  </a:lnTo>
                  <a:cubicBezTo>
                    <a:pt x="798" y="121555"/>
                    <a:pt x="-1088" y="126248"/>
                    <a:pt x="643" y="130306"/>
                  </a:cubicBezTo>
                  <a:cubicBezTo>
                    <a:pt x="2374" y="134364"/>
                    <a:pt x="7067" y="136251"/>
                    <a:pt x="11125" y="134519"/>
                  </a:cubicBezTo>
                  <a:cubicBezTo>
                    <a:pt x="11349" y="134424"/>
                    <a:pt x="11568" y="134318"/>
                    <a:pt x="11781" y="134203"/>
                  </a:cubicBezTo>
                  <a:lnTo>
                    <a:pt x="238385" y="25307"/>
                  </a:lnTo>
                  <a:cubicBezTo>
                    <a:pt x="248555" y="19303"/>
                    <a:pt x="260127" y="16084"/>
                    <a:pt x="271936" y="15977"/>
                  </a:cubicBezTo>
                  <a:close/>
                </a:path>
              </a:pathLst>
            </a:custGeom>
            <a:grpFill/>
            <a:ln w="7938"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E10261A3-8E6B-83C3-6284-1BE198163384}"/>
                </a:ext>
              </a:extLst>
            </p:cNvPr>
            <p:cNvSpPr/>
            <p:nvPr/>
          </p:nvSpPr>
          <p:spPr>
            <a:xfrm>
              <a:off x="9884602" y="4529541"/>
              <a:ext cx="607295" cy="311754"/>
            </a:xfrm>
            <a:custGeom>
              <a:avLst/>
              <a:gdLst>
                <a:gd name="connsiteX0" fmla="*/ 567274 w 607295"/>
                <a:gd name="connsiteY0" fmla="*/ 9 h 311754"/>
                <a:gd name="connsiteX1" fmla="*/ 546505 w 607295"/>
                <a:gd name="connsiteY1" fmla="*/ 5864 h 311754"/>
                <a:gd name="connsiteX2" fmla="*/ 409905 w 607295"/>
                <a:gd name="connsiteY2" fmla="*/ 84149 h 311754"/>
                <a:gd name="connsiteX3" fmla="*/ 406942 w 607295"/>
                <a:gd name="connsiteY3" fmla="*/ 95053 h 311754"/>
                <a:gd name="connsiteX4" fmla="*/ 417846 w 607295"/>
                <a:gd name="connsiteY4" fmla="*/ 98017 h 311754"/>
                <a:gd name="connsiteX5" fmla="*/ 554965 w 607295"/>
                <a:gd name="connsiteY5" fmla="*/ 19436 h 311754"/>
                <a:gd name="connsiteX6" fmla="*/ 567274 w 607295"/>
                <a:gd name="connsiteY6" fmla="*/ 15985 h 311754"/>
                <a:gd name="connsiteX7" fmla="*/ 591239 w 607295"/>
                <a:gd name="connsiteY7" fmla="*/ 39950 h 311754"/>
                <a:gd name="connsiteX8" fmla="*/ 582804 w 607295"/>
                <a:gd name="connsiteY8" fmla="*/ 58659 h 311754"/>
                <a:gd name="connsiteX9" fmla="*/ 363757 w 607295"/>
                <a:gd name="connsiteY9" fmla="*/ 218824 h 311754"/>
                <a:gd name="connsiteX10" fmla="*/ 349218 w 607295"/>
                <a:gd name="connsiteY10" fmla="*/ 223729 h 311754"/>
                <a:gd name="connsiteX11" fmla="*/ 199814 w 607295"/>
                <a:gd name="connsiteY11" fmla="*/ 223729 h 311754"/>
                <a:gd name="connsiteX12" fmla="*/ 2439 w 607295"/>
                <a:gd name="connsiteY12" fmla="*/ 298020 h 311754"/>
                <a:gd name="connsiteX13" fmla="*/ 2243 w 607295"/>
                <a:gd name="connsiteY13" fmla="*/ 309315 h 311754"/>
                <a:gd name="connsiteX14" fmla="*/ 13538 w 607295"/>
                <a:gd name="connsiteY14" fmla="*/ 309512 h 311754"/>
                <a:gd name="connsiteX15" fmla="*/ 13734 w 607295"/>
                <a:gd name="connsiteY15" fmla="*/ 309315 h 311754"/>
                <a:gd name="connsiteX16" fmla="*/ 199814 w 607295"/>
                <a:gd name="connsiteY16" fmla="*/ 239737 h 311754"/>
                <a:gd name="connsiteX17" fmla="*/ 349194 w 607295"/>
                <a:gd name="connsiteY17" fmla="*/ 239737 h 311754"/>
                <a:gd name="connsiteX18" fmla="*/ 373087 w 607295"/>
                <a:gd name="connsiteY18" fmla="*/ 231805 h 311754"/>
                <a:gd name="connsiteX19" fmla="*/ 592837 w 607295"/>
                <a:gd name="connsiteY19" fmla="*/ 71184 h 311754"/>
                <a:gd name="connsiteX20" fmla="*/ 593772 w 607295"/>
                <a:gd name="connsiteY20" fmla="*/ 70385 h 311754"/>
                <a:gd name="connsiteX21" fmla="*/ 607296 w 607295"/>
                <a:gd name="connsiteY21" fmla="*/ 39966 h 311754"/>
                <a:gd name="connsiteX22" fmla="*/ 567274 w 607295"/>
                <a:gd name="connsiteY22" fmla="*/ 9 h 31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7295" h="311754">
                  <a:moveTo>
                    <a:pt x="567274" y="9"/>
                  </a:moveTo>
                  <a:cubicBezTo>
                    <a:pt x="559923" y="-151"/>
                    <a:pt x="552690" y="1888"/>
                    <a:pt x="546505" y="5864"/>
                  </a:cubicBezTo>
                  <a:lnTo>
                    <a:pt x="409905" y="84149"/>
                  </a:lnTo>
                  <a:cubicBezTo>
                    <a:pt x="406076" y="86342"/>
                    <a:pt x="404749" y="91224"/>
                    <a:pt x="406942" y="95053"/>
                  </a:cubicBezTo>
                  <a:cubicBezTo>
                    <a:pt x="409134" y="98883"/>
                    <a:pt x="414016" y="100210"/>
                    <a:pt x="417846" y="98017"/>
                  </a:cubicBezTo>
                  <a:lnTo>
                    <a:pt x="554965" y="19436"/>
                  </a:lnTo>
                  <a:cubicBezTo>
                    <a:pt x="558625" y="17069"/>
                    <a:pt x="562917" y="15865"/>
                    <a:pt x="567274" y="15985"/>
                  </a:cubicBezTo>
                  <a:cubicBezTo>
                    <a:pt x="580510" y="15985"/>
                    <a:pt x="591239" y="26714"/>
                    <a:pt x="591239" y="39950"/>
                  </a:cubicBezTo>
                  <a:cubicBezTo>
                    <a:pt x="590921" y="47035"/>
                    <a:pt x="587902" y="53729"/>
                    <a:pt x="582804" y="58659"/>
                  </a:cubicBezTo>
                  <a:lnTo>
                    <a:pt x="363757" y="218824"/>
                  </a:lnTo>
                  <a:cubicBezTo>
                    <a:pt x="359565" y="221980"/>
                    <a:pt x="354466" y="223701"/>
                    <a:pt x="349218" y="223729"/>
                  </a:cubicBezTo>
                  <a:lnTo>
                    <a:pt x="199814" y="223729"/>
                  </a:lnTo>
                  <a:cubicBezTo>
                    <a:pt x="118109" y="223729"/>
                    <a:pt x="51695" y="248716"/>
                    <a:pt x="2439" y="298020"/>
                  </a:cubicBezTo>
                  <a:cubicBezTo>
                    <a:pt x="-735" y="301085"/>
                    <a:pt x="-823" y="306141"/>
                    <a:pt x="2243" y="309315"/>
                  </a:cubicBezTo>
                  <a:cubicBezTo>
                    <a:pt x="5308" y="312489"/>
                    <a:pt x="10365" y="312577"/>
                    <a:pt x="13538" y="309512"/>
                  </a:cubicBezTo>
                  <a:cubicBezTo>
                    <a:pt x="13605" y="309447"/>
                    <a:pt x="13671" y="309381"/>
                    <a:pt x="13734" y="309315"/>
                  </a:cubicBezTo>
                  <a:cubicBezTo>
                    <a:pt x="59891" y="263143"/>
                    <a:pt x="122503" y="239737"/>
                    <a:pt x="199814" y="239737"/>
                  </a:cubicBezTo>
                  <a:lnTo>
                    <a:pt x="349194" y="239737"/>
                  </a:lnTo>
                  <a:cubicBezTo>
                    <a:pt x="357800" y="239704"/>
                    <a:pt x="366170" y="236925"/>
                    <a:pt x="373087" y="231805"/>
                  </a:cubicBezTo>
                  <a:lnTo>
                    <a:pt x="592837" y="71184"/>
                  </a:lnTo>
                  <a:lnTo>
                    <a:pt x="593772" y="70385"/>
                  </a:lnTo>
                  <a:cubicBezTo>
                    <a:pt x="602148" y="62450"/>
                    <a:pt x="607015" y="51502"/>
                    <a:pt x="607296" y="39966"/>
                  </a:cubicBezTo>
                  <a:cubicBezTo>
                    <a:pt x="607273" y="17883"/>
                    <a:pt x="589358" y="-5"/>
                    <a:pt x="567274" y="9"/>
                  </a:cubicBezTo>
                  <a:close/>
                </a:path>
              </a:pathLst>
            </a:custGeom>
            <a:grpFill/>
            <a:ln w="7938" cap="flat">
              <a:noFill/>
              <a:prstDash val="solid"/>
              <a:miter/>
            </a:ln>
          </p:spPr>
          <p:txBody>
            <a:bodyPr rtlCol="0" anchor="ctr"/>
            <a:lstStyle/>
            <a:p>
              <a:endParaRPr lang="en-IN"/>
            </a:p>
          </p:txBody>
        </p:sp>
      </p:grpSp>
      <p:grpSp>
        <p:nvGrpSpPr>
          <p:cNvPr id="33" name="Graphic 26" descr="Hurdle outline">
            <a:extLst>
              <a:ext uri="{FF2B5EF4-FFF2-40B4-BE49-F238E27FC236}">
                <a16:creationId xmlns:a16="http://schemas.microsoft.com/office/drawing/2014/main" id="{E5181925-8CD2-E0F6-7D9B-8D69D3BE4EBB}"/>
              </a:ext>
            </a:extLst>
          </p:cNvPr>
          <p:cNvGrpSpPr/>
          <p:nvPr/>
        </p:nvGrpSpPr>
        <p:grpSpPr>
          <a:xfrm>
            <a:off x="5880280" y="4339202"/>
            <a:ext cx="588773" cy="671942"/>
            <a:chOff x="5880280" y="4223214"/>
            <a:chExt cx="588773" cy="671942"/>
          </a:xfrm>
          <a:gradFill>
            <a:gsLst>
              <a:gs pos="0">
                <a:srgbClr val="3FB6FA"/>
              </a:gs>
              <a:gs pos="100000">
                <a:srgbClr val="8745A6"/>
              </a:gs>
            </a:gsLst>
            <a:lin ang="10800000" scaled="1"/>
          </a:gradFill>
        </p:grpSpPr>
        <p:sp>
          <p:nvSpPr>
            <p:cNvPr id="34" name="Freeform: Shape 33">
              <a:extLst>
                <a:ext uri="{FF2B5EF4-FFF2-40B4-BE49-F238E27FC236}">
                  <a16:creationId xmlns:a16="http://schemas.microsoft.com/office/drawing/2014/main" id="{4CE3F3EE-5CF3-7C57-5796-35405F54C167}"/>
                </a:ext>
              </a:extLst>
            </p:cNvPr>
            <p:cNvSpPr/>
            <p:nvPr/>
          </p:nvSpPr>
          <p:spPr>
            <a:xfrm>
              <a:off x="6068985" y="4573643"/>
              <a:ext cx="303554" cy="321512"/>
            </a:xfrm>
            <a:custGeom>
              <a:avLst/>
              <a:gdLst>
                <a:gd name="connsiteX0" fmla="*/ 43520 w 303554"/>
                <a:gd name="connsiteY0" fmla="*/ 90651 h 321512"/>
                <a:gd name="connsiteX1" fmla="*/ 38928 w 303554"/>
                <a:gd name="connsiteY1" fmla="*/ 100973 h 321512"/>
                <a:gd name="connsiteX2" fmla="*/ 49249 w 303554"/>
                <a:gd name="connsiteY2" fmla="*/ 105565 h 321512"/>
                <a:gd name="connsiteX3" fmla="*/ 49543 w 303554"/>
                <a:gd name="connsiteY3" fmla="*/ 105445 h 321512"/>
                <a:gd name="connsiteX4" fmla="*/ 71895 w 303554"/>
                <a:gd name="connsiteY4" fmla="*/ 96355 h 321512"/>
                <a:gd name="connsiteX5" fmla="*/ 71895 w 303554"/>
                <a:gd name="connsiteY5" fmla="*/ 305536 h 321512"/>
                <a:gd name="connsiteX6" fmla="*/ 0 w 303554"/>
                <a:gd name="connsiteY6" fmla="*/ 305536 h 321512"/>
                <a:gd name="connsiteX7" fmla="*/ 0 w 303554"/>
                <a:gd name="connsiteY7" fmla="*/ 321512 h 321512"/>
                <a:gd name="connsiteX8" fmla="*/ 87871 w 303554"/>
                <a:gd name="connsiteY8" fmla="*/ 321512 h 321512"/>
                <a:gd name="connsiteX9" fmla="*/ 87871 w 303554"/>
                <a:gd name="connsiteY9" fmla="*/ 89852 h 321512"/>
                <a:gd name="connsiteX10" fmla="*/ 287466 w 303554"/>
                <a:gd name="connsiteY10" fmla="*/ 8643 h 321512"/>
                <a:gd name="connsiteX11" fmla="*/ 287578 w 303554"/>
                <a:gd name="connsiteY11" fmla="*/ 8715 h 321512"/>
                <a:gd name="connsiteX12" fmla="*/ 287578 w 303554"/>
                <a:gd name="connsiteY12" fmla="*/ 217665 h 321512"/>
                <a:gd name="connsiteX13" fmla="*/ 215684 w 303554"/>
                <a:gd name="connsiteY13" fmla="*/ 217665 h 321512"/>
                <a:gd name="connsiteX14" fmla="*/ 215684 w 303554"/>
                <a:gd name="connsiteY14" fmla="*/ 233641 h 321512"/>
                <a:gd name="connsiteX15" fmla="*/ 303555 w 303554"/>
                <a:gd name="connsiteY15" fmla="*/ 233641 h 321512"/>
                <a:gd name="connsiteX16" fmla="*/ 303555 w 303554"/>
                <a:gd name="connsiteY16" fmla="*/ 10936 h 321512"/>
                <a:gd name="connsiteX17" fmla="*/ 266321 w 303554"/>
                <a:gd name="connsiteY17" fmla="*/ 0 h 32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3554" h="321512">
                  <a:moveTo>
                    <a:pt x="43520" y="90651"/>
                  </a:moveTo>
                  <a:cubicBezTo>
                    <a:pt x="39401" y="92233"/>
                    <a:pt x="37346" y="96854"/>
                    <a:pt x="38928" y="100973"/>
                  </a:cubicBezTo>
                  <a:cubicBezTo>
                    <a:pt x="40509" y="105091"/>
                    <a:pt x="45131" y="107147"/>
                    <a:pt x="49249" y="105565"/>
                  </a:cubicBezTo>
                  <a:cubicBezTo>
                    <a:pt x="49348" y="105527"/>
                    <a:pt x="49446" y="105487"/>
                    <a:pt x="49543" y="105445"/>
                  </a:cubicBezTo>
                  <a:lnTo>
                    <a:pt x="71895" y="96355"/>
                  </a:lnTo>
                  <a:lnTo>
                    <a:pt x="71895" y="305536"/>
                  </a:lnTo>
                  <a:lnTo>
                    <a:pt x="0" y="305536"/>
                  </a:lnTo>
                  <a:lnTo>
                    <a:pt x="0" y="321512"/>
                  </a:lnTo>
                  <a:lnTo>
                    <a:pt x="87871" y="321512"/>
                  </a:lnTo>
                  <a:lnTo>
                    <a:pt x="87871" y="89852"/>
                  </a:lnTo>
                  <a:lnTo>
                    <a:pt x="287466" y="8643"/>
                  </a:lnTo>
                  <a:lnTo>
                    <a:pt x="287578" y="8715"/>
                  </a:lnTo>
                  <a:lnTo>
                    <a:pt x="287578" y="217665"/>
                  </a:lnTo>
                  <a:lnTo>
                    <a:pt x="215684" y="217665"/>
                  </a:lnTo>
                  <a:lnTo>
                    <a:pt x="215684" y="233641"/>
                  </a:lnTo>
                  <a:lnTo>
                    <a:pt x="303555" y="233641"/>
                  </a:lnTo>
                  <a:lnTo>
                    <a:pt x="303555" y="10936"/>
                  </a:lnTo>
                  <a:lnTo>
                    <a:pt x="266321" y="0"/>
                  </a:lnTo>
                  <a:close/>
                </a:path>
              </a:pathLst>
            </a:custGeom>
            <a:grpFill/>
            <a:ln w="7938" cap="flat">
              <a:no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51E51C87-F014-CE45-DA46-26FF4BD168CF}"/>
                </a:ext>
              </a:extLst>
            </p:cNvPr>
            <p:cNvSpPr/>
            <p:nvPr/>
          </p:nvSpPr>
          <p:spPr>
            <a:xfrm>
              <a:off x="6226570" y="4223214"/>
              <a:ext cx="99054" cy="99054"/>
            </a:xfrm>
            <a:custGeom>
              <a:avLst/>
              <a:gdLst>
                <a:gd name="connsiteX0" fmla="*/ 49527 w 99054"/>
                <a:gd name="connsiteY0" fmla="*/ 99055 h 99054"/>
                <a:gd name="connsiteX1" fmla="*/ 99055 w 99054"/>
                <a:gd name="connsiteY1" fmla="*/ 49527 h 99054"/>
                <a:gd name="connsiteX2" fmla="*/ 49527 w 99054"/>
                <a:gd name="connsiteY2" fmla="*/ 0 h 99054"/>
                <a:gd name="connsiteX3" fmla="*/ 0 w 99054"/>
                <a:gd name="connsiteY3" fmla="*/ 49527 h 99054"/>
                <a:gd name="connsiteX4" fmla="*/ 49527 w 99054"/>
                <a:gd name="connsiteY4" fmla="*/ 99055 h 99054"/>
                <a:gd name="connsiteX5" fmla="*/ 49527 w 99054"/>
                <a:gd name="connsiteY5" fmla="*/ 15977 h 99054"/>
                <a:gd name="connsiteX6" fmla="*/ 83078 w 99054"/>
                <a:gd name="connsiteY6" fmla="*/ 49527 h 99054"/>
                <a:gd name="connsiteX7" fmla="*/ 49527 w 99054"/>
                <a:gd name="connsiteY7" fmla="*/ 83078 h 99054"/>
                <a:gd name="connsiteX8" fmla="*/ 15977 w 99054"/>
                <a:gd name="connsiteY8" fmla="*/ 49527 h 99054"/>
                <a:gd name="connsiteX9" fmla="*/ 49527 w 99054"/>
                <a:gd name="connsiteY9" fmla="*/ 15953 h 9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054" h="99054">
                  <a:moveTo>
                    <a:pt x="49527" y="99055"/>
                  </a:moveTo>
                  <a:cubicBezTo>
                    <a:pt x="76881" y="99055"/>
                    <a:pt x="99055" y="76881"/>
                    <a:pt x="99055" y="49527"/>
                  </a:cubicBezTo>
                  <a:cubicBezTo>
                    <a:pt x="99055" y="22174"/>
                    <a:pt x="76881" y="0"/>
                    <a:pt x="49527" y="0"/>
                  </a:cubicBezTo>
                  <a:cubicBezTo>
                    <a:pt x="22174" y="0"/>
                    <a:pt x="0" y="22174"/>
                    <a:pt x="0" y="49527"/>
                  </a:cubicBezTo>
                  <a:cubicBezTo>
                    <a:pt x="0" y="76881"/>
                    <a:pt x="22174" y="99055"/>
                    <a:pt x="49527" y="99055"/>
                  </a:cubicBezTo>
                  <a:close/>
                  <a:moveTo>
                    <a:pt x="49527" y="15977"/>
                  </a:moveTo>
                  <a:cubicBezTo>
                    <a:pt x="68057" y="15977"/>
                    <a:pt x="83078" y="30998"/>
                    <a:pt x="83078" y="49527"/>
                  </a:cubicBezTo>
                  <a:cubicBezTo>
                    <a:pt x="83078" y="68057"/>
                    <a:pt x="68057" y="83078"/>
                    <a:pt x="49527" y="83078"/>
                  </a:cubicBezTo>
                  <a:cubicBezTo>
                    <a:pt x="30998" y="83078"/>
                    <a:pt x="15977" y="68057"/>
                    <a:pt x="15977" y="49527"/>
                  </a:cubicBezTo>
                  <a:cubicBezTo>
                    <a:pt x="15985" y="30998"/>
                    <a:pt x="30998" y="15975"/>
                    <a:pt x="49527" y="15953"/>
                  </a:cubicBezTo>
                  <a:close/>
                </a:path>
              </a:pathLst>
            </a:custGeom>
            <a:grpFill/>
            <a:ln w="7938"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7BC29C41-D364-05B3-7559-14030D5C85E9}"/>
                </a:ext>
              </a:extLst>
            </p:cNvPr>
            <p:cNvSpPr/>
            <p:nvPr/>
          </p:nvSpPr>
          <p:spPr>
            <a:xfrm>
              <a:off x="5880280" y="4327988"/>
              <a:ext cx="588773" cy="351484"/>
            </a:xfrm>
            <a:custGeom>
              <a:avLst/>
              <a:gdLst>
                <a:gd name="connsiteX0" fmla="*/ 584045 w 588773"/>
                <a:gd name="connsiteY0" fmla="*/ 197950 h 351484"/>
                <a:gd name="connsiteX1" fmla="*/ 560959 w 588773"/>
                <a:gd name="connsiteY1" fmla="*/ 179329 h 351484"/>
                <a:gd name="connsiteX2" fmla="*/ 410779 w 588773"/>
                <a:gd name="connsiteY2" fmla="*/ 135218 h 351484"/>
                <a:gd name="connsiteX3" fmla="*/ 392797 w 588773"/>
                <a:gd name="connsiteY3" fmla="*/ 134307 h 351484"/>
                <a:gd name="connsiteX4" fmla="*/ 349469 w 588773"/>
                <a:gd name="connsiteY4" fmla="*/ 142343 h 351484"/>
                <a:gd name="connsiteX5" fmla="*/ 386295 w 588773"/>
                <a:gd name="connsiteY5" fmla="*/ 96906 h 351484"/>
                <a:gd name="connsiteX6" fmla="*/ 390768 w 588773"/>
                <a:gd name="connsiteY6" fmla="*/ 98320 h 351484"/>
                <a:gd name="connsiteX7" fmla="*/ 506718 w 588773"/>
                <a:gd name="connsiteY7" fmla="*/ 137007 h 351484"/>
                <a:gd name="connsiteX8" fmla="*/ 555627 w 588773"/>
                <a:gd name="connsiteY8" fmla="*/ 112310 h 351484"/>
                <a:gd name="connsiteX9" fmla="*/ 555631 w 588773"/>
                <a:gd name="connsiteY9" fmla="*/ 112299 h 351484"/>
                <a:gd name="connsiteX10" fmla="*/ 531202 w 588773"/>
                <a:gd name="connsiteY10" fmla="*/ 63475 h 351484"/>
                <a:gd name="connsiteX11" fmla="*/ 346769 w 588773"/>
                <a:gd name="connsiteY11" fmla="*/ 1965 h 351484"/>
                <a:gd name="connsiteX12" fmla="*/ 340458 w 588773"/>
                <a:gd name="connsiteY12" fmla="*/ 367 h 351484"/>
                <a:gd name="connsiteX13" fmla="*/ 334395 w 588773"/>
                <a:gd name="connsiteY13" fmla="*/ 0 h 351484"/>
                <a:gd name="connsiteX14" fmla="*/ 212334 w 588773"/>
                <a:gd name="connsiteY14" fmla="*/ 0 h 351484"/>
                <a:gd name="connsiteX15" fmla="*/ 183576 w 588773"/>
                <a:gd name="connsiteY15" fmla="*/ 12781 h 351484"/>
                <a:gd name="connsiteX16" fmla="*/ 121603 w 588773"/>
                <a:gd name="connsiteY16" fmla="*/ 81409 h 351484"/>
                <a:gd name="connsiteX17" fmla="*/ 123211 w 588773"/>
                <a:gd name="connsiteY17" fmla="*/ 136176 h 351484"/>
                <a:gd name="connsiteX18" fmla="*/ 147965 w 588773"/>
                <a:gd name="connsiteY18" fmla="*/ 146689 h 351484"/>
                <a:gd name="connsiteX19" fmla="*/ 178624 w 588773"/>
                <a:gd name="connsiteY19" fmla="*/ 133956 h 351484"/>
                <a:gd name="connsiteX20" fmla="*/ 229549 w 588773"/>
                <a:gd name="connsiteY20" fmla="*/ 77486 h 351484"/>
                <a:gd name="connsiteX21" fmla="*/ 238009 w 588773"/>
                <a:gd name="connsiteY21" fmla="*/ 77486 h 351484"/>
                <a:gd name="connsiteX22" fmla="*/ 250534 w 588773"/>
                <a:gd name="connsiteY22" fmla="*/ 61510 h 351484"/>
                <a:gd name="connsiteX23" fmla="*/ 222455 w 588773"/>
                <a:gd name="connsiteY23" fmla="*/ 61510 h 351484"/>
                <a:gd name="connsiteX24" fmla="*/ 166753 w 588773"/>
                <a:gd name="connsiteY24" fmla="*/ 123227 h 351484"/>
                <a:gd name="connsiteX25" fmla="*/ 134541 w 588773"/>
                <a:gd name="connsiteY25" fmla="*/ 124853 h 351484"/>
                <a:gd name="connsiteX26" fmla="*/ 131333 w 588773"/>
                <a:gd name="connsiteY26" fmla="*/ 121270 h 351484"/>
                <a:gd name="connsiteX27" fmla="*/ 133482 w 588773"/>
                <a:gd name="connsiteY27" fmla="*/ 92089 h 351484"/>
                <a:gd name="connsiteX28" fmla="*/ 195439 w 588773"/>
                <a:gd name="connsiteY28" fmla="*/ 23462 h 351484"/>
                <a:gd name="connsiteX29" fmla="*/ 212334 w 588773"/>
                <a:gd name="connsiteY29" fmla="*/ 15977 h 351484"/>
                <a:gd name="connsiteX30" fmla="*/ 334451 w 588773"/>
                <a:gd name="connsiteY30" fmla="*/ 15977 h 351484"/>
                <a:gd name="connsiteX31" fmla="*/ 338078 w 588773"/>
                <a:gd name="connsiteY31" fmla="*/ 16096 h 351484"/>
                <a:gd name="connsiteX32" fmla="*/ 341896 w 588773"/>
                <a:gd name="connsiteY32" fmla="*/ 17151 h 351484"/>
                <a:gd name="connsiteX33" fmla="*/ 526098 w 588773"/>
                <a:gd name="connsiteY33" fmla="*/ 78661 h 351484"/>
                <a:gd name="connsiteX34" fmla="*/ 540382 w 588773"/>
                <a:gd name="connsiteY34" fmla="*/ 107528 h 351484"/>
                <a:gd name="connsiteX35" fmla="*/ 529070 w 588773"/>
                <a:gd name="connsiteY35" fmla="*/ 120567 h 351484"/>
                <a:gd name="connsiteX36" fmla="*/ 511727 w 588773"/>
                <a:gd name="connsiteY36" fmla="*/ 121877 h 351484"/>
                <a:gd name="connsiteX37" fmla="*/ 380887 w 588773"/>
                <a:gd name="connsiteY37" fmla="*/ 78181 h 351484"/>
                <a:gd name="connsiteX38" fmla="*/ 372284 w 588773"/>
                <a:gd name="connsiteY38" fmla="*/ 75785 h 351484"/>
                <a:gd name="connsiteX39" fmla="*/ 362119 w 588773"/>
                <a:gd name="connsiteY39" fmla="*/ 80715 h 351484"/>
                <a:gd name="connsiteX40" fmla="*/ 367050 w 588773"/>
                <a:gd name="connsiteY40" fmla="*/ 90880 h 351484"/>
                <a:gd name="connsiteX41" fmla="*/ 367491 w 588773"/>
                <a:gd name="connsiteY41" fmla="*/ 91018 h 351484"/>
                <a:gd name="connsiteX42" fmla="*/ 369887 w 588773"/>
                <a:gd name="connsiteY42" fmla="*/ 91817 h 351484"/>
                <a:gd name="connsiteX43" fmla="*/ 330529 w 588773"/>
                <a:gd name="connsiteY43" fmla="*/ 140378 h 351484"/>
                <a:gd name="connsiteX44" fmla="*/ 309679 w 588773"/>
                <a:gd name="connsiteY44" fmla="*/ 164463 h 351484"/>
                <a:gd name="connsiteX45" fmla="*/ 310600 w 588773"/>
                <a:gd name="connsiteY45" fmla="*/ 175722 h 351484"/>
                <a:gd name="connsiteX46" fmla="*/ 321758 w 588773"/>
                <a:gd name="connsiteY46" fmla="*/ 174919 h 351484"/>
                <a:gd name="connsiteX47" fmla="*/ 333221 w 588773"/>
                <a:gd name="connsiteY47" fmla="*/ 161683 h 351484"/>
                <a:gd name="connsiteX48" fmla="*/ 395681 w 588773"/>
                <a:gd name="connsiteY48" fmla="*/ 150084 h 351484"/>
                <a:gd name="connsiteX49" fmla="*/ 406266 w 588773"/>
                <a:gd name="connsiteY49" fmla="*/ 150627 h 351484"/>
                <a:gd name="connsiteX50" fmla="*/ 556445 w 588773"/>
                <a:gd name="connsiteY50" fmla="*/ 194730 h 351484"/>
                <a:gd name="connsiteX51" fmla="*/ 571875 w 588773"/>
                <a:gd name="connsiteY51" fmla="*/ 223005 h 351484"/>
                <a:gd name="connsiteX52" fmla="*/ 543600 w 588773"/>
                <a:gd name="connsiteY52" fmla="*/ 238434 h 351484"/>
                <a:gd name="connsiteX53" fmla="*/ 398685 w 588773"/>
                <a:gd name="connsiteY53" fmla="*/ 195801 h 351484"/>
                <a:gd name="connsiteX54" fmla="*/ 237809 w 588773"/>
                <a:gd name="connsiteY54" fmla="*/ 225653 h 351484"/>
                <a:gd name="connsiteX55" fmla="*/ 237050 w 588773"/>
                <a:gd name="connsiteY55" fmla="*/ 225957 h 351484"/>
                <a:gd name="connsiteX56" fmla="*/ 228990 w 588773"/>
                <a:gd name="connsiteY56" fmla="*/ 231421 h 351484"/>
                <a:gd name="connsiteX57" fmla="*/ 207669 w 588773"/>
                <a:gd name="connsiteY57" fmla="*/ 299960 h 351484"/>
                <a:gd name="connsiteX58" fmla="*/ 188833 w 588773"/>
                <a:gd name="connsiteY58" fmla="*/ 316000 h 351484"/>
                <a:gd name="connsiteX59" fmla="*/ 41848 w 588773"/>
                <a:gd name="connsiteY59" fmla="*/ 335308 h 351484"/>
                <a:gd name="connsiteX60" fmla="*/ 38869 w 588773"/>
                <a:gd name="connsiteY60" fmla="*/ 335508 h 351484"/>
                <a:gd name="connsiteX61" fmla="*/ 38869 w 588773"/>
                <a:gd name="connsiteY61" fmla="*/ 335508 h 351484"/>
                <a:gd name="connsiteX62" fmla="*/ 16087 w 588773"/>
                <a:gd name="connsiteY62" fmla="*/ 312740 h 351484"/>
                <a:gd name="connsiteX63" fmla="*/ 35913 w 588773"/>
                <a:gd name="connsiteY63" fmla="*/ 290150 h 351484"/>
                <a:gd name="connsiteX64" fmla="*/ 168071 w 588773"/>
                <a:gd name="connsiteY64" fmla="*/ 272776 h 351484"/>
                <a:gd name="connsiteX65" fmla="*/ 195351 w 588773"/>
                <a:gd name="connsiteY65" fmla="*/ 191200 h 351484"/>
                <a:gd name="connsiteX66" fmla="*/ 273588 w 588773"/>
                <a:gd name="connsiteY66" fmla="*/ 84157 h 351484"/>
                <a:gd name="connsiteX67" fmla="*/ 294038 w 588773"/>
                <a:gd name="connsiteY67" fmla="*/ 58075 h 351484"/>
                <a:gd name="connsiteX68" fmla="*/ 292680 w 588773"/>
                <a:gd name="connsiteY68" fmla="*/ 46859 h 351484"/>
                <a:gd name="connsiteX69" fmla="*/ 281465 w 588773"/>
                <a:gd name="connsiteY69" fmla="*/ 48217 h 351484"/>
                <a:gd name="connsiteX70" fmla="*/ 270984 w 588773"/>
                <a:gd name="connsiteY70" fmla="*/ 61510 h 351484"/>
                <a:gd name="connsiteX71" fmla="*/ 270824 w 588773"/>
                <a:gd name="connsiteY71" fmla="*/ 61510 h 351484"/>
                <a:gd name="connsiteX72" fmla="*/ 258299 w 588773"/>
                <a:gd name="connsiteY72" fmla="*/ 77486 h 351484"/>
                <a:gd name="connsiteX73" fmla="*/ 258586 w 588773"/>
                <a:gd name="connsiteY73" fmla="*/ 77486 h 351484"/>
                <a:gd name="connsiteX74" fmla="*/ 181475 w 588773"/>
                <a:gd name="connsiteY74" fmla="*/ 183155 h 351484"/>
                <a:gd name="connsiteX75" fmla="*/ 180541 w 588773"/>
                <a:gd name="connsiteY75" fmla="*/ 185065 h 351484"/>
                <a:gd name="connsiteX76" fmla="*/ 156081 w 588773"/>
                <a:gd name="connsiteY76" fmla="*/ 258213 h 351484"/>
                <a:gd name="connsiteX77" fmla="*/ 33860 w 588773"/>
                <a:gd name="connsiteY77" fmla="*/ 274278 h 351484"/>
                <a:gd name="connsiteX78" fmla="*/ 316 w 588773"/>
                <a:gd name="connsiteY78" fmla="*/ 317628 h 351484"/>
                <a:gd name="connsiteX79" fmla="*/ 38877 w 588773"/>
                <a:gd name="connsiteY79" fmla="*/ 351484 h 351484"/>
                <a:gd name="connsiteX80" fmla="*/ 38877 w 588773"/>
                <a:gd name="connsiteY80" fmla="*/ 351484 h 351484"/>
                <a:gd name="connsiteX81" fmla="*/ 43957 w 588773"/>
                <a:gd name="connsiteY81" fmla="*/ 351149 h 351484"/>
                <a:gd name="connsiteX82" fmla="*/ 190942 w 588773"/>
                <a:gd name="connsiteY82" fmla="*/ 331849 h 351484"/>
                <a:gd name="connsiteX83" fmla="*/ 222983 w 588773"/>
                <a:gd name="connsiteY83" fmla="*/ 304625 h 351484"/>
                <a:gd name="connsiteX84" fmla="*/ 242786 w 588773"/>
                <a:gd name="connsiteY84" fmla="*/ 240990 h 351484"/>
                <a:gd name="connsiteX85" fmla="*/ 397878 w 588773"/>
                <a:gd name="connsiteY85" fmla="*/ 212233 h 351484"/>
                <a:gd name="connsiteX86" fmla="*/ 491269 w 588773"/>
                <a:gd name="connsiteY86" fmla="*/ 239648 h 351484"/>
                <a:gd name="connsiteX87" fmla="*/ 491269 w 588773"/>
                <a:gd name="connsiteY87" fmla="*/ 239648 h 351484"/>
                <a:gd name="connsiteX88" fmla="*/ 492260 w 588773"/>
                <a:gd name="connsiteY88" fmla="*/ 239936 h 351484"/>
                <a:gd name="connsiteX89" fmla="*/ 492260 w 588773"/>
                <a:gd name="connsiteY89" fmla="*/ 239936 h 351484"/>
                <a:gd name="connsiteX90" fmla="*/ 539095 w 588773"/>
                <a:gd name="connsiteY90" fmla="*/ 253692 h 351484"/>
                <a:gd name="connsiteX91" fmla="*/ 587203 w 588773"/>
                <a:gd name="connsiteY91" fmla="*/ 227422 h 351484"/>
                <a:gd name="connsiteX92" fmla="*/ 584045 w 588773"/>
                <a:gd name="connsiteY92" fmla="*/ 197950 h 35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88773" h="351484">
                  <a:moveTo>
                    <a:pt x="584045" y="197950"/>
                  </a:moveTo>
                  <a:cubicBezTo>
                    <a:pt x="579147" y="188907"/>
                    <a:pt x="570833" y="182202"/>
                    <a:pt x="560959" y="179329"/>
                  </a:cubicBezTo>
                  <a:lnTo>
                    <a:pt x="410779" y="135218"/>
                  </a:lnTo>
                  <a:cubicBezTo>
                    <a:pt x="404937" y="133524"/>
                    <a:pt x="398781" y="133212"/>
                    <a:pt x="392797" y="134307"/>
                  </a:cubicBezTo>
                  <a:lnTo>
                    <a:pt x="349469" y="142343"/>
                  </a:lnTo>
                  <a:lnTo>
                    <a:pt x="386295" y="96906"/>
                  </a:lnTo>
                  <a:lnTo>
                    <a:pt x="390768" y="98320"/>
                  </a:lnTo>
                  <a:lnTo>
                    <a:pt x="506718" y="137007"/>
                  </a:lnTo>
                  <a:cubicBezTo>
                    <a:pt x="527045" y="143692"/>
                    <a:pt x="548941" y="132635"/>
                    <a:pt x="555627" y="112310"/>
                  </a:cubicBezTo>
                  <a:cubicBezTo>
                    <a:pt x="555628" y="112306"/>
                    <a:pt x="555630" y="112302"/>
                    <a:pt x="555631" y="112299"/>
                  </a:cubicBezTo>
                  <a:cubicBezTo>
                    <a:pt x="562206" y="92083"/>
                    <a:pt x="551324" y="70334"/>
                    <a:pt x="531202" y="63475"/>
                  </a:cubicBezTo>
                  <a:lnTo>
                    <a:pt x="346769" y="1965"/>
                  </a:lnTo>
                  <a:cubicBezTo>
                    <a:pt x="346769" y="1965"/>
                    <a:pt x="342695" y="743"/>
                    <a:pt x="340458" y="367"/>
                  </a:cubicBezTo>
                  <a:cubicBezTo>
                    <a:pt x="338447" y="121"/>
                    <a:pt x="336422" y="-2"/>
                    <a:pt x="334395" y="0"/>
                  </a:cubicBezTo>
                  <a:lnTo>
                    <a:pt x="212334" y="0"/>
                  </a:lnTo>
                  <a:cubicBezTo>
                    <a:pt x="201373" y="4"/>
                    <a:pt x="190925" y="4648"/>
                    <a:pt x="183576" y="12781"/>
                  </a:cubicBezTo>
                  <a:lnTo>
                    <a:pt x="121603" y="81409"/>
                  </a:lnTo>
                  <a:cubicBezTo>
                    <a:pt x="106923" y="96976"/>
                    <a:pt x="107643" y="121496"/>
                    <a:pt x="123211" y="136176"/>
                  </a:cubicBezTo>
                  <a:cubicBezTo>
                    <a:pt x="129942" y="142524"/>
                    <a:pt x="138723" y="146253"/>
                    <a:pt x="147965" y="146689"/>
                  </a:cubicBezTo>
                  <a:cubicBezTo>
                    <a:pt x="159578" y="147264"/>
                    <a:pt x="170835" y="142589"/>
                    <a:pt x="178624" y="133956"/>
                  </a:cubicBezTo>
                  <a:lnTo>
                    <a:pt x="229549" y="77486"/>
                  </a:lnTo>
                  <a:lnTo>
                    <a:pt x="238009" y="77486"/>
                  </a:lnTo>
                  <a:lnTo>
                    <a:pt x="250534" y="61510"/>
                  </a:lnTo>
                  <a:lnTo>
                    <a:pt x="222455" y="61510"/>
                  </a:lnTo>
                  <a:lnTo>
                    <a:pt x="166753" y="123227"/>
                  </a:lnTo>
                  <a:cubicBezTo>
                    <a:pt x="158307" y="132571"/>
                    <a:pt x="143885" y="133300"/>
                    <a:pt x="134541" y="124853"/>
                  </a:cubicBezTo>
                  <a:cubicBezTo>
                    <a:pt x="133348" y="123775"/>
                    <a:pt x="132273" y="122574"/>
                    <a:pt x="131333" y="121270"/>
                  </a:cubicBezTo>
                  <a:cubicBezTo>
                    <a:pt x="125057" y="112259"/>
                    <a:pt x="125954" y="100084"/>
                    <a:pt x="133482" y="92089"/>
                  </a:cubicBezTo>
                  <a:lnTo>
                    <a:pt x="195439" y="23462"/>
                  </a:lnTo>
                  <a:cubicBezTo>
                    <a:pt x="199762" y="18695"/>
                    <a:pt x="205899" y="15976"/>
                    <a:pt x="212334" y="15977"/>
                  </a:cubicBezTo>
                  <a:lnTo>
                    <a:pt x="334451" y="15977"/>
                  </a:lnTo>
                  <a:cubicBezTo>
                    <a:pt x="335905" y="15977"/>
                    <a:pt x="337295" y="16032"/>
                    <a:pt x="338078" y="16096"/>
                  </a:cubicBezTo>
                  <a:cubicBezTo>
                    <a:pt x="339196" y="16312"/>
                    <a:pt x="341896" y="17151"/>
                    <a:pt x="341896" y="17151"/>
                  </a:cubicBezTo>
                  <a:lnTo>
                    <a:pt x="526098" y="78661"/>
                  </a:lnTo>
                  <a:cubicBezTo>
                    <a:pt x="538014" y="82688"/>
                    <a:pt x="544409" y="95613"/>
                    <a:pt x="540382" y="107528"/>
                  </a:cubicBezTo>
                  <a:cubicBezTo>
                    <a:pt x="538468" y="113191"/>
                    <a:pt x="534405" y="117873"/>
                    <a:pt x="529070" y="120567"/>
                  </a:cubicBezTo>
                  <a:cubicBezTo>
                    <a:pt x="523695" y="123302"/>
                    <a:pt x="517451" y="123774"/>
                    <a:pt x="511727" y="121877"/>
                  </a:cubicBezTo>
                  <a:lnTo>
                    <a:pt x="380887" y="78181"/>
                  </a:lnTo>
                  <a:lnTo>
                    <a:pt x="372284" y="75785"/>
                  </a:lnTo>
                  <a:cubicBezTo>
                    <a:pt x="368115" y="74340"/>
                    <a:pt x="363564" y="76547"/>
                    <a:pt x="362119" y="80715"/>
                  </a:cubicBezTo>
                  <a:cubicBezTo>
                    <a:pt x="360673" y="84883"/>
                    <a:pt x="362881" y="89434"/>
                    <a:pt x="367050" y="90880"/>
                  </a:cubicBezTo>
                  <a:cubicBezTo>
                    <a:pt x="367195" y="90930"/>
                    <a:pt x="367342" y="90976"/>
                    <a:pt x="367491" y="91018"/>
                  </a:cubicBezTo>
                  <a:lnTo>
                    <a:pt x="369887" y="91817"/>
                  </a:lnTo>
                  <a:lnTo>
                    <a:pt x="330529" y="140378"/>
                  </a:lnTo>
                  <a:lnTo>
                    <a:pt x="309679" y="164463"/>
                  </a:lnTo>
                  <a:cubicBezTo>
                    <a:pt x="306824" y="167826"/>
                    <a:pt x="307236" y="172867"/>
                    <a:pt x="310600" y="175722"/>
                  </a:cubicBezTo>
                  <a:cubicBezTo>
                    <a:pt x="313916" y="178539"/>
                    <a:pt x="318878" y="178182"/>
                    <a:pt x="321758" y="174919"/>
                  </a:cubicBezTo>
                  <a:lnTo>
                    <a:pt x="333221" y="161683"/>
                  </a:lnTo>
                  <a:lnTo>
                    <a:pt x="395681" y="150084"/>
                  </a:lnTo>
                  <a:cubicBezTo>
                    <a:pt x="399204" y="149447"/>
                    <a:pt x="402827" y="149633"/>
                    <a:pt x="406266" y="150627"/>
                  </a:cubicBezTo>
                  <a:lnTo>
                    <a:pt x="556445" y="194730"/>
                  </a:lnTo>
                  <a:cubicBezTo>
                    <a:pt x="568514" y="198277"/>
                    <a:pt x="575422" y="210936"/>
                    <a:pt x="571875" y="223005"/>
                  </a:cubicBezTo>
                  <a:cubicBezTo>
                    <a:pt x="568328" y="235074"/>
                    <a:pt x="555669" y="241981"/>
                    <a:pt x="543600" y="238434"/>
                  </a:cubicBezTo>
                  <a:lnTo>
                    <a:pt x="398685" y="195801"/>
                  </a:lnTo>
                  <a:lnTo>
                    <a:pt x="237809" y="225653"/>
                  </a:lnTo>
                  <a:cubicBezTo>
                    <a:pt x="237529" y="225709"/>
                    <a:pt x="237322" y="225877"/>
                    <a:pt x="237050" y="225957"/>
                  </a:cubicBezTo>
                  <a:cubicBezTo>
                    <a:pt x="233425" y="225703"/>
                    <a:pt x="230096" y="227959"/>
                    <a:pt x="228990" y="231421"/>
                  </a:cubicBezTo>
                  <a:lnTo>
                    <a:pt x="207669" y="299960"/>
                  </a:lnTo>
                  <a:cubicBezTo>
                    <a:pt x="205088" y="308543"/>
                    <a:pt x="197718" y="314820"/>
                    <a:pt x="188833" y="316000"/>
                  </a:cubicBezTo>
                  <a:lnTo>
                    <a:pt x="41848" y="335308"/>
                  </a:lnTo>
                  <a:cubicBezTo>
                    <a:pt x="40861" y="335443"/>
                    <a:pt x="39866" y="335509"/>
                    <a:pt x="38869" y="335508"/>
                  </a:cubicBezTo>
                  <a:lnTo>
                    <a:pt x="38869" y="335508"/>
                  </a:lnTo>
                  <a:cubicBezTo>
                    <a:pt x="26290" y="335512"/>
                    <a:pt x="16091" y="325318"/>
                    <a:pt x="16087" y="312740"/>
                  </a:cubicBezTo>
                  <a:cubicBezTo>
                    <a:pt x="16084" y="301300"/>
                    <a:pt x="24569" y="291631"/>
                    <a:pt x="35913" y="290150"/>
                  </a:cubicBezTo>
                  <a:lnTo>
                    <a:pt x="168071" y="272776"/>
                  </a:lnTo>
                  <a:lnTo>
                    <a:pt x="195351" y="191200"/>
                  </a:lnTo>
                  <a:cubicBezTo>
                    <a:pt x="207134" y="173769"/>
                    <a:pt x="255111" y="109008"/>
                    <a:pt x="273588" y="84157"/>
                  </a:cubicBezTo>
                  <a:lnTo>
                    <a:pt x="294038" y="58075"/>
                  </a:lnTo>
                  <a:cubicBezTo>
                    <a:pt x="296761" y="54603"/>
                    <a:pt x="296152" y="49582"/>
                    <a:pt x="292680" y="46859"/>
                  </a:cubicBezTo>
                  <a:cubicBezTo>
                    <a:pt x="289209" y="44137"/>
                    <a:pt x="284187" y="44746"/>
                    <a:pt x="281465" y="48217"/>
                  </a:cubicBezTo>
                  <a:lnTo>
                    <a:pt x="270984" y="61510"/>
                  </a:lnTo>
                  <a:lnTo>
                    <a:pt x="270824" y="61510"/>
                  </a:lnTo>
                  <a:lnTo>
                    <a:pt x="258299" y="77486"/>
                  </a:lnTo>
                  <a:lnTo>
                    <a:pt x="258586" y="77486"/>
                  </a:lnTo>
                  <a:cubicBezTo>
                    <a:pt x="238344" y="104758"/>
                    <a:pt x="192188" y="167115"/>
                    <a:pt x="181475" y="183155"/>
                  </a:cubicBezTo>
                  <a:lnTo>
                    <a:pt x="180541" y="185065"/>
                  </a:lnTo>
                  <a:lnTo>
                    <a:pt x="156081" y="258213"/>
                  </a:lnTo>
                  <a:lnTo>
                    <a:pt x="33860" y="274278"/>
                  </a:lnTo>
                  <a:cubicBezTo>
                    <a:pt x="12626" y="276986"/>
                    <a:pt x="-2392" y="296394"/>
                    <a:pt x="316" y="317628"/>
                  </a:cubicBezTo>
                  <a:cubicBezTo>
                    <a:pt x="2789" y="337025"/>
                    <a:pt x="19323" y="351542"/>
                    <a:pt x="38877" y="351484"/>
                  </a:cubicBezTo>
                  <a:lnTo>
                    <a:pt x="38877" y="351484"/>
                  </a:lnTo>
                  <a:cubicBezTo>
                    <a:pt x="40576" y="351485"/>
                    <a:pt x="42273" y="351373"/>
                    <a:pt x="43957" y="351149"/>
                  </a:cubicBezTo>
                  <a:lnTo>
                    <a:pt x="190942" y="331849"/>
                  </a:lnTo>
                  <a:cubicBezTo>
                    <a:pt x="206040" y="329851"/>
                    <a:pt x="218573" y="319203"/>
                    <a:pt x="222983" y="304625"/>
                  </a:cubicBezTo>
                  <a:lnTo>
                    <a:pt x="242786" y="240990"/>
                  </a:lnTo>
                  <a:lnTo>
                    <a:pt x="397878" y="212233"/>
                  </a:lnTo>
                  <a:lnTo>
                    <a:pt x="491269" y="239648"/>
                  </a:lnTo>
                  <a:lnTo>
                    <a:pt x="491269" y="239648"/>
                  </a:lnTo>
                  <a:lnTo>
                    <a:pt x="492260" y="239936"/>
                  </a:lnTo>
                  <a:lnTo>
                    <a:pt x="492260" y="239936"/>
                  </a:lnTo>
                  <a:lnTo>
                    <a:pt x="539095" y="253692"/>
                  </a:lnTo>
                  <a:cubicBezTo>
                    <a:pt x="559634" y="259723"/>
                    <a:pt x="581173" y="247962"/>
                    <a:pt x="587203" y="227422"/>
                  </a:cubicBezTo>
                  <a:cubicBezTo>
                    <a:pt x="590098" y="217568"/>
                    <a:pt x="588962" y="206968"/>
                    <a:pt x="584045" y="197950"/>
                  </a:cubicBezTo>
                  <a:close/>
                </a:path>
              </a:pathLst>
            </a:custGeom>
            <a:grpFill/>
            <a:ln w="7938" cap="flat">
              <a:noFill/>
              <a:prstDash val="solid"/>
              <a:miter/>
            </a:ln>
          </p:spPr>
          <p:txBody>
            <a:bodyPr rtlCol="0" anchor="ctr"/>
            <a:lstStyle/>
            <a:p>
              <a:endParaRPr lang="en-IN"/>
            </a:p>
          </p:txBody>
        </p:sp>
      </p:grpSp>
      <p:sp>
        <p:nvSpPr>
          <p:cNvPr id="26" name="Graphic 31" descr="Handshake outline">
            <a:extLst>
              <a:ext uri="{FF2B5EF4-FFF2-40B4-BE49-F238E27FC236}">
                <a16:creationId xmlns:a16="http://schemas.microsoft.com/office/drawing/2014/main" id="{C5F4B694-32AF-6966-CD1B-0F4BAC02BB0B}"/>
              </a:ext>
            </a:extLst>
          </p:cNvPr>
          <p:cNvSpPr/>
          <p:nvPr/>
        </p:nvSpPr>
        <p:spPr>
          <a:xfrm>
            <a:off x="5812561" y="1741093"/>
            <a:ext cx="735720" cy="452935"/>
          </a:xfrm>
          <a:custGeom>
            <a:avLst/>
            <a:gdLst>
              <a:gd name="connsiteX0" fmla="*/ 728531 w 735720"/>
              <a:gd name="connsiteY0" fmla="*/ 163760 h 452935"/>
              <a:gd name="connsiteX1" fmla="*/ 638264 w 735720"/>
              <a:gd name="connsiteY1" fmla="*/ 13580 h 452935"/>
              <a:gd name="connsiteX2" fmla="*/ 630275 w 735720"/>
              <a:gd name="connsiteY2" fmla="*/ 0 h 452935"/>
              <a:gd name="connsiteX3" fmla="*/ 616695 w 735720"/>
              <a:gd name="connsiteY3" fmla="*/ 8787 h 452935"/>
              <a:gd name="connsiteX4" fmla="*/ 555984 w 735720"/>
              <a:gd name="connsiteY4" fmla="*/ 46332 h 452935"/>
              <a:gd name="connsiteX5" fmla="*/ 540807 w 735720"/>
              <a:gd name="connsiteY5" fmla="*/ 65504 h 452935"/>
              <a:gd name="connsiteX6" fmla="*/ 541605 w 735720"/>
              <a:gd name="connsiteY6" fmla="*/ 83078 h 452935"/>
              <a:gd name="connsiteX7" fmla="*/ 490480 w 735720"/>
              <a:gd name="connsiteY7" fmla="*/ 91865 h 452935"/>
              <a:gd name="connsiteX8" fmla="*/ 419385 w 735720"/>
              <a:gd name="connsiteY8" fmla="*/ 79883 h 452935"/>
              <a:gd name="connsiteX9" fmla="*/ 384236 w 735720"/>
              <a:gd name="connsiteY9" fmla="*/ 71895 h 452935"/>
              <a:gd name="connsiteX10" fmla="*/ 382639 w 735720"/>
              <a:gd name="connsiteY10" fmla="*/ 71895 h 452935"/>
              <a:gd name="connsiteX11" fmla="*/ 382639 w 735720"/>
              <a:gd name="connsiteY11" fmla="*/ 71895 h 452935"/>
              <a:gd name="connsiteX12" fmla="*/ 381041 w 735720"/>
              <a:gd name="connsiteY12" fmla="*/ 71895 h 452935"/>
              <a:gd name="connsiteX13" fmla="*/ 379443 w 735720"/>
              <a:gd name="connsiteY13" fmla="*/ 71895 h 452935"/>
              <a:gd name="connsiteX14" fmla="*/ 377846 w 735720"/>
              <a:gd name="connsiteY14" fmla="*/ 71895 h 452935"/>
              <a:gd name="connsiteX15" fmla="*/ 373852 w 735720"/>
              <a:gd name="connsiteY15" fmla="*/ 71895 h 452935"/>
              <a:gd name="connsiteX16" fmla="*/ 373852 w 735720"/>
              <a:gd name="connsiteY16" fmla="*/ 71895 h 452935"/>
              <a:gd name="connsiteX17" fmla="*/ 337904 w 735720"/>
              <a:gd name="connsiteY17" fmla="*/ 87871 h 452935"/>
              <a:gd name="connsiteX18" fmla="*/ 331514 w 735720"/>
              <a:gd name="connsiteY18" fmla="*/ 95061 h 452935"/>
              <a:gd name="connsiteX19" fmla="*/ 298762 w 735720"/>
              <a:gd name="connsiteY19" fmla="*/ 88670 h 452935"/>
              <a:gd name="connsiteX20" fmla="*/ 292371 w 735720"/>
              <a:gd name="connsiteY20" fmla="*/ 88670 h 452935"/>
              <a:gd name="connsiteX21" fmla="*/ 278791 w 735720"/>
              <a:gd name="connsiteY21" fmla="*/ 89469 h 452935"/>
              <a:gd name="connsiteX22" fmla="*/ 247637 w 735720"/>
              <a:gd name="connsiteY22" fmla="*/ 91066 h 452935"/>
              <a:gd name="connsiteX23" fmla="*/ 196512 w 735720"/>
              <a:gd name="connsiteY23" fmla="*/ 80682 h 452935"/>
              <a:gd name="connsiteX24" fmla="*/ 196512 w 735720"/>
              <a:gd name="connsiteY24" fmla="*/ 65504 h 452935"/>
              <a:gd name="connsiteX25" fmla="*/ 181334 w 735720"/>
              <a:gd name="connsiteY25" fmla="*/ 46332 h 452935"/>
              <a:gd name="connsiteX26" fmla="*/ 121422 w 735720"/>
              <a:gd name="connsiteY26" fmla="*/ 8787 h 452935"/>
              <a:gd name="connsiteX27" fmla="*/ 107842 w 735720"/>
              <a:gd name="connsiteY27" fmla="*/ 0 h 452935"/>
              <a:gd name="connsiteX28" fmla="*/ 99854 w 735720"/>
              <a:gd name="connsiteY28" fmla="*/ 13580 h 452935"/>
              <a:gd name="connsiteX29" fmla="*/ 7988 w 735720"/>
              <a:gd name="connsiteY29" fmla="*/ 163760 h 452935"/>
              <a:gd name="connsiteX30" fmla="*/ 0 w 735720"/>
              <a:gd name="connsiteY30" fmla="*/ 177340 h 452935"/>
              <a:gd name="connsiteX31" fmla="*/ 13580 w 735720"/>
              <a:gd name="connsiteY31" fmla="*/ 185328 h 452935"/>
              <a:gd name="connsiteX32" fmla="*/ 75090 w 735720"/>
              <a:gd name="connsiteY32" fmla="*/ 222873 h 452935"/>
              <a:gd name="connsiteX33" fmla="*/ 110238 w 735720"/>
              <a:gd name="connsiteY33" fmla="*/ 221275 h 452935"/>
              <a:gd name="connsiteX34" fmla="*/ 162162 w 735720"/>
              <a:gd name="connsiteY34" fmla="*/ 281986 h 452935"/>
              <a:gd name="connsiteX35" fmla="*/ 162961 w 735720"/>
              <a:gd name="connsiteY35" fmla="*/ 283584 h 452935"/>
              <a:gd name="connsiteX36" fmla="*/ 164559 w 735720"/>
              <a:gd name="connsiteY36" fmla="*/ 284383 h 452935"/>
              <a:gd name="connsiteX37" fmla="*/ 164559 w 735720"/>
              <a:gd name="connsiteY37" fmla="*/ 284383 h 452935"/>
              <a:gd name="connsiteX38" fmla="*/ 153375 w 735720"/>
              <a:gd name="connsiteY38" fmla="*/ 297164 h 452935"/>
              <a:gd name="connsiteX39" fmla="*/ 156570 w 735720"/>
              <a:gd name="connsiteY39" fmla="*/ 353082 h 452935"/>
              <a:gd name="connsiteX40" fmla="*/ 156570 w 735720"/>
              <a:gd name="connsiteY40" fmla="*/ 353082 h 452935"/>
              <a:gd name="connsiteX41" fmla="*/ 156570 w 735720"/>
              <a:gd name="connsiteY41" fmla="*/ 353082 h 452935"/>
              <a:gd name="connsiteX42" fmla="*/ 182133 w 735720"/>
              <a:gd name="connsiteY42" fmla="*/ 362668 h 452935"/>
              <a:gd name="connsiteX43" fmla="*/ 186926 w 735720"/>
              <a:gd name="connsiteY43" fmla="*/ 362668 h 452935"/>
              <a:gd name="connsiteX44" fmla="*/ 202104 w 735720"/>
              <a:gd name="connsiteY44" fmla="*/ 357076 h 452935"/>
              <a:gd name="connsiteX45" fmla="*/ 214885 w 735720"/>
              <a:gd name="connsiteY45" fmla="*/ 382639 h 452935"/>
              <a:gd name="connsiteX46" fmla="*/ 214885 w 735720"/>
              <a:gd name="connsiteY46" fmla="*/ 382639 h 452935"/>
              <a:gd name="connsiteX47" fmla="*/ 214885 w 735720"/>
              <a:gd name="connsiteY47" fmla="*/ 382639 h 452935"/>
              <a:gd name="connsiteX48" fmla="*/ 240447 w 735720"/>
              <a:gd name="connsiteY48" fmla="*/ 392225 h 452935"/>
              <a:gd name="connsiteX49" fmla="*/ 243643 w 735720"/>
              <a:gd name="connsiteY49" fmla="*/ 392225 h 452935"/>
              <a:gd name="connsiteX50" fmla="*/ 255625 w 735720"/>
              <a:gd name="connsiteY50" fmla="*/ 389828 h 452935"/>
              <a:gd name="connsiteX51" fmla="*/ 267607 w 735720"/>
              <a:gd name="connsiteY51" fmla="*/ 412994 h 452935"/>
              <a:gd name="connsiteX52" fmla="*/ 267607 w 735720"/>
              <a:gd name="connsiteY52" fmla="*/ 412994 h 452935"/>
              <a:gd name="connsiteX53" fmla="*/ 267607 w 735720"/>
              <a:gd name="connsiteY53" fmla="*/ 412994 h 452935"/>
              <a:gd name="connsiteX54" fmla="*/ 289975 w 735720"/>
              <a:gd name="connsiteY54" fmla="*/ 421781 h 452935"/>
              <a:gd name="connsiteX55" fmla="*/ 293969 w 735720"/>
              <a:gd name="connsiteY55" fmla="*/ 421781 h 452935"/>
              <a:gd name="connsiteX56" fmla="*/ 309146 w 735720"/>
              <a:gd name="connsiteY56" fmla="*/ 416988 h 452935"/>
              <a:gd name="connsiteX57" fmla="*/ 318732 w 735720"/>
              <a:gd name="connsiteY57" fmla="*/ 432166 h 452935"/>
              <a:gd name="connsiteX58" fmla="*/ 341898 w 735720"/>
              <a:gd name="connsiteY58" fmla="*/ 440154 h 452935"/>
              <a:gd name="connsiteX59" fmla="*/ 343496 w 735720"/>
              <a:gd name="connsiteY59" fmla="*/ 440154 h 452935"/>
              <a:gd name="connsiteX60" fmla="*/ 345094 w 735720"/>
              <a:gd name="connsiteY60" fmla="*/ 440154 h 452935"/>
              <a:gd name="connsiteX61" fmla="*/ 358674 w 735720"/>
              <a:gd name="connsiteY61" fmla="*/ 434562 h 452935"/>
              <a:gd name="connsiteX62" fmla="*/ 359473 w 735720"/>
              <a:gd name="connsiteY62" fmla="*/ 435361 h 452935"/>
              <a:gd name="connsiteX63" fmla="*/ 370656 w 735720"/>
              <a:gd name="connsiteY63" fmla="*/ 444148 h 452935"/>
              <a:gd name="connsiteX64" fmla="*/ 371455 w 735720"/>
              <a:gd name="connsiteY64" fmla="*/ 444947 h 452935"/>
              <a:gd name="connsiteX65" fmla="*/ 372254 w 735720"/>
              <a:gd name="connsiteY65" fmla="*/ 445746 h 452935"/>
              <a:gd name="connsiteX66" fmla="*/ 396219 w 735720"/>
              <a:gd name="connsiteY66" fmla="*/ 452936 h 452935"/>
              <a:gd name="connsiteX67" fmla="*/ 401012 w 735720"/>
              <a:gd name="connsiteY67" fmla="*/ 452936 h 452935"/>
              <a:gd name="connsiteX68" fmla="*/ 442551 w 735720"/>
              <a:gd name="connsiteY68" fmla="*/ 417787 h 452935"/>
              <a:gd name="connsiteX69" fmla="*/ 479297 w 735720"/>
              <a:gd name="connsiteY69" fmla="*/ 383437 h 452935"/>
              <a:gd name="connsiteX70" fmla="*/ 516043 w 735720"/>
              <a:gd name="connsiteY70" fmla="*/ 348289 h 452935"/>
              <a:gd name="connsiteX71" fmla="*/ 519238 w 735720"/>
              <a:gd name="connsiteY71" fmla="*/ 348289 h 452935"/>
              <a:gd name="connsiteX72" fmla="*/ 562375 w 735720"/>
              <a:gd name="connsiteY72" fmla="*/ 297963 h 452935"/>
              <a:gd name="connsiteX73" fmla="*/ 562375 w 735720"/>
              <a:gd name="connsiteY73" fmla="*/ 292371 h 452935"/>
              <a:gd name="connsiteX74" fmla="*/ 568766 w 735720"/>
              <a:gd name="connsiteY74" fmla="*/ 284383 h 452935"/>
              <a:gd name="connsiteX75" fmla="*/ 623885 w 735720"/>
              <a:gd name="connsiteY75" fmla="*/ 220477 h 452935"/>
              <a:gd name="connsiteX76" fmla="*/ 660631 w 735720"/>
              <a:gd name="connsiteY76" fmla="*/ 222074 h 452935"/>
              <a:gd name="connsiteX77" fmla="*/ 722141 w 735720"/>
              <a:gd name="connsiteY77" fmla="*/ 184529 h 452935"/>
              <a:gd name="connsiteX78" fmla="*/ 735721 w 735720"/>
              <a:gd name="connsiteY78" fmla="*/ 176541 h 452935"/>
              <a:gd name="connsiteX79" fmla="*/ 728531 w 735720"/>
              <a:gd name="connsiteY79" fmla="*/ 163760 h 452935"/>
              <a:gd name="connsiteX80" fmla="*/ 83078 w 735720"/>
              <a:gd name="connsiteY80" fmla="*/ 209293 h 452935"/>
              <a:gd name="connsiteX81" fmla="*/ 21568 w 735720"/>
              <a:gd name="connsiteY81" fmla="*/ 171748 h 452935"/>
              <a:gd name="connsiteX82" fmla="*/ 112635 w 735720"/>
              <a:gd name="connsiteY82" fmla="*/ 21568 h 452935"/>
              <a:gd name="connsiteX83" fmla="*/ 173346 w 735720"/>
              <a:gd name="connsiteY83" fmla="*/ 59113 h 452935"/>
              <a:gd name="connsiteX84" fmla="*/ 180535 w 735720"/>
              <a:gd name="connsiteY84" fmla="*/ 76687 h 452935"/>
              <a:gd name="connsiteX85" fmla="*/ 175742 w 735720"/>
              <a:gd name="connsiteY85" fmla="*/ 84676 h 452935"/>
              <a:gd name="connsiteX86" fmla="*/ 106244 w 735720"/>
              <a:gd name="connsiteY86" fmla="*/ 199707 h 452935"/>
              <a:gd name="connsiteX87" fmla="*/ 101451 w 735720"/>
              <a:gd name="connsiteY87" fmla="*/ 206896 h 452935"/>
              <a:gd name="connsiteX88" fmla="*/ 91066 w 735720"/>
              <a:gd name="connsiteY88" fmla="*/ 210891 h 452935"/>
              <a:gd name="connsiteX89" fmla="*/ 83078 w 735720"/>
              <a:gd name="connsiteY89" fmla="*/ 209293 h 452935"/>
              <a:gd name="connsiteX90" fmla="*/ 185328 w 735720"/>
              <a:gd name="connsiteY90" fmla="*/ 346691 h 452935"/>
              <a:gd name="connsiteX91" fmla="*/ 182932 w 735720"/>
              <a:gd name="connsiteY91" fmla="*/ 346691 h 452935"/>
              <a:gd name="connsiteX92" fmla="*/ 159766 w 735720"/>
              <a:gd name="connsiteY92" fmla="*/ 322727 h 452935"/>
              <a:gd name="connsiteX93" fmla="*/ 165357 w 735720"/>
              <a:gd name="connsiteY93" fmla="*/ 307549 h 452935"/>
              <a:gd name="connsiteX94" fmla="*/ 207695 w 735720"/>
              <a:gd name="connsiteY94" fmla="*/ 259619 h 452935"/>
              <a:gd name="connsiteX95" fmla="*/ 226068 w 735720"/>
              <a:gd name="connsiteY95" fmla="*/ 251631 h 452935"/>
              <a:gd name="connsiteX96" fmla="*/ 241246 w 735720"/>
              <a:gd name="connsiteY96" fmla="*/ 257223 h 452935"/>
              <a:gd name="connsiteX97" fmla="*/ 243643 w 735720"/>
              <a:gd name="connsiteY97" fmla="*/ 290773 h 452935"/>
              <a:gd name="connsiteX98" fmla="*/ 201305 w 735720"/>
              <a:gd name="connsiteY98" fmla="*/ 338703 h 452935"/>
              <a:gd name="connsiteX99" fmla="*/ 185328 w 735720"/>
              <a:gd name="connsiteY99" fmla="*/ 346691 h 452935"/>
              <a:gd name="connsiteX100" fmla="*/ 244441 w 735720"/>
              <a:gd name="connsiteY100" fmla="*/ 377047 h 452935"/>
              <a:gd name="connsiteX101" fmla="*/ 242045 w 735720"/>
              <a:gd name="connsiteY101" fmla="*/ 377047 h 452935"/>
              <a:gd name="connsiteX102" fmla="*/ 218879 w 735720"/>
              <a:gd name="connsiteY102" fmla="*/ 353082 h 452935"/>
              <a:gd name="connsiteX103" fmla="*/ 224471 w 735720"/>
              <a:gd name="connsiteY103" fmla="*/ 337904 h 452935"/>
              <a:gd name="connsiteX104" fmla="*/ 261217 w 735720"/>
              <a:gd name="connsiteY104" fmla="*/ 295566 h 452935"/>
              <a:gd name="connsiteX105" fmla="*/ 279590 w 735720"/>
              <a:gd name="connsiteY105" fmla="*/ 287578 h 452935"/>
              <a:gd name="connsiteX106" fmla="*/ 294768 w 735720"/>
              <a:gd name="connsiteY106" fmla="*/ 293170 h 452935"/>
              <a:gd name="connsiteX107" fmla="*/ 297164 w 735720"/>
              <a:gd name="connsiteY107" fmla="*/ 326721 h 452935"/>
              <a:gd name="connsiteX108" fmla="*/ 260418 w 735720"/>
              <a:gd name="connsiteY108" fmla="*/ 369059 h 452935"/>
              <a:gd name="connsiteX109" fmla="*/ 244441 w 735720"/>
              <a:gd name="connsiteY109" fmla="*/ 377047 h 452935"/>
              <a:gd name="connsiteX110" fmla="*/ 244441 w 735720"/>
              <a:gd name="connsiteY110" fmla="*/ 377047 h 452935"/>
              <a:gd name="connsiteX111" fmla="*/ 294768 w 735720"/>
              <a:gd name="connsiteY111" fmla="*/ 406604 h 452935"/>
              <a:gd name="connsiteX112" fmla="*/ 292371 w 735720"/>
              <a:gd name="connsiteY112" fmla="*/ 406604 h 452935"/>
              <a:gd name="connsiteX113" fmla="*/ 279590 w 735720"/>
              <a:gd name="connsiteY113" fmla="*/ 401811 h 452935"/>
              <a:gd name="connsiteX114" fmla="*/ 277992 w 735720"/>
              <a:gd name="connsiteY114" fmla="*/ 373852 h 452935"/>
              <a:gd name="connsiteX115" fmla="*/ 314738 w 735720"/>
              <a:gd name="connsiteY115" fmla="*/ 331514 h 452935"/>
              <a:gd name="connsiteX116" fmla="*/ 329916 w 735720"/>
              <a:gd name="connsiteY116" fmla="*/ 325123 h 452935"/>
              <a:gd name="connsiteX117" fmla="*/ 342697 w 735720"/>
              <a:gd name="connsiteY117" fmla="*/ 329916 h 452935"/>
              <a:gd name="connsiteX118" fmla="*/ 344295 w 735720"/>
              <a:gd name="connsiteY118" fmla="*/ 357875 h 452935"/>
              <a:gd name="connsiteX119" fmla="*/ 307549 w 735720"/>
              <a:gd name="connsiteY119" fmla="*/ 400213 h 452935"/>
              <a:gd name="connsiteX120" fmla="*/ 294768 w 735720"/>
              <a:gd name="connsiteY120" fmla="*/ 406604 h 452935"/>
              <a:gd name="connsiteX121" fmla="*/ 294768 w 735720"/>
              <a:gd name="connsiteY121" fmla="*/ 406604 h 452935"/>
              <a:gd name="connsiteX122" fmla="*/ 343496 w 735720"/>
              <a:gd name="connsiteY122" fmla="*/ 425775 h 452935"/>
              <a:gd name="connsiteX123" fmla="*/ 331514 w 735720"/>
              <a:gd name="connsiteY123" fmla="*/ 421781 h 452935"/>
              <a:gd name="connsiteX124" fmla="*/ 329916 w 735720"/>
              <a:gd name="connsiteY124" fmla="*/ 399414 h 452935"/>
              <a:gd name="connsiteX125" fmla="*/ 361070 w 735720"/>
              <a:gd name="connsiteY125" fmla="*/ 363467 h 452935"/>
              <a:gd name="connsiteX126" fmla="*/ 373053 w 735720"/>
              <a:gd name="connsiteY126" fmla="*/ 357875 h 452935"/>
              <a:gd name="connsiteX127" fmla="*/ 383438 w 735720"/>
              <a:gd name="connsiteY127" fmla="*/ 361869 h 452935"/>
              <a:gd name="connsiteX128" fmla="*/ 385035 w 735720"/>
              <a:gd name="connsiteY128" fmla="*/ 384236 h 452935"/>
              <a:gd name="connsiteX129" fmla="*/ 353881 w 735720"/>
              <a:gd name="connsiteY129" fmla="*/ 420184 h 452935"/>
              <a:gd name="connsiteX130" fmla="*/ 343496 w 735720"/>
              <a:gd name="connsiteY130" fmla="*/ 425775 h 452935"/>
              <a:gd name="connsiteX131" fmla="*/ 343496 w 735720"/>
              <a:gd name="connsiteY131" fmla="*/ 425775 h 452935"/>
              <a:gd name="connsiteX132" fmla="*/ 519238 w 735720"/>
              <a:gd name="connsiteY132" fmla="*/ 332313 h 452935"/>
              <a:gd name="connsiteX133" fmla="*/ 516043 w 735720"/>
              <a:gd name="connsiteY133" fmla="*/ 332313 h 452935"/>
              <a:gd name="connsiteX134" fmla="*/ 502463 w 735720"/>
              <a:gd name="connsiteY134" fmla="*/ 329117 h 452935"/>
              <a:gd name="connsiteX135" fmla="*/ 503262 w 735720"/>
              <a:gd name="connsiteY135" fmla="*/ 333910 h 452935"/>
              <a:gd name="connsiteX136" fmla="*/ 474504 w 735720"/>
              <a:gd name="connsiteY136" fmla="*/ 368260 h 452935"/>
              <a:gd name="connsiteX137" fmla="*/ 474504 w 735720"/>
              <a:gd name="connsiteY137" fmla="*/ 368260 h 452935"/>
              <a:gd name="connsiteX138" fmla="*/ 466516 w 735720"/>
              <a:gd name="connsiteY138" fmla="*/ 367461 h 452935"/>
              <a:gd name="connsiteX139" fmla="*/ 466516 w 735720"/>
              <a:gd name="connsiteY139" fmla="*/ 368260 h 452935"/>
              <a:gd name="connsiteX140" fmla="*/ 437758 w 735720"/>
              <a:gd name="connsiteY140" fmla="*/ 402609 h 452935"/>
              <a:gd name="connsiteX141" fmla="*/ 437758 w 735720"/>
              <a:gd name="connsiteY141" fmla="*/ 402609 h 452935"/>
              <a:gd name="connsiteX142" fmla="*/ 429770 w 735720"/>
              <a:gd name="connsiteY142" fmla="*/ 401811 h 452935"/>
              <a:gd name="connsiteX143" fmla="*/ 429770 w 735720"/>
              <a:gd name="connsiteY143" fmla="*/ 402609 h 452935"/>
              <a:gd name="connsiteX144" fmla="*/ 401012 w 735720"/>
              <a:gd name="connsiteY144" fmla="*/ 436959 h 452935"/>
              <a:gd name="connsiteX145" fmla="*/ 401012 w 735720"/>
              <a:gd name="connsiteY145" fmla="*/ 436959 h 452935"/>
              <a:gd name="connsiteX146" fmla="*/ 398615 w 735720"/>
              <a:gd name="connsiteY146" fmla="*/ 436959 h 452935"/>
              <a:gd name="connsiteX147" fmla="*/ 381840 w 735720"/>
              <a:gd name="connsiteY147" fmla="*/ 432166 h 452935"/>
              <a:gd name="connsiteX148" fmla="*/ 371455 w 735720"/>
              <a:gd name="connsiteY148" fmla="*/ 424178 h 452935"/>
              <a:gd name="connsiteX149" fmla="*/ 397018 w 735720"/>
              <a:gd name="connsiteY149" fmla="*/ 394621 h 452935"/>
              <a:gd name="connsiteX150" fmla="*/ 393822 w 735720"/>
              <a:gd name="connsiteY150" fmla="*/ 349887 h 452935"/>
              <a:gd name="connsiteX151" fmla="*/ 373053 w 735720"/>
              <a:gd name="connsiteY151" fmla="*/ 341898 h 452935"/>
              <a:gd name="connsiteX152" fmla="*/ 365064 w 735720"/>
              <a:gd name="connsiteY152" fmla="*/ 342697 h 452935"/>
              <a:gd name="connsiteX153" fmla="*/ 353082 w 735720"/>
              <a:gd name="connsiteY153" fmla="*/ 317934 h 452935"/>
              <a:gd name="connsiteX154" fmla="*/ 329117 w 735720"/>
              <a:gd name="connsiteY154" fmla="*/ 309147 h 452935"/>
              <a:gd name="connsiteX155" fmla="*/ 329117 w 735720"/>
              <a:gd name="connsiteY155" fmla="*/ 309147 h 452935"/>
              <a:gd name="connsiteX156" fmla="*/ 317934 w 735720"/>
              <a:gd name="connsiteY156" fmla="*/ 310744 h 452935"/>
              <a:gd name="connsiteX157" fmla="*/ 304354 w 735720"/>
              <a:gd name="connsiteY157" fmla="*/ 281188 h 452935"/>
              <a:gd name="connsiteX158" fmla="*/ 278791 w 735720"/>
              <a:gd name="connsiteY158" fmla="*/ 271602 h 452935"/>
              <a:gd name="connsiteX159" fmla="*/ 278791 w 735720"/>
              <a:gd name="connsiteY159" fmla="*/ 271602 h 452935"/>
              <a:gd name="connsiteX160" fmla="*/ 264412 w 735720"/>
              <a:gd name="connsiteY160" fmla="*/ 273998 h 452935"/>
              <a:gd name="connsiteX161" fmla="*/ 250832 w 735720"/>
              <a:gd name="connsiteY161" fmla="*/ 245240 h 452935"/>
              <a:gd name="connsiteX162" fmla="*/ 225270 w 735720"/>
              <a:gd name="connsiteY162" fmla="*/ 235654 h 452935"/>
              <a:gd name="connsiteX163" fmla="*/ 225270 w 735720"/>
              <a:gd name="connsiteY163" fmla="*/ 235654 h 452935"/>
              <a:gd name="connsiteX164" fmla="*/ 194914 w 735720"/>
              <a:gd name="connsiteY164" fmla="*/ 249234 h 452935"/>
              <a:gd name="connsiteX165" fmla="*/ 174145 w 735720"/>
              <a:gd name="connsiteY165" fmla="*/ 273199 h 452935"/>
              <a:gd name="connsiteX166" fmla="*/ 173346 w 735720"/>
              <a:gd name="connsiteY166" fmla="*/ 272400 h 452935"/>
              <a:gd name="connsiteX167" fmla="*/ 119025 w 735720"/>
              <a:gd name="connsiteY167" fmla="*/ 209293 h 452935"/>
              <a:gd name="connsiteX168" fmla="*/ 188523 w 735720"/>
              <a:gd name="connsiteY168" fmla="*/ 94262 h 452935"/>
              <a:gd name="connsiteX169" fmla="*/ 246039 w 735720"/>
              <a:gd name="connsiteY169" fmla="*/ 106244 h 452935"/>
              <a:gd name="connsiteX170" fmla="*/ 292371 w 735720"/>
              <a:gd name="connsiteY170" fmla="*/ 103049 h 452935"/>
              <a:gd name="connsiteX171" fmla="*/ 297164 w 735720"/>
              <a:gd name="connsiteY171" fmla="*/ 103049 h 452935"/>
              <a:gd name="connsiteX172" fmla="*/ 317934 w 735720"/>
              <a:gd name="connsiteY172" fmla="*/ 106244 h 452935"/>
              <a:gd name="connsiteX173" fmla="*/ 273998 w 735720"/>
              <a:gd name="connsiteY173" fmla="*/ 158168 h 452935"/>
              <a:gd name="connsiteX174" fmla="*/ 262016 w 735720"/>
              <a:gd name="connsiteY174" fmla="*/ 193316 h 452935"/>
              <a:gd name="connsiteX175" fmla="*/ 278791 w 735720"/>
              <a:gd name="connsiteY175" fmla="*/ 226068 h 452935"/>
              <a:gd name="connsiteX176" fmla="*/ 278791 w 735720"/>
              <a:gd name="connsiteY176" fmla="*/ 226068 h 452935"/>
              <a:gd name="connsiteX177" fmla="*/ 278791 w 735720"/>
              <a:gd name="connsiteY177" fmla="*/ 226068 h 452935"/>
              <a:gd name="connsiteX178" fmla="*/ 309945 w 735720"/>
              <a:gd name="connsiteY178" fmla="*/ 237252 h 452935"/>
              <a:gd name="connsiteX179" fmla="*/ 313939 w 735720"/>
              <a:gd name="connsiteY179" fmla="*/ 237252 h 452935"/>
              <a:gd name="connsiteX180" fmla="*/ 346691 w 735720"/>
              <a:gd name="connsiteY180" fmla="*/ 220477 h 452935"/>
              <a:gd name="connsiteX181" fmla="*/ 401012 w 735720"/>
              <a:gd name="connsiteY181" fmla="*/ 158168 h 452935"/>
              <a:gd name="connsiteX182" fmla="*/ 401012 w 735720"/>
              <a:gd name="connsiteY182" fmla="*/ 158168 h 452935"/>
              <a:gd name="connsiteX183" fmla="*/ 409799 w 735720"/>
              <a:gd name="connsiteY183" fmla="*/ 166156 h 452935"/>
              <a:gd name="connsiteX184" fmla="*/ 538410 w 735720"/>
              <a:gd name="connsiteY184" fmla="*/ 276395 h 452935"/>
              <a:gd name="connsiteX185" fmla="*/ 547197 w 735720"/>
              <a:gd name="connsiteY185" fmla="*/ 296365 h 452935"/>
              <a:gd name="connsiteX186" fmla="*/ 547197 w 735720"/>
              <a:gd name="connsiteY186" fmla="*/ 299561 h 452935"/>
              <a:gd name="connsiteX187" fmla="*/ 519238 w 735720"/>
              <a:gd name="connsiteY187" fmla="*/ 332313 h 452935"/>
              <a:gd name="connsiteX188" fmla="*/ 519238 w 735720"/>
              <a:gd name="connsiteY188" fmla="*/ 332313 h 452935"/>
              <a:gd name="connsiteX189" fmla="*/ 558381 w 735720"/>
              <a:gd name="connsiteY189" fmla="*/ 273998 h 452935"/>
              <a:gd name="connsiteX190" fmla="*/ 549594 w 735720"/>
              <a:gd name="connsiteY190" fmla="*/ 263613 h 452935"/>
              <a:gd name="connsiteX191" fmla="*/ 400213 w 735720"/>
              <a:gd name="connsiteY191" fmla="*/ 135002 h 452935"/>
              <a:gd name="connsiteX192" fmla="*/ 334709 w 735720"/>
              <a:gd name="connsiteY192" fmla="*/ 210092 h 452935"/>
              <a:gd name="connsiteX193" fmla="*/ 313141 w 735720"/>
              <a:gd name="connsiteY193" fmla="*/ 221275 h 452935"/>
              <a:gd name="connsiteX194" fmla="*/ 310744 w 735720"/>
              <a:gd name="connsiteY194" fmla="*/ 221275 h 452935"/>
              <a:gd name="connsiteX195" fmla="*/ 289176 w 735720"/>
              <a:gd name="connsiteY195" fmla="*/ 213287 h 452935"/>
              <a:gd name="connsiteX196" fmla="*/ 285182 w 735720"/>
              <a:gd name="connsiteY196" fmla="*/ 169352 h 452935"/>
              <a:gd name="connsiteX197" fmla="*/ 285980 w 735720"/>
              <a:gd name="connsiteY197" fmla="*/ 168553 h 452935"/>
              <a:gd name="connsiteX198" fmla="*/ 349088 w 735720"/>
              <a:gd name="connsiteY198" fmla="*/ 96658 h 452935"/>
              <a:gd name="connsiteX199" fmla="*/ 373053 w 735720"/>
              <a:gd name="connsiteY199" fmla="*/ 86273 h 452935"/>
              <a:gd name="connsiteX200" fmla="*/ 376248 w 735720"/>
              <a:gd name="connsiteY200" fmla="*/ 86273 h 452935"/>
              <a:gd name="connsiteX201" fmla="*/ 380242 w 735720"/>
              <a:gd name="connsiteY201" fmla="*/ 87072 h 452935"/>
              <a:gd name="connsiteX202" fmla="*/ 489682 w 735720"/>
              <a:gd name="connsiteY202" fmla="*/ 107043 h 452935"/>
              <a:gd name="connsiteX203" fmla="*/ 547996 w 735720"/>
              <a:gd name="connsiteY203" fmla="*/ 96658 h 452935"/>
              <a:gd name="connsiteX204" fmla="*/ 594328 w 735720"/>
              <a:gd name="connsiteY204" fmla="*/ 171748 h 452935"/>
              <a:gd name="connsiteX205" fmla="*/ 615897 w 735720"/>
              <a:gd name="connsiteY205" fmla="*/ 207695 h 452935"/>
              <a:gd name="connsiteX206" fmla="*/ 558381 w 735720"/>
              <a:gd name="connsiteY206" fmla="*/ 273998 h 452935"/>
              <a:gd name="connsiteX207" fmla="*/ 653441 w 735720"/>
              <a:gd name="connsiteY207" fmla="*/ 209293 h 452935"/>
              <a:gd name="connsiteX208" fmla="*/ 645453 w 735720"/>
              <a:gd name="connsiteY208" fmla="*/ 211689 h 452935"/>
              <a:gd name="connsiteX209" fmla="*/ 634270 w 735720"/>
              <a:gd name="connsiteY209" fmla="*/ 206896 h 452935"/>
              <a:gd name="connsiteX210" fmla="*/ 629477 w 735720"/>
              <a:gd name="connsiteY210" fmla="*/ 198908 h 452935"/>
              <a:gd name="connsiteX211" fmla="*/ 607908 w 735720"/>
              <a:gd name="connsiteY211" fmla="*/ 163760 h 452935"/>
              <a:gd name="connsiteX212" fmla="*/ 557582 w 735720"/>
              <a:gd name="connsiteY212" fmla="*/ 80682 h 452935"/>
              <a:gd name="connsiteX213" fmla="*/ 561576 w 735720"/>
              <a:gd name="connsiteY213" fmla="*/ 59912 h 452935"/>
              <a:gd name="connsiteX214" fmla="*/ 563174 w 735720"/>
              <a:gd name="connsiteY214" fmla="*/ 59113 h 452935"/>
              <a:gd name="connsiteX215" fmla="*/ 624684 w 735720"/>
              <a:gd name="connsiteY215" fmla="*/ 21568 h 452935"/>
              <a:gd name="connsiteX216" fmla="*/ 714951 w 735720"/>
              <a:gd name="connsiteY216" fmla="*/ 171748 h 452935"/>
              <a:gd name="connsiteX217" fmla="*/ 653441 w 735720"/>
              <a:gd name="connsiteY217" fmla="*/ 209293 h 452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735720" h="452935">
                <a:moveTo>
                  <a:pt x="728531" y="163760"/>
                </a:moveTo>
                <a:lnTo>
                  <a:pt x="638264" y="13580"/>
                </a:lnTo>
                <a:lnTo>
                  <a:pt x="630275" y="0"/>
                </a:lnTo>
                <a:lnTo>
                  <a:pt x="616695" y="8787"/>
                </a:lnTo>
                <a:lnTo>
                  <a:pt x="555984" y="46332"/>
                </a:lnTo>
                <a:cubicBezTo>
                  <a:pt x="548795" y="50326"/>
                  <a:pt x="543203" y="57516"/>
                  <a:pt x="540807" y="65504"/>
                </a:cubicBezTo>
                <a:cubicBezTo>
                  <a:pt x="539209" y="71096"/>
                  <a:pt x="539209" y="77486"/>
                  <a:pt x="541605" y="83078"/>
                </a:cubicBezTo>
                <a:cubicBezTo>
                  <a:pt x="524830" y="88670"/>
                  <a:pt x="508055" y="91865"/>
                  <a:pt x="490480" y="91865"/>
                </a:cubicBezTo>
                <a:cubicBezTo>
                  <a:pt x="466516" y="91066"/>
                  <a:pt x="442551" y="87072"/>
                  <a:pt x="419385" y="79883"/>
                </a:cubicBezTo>
                <a:cubicBezTo>
                  <a:pt x="408201" y="76687"/>
                  <a:pt x="396219" y="74291"/>
                  <a:pt x="384236" y="71895"/>
                </a:cubicBezTo>
                <a:lnTo>
                  <a:pt x="382639" y="71895"/>
                </a:lnTo>
                <a:lnTo>
                  <a:pt x="382639" y="71895"/>
                </a:lnTo>
                <a:cubicBezTo>
                  <a:pt x="381840" y="71895"/>
                  <a:pt x="381041" y="71895"/>
                  <a:pt x="381041" y="71895"/>
                </a:cubicBezTo>
                <a:lnTo>
                  <a:pt x="379443" y="71895"/>
                </a:lnTo>
                <a:lnTo>
                  <a:pt x="377846" y="71895"/>
                </a:lnTo>
                <a:cubicBezTo>
                  <a:pt x="376248" y="71895"/>
                  <a:pt x="375449" y="71895"/>
                  <a:pt x="373852" y="71895"/>
                </a:cubicBezTo>
                <a:lnTo>
                  <a:pt x="373852" y="71895"/>
                </a:lnTo>
                <a:cubicBezTo>
                  <a:pt x="360272" y="71895"/>
                  <a:pt x="346691" y="77486"/>
                  <a:pt x="337904" y="87871"/>
                </a:cubicBezTo>
                <a:lnTo>
                  <a:pt x="331514" y="95061"/>
                </a:lnTo>
                <a:cubicBezTo>
                  <a:pt x="321129" y="91066"/>
                  <a:pt x="309945" y="88670"/>
                  <a:pt x="298762" y="88670"/>
                </a:cubicBezTo>
                <a:cubicBezTo>
                  <a:pt x="296365" y="88670"/>
                  <a:pt x="294768" y="88670"/>
                  <a:pt x="292371" y="88670"/>
                </a:cubicBezTo>
                <a:cubicBezTo>
                  <a:pt x="287578" y="88670"/>
                  <a:pt x="283584" y="89469"/>
                  <a:pt x="278791" y="89469"/>
                </a:cubicBezTo>
                <a:cubicBezTo>
                  <a:pt x="268406" y="90268"/>
                  <a:pt x="258021" y="91066"/>
                  <a:pt x="247637" y="91066"/>
                </a:cubicBezTo>
                <a:cubicBezTo>
                  <a:pt x="230063" y="91865"/>
                  <a:pt x="212488" y="87871"/>
                  <a:pt x="196512" y="80682"/>
                </a:cubicBezTo>
                <a:cubicBezTo>
                  <a:pt x="197311" y="75889"/>
                  <a:pt x="197311" y="71096"/>
                  <a:pt x="196512" y="65504"/>
                </a:cubicBezTo>
                <a:cubicBezTo>
                  <a:pt x="194115" y="57516"/>
                  <a:pt x="188523" y="50326"/>
                  <a:pt x="181334" y="46332"/>
                </a:cubicBezTo>
                <a:lnTo>
                  <a:pt x="121422" y="8787"/>
                </a:lnTo>
                <a:lnTo>
                  <a:pt x="107842" y="0"/>
                </a:lnTo>
                <a:lnTo>
                  <a:pt x="99854" y="13580"/>
                </a:lnTo>
                <a:lnTo>
                  <a:pt x="7988" y="163760"/>
                </a:lnTo>
                <a:lnTo>
                  <a:pt x="0" y="177340"/>
                </a:lnTo>
                <a:lnTo>
                  <a:pt x="13580" y="185328"/>
                </a:lnTo>
                <a:lnTo>
                  <a:pt x="75090" y="222873"/>
                </a:lnTo>
                <a:cubicBezTo>
                  <a:pt x="86273" y="230063"/>
                  <a:pt x="99854" y="229264"/>
                  <a:pt x="110238" y="221275"/>
                </a:cubicBezTo>
                <a:lnTo>
                  <a:pt x="162162" y="281986"/>
                </a:lnTo>
                <a:lnTo>
                  <a:pt x="162961" y="283584"/>
                </a:lnTo>
                <a:lnTo>
                  <a:pt x="164559" y="284383"/>
                </a:lnTo>
                <a:lnTo>
                  <a:pt x="164559" y="284383"/>
                </a:lnTo>
                <a:lnTo>
                  <a:pt x="153375" y="297164"/>
                </a:lnTo>
                <a:cubicBezTo>
                  <a:pt x="138996" y="313939"/>
                  <a:pt x="140594" y="338703"/>
                  <a:pt x="156570" y="353082"/>
                </a:cubicBezTo>
                <a:lnTo>
                  <a:pt x="156570" y="353082"/>
                </a:lnTo>
                <a:lnTo>
                  <a:pt x="156570" y="353082"/>
                </a:lnTo>
                <a:cubicBezTo>
                  <a:pt x="163760" y="359473"/>
                  <a:pt x="172547" y="362668"/>
                  <a:pt x="182133" y="362668"/>
                </a:cubicBezTo>
                <a:cubicBezTo>
                  <a:pt x="183730" y="362668"/>
                  <a:pt x="185328" y="362668"/>
                  <a:pt x="186926" y="362668"/>
                </a:cubicBezTo>
                <a:cubicBezTo>
                  <a:pt x="192518" y="361869"/>
                  <a:pt x="197311" y="360272"/>
                  <a:pt x="202104" y="357076"/>
                </a:cubicBezTo>
                <a:cubicBezTo>
                  <a:pt x="202902" y="366662"/>
                  <a:pt x="207695" y="376248"/>
                  <a:pt x="214885" y="382639"/>
                </a:cubicBezTo>
                <a:lnTo>
                  <a:pt x="214885" y="382639"/>
                </a:lnTo>
                <a:lnTo>
                  <a:pt x="214885" y="382639"/>
                </a:lnTo>
                <a:cubicBezTo>
                  <a:pt x="222074" y="389029"/>
                  <a:pt x="230861" y="392225"/>
                  <a:pt x="240447" y="392225"/>
                </a:cubicBezTo>
                <a:cubicBezTo>
                  <a:pt x="241246" y="392225"/>
                  <a:pt x="242844" y="392225"/>
                  <a:pt x="243643" y="392225"/>
                </a:cubicBezTo>
                <a:cubicBezTo>
                  <a:pt x="247637" y="392225"/>
                  <a:pt x="251631" y="391426"/>
                  <a:pt x="255625" y="389828"/>
                </a:cubicBezTo>
                <a:cubicBezTo>
                  <a:pt x="256424" y="398615"/>
                  <a:pt x="260418" y="407402"/>
                  <a:pt x="267607" y="412994"/>
                </a:cubicBezTo>
                <a:lnTo>
                  <a:pt x="267607" y="412994"/>
                </a:lnTo>
                <a:lnTo>
                  <a:pt x="267607" y="412994"/>
                </a:lnTo>
                <a:cubicBezTo>
                  <a:pt x="273998" y="418586"/>
                  <a:pt x="281986" y="421781"/>
                  <a:pt x="289975" y="421781"/>
                </a:cubicBezTo>
                <a:cubicBezTo>
                  <a:pt x="291572" y="421781"/>
                  <a:pt x="292371" y="421781"/>
                  <a:pt x="293969" y="421781"/>
                </a:cubicBezTo>
                <a:cubicBezTo>
                  <a:pt x="299561" y="421781"/>
                  <a:pt x="304354" y="419385"/>
                  <a:pt x="309146" y="416988"/>
                </a:cubicBezTo>
                <a:cubicBezTo>
                  <a:pt x="310744" y="422580"/>
                  <a:pt x="313939" y="428172"/>
                  <a:pt x="318732" y="432166"/>
                </a:cubicBezTo>
                <a:cubicBezTo>
                  <a:pt x="325123" y="437758"/>
                  <a:pt x="333111" y="440953"/>
                  <a:pt x="341898" y="440154"/>
                </a:cubicBezTo>
                <a:lnTo>
                  <a:pt x="343496" y="440154"/>
                </a:lnTo>
                <a:lnTo>
                  <a:pt x="345094" y="440154"/>
                </a:lnTo>
                <a:cubicBezTo>
                  <a:pt x="349887" y="439355"/>
                  <a:pt x="354680" y="436959"/>
                  <a:pt x="358674" y="434562"/>
                </a:cubicBezTo>
                <a:lnTo>
                  <a:pt x="359473" y="435361"/>
                </a:lnTo>
                <a:lnTo>
                  <a:pt x="370656" y="444148"/>
                </a:lnTo>
                <a:lnTo>
                  <a:pt x="371455" y="444947"/>
                </a:lnTo>
                <a:lnTo>
                  <a:pt x="372254" y="445746"/>
                </a:lnTo>
                <a:cubicBezTo>
                  <a:pt x="379443" y="450539"/>
                  <a:pt x="388230" y="452936"/>
                  <a:pt x="396219" y="452936"/>
                </a:cubicBezTo>
                <a:cubicBezTo>
                  <a:pt x="397816" y="452936"/>
                  <a:pt x="399414" y="452936"/>
                  <a:pt x="401012" y="452936"/>
                </a:cubicBezTo>
                <a:cubicBezTo>
                  <a:pt x="420982" y="451338"/>
                  <a:pt x="436959" y="436959"/>
                  <a:pt x="442551" y="417787"/>
                </a:cubicBezTo>
                <a:cubicBezTo>
                  <a:pt x="460125" y="414592"/>
                  <a:pt x="474504" y="401012"/>
                  <a:pt x="479297" y="383437"/>
                </a:cubicBezTo>
                <a:cubicBezTo>
                  <a:pt x="497670" y="379443"/>
                  <a:pt x="512049" y="365863"/>
                  <a:pt x="516043" y="348289"/>
                </a:cubicBezTo>
                <a:cubicBezTo>
                  <a:pt x="516842" y="348289"/>
                  <a:pt x="518439" y="348289"/>
                  <a:pt x="519238" y="348289"/>
                </a:cubicBezTo>
                <a:cubicBezTo>
                  <a:pt x="544801" y="345893"/>
                  <a:pt x="563973" y="323525"/>
                  <a:pt x="562375" y="297963"/>
                </a:cubicBezTo>
                <a:cubicBezTo>
                  <a:pt x="562375" y="296365"/>
                  <a:pt x="562375" y="293969"/>
                  <a:pt x="562375" y="292371"/>
                </a:cubicBezTo>
                <a:lnTo>
                  <a:pt x="568766" y="284383"/>
                </a:lnTo>
                <a:lnTo>
                  <a:pt x="623885" y="220477"/>
                </a:lnTo>
                <a:cubicBezTo>
                  <a:pt x="634270" y="229264"/>
                  <a:pt x="648648" y="229264"/>
                  <a:pt x="660631" y="222074"/>
                </a:cubicBezTo>
                <a:lnTo>
                  <a:pt x="722141" y="184529"/>
                </a:lnTo>
                <a:lnTo>
                  <a:pt x="735721" y="176541"/>
                </a:lnTo>
                <a:lnTo>
                  <a:pt x="728531" y="163760"/>
                </a:lnTo>
                <a:close/>
                <a:moveTo>
                  <a:pt x="83078" y="209293"/>
                </a:moveTo>
                <a:lnTo>
                  <a:pt x="21568" y="171748"/>
                </a:lnTo>
                <a:lnTo>
                  <a:pt x="112635" y="21568"/>
                </a:lnTo>
                <a:lnTo>
                  <a:pt x="173346" y="59113"/>
                </a:lnTo>
                <a:cubicBezTo>
                  <a:pt x="179736" y="62309"/>
                  <a:pt x="182932" y="70297"/>
                  <a:pt x="180535" y="76687"/>
                </a:cubicBezTo>
                <a:lnTo>
                  <a:pt x="175742" y="84676"/>
                </a:lnTo>
                <a:lnTo>
                  <a:pt x="106244" y="199707"/>
                </a:lnTo>
                <a:lnTo>
                  <a:pt x="101451" y="206896"/>
                </a:lnTo>
                <a:cubicBezTo>
                  <a:pt x="99055" y="209293"/>
                  <a:pt x="95061" y="210891"/>
                  <a:pt x="91066" y="210891"/>
                </a:cubicBezTo>
                <a:cubicBezTo>
                  <a:pt x="88670" y="211689"/>
                  <a:pt x="85475" y="210891"/>
                  <a:pt x="83078" y="209293"/>
                </a:cubicBezTo>
                <a:close/>
                <a:moveTo>
                  <a:pt x="185328" y="346691"/>
                </a:moveTo>
                <a:cubicBezTo>
                  <a:pt x="184529" y="346691"/>
                  <a:pt x="183730" y="346691"/>
                  <a:pt x="182932" y="346691"/>
                </a:cubicBezTo>
                <a:cubicBezTo>
                  <a:pt x="170150" y="346691"/>
                  <a:pt x="159766" y="335508"/>
                  <a:pt x="159766" y="322727"/>
                </a:cubicBezTo>
                <a:cubicBezTo>
                  <a:pt x="159766" y="317135"/>
                  <a:pt x="162162" y="311543"/>
                  <a:pt x="165357" y="307549"/>
                </a:cubicBezTo>
                <a:lnTo>
                  <a:pt x="207695" y="259619"/>
                </a:lnTo>
                <a:cubicBezTo>
                  <a:pt x="212488" y="254826"/>
                  <a:pt x="218879" y="251631"/>
                  <a:pt x="226068" y="251631"/>
                </a:cubicBezTo>
                <a:cubicBezTo>
                  <a:pt x="231660" y="251631"/>
                  <a:pt x="237252" y="254027"/>
                  <a:pt x="241246" y="257223"/>
                </a:cubicBezTo>
                <a:cubicBezTo>
                  <a:pt x="250832" y="266010"/>
                  <a:pt x="252430" y="281188"/>
                  <a:pt x="243643" y="290773"/>
                </a:cubicBezTo>
                <a:lnTo>
                  <a:pt x="201305" y="338703"/>
                </a:lnTo>
                <a:cubicBezTo>
                  <a:pt x="197311" y="343496"/>
                  <a:pt x="191719" y="345893"/>
                  <a:pt x="185328" y="346691"/>
                </a:cubicBezTo>
                <a:close/>
                <a:moveTo>
                  <a:pt x="244441" y="377047"/>
                </a:moveTo>
                <a:cubicBezTo>
                  <a:pt x="243643" y="377047"/>
                  <a:pt x="242844" y="377047"/>
                  <a:pt x="242045" y="377047"/>
                </a:cubicBezTo>
                <a:cubicBezTo>
                  <a:pt x="229264" y="377047"/>
                  <a:pt x="218879" y="365863"/>
                  <a:pt x="218879" y="353082"/>
                </a:cubicBezTo>
                <a:cubicBezTo>
                  <a:pt x="218879" y="347490"/>
                  <a:pt x="221275" y="341898"/>
                  <a:pt x="224471" y="337904"/>
                </a:cubicBezTo>
                <a:lnTo>
                  <a:pt x="261217" y="295566"/>
                </a:lnTo>
                <a:cubicBezTo>
                  <a:pt x="266010" y="290773"/>
                  <a:pt x="272400" y="287578"/>
                  <a:pt x="279590" y="287578"/>
                </a:cubicBezTo>
                <a:cubicBezTo>
                  <a:pt x="285182" y="287578"/>
                  <a:pt x="290773" y="289975"/>
                  <a:pt x="294768" y="293170"/>
                </a:cubicBezTo>
                <a:cubicBezTo>
                  <a:pt x="304354" y="301957"/>
                  <a:pt x="305951" y="317135"/>
                  <a:pt x="297164" y="326721"/>
                </a:cubicBezTo>
                <a:lnTo>
                  <a:pt x="260418" y="369059"/>
                </a:lnTo>
                <a:cubicBezTo>
                  <a:pt x="256424" y="373852"/>
                  <a:pt x="250832" y="377047"/>
                  <a:pt x="244441" y="377047"/>
                </a:cubicBezTo>
                <a:lnTo>
                  <a:pt x="244441" y="377047"/>
                </a:lnTo>
                <a:close/>
                <a:moveTo>
                  <a:pt x="294768" y="406604"/>
                </a:moveTo>
                <a:cubicBezTo>
                  <a:pt x="293969" y="406604"/>
                  <a:pt x="293170" y="406604"/>
                  <a:pt x="292371" y="406604"/>
                </a:cubicBezTo>
                <a:cubicBezTo>
                  <a:pt x="287578" y="406604"/>
                  <a:pt x="283584" y="405006"/>
                  <a:pt x="279590" y="401811"/>
                </a:cubicBezTo>
                <a:cubicBezTo>
                  <a:pt x="271602" y="394621"/>
                  <a:pt x="270803" y="381840"/>
                  <a:pt x="277992" y="373852"/>
                </a:cubicBezTo>
                <a:lnTo>
                  <a:pt x="314738" y="331514"/>
                </a:lnTo>
                <a:cubicBezTo>
                  <a:pt x="318732" y="327520"/>
                  <a:pt x="324324" y="325123"/>
                  <a:pt x="329916" y="325123"/>
                </a:cubicBezTo>
                <a:cubicBezTo>
                  <a:pt x="334709" y="325123"/>
                  <a:pt x="339502" y="326721"/>
                  <a:pt x="342697" y="329916"/>
                </a:cubicBezTo>
                <a:cubicBezTo>
                  <a:pt x="350686" y="337105"/>
                  <a:pt x="351484" y="349887"/>
                  <a:pt x="344295" y="357875"/>
                </a:cubicBezTo>
                <a:lnTo>
                  <a:pt x="307549" y="400213"/>
                </a:lnTo>
                <a:cubicBezTo>
                  <a:pt x="304354" y="404207"/>
                  <a:pt x="299561" y="406604"/>
                  <a:pt x="294768" y="406604"/>
                </a:cubicBezTo>
                <a:lnTo>
                  <a:pt x="294768" y="406604"/>
                </a:lnTo>
                <a:close/>
                <a:moveTo>
                  <a:pt x="343496" y="425775"/>
                </a:moveTo>
                <a:cubicBezTo>
                  <a:pt x="339502" y="425775"/>
                  <a:pt x="334709" y="424977"/>
                  <a:pt x="331514" y="421781"/>
                </a:cubicBezTo>
                <a:cubicBezTo>
                  <a:pt x="325123" y="416189"/>
                  <a:pt x="324324" y="405805"/>
                  <a:pt x="329916" y="399414"/>
                </a:cubicBezTo>
                <a:lnTo>
                  <a:pt x="361070" y="363467"/>
                </a:lnTo>
                <a:cubicBezTo>
                  <a:pt x="364266" y="360272"/>
                  <a:pt x="368260" y="357875"/>
                  <a:pt x="373053" y="357875"/>
                </a:cubicBezTo>
                <a:cubicBezTo>
                  <a:pt x="377047" y="357875"/>
                  <a:pt x="380242" y="359473"/>
                  <a:pt x="383438" y="361869"/>
                </a:cubicBezTo>
                <a:cubicBezTo>
                  <a:pt x="389828" y="367461"/>
                  <a:pt x="390627" y="377846"/>
                  <a:pt x="385035" y="384236"/>
                </a:cubicBezTo>
                <a:lnTo>
                  <a:pt x="353881" y="420184"/>
                </a:lnTo>
                <a:cubicBezTo>
                  <a:pt x="351484" y="423379"/>
                  <a:pt x="347490" y="424977"/>
                  <a:pt x="343496" y="425775"/>
                </a:cubicBezTo>
                <a:lnTo>
                  <a:pt x="343496" y="425775"/>
                </a:lnTo>
                <a:close/>
                <a:moveTo>
                  <a:pt x="519238" y="332313"/>
                </a:moveTo>
                <a:cubicBezTo>
                  <a:pt x="518439" y="332313"/>
                  <a:pt x="516842" y="332313"/>
                  <a:pt x="516043" y="332313"/>
                </a:cubicBezTo>
                <a:cubicBezTo>
                  <a:pt x="511250" y="332313"/>
                  <a:pt x="506457" y="330715"/>
                  <a:pt x="502463" y="329117"/>
                </a:cubicBezTo>
                <a:cubicBezTo>
                  <a:pt x="502463" y="330715"/>
                  <a:pt x="503262" y="332313"/>
                  <a:pt x="503262" y="333910"/>
                </a:cubicBezTo>
                <a:cubicBezTo>
                  <a:pt x="504859" y="351484"/>
                  <a:pt x="492078" y="366662"/>
                  <a:pt x="474504" y="368260"/>
                </a:cubicBezTo>
                <a:cubicBezTo>
                  <a:pt x="474504" y="368260"/>
                  <a:pt x="474504" y="368260"/>
                  <a:pt x="474504" y="368260"/>
                </a:cubicBezTo>
                <a:cubicBezTo>
                  <a:pt x="472107" y="368260"/>
                  <a:pt x="468912" y="368260"/>
                  <a:pt x="466516" y="367461"/>
                </a:cubicBezTo>
                <a:lnTo>
                  <a:pt x="466516" y="368260"/>
                </a:lnTo>
                <a:cubicBezTo>
                  <a:pt x="468113" y="385834"/>
                  <a:pt x="455332" y="401012"/>
                  <a:pt x="437758" y="402609"/>
                </a:cubicBezTo>
                <a:cubicBezTo>
                  <a:pt x="437758" y="402609"/>
                  <a:pt x="437758" y="402609"/>
                  <a:pt x="437758" y="402609"/>
                </a:cubicBezTo>
                <a:cubicBezTo>
                  <a:pt x="435361" y="402609"/>
                  <a:pt x="432166" y="402609"/>
                  <a:pt x="429770" y="401811"/>
                </a:cubicBezTo>
                <a:lnTo>
                  <a:pt x="429770" y="402609"/>
                </a:lnTo>
                <a:cubicBezTo>
                  <a:pt x="431367" y="420184"/>
                  <a:pt x="418586" y="435361"/>
                  <a:pt x="401012" y="436959"/>
                </a:cubicBezTo>
                <a:cubicBezTo>
                  <a:pt x="401012" y="436959"/>
                  <a:pt x="401012" y="436959"/>
                  <a:pt x="401012" y="436959"/>
                </a:cubicBezTo>
                <a:cubicBezTo>
                  <a:pt x="400213" y="436959"/>
                  <a:pt x="399414" y="436959"/>
                  <a:pt x="398615" y="436959"/>
                </a:cubicBezTo>
                <a:cubicBezTo>
                  <a:pt x="393023" y="436959"/>
                  <a:pt x="387432" y="435361"/>
                  <a:pt x="381840" y="432166"/>
                </a:cubicBezTo>
                <a:lnTo>
                  <a:pt x="371455" y="424178"/>
                </a:lnTo>
                <a:lnTo>
                  <a:pt x="397018" y="394621"/>
                </a:lnTo>
                <a:cubicBezTo>
                  <a:pt x="408201" y="381041"/>
                  <a:pt x="406604" y="361070"/>
                  <a:pt x="393822" y="349887"/>
                </a:cubicBezTo>
                <a:cubicBezTo>
                  <a:pt x="388230" y="345094"/>
                  <a:pt x="381041" y="341898"/>
                  <a:pt x="373053" y="341898"/>
                </a:cubicBezTo>
                <a:cubicBezTo>
                  <a:pt x="370656" y="341898"/>
                  <a:pt x="367461" y="341898"/>
                  <a:pt x="365064" y="342697"/>
                </a:cubicBezTo>
                <a:cubicBezTo>
                  <a:pt x="364266" y="333111"/>
                  <a:pt x="360272" y="324324"/>
                  <a:pt x="353082" y="317934"/>
                </a:cubicBezTo>
                <a:cubicBezTo>
                  <a:pt x="346691" y="312342"/>
                  <a:pt x="337904" y="309147"/>
                  <a:pt x="329117" y="309147"/>
                </a:cubicBezTo>
                <a:lnTo>
                  <a:pt x="329117" y="309147"/>
                </a:lnTo>
                <a:cubicBezTo>
                  <a:pt x="325123" y="309147"/>
                  <a:pt x="321928" y="309945"/>
                  <a:pt x="317934" y="310744"/>
                </a:cubicBezTo>
                <a:cubicBezTo>
                  <a:pt x="317934" y="299561"/>
                  <a:pt x="313141" y="289176"/>
                  <a:pt x="304354" y="281188"/>
                </a:cubicBezTo>
                <a:cubicBezTo>
                  <a:pt x="297164" y="274797"/>
                  <a:pt x="288377" y="270803"/>
                  <a:pt x="278791" y="271602"/>
                </a:cubicBezTo>
                <a:lnTo>
                  <a:pt x="278791" y="271602"/>
                </a:lnTo>
                <a:cubicBezTo>
                  <a:pt x="273998" y="271602"/>
                  <a:pt x="269205" y="272400"/>
                  <a:pt x="264412" y="273998"/>
                </a:cubicBezTo>
                <a:cubicBezTo>
                  <a:pt x="263613" y="262814"/>
                  <a:pt x="258820" y="252430"/>
                  <a:pt x="250832" y="245240"/>
                </a:cubicBezTo>
                <a:cubicBezTo>
                  <a:pt x="243643" y="238850"/>
                  <a:pt x="234855" y="234855"/>
                  <a:pt x="225270" y="235654"/>
                </a:cubicBezTo>
                <a:lnTo>
                  <a:pt x="225270" y="235654"/>
                </a:lnTo>
                <a:cubicBezTo>
                  <a:pt x="214086" y="235654"/>
                  <a:pt x="202902" y="240447"/>
                  <a:pt x="194914" y="249234"/>
                </a:cubicBezTo>
                <a:lnTo>
                  <a:pt x="174145" y="273199"/>
                </a:lnTo>
                <a:lnTo>
                  <a:pt x="173346" y="272400"/>
                </a:lnTo>
                <a:lnTo>
                  <a:pt x="119025" y="209293"/>
                </a:lnTo>
                <a:lnTo>
                  <a:pt x="188523" y="94262"/>
                </a:lnTo>
                <a:cubicBezTo>
                  <a:pt x="206098" y="103049"/>
                  <a:pt x="226068" y="107043"/>
                  <a:pt x="246039" y="106244"/>
                </a:cubicBezTo>
                <a:cubicBezTo>
                  <a:pt x="262016" y="106244"/>
                  <a:pt x="277992" y="104646"/>
                  <a:pt x="292371" y="103049"/>
                </a:cubicBezTo>
                <a:cubicBezTo>
                  <a:pt x="293969" y="103049"/>
                  <a:pt x="295566" y="103049"/>
                  <a:pt x="297164" y="103049"/>
                </a:cubicBezTo>
                <a:cubicBezTo>
                  <a:pt x="304354" y="103049"/>
                  <a:pt x="311543" y="103848"/>
                  <a:pt x="317934" y="106244"/>
                </a:cubicBezTo>
                <a:lnTo>
                  <a:pt x="273998" y="158168"/>
                </a:lnTo>
                <a:cubicBezTo>
                  <a:pt x="265211" y="167754"/>
                  <a:pt x="261217" y="180535"/>
                  <a:pt x="262016" y="193316"/>
                </a:cubicBezTo>
                <a:cubicBezTo>
                  <a:pt x="262814" y="206098"/>
                  <a:pt x="269205" y="217281"/>
                  <a:pt x="278791" y="226068"/>
                </a:cubicBezTo>
                <a:lnTo>
                  <a:pt x="278791" y="226068"/>
                </a:lnTo>
                <a:lnTo>
                  <a:pt x="278791" y="226068"/>
                </a:lnTo>
                <a:cubicBezTo>
                  <a:pt x="287578" y="233258"/>
                  <a:pt x="298762" y="237252"/>
                  <a:pt x="309945" y="237252"/>
                </a:cubicBezTo>
                <a:cubicBezTo>
                  <a:pt x="311543" y="237252"/>
                  <a:pt x="312342" y="237252"/>
                  <a:pt x="313939" y="237252"/>
                </a:cubicBezTo>
                <a:cubicBezTo>
                  <a:pt x="326721" y="236453"/>
                  <a:pt x="338703" y="230063"/>
                  <a:pt x="346691" y="220477"/>
                </a:cubicBezTo>
                <a:lnTo>
                  <a:pt x="401012" y="158168"/>
                </a:lnTo>
                <a:lnTo>
                  <a:pt x="401012" y="158168"/>
                </a:lnTo>
                <a:lnTo>
                  <a:pt x="409799" y="166156"/>
                </a:lnTo>
                <a:lnTo>
                  <a:pt x="538410" y="276395"/>
                </a:lnTo>
                <a:cubicBezTo>
                  <a:pt x="544002" y="281188"/>
                  <a:pt x="547197" y="289176"/>
                  <a:pt x="547197" y="296365"/>
                </a:cubicBezTo>
                <a:cubicBezTo>
                  <a:pt x="547197" y="297164"/>
                  <a:pt x="547197" y="299561"/>
                  <a:pt x="547197" y="299561"/>
                </a:cubicBezTo>
                <a:cubicBezTo>
                  <a:pt x="548795" y="316336"/>
                  <a:pt x="536014" y="330715"/>
                  <a:pt x="519238" y="332313"/>
                </a:cubicBezTo>
                <a:cubicBezTo>
                  <a:pt x="519238" y="332313"/>
                  <a:pt x="519238" y="332313"/>
                  <a:pt x="519238" y="332313"/>
                </a:cubicBezTo>
                <a:close/>
                <a:moveTo>
                  <a:pt x="558381" y="273998"/>
                </a:moveTo>
                <a:cubicBezTo>
                  <a:pt x="555984" y="270004"/>
                  <a:pt x="552789" y="266809"/>
                  <a:pt x="549594" y="263613"/>
                </a:cubicBezTo>
                <a:lnTo>
                  <a:pt x="400213" y="135002"/>
                </a:lnTo>
                <a:lnTo>
                  <a:pt x="334709" y="210092"/>
                </a:lnTo>
                <a:cubicBezTo>
                  <a:pt x="329117" y="216482"/>
                  <a:pt x="321928" y="220477"/>
                  <a:pt x="313141" y="221275"/>
                </a:cubicBezTo>
                <a:cubicBezTo>
                  <a:pt x="312342" y="221275"/>
                  <a:pt x="311543" y="221275"/>
                  <a:pt x="310744" y="221275"/>
                </a:cubicBezTo>
                <a:cubicBezTo>
                  <a:pt x="302756" y="221275"/>
                  <a:pt x="295566" y="218080"/>
                  <a:pt x="289176" y="213287"/>
                </a:cubicBezTo>
                <a:cubicBezTo>
                  <a:pt x="275596" y="202104"/>
                  <a:pt x="273998" y="182932"/>
                  <a:pt x="285182" y="169352"/>
                </a:cubicBezTo>
                <a:cubicBezTo>
                  <a:pt x="285182" y="169352"/>
                  <a:pt x="285980" y="168553"/>
                  <a:pt x="285980" y="168553"/>
                </a:cubicBezTo>
                <a:lnTo>
                  <a:pt x="349088" y="96658"/>
                </a:lnTo>
                <a:cubicBezTo>
                  <a:pt x="355479" y="89469"/>
                  <a:pt x="364266" y="86273"/>
                  <a:pt x="373053" y="86273"/>
                </a:cubicBezTo>
                <a:cubicBezTo>
                  <a:pt x="373852" y="86273"/>
                  <a:pt x="374650" y="86273"/>
                  <a:pt x="376248" y="86273"/>
                </a:cubicBezTo>
                <a:cubicBezTo>
                  <a:pt x="377846" y="86273"/>
                  <a:pt x="378645" y="87072"/>
                  <a:pt x="380242" y="87072"/>
                </a:cubicBezTo>
                <a:cubicBezTo>
                  <a:pt x="416988" y="94262"/>
                  <a:pt x="450539" y="107043"/>
                  <a:pt x="489682" y="107043"/>
                </a:cubicBezTo>
                <a:cubicBezTo>
                  <a:pt x="509652" y="107043"/>
                  <a:pt x="529623" y="103848"/>
                  <a:pt x="547996" y="96658"/>
                </a:cubicBezTo>
                <a:lnTo>
                  <a:pt x="594328" y="171748"/>
                </a:lnTo>
                <a:lnTo>
                  <a:pt x="615897" y="207695"/>
                </a:lnTo>
                <a:lnTo>
                  <a:pt x="558381" y="273998"/>
                </a:lnTo>
                <a:close/>
                <a:moveTo>
                  <a:pt x="653441" y="209293"/>
                </a:moveTo>
                <a:cubicBezTo>
                  <a:pt x="651045" y="210891"/>
                  <a:pt x="647850" y="211689"/>
                  <a:pt x="645453" y="211689"/>
                </a:cubicBezTo>
                <a:cubicBezTo>
                  <a:pt x="641459" y="211689"/>
                  <a:pt x="637465" y="210092"/>
                  <a:pt x="634270" y="206896"/>
                </a:cubicBezTo>
                <a:lnTo>
                  <a:pt x="629477" y="198908"/>
                </a:lnTo>
                <a:lnTo>
                  <a:pt x="607908" y="163760"/>
                </a:lnTo>
                <a:lnTo>
                  <a:pt x="557582" y="80682"/>
                </a:lnTo>
                <a:cubicBezTo>
                  <a:pt x="552789" y="73492"/>
                  <a:pt x="555186" y="64705"/>
                  <a:pt x="561576" y="59912"/>
                </a:cubicBezTo>
                <a:cubicBezTo>
                  <a:pt x="562375" y="59912"/>
                  <a:pt x="562375" y="59113"/>
                  <a:pt x="563174" y="59113"/>
                </a:cubicBezTo>
                <a:lnTo>
                  <a:pt x="624684" y="21568"/>
                </a:lnTo>
                <a:lnTo>
                  <a:pt x="714951" y="171748"/>
                </a:lnTo>
                <a:lnTo>
                  <a:pt x="653441" y="209293"/>
                </a:lnTo>
                <a:close/>
              </a:path>
            </a:pathLst>
          </a:custGeom>
          <a:gradFill>
            <a:gsLst>
              <a:gs pos="0">
                <a:srgbClr val="3FB6FA"/>
              </a:gs>
              <a:gs pos="100000">
                <a:srgbClr val="8745A6"/>
              </a:gs>
            </a:gsLst>
            <a:lin ang="10800000" scaled="1"/>
          </a:gradFill>
          <a:ln w="7938" cap="flat">
            <a:noFill/>
            <a:prstDash val="solid"/>
            <a:miter/>
          </a:ln>
        </p:spPr>
        <p:txBody>
          <a:bodyPr rtlCol="0" anchor="ctr"/>
          <a:lstStyle/>
          <a:p>
            <a:endParaRPr lang="en-IN"/>
          </a:p>
        </p:txBody>
      </p:sp>
      <p:sp>
        <p:nvSpPr>
          <p:cNvPr id="37" name="Graphic 28" descr="Puzzle outline">
            <a:extLst>
              <a:ext uri="{FF2B5EF4-FFF2-40B4-BE49-F238E27FC236}">
                <a16:creationId xmlns:a16="http://schemas.microsoft.com/office/drawing/2014/main" id="{1EE2E284-9676-E2B3-31DE-562D36EB24FA}"/>
              </a:ext>
            </a:extLst>
          </p:cNvPr>
          <p:cNvSpPr/>
          <p:nvPr/>
        </p:nvSpPr>
        <p:spPr>
          <a:xfrm>
            <a:off x="2048586" y="4339202"/>
            <a:ext cx="651284" cy="651284"/>
          </a:xfrm>
          <a:custGeom>
            <a:avLst/>
            <a:gdLst>
              <a:gd name="connsiteX0" fmla="*/ 372342 w 661629"/>
              <a:gd name="connsiteY0" fmla="*/ 661629 h 661629"/>
              <a:gd name="connsiteX1" fmla="*/ 230893 w 661629"/>
              <a:gd name="connsiteY1" fmla="*/ 520181 h 661629"/>
              <a:gd name="connsiteX2" fmla="*/ 214389 w 661629"/>
              <a:gd name="connsiteY2" fmla="*/ 517697 h 661629"/>
              <a:gd name="connsiteX3" fmla="*/ 187812 w 661629"/>
              <a:gd name="connsiteY3" fmla="*/ 559859 h 661629"/>
              <a:gd name="connsiteX4" fmla="*/ 152416 w 661629"/>
              <a:gd name="connsiteY4" fmla="*/ 615849 h 661629"/>
              <a:gd name="connsiteX5" fmla="*/ 68851 w 661629"/>
              <a:gd name="connsiteY5" fmla="*/ 600184 h 661629"/>
              <a:gd name="connsiteX6" fmla="*/ 63139 w 661629"/>
              <a:gd name="connsiteY6" fmla="*/ 594472 h 661629"/>
              <a:gd name="connsiteX7" fmla="*/ 46979 w 661629"/>
              <a:gd name="connsiteY7" fmla="*/ 508582 h 661629"/>
              <a:gd name="connsiteX8" fmla="*/ 101779 w 661629"/>
              <a:gd name="connsiteY8" fmla="*/ 473793 h 661629"/>
              <a:gd name="connsiteX9" fmla="*/ 143917 w 661629"/>
              <a:gd name="connsiteY9" fmla="*/ 447216 h 661629"/>
              <a:gd name="connsiteX10" fmla="*/ 141425 w 661629"/>
              <a:gd name="connsiteY10" fmla="*/ 430712 h 661629"/>
              <a:gd name="connsiteX11" fmla="*/ 0 w 661629"/>
              <a:gd name="connsiteY11" fmla="*/ 289264 h 661629"/>
              <a:gd name="connsiteX12" fmla="*/ 102258 w 661629"/>
              <a:gd name="connsiteY12" fmla="*/ 186215 h 661629"/>
              <a:gd name="connsiteX13" fmla="*/ 136384 w 661629"/>
              <a:gd name="connsiteY13" fmla="*/ 180319 h 661629"/>
              <a:gd name="connsiteX14" fmla="*/ 172635 w 661629"/>
              <a:gd name="connsiteY14" fmla="*/ 237548 h 661629"/>
              <a:gd name="connsiteX15" fmla="*/ 197942 w 661629"/>
              <a:gd name="connsiteY15" fmla="*/ 277281 h 661629"/>
              <a:gd name="connsiteX16" fmla="*/ 266162 w 661629"/>
              <a:gd name="connsiteY16" fmla="*/ 264300 h 661629"/>
              <a:gd name="connsiteX17" fmla="*/ 271634 w 661629"/>
              <a:gd name="connsiteY17" fmla="*/ 258828 h 661629"/>
              <a:gd name="connsiteX18" fmla="*/ 284111 w 661629"/>
              <a:gd name="connsiteY18" fmla="*/ 192925 h 661629"/>
              <a:gd name="connsiteX19" fmla="*/ 243171 w 661629"/>
              <a:gd name="connsiteY19" fmla="*/ 167043 h 661629"/>
              <a:gd name="connsiteX20" fmla="*/ 185879 w 661629"/>
              <a:gd name="connsiteY20" fmla="*/ 130800 h 661629"/>
              <a:gd name="connsiteX21" fmla="*/ 191751 w 661629"/>
              <a:gd name="connsiteY21" fmla="*/ 96690 h 661629"/>
              <a:gd name="connsiteX22" fmla="*/ 289264 w 661629"/>
              <a:gd name="connsiteY22" fmla="*/ 0 h 661629"/>
              <a:gd name="connsiteX23" fmla="*/ 430656 w 661629"/>
              <a:gd name="connsiteY23" fmla="*/ 141393 h 661629"/>
              <a:gd name="connsiteX24" fmla="*/ 447160 w 661629"/>
              <a:gd name="connsiteY24" fmla="*/ 143877 h 661629"/>
              <a:gd name="connsiteX25" fmla="*/ 473793 w 661629"/>
              <a:gd name="connsiteY25" fmla="*/ 101747 h 661629"/>
              <a:gd name="connsiteX26" fmla="*/ 509181 w 661629"/>
              <a:gd name="connsiteY26" fmla="*/ 45757 h 661629"/>
              <a:gd name="connsiteX27" fmla="*/ 592754 w 661629"/>
              <a:gd name="connsiteY27" fmla="*/ 61422 h 661629"/>
              <a:gd name="connsiteX28" fmla="*/ 598458 w 661629"/>
              <a:gd name="connsiteY28" fmla="*/ 67134 h 661629"/>
              <a:gd name="connsiteX29" fmla="*/ 614626 w 661629"/>
              <a:gd name="connsiteY29" fmla="*/ 153024 h 661629"/>
              <a:gd name="connsiteX30" fmla="*/ 559827 w 661629"/>
              <a:gd name="connsiteY30" fmla="*/ 187812 h 661629"/>
              <a:gd name="connsiteX31" fmla="*/ 517729 w 661629"/>
              <a:gd name="connsiteY31" fmla="*/ 214389 h 661629"/>
              <a:gd name="connsiteX32" fmla="*/ 520213 w 661629"/>
              <a:gd name="connsiteY32" fmla="*/ 230893 h 661629"/>
              <a:gd name="connsiteX33" fmla="*/ 661629 w 661629"/>
              <a:gd name="connsiteY33" fmla="*/ 372342 h 661629"/>
              <a:gd name="connsiteX34" fmla="*/ 564915 w 661629"/>
              <a:gd name="connsiteY34" fmla="*/ 469056 h 661629"/>
              <a:gd name="connsiteX35" fmla="*/ 530805 w 661629"/>
              <a:gd name="connsiteY35" fmla="*/ 474927 h 661629"/>
              <a:gd name="connsiteX36" fmla="*/ 494562 w 661629"/>
              <a:gd name="connsiteY36" fmla="*/ 417667 h 661629"/>
              <a:gd name="connsiteX37" fmla="*/ 469264 w 661629"/>
              <a:gd name="connsiteY37" fmla="*/ 377934 h 661629"/>
              <a:gd name="connsiteX38" fmla="*/ 401044 w 661629"/>
              <a:gd name="connsiteY38" fmla="*/ 390915 h 661629"/>
              <a:gd name="connsiteX39" fmla="*/ 395564 w 661629"/>
              <a:gd name="connsiteY39" fmla="*/ 396387 h 661629"/>
              <a:gd name="connsiteX40" fmla="*/ 383086 w 661629"/>
              <a:gd name="connsiteY40" fmla="*/ 462290 h 661629"/>
              <a:gd name="connsiteX41" fmla="*/ 424026 w 661629"/>
              <a:gd name="connsiteY41" fmla="*/ 488172 h 661629"/>
              <a:gd name="connsiteX42" fmla="*/ 424026 w 661629"/>
              <a:gd name="connsiteY42" fmla="*/ 488172 h 661629"/>
              <a:gd name="connsiteX43" fmla="*/ 481358 w 661629"/>
              <a:gd name="connsiteY43" fmla="*/ 524119 h 661629"/>
              <a:gd name="connsiteX44" fmla="*/ 475407 w 661629"/>
              <a:gd name="connsiteY44" fmla="*/ 558469 h 661629"/>
              <a:gd name="connsiteX45" fmla="*/ 221539 w 661629"/>
              <a:gd name="connsiteY45" fmla="*/ 500090 h 661629"/>
              <a:gd name="connsiteX46" fmla="*/ 242189 w 661629"/>
              <a:gd name="connsiteY46" fmla="*/ 508877 h 661629"/>
              <a:gd name="connsiteX47" fmla="*/ 372342 w 661629"/>
              <a:gd name="connsiteY47" fmla="*/ 639039 h 661629"/>
              <a:gd name="connsiteX48" fmla="*/ 464151 w 661629"/>
              <a:gd name="connsiteY48" fmla="*/ 547229 h 661629"/>
              <a:gd name="connsiteX49" fmla="*/ 466715 w 661629"/>
              <a:gd name="connsiteY49" fmla="*/ 530454 h 661629"/>
              <a:gd name="connsiteX50" fmla="*/ 424473 w 661629"/>
              <a:gd name="connsiteY50" fmla="*/ 504148 h 661629"/>
              <a:gd name="connsiteX51" fmla="*/ 368483 w 661629"/>
              <a:gd name="connsiteY51" fmla="*/ 468752 h 661629"/>
              <a:gd name="connsiteX52" fmla="*/ 384148 w 661629"/>
              <a:gd name="connsiteY52" fmla="*/ 385187 h 661629"/>
              <a:gd name="connsiteX53" fmla="*/ 389860 w 661629"/>
              <a:gd name="connsiteY53" fmla="*/ 379475 h 661629"/>
              <a:gd name="connsiteX54" fmla="*/ 475750 w 661629"/>
              <a:gd name="connsiteY54" fmla="*/ 363315 h 661629"/>
              <a:gd name="connsiteX55" fmla="*/ 510539 w 661629"/>
              <a:gd name="connsiteY55" fmla="*/ 418115 h 661629"/>
              <a:gd name="connsiteX56" fmla="*/ 537116 w 661629"/>
              <a:gd name="connsiteY56" fmla="*/ 460253 h 661629"/>
              <a:gd name="connsiteX57" fmla="*/ 553620 w 661629"/>
              <a:gd name="connsiteY57" fmla="*/ 457760 h 661629"/>
              <a:gd name="connsiteX58" fmla="*/ 639039 w 661629"/>
              <a:gd name="connsiteY58" fmla="*/ 372342 h 661629"/>
              <a:gd name="connsiteX59" fmla="*/ 508885 w 661629"/>
              <a:gd name="connsiteY59" fmla="*/ 242189 h 661629"/>
              <a:gd name="connsiteX60" fmla="*/ 503014 w 661629"/>
              <a:gd name="connsiteY60" fmla="*/ 208079 h 661629"/>
              <a:gd name="connsiteX61" fmla="*/ 560282 w 661629"/>
              <a:gd name="connsiteY61" fmla="*/ 171836 h 661629"/>
              <a:gd name="connsiteX62" fmla="*/ 600008 w 661629"/>
              <a:gd name="connsiteY62" fmla="*/ 146529 h 661629"/>
              <a:gd name="connsiteX63" fmla="*/ 587027 w 661629"/>
              <a:gd name="connsiteY63" fmla="*/ 78309 h 661629"/>
              <a:gd name="connsiteX64" fmla="*/ 581555 w 661629"/>
              <a:gd name="connsiteY64" fmla="*/ 72837 h 661629"/>
              <a:gd name="connsiteX65" fmla="*/ 515660 w 661629"/>
              <a:gd name="connsiteY65" fmla="*/ 60359 h 661629"/>
              <a:gd name="connsiteX66" fmla="*/ 489770 w 661629"/>
              <a:gd name="connsiteY66" fmla="*/ 101299 h 661629"/>
              <a:gd name="connsiteX67" fmla="*/ 453527 w 661629"/>
              <a:gd name="connsiteY67" fmla="*/ 158591 h 661629"/>
              <a:gd name="connsiteX68" fmla="*/ 419417 w 661629"/>
              <a:gd name="connsiteY68" fmla="*/ 152720 h 661629"/>
              <a:gd name="connsiteX69" fmla="*/ 289264 w 661629"/>
              <a:gd name="connsiteY69" fmla="*/ 22543 h 661629"/>
              <a:gd name="connsiteX70" fmla="*/ 202990 w 661629"/>
              <a:gd name="connsiteY70" fmla="*/ 108010 h 661629"/>
              <a:gd name="connsiteX71" fmla="*/ 200530 w 661629"/>
              <a:gd name="connsiteY71" fmla="*/ 124489 h 661629"/>
              <a:gd name="connsiteX72" fmla="*/ 242724 w 661629"/>
              <a:gd name="connsiteY72" fmla="*/ 151066 h 661629"/>
              <a:gd name="connsiteX73" fmla="*/ 298714 w 661629"/>
              <a:gd name="connsiteY73" fmla="*/ 186462 h 661629"/>
              <a:gd name="connsiteX74" fmla="*/ 283049 w 661629"/>
              <a:gd name="connsiteY74" fmla="*/ 270028 h 661629"/>
              <a:gd name="connsiteX75" fmla="*/ 277337 w 661629"/>
              <a:gd name="connsiteY75" fmla="*/ 275739 h 661629"/>
              <a:gd name="connsiteX76" fmla="*/ 191455 w 661629"/>
              <a:gd name="connsiteY76" fmla="*/ 291900 h 661629"/>
              <a:gd name="connsiteX77" fmla="*/ 156658 w 661629"/>
              <a:gd name="connsiteY77" fmla="*/ 237100 h 661629"/>
              <a:gd name="connsiteX78" fmla="*/ 130081 w 661629"/>
              <a:gd name="connsiteY78" fmla="*/ 195002 h 661629"/>
              <a:gd name="connsiteX79" fmla="*/ 113577 w 661629"/>
              <a:gd name="connsiteY79" fmla="*/ 197494 h 661629"/>
              <a:gd name="connsiteX80" fmla="*/ 22543 w 661629"/>
              <a:gd name="connsiteY80" fmla="*/ 289264 h 661629"/>
              <a:gd name="connsiteX81" fmla="*/ 152752 w 661629"/>
              <a:gd name="connsiteY81" fmla="*/ 419473 h 661629"/>
              <a:gd name="connsiteX82" fmla="*/ 158623 w 661629"/>
              <a:gd name="connsiteY82" fmla="*/ 453583 h 661629"/>
              <a:gd name="connsiteX83" fmla="*/ 101331 w 661629"/>
              <a:gd name="connsiteY83" fmla="*/ 489770 h 661629"/>
              <a:gd name="connsiteX84" fmla="*/ 61598 w 661629"/>
              <a:gd name="connsiteY84" fmla="*/ 515076 h 661629"/>
              <a:gd name="connsiteX85" fmla="*/ 74579 w 661629"/>
              <a:gd name="connsiteY85" fmla="*/ 583296 h 661629"/>
              <a:gd name="connsiteX86" fmla="*/ 80051 w 661629"/>
              <a:gd name="connsiteY86" fmla="*/ 588768 h 661629"/>
              <a:gd name="connsiteX87" fmla="*/ 145954 w 661629"/>
              <a:gd name="connsiteY87" fmla="*/ 601246 h 661629"/>
              <a:gd name="connsiteX88" fmla="*/ 171836 w 661629"/>
              <a:gd name="connsiteY88" fmla="*/ 560306 h 661629"/>
              <a:gd name="connsiteX89" fmla="*/ 208071 w 661629"/>
              <a:gd name="connsiteY89" fmla="*/ 503014 h 661629"/>
              <a:gd name="connsiteX90" fmla="*/ 221539 w 661629"/>
              <a:gd name="connsiteY90" fmla="*/ 500090 h 66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61629" h="661629">
                <a:moveTo>
                  <a:pt x="372342" y="661629"/>
                </a:moveTo>
                <a:lnTo>
                  <a:pt x="230893" y="520181"/>
                </a:lnTo>
                <a:cubicBezTo>
                  <a:pt x="226598" y="515695"/>
                  <a:pt x="219815" y="514674"/>
                  <a:pt x="214389" y="517697"/>
                </a:cubicBezTo>
                <a:cubicBezTo>
                  <a:pt x="198679" y="526041"/>
                  <a:pt x="188565" y="542086"/>
                  <a:pt x="187812" y="559859"/>
                </a:cubicBezTo>
                <a:cubicBezTo>
                  <a:pt x="188957" y="584107"/>
                  <a:pt x="174812" y="606482"/>
                  <a:pt x="152416" y="615849"/>
                </a:cubicBezTo>
                <a:cubicBezTo>
                  <a:pt x="123942" y="627875"/>
                  <a:pt x="91036" y="621706"/>
                  <a:pt x="68851" y="600184"/>
                </a:cubicBezTo>
                <a:lnTo>
                  <a:pt x="63139" y="594472"/>
                </a:lnTo>
                <a:cubicBezTo>
                  <a:pt x="40985" y="571689"/>
                  <a:pt x="34620" y="537858"/>
                  <a:pt x="46979" y="508582"/>
                </a:cubicBezTo>
                <a:cubicBezTo>
                  <a:pt x="56113" y="486616"/>
                  <a:pt x="78014" y="472712"/>
                  <a:pt x="101779" y="473793"/>
                </a:cubicBezTo>
                <a:cubicBezTo>
                  <a:pt x="119515" y="472941"/>
                  <a:pt x="135508" y="462855"/>
                  <a:pt x="143917" y="447216"/>
                </a:cubicBezTo>
                <a:cubicBezTo>
                  <a:pt x="146934" y="441788"/>
                  <a:pt x="145911" y="435007"/>
                  <a:pt x="141425" y="430712"/>
                </a:cubicBezTo>
                <a:lnTo>
                  <a:pt x="0" y="289264"/>
                </a:lnTo>
                <a:lnTo>
                  <a:pt x="102258" y="186215"/>
                </a:lnTo>
                <a:cubicBezTo>
                  <a:pt x="111179" y="177110"/>
                  <a:pt x="124926" y="174735"/>
                  <a:pt x="136384" y="180319"/>
                </a:cubicBezTo>
                <a:cubicBezTo>
                  <a:pt x="158056" y="191295"/>
                  <a:pt x="171972" y="213264"/>
                  <a:pt x="172635" y="237548"/>
                </a:cubicBezTo>
                <a:cubicBezTo>
                  <a:pt x="171730" y="254835"/>
                  <a:pt x="181893" y="270792"/>
                  <a:pt x="197942" y="277281"/>
                </a:cubicBezTo>
                <a:cubicBezTo>
                  <a:pt x="221249" y="286810"/>
                  <a:pt x="247982" y="281723"/>
                  <a:pt x="266162" y="264300"/>
                </a:cubicBezTo>
                <a:lnTo>
                  <a:pt x="271634" y="258828"/>
                </a:lnTo>
                <a:cubicBezTo>
                  <a:pt x="288634" y="241352"/>
                  <a:pt x="293546" y="215407"/>
                  <a:pt x="284111" y="192925"/>
                </a:cubicBezTo>
                <a:cubicBezTo>
                  <a:pt x="277374" y="176456"/>
                  <a:pt x="260939" y="166065"/>
                  <a:pt x="243171" y="167043"/>
                </a:cubicBezTo>
                <a:cubicBezTo>
                  <a:pt x="218864" y="166413"/>
                  <a:pt x="196862" y="152495"/>
                  <a:pt x="185879" y="130800"/>
                </a:cubicBezTo>
                <a:cubicBezTo>
                  <a:pt x="180294" y="119351"/>
                  <a:pt x="182658" y="105613"/>
                  <a:pt x="191751" y="96690"/>
                </a:cubicBezTo>
                <a:lnTo>
                  <a:pt x="289264" y="0"/>
                </a:lnTo>
                <a:lnTo>
                  <a:pt x="430656" y="141393"/>
                </a:lnTo>
                <a:cubicBezTo>
                  <a:pt x="434955" y="145873"/>
                  <a:pt x="441733" y="146893"/>
                  <a:pt x="447160" y="143877"/>
                </a:cubicBezTo>
                <a:cubicBezTo>
                  <a:pt x="462879" y="135549"/>
                  <a:pt x="473013" y="119519"/>
                  <a:pt x="473793" y="101747"/>
                </a:cubicBezTo>
                <a:cubicBezTo>
                  <a:pt x="472645" y="77500"/>
                  <a:pt x="486787" y="55125"/>
                  <a:pt x="509181" y="45757"/>
                </a:cubicBezTo>
                <a:cubicBezTo>
                  <a:pt x="537658" y="33727"/>
                  <a:pt x="570568" y="39896"/>
                  <a:pt x="592754" y="61422"/>
                </a:cubicBezTo>
                <a:lnTo>
                  <a:pt x="598458" y="67134"/>
                </a:lnTo>
                <a:cubicBezTo>
                  <a:pt x="620615" y="89914"/>
                  <a:pt x="626983" y="123746"/>
                  <a:pt x="614626" y="153024"/>
                </a:cubicBezTo>
                <a:cubicBezTo>
                  <a:pt x="605512" y="175006"/>
                  <a:pt x="583597" y="188917"/>
                  <a:pt x="559827" y="187812"/>
                </a:cubicBezTo>
                <a:cubicBezTo>
                  <a:pt x="542074" y="188578"/>
                  <a:pt x="526054" y="198691"/>
                  <a:pt x="517729" y="214389"/>
                </a:cubicBezTo>
                <a:cubicBezTo>
                  <a:pt x="514712" y="219817"/>
                  <a:pt x="515732" y="226595"/>
                  <a:pt x="520213" y="230893"/>
                </a:cubicBezTo>
                <a:lnTo>
                  <a:pt x="661629" y="372342"/>
                </a:lnTo>
                <a:lnTo>
                  <a:pt x="564915" y="469056"/>
                </a:lnTo>
                <a:cubicBezTo>
                  <a:pt x="556000" y="478162"/>
                  <a:pt x="542252" y="480528"/>
                  <a:pt x="530805" y="474927"/>
                </a:cubicBezTo>
                <a:cubicBezTo>
                  <a:pt x="509124" y="463947"/>
                  <a:pt x="495210" y="441962"/>
                  <a:pt x="494562" y="417667"/>
                </a:cubicBezTo>
                <a:cubicBezTo>
                  <a:pt x="495464" y="400384"/>
                  <a:pt x="485306" y="384430"/>
                  <a:pt x="469264" y="377934"/>
                </a:cubicBezTo>
                <a:cubicBezTo>
                  <a:pt x="445957" y="368395"/>
                  <a:pt x="419219" y="373483"/>
                  <a:pt x="401044" y="390915"/>
                </a:cubicBezTo>
                <a:lnTo>
                  <a:pt x="395564" y="396387"/>
                </a:lnTo>
                <a:cubicBezTo>
                  <a:pt x="378563" y="413863"/>
                  <a:pt x="373651" y="439808"/>
                  <a:pt x="383086" y="462290"/>
                </a:cubicBezTo>
                <a:cubicBezTo>
                  <a:pt x="389837" y="478748"/>
                  <a:pt x="406263" y="489132"/>
                  <a:pt x="424026" y="488172"/>
                </a:cubicBezTo>
                <a:lnTo>
                  <a:pt x="424026" y="488172"/>
                </a:lnTo>
                <a:cubicBezTo>
                  <a:pt x="448360" y="488474"/>
                  <a:pt x="470486" y="502347"/>
                  <a:pt x="481358" y="524119"/>
                </a:cubicBezTo>
                <a:cubicBezTo>
                  <a:pt x="486965" y="535657"/>
                  <a:pt x="484569" y="549489"/>
                  <a:pt x="475407" y="558469"/>
                </a:cubicBezTo>
                <a:close/>
                <a:moveTo>
                  <a:pt x="221539" y="500090"/>
                </a:moveTo>
                <a:cubicBezTo>
                  <a:pt x="229328" y="500102"/>
                  <a:pt x="236780" y="503273"/>
                  <a:pt x="242189" y="508877"/>
                </a:cubicBezTo>
                <a:lnTo>
                  <a:pt x="372342" y="639039"/>
                </a:lnTo>
                <a:lnTo>
                  <a:pt x="464151" y="547229"/>
                </a:lnTo>
                <a:cubicBezTo>
                  <a:pt x="468719" y="542870"/>
                  <a:pt x="469772" y="535979"/>
                  <a:pt x="466715" y="530454"/>
                </a:cubicBezTo>
                <a:cubicBezTo>
                  <a:pt x="458440" y="514680"/>
                  <a:pt x="442280" y="504617"/>
                  <a:pt x="424473" y="504148"/>
                </a:cubicBezTo>
                <a:cubicBezTo>
                  <a:pt x="400234" y="505260"/>
                  <a:pt x="377877" y="491126"/>
                  <a:pt x="368483" y="468752"/>
                </a:cubicBezTo>
                <a:cubicBezTo>
                  <a:pt x="356453" y="440279"/>
                  <a:pt x="362622" y="407370"/>
                  <a:pt x="384148" y="385187"/>
                </a:cubicBezTo>
                <a:lnTo>
                  <a:pt x="389860" y="379475"/>
                </a:lnTo>
                <a:cubicBezTo>
                  <a:pt x="412643" y="357321"/>
                  <a:pt x="446474" y="350956"/>
                  <a:pt x="475750" y="363315"/>
                </a:cubicBezTo>
                <a:cubicBezTo>
                  <a:pt x="497715" y="372450"/>
                  <a:pt x="511617" y="394350"/>
                  <a:pt x="510539" y="418115"/>
                </a:cubicBezTo>
                <a:cubicBezTo>
                  <a:pt x="511300" y="435880"/>
                  <a:pt x="521413" y="451912"/>
                  <a:pt x="537116" y="460253"/>
                </a:cubicBezTo>
                <a:cubicBezTo>
                  <a:pt x="542545" y="463268"/>
                  <a:pt x="549324" y="462244"/>
                  <a:pt x="553620" y="457760"/>
                </a:cubicBezTo>
                <a:lnTo>
                  <a:pt x="639039" y="372342"/>
                </a:lnTo>
                <a:lnTo>
                  <a:pt x="508885" y="242189"/>
                </a:lnTo>
                <a:cubicBezTo>
                  <a:pt x="499793" y="233266"/>
                  <a:pt x="497429" y="219528"/>
                  <a:pt x="503014" y="208079"/>
                </a:cubicBezTo>
                <a:cubicBezTo>
                  <a:pt x="513957" y="186359"/>
                  <a:pt x="535969" y="172429"/>
                  <a:pt x="560282" y="171836"/>
                </a:cubicBezTo>
                <a:cubicBezTo>
                  <a:pt x="577568" y="172742"/>
                  <a:pt x="593523" y="162578"/>
                  <a:pt x="600008" y="146529"/>
                </a:cubicBezTo>
                <a:cubicBezTo>
                  <a:pt x="609540" y="123222"/>
                  <a:pt x="604453" y="96486"/>
                  <a:pt x="587027" y="78309"/>
                </a:cubicBezTo>
                <a:lnTo>
                  <a:pt x="581555" y="72837"/>
                </a:lnTo>
                <a:cubicBezTo>
                  <a:pt x="564078" y="55842"/>
                  <a:pt x="538139" y="50930"/>
                  <a:pt x="515660" y="60359"/>
                </a:cubicBezTo>
                <a:cubicBezTo>
                  <a:pt x="499177" y="67082"/>
                  <a:pt x="488778" y="83526"/>
                  <a:pt x="489770" y="101299"/>
                </a:cubicBezTo>
                <a:cubicBezTo>
                  <a:pt x="489131" y="125605"/>
                  <a:pt x="475215" y="147602"/>
                  <a:pt x="453527" y="158591"/>
                </a:cubicBezTo>
                <a:cubicBezTo>
                  <a:pt x="442080" y="164192"/>
                  <a:pt x="428332" y="161826"/>
                  <a:pt x="419417" y="152720"/>
                </a:cubicBezTo>
                <a:lnTo>
                  <a:pt x="289264" y="22543"/>
                </a:lnTo>
                <a:lnTo>
                  <a:pt x="202990" y="108010"/>
                </a:lnTo>
                <a:cubicBezTo>
                  <a:pt x="198524" y="112307"/>
                  <a:pt x="197514" y="119074"/>
                  <a:pt x="200530" y="124489"/>
                </a:cubicBezTo>
                <a:cubicBezTo>
                  <a:pt x="208857" y="140232"/>
                  <a:pt x="224929" y="150355"/>
                  <a:pt x="242724" y="151066"/>
                </a:cubicBezTo>
                <a:cubicBezTo>
                  <a:pt x="266964" y="149955"/>
                  <a:pt x="289320" y="164089"/>
                  <a:pt x="298714" y="186462"/>
                </a:cubicBezTo>
                <a:cubicBezTo>
                  <a:pt x="310744" y="214936"/>
                  <a:pt x="304576" y="247844"/>
                  <a:pt x="283049" y="270028"/>
                </a:cubicBezTo>
                <a:lnTo>
                  <a:pt x="277337" y="275739"/>
                </a:lnTo>
                <a:cubicBezTo>
                  <a:pt x="254556" y="297890"/>
                  <a:pt x="220730" y="304255"/>
                  <a:pt x="191455" y="291900"/>
                </a:cubicBezTo>
                <a:cubicBezTo>
                  <a:pt x="169484" y="282771"/>
                  <a:pt x="155577" y="260868"/>
                  <a:pt x="156658" y="237100"/>
                </a:cubicBezTo>
                <a:cubicBezTo>
                  <a:pt x="155879" y="219351"/>
                  <a:pt x="145769" y="203339"/>
                  <a:pt x="130081" y="195002"/>
                </a:cubicBezTo>
                <a:cubicBezTo>
                  <a:pt x="124652" y="191987"/>
                  <a:pt x="117873" y="193011"/>
                  <a:pt x="113577" y="197494"/>
                </a:cubicBezTo>
                <a:lnTo>
                  <a:pt x="22543" y="289264"/>
                </a:lnTo>
                <a:lnTo>
                  <a:pt x="152752" y="419473"/>
                </a:lnTo>
                <a:cubicBezTo>
                  <a:pt x="161858" y="428388"/>
                  <a:pt x="164224" y="442135"/>
                  <a:pt x="158623" y="453583"/>
                </a:cubicBezTo>
                <a:cubicBezTo>
                  <a:pt x="147598" y="475230"/>
                  <a:pt x="125616" y="489114"/>
                  <a:pt x="101331" y="489770"/>
                </a:cubicBezTo>
                <a:cubicBezTo>
                  <a:pt x="84057" y="488916"/>
                  <a:pt x="68128" y="499062"/>
                  <a:pt x="61598" y="515076"/>
                </a:cubicBezTo>
                <a:cubicBezTo>
                  <a:pt x="52065" y="538384"/>
                  <a:pt x="57152" y="565119"/>
                  <a:pt x="74579" y="583296"/>
                </a:cubicBezTo>
                <a:lnTo>
                  <a:pt x="80051" y="588768"/>
                </a:lnTo>
                <a:cubicBezTo>
                  <a:pt x="97530" y="605765"/>
                  <a:pt x="123472" y="610677"/>
                  <a:pt x="145954" y="601246"/>
                </a:cubicBezTo>
                <a:cubicBezTo>
                  <a:pt x="162431" y="594518"/>
                  <a:pt x="172826" y="578077"/>
                  <a:pt x="171836" y="560306"/>
                </a:cubicBezTo>
                <a:cubicBezTo>
                  <a:pt x="172471" y="536002"/>
                  <a:pt x="186384" y="514004"/>
                  <a:pt x="208071" y="503014"/>
                </a:cubicBezTo>
                <a:cubicBezTo>
                  <a:pt x="212314" y="501133"/>
                  <a:pt x="216897" y="500138"/>
                  <a:pt x="221539" y="500090"/>
                </a:cubicBezTo>
                <a:close/>
              </a:path>
            </a:pathLst>
          </a:custGeom>
          <a:gradFill>
            <a:gsLst>
              <a:gs pos="0">
                <a:srgbClr val="3FB6FA"/>
              </a:gs>
              <a:gs pos="100000">
                <a:srgbClr val="8745A6"/>
              </a:gs>
            </a:gsLst>
            <a:lin ang="10800000" scaled="1"/>
          </a:gradFill>
          <a:ln w="7938" cap="flat">
            <a:noFill/>
            <a:prstDash val="solid"/>
            <a:miter/>
          </a:ln>
        </p:spPr>
        <p:txBody>
          <a:bodyPr rtlCol="0" anchor="ctr"/>
          <a:lstStyle/>
          <a:p>
            <a:endParaRPr lang="en-IN"/>
          </a:p>
        </p:txBody>
      </p:sp>
    </p:spTree>
    <p:extLst>
      <p:ext uri="{BB962C8B-B14F-4D97-AF65-F5344CB8AC3E}">
        <p14:creationId xmlns:p14="http://schemas.microsoft.com/office/powerpoint/2010/main" val="287766872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application&#10;&#10;Description automatically generated">
            <a:extLst>
              <a:ext uri="{FF2B5EF4-FFF2-40B4-BE49-F238E27FC236}">
                <a16:creationId xmlns:a16="http://schemas.microsoft.com/office/drawing/2014/main" id="{576874F2-1147-491B-B05C-C02F32FEE8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28"/>
            <a:ext cx="12192000" cy="6857143"/>
          </a:xfrm>
          <a:prstGeom prst="rect">
            <a:avLst/>
          </a:prstGeom>
        </p:spPr>
      </p:pic>
      <p:sp>
        <p:nvSpPr>
          <p:cNvPr id="9" name="Rectangle 8">
            <a:extLst>
              <a:ext uri="{FF2B5EF4-FFF2-40B4-BE49-F238E27FC236}">
                <a16:creationId xmlns:a16="http://schemas.microsoft.com/office/drawing/2014/main" id="{DA67A6C2-886C-4A86-9671-A16F40D8D8AB}"/>
              </a:ext>
            </a:extLst>
          </p:cNvPr>
          <p:cNvSpPr/>
          <p:nvPr/>
        </p:nvSpPr>
        <p:spPr>
          <a:xfrm>
            <a:off x="545689" y="3268760"/>
            <a:ext cx="5368414" cy="1323439"/>
          </a:xfrm>
          <a:prstGeom prst="rect">
            <a:avLst/>
          </a:prstGeom>
        </p:spPr>
        <p:txBody>
          <a:bodyPr wrap="square">
            <a:spAutoFit/>
          </a:bodyPr>
          <a:lstStyle/>
          <a:p>
            <a:r>
              <a:rPr lang="en-US" sz="4000" b="1" spc="-150" dirty="0">
                <a:solidFill>
                  <a:srgbClr val="7E249F"/>
                </a:solidFill>
                <a:latin typeface="Work Sans" panose="00000500000000000000" pitchFamily="50" charset="0"/>
              </a:rPr>
              <a:t>IMPORTANT FORMS &amp; CONTACTS</a:t>
            </a:r>
          </a:p>
        </p:txBody>
      </p:sp>
      <p:sp>
        <p:nvSpPr>
          <p:cNvPr id="10" name="TextBox 9">
            <a:extLst>
              <a:ext uri="{FF2B5EF4-FFF2-40B4-BE49-F238E27FC236}">
                <a16:creationId xmlns:a16="http://schemas.microsoft.com/office/drawing/2014/main" id="{81537EFD-7F7F-47F4-8A5E-629B0E9D8326}"/>
              </a:ext>
            </a:extLst>
          </p:cNvPr>
          <p:cNvSpPr txBox="1"/>
          <p:nvPr/>
        </p:nvSpPr>
        <p:spPr>
          <a:xfrm>
            <a:off x="107247" y="-1009335"/>
            <a:ext cx="4960012" cy="4939814"/>
          </a:xfrm>
          <a:prstGeom prst="rect">
            <a:avLst/>
          </a:prstGeom>
          <a:noFill/>
        </p:spPr>
        <p:txBody>
          <a:bodyPr wrap="none" rtlCol="0">
            <a:spAutoFit/>
          </a:bodyPr>
          <a:lstStyle/>
          <a:p>
            <a:r>
              <a:rPr lang="en-US" sz="31500" spc="-300" dirty="0">
                <a:solidFill>
                  <a:srgbClr val="00B6AD">
                    <a:alpha val="60000"/>
                  </a:srgbClr>
                </a:solidFill>
                <a:latin typeface="Work Sans Light" panose="00000400000000000000" pitchFamily="50" charset="0"/>
              </a:rPr>
              <a:t>06</a:t>
            </a:r>
            <a:endParaRPr lang="en-IN" sz="31500" spc="-300" dirty="0">
              <a:solidFill>
                <a:srgbClr val="00B6AD">
                  <a:alpha val="60000"/>
                </a:srgbClr>
              </a:solidFill>
              <a:latin typeface="Work Sans Light" panose="00000400000000000000" pitchFamily="50" charset="0"/>
            </a:endParaRPr>
          </a:p>
        </p:txBody>
      </p:sp>
    </p:spTree>
    <p:extLst>
      <p:ext uri="{BB962C8B-B14F-4D97-AF65-F5344CB8AC3E}">
        <p14:creationId xmlns:p14="http://schemas.microsoft.com/office/powerpoint/2010/main" val="39588245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9667555-3AA9-4543-BCAF-8C7274AC604B}"/>
              </a:ext>
            </a:extLst>
          </p:cNvPr>
          <p:cNvPicPr>
            <a:picLocks noChangeAspect="1"/>
          </p:cNvPicPr>
          <p:nvPr/>
        </p:nvPicPr>
        <p:blipFill>
          <a:blip r:embed="rId2"/>
          <a:stretch>
            <a:fillRect/>
          </a:stretch>
        </p:blipFill>
        <p:spPr>
          <a:xfrm>
            <a:off x="747152" y="297138"/>
            <a:ext cx="4756501" cy="5514381"/>
          </a:xfrm>
          <a:prstGeom prst="rect">
            <a:avLst/>
          </a:prstGeom>
          <a:ln w="38100" cap="sq">
            <a:solidFill>
              <a:schemeClr val="accent5"/>
            </a:solidFill>
            <a:prstDash val="solid"/>
            <a:miter lim="800000"/>
          </a:ln>
          <a:effectLst>
            <a:outerShdw blurRad="50800" dist="38100" dir="2700000" algn="tl" rotWithShape="0">
              <a:srgbClr val="000000">
                <a:alpha val="43000"/>
              </a:srgbClr>
            </a:outerShdw>
          </a:effectLst>
        </p:spPr>
      </p:pic>
      <p:sp>
        <p:nvSpPr>
          <p:cNvPr id="6" name="TextBox 5">
            <a:extLst>
              <a:ext uri="{FF2B5EF4-FFF2-40B4-BE49-F238E27FC236}">
                <a16:creationId xmlns:a16="http://schemas.microsoft.com/office/drawing/2014/main" id="{5C8BD38D-E243-4BE3-9565-A748FCB4632B}"/>
              </a:ext>
            </a:extLst>
          </p:cNvPr>
          <p:cNvSpPr txBox="1"/>
          <p:nvPr/>
        </p:nvSpPr>
        <p:spPr>
          <a:xfrm>
            <a:off x="1356850" y="6046840"/>
            <a:ext cx="4026310" cy="369332"/>
          </a:xfrm>
          <a:prstGeom prst="rect">
            <a:avLst/>
          </a:prstGeom>
          <a:noFill/>
        </p:spPr>
        <p:txBody>
          <a:bodyPr wrap="square" rtlCol="0">
            <a:spAutoFit/>
          </a:bodyPr>
          <a:lstStyle/>
          <a:p>
            <a:pPr algn="ctr"/>
            <a:r>
              <a:rPr lang="en-US" b="1" dirty="0"/>
              <a:t>Address Change Request Form</a:t>
            </a:r>
            <a:endParaRPr lang="en-IN" b="1" dirty="0"/>
          </a:p>
        </p:txBody>
      </p:sp>
      <p:sp>
        <p:nvSpPr>
          <p:cNvPr id="9" name="TextBox 8">
            <a:extLst>
              <a:ext uri="{FF2B5EF4-FFF2-40B4-BE49-F238E27FC236}">
                <a16:creationId xmlns:a16="http://schemas.microsoft.com/office/drawing/2014/main" id="{9EF858F2-FC8F-4034-BCAF-8AC950E463A2}"/>
              </a:ext>
            </a:extLst>
          </p:cNvPr>
          <p:cNvSpPr txBox="1"/>
          <p:nvPr/>
        </p:nvSpPr>
        <p:spPr>
          <a:xfrm>
            <a:off x="7182465" y="6017339"/>
            <a:ext cx="3986980" cy="369332"/>
          </a:xfrm>
          <a:prstGeom prst="rect">
            <a:avLst/>
          </a:prstGeom>
          <a:noFill/>
        </p:spPr>
        <p:txBody>
          <a:bodyPr wrap="square" rtlCol="0">
            <a:spAutoFit/>
          </a:bodyPr>
          <a:lstStyle/>
          <a:p>
            <a:pPr algn="ctr"/>
            <a:r>
              <a:rPr lang="en-US" b="1" dirty="0"/>
              <a:t>W-4 Form</a:t>
            </a:r>
            <a:endParaRPr lang="en-IN" b="1" dirty="0"/>
          </a:p>
        </p:txBody>
      </p:sp>
      <p:pic>
        <p:nvPicPr>
          <p:cNvPr id="2" name="Picture 1">
            <a:extLst>
              <a:ext uri="{FF2B5EF4-FFF2-40B4-BE49-F238E27FC236}">
                <a16:creationId xmlns:a16="http://schemas.microsoft.com/office/drawing/2014/main" id="{284B1BB7-A2D5-F4E2-259C-02350A820266}"/>
              </a:ext>
            </a:extLst>
          </p:cNvPr>
          <p:cNvPicPr>
            <a:picLocks noChangeAspect="1"/>
          </p:cNvPicPr>
          <p:nvPr/>
        </p:nvPicPr>
        <p:blipFill>
          <a:blip r:embed="rId3"/>
          <a:stretch>
            <a:fillRect/>
          </a:stretch>
        </p:blipFill>
        <p:spPr>
          <a:xfrm>
            <a:off x="6688349" y="297138"/>
            <a:ext cx="4756501" cy="5514381"/>
          </a:xfrm>
          <a:prstGeom prst="rect">
            <a:avLst/>
          </a:prstGeom>
          <a:ln w="38100">
            <a:solidFill>
              <a:schemeClr val="accent5"/>
            </a:solidFill>
          </a:ln>
        </p:spPr>
      </p:pic>
    </p:spTree>
    <p:extLst>
      <p:ext uri="{BB962C8B-B14F-4D97-AF65-F5344CB8AC3E}">
        <p14:creationId xmlns:p14="http://schemas.microsoft.com/office/powerpoint/2010/main" val="4128322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C3B7111-9513-444A-A6EA-4F941CD0B143}"/>
              </a:ext>
            </a:extLst>
          </p:cNvPr>
          <p:cNvSpPr txBox="1"/>
          <p:nvPr/>
        </p:nvSpPr>
        <p:spPr>
          <a:xfrm>
            <a:off x="948613" y="262431"/>
            <a:ext cx="3986980" cy="369332"/>
          </a:xfrm>
          <a:prstGeom prst="rect">
            <a:avLst/>
          </a:prstGeom>
          <a:noFill/>
        </p:spPr>
        <p:txBody>
          <a:bodyPr wrap="square" rtlCol="0">
            <a:spAutoFit/>
          </a:bodyPr>
          <a:lstStyle/>
          <a:p>
            <a:pPr algn="ctr"/>
            <a:r>
              <a:rPr lang="en-US" b="1" dirty="0"/>
              <a:t>HSA Direct Deposit Form</a:t>
            </a:r>
            <a:endParaRPr lang="en-IN" b="1" dirty="0"/>
          </a:p>
        </p:txBody>
      </p:sp>
      <p:pic>
        <p:nvPicPr>
          <p:cNvPr id="3" name="Picture 2">
            <a:extLst>
              <a:ext uri="{FF2B5EF4-FFF2-40B4-BE49-F238E27FC236}">
                <a16:creationId xmlns:a16="http://schemas.microsoft.com/office/drawing/2014/main" id="{08DB36DB-ED0C-F691-3D87-76026ED374D2}"/>
              </a:ext>
            </a:extLst>
          </p:cNvPr>
          <p:cNvPicPr>
            <a:picLocks noChangeAspect="1"/>
          </p:cNvPicPr>
          <p:nvPr/>
        </p:nvPicPr>
        <p:blipFill>
          <a:blip r:embed="rId2"/>
          <a:stretch>
            <a:fillRect/>
          </a:stretch>
        </p:blipFill>
        <p:spPr>
          <a:xfrm>
            <a:off x="864637" y="713445"/>
            <a:ext cx="4846653" cy="5905195"/>
          </a:xfrm>
          <a:prstGeom prst="rect">
            <a:avLst/>
          </a:prstGeom>
          <a:ln w="38100">
            <a:solidFill>
              <a:srgbClr val="00B6AD"/>
            </a:solidFill>
          </a:ln>
        </p:spPr>
      </p:pic>
      <p:sp>
        <p:nvSpPr>
          <p:cNvPr id="6" name="TextBox 5">
            <a:extLst>
              <a:ext uri="{FF2B5EF4-FFF2-40B4-BE49-F238E27FC236}">
                <a16:creationId xmlns:a16="http://schemas.microsoft.com/office/drawing/2014/main" id="{22E8227C-DF5F-535F-5EE8-A1AFCB76B051}"/>
              </a:ext>
            </a:extLst>
          </p:cNvPr>
          <p:cNvSpPr txBox="1"/>
          <p:nvPr/>
        </p:nvSpPr>
        <p:spPr>
          <a:xfrm>
            <a:off x="5595510" y="239360"/>
            <a:ext cx="6097554" cy="369332"/>
          </a:xfrm>
          <a:prstGeom prst="rect">
            <a:avLst/>
          </a:prstGeom>
          <a:noFill/>
        </p:spPr>
        <p:txBody>
          <a:bodyPr wrap="square">
            <a:spAutoFit/>
          </a:bodyPr>
          <a:lstStyle/>
          <a:p>
            <a:pPr algn="ctr"/>
            <a:r>
              <a:rPr lang="en-US" b="1" dirty="0"/>
              <a:t>Updating Your Direct Deposit</a:t>
            </a:r>
            <a:endParaRPr lang="en-IN" b="1" dirty="0"/>
          </a:p>
        </p:txBody>
      </p:sp>
      <p:sp>
        <p:nvSpPr>
          <p:cNvPr id="5" name="Shape 6406">
            <a:extLst>
              <a:ext uri="{FF2B5EF4-FFF2-40B4-BE49-F238E27FC236}">
                <a16:creationId xmlns:a16="http://schemas.microsoft.com/office/drawing/2014/main" id="{94E6BB44-2EA9-3295-A997-F3B023FA00B8}"/>
              </a:ext>
            </a:extLst>
          </p:cNvPr>
          <p:cNvSpPr/>
          <p:nvPr/>
        </p:nvSpPr>
        <p:spPr>
          <a:xfrm>
            <a:off x="5971308" y="713444"/>
            <a:ext cx="5600008" cy="5905195"/>
          </a:xfrm>
          <a:prstGeom prst="rect">
            <a:avLst/>
          </a:prstGeom>
          <a:ln w="28575" cmpd="sng">
            <a:solidFill>
              <a:srgbClr val="00B6AD"/>
            </a:solidFill>
            <a:miter lim="400000"/>
          </a:ln>
        </p:spPr>
        <p:txBody>
          <a:bodyPr lIns="25400" tIns="25400" rIns="25400" bIns="25400" anchor="ctr"/>
          <a:lstStyle/>
          <a:p>
            <a:pPr algn="l"/>
            <a:endParaRPr lang="en-US" sz="1200" dirty="0"/>
          </a:p>
        </p:txBody>
      </p:sp>
      <p:sp>
        <p:nvSpPr>
          <p:cNvPr id="7" name="TextBox 6">
            <a:extLst>
              <a:ext uri="{FF2B5EF4-FFF2-40B4-BE49-F238E27FC236}">
                <a16:creationId xmlns:a16="http://schemas.microsoft.com/office/drawing/2014/main" id="{A145A84E-6A61-4AA2-5835-855FDF82B28F}"/>
              </a:ext>
            </a:extLst>
          </p:cNvPr>
          <p:cNvSpPr txBox="1"/>
          <p:nvPr/>
        </p:nvSpPr>
        <p:spPr>
          <a:xfrm>
            <a:off x="5711290" y="865286"/>
            <a:ext cx="5533392" cy="4801314"/>
          </a:xfrm>
          <a:prstGeom prst="rect">
            <a:avLst/>
          </a:prstGeom>
          <a:noFill/>
        </p:spPr>
        <p:txBody>
          <a:bodyPr wrap="square" rtlCol="0">
            <a:spAutoFit/>
          </a:bodyPr>
          <a:lstStyle/>
          <a:p>
            <a:pPr lvl="1" algn="just"/>
            <a:r>
              <a:rPr lang="en-US" dirty="0">
                <a:effectLst/>
                <a:latin typeface="Calibri" panose="020F0502020204030204" pitchFamily="34" charset="0"/>
                <a:ea typeface="Calibri" panose="020F0502020204030204" pitchFamily="34" charset="0"/>
                <a:cs typeface="Calibri" panose="020F0502020204030204" pitchFamily="34" charset="0"/>
              </a:rPr>
              <a:t>Employees can edit their bank accounts details after receiving their first paycheck for payroll in the payroll portal ADP. Please follow the steps below to make any changes to your bank accounts:</a:t>
            </a:r>
          </a:p>
          <a:p>
            <a:pPr lvl="1" algn="just"/>
            <a:r>
              <a:rPr lang="en-US" dirty="0">
                <a:effectLst/>
                <a:latin typeface="Calibri" panose="020F0502020204030204" pitchFamily="34" charset="0"/>
                <a:ea typeface="Calibri" panose="020F0502020204030204" pitchFamily="34" charset="0"/>
                <a:cs typeface="Calibri" panose="020F0502020204030204" pitchFamily="34" charset="0"/>
              </a:rPr>
              <a:t> </a:t>
            </a:r>
          </a:p>
          <a:p>
            <a:pPr marL="800100" lvl="1" indent="-342900" algn="just">
              <a:buFont typeface="+mj-lt"/>
              <a:buAutoNum type="arabicPeriod"/>
            </a:pPr>
            <a:r>
              <a:rPr lang="en-US" dirty="0">
                <a:effectLst/>
                <a:latin typeface="Calibri" panose="020F0502020204030204" pitchFamily="34" charset="0"/>
                <a:ea typeface="Calibri" panose="020F0502020204030204" pitchFamily="34" charset="0"/>
                <a:cs typeface="Calibri" panose="020F0502020204030204" pitchFamily="34" charset="0"/>
              </a:rPr>
              <a:t>Log in to the ADP portal.</a:t>
            </a:r>
          </a:p>
          <a:p>
            <a:pPr marL="800100" lvl="1" indent="-342900" algn="just">
              <a:buFont typeface="+mj-lt"/>
              <a:buAutoNum type="arabicPeriod"/>
            </a:pPr>
            <a:r>
              <a:rPr lang="en-US" dirty="0">
                <a:effectLst/>
                <a:latin typeface="Calibri" panose="020F0502020204030204" pitchFamily="34" charset="0"/>
                <a:ea typeface="Calibri" panose="020F0502020204030204" pitchFamily="34" charset="0"/>
                <a:cs typeface="Calibri" panose="020F0502020204030204" pitchFamily="34" charset="0"/>
              </a:rPr>
              <a:t>Click on the “Myself” and select “Payment Options” from the dropdown menu.</a:t>
            </a:r>
          </a:p>
          <a:p>
            <a:pPr marL="800100" lvl="1" indent="-342900" algn="just">
              <a:buFont typeface="+mj-lt"/>
              <a:buAutoNum type="arabicPeriod"/>
            </a:pPr>
            <a:r>
              <a:rPr lang="en-US" dirty="0">
                <a:effectLst/>
                <a:latin typeface="Calibri" panose="020F0502020204030204" pitchFamily="34" charset="0"/>
                <a:ea typeface="Calibri" panose="020F0502020204030204" pitchFamily="34" charset="0"/>
                <a:cs typeface="Calibri" panose="020F0502020204030204" pitchFamily="34" charset="0"/>
              </a:rPr>
              <a:t>This will take you to the Bank Account Direct Deposit screen.</a:t>
            </a:r>
          </a:p>
          <a:p>
            <a:pPr marL="800100" lvl="1" indent="-342900" algn="just">
              <a:buFont typeface="+mj-lt"/>
              <a:buAutoNum type="arabicPeriod"/>
            </a:pPr>
            <a:r>
              <a:rPr lang="en-US" dirty="0">
                <a:effectLst/>
                <a:latin typeface="Calibri" panose="020F0502020204030204" pitchFamily="34" charset="0"/>
                <a:ea typeface="Calibri" panose="020F0502020204030204" pitchFamily="34" charset="0"/>
                <a:cs typeface="Calibri" panose="020F0502020204030204" pitchFamily="34" charset="0"/>
              </a:rPr>
              <a:t>Continue to edit or add your bank account details as needed.</a:t>
            </a:r>
          </a:p>
          <a:p>
            <a:pPr marL="800100" lvl="1" indent="-342900" algn="just">
              <a:buFont typeface="+mj-lt"/>
              <a:buAutoNum type="arabicPeriod"/>
            </a:pPr>
            <a:r>
              <a:rPr lang="en-US" dirty="0">
                <a:effectLst/>
                <a:latin typeface="Calibri" panose="020F0502020204030204" pitchFamily="34" charset="0"/>
                <a:ea typeface="Calibri" panose="020F0502020204030204" pitchFamily="34" charset="0"/>
                <a:cs typeface="Calibri" panose="020F0502020204030204" pitchFamily="34" charset="0"/>
              </a:rPr>
              <a:t>Please refer to the attached document with screenshots for further guidance</a:t>
            </a:r>
            <a:endParaRPr lang="en-US" dirty="0">
              <a:latin typeface="Calibri" panose="020F0502020204030204" pitchFamily="34" charset="0"/>
              <a:ea typeface="Calibri" panose="020F0502020204030204" pitchFamily="34" charset="0"/>
              <a:cs typeface="Calibri" panose="020F0502020204030204" pitchFamily="34" charset="0"/>
            </a:endParaRPr>
          </a:p>
          <a:p>
            <a:pPr lvl="1" algn="just"/>
            <a:r>
              <a:rPr lang="en-US" dirty="0">
                <a:solidFill>
                  <a:srgbClr val="FF0000"/>
                </a:solidFill>
                <a:latin typeface="Calibri" panose="020F0502020204030204" pitchFamily="34" charset="0"/>
                <a:ea typeface="Calibri" panose="020F0502020204030204" pitchFamily="34" charset="0"/>
                <a:cs typeface="Calibri" panose="020F0502020204030204" pitchFamily="34" charset="0"/>
              </a:rPr>
              <a:t>If you have any questions on the above steps, please contact </a:t>
            </a:r>
            <a:r>
              <a:rPr lang="en-US" dirty="0">
                <a:latin typeface="Calibri" panose="020F0502020204030204" pitchFamily="34" charset="0"/>
                <a:ea typeface="Calibri" panose="020F0502020204030204" pitchFamily="34" charset="0"/>
                <a:cs typeface="Calibri" panose="020F0502020204030204" pitchFamily="34" charset="0"/>
                <a:hlinkClick r:id="rId3"/>
              </a:rPr>
              <a:t>USPayroll@infinite.com</a:t>
            </a:r>
            <a:endParaRPr lang="en-US" dirty="0">
              <a:latin typeface="Calibri" panose="020F0502020204030204" pitchFamily="34" charset="0"/>
              <a:ea typeface="Calibri" panose="020F0502020204030204" pitchFamily="34" charset="0"/>
              <a:cs typeface="Calibri" panose="020F0502020204030204" pitchFamily="34" charset="0"/>
            </a:endParaRPr>
          </a:p>
          <a:p>
            <a:pPr lvl="1" algn="just"/>
            <a:endParaRPr lang="en-US" sz="1800" dirty="0">
              <a:effectLst/>
              <a:latin typeface="Calibri" panose="020F0502020204030204" pitchFamily="34" charset="0"/>
              <a:ea typeface="Times New Roman" panose="02020603050405020304" pitchFamily="18" charset="0"/>
            </a:endParaRPr>
          </a:p>
        </p:txBody>
      </p:sp>
      <p:graphicFrame>
        <p:nvGraphicFramePr>
          <p:cNvPr id="8" name="Object 7">
            <a:extLst>
              <a:ext uri="{FF2B5EF4-FFF2-40B4-BE49-F238E27FC236}">
                <a16:creationId xmlns:a16="http://schemas.microsoft.com/office/drawing/2014/main" id="{C1150D51-366F-A873-4E7E-73BAC864D234}"/>
              </a:ext>
            </a:extLst>
          </p:cNvPr>
          <p:cNvGraphicFramePr>
            <a:graphicFrameLocks noChangeAspect="1"/>
          </p:cNvGraphicFramePr>
          <p:nvPr>
            <p:extLst>
              <p:ext uri="{D42A27DB-BD31-4B8C-83A1-F6EECF244321}">
                <p14:modId xmlns:p14="http://schemas.microsoft.com/office/powerpoint/2010/main" val="3233679831"/>
              </p:ext>
            </p:extLst>
          </p:nvPr>
        </p:nvGraphicFramePr>
        <p:xfrm>
          <a:off x="6269038" y="5476875"/>
          <a:ext cx="1381125" cy="1219200"/>
        </p:xfrm>
        <a:graphic>
          <a:graphicData uri="http://schemas.openxmlformats.org/presentationml/2006/ole">
            <mc:AlternateContent xmlns:mc="http://schemas.openxmlformats.org/markup-compatibility/2006">
              <mc:Choice xmlns:v="urn:schemas-microsoft-com:vml" Requires="v">
                <p:oleObj name="Acrobat Document" showAsIcon="1" r:id="rId4" imgW="834480" imgH="736560" progId="Acrobat.Document.DC">
                  <p:embed/>
                </p:oleObj>
              </mc:Choice>
              <mc:Fallback>
                <p:oleObj name="Acrobat Document" showAsIcon="1" r:id="rId4" imgW="834480" imgH="736560" progId="Acrobat.Document.DC">
                  <p:embed/>
                  <p:pic>
                    <p:nvPicPr>
                      <p:cNvPr id="8" name="Object 7">
                        <a:extLst>
                          <a:ext uri="{FF2B5EF4-FFF2-40B4-BE49-F238E27FC236}">
                            <a16:creationId xmlns:a16="http://schemas.microsoft.com/office/drawing/2014/main" id="{C1150D51-366F-A873-4E7E-73BAC864D234}"/>
                          </a:ext>
                        </a:extLst>
                      </p:cNvPr>
                      <p:cNvPicPr/>
                      <p:nvPr/>
                    </p:nvPicPr>
                    <p:blipFill>
                      <a:blip r:embed="rId5"/>
                      <a:stretch>
                        <a:fillRect/>
                      </a:stretch>
                    </p:blipFill>
                    <p:spPr>
                      <a:xfrm>
                        <a:off x="6269038" y="5476875"/>
                        <a:ext cx="1381125" cy="1219200"/>
                      </a:xfrm>
                      <a:prstGeom prst="rect">
                        <a:avLst/>
                      </a:prstGeom>
                    </p:spPr>
                  </p:pic>
                </p:oleObj>
              </mc:Fallback>
            </mc:AlternateContent>
          </a:graphicData>
        </a:graphic>
      </p:graphicFrame>
    </p:spTree>
    <p:extLst>
      <p:ext uri="{BB962C8B-B14F-4D97-AF65-F5344CB8AC3E}">
        <p14:creationId xmlns:p14="http://schemas.microsoft.com/office/powerpoint/2010/main" val="1276932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883A17-3C9E-4ECB-B024-84EC62A23280}"/>
              </a:ext>
            </a:extLst>
          </p:cNvPr>
          <p:cNvSpPr txBox="1"/>
          <p:nvPr/>
        </p:nvSpPr>
        <p:spPr>
          <a:xfrm>
            <a:off x="76697" y="246156"/>
            <a:ext cx="10271989"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IMPORTANT </a:t>
            </a:r>
            <a:r>
              <a:rPr lang="en-US" sz="3200" spc="-150" dirty="0">
                <a:solidFill>
                  <a:srgbClr val="1E3ADA"/>
                </a:solidFill>
                <a:latin typeface="Work Sans" panose="00000500000000000000" pitchFamily="50" charset="0"/>
                <a:cs typeface="Segoe UI" panose="020B0502040204020203" pitchFamily="34" charset="0"/>
              </a:rPr>
              <a:t>CONTACTS DETAILS</a:t>
            </a:r>
          </a:p>
        </p:txBody>
      </p:sp>
      <p:grpSp>
        <p:nvGrpSpPr>
          <p:cNvPr id="40" name="Group 39">
            <a:extLst>
              <a:ext uri="{FF2B5EF4-FFF2-40B4-BE49-F238E27FC236}">
                <a16:creationId xmlns:a16="http://schemas.microsoft.com/office/drawing/2014/main" id="{52F9DE8F-92CA-4305-B021-CF7DFD46D0CB}"/>
              </a:ext>
            </a:extLst>
          </p:cNvPr>
          <p:cNvGrpSpPr/>
          <p:nvPr/>
        </p:nvGrpSpPr>
        <p:grpSpPr>
          <a:xfrm>
            <a:off x="191193" y="1188719"/>
            <a:ext cx="11230494" cy="4971011"/>
            <a:chOff x="2032000" y="732437"/>
            <a:chExt cx="7168626" cy="4458582"/>
          </a:xfrm>
        </p:grpSpPr>
        <p:sp>
          <p:nvSpPr>
            <p:cNvPr id="10" name="Rectangle 9">
              <a:extLst>
                <a:ext uri="{FF2B5EF4-FFF2-40B4-BE49-F238E27FC236}">
                  <a16:creationId xmlns:a16="http://schemas.microsoft.com/office/drawing/2014/main" id="{8CD026E8-1953-475B-8F3F-0C27AE913743}"/>
                </a:ext>
              </a:extLst>
            </p:cNvPr>
            <p:cNvSpPr/>
            <p:nvPr/>
          </p:nvSpPr>
          <p:spPr>
            <a:xfrm>
              <a:off x="2032001" y="896272"/>
              <a:ext cx="7163397" cy="864718"/>
            </a:xfrm>
            <a:prstGeom prst="rect">
              <a:avLst/>
            </a:prstGeom>
            <a:ln>
              <a:solidFill>
                <a:srgbClr val="00B6AD"/>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1" name="Freeform: Shape 10">
              <a:extLst>
                <a:ext uri="{FF2B5EF4-FFF2-40B4-BE49-F238E27FC236}">
                  <a16:creationId xmlns:a16="http://schemas.microsoft.com/office/drawing/2014/main" id="{887ECB6E-E348-41CA-9180-2038C2BD3EF5}"/>
                </a:ext>
              </a:extLst>
            </p:cNvPr>
            <p:cNvSpPr/>
            <p:nvPr/>
          </p:nvSpPr>
          <p:spPr>
            <a:xfrm>
              <a:off x="2438400" y="732437"/>
              <a:ext cx="5831508" cy="360000"/>
            </a:xfrm>
            <a:custGeom>
              <a:avLst/>
              <a:gdLst>
                <a:gd name="connsiteX0" fmla="*/ 0 w 5689600"/>
                <a:gd name="connsiteY0" fmla="*/ 83642 h 501840"/>
                <a:gd name="connsiteX1" fmla="*/ 83642 w 5689600"/>
                <a:gd name="connsiteY1" fmla="*/ 0 h 501840"/>
                <a:gd name="connsiteX2" fmla="*/ 5605958 w 5689600"/>
                <a:gd name="connsiteY2" fmla="*/ 0 h 501840"/>
                <a:gd name="connsiteX3" fmla="*/ 5689600 w 5689600"/>
                <a:gd name="connsiteY3" fmla="*/ 83642 h 501840"/>
                <a:gd name="connsiteX4" fmla="*/ 5689600 w 5689600"/>
                <a:gd name="connsiteY4" fmla="*/ 418198 h 501840"/>
                <a:gd name="connsiteX5" fmla="*/ 5605958 w 5689600"/>
                <a:gd name="connsiteY5" fmla="*/ 501840 h 501840"/>
                <a:gd name="connsiteX6" fmla="*/ 83642 w 5689600"/>
                <a:gd name="connsiteY6" fmla="*/ 501840 h 501840"/>
                <a:gd name="connsiteX7" fmla="*/ 0 w 5689600"/>
                <a:gd name="connsiteY7" fmla="*/ 418198 h 501840"/>
                <a:gd name="connsiteX8" fmla="*/ 0 w 5689600"/>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01840">
                  <a:moveTo>
                    <a:pt x="0" y="83642"/>
                  </a:moveTo>
                  <a:cubicBezTo>
                    <a:pt x="0" y="37448"/>
                    <a:pt x="37448" y="0"/>
                    <a:pt x="83642" y="0"/>
                  </a:cubicBezTo>
                  <a:lnTo>
                    <a:pt x="5605958" y="0"/>
                  </a:lnTo>
                  <a:cubicBezTo>
                    <a:pt x="5652152" y="0"/>
                    <a:pt x="5689600" y="37448"/>
                    <a:pt x="5689600" y="83642"/>
                  </a:cubicBezTo>
                  <a:lnTo>
                    <a:pt x="5689600" y="418198"/>
                  </a:lnTo>
                  <a:cubicBezTo>
                    <a:pt x="5689600" y="464392"/>
                    <a:pt x="5652152" y="501840"/>
                    <a:pt x="5605958" y="501840"/>
                  </a:cubicBezTo>
                  <a:lnTo>
                    <a:pt x="83642" y="501840"/>
                  </a:lnTo>
                  <a:cubicBezTo>
                    <a:pt x="37448" y="501840"/>
                    <a:pt x="0" y="464392"/>
                    <a:pt x="0" y="418198"/>
                  </a:cubicBezTo>
                  <a:lnTo>
                    <a:pt x="0" y="83642"/>
                  </a:lnTo>
                  <a:close/>
                </a:path>
              </a:pathLst>
            </a:custGeom>
            <a:solidFill>
              <a:srgbClr val="00B6A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9551" tIns="24498" rIns="239551" bIns="24498" numCol="1" spcCol="1270" anchor="ctr" anchorCtr="0">
              <a:noAutofit/>
            </a:bodyPr>
            <a:lstStyle/>
            <a:p>
              <a:pPr lvl="0" defTabSz="755650">
                <a:lnSpc>
                  <a:spcPct val="90000"/>
                </a:lnSpc>
                <a:spcBef>
                  <a:spcPct val="0"/>
                </a:spcBef>
                <a:spcAft>
                  <a:spcPct val="35000"/>
                </a:spcAft>
              </a:pP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For Email </a:t>
              </a:r>
              <a:r>
                <a:rPr lang="en-US" b="1">
                  <a:solidFill>
                    <a:schemeClr val="bg1"/>
                  </a:solidFill>
                  <a:latin typeface="Calibri" panose="020F0502020204030204" pitchFamily="34" charset="0"/>
                  <a:ea typeface="Calibri" panose="020F0502020204030204" pitchFamily="34" charset="0"/>
                  <a:cs typeface="Times New Roman" panose="02020603050405020304" pitchFamily="18" charset="0"/>
                </a:rPr>
                <a:t>and BizX </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Credentials:</a:t>
              </a:r>
              <a:endParaRPr lang="en-IN" sz="1700" b="1" kern="1200" dirty="0">
                <a:solidFill>
                  <a:schemeClr val="bg1"/>
                </a:solidFill>
              </a:endParaRPr>
            </a:p>
          </p:txBody>
        </p:sp>
        <p:sp>
          <p:nvSpPr>
            <p:cNvPr id="24" name="Rectangle 23">
              <a:extLst>
                <a:ext uri="{FF2B5EF4-FFF2-40B4-BE49-F238E27FC236}">
                  <a16:creationId xmlns:a16="http://schemas.microsoft.com/office/drawing/2014/main" id="{E2E3AEC7-B7B3-4FD8-9EA0-75A04C0B60FC}"/>
                </a:ext>
              </a:extLst>
            </p:cNvPr>
            <p:cNvSpPr/>
            <p:nvPr/>
          </p:nvSpPr>
          <p:spPr>
            <a:xfrm>
              <a:off x="2631901" y="1208704"/>
              <a:ext cx="2948308" cy="369332"/>
            </a:xfrm>
            <a:prstGeom prst="rect">
              <a:avLst/>
            </a:prstGeom>
          </p:spPr>
          <p:txBody>
            <a:bodyPr wrap="none">
              <a:spAutoFit/>
            </a:bodyPr>
            <a:lstStyle/>
            <a:p>
              <a:r>
                <a:rPr lang="en-US" b="1"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Email- ITSG-US@infinite.com</a:t>
              </a:r>
              <a:endParaRPr lang="en-IN" b="1" dirty="0"/>
            </a:p>
          </p:txBody>
        </p:sp>
        <p:sp>
          <p:nvSpPr>
            <p:cNvPr id="25" name="Rectangle 24">
              <a:extLst>
                <a:ext uri="{FF2B5EF4-FFF2-40B4-BE49-F238E27FC236}">
                  <a16:creationId xmlns:a16="http://schemas.microsoft.com/office/drawing/2014/main" id="{042D5328-D61E-4428-B34B-3D8183741348}"/>
                </a:ext>
              </a:extLst>
            </p:cNvPr>
            <p:cNvSpPr/>
            <p:nvPr/>
          </p:nvSpPr>
          <p:spPr>
            <a:xfrm>
              <a:off x="2032001" y="1999132"/>
              <a:ext cx="7163399" cy="923330"/>
            </a:xfrm>
            <a:prstGeom prst="rect">
              <a:avLst/>
            </a:prstGeom>
            <a:ln>
              <a:solidFill>
                <a:srgbClr val="7E249F"/>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26" name="Freeform: Shape 25">
              <a:extLst>
                <a:ext uri="{FF2B5EF4-FFF2-40B4-BE49-F238E27FC236}">
                  <a16:creationId xmlns:a16="http://schemas.microsoft.com/office/drawing/2014/main" id="{39DFDE4E-ADA1-41B6-8DD7-86AAEB18A36C}"/>
                </a:ext>
              </a:extLst>
            </p:cNvPr>
            <p:cNvSpPr/>
            <p:nvPr/>
          </p:nvSpPr>
          <p:spPr>
            <a:xfrm>
              <a:off x="2438399" y="1835296"/>
              <a:ext cx="5831509" cy="360000"/>
            </a:xfrm>
            <a:custGeom>
              <a:avLst/>
              <a:gdLst>
                <a:gd name="connsiteX0" fmla="*/ 0 w 5689600"/>
                <a:gd name="connsiteY0" fmla="*/ 83642 h 501840"/>
                <a:gd name="connsiteX1" fmla="*/ 83642 w 5689600"/>
                <a:gd name="connsiteY1" fmla="*/ 0 h 501840"/>
                <a:gd name="connsiteX2" fmla="*/ 5605958 w 5689600"/>
                <a:gd name="connsiteY2" fmla="*/ 0 h 501840"/>
                <a:gd name="connsiteX3" fmla="*/ 5689600 w 5689600"/>
                <a:gd name="connsiteY3" fmla="*/ 83642 h 501840"/>
                <a:gd name="connsiteX4" fmla="*/ 5689600 w 5689600"/>
                <a:gd name="connsiteY4" fmla="*/ 418198 h 501840"/>
                <a:gd name="connsiteX5" fmla="*/ 5605958 w 5689600"/>
                <a:gd name="connsiteY5" fmla="*/ 501840 h 501840"/>
                <a:gd name="connsiteX6" fmla="*/ 83642 w 5689600"/>
                <a:gd name="connsiteY6" fmla="*/ 501840 h 501840"/>
                <a:gd name="connsiteX7" fmla="*/ 0 w 5689600"/>
                <a:gd name="connsiteY7" fmla="*/ 418198 h 501840"/>
                <a:gd name="connsiteX8" fmla="*/ 0 w 5689600"/>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01840">
                  <a:moveTo>
                    <a:pt x="0" y="83642"/>
                  </a:moveTo>
                  <a:cubicBezTo>
                    <a:pt x="0" y="37448"/>
                    <a:pt x="37448" y="0"/>
                    <a:pt x="83642" y="0"/>
                  </a:cubicBezTo>
                  <a:lnTo>
                    <a:pt x="5605958" y="0"/>
                  </a:lnTo>
                  <a:cubicBezTo>
                    <a:pt x="5652152" y="0"/>
                    <a:pt x="5689600" y="37448"/>
                    <a:pt x="5689600" y="83642"/>
                  </a:cubicBezTo>
                  <a:lnTo>
                    <a:pt x="5689600" y="418198"/>
                  </a:lnTo>
                  <a:cubicBezTo>
                    <a:pt x="5689600" y="464392"/>
                    <a:pt x="5652152" y="501840"/>
                    <a:pt x="5605958" y="501840"/>
                  </a:cubicBezTo>
                  <a:lnTo>
                    <a:pt x="83642" y="501840"/>
                  </a:lnTo>
                  <a:cubicBezTo>
                    <a:pt x="37448" y="501840"/>
                    <a:pt x="0" y="464392"/>
                    <a:pt x="0" y="418198"/>
                  </a:cubicBezTo>
                  <a:lnTo>
                    <a:pt x="0" y="83642"/>
                  </a:lnTo>
                  <a:close/>
                </a:path>
              </a:pathLst>
            </a:custGeom>
            <a:solidFill>
              <a:srgbClr val="7E249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9551" tIns="24498" rIns="239551" bIns="24498" numCol="1" spcCol="1270" anchor="ctr" anchorCtr="0">
              <a:noAutofit/>
            </a:bodyPr>
            <a:lstStyle/>
            <a:p>
              <a:pPr lvl="0" defTabSz="755650">
                <a:lnSpc>
                  <a:spcPct val="90000"/>
                </a:lnSpc>
                <a:spcBef>
                  <a:spcPct val="0"/>
                </a:spcBef>
                <a:spcAft>
                  <a:spcPct val="35000"/>
                </a:spcAft>
              </a:pP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For Payroll &amp; ADP Concerns, Time Sheet and Attendance, Reimbursements Concerns: </a:t>
              </a:r>
              <a:endParaRPr lang="en-IN" sz="1700" b="1" kern="1200" dirty="0">
                <a:solidFill>
                  <a:schemeClr val="bg1"/>
                </a:solidFill>
              </a:endParaRPr>
            </a:p>
          </p:txBody>
        </p:sp>
        <p:sp>
          <p:nvSpPr>
            <p:cNvPr id="27" name="Rectangle 26">
              <a:extLst>
                <a:ext uri="{FF2B5EF4-FFF2-40B4-BE49-F238E27FC236}">
                  <a16:creationId xmlns:a16="http://schemas.microsoft.com/office/drawing/2014/main" id="{7840B955-783C-4CDC-9076-89481B4085DA}"/>
                </a:ext>
              </a:extLst>
            </p:cNvPr>
            <p:cNvSpPr/>
            <p:nvPr/>
          </p:nvSpPr>
          <p:spPr>
            <a:xfrm>
              <a:off x="2631901" y="2195186"/>
              <a:ext cx="6267143" cy="646331"/>
            </a:xfrm>
            <a:prstGeom prst="rect">
              <a:avLst/>
            </a:prstGeom>
          </p:spPr>
          <p:txBody>
            <a:bodyPr wrap="none">
              <a:spAutoFit/>
            </a:bodyPr>
            <a:lstStyle/>
            <a:p>
              <a:r>
                <a:rPr lang="en-US" b="1"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Email- </a:t>
              </a:r>
              <a:r>
                <a:rPr lang="en-US" b="1"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hlinkClick r:id="rId2"/>
                </a:rPr>
                <a:t>USPayroll@infinite.com</a:t>
              </a:r>
              <a:endParaRPr lang="en-US" b="1"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endParaRPr>
            </a:p>
            <a:p>
              <a:r>
                <a:rPr lang="en-US" b="1"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Head of Payroll: Prabhu Hosamane, (301) 355-7724, Payroll Executive: Susmita Munda, (323) 325-5632</a:t>
              </a:r>
              <a:endParaRPr lang="en-IN" b="1" dirty="0"/>
            </a:p>
          </p:txBody>
        </p:sp>
        <p:sp>
          <p:nvSpPr>
            <p:cNvPr id="33" name="Rectangle 32">
              <a:extLst>
                <a:ext uri="{FF2B5EF4-FFF2-40B4-BE49-F238E27FC236}">
                  <a16:creationId xmlns:a16="http://schemas.microsoft.com/office/drawing/2014/main" id="{6A3A52B6-16EA-4B4F-B293-1EF6A18CFDBC}"/>
                </a:ext>
              </a:extLst>
            </p:cNvPr>
            <p:cNvSpPr/>
            <p:nvPr/>
          </p:nvSpPr>
          <p:spPr>
            <a:xfrm>
              <a:off x="2631901" y="3962982"/>
              <a:ext cx="5294206" cy="369332"/>
            </a:xfrm>
            <a:prstGeom prst="rect">
              <a:avLst/>
            </a:prstGeom>
          </p:spPr>
          <p:txBody>
            <a:bodyPr wrap="square">
              <a:spAutoFit/>
            </a:bodyPr>
            <a:lstStyle/>
            <a:p>
              <a:endParaRPr lang="en-US" b="1"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4" name="Rectangle 33">
              <a:extLst>
                <a:ext uri="{FF2B5EF4-FFF2-40B4-BE49-F238E27FC236}">
                  <a16:creationId xmlns:a16="http://schemas.microsoft.com/office/drawing/2014/main" id="{C9F74F1D-F27F-4CFC-B70B-E5024A9EEEB5}"/>
                </a:ext>
              </a:extLst>
            </p:cNvPr>
            <p:cNvSpPr/>
            <p:nvPr/>
          </p:nvSpPr>
          <p:spPr>
            <a:xfrm>
              <a:off x="2032000" y="3223087"/>
              <a:ext cx="7163399" cy="815750"/>
            </a:xfrm>
            <a:prstGeom prst="rect">
              <a:avLst/>
            </a:prstGeom>
            <a:ln>
              <a:solidFill>
                <a:srgbClr val="00B6AD"/>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5" name="Freeform: Shape 34">
              <a:extLst>
                <a:ext uri="{FF2B5EF4-FFF2-40B4-BE49-F238E27FC236}">
                  <a16:creationId xmlns:a16="http://schemas.microsoft.com/office/drawing/2014/main" id="{398B5A8D-1C5C-4D47-8779-ACECCE2C3CD9}"/>
                </a:ext>
              </a:extLst>
            </p:cNvPr>
            <p:cNvSpPr/>
            <p:nvPr/>
          </p:nvSpPr>
          <p:spPr>
            <a:xfrm>
              <a:off x="2438400" y="3059251"/>
              <a:ext cx="5868110" cy="360000"/>
            </a:xfrm>
            <a:custGeom>
              <a:avLst/>
              <a:gdLst>
                <a:gd name="connsiteX0" fmla="*/ 0 w 5689600"/>
                <a:gd name="connsiteY0" fmla="*/ 83642 h 501840"/>
                <a:gd name="connsiteX1" fmla="*/ 83642 w 5689600"/>
                <a:gd name="connsiteY1" fmla="*/ 0 h 501840"/>
                <a:gd name="connsiteX2" fmla="*/ 5605958 w 5689600"/>
                <a:gd name="connsiteY2" fmla="*/ 0 h 501840"/>
                <a:gd name="connsiteX3" fmla="*/ 5689600 w 5689600"/>
                <a:gd name="connsiteY3" fmla="*/ 83642 h 501840"/>
                <a:gd name="connsiteX4" fmla="*/ 5689600 w 5689600"/>
                <a:gd name="connsiteY4" fmla="*/ 418198 h 501840"/>
                <a:gd name="connsiteX5" fmla="*/ 5605958 w 5689600"/>
                <a:gd name="connsiteY5" fmla="*/ 501840 h 501840"/>
                <a:gd name="connsiteX6" fmla="*/ 83642 w 5689600"/>
                <a:gd name="connsiteY6" fmla="*/ 501840 h 501840"/>
                <a:gd name="connsiteX7" fmla="*/ 0 w 5689600"/>
                <a:gd name="connsiteY7" fmla="*/ 418198 h 501840"/>
                <a:gd name="connsiteX8" fmla="*/ 0 w 5689600"/>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01840">
                  <a:moveTo>
                    <a:pt x="0" y="83642"/>
                  </a:moveTo>
                  <a:cubicBezTo>
                    <a:pt x="0" y="37448"/>
                    <a:pt x="37448" y="0"/>
                    <a:pt x="83642" y="0"/>
                  </a:cubicBezTo>
                  <a:lnTo>
                    <a:pt x="5605958" y="0"/>
                  </a:lnTo>
                  <a:cubicBezTo>
                    <a:pt x="5652152" y="0"/>
                    <a:pt x="5689600" y="37448"/>
                    <a:pt x="5689600" y="83642"/>
                  </a:cubicBezTo>
                  <a:lnTo>
                    <a:pt x="5689600" y="418198"/>
                  </a:lnTo>
                  <a:cubicBezTo>
                    <a:pt x="5689600" y="464392"/>
                    <a:pt x="5652152" y="501840"/>
                    <a:pt x="5605958" y="501840"/>
                  </a:cubicBezTo>
                  <a:lnTo>
                    <a:pt x="83642" y="501840"/>
                  </a:lnTo>
                  <a:cubicBezTo>
                    <a:pt x="37448" y="501840"/>
                    <a:pt x="0" y="464392"/>
                    <a:pt x="0" y="418198"/>
                  </a:cubicBezTo>
                  <a:lnTo>
                    <a:pt x="0" y="83642"/>
                  </a:lnTo>
                  <a:close/>
                </a:path>
              </a:pathLst>
            </a:custGeom>
            <a:solidFill>
              <a:srgbClr val="00B6A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9551" tIns="24498" rIns="239551" bIns="24498" numCol="1" spcCol="1270" anchor="ctr" anchorCtr="0">
              <a:noAutofit/>
            </a:bodyPr>
            <a:lstStyle/>
            <a:p>
              <a:pPr lvl="0" defTabSz="755650">
                <a:lnSpc>
                  <a:spcPct val="90000"/>
                </a:lnSpc>
                <a:spcBef>
                  <a:spcPct val="0"/>
                </a:spcBef>
                <a:spcAft>
                  <a:spcPct val="35000"/>
                </a:spcAft>
              </a:pP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For Benefit Concerns: </a:t>
              </a:r>
              <a:endParaRPr lang="en-IN" sz="1700" b="1" kern="1200" dirty="0">
                <a:solidFill>
                  <a:schemeClr val="bg1"/>
                </a:solidFill>
              </a:endParaRPr>
            </a:p>
          </p:txBody>
        </p:sp>
        <p:sp>
          <p:nvSpPr>
            <p:cNvPr id="36" name="Rectangle 35">
              <a:extLst>
                <a:ext uri="{FF2B5EF4-FFF2-40B4-BE49-F238E27FC236}">
                  <a16:creationId xmlns:a16="http://schemas.microsoft.com/office/drawing/2014/main" id="{1A1D1D0D-A7B2-4C1B-9042-C39584527E42}"/>
                </a:ext>
              </a:extLst>
            </p:cNvPr>
            <p:cNvSpPr/>
            <p:nvPr/>
          </p:nvSpPr>
          <p:spPr>
            <a:xfrm>
              <a:off x="2631901" y="3493949"/>
              <a:ext cx="2131930" cy="369332"/>
            </a:xfrm>
            <a:prstGeom prst="rect">
              <a:avLst/>
            </a:prstGeom>
          </p:spPr>
          <p:txBody>
            <a:bodyPr wrap="none">
              <a:spAutoFit/>
            </a:bodyPr>
            <a:lstStyle/>
            <a:p>
              <a:r>
                <a:rPr lang="en-US" b="1"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USHR@infinite.com </a:t>
              </a:r>
              <a:endParaRPr lang="en-IN" b="1" dirty="0"/>
            </a:p>
          </p:txBody>
        </p:sp>
        <p:sp>
          <p:nvSpPr>
            <p:cNvPr id="37" name="Rectangle 36">
              <a:extLst>
                <a:ext uri="{FF2B5EF4-FFF2-40B4-BE49-F238E27FC236}">
                  <a16:creationId xmlns:a16="http://schemas.microsoft.com/office/drawing/2014/main" id="{EEEE98A4-991E-4F1F-B219-08E340F64CCF}"/>
                </a:ext>
              </a:extLst>
            </p:cNvPr>
            <p:cNvSpPr/>
            <p:nvPr/>
          </p:nvSpPr>
          <p:spPr>
            <a:xfrm>
              <a:off x="2037229" y="4375269"/>
              <a:ext cx="7163397" cy="815750"/>
            </a:xfrm>
            <a:prstGeom prst="rect">
              <a:avLst/>
            </a:prstGeom>
            <a:ln>
              <a:solidFill>
                <a:srgbClr val="7E249F"/>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8" name="Freeform: Shape 37">
              <a:extLst>
                <a:ext uri="{FF2B5EF4-FFF2-40B4-BE49-F238E27FC236}">
                  <a16:creationId xmlns:a16="http://schemas.microsoft.com/office/drawing/2014/main" id="{9F2555C8-25E7-4E92-8A1A-5B11BF9DAAEB}"/>
                </a:ext>
              </a:extLst>
            </p:cNvPr>
            <p:cNvSpPr/>
            <p:nvPr/>
          </p:nvSpPr>
          <p:spPr>
            <a:xfrm>
              <a:off x="2443628" y="4169866"/>
              <a:ext cx="5862881" cy="360000"/>
            </a:xfrm>
            <a:custGeom>
              <a:avLst/>
              <a:gdLst>
                <a:gd name="connsiteX0" fmla="*/ 0 w 5689600"/>
                <a:gd name="connsiteY0" fmla="*/ 83642 h 501840"/>
                <a:gd name="connsiteX1" fmla="*/ 83642 w 5689600"/>
                <a:gd name="connsiteY1" fmla="*/ 0 h 501840"/>
                <a:gd name="connsiteX2" fmla="*/ 5605958 w 5689600"/>
                <a:gd name="connsiteY2" fmla="*/ 0 h 501840"/>
                <a:gd name="connsiteX3" fmla="*/ 5689600 w 5689600"/>
                <a:gd name="connsiteY3" fmla="*/ 83642 h 501840"/>
                <a:gd name="connsiteX4" fmla="*/ 5689600 w 5689600"/>
                <a:gd name="connsiteY4" fmla="*/ 418198 h 501840"/>
                <a:gd name="connsiteX5" fmla="*/ 5605958 w 5689600"/>
                <a:gd name="connsiteY5" fmla="*/ 501840 h 501840"/>
                <a:gd name="connsiteX6" fmla="*/ 83642 w 5689600"/>
                <a:gd name="connsiteY6" fmla="*/ 501840 h 501840"/>
                <a:gd name="connsiteX7" fmla="*/ 0 w 5689600"/>
                <a:gd name="connsiteY7" fmla="*/ 418198 h 501840"/>
                <a:gd name="connsiteX8" fmla="*/ 0 w 5689600"/>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01840">
                  <a:moveTo>
                    <a:pt x="0" y="83642"/>
                  </a:moveTo>
                  <a:cubicBezTo>
                    <a:pt x="0" y="37448"/>
                    <a:pt x="37448" y="0"/>
                    <a:pt x="83642" y="0"/>
                  </a:cubicBezTo>
                  <a:lnTo>
                    <a:pt x="5605958" y="0"/>
                  </a:lnTo>
                  <a:cubicBezTo>
                    <a:pt x="5652152" y="0"/>
                    <a:pt x="5689600" y="37448"/>
                    <a:pt x="5689600" y="83642"/>
                  </a:cubicBezTo>
                  <a:lnTo>
                    <a:pt x="5689600" y="418198"/>
                  </a:lnTo>
                  <a:cubicBezTo>
                    <a:pt x="5689600" y="464392"/>
                    <a:pt x="5652152" y="501840"/>
                    <a:pt x="5605958" y="501840"/>
                  </a:cubicBezTo>
                  <a:lnTo>
                    <a:pt x="83642" y="501840"/>
                  </a:lnTo>
                  <a:cubicBezTo>
                    <a:pt x="37448" y="501840"/>
                    <a:pt x="0" y="464392"/>
                    <a:pt x="0" y="418198"/>
                  </a:cubicBezTo>
                  <a:lnTo>
                    <a:pt x="0" y="83642"/>
                  </a:lnTo>
                  <a:close/>
                </a:path>
              </a:pathLst>
            </a:custGeom>
            <a:solidFill>
              <a:srgbClr val="7E249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9551" tIns="24498" rIns="239551" bIns="24498" numCol="1" spcCol="1270" anchor="ctr" anchorCtr="0">
              <a:noAutofit/>
            </a:bodyPr>
            <a:lstStyle/>
            <a:p>
              <a:pPr lvl="0" defTabSz="755650">
                <a:lnSpc>
                  <a:spcPct val="90000"/>
                </a:lnSpc>
                <a:spcBef>
                  <a:spcPct val="0"/>
                </a:spcBef>
                <a:spcAft>
                  <a:spcPct val="35000"/>
                </a:spcAft>
              </a:pP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For HR and General Concerns: </a:t>
              </a:r>
              <a:endParaRPr lang="en-IN" sz="1700" b="1" kern="1200" dirty="0">
                <a:solidFill>
                  <a:schemeClr val="bg1"/>
                </a:solidFill>
              </a:endParaRPr>
            </a:p>
          </p:txBody>
        </p:sp>
        <p:sp>
          <p:nvSpPr>
            <p:cNvPr id="39" name="Rectangle 38">
              <a:extLst>
                <a:ext uri="{FF2B5EF4-FFF2-40B4-BE49-F238E27FC236}">
                  <a16:creationId xmlns:a16="http://schemas.microsoft.com/office/drawing/2014/main" id="{2E030888-0EDB-409F-B0E5-EB596D04DA8E}"/>
                </a:ext>
              </a:extLst>
            </p:cNvPr>
            <p:cNvSpPr/>
            <p:nvPr/>
          </p:nvSpPr>
          <p:spPr>
            <a:xfrm>
              <a:off x="2631901" y="4671070"/>
              <a:ext cx="2131930" cy="369332"/>
            </a:xfrm>
            <a:prstGeom prst="rect">
              <a:avLst/>
            </a:prstGeom>
          </p:spPr>
          <p:txBody>
            <a:bodyPr wrap="none">
              <a:spAutoFit/>
            </a:bodyPr>
            <a:lstStyle/>
            <a:p>
              <a:r>
                <a:rPr lang="en-US" b="1" dirty="0">
                  <a:solidFill>
                    <a:schemeClr val="tx1">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USHR@infinite.com </a:t>
              </a:r>
              <a:endParaRPr lang="en-IN" b="1" dirty="0"/>
            </a:p>
          </p:txBody>
        </p:sp>
      </p:grpSp>
    </p:spTree>
    <p:extLst>
      <p:ext uri="{BB962C8B-B14F-4D97-AF65-F5344CB8AC3E}">
        <p14:creationId xmlns:p14="http://schemas.microsoft.com/office/powerpoint/2010/main" val="35621400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E42B92E1-0259-40FB-A6B3-3E1858C8800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28"/>
            <a:ext cx="12192000" cy="6857143"/>
          </a:xfrm>
          <a:prstGeom prst="rect">
            <a:avLst/>
          </a:prstGeom>
        </p:spPr>
      </p:pic>
      <p:sp>
        <p:nvSpPr>
          <p:cNvPr id="6" name="Rectangle 5">
            <a:extLst>
              <a:ext uri="{FF2B5EF4-FFF2-40B4-BE49-F238E27FC236}">
                <a16:creationId xmlns:a16="http://schemas.microsoft.com/office/drawing/2014/main" id="{D2276F41-D17B-4B27-8F8C-0772BE27D1FE}"/>
              </a:ext>
            </a:extLst>
          </p:cNvPr>
          <p:cNvSpPr/>
          <p:nvPr/>
        </p:nvSpPr>
        <p:spPr>
          <a:xfrm>
            <a:off x="1095347" y="3268760"/>
            <a:ext cx="4096437" cy="1323439"/>
          </a:xfrm>
          <a:prstGeom prst="rect">
            <a:avLst/>
          </a:prstGeom>
        </p:spPr>
        <p:txBody>
          <a:bodyPr wrap="square">
            <a:spAutoFit/>
          </a:bodyPr>
          <a:lstStyle/>
          <a:p>
            <a:r>
              <a:rPr lang="en-US" sz="4000" b="1" spc="-150" dirty="0">
                <a:solidFill>
                  <a:srgbClr val="7E249F"/>
                </a:solidFill>
                <a:latin typeface="Work Sans" panose="00000500000000000000" pitchFamily="50" charset="0"/>
              </a:rPr>
              <a:t>HUMAN RESOURCES</a:t>
            </a:r>
          </a:p>
        </p:txBody>
      </p:sp>
      <p:sp>
        <p:nvSpPr>
          <p:cNvPr id="7" name="TextBox 6">
            <a:extLst>
              <a:ext uri="{FF2B5EF4-FFF2-40B4-BE49-F238E27FC236}">
                <a16:creationId xmlns:a16="http://schemas.microsoft.com/office/drawing/2014/main" id="{FAF51F26-EA89-4E45-B8F7-22D263F4CEB0}"/>
              </a:ext>
            </a:extLst>
          </p:cNvPr>
          <p:cNvSpPr txBox="1"/>
          <p:nvPr/>
        </p:nvSpPr>
        <p:spPr>
          <a:xfrm>
            <a:off x="135822" y="-1009335"/>
            <a:ext cx="4745210" cy="4939814"/>
          </a:xfrm>
          <a:prstGeom prst="rect">
            <a:avLst/>
          </a:prstGeom>
          <a:noFill/>
        </p:spPr>
        <p:txBody>
          <a:bodyPr wrap="none" rtlCol="0">
            <a:spAutoFit/>
          </a:bodyPr>
          <a:lstStyle/>
          <a:p>
            <a:r>
              <a:rPr lang="en-US" sz="31500" spc="-300" dirty="0">
                <a:solidFill>
                  <a:srgbClr val="00B6AD">
                    <a:alpha val="60000"/>
                  </a:srgbClr>
                </a:solidFill>
                <a:latin typeface="Work Sans Light" panose="00000400000000000000" pitchFamily="50" charset="0"/>
              </a:rPr>
              <a:t>07</a:t>
            </a:r>
            <a:endParaRPr lang="en-IN" sz="31500" spc="-300" dirty="0">
              <a:solidFill>
                <a:srgbClr val="00B6AD">
                  <a:alpha val="60000"/>
                </a:srgbClr>
              </a:solidFill>
              <a:latin typeface="Work Sans Light" panose="00000400000000000000" pitchFamily="50" charset="0"/>
            </a:endParaRPr>
          </a:p>
        </p:txBody>
      </p:sp>
    </p:spTree>
    <p:extLst>
      <p:ext uri="{BB962C8B-B14F-4D97-AF65-F5344CB8AC3E}">
        <p14:creationId xmlns:p14="http://schemas.microsoft.com/office/powerpoint/2010/main" val="30049564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9B5EFBB3-7938-1AE1-A13B-64C1CC9C6FE5}"/>
              </a:ext>
            </a:extLst>
          </p:cNvPr>
          <p:cNvCxnSpPr>
            <a:cxnSpLocks/>
          </p:cNvCxnSpPr>
          <p:nvPr/>
        </p:nvCxnSpPr>
        <p:spPr>
          <a:xfrm flipV="1">
            <a:off x="5576600" y="1071542"/>
            <a:ext cx="0" cy="250244"/>
          </a:xfrm>
          <a:prstGeom prst="line">
            <a:avLst/>
          </a:prstGeom>
        </p:spPr>
        <p:style>
          <a:lnRef idx="2">
            <a:schemeClr val="accent5"/>
          </a:lnRef>
          <a:fillRef idx="0">
            <a:schemeClr val="accent5"/>
          </a:fillRef>
          <a:effectRef idx="1">
            <a:schemeClr val="accent5"/>
          </a:effectRef>
          <a:fontRef idx="minor">
            <a:schemeClr val="tx1"/>
          </a:fontRef>
        </p:style>
      </p:cxnSp>
      <p:cxnSp>
        <p:nvCxnSpPr>
          <p:cNvPr id="60" name="Straight Connector 59">
            <a:extLst>
              <a:ext uri="{FF2B5EF4-FFF2-40B4-BE49-F238E27FC236}">
                <a16:creationId xmlns:a16="http://schemas.microsoft.com/office/drawing/2014/main" id="{E6FD25C8-E5E0-419C-A467-AD5520DCCFC2}"/>
              </a:ext>
            </a:extLst>
          </p:cNvPr>
          <p:cNvCxnSpPr>
            <a:cxnSpLocks/>
          </p:cNvCxnSpPr>
          <p:nvPr/>
        </p:nvCxnSpPr>
        <p:spPr>
          <a:xfrm>
            <a:off x="8656320" y="1301761"/>
            <a:ext cx="0" cy="276175"/>
          </a:xfrm>
          <a:prstGeom prst="line">
            <a:avLst/>
          </a:prstGeom>
        </p:spPr>
        <p:style>
          <a:lnRef idx="2">
            <a:schemeClr val="accent5"/>
          </a:lnRef>
          <a:fillRef idx="0">
            <a:schemeClr val="accent5"/>
          </a:fillRef>
          <a:effectRef idx="1">
            <a:schemeClr val="accent5"/>
          </a:effectRef>
          <a:fontRef idx="minor">
            <a:schemeClr val="tx1"/>
          </a:fontRef>
        </p:style>
      </p:cxnSp>
      <p:cxnSp>
        <p:nvCxnSpPr>
          <p:cNvPr id="59" name="Straight Connector 58">
            <a:extLst>
              <a:ext uri="{FF2B5EF4-FFF2-40B4-BE49-F238E27FC236}">
                <a16:creationId xmlns:a16="http://schemas.microsoft.com/office/drawing/2014/main" id="{6370D499-9135-43FC-ACD6-3B6D9148E5BB}"/>
              </a:ext>
            </a:extLst>
          </p:cNvPr>
          <p:cNvCxnSpPr>
            <a:cxnSpLocks/>
          </p:cNvCxnSpPr>
          <p:nvPr/>
        </p:nvCxnSpPr>
        <p:spPr>
          <a:xfrm>
            <a:off x="3411522" y="1328747"/>
            <a:ext cx="0" cy="249189"/>
          </a:xfrm>
          <a:prstGeom prst="line">
            <a:avLst/>
          </a:prstGeom>
        </p:spPr>
        <p:style>
          <a:lnRef idx="2">
            <a:schemeClr val="accent5"/>
          </a:lnRef>
          <a:fillRef idx="0">
            <a:schemeClr val="accent5"/>
          </a:fillRef>
          <a:effectRef idx="1">
            <a:schemeClr val="accent5"/>
          </a:effectRef>
          <a:fontRef idx="minor">
            <a:schemeClr val="tx1"/>
          </a:fontRef>
        </p:style>
      </p:cxnSp>
      <p:cxnSp>
        <p:nvCxnSpPr>
          <p:cNvPr id="71" name="Straight Connector 70">
            <a:extLst>
              <a:ext uri="{FF2B5EF4-FFF2-40B4-BE49-F238E27FC236}">
                <a16:creationId xmlns:a16="http://schemas.microsoft.com/office/drawing/2014/main" id="{C15EECA8-3515-4A45-A010-7846D47AF758}"/>
              </a:ext>
            </a:extLst>
          </p:cNvPr>
          <p:cNvCxnSpPr>
            <a:cxnSpLocks/>
          </p:cNvCxnSpPr>
          <p:nvPr/>
        </p:nvCxnSpPr>
        <p:spPr>
          <a:xfrm flipH="1">
            <a:off x="8101330" y="3835618"/>
            <a:ext cx="215522" cy="0"/>
          </a:xfrm>
          <a:prstGeom prst="line">
            <a:avLst/>
          </a:prstGeom>
        </p:spPr>
        <p:style>
          <a:lnRef idx="2">
            <a:schemeClr val="accent5"/>
          </a:lnRef>
          <a:fillRef idx="0">
            <a:schemeClr val="accent5"/>
          </a:fillRef>
          <a:effectRef idx="1">
            <a:schemeClr val="accent5"/>
          </a:effectRef>
          <a:fontRef idx="minor">
            <a:schemeClr val="tx1"/>
          </a:fontRef>
        </p:style>
      </p:cxnSp>
      <p:cxnSp>
        <p:nvCxnSpPr>
          <p:cNvPr id="80" name="Straight Connector 79">
            <a:extLst>
              <a:ext uri="{FF2B5EF4-FFF2-40B4-BE49-F238E27FC236}">
                <a16:creationId xmlns:a16="http://schemas.microsoft.com/office/drawing/2014/main" id="{4AA50C99-CA39-FC20-F1CD-5C50E0A8F4AE}"/>
              </a:ext>
            </a:extLst>
          </p:cNvPr>
          <p:cNvCxnSpPr>
            <a:cxnSpLocks/>
          </p:cNvCxnSpPr>
          <p:nvPr/>
        </p:nvCxnSpPr>
        <p:spPr>
          <a:xfrm flipH="1">
            <a:off x="8101330" y="3239767"/>
            <a:ext cx="215522" cy="0"/>
          </a:xfrm>
          <a:prstGeom prst="line">
            <a:avLst/>
          </a:prstGeom>
        </p:spPr>
        <p:style>
          <a:lnRef idx="2">
            <a:schemeClr val="accent5"/>
          </a:lnRef>
          <a:fillRef idx="0">
            <a:schemeClr val="accent5"/>
          </a:fillRef>
          <a:effectRef idx="1">
            <a:schemeClr val="accent5"/>
          </a:effectRef>
          <a:fontRef idx="minor">
            <a:schemeClr val="tx1"/>
          </a:fontRef>
        </p:style>
      </p:cxnSp>
      <p:sp>
        <p:nvSpPr>
          <p:cNvPr id="4" name="TextBox 3">
            <a:extLst>
              <a:ext uri="{FF2B5EF4-FFF2-40B4-BE49-F238E27FC236}">
                <a16:creationId xmlns:a16="http://schemas.microsoft.com/office/drawing/2014/main" id="{6EE857A2-DF7D-4BD4-B156-FB0467436077}"/>
              </a:ext>
            </a:extLst>
          </p:cNvPr>
          <p:cNvSpPr txBox="1"/>
          <p:nvPr/>
        </p:nvSpPr>
        <p:spPr>
          <a:xfrm>
            <a:off x="76698" y="172414"/>
            <a:ext cx="1894978"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HR </a:t>
            </a:r>
            <a:r>
              <a:rPr lang="en-US" sz="3200" spc="-150" dirty="0">
                <a:solidFill>
                  <a:srgbClr val="1E3ADA"/>
                </a:solidFill>
                <a:latin typeface="Work Sans" panose="00000500000000000000" pitchFamily="50" charset="0"/>
                <a:cs typeface="Segoe UI" panose="020B0502040204020203" pitchFamily="34" charset="0"/>
              </a:rPr>
              <a:t>TEAM</a:t>
            </a:r>
          </a:p>
        </p:txBody>
      </p:sp>
      <p:sp>
        <p:nvSpPr>
          <p:cNvPr id="7" name="Freeform: Shape 6">
            <a:extLst>
              <a:ext uri="{FF2B5EF4-FFF2-40B4-BE49-F238E27FC236}">
                <a16:creationId xmlns:a16="http://schemas.microsoft.com/office/drawing/2014/main" id="{6C3C64D3-6184-4B50-980E-74A23B4F8632}"/>
              </a:ext>
            </a:extLst>
          </p:cNvPr>
          <p:cNvSpPr/>
          <p:nvPr/>
        </p:nvSpPr>
        <p:spPr>
          <a:xfrm>
            <a:off x="4342432" y="43964"/>
            <a:ext cx="2599826" cy="1124275"/>
          </a:xfrm>
          <a:custGeom>
            <a:avLst/>
            <a:gdLst>
              <a:gd name="connsiteX0" fmla="*/ 0 w 2666611"/>
              <a:gd name="connsiteY0" fmla="*/ 140927 h 1409272"/>
              <a:gd name="connsiteX1" fmla="*/ 140927 w 2666611"/>
              <a:gd name="connsiteY1" fmla="*/ 0 h 1409272"/>
              <a:gd name="connsiteX2" fmla="*/ 2525684 w 2666611"/>
              <a:gd name="connsiteY2" fmla="*/ 0 h 1409272"/>
              <a:gd name="connsiteX3" fmla="*/ 2666611 w 2666611"/>
              <a:gd name="connsiteY3" fmla="*/ 140927 h 1409272"/>
              <a:gd name="connsiteX4" fmla="*/ 2666611 w 2666611"/>
              <a:gd name="connsiteY4" fmla="*/ 1268345 h 1409272"/>
              <a:gd name="connsiteX5" fmla="*/ 2525684 w 2666611"/>
              <a:gd name="connsiteY5" fmla="*/ 1409272 h 1409272"/>
              <a:gd name="connsiteX6" fmla="*/ 140927 w 2666611"/>
              <a:gd name="connsiteY6" fmla="*/ 1409272 h 1409272"/>
              <a:gd name="connsiteX7" fmla="*/ 0 w 2666611"/>
              <a:gd name="connsiteY7" fmla="*/ 1268345 h 1409272"/>
              <a:gd name="connsiteX8" fmla="*/ 0 w 2666611"/>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6611" h="1409272">
                <a:moveTo>
                  <a:pt x="0" y="140927"/>
                </a:moveTo>
                <a:cubicBezTo>
                  <a:pt x="0" y="63095"/>
                  <a:pt x="63095" y="0"/>
                  <a:pt x="140927" y="0"/>
                </a:cubicBezTo>
                <a:lnTo>
                  <a:pt x="2525684" y="0"/>
                </a:lnTo>
                <a:cubicBezTo>
                  <a:pt x="2603516" y="0"/>
                  <a:pt x="2666611" y="63095"/>
                  <a:pt x="2666611" y="140927"/>
                </a:cubicBezTo>
                <a:lnTo>
                  <a:pt x="2666611" y="1268345"/>
                </a:lnTo>
                <a:cubicBezTo>
                  <a:pt x="2666611" y="1346177"/>
                  <a:pt x="2603516" y="1409272"/>
                  <a:pt x="2525684" y="1409272"/>
                </a:cubicBezTo>
                <a:lnTo>
                  <a:pt x="140927" y="1409272"/>
                </a:lnTo>
                <a:cubicBezTo>
                  <a:pt x="63095" y="1409272"/>
                  <a:pt x="0" y="1346177"/>
                  <a:pt x="0" y="1268345"/>
                </a:cubicBezTo>
                <a:lnTo>
                  <a:pt x="0" y="140927"/>
                </a:lnTo>
                <a:close/>
              </a:path>
            </a:pathLst>
          </a:custGeom>
          <a:solidFill>
            <a:srgbClr val="7E249F"/>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83186" tIns="83186" rIns="83186" bIns="83186" numCol="1" spcCol="1270" anchor="ctr" anchorCtr="0">
            <a:noAutofit/>
          </a:bodyPr>
          <a:lstStyle/>
          <a:p>
            <a:pPr marL="0" lvl="0" indent="0" algn="ctr" defTabSz="488950">
              <a:lnSpc>
                <a:spcPct val="90000"/>
              </a:lnSpc>
              <a:spcBef>
                <a:spcPct val="0"/>
              </a:spcBef>
              <a:spcAft>
                <a:spcPct val="35000"/>
              </a:spcAft>
              <a:buNone/>
            </a:pPr>
            <a:r>
              <a:rPr lang="en-US" b="1" kern="1200" dirty="0">
                <a:solidFill>
                  <a:schemeClr val="bg1"/>
                </a:solidFill>
              </a:rPr>
              <a:t>Niti Prothi </a:t>
            </a:r>
          </a:p>
          <a:p>
            <a:pPr marL="0" lvl="0" indent="0" algn="ctr" defTabSz="488950">
              <a:lnSpc>
                <a:spcPct val="90000"/>
              </a:lnSpc>
              <a:spcBef>
                <a:spcPct val="0"/>
              </a:spcBef>
              <a:spcAft>
                <a:spcPct val="35000"/>
              </a:spcAft>
              <a:buNone/>
            </a:pPr>
            <a:r>
              <a:rPr lang="en-US" b="1" kern="1200" dirty="0">
                <a:solidFill>
                  <a:schemeClr val="bg1"/>
                </a:solidFill>
              </a:rPr>
              <a:t>(SVP- HR)</a:t>
            </a:r>
          </a:p>
          <a:p>
            <a:pPr marL="0" lvl="0" indent="0" algn="ctr" defTabSz="488950">
              <a:lnSpc>
                <a:spcPct val="90000"/>
              </a:lnSpc>
              <a:spcBef>
                <a:spcPct val="0"/>
              </a:spcBef>
              <a:spcAft>
                <a:spcPct val="35000"/>
              </a:spcAft>
              <a:buNone/>
            </a:pPr>
            <a:r>
              <a:rPr lang="en-US" sz="1400" kern="1200">
                <a:solidFill>
                  <a:schemeClr val="bg1"/>
                </a:solidFill>
              </a:rPr>
              <a:t>214-862-7845 </a:t>
            </a:r>
            <a:endParaRPr lang="en-US" sz="1400" kern="1200" dirty="0">
              <a:solidFill>
                <a:schemeClr val="bg1"/>
              </a:solidFill>
            </a:endParaRPr>
          </a:p>
          <a:p>
            <a:pPr marL="0" lvl="0" indent="0" algn="ctr" defTabSz="488950">
              <a:lnSpc>
                <a:spcPct val="90000"/>
              </a:lnSpc>
              <a:spcBef>
                <a:spcPct val="0"/>
              </a:spcBef>
              <a:spcAft>
                <a:spcPct val="35000"/>
              </a:spcAft>
              <a:buNone/>
            </a:pPr>
            <a:r>
              <a:rPr lang="en-IN" sz="1400" kern="1200" noProof="0" dirty="0">
                <a:solidFill>
                  <a:schemeClr val="bg1"/>
                </a:solidFill>
              </a:rPr>
              <a:t>Niti.Prothi@infinite.com</a:t>
            </a:r>
            <a:endParaRPr lang="en-US" sz="1400" kern="1200" dirty="0">
              <a:solidFill>
                <a:schemeClr val="bg1"/>
              </a:solidFill>
            </a:endParaRPr>
          </a:p>
        </p:txBody>
      </p:sp>
      <p:sp>
        <p:nvSpPr>
          <p:cNvPr id="19" name="Freeform: Shape 18">
            <a:extLst>
              <a:ext uri="{FF2B5EF4-FFF2-40B4-BE49-F238E27FC236}">
                <a16:creationId xmlns:a16="http://schemas.microsoft.com/office/drawing/2014/main" id="{6808465E-06F3-4B4D-8FBA-9B80334D9CA9}"/>
              </a:ext>
            </a:extLst>
          </p:cNvPr>
          <p:cNvSpPr/>
          <p:nvPr/>
        </p:nvSpPr>
        <p:spPr>
          <a:xfrm>
            <a:off x="6359829" y="1595043"/>
            <a:ext cx="4279817" cy="609845"/>
          </a:xfrm>
          <a:custGeom>
            <a:avLst/>
            <a:gdLst>
              <a:gd name="connsiteX0" fmla="*/ 0 w 2743663"/>
              <a:gd name="connsiteY0" fmla="*/ 140927 h 1409272"/>
              <a:gd name="connsiteX1" fmla="*/ 140927 w 2743663"/>
              <a:gd name="connsiteY1" fmla="*/ 0 h 1409272"/>
              <a:gd name="connsiteX2" fmla="*/ 2602736 w 2743663"/>
              <a:gd name="connsiteY2" fmla="*/ 0 h 1409272"/>
              <a:gd name="connsiteX3" fmla="*/ 2743663 w 2743663"/>
              <a:gd name="connsiteY3" fmla="*/ 140927 h 1409272"/>
              <a:gd name="connsiteX4" fmla="*/ 2743663 w 2743663"/>
              <a:gd name="connsiteY4" fmla="*/ 1268345 h 1409272"/>
              <a:gd name="connsiteX5" fmla="*/ 2602736 w 2743663"/>
              <a:gd name="connsiteY5" fmla="*/ 1409272 h 1409272"/>
              <a:gd name="connsiteX6" fmla="*/ 140927 w 2743663"/>
              <a:gd name="connsiteY6" fmla="*/ 1409272 h 1409272"/>
              <a:gd name="connsiteX7" fmla="*/ 0 w 2743663"/>
              <a:gd name="connsiteY7" fmla="*/ 1268345 h 1409272"/>
              <a:gd name="connsiteX8" fmla="*/ 0 w 2743663"/>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663" h="1409272">
                <a:moveTo>
                  <a:pt x="0" y="140927"/>
                </a:moveTo>
                <a:cubicBezTo>
                  <a:pt x="0" y="63095"/>
                  <a:pt x="63095" y="0"/>
                  <a:pt x="140927" y="0"/>
                </a:cubicBezTo>
                <a:lnTo>
                  <a:pt x="2602736" y="0"/>
                </a:lnTo>
                <a:cubicBezTo>
                  <a:pt x="2680568" y="0"/>
                  <a:pt x="2743663" y="63095"/>
                  <a:pt x="2743663" y="140927"/>
                </a:cubicBezTo>
                <a:lnTo>
                  <a:pt x="2743663" y="1268345"/>
                </a:lnTo>
                <a:cubicBezTo>
                  <a:pt x="2743663" y="1346177"/>
                  <a:pt x="2680568" y="1409272"/>
                  <a:pt x="2602736" y="1409272"/>
                </a:cubicBezTo>
                <a:lnTo>
                  <a:pt x="140927" y="1409272"/>
                </a:lnTo>
                <a:cubicBezTo>
                  <a:pt x="63095" y="1409272"/>
                  <a:pt x="0" y="1346177"/>
                  <a:pt x="0" y="1268345"/>
                </a:cubicBezTo>
                <a:lnTo>
                  <a:pt x="0" y="140927"/>
                </a:lnTo>
                <a:close/>
              </a:path>
            </a:pathLst>
          </a:custGeom>
          <a:solidFill>
            <a:schemeClr val="tx2">
              <a:lumMod val="20000"/>
              <a:lumOff val="80000"/>
            </a:schemeClr>
          </a:solidFill>
          <a:ln>
            <a:solidFill>
              <a:schemeClr val="accent5">
                <a:lumMod val="60000"/>
                <a:lumOff val="40000"/>
              </a:schemeClr>
            </a:solidFill>
          </a:ln>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6">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spcAft>
                <a:spcPct val="35000"/>
              </a:spcAft>
              <a:buNone/>
            </a:pPr>
            <a:r>
              <a:rPr lang="en-US" sz="1400" b="1" kern="1200" dirty="0">
                <a:solidFill>
                  <a:schemeClr val="tx1"/>
                </a:solidFill>
              </a:rPr>
              <a:t>Tiffany Johnson (Senior </a:t>
            </a:r>
            <a:r>
              <a:rPr lang="en-IN" sz="1400" b="1" kern="1200" dirty="0">
                <a:solidFill>
                  <a:schemeClr val="tx1"/>
                </a:solidFill>
              </a:rPr>
              <a:t>Manager - HR)</a:t>
            </a:r>
          </a:p>
          <a:p>
            <a:pPr marL="0" lvl="0" indent="0" algn="ctr" defTabSz="444500">
              <a:lnSpc>
                <a:spcPct val="90000"/>
              </a:lnSpc>
              <a:spcBef>
                <a:spcPct val="0"/>
              </a:spcBef>
              <a:spcAft>
                <a:spcPct val="35000"/>
              </a:spcAft>
              <a:buNone/>
            </a:pPr>
            <a:r>
              <a:rPr lang="en-US" sz="1300" b="0" kern="1200" dirty="0">
                <a:solidFill>
                  <a:schemeClr val="tx1"/>
                </a:solidFill>
              </a:rPr>
              <a:t>(301) 355-7704</a:t>
            </a:r>
            <a:r>
              <a:rPr lang="en-US" sz="1300" b="1" kern="1200" dirty="0">
                <a:solidFill>
                  <a:schemeClr val="tx1"/>
                </a:solidFill>
              </a:rPr>
              <a:t> </a:t>
            </a:r>
            <a:r>
              <a:rPr lang="en-IN" sz="1300" b="1" dirty="0">
                <a:solidFill>
                  <a:schemeClr val="tx1"/>
                </a:solidFill>
              </a:rPr>
              <a:t>| </a:t>
            </a:r>
            <a:r>
              <a:rPr lang="en-US" sz="1300" kern="1200" dirty="0">
                <a:solidFill>
                  <a:schemeClr val="tx1"/>
                </a:solidFill>
              </a:rPr>
              <a:t>Tiffany.Johnson@infinite.com </a:t>
            </a:r>
          </a:p>
        </p:txBody>
      </p:sp>
      <p:sp>
        <p:nvSpPr>
          <p:cNvPr id="31" name="Shape 13457">
            <a:extLst>
              <a:ext uri="{FF2B5EF4-FFF2-40B4-BE49-F238E27FC236}">
                <a16:creationId xmlns:a16="http://schemas.microsoft.com/office/drawing/2014/main" id="{FCA95770-5209-4D8D-A6AD-B912B5BCF810}"/>
              </a:ext>
            </a:extLst>
          </p:cNvPr>
          <p:cNvSpPr txBox="1">
            <a:spLocks/>
          </p:cNvSpPr>
          <p:nvPr/>
        </p:nvSpPr>
        <p:spPr>
          <a:xfrm>
            <a:off x="9829800" y="352688"/>
            <a:ext cx="2019300" cy="71885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pPr lvl="0" algn="ctr" defTabSz="309563">
              <a:defRPr/>
            </a:pPr>
            <a:r>
              <a:rPr lang="en-GB" kern="0" dirty="0">
                <a:solidFill>
                  <a:srgbClr val="7E249F"/>
                </a:solidFill>
                <a:latin typeface="Bebas Neue Bold"/>
                <a:ea typeface="Bebas Neue Bold"/>
                <a:cs typeface="Bebas Neue Bold"/>
                <a:sym typeface="Bebas Neue Bold"/>
              </a:rPr>
              <a:t>We are listening and</a:t>
            </a:r>
          </a:p>
          <a:p>
            <a:pPr lvl="0" algn="ctr" defTabSz="309563">
              <a:defRPr/>
            </a:pPr>
            <a:r>
              <a:rPr lang="en-GB" kern="0" dirty="0">
                <a:solidFill>
                  <a:srgbClr val="7E249F"/>
                </a:solidFill>
                <a:latin typeface="Bebas Neue Bold"/>
                <a:ea typeface="Bebas Neue Bold"/>
                <a:cs typeface="Bebas Neue Bold"/>
                <a:sym typeface="Bebas Neue Bold"/>
              </a:rPr>
              <a:t>We care for you!!</a:t>
            </a:r>
          </a:p>
        </p:txBody>
      </p:sp>
      <p:sp>
        <p:nvSpPr>
          <p:cNvPr id="32" name="Rectangle 31">
            <a:extLst>
              <a:ext uri="{FF2B5EF4-FFF2-40B4-BE49-F238E27FC236}">
                <a16:creationId xmlns:a16="http://schemas.microsoft.com/office/drawing/2014/main" id="{90FECB07-CBBB-493D-8B06-0F74CBFF365A}"/>
              </a:ext>
            </a:extLst>
          </p:cNvPr>
          <p:cNvSpPr/>
          <p:nvPr/>
        </p:nvSpPr>
        <p:spPr>
          <a:xfrm>
            <a:off x="76698" y="576297"/>
            <a:ext cx="1616895"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IN" sz="1200" b="1" kern="0" dirty="0">
                <a:solidFill>
                  <a:schemeClr val="tx1">
                    <a:lumMod val="75000"/>
                    <a:lumOff val="25000"/>
                  </a:schemeClr>
                </a:solidFill>
                <a:ea typeface="Roboto" pitchFamily="2" charset="0"/>
              </a:rPr>
              <a:t>USHR</a:t>
            </a:r>
            <a:r>
              <a:rPr kumimoji="0" lang="en-IN" sz="1200" b="1" i="0" u="none" strike="noStrike" kern="0" cap="none" spc="0" normalizeH="0" baseline="0" noProof="0" dirty="0">
                <a:ln>
                  <a:noFill/>
                </a:ln>
                <a:solidFill>
                  <a:schemeClr val="tx1">
                    <a:lumMod val="75000"/>
                    <a:lumOff val="25000"/>
                  </a:schemeClr>
                </a:solidFill>
                <a:effectLst/>
                <a:uLnTx/>
                <a:uFillTx/>
                <a:ea typeface="Roboto" pitchFamily="2" charset="0"/>
              </a:rPr>
              <a:t>@infinite.com</a:t>
            </a:r>
          </a:p>
          <a:p>
            <a:pPr marL="0" marR="0" lvl="0" indent="0" defTabSz="914400" eaLnBrk="1" fontAlgn="auto" latinLnBrk="0" hangingPunct="1">
              <a:lnSpc>
                <a:spcPct val="100000"/>
              </a:lnSpc>
              <a:spcBef>
                <a:spcPts val="0"/>
              </a:spcBef>
              <a:spcAft>
                <a:spcPts val="0"/>
              </a:spcAft>
              <a:buClrTx/>
              <a:buSzTx/>
              <a:buFontTx/>
              <a:buNone/>
              <a:tabLst/>
              <a:defRPr/>
            </a:pPr>
            <a:r>
              <a:rPr lang="en-IN" sz="1200" b="1" kern="0" dirty="0">
                <a:solidFill>
                  <a:schemeClr val="tx1">
                    <a:lumMod val="75000"/>
                    <a:lumOff val="25000"/>
                  </a:schemeClr>
                </a:solidFill>
                <a:ea typeface="Roboto" pitchFamily="2" charset="0"/>
              </a:rPr>
              <a:t>HR@zyter.com</a:t>
            </a:r>
            <a:endParaRPr kumimoji="0" lang="en-IN" sz="1200" b="1" i="0" u="none" strike="noStrike" kern="0" cap="none" spc="0" normalizeH="0" baseline="0" noProof="0" dirty="0">
              <a:ln>
                <a:noFill/>
              </a:ln>
              <a:solidFill>
                <a:schemeClr val="tx1">
                  <a:lumMod val="75000"/>
                  <a:lumOff val="25000"/>
                </a:schemeClr>
              </a:solidFill>
              <a:effectLst/>
              <a:uLnTx/>
              <a:uFillTx/>
              <a:ea typeface="Roboto" pitchFamily="2" charset="0"/>
            </a:endParaRPr>
          </a:p>
        </p:txBody>
      </p:sp>
      <p:sp>
        <p:nvSpPr>
          <p:cNvPr id="52" name="Freeform: Shape 51">
            <a:extLst>
              <a:ext uri="{FF2B5EF4-FFF2-40B4-BE49-F238E27FC236}">
                <a16:creationId xmlns:a16="http://schemas.microsoft.com/office/drawing/2014/main" id="{02994107-C88C-4054-A6E1-6AD6CFE95ACF}"/>
              </a:ext>
            </a:extLst>
          </p:cNvPr>
          <p:cNvSpPr/>
          <p:nvPr/>
        </p:nvSpPr>
        <p:spPr>
          <a:xfrm>
            <a:off x="1552354" y="1592803"/>
            <a:ext cx="4191159" cy="603014"/>
          </a:xfrm>
          <a:custGeom>
            <a:avLst/>
            <a:gdLst>
              <a:gd name="connsiteX0" fmla="*/ 0 w 2442791"/>
              <a:gd name="connsiteY0" fmla="*/ 140927 h 1409272"/>
              <a:gd name="connsiteX1" fmla="*/ 140927 w 2442791"/>
              <a:gd name="connsiteY1" fmla="*/ 0 h 1409272"/>
              <a:gd name="connsiteX2" fmla="*/ 2301864 w 2442791"/>
              <a:gd name="connsiteY2" fmla="*/ 0 h 1409272"/>
              <a:gd name="connsiteX3" fmla="*/ 2442791 w 2442791"/>
              <a:gd name="connsiteY3" fmla="*/ 140927 h 1409272"/>
              <a:gd name="connsiteX4" fmla="*/ 2442791 w 2442791"/>
              <a:gd name="connsiteY4" fmla="*/ 1268345 h 1409272"/>
              <a:gd name="connsiteX5" fmla="*/ 2301864 w 2442791"/>
              <a:gd name="connsiteY5" fmla="*/ 1409272 h 1409272"/>
              <a:gd name="connsiteX6" fmla="*/ 140927 w 2442791"/>
              <a:gd name="connsiteY6" fmla="*/ 1409272 h 1409272"/>
              <a:gd name="connsiteX7" fmla="*/ 0 w 2442791"/>
              <a:gd name="connsiteY7" fmla="*/ 1268345 h 1409272"/>
              <a:gd name="connsiteX8" fmla="*/ 0 w 2442791"/>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2791" h="1409272">
                <a:moveTo>
                  <a:pt x="0" y="140927"/>
                </a:moveTo>
                <a:cubicBezTo>
                  <a:pt x="0" y="63095"/>
                  <a:pt x="63095" y="0"/>
                  <a:pt x="140927" y="0"/>
                </a:cubicBezTo>
                <a:lnTo>
                  <a:pt x="2301864" y="0"/>
                </a:lnTo>
                <a:cubicBezTo>
                  <a:pt x="2379696" y="0"/>
                  <a:pt x="2442791" y="63095"/>
                  <a:pt x="2442791" y="140927"/>
                </a:cubicBezTo>
                <a:lnTo>
                  <a:pt x="2442791" y="1268345"/>
                </a:lnTo>
                <a:cubicBezTo>
                  <a:pt x="2442791" y="1346177"/>
                  <a:pt x="2379696" y="1409272"/>
                  <a:pt x="2301864" y="1409272"/>
                </a:cubicBezTo>
                <a:lnTo>
                  <a:pt x="140927" y="1409272"/>
                </a:lnTo>
                <a:cubicBezTo>
                  <a:pt x="63095" y="1409272"/>
                  <a:pt x="0" y="1346177"/>
                  <a:pt x="0" y="1268345"/>
                </a:cubicBezTo>
                <a:lnTo>
                  <a:pt x="0" y="140927"/>
                </a:lnTo>
                <a:close/>
              </a:path>
            </a:pathLst>
          </a:custGeom>
          <a:solidFill>
            <a:schemeClr val="tx2">
              <a:lumMod val="20000"/>
              <a:lumOff val="80000"/>
            </a:schemeClr>
          </a:solidFill>
          <a:ln>
            <a:solidFill>
              <a:schemeClr val="accent5">
                <a:lumMod val="60000"/>
                <a:lumOff val="40000"/>
              </a:schemeClr>
            </a:solidFill>
          </a:ln>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6">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spcAft>
                <a:spcPct val="35000"/>
              </a:spcAft>
              <a:buNone/>
            </a:pPr>
            <a:r>
              <a:rPr lang="en-US" sz="1400" b="1" dirty="0">
                <a:solidFill>
                  <a:schemeClr val="tx1"/>
                </a:solidFill>
              </a:rPr>
              <a:t>Harish Venkatesh  (Senior Manager - HR)</a:t>
            </a:r>
          </a:p>
          <a:p>
            <a:pPr marL="0" lvl="0" indent="0" algn="ctr" defTabSz="444500">
              <a:lnSpc>
                <a:spcPct val="90000"/>
              </a:lnSpc>
              <a:spcBef>
                <a:spcPct val="0"/>
              </a:spcBef>
              <a:spcAft>
                <a:spcPct val="35000"/>
              </a:spcAft>
              <a:buNone/>
            </a:pPr>
            <a:r>
              <a:rPr lang="en-US" sz="1300" kern="1200" noProof="0" dirty="0">
                <a:solidFill>
                  <a:schemeClr val="tx1"/>
                </a:solidFill>
              </a:rPr>
              <a:t>(301) 355-7705 | Harish.Venkatesh@infinite.com</a:t>
            </a:r>
            <a:endParaRPr lang="en-US" sz="1300" kern="1200" dirty="0">
              <a:solidFill>
                <a:schemeClr val="tx1"/>
              </a:solidFill>
            </a:endParaRPr>
          </a:p>
        </p:txBody>
      </p:sp>
      <p:sp>
        <p:nvSpPr>
          <p:cNvPr id="56" name="Freeform: Shape 55">
            <a:extLst>
              <a:ext uri="{FF2B5EF4-FFF2-40B4-BE49-F238E27FC236}">
                <a16:creationId xmlns:a16="http://schemas.microsoft.com/office/drawing/2014/main" id="{AA8FE124-66C6-4C8D-911B-CA669C23BBEC}"/>
              </a:ext>
            </a:extLst>
          </p:cNvPr>
          <p:cNvSpPr/>
          <p:nvPr/>
        </p:nvSpPr>
        <p:spPr>
          <a:xfrm>
            <a:off x="107125" y="4152960"/>
            <a:ext cx="3881435" cy="414530"/>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r>
              <a:rPr lang="en-IN" sz="1400" b="1" dirty="0">
                <a:solidFill>
                  <a:schemeClr val="tx1"/>
                </a:solidFill>
              </a:rPr>
              <a:t>Amarnath Meganathan </a:t>
            </a:r>
            <a:r>
              <a:rPr lang="en-US" sz="1400" b="1" kern="1200" dirty="0">
                <a:solidFill>
                  <a:schemeClr val="tx1"/>
                </a:solidFill>
              </a:rPr>
              <a:t>(HR </a:t>
            </a:r>
            <a:r>
              <a:rPr lang="en-US" sz="1400" b="1" dirty="0">
                <a:solidFill>
                  <a:schemeClr val="tx1"/>
                </a:solidFill>
              </a:rPr>
              <a:t> </a:t>
            </a:r>
            <a:r>
              <a:rPr lang="en-US" sz="1400" b="1" kern="1200" dirty="0">
                <a:solidFill>
                  <a:schemeClr val="tx1"/>
                </a:solidFill>
              </a:rPr>
              <a:t>Executive)</a:t>
            </a:r>
          </a:p>
          <a:p>
            <a:pPr marL="0" lvl="0" indent="0" algn="ctr" defTabSz="444500">
              <a:lnSpc>
                <a:spcPct val="90000"/>
              </a:lnSpc>
              <a:spcBef>
                <a:spcPct val="0"/>
              </a:spcBef>
              <a:buNone/>
            </a:pPr>
            <a:r>
              <a:rPr lang="en-IN" sz="1200" kern="1200" dirty="0">
                <a:solidFill>
                  <a:schemeClr val="tx1"/>
                </a:solidFill>
              </a:rPr>
              <a:t>(301) </a:t>
            </a:r>
            <a:r>
              <a:rPr lang="en-IN" sz="1200" dirty="0">
                <a:solidFill>
                  <a:schemeClr val="tx1"/>
                </a:solidFill>
                <a:effectLst/>
                <a:ea typeface="Calibri" panose="020F0502020204030204" pitchFamily="34" charset="0"/>
              </a:rPr>
              <a:t>880-3326</a:t>
            </a:r>
            <a:r>
              <a:rPr lang="en-IN" sz="1200" kern="1200" dirty="0">
                <a:solidFill>
                  <a:schemeClr val="tx1"/>
                </a:solidFill>
              </a:rPr>
              <a:t> | </a:t>
            </a:r>
            <a:r>
              <a:rPr lang="en-US" sz="1200" dirty="0">
                <a:solidFill>
                  <a:schemeClr val="tx1"/>
                </a:solidFill>
              </a:rPr>
              <a:t>amarnath</a:t>
            </a:r>
            <a:r>
              <a:rPr lang="en-US" sz="1200" kern="1200" dirty="0">
                <a:solidFill>
                  <a:schemeClr val="tx1"/>
                </a:solidFill>
              </a:rPr>
              <a:t>.meganathan@infinite.com</a:t>
            </a:r>
          </a:p>
        </p:txBody>
      </p:sp>
      <p:cxnSp>
        <p:nvCxnSpPr>
          <p:cNvPr id="69" name="Straight Connector 68">
            <a:extLst>
              <a:ext uri="{FF2B5EF4-FFF2-40B4-BE49-F238E27FC236}">
                <a16:creationId xmlns:a16="http://schemas.microsoft.com/office/drawing/2014/main" id="{030D07BB-3D38-420D-BDBA-57A37F5E9699}"/>
              </a:ext>
            </a:extLst>
          </p:cNvPr>
          <p:cNvCxnSpPr>
            <a:cxnSpLocks/>
          </p:cNvCxnSpPr>
          <p:nvPr/>
        </p:nvCxnSpPr>
        <p:spPr>
          <a:xfrm flipH="1">
            <a:off x="8081888" y="2743154"/>
            <a:ext cx="215522" cy="0"/>
          </a:xfrm>
          <a:prstGeom prst="line">
            <a:avLst/>
          </a:prstGeom>
        </p:spPr>
        <p:style>
          <a:lnRef idx="2">
            <a:schemeClr val="accent5"/>
          </a:lnRef>
          <a:fillRef idx="0">
            <a:schemeClr val="accent5"/>
          </a:fillRef>
          <a:effectRef idx="1">
            <a:schemeClr val="accent5"/>
          </a:effectRef>
          <a:fontRef idx="minor">
            <a:schemeClr val="tx1"/>
          </a:fontRef>
        </p:style>
      </p:cxnSp>
      <p:cxnSp>
        <p:nvCxnSpPr>
          <p:cNvPr id="37" name="Straight Connector 36">
            <a:extLst>
              <a:ext uri="{FF2B5EF4-FFF2-40B4-BE49-F238E27FC236}">
                <a16:creationId xmlns:a16="http://schemas.microsoft.com/office/drawing/2014/main" id="{4BBDF66C-4227-AEC0-4C08-F37B1658A829}"/>
              </a:ext>
            </a:extLst>
          </p:cNvPr>
          <p:cNvCxnSpPr>
            <a:cxnSpLocks/>
          </p:cNvCxnSpPr>
          <p:nvPr/>
        </p:nvCxnSpPr>
        <p:spPr>
          <a:xfrm flipH="1">
            <a:off x="8101330" y="4438366"/>
            <a:ext cx="215522" cy="0"/>
          </a:xfrm>
          <a:prstGeom prst="line">
            <a:avLst/>
          </a:prstGeom>
        </p:spPr>
        <p:style>
          <a:lnRef idx="2">
            <a:schemeClr val="accent5"/>
          </a:lnRef>
          <a:fillRef idx="0">
            <a:schemeClr val="accent5"/>
          </a:fillRef>
          <a:effectRef idx="1">
            <a:schemeClr val="accent5"/>
          </a:effectRef>
          <a:fontRef idx="minor">
            <a:schemeClr val="tx1"/>
          </a:fontRef>
        </p:style>
      </p:cxnSp>
      <p:sp>
        <p:nvSpPr>
          <p:cNvPr id="18" name="Freeform: Shape 17">
            <a:extLst>
              <a:ext uri="{FF2B5EF4-FFF2-40B4-BE49-F238E27FC236}">
                <a16:creationId xmlns:a16="http://schemas.microsoft.com/office/drawing/2014/main" id="{BAFC2AE7-A97D-229C-8CE7-6654E5616EBA}"/>
              </a:ext>
            </a:extLst>
          </p:cNvPr>
          <p:cNvSpPr/>
          <p:nvPr/>
        </p:nvSpPr>
        <p:spPr>
          <a:xfrm>
            <a:off x="107125" y="3508253"/>
            <a:ext cx="3931853" cy="547047"/>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spcBef>
                <a:spcPct val="0"/>
              </a:spcBef>
              <a:buNone/>
            </a:pPr>
            <a:r>
              <a:rPr lang="en-US" sz="1400" b="1" kern="1200" dirty="0">
                <a:solidFill>
                  <a:schemeClr val="tx1"/>
                </a:solidFill>
              </a:rPr>
              <a:t>Rahamathulla Uthamanli</a:t>
            </a:r>
          </a:p>
          <a:p>
            <a:pPr marL="0" lvl="0" indent="0" algn="ctr" defTabSz="444500">
              <a:spcBef>
                <a:spcPct val="0"/>
              </a:spcBef>
              <a:buNone/>
            </a:pPr>
            <a:r>
              <a:rPr lang="en-US" sz="1400" b="1" kern="1200" dirty="0">
                <a:solidFill>
                  <a:schemeClr val="tx1"/>
                </a:solidFill>
              </a:rPr>
              <a:t> (HR Associate Executive)</a:t>
            </a:r>
          </a:p>
          <a:p>
            <a:pPr marL="0" lvl="0" indent="0" algn="ctr" defTabSz="444500">
              <a:lnSpc>
                <a:spcPct val="90000"/>
              </a:lnSpc>
              <a:spcBef>
                <a:spcPct val="0"/>
              </a:spcBef>
              <a:buNone/>
            </a:pPr>
            <a:r>
              <a:rPr lang="en-IN" sz="1200" dirty="0">
                <a:solidFill>
                  <a:schemeClr val="tx1"/>
                </a:solidFill>
                <a:effectLst/>
                <a:latin typeface="Calibri" panose="020F0502020204030204" pitchFamily="34" charset="0"/>
                <a:ea typeface="Calibri" panose="020F0502020204030204" pitchFamily="34" charset="0"/>
              </a:rPr>
              <a:t>(301) 355-7707 | </a:t>
            </a:r>
            <a:r>
              <a:rPr lang="en-US" sz="1200" kern="1200" dirty="0">
                <a:solidFill>
                  <a:schemeClr val="tx1"/>
                </a:solidFill>
              </a:rPr>
              <a:t>Rahamathulla.Uthamanli@infinite.com</a:t>
            </a:r>
          </a:p>
        </p:txBody>
      </p:sp>
      <p:sp>
        <p:nvSpPr>
          <p:cNvPr id="2" name="Freeform: Shape 1">
            <a:extLst>
              <a:ext uri="{FF2B5EF4-FFF2-40B4-BE49-F238E27FC236}">
                <a16:creationId xmlns:a16="http://schemas.microsoft.com/office/drawing/2014/main" id="{9C648597-1790-69B9-858C-CFB6857D8C77}"/>
              </a:ext>
            </a:extLst>
          </p:cNvPr>
          <p:cNvSpPr/>
          <p:nvPr/>
        </p:nvSpPr>
        <p:spPr>
          <a:xfrm>
            <a:off x="8313209" y="3018903"/>
            <a:ext cx="3679568" cy="427936"/>
          </a:xfrm>
          <a:custGeom>
            <a:avLst/>
            <a:gdLst>
              <a:gd name="connsiteX0" fmla="*/ 0 w 2514473"/>
              <a:gd name="connsiteY0" fmla="*/ 140927 h 1409272"/>
              <a:gd name="connsiteX1" fmla="*/ 140927 w 2514473"/>
              <a:gd name="connsiteY1" fmla="*/ 0 h 1409272"/>
              <a:gd name="connsiteX2" fmla="*/ 2373546 w 2514473"/>
              <a:gd name="connsiteY2" fmla="*/ 0 h 1409272"/>
              <a:gd name="connsiteX3" fmla="*/ 2514473 w 2514473"/>
              <a:gd name="connsiteY3" fmla="*/ 140927 h 1409272"/>
              <a:gd name="connsiteX4" fmla="*/ 2514473 w 2514473"/>
              <a:gd name="connsiteY4" fmla="*/ 1268345 h 1409272"/>
              <a:gd name="connsiteX5" fmla="*/ 2373546 w 2514473"/>
              <a:gd name="connsiteY5" fmla="*/ 1409272 h 1409272"/>
              <a:gd name="connsiteX6" fmla="*/ 140927 w 2514473"/>
              <a:gd name="connsiteY6" fmla="*/ 1409272 h 1409272"/>
              <a:gd name="connsiteX7" fmla="*/ 0 w 2514473"/>
              <a:gd name="connsiteY7" fmla="*/ 1268345 h 1409272"/>
              <a:gd name="connsiteX8" fmla="*/ 0 w 2514473"/>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473" h="1409272">
                <a:moveTo>
                  <a:pt x="0" y="140927"/>
                </a:moveTo>
                <a:cubicBezTo>
                  <a:pt x="0" y="63095"/>
                  <a:pt x="63095" y="0"/>
                  <a:pt x="140927" y="0"/>
                </a:cubicBezTo>
                <a:lnTo>
                  <a:pt x="2373546" y="0"/>
                </a:lnTo>
                <a:cubicBezTo>
                  <a:pt x="2451378" y="0"/>
                  <a:pt x="2514473" y="63095"/>
                  <a:pt x="2514473" y="140927"/>
                </a:cubicBezTo>
                <a:lnTo>
                  <a:pt x="2514473" y="1268345"/>
                </a:lnTo>
                <a:cubicBezTo>
                  <a:pt x="2514473" y="1346177"/>
                  <a:pt x="2451378" y="1409272"/>
                  <a:pt x="2373546"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spcAft>
                <a:spcPct val="35000"/>
              </a:spcAft>
              <a:buNone/>
            </a:pPr>
            <a:r>
              <a:rPr lang="en-IN" sz="1400" b="1" dirty="0">
                <a:solidFill>
                  <a:schemeClr val="tx1"/>
                </a:solidFill>
              </a:rPr>
              <a:t>Taylor Rasberry </a:t>
            </a:r>
            <a:r>
              <a:rPr lang="en-US" sz="1400" b="1" dirty="0">
                <a:solidFill>
                  <a:schemeClr val="tx1"/>
                </a:solidFill>
              </a:rPr>
              <a:t>(Senior HR Generalist)</a:t>
            </a:r>
          </a:p>
          <a:p>
            <a:pPr lvl="0" algn="ctr" defTabSz="444500">
              <a:lnSpc>
                <a:spcPct val="90000"/>
              </a:lnSpc>
              <a:spcBef>
                <a:spcPct val="0"/>
              </a:spcBef>
              <a:spcAft>
                <a:spcPct val="35000"/>
              </a:spcAft>
            </a:pPr>
            <a:r>
              <a:rPr lang="en-IN" sz="1200" dirty="0">
                <a:solidFill>
                  <a:schemeClr val="tx1"/>
                </a:solidFill>
              </a:rPr>
              <a:t>(301) 591-9718| Taylor.Rasberry@infinite.com</a:t>
            </a:r>
            <a:endParaRPr lang="en-US" sz="1200" dirty="0">
              <a:solidFill>
                <a:schemeClr val="tx1"/>
              </a:solidFill>
            </a:endParaRPr>
          </a:p>
        </p:txBody>
      </p:sp>
      <p:sp>
        <p:nvSpPr>
          <p:cNvPr id="6" name="Freeform: Shape 5">
            <a:extLst>
              <a:ext uri="{FF2B5EF4-FFF2-40B4-BE49-F238E27FC236}">
                <a16:creationId xmlns:a16="http://schemas.microsoft.com/office/drawing/2014/main" id="{CDA3844E-579E-4A7C-B0F8-769BB324409A}"/>
              </a:ext>
            </a:extLst>
          </p:cNvPr>
          <p:cNvSpPr/>
          <p:nvPr/>
        </p:nvSpPr>
        <p:spPr>
          <a:xfrm>
            <a:off x="115415" y="2432886"/>
            <a:ext cx="3861307" cy="405827"/>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endParaRPr lang="en-US" sz="1400" b="1" kern="1200" dirty="0">
              <a:solidFill>
                <a:schemeClr val="tx1"/>
              </a:solidFill>
            </a:endParaRPr>
          </a:p>
          <a:p>
            <a:pPr marL="0" lvl="0" indent="0" algn="ctr" defTabSz="444500">
              <a:lnSpc>
                <a:spcPct val="90000"/>
              </a:lnSpc>
              <a:spcBef>
                <a:spcPct val="0"/>
              </a:spcBef>
              <a:buNone/>
            </a:pPr>
            <a:r>
              <a:rPr lang="en-US" sz="1400" b="1" kern="1200" dirty="0" err="1">
                <a:solidFill>
                  <a:schemeClr val="tx1"/>
                </a:solidFill>
              </a:rPr>
              <a:t>Franches</a:t>
            </a:r>
            <a:r>
              <a:rPr lang="en-US" sz="1400" b="1" kern="1200" dirty="0">
                <a:solidFill>
                  <a:schemeClr val="tx1"/>
                </a:solidFill>
              </a:rPr>
              <a:t> Martin (HR Executive)</a:t>
            </a:r>
          </a:p>
          <a:p>
            <a:pPr marL="0" lvl="0" indent="0" algn="ctr" defTabSz="444500">
              <a:lnSpc>
                <a:spcPct val="90000"/>
              </a:lnSpc>
              <a:spcBef>
                <a:spcPct val="0"/>
              </a:spcBef>
              <a:buNone/>
            </a:pPr>
            <a:r>
              <a:rPr lang="en-US" sz="1200" dirty="0">
                <a:solidFill>
                  <a:schemeClr val="tx1"/>
                </a:solidFill>
              </a:rPr>
              <a:t>(301) 685-3458 | Franches.Martin@infinite.com</a:t>
            </a:r>
          </a:p>
          <a:p>
            <a:pPr marL="0" lvl="0" indent="0" algn="ctr" defTabSz="444500">
              <a:lnSpc>
                <a:spcPct val="90000"/>
              </a:lnSpc>
              <a:spcBef>
                <a:spcPct val="0"/>
              </a:spcBef>
              <a:buNone/>
            </a:pPr>
            <a:endParaRPr lang="en-US" sz="1200" kern="1200" dirty="0">
              <a:solidFill>
                <a:schemeClr val="tx1"/>
              </a:solidFill>
            </a:endParaRPr>
          </a:p>
        </p:txBody>
      </p:sp>
      <p:sp>
        <p:nvSpPr>
          <p:cNvPr id="8" name="Freeform: Shape 7">
            <a:extLst>
              <a:ext uri="{FF2B5EF4-FFF2-40B4-BE49-F238E27FC236}">
                <a16:creationId xmlns:a16="http://schemas.microsoft.com/office/drawing/2014/main" id="{2C3593DB-5A45-16AB-36B6-A9987478C686}"/>
              </a:ext>
            </a:extLst>
          </p:cNvPr>
          <p:cNvSpPr/>
          <p:nvPr/>
        </p:nvSpPr>
        <p:spPr>
          <a:xfrm>
            <a:off x="76698" y="5206082"/>
            <a:ext cx="3930300" cy="360794"/>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r>
              <a:rPr lang="en-IN" sz="1400" b="1" dirty="0">
                <a:solidFill>
                  <a:schemeClr val="tx1"/>
                </a:solidFill>
              </a:rPr>
              <a:t>Uday Kumar </a:t>
            </a:r>
            <a:r>
              <a:rPr lang="en-US" sz="1400" b="1" kern="1200" dirty="0">
                <a:solidFill>
                  <a:schemeClr val="tx1"/>
                </a:solidFill>
              </a:rPr>
              <a:t>(HR Executive)</a:t>
            </a:r>
          </a:p>
          <a:p>
            <a:pPr marL="0" lvl="0" indent="0" algn="ctr" defTabSz="444500">
              <a:lnSpc>
                <a:spcPct val="90000"/>
              </a:lnSpc>
              <a:spcBef>
                <a:spcPct val="0"/>
              </a:spcBef>
              <a:buNone/>
            </a:pPr>
            <a:r>
              <a:rPr lang="en-IN" sz="1200" kern="1200" dirty="0">
                <a:solidFill>
                  <a:schemeClr val="tx1"/>
                </a:solidFill>
              </a:rPr>
              <a:t>(301) </a:t>
            </a:r>
            <a:r>
              <a:rPr lang="en-IN" sz="1200" dirty="0">
                <a:solidFill>
                  <a:schemeClr val="tx1"/>
                </a:solidFill>
                <a:effectLst/>
                <a:ea typeface="Calibri" panose="020F0502020204030204" pitchFamily="34" charset="0"/>
              </a:rPr>
              <a:t>355-0064</a:t>
            </a:r>
            <a:r>
              <a:rPr lang="en-IN" sz="1200" kern="1200" dirty="0">
                <a:solidFill>
                  <a:schemeClr val="tx1"/>
                </a:solidFill>
              </a:rPr>
              <a:t> | </a:t>
            </a:r>
            <a:r>
              <a:rPr lang="en-US" sz="1200" kern="1200" dirty="0">
                <a:solidFill>
                  <a:schemeClr val="tx1"/>
                </a:solidFill>
              </a:rPr>
              <a:t>uday.kumar4@infinite.com</a:t>
            </a:r>
          </a:p>
        </p:txBody>
      </p:sp>
      <p:cxnSp>
        <p:nvCxnSpPr>
          <p:cNvPr id="24" name="Straight Connector 23">
            <a:extLst>
              <a:ext uri="{FF2B5EF4-FFF2-40B4-BE49-F238E27FC236}">
                <a16:creationId xmlns:a16="http://schemas.microsoft.com/office/drawing/2014/main" id="{E4BFFE14-33E0-CA6E-5474-127B8B61DB2F}"/>
              </a:ext>
            </a:extLst>
          </p:cNvPr>
          <p:cNvCxnSpPr>
            <a:cxnSpLocks/>
          </p:cNvCxnSpPr>
          <p:nvPr/>
        </p:nvCxnSpPr>
        <p:spPr>
          <a:xfrm flipH="1">
            <a:off x="3837858" y="2712404"/>
            <a:ext cx="410118" cy="0"/>
          </a:xfrm>
          <a:prstGeom prst="line">
            <a:avLst/>
          </a:prstGeom>
        </p:spPr>
        <p:style>
          <a:lnRef idx="2">
            <a:schemeClr val="accent5"/>
          </a:lnRef>
          <a:fillRef idx="0">
            <a:schemeClr val="accent5"/>
          </a:fillRef>
          <a:effectRef idx="1">
            <a:schemeClr val="accent5"/>
          </a:effectRef>
          <a:fontRef idx="minor">
            <a:schemeClr val="tx1"/>
          </a:fontRef>
        </p:style>
      </p:cxnSp>
      <p:sp>
        <p:nvSpPr>
          <p:cNvPr id="51" name="Freeform: Shape 50">
            <a:extLst>
              <a:ext uri="{FF2B5EF4-FFF2-40B4-BE49-F238E27FC236}">
                <a16:creationId xmlns:a16="http://schemas.microsoft.com/office/drawing/2014/main" id="{F3ABA0EC-1990-BFA4-E162-34B4A3CF59C5}"/>
              </a:ext>
            </a:extLst>
          </p:cNvPr>
          <p:cNvSpPr/>
          <p:nvPr/>
        </p:nvSpPr>
        <p:spPr>
          <a:xfrm>
            <a:off x="8266756" y="2432887"/>
            <a:ext cx="3718994" cy="462606"/>
          </a:xfrm>
          <a:custGeom>
            <a:avLst/>
            <a:gdLst>
              <a:gd name="connsiteX0" fmla="*/ 0 w 2514473"/>
              <a:gd name="connsiteY0" fmla="*/ 140927 h 1409272"/>
              <a:gd name="connsiteX1" fmla="*/ 140927 w 2514473"/>
              <a:gd name="connsiteY1" fmla="*/ 0 h 1409272"/>
              <a:gd name="connsiteX2" fmla="*/ 2373546 w 2514473"/>
              <a:gd name="connsiteY2" fmla="*/ 0 h 1409272"/>
              <a:gd name="connsiteX3" fmla="*/ 2514473 w 2514473"/>
              <a:gd name="connsiteY3" fmla="*/ 140927 h 1409272"/>
              <a:gd name="connsiteX4" fmla="*/ 2514473 w 2514473"/>
              <a:gd name="connsiteY4" fmla="*/ 1268345 h 1409272"/>
              <a:gd name="connsiteX5" fmla="*/ 2373546 w 2514473"/>
              <a:gd name="connsiteY5" fmla="*/ 1409272 h 1409272"/>
              <a:gd name="connsiteX6" fmla="*/ 140927 w 2514473"/>
              <a:gd name="connsiteY6" fmla="*/ 1409272 h 1409272"/>
              <a:gd name="connsiteX7" fmla="*/ 0 w 2514473"/>
              <a:gd name="connsiteY7" fmla="*/ 1268345 h 1409272"/>
              <a:gd name="connsiteX8" fmla="*/ 0 w 2514473"/>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473" h="1409272">
                <a:moveTo>
                  <a:pt x="0" y="140927"/>
                </a:moveTo>
                <a:cubicBezTo>
                  <a:pt x="0" y="63095"/>
                  <a:pt x="63095" y="0"/>
                  <a:pt x="140927" y="0"/>
                </a:cubicBezTo>
                <a:lnTo>
                  <a:pt x="2373546" y="0"/>
                </a:lnTo>
                <a:cubicBezTo>
                  <a:pt x="2451378" y="0"/>
                  <a:pt x="2514473" y="63095"/>
                  <a:pt x="2514473" y="140927"/>
                </a:cubicBezTo>
                <a:lnTo>
                  <a:pt x="2514473" y="1268345"/>
                </a:lnTo>
                <a:cubicBezTo>
                  <a:pt x="2514473" y="1346177"/>
                  <a:pt x="2451378" y="1409272"/>
                  <a:pt x="2373546"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spcAft>
                <a:spcPct val="35000"/>
              </a:spcAft>
              <a:buNone/>
            </a:pPr>
            <a:r>
              <a:rPr lang="en-US" sz="1400" b="1" kern="1200" dirty="0">
                <a:solidFill>
                  <a:schemeClr val="tx1"/>
                </a:solidFill>
              </a:rPr>
              <a:t>Ravi </a:t>
            </a:r>
            <a:r>
              <a:rPr lang="en-US" sz="1400" b="1" kern="1200" dirty="0" err="1">
                <a:solidFill>
                  <a:schemeClr val="tx1"/>
                </a:solidFill>
              </a:rPr>
              <a:t>Govindarajulu</a:t>
            </a:r>
            <a:r>
              <a:rPr lang="en-US" sz="1400" b="1" dirty="0">
                <a:solidFill>
                  <a:schemeClr val="tx1"/>
                </a:solidFill>
              </a:rPr>
              <a:t> </a:t>
            </a:r>
            <a:r>
              <a:rPr lang="en-US" sz="1400" b="1" kern="1200" dirty="0">
                <a:solidFill>
                  <a:schemeClr val="tx1"/>
                </a:solidFill>
              </a:rPr>
              <a:t> (Assistant Manager)</a:t>
            </a:r>
          </a:p>
          <a:p>
            <a:pPr marL="0" lvl="0" indent="0" algn="ctr" defTabSz="444500">
              <a:lnSpc>
                <a:spcPct val="90000"/>
              </a:lnSpc>
              <a:spcBef>
                <a:spcPct val="0"/>
              </a:spcBef>
              <a:spcAft>
                <a:spcPct val="35000"/>
              </a:spcAft>
              <a:buNone/>
            </a:pPr>
            <a:r>
              <a:rPr lang="en-US" sz="1200" kern="1200" noProof="0" dirty="0">
                <a:solidFill>
                  <a:schemeClr val="tx1"/>
                </a:solidFill>
              </a:rPr>
              <a:t>(301) 238-4681 | ravi.kumar@infinite.com</a:t>
            </a:r>
            <a:endParaRPr lang="en-US" sz="1200" kern="1200" dirty="0">
              <a:solidFill>
                <a:schemeClr val="tx1"/>
              </a:solidFill>
            </a:endParaRPr>
          </a:p>
        </p:txBody>
      </p:sp>
      <p:sp>
        <p:nvSpPr>
          <p:cNvPr id="87" name="Freeform: Shape 86">
            <a:extLst>
              <a:ext uri="{FF2B5EF4-FFF2-40B4-BE49-F238E27FC236}">
                <a16:creationId xmlns:a16="http://schemas.microsoft.com/office/drawing/2014/main" id="{A4408135-E778-B51C-8D17-823D93DBBEF9}"/>
              </a:ext>
            </a:extLst>
          </p:cNvPr>
          <p:cNvSpPr/>
          <p:nvPr/>
        </p:nvSpPr>
        <p:spPr>
          <a:xfrm>
            <a:off x="115416" y="2917332"/>
            <a:ext cx="3882020" cy="439780"/>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r>
              <a:rPr lang="en-IN" sz="1400" b="1" kern="1200" dirty="0">
                <a:solidFill>
                  <a:schemeClr val="tx1"/>
                </a:solidFill>
              </a:rPr>
              <a:t>Ajay Kumar </a:t>
            </a:r>
            <a:r>
              <a:rPr lang="en-US" sz="1400" b="1" kern="1200" dirty="0">
                <a:solidFill>
                  <a:schemeClr val="tx1"/>
                </a:solidFill>
              </a:rPr>
              <a:t>(HR Associate Executive)</a:t>
            </a:r>
          </a:p>
          <a:p>
            <a:pPr marL="0" lvl="0" indent="0" algn="ctr" defTabSz="444500">
              <a:lnSpc>
                <a:spcPct val="90000"/>
              </a:lnSpc>
              <a:spcBef>
                <a:spcPct val="0"/>
              </a:spcBef>
              <a:buNone/>
            </a:pPr>
            <a:r>
              <a:rPr lang="en-US" sz="1400" b="1" kern="1200" dirty="0">
                <a:solidFill>
                  <a:schemeClr val="tx1"/>
                </a:solidFill>
              </a:rPr>
              <a:t> </a:t>
            </a:r>
            <a:r>
              <a:rPr lang="en-IN" sz="1200" dirty="0">
                <a:solidFill>
                  <a:schemeClr val="tx1"/>
                </a:solidFill>
                <a:effectLst/>
                <a:latin typeface="Calibri" panose="020F0502020204030204" pitchFamily="34" charset="0"/>
                <a:ea typeface="Calibri" panose="020F0502020204030204" pitchFamily="34" charset="0"/>
              </a:rPr>
              <a:t>(240) 428-6411 | </a:t>
            </a:r>
            <a:r>
              <a:rPr lang="en-US" sz="1200" kern="1200" dirty="0">
                <a:solidFill>
                  <a:schemeClr val="tx1"/>
                </a:solidFill>
              </a:rPr>
              <a:t>Ajay.Kumar4@infinite.com</a:t>
            </a:r>
          </a:p>
        </p:txBody>
      </p:sp>
      <p:cxnSp>
        <p:nvCxnSpPr>
          <p:cNvPr id="114" name="Straight Connector 113">
            <a:extLst>
              <a:ext uri="{FF2B5EF4-FFF2-40B4-BE49-F238E27FC236}">
                <a16:creationId xmlns:a16="http://schemas.microsoft.com/office/drawing/2014/main" id="{38FD647B-07B5-A78D-83D6-B721527759F7}"/>
              </a:ext>
            </a:extLst>
          </p:cNvPr>
          <p:cNvCxnSpPr>
            <a:cxnSpLocks/>
          </p:cNvCxnSpPr>
          <p:nvPr/>
        </p:nvCxnSpPr>
        <p:spPr>
          <a:xfrm>
            <a:off x="8100598" y="2153834"/>
            <a:ext cx="732" cy="3509034"/>
          </a:xfrm>
          <a:prstGeom prst="line">
            <a:avLst/>
          </a:prstGeom>
        </p:spPr>
        <p:style>
          <a:lnRef idx="2">
            <a:schemeClr val="accent5"/>
          </a:lnRef>
          <a:fillRef idx="0">
            <a:schemeClr val="accent5"/>
          </a:fillRef>
          <a:effectRef idx="1">
            <a:schemeClr val="accent5"/>
          </a:effectRef>
          <a:fontRef idx="minor">
            <a:schemeClr val="tx1"/>
          </a:fontRef>
        </p:style>
      </p:cxnSp>
      <p:sp>
        <p:nvSpPr>
          <p:cNvPr id="36" name="Freeform: Shape 35">
            <a:extLst>
              <a:ext uri="{FF2B5EF4-FFF2-40B4-BE49-F238E27FC236}">
                <a16:creationId xmlns:a16="http://schemas.microsoft.com/office/drawing/2014/main" id="{3E5EC57F-12B2-9A14-7B0F-CC01E344AACD}"/>
              </a:ext>
            </a:extLst>
          </p:cNvPr>
          <p:cNvSpPr/>
          <p:nvPr/>
        </p:nvSpPr>
        <p:spPr>
          <a:xfrm>
            <a:off x="76698" y="4666108"/>
            <a:ext cx="3930300" cy="391127"/>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r>
              <a:rPr lang="en-IN" sz="1400" b="1" kern="1200" dirty="0">
                <a:solidFill>
                  <a:schemeClr val="tx1"/>
                </a:solidFill>
              </a:rPr>
              <a:t>Manohara Ramakrishna ( HR Executive)</a:t>
            </a:r>
          </a:p>
          <a:p>
            <a:pPr marL="0" lvl="0" indent="0" algn="ctr" defTabSz="444500">
              <a:lnSpc>
                <a:spcPct val="90000"/>
              </a:lnSpc>
              <a:spcBef>
                <a:spcPct val="0"/>
              </a:spcBef>
              <a:buNone/>
            </a:pPr>
            <a:r>
              <a:rPr lang="en-US" sz="1400" b="1" kern="1200" dirty="0">
                <a:solidFill>
                  <a:schemeClr val="tx1"/>
                </a:solidFill>
              </a:rPr>
              <a:t> </a:t>
            </a:r>
            <a:r>
              <a:rPr lang="en-IN" sz="1200" dirty="0">
                <a:solidFill>
                  <a:schemeClr val="tx1"/>
                </a:solidFill>
                <a:effectLst/>
                <a:latin typeface="Calibri" panose="020F0502020204030204" pitchFamily="34" charset="0"/>
                <a:ea typeface="Calibri" panose="020F0502020204030204" pitchFamily="34" charset="0"/>
              </a:rPr>
              <a:t>(413)334-1269|Manohara.Ramakrishna@infinite.com</a:t>
            </a:r>
            <a:endParaRPr lang="en-US" sz="1200" kern="1200" dirty="0">
              <a:solidFill>
                <a:schemeClr val="tx1"/>
              </a:solidFill>
            </a:endParaRPr>
          </a:p>
        </p:txBody>
      </p:sp>
      <p:sp>
        <p:nvSpPr>
          <p:cNvPr id="10" name="Freeform: Shape 9">
            <a:extLst>
              <a:ext uri="{FF2B5EF4-FFF2-40B4-BE49-F238E27FC236}">
                <a16:creationId xmlns:a16="http://schemas.microsoft.com/office/drawing/2014/main" id="{F1293C7E-0106-0049-DCE1-45751A9648C4}"/>
              </a:ext>
            </a:extLst>
          </p:cNvPr>
          <p:cNvSpPr/>
          <p:nvPr/>
        </p:nvSpPr>
        <p:spPr>
          <a:xfrm>
            <a:off x="8189649" y="3551919"/>
            <a:ext cx="3679568" cy="427936"/>
          </a:xfrm>
          <a:custGeom>
            <a:avLst/>
            <a:gdLst>
              <a:gd name="connsiteX0" fmla="*/ 0 w 2514473"/>
              <a:gd name="connsiteY0" fmla="*/ 140927 h 1409272"/>
              <a:gd name="connsiteX1" fmla="*/ 140927 w 2514473"/>
              <a:gd name="connsiteY1" fmla="*/ 0 h 1409272"/>
              <a:gd name="connsiteX2" fmla="*/ 2373546 w 2514473"/>
              <a:gd name="connsiteY2" fmla="*/ 0 h 1409272"/>
              <a:gd name="connsiteX3" fmla="*/ 2514473 w 2514473"/>
              <a:gd name="connsiteY3" fmla="*/ 140927 h 1409272"/>
              <a:gd name="connsiteX4" fmla="*/ 2514473 w 2514473"/>
              <a:gd name="connsiteY4" fmla="*/ 1268345 h 1409272"/>
              <a:gd name="connsiteX5" fmla="*/ 2373546 w 2514473"/>
              <a:gd name="connsiteY5" fmla="*/ 1409272 h 1409272"/>
              <a:gd name="connsiteX6" fmla="*/ 140927 w 2514473"/>
              <a:gd name="connsiteY6" fmla="*/ 1409272 h 1409272"/>
              <a:gd name="connsiteX7" fmla="*/ 0 w 2514473"/>
              <a:gd name="connsiteY7" fmla="*/ 1268345 h 1409272"/>
              <a:gd name="connsiteX8" fmla="*/ 0 w 2514473"/>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473" h="1409272">
                <a:moveTo>
                  <a:pt x="0" y="140927"/>
                </a:moveTo>
                <a:cubicBezTo>
                  <a:pt x="0" y="63095"/>
                  <a:pt x="63095" y="0"/>
                  <a:pt x="140927" y="0"/>
                </a:cubicBezTo>
                <a:lnTo>
                  <a:pt x="2373546" y="0"/>
                </a:lnTo>
                <a:cubicBezTo>
                  <a:pt x="2451378" y="0"/>
                  <a:pt x="2514473" y="63095"/>
                  <a:pt x="2514473" y="140927"/>
                </a:cubicBezTo>
                <a:lnTo>
                  <a:pt x="2514473" y="1268345"/>
                </a:lnTo>
                <a:cubicBezTo>
                  <a:pt x="2514473" y="1346177"/>
                  <a:pt x="2451378" y="1409272"/>
                  <a:pt x="2373546"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algn="ctr" defTabSz="444500">
              <a:lnSpc>
                <a:spcPct val="90000"/>
              </a:lnSpc>
              <a:spcBef>
                <a:spcPct val="0"/>
              </a:spcBef>
              <a:spcAft>
                <a:spcPct val="35000"/>
              </a:spcAft>
            </a:pPr>
            <a:r>
              <a:rPr lang="en-US" sz="1400" b="1" dirty="0" err="1">
                <a:solidFill>
                  <a:schemeClr val="tx1"/>
                </a:solidFill>
              </a:rPr>
              <a:t>Shahil</a:t>
            </a:r>
            <a:r>
              <a:rPr lang="en-US" sz="1400" b="1" dirty="0">
                <a:solidFill>
                  <a:schemeClr val="tx1"/>
                </a:solidFill>
              </a:rPr>
              <a:t> Sheik(HR Executive)</a:t>
            </a:r>
          </a:p>
          <a:p>
            <a:pPr lvl="0" algn="ctr" defTabSz="444500">
              <a:lnSpc>
                <a:spcPct val="90000"/>
              </a:lnSpc>
              <a:spcBef>
                <a:spcPct val="0"/>
              </a:spcBef>
              <a:spcAft>
                <a:spcPct val="35000"/>
              </a:spcAft>
            </a:pPr>
            <a:r>
              <a:rPr lang="en-IN" sz="1200" dirty="0">
                <a:solidFill>
                  <a:schemeClr val="tx1"/>
                </a:solidFill>
              </a:rPr>
              <a:t>(301) 685-1013| shahil.sheik@infinite.com</a:t>
            </a:r>
            <a:endParaRPr lang="en-US" sz="1200" dirty="0">
              <a:solidFill>
                <a:schemeClr val="tx1"/>
              </a:solidFill>
            </a:endParaRPr>
          </a:p>
        </p:txBody>
      </p:sp>
      <p:sp>
        <p:nvSpPr>
          <p:cNvPr id="13" name="Freeform: Shape 12">
            <a:extLst>
              <a:ext uri="{FF2B5EF4-FFF2-40B4-BE49-F238E27FC236}">
                <a16:creationId xmlns:a16="http://schemas.microsoft.com/office/drawing/2014/main" id="{D31A292F-D487-E466-62F0-C6D3C7A78C64}"/>
              </a:ext>
            </a:extLst>
          </p:cNvPr>
          <p:cNvSpPr/>
          <p:nvPr/>
        </p:nvSpPr>
        <p:spPr>
          <a:xfrm>
            <a:off x="8189649" y="4105172"/>
            <a:ext cx="3679568" cy="427936"/>
          </a:xfrm>
          <a:custGeom>
            <a:avLst/>
            <a:gdLst>
              <a:gd name="connsiteX0" fmla="*/ 0 w 2514473"/>
              <a:gd name="connsiteY0" fmla="*/ 140927 h 1409272"/>
              <a:gd name="connsiteX1" fmla="*/ 140927 w 2514473"/>
              <a:gd name="connsiteY1" fmla="*/ 0 h 1409272"/>
              <a:gd name="connsiteX2" fmla="*/ 2373546 w 2514473"/>
              <a:gd name="connsiteY2" fmla="*/ 0 h 1409272"/>
              <a:gd name="connsiteX3" fmla="*/ 2514473 w 2514473"/>
              <a:gd name="connsiteY3" fmla="*/ 140927 h 1409272"/>
              <a:gd name="connsiteX4" fmla="*/ 2514473 w 2514473"/>
              <a:gd name="connsiteY4" fmla="*/ 1268345 h 1409272"/>
              <a:gd name="connsiteX5" fmla="*/ 2373546 w 2514473"/>
              <a:gd name="connsiteY5" fmla="*/ 1409272 h 1409272"/>
              <a:gd name="connsiteX6" fmla="*/ 140927 w 2514473"/>
              <a:gd name="connsiteY6" fmla="*/ 1409272 h 1409272"/>
              <a:gd name="connsiteX7" fmla="*/ 0 w 2514473"/>
              <a:gd name="connsiteY7" fmla="*/ 1268345 h 1409272"/>
              <a:gd name="connsiteX8" fmla="*/ 0 w 2514473"/>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473" h="1409272">
                <a:moveTo>
                  <a:pt x="0" y="140927"/>
                </a:moveTo>
                <a:cubicBezTo>
                  <a:pt x="0" y="63095"/>
                  <a:pt x="63095" y="0"/>
                  <a:pt x="140927" y="0"/>
                </a:cubicBezTo>
                <a:lnTo>
                  <a:pt x="2373546" y="0"/>
                </a:lnTo>
                <a:cubicBezTo>
                  <a:pt x="2451378" y="0"/>
                  <a:pt x="2514473" y="63095"/>
                  <a:pt x="2514473" y="140927"/>
                </a:cubicBezTo>
                <a:lnTo>
                  <a:pt x="2514473" y="1268345"/>
                </a:lnTo>
                <a:cubicBezTo>
                  <a:pt x="2514473" y="1346177"/>
                  <a:pt x="2451378" y="1409272"/>
                  <a:pt x="2373546"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algn="ctr" defTabSz="444500">
              <a:lnSpc>
                <a:spcPct val="90000"/>
              </a:lnSpc>
              <a:spcBef>
                <a:spcPct val="0"/>
              </a:spcBef>
              <a:spcAft>
                <a:spcPct val="35000"/>
              </a:spcAft>
            </a:pPr>
            <a:r>
              <a:rPr lang="en-US" sz="1400" b="1" dirty="0">
                <a:solidFill>
                  <a:schemeClr val="tx1"/>
                </a:solidFill>
              </a:rPr>
              <a:t>Supriya </a:t>
            </a:r>
            <a:r>
              <a:rPr lang="en-US" sz="1400" b="1" dirty="0" err="1">
                <a:solidFill>
                  <a:schemeClr val="tx1"/>
                </a:solidFill>
              </a:rPr>
              <a:t>Soundara</a:t>
            </a:r>
            <a:r>
              <a:rPr lang="en-US" sz="1400" b="1" dirty="0">
                <a:solidFill>
                  <a:schemeClr val="tx1"/>
                </a:solidFill>
              </a:rPr>
              <a:t> (HR Executive)</a:t>
            </a:r>
          </a:p>
          <a:p>
            <a:pPr lvl="0" algn="ctr" defTabSz="444500">
              <a:lnSpc>
                <a:spcPct val="90000"/>
              </a:lnSpc>
              <a:spcBef>
                <a:spcPct val="0"/>
              </a:spcBef>
              <a:spcAft>
                <a:spcPct val="35000"/>
              </a:spcAft>
            </a:pPr>
            <a:r>
              <a:rPr lang="en-IN" sz="1200" dirty="0">
                <a:solidFill>
                  <a:schemeClr val="tx1"/>
                </a:solidFill>
              </a:rPr>
              <a:t>(301) 355-2764</a:t>
            </a:r>
            <a:r>
              <a:rPr lang="en-IN" sz="1200" dirty="0">
                <a:solidFill>
                  <a:srgbClr val="58595B"/>
                </a:solidFill>
                <a:effectLst/>
                <a:latin typeface="Work Sans" pitchFamily="2" charset="0"/>
                <a:ea typeface="Aptos" panose="020B0004020202020204" pitchFamily="34" charset="0"/>
                <a:cs typeface="Aptos" panose="020B0004020202020204" pitchFamily="34" charset="0"/>
              </a:rPr>
              <a:t>| </a:t>
            </a:r>
            <a:r>
              <a:rPr lang="en-IN" sz="1200" dirty="0">
                <a:solidFill>
                  <a:schemeClr val="tx1"/>
                </a:solidFill>
              </a:rPr>
              <a:t>supriya.soundara2@infinite.com</a:t>
            </a:r>
            <a:endParaRPr lang="en-US" sz="1200" dirty="0">
              <a:solidFill>
                <a:schemeClr val="tx1"/>
              </a:solidFill>
            </a:endParaRPr>
          </a:p>
        </p:txBody>
      </p:sp>
      <p:cxnSp>
        <p:nvCxnSpPr>
          <p:cNvPr id="23" name="Straight Connector 22">
            <a:extLst>
              <a:ext uri="{FF2B5EF4-FFF2-40B4-BE49-F238E27FC236}">
                <a16:creationId xmlns:a16="http://schemas.microsoft.com/office/drawing/2014/main" id="{BE0E6A29-60AA-B044-0111-1C9DAB02322D}"/>
              </a:ext>
            </a:extLst>
          </p:cNvPr>
          <p:cNvCxnSpPr>
            <a:cxnSpLocks/>
          </p:cNvCxnSpPr>
          <p:nvPr/>
        </p:nvCxnSpPr>
        <p:spPr>
          <a:xfrm flipH="1">
            <a:off x="8101330" y="5098211"/>
            <a:ext cx="240978" cy="0"/>
          </a:xfrm>
          <a:prstGeom prst="line">
            <a:avLst/>
          </a:prstGeom>
        </p:spPr>
        <p:style>
          <a:lnRef idx="2">
            <a:schemeClr val="accent5"/>
          </a:lnRef>
          <a:fillRef idx="0">
            <a:schemeClr val="accent5"/>
          </a:fillRef>
          <a:effectRef idx="1">
            <a:schemeClr val="accent5"/>
          </a:effectRef>
          <a:fontRef idx="minor">
            <a:schemeClr val="tx1"/>
          </a:fontRef>
        </p:style>
      </p:cxnSp>
      <p:sp>
        <p:nvSpPr>
          <p:cNvPr id="5" name="Freeform: Shape 4">
            <a:extLst>
              <a:ext uri="{FF2B5EF4-FFF2-40B4-BE49-F238E27FC236}">
                <a16:creationId xmlns:a16="http://schemas.microsoft.com/office/drawing/2014/main" id="{4EFF0C47-F379-7F50-50EC-9A84444E20C4}"/>
              </a:ext>
            </a:extLst>
          </p:cNvPr>
          <p:cNvSpPr/>
          <p:nvPr/>
        </p:nvSpPr>
        <p:spPr>
          <a:xfrm>
            <a:off x="8189649" y="4682910"/>
            <a:ext cx="3679568" cy="427936"/>
          </a:xfrm>
          <a:custGeom>
            <a:avLst/>
            <a:gdLst>
              <a:gd name="connsiteX0" fmla="*/ 0 w 2514473"/>
              <a:gd name="connsiteY0" fmla="*/ 140927 h 1409272"/>
              <a:gd name="connsiteX1" fmla="*/ 140927 w 2514473"/>
              <a:gd name="connsiteY1" fmla="*/ 0 h 1409272"/>
              <a:gd name="connsiteX2" fmla="*/ 2373546 w 2514473"/>
              <a:gd name="connsiteY2" fmla="*/ 0 h 1409272"/>
              <a:gd name="connsiteX3" fmla="*/ 2514473 w 2514473"/>
              <a:gd name="connsiteY3" fmla="*/ 140927 h 1409272"/>
              <a:gd name="connsiteX4" fmla="*/ 2514473 w 2514473"/>
              <a:gd name="connsiteY4" fmla="*/ 1268345 h 1409272"/>
              <a:gd name="connsiteX5" fmla="*/ 2373546 w 2514473"/>
              <a:gd name="connsiteY5" fmla="*/ 1409272 h 1409272"/>
              <a:gd name="connsiteX6" fmla="*/ 140927 w 2514473"/>
              <a:gd name="connsiteY6" fmla="*/ 1409272 h 1409272"/>
              <a:gd name="connsiteX7" fmla="*/ 0 w 2514473"/>
              <a:gd name="connsiteY7" fmla="*/ 1268345 h 1409272"/>
              <a:gd name="connsiteX8" fmla="*/ 0 w 2514473"/>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473" h="1409272">
                <a:moveTo>
                  <a:pt x="0" y="140927"/>
                </a:moveTo>
                <a:cubicBezTo>
                  <a:pt x="0" y="63095"/>
                  <a:pt x="63095" y="0"/>
                  <a:pt x="140927" y="0"/>
                </a:cubicBezTo>
                <a:lnTo>
                  <a:pt x="2373546" y="0"/>
                </a:lnTo>
                <a:cubicBezTo>
                  <a:pt x="2451378" y="0"/>
                  <a:pt x="2514473" y="63095"/>
                  <a:pt x="2514473" y="140927"/>
                </a:cubicBezTo>
                <a:lnTo>
                  <a:pt x="2514473" y="1268345"/>
                </a:lnTo>
                <a:cubicBezTo>
                  <a:pt x="2514473" y="1346177"/>
                  <a:pt x="2451378" y="1409272"/>
                  <a:pt x="2373546"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algn="ctr" defTabSz="444500">
              <a:lnSpc>
                <a:spcPct val="90000"/>
              </a:lnSpc>
              <a:spcBef>
                <a:spcPct val="0"/>
              </a:spcBef>
              <a:spcAft>
                <a:spcPct val="35000"/>
              </a:spcAft>
            </a:pPr>
            <a:r>
              <a:rPr lang="en-US" sz="1400" b="1" dirty="0">
                <a:solidFill>
                  <a:schemeClr val="tx1"/>
                </a:solidFill>
              </a:rPr>
              <a:t>Lizbeth Sanchez (HR Generalist)</a:t>
            </a:r>
          </a:p>
          <a:p>
            <a:pPr lvl="0" algn="ctr" defTabSz="444500">
              <a:lnSpc>
                <a:spcPct val="90000"/>
              </a:lnSpc>
              <a:spcBef>
                <a:spcPct val="0"/>
              </a:spcBef>
              <a:spcAft>
                <a:spcPct val="35000"/>
              </a:spcAft>
            </a:pPr>
            <a:r>
              <a:rPr lang="en-IN" sz="1200" dirty="0">
                <a:solidFill>
                  <a:schemeClr val="tx1"/>
                </a:solidFill>
              </a:rPr>
              <a:t>(301) 825-8541</a:t>
            </a:r>
            <a:r>
              <a:rPr lang="en-IN" sz="1200" dirty="0">
                <a:solidFill>
                  <a:srgbClr val="58595B"/>
                </a:solidFill>
                <a:effectLst/>
                <a:latin typeface="Work Sans" pitchFamily="2" charset="0"/>
                <a:ea typeface="Aptos" panose="020B0004020202020204" pitchFamily="34" charset="0"/>
                <a:cs typeface="Aptos" panose="020B0004020202020204" pitchFamily="34" charset="0"/>
              </a:rPr>
              <a:t>| </a:t>
            </a:r>
            <a:r>
              <a:rPr lang="en-IN" sz="1200" dirty="0">
                <a:solidFill>
                  <a:schemeClr val="tx1"/>
                </a:solidFill>
                <a:latin typeface="Work Sans" pitchFamily="2" charset="0"/>
                <a:ea typeface="Aptos" panose="020B0004020202020204" pitchFamily="34" charset="0"/>
                <a:cs typeface="Aptos" panose="020B0004020202020204" pitchFamily="34" charset="0"/>
              </a:rPr>
              <a:t>l</a:t>
            </a:r>
            <a:r>
              <a:rPr lang="en-IN" sz="1200" dirty="0">
                <a:solidFill>
                  <a:schemeClr val="tx1"/>
                </a:solidFill>
                <a:effectLst/>
                <a:latin typeface="Work Sans" pitchFamily="2" charset="0"/>
                <a:ea typeface="Aptos" panose="020B0004020202020204" pitchFamily="34" charset="0"/>
                <a:cs typeface="Aptos" panose="020B0004020202020204" pitchFamily="34" charset="0"/>
              </a:rPr>
              <a:t>izbeth.sanchez</a:t>
            </a:r>
            <a:r>
              <a:rPr lang="en-IN" sz="1200" dirty="0">
                <a:solidFill>
                  <a:schemeClr val="tx1"/>
                </a:solidFill>
              </a:rPr>
              <a:t>@infinite.com</a:t>
            </a:r>
            <a:endParaRPr lang="en-US" sz="1200" dirty="0">
              <a:solidFill>
                <a:schemeClr val="tx1"/>
              </a:solidFill>
            </a:endParaRPr>
          </a:p>
        </p:txBody>
      </p:sp>
      <p:sp>
        <p:nvSpPr>
          <p:cNvPr id="11" name="Freeform: Shape 10">
            <a:extLst>
              <a:ext uri="{FF2B5EF4-FFF2-40B4-BE49-F238E27FC236}">
                <a16:creationId xmlns:a16="http://schemas.microsoft.com/office/drawing/2014/main" id="{EAF2B717-D30F-E2EE-8C24-B1DB7FEA6C20}"/>
              </a:ext>
            </a:extLst>
          </p:cNvPr>
          <p:cNvSpPr/>
          <p:nvPr/>
        </p:nvSpPr>
        <p:spPr>
          <a:xfrm>
            <a:off x="8189649" y="5195763"/>
            <a:ext cx="3679568" cy="427936"/>
          </a:xfrm>
          <a:custGeom>
            <a:avLst/>
            <a:gdLst>
              <a:gd name="connsiteX0" fmla="*/ 0 w 2514473"/>
              <a:gd name="connsiteY0" fmla="*/ 140927 h 1409272"/>
              <a:gd name="connsiteX1" fmla="*/ 140927 w 2514473"/>
              <a:gd name="connsiteY1" fmla="*/ 0 h 1409272"/>
              <a:gd name="connsiteX2" fmla="*/ 2373546 w 2514473"/>
              <a:gd name="connsiteY2" fmla="*/ 0 h 1409272"/>
              <a:gd name="connsiteX3" fmla="*/ 2514473 w 2514473"/>
              <a:gd name="connsiteY3" fmla="*/ 140927 h 1409272"/>
              <a:gd name="connsiteX4" fmla="*/ 2514473 w 2514473"/>
              <a:gd name="connsiteY4" fmla="*/ 1268345 h 1409272"/>
              <a:gd name="connsiteX5" fmla="*/ 2373546 w 2514473"/>
              <a:gd name="connsiteY5" fmla="*/ 1409272 h 1409272"/>
              <a:gd name="connsiteX6" fmla="*/ 140927 w 2514473"/>
              <a:gd name="connsiteY6" fmla="*/ 1409272 h 1409272"/>
              <a:gd name="connsiteX7" fmla="*/ 0 w 2514473"/>
              <a:gd name="connsiteY7" fmla="*/ 1268345 h 1409272"/>
              <a:gd name="connsiteX8" fmla="*/ 0 w 2514473"/>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473" h="1409272">
                <a:moveTo>
                  <a:pt x="0" y="140927"/>
                </a:moveTo>
                <a:cubicBezTo>
                  <a:pt x="0" y="63095"/>
                  <a:pt x="63095" y="0"/>
                  <a:pt x="140927" y="0"/>
                </a:cubicBezTo>
                <a:lnTo>
                  <a:pt x="2373546" y="0"/>
                </a:lnTo>
                <a:cubicBezTo>
                  <a:pt x="2451378" y="0"/>
                  <a:pt x="2514473" y="63095"/>
                  <a:pt x="2514473" y="140927"/>
                </a:cubicBezTo>
                <a:lnTo>
                  <a:pt x="2514473" y="1268345"/>
                </a:lnTo>
                <a:cubicBezTo>
                  <a:pt x="2514473" y="1346177"/>
                  <a:pt x="2451378" y="1409272"/>
                  <a:pt x="2373546"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algn="ctr" defTabSz="444500">
              <a:lnSpc>
                <a:spcPct val="90000"/>
              </a:lnSpc>
              <a:spcBef>
                <a:spcPct val="0"/>
              </a:spcBef>
              <a:spcAft>
                <a:spcPct val="35000"/>
              </a:spcAft>
            </a:pPr>
            <a:r>
              <a:rPr lang="en-US" sz="1400" b="1" dirty="0">
                <a:solidFill>
                  <a:schemeClr val="tx1"/>
                </a:solidFill>
              </a:rPr>
              <a:t>Margoth Diaz (HR Generalist)</a:t>
            </a:r>
          </a:p>
          <a:p>
            <a:pPr lvl="0" algn="ctr" defTabSz="444500">
              <a:lnSpc>
                <a:spcPct val="90000"/>
              </a:lnSpc>
              <a:spcBef>
                <a:spcPct val="0"/>
              </a:spcBef>
              <a:spcAft>
                <a:spcPct val="35000"/>
              </a:spcAft>
            </a:pPr>
            <a:r>
              <a:rPr lang="en-IN" sz="1200" dirty="0">
                <a:solidFill>
                  <a:schemeClr val="tx1"/>
                </a:solidFill>
              </a:rPr>
              <a:t>(301) 355-7765| margoth.diaz@infinite.com</a:t>
            </a:r>
            <a:endParaRPr lang="en-US" sz="1200" dirty="0">
              <a:solidFill>
                <a:schemeClr val="tx1"/>
              </a:solidFill>
            </a:endParaRPr>
          </a:p>
        </p:txBody>
      </p:sp>
      <p:cxnSp>
        <p:nvCxnSpPr>
          <p:cNvPr id="25" name="Straight Connector 24">
            <a:extLst>
              <a:ext uri="{FF2B5EF4-FFF2-40B4-BE49-F238E27FC236}">
                <a16:creationId xmlns:a16="http://schemas.microsoft.com/office/drawing/2014/main" id="{6232E2C6-5682-7E4F-6F09-4C3509A9ADBB}"/>
              </a:ext>
            </a:extLst>
          </p:cNvPr>
          <p:cNvCxnSpPr>
            <a:cxnSpLocks/>
          </p:cNvCxnSpPr>
          <p:nvPr/>
        </p:nvCxnSpPr>
        <p:spPr>
          <a:xfrm flipH="1">
            <a:off x="8105990" y="5662868"/>
            <a:ext cx="240978" cy="0"/>
          </a:xfrm>
          <a:prstGeom prst="line">
            <a:avLst/>
          </a:prstGeom>
        </p:spPr>
        <p:style>
          <a:lnRef idx="2">
            <a:schemeClr val="accent5"/>
          </a:lnRef>
          <a:fillRef idx="0">
            <a:schemeClr val="accent5"/>
          </a:fillRef>
          <a:effectRef idx="1">
            <a:schemeClr val="accent5"/>
          </a:effectRef>
          <a:fontRef idx="minor">
            <a:schemeClr val="tx1"/>
          </a:fontRef>
        </p:style>
      </p:cxnSp>
      <p:sp>
        <p:nvSpPr>
          <p:cNvPr id="14" name="Freeform: Shape 13">
            <a:extLst>
              <a:ext uri="{FF2B5EF4-FFF2-40B4-BE49-F238E27FC236}">
                <a16:creationId xmlns:a16="http://schemas.microsoft.com/office/drawing/2014/main" id="{4310DCEA-89F3-2982-EDAB-FBB83AC08483}"/>
              </a:ext>
            </a:extLst>
          </p:cNvPr>
          <p:cNvSpPr/>
          <p:nvPr/>
        </p:nvSpPr>
        <p:spPr>
          <a:xfrm>
            <a:off x="4161258" y="4078291"/>
            <a:ext cx="3579332" cy="414529"/>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endParaRPr lang="en-US" sz="1400" b="1" kern="1200" dirty="0">
              <a:solidFill>
                <a:schemeClr val="tx1"/>
              </a:solidFill>
            </a:endParaRPr>
          </a:p>
          <a:p>
            <a:pPr lvl="0" algn="ctr" defTabSz="444500">
              <a:lnSpc>
                <a:spcPct val="90000"/>
              </a:lnSpc>
              <a:spcBef>
                <a:spcPct val="0"/>
              </a:spcBef>
            </a:pPr>
            <a:r>
              <a:rPr lang="en-US" sz="1400" b="1" dirty="0">
                <a:solidFill>
                  <a:schemeClr val="tx1"/>
                </a:solidFill>
              </a:rPr>
              <a:t>Kranti Pedeni </a:t>
            </a:r>
            <a:r>
              <a:rPr lang="en-US" sz="1400" b="1" kern="1200" dirty="0">
                <a:solidFill>
                  <a:schemeClr val="tx1"/>
                </a:solidFill>
              </a:rPr>
              <a:t>(HR Executive)</a:t>
            </a:r>
          </a:p>
          <a:p>
            <a:pPr lvl="0" algn="ctr" defTabSz="444500">
              <a:lnSpc>
                <a:spcPct val="90000"/>
              </a:lnSpc>
              <a:spcBef>
                <a:spcPct val="0"/>
              </a:spcBef>
            </a:pPr>
            <a:r>
              <a:rPr lang="en-US" sz="1200" dirty="0">
                <a:solidFill>
                  <a:schemeClr val="tx1"/>
                </a:solidFill>
              </a:rPr>
              <a:t>(413)334-1463| Kranti.Pedeni@infinite.com</a:t>
            </a:r>
          </a:p>
          <a:p>
            <a:pPr marL="0" lvl="0" indent="0" algn="ctr" defTabSz="444500">
              <a:lnSpc>
                <a:spcPct val="90000"/>
              </a:lnSpc>
              <a:spcBef>
                <a:spcPct val="0"/>
              </a:spcBef>
              <a:buNone/>
            </a:pPr>
            <a:endParaRPr lang="en-US" sz="1200" kern="1200" dirty="0">
              <a:solidFill>
                <a:schemeClr val="tx1"/>
              </a:solidFill>
            </a:endParaRPr>
          </a:p>
        </p:txBody>
      </p:sp>
      <p:sp>
        <p:nvSpPr>
          <p:cNvPr id="15" name="Freeform: Shape 14">
            <a:extLst>
              <a:ext uri="{FF2B5EF4-FFF2-40B4-BE49-F238E27FC236}">
                <a16:creationId xmlns:a16="http://schemas.microsoft.com/office/drawing/2014/main" id="{AF24C57B-2D12-B9C4-54F4-7C9DCE955056}"/>
              </a:ext>
            </a:extLst>
          </p:cNvPr>
          <p:cNvSpPr/>
          <p:nvPr/>
        </p:nvSpPr>
        <p:spPr>
          <a:xfrm>
            <a:off x="4201076" y="4631368"/>
            <a:ext cx="3635637" cy="460767"/>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endParaRPr lang="en-US" sz="1400" b="1" kern="1200" dirty="0">
              <a:solidFill>
                <a:schemeClr val="tx1"/>
              </a:solidFill>
            </a:endParaRPr>
          </a:p>
          <a:p>
            <a:pPr lvl="0" algn="ctr" defTabSz="444500">
              <a:lnSpc>
                <a:spcPct val="90000"/>
              </a:lnSpc>
              <a:spcBef>
                <a:spcPct val="0"/>
              </a:spcBef>
            </a:pPr>
            <a:r>
              <a:rPr lang="en-US" sz="1400" b="1">
                <a:solidFill>
                  <a:schemeClr val="tx1"/>
                </a:solidFill>
              </a:rPr>
              <a:t>Sathish Sundharam </a:t>
            </a:r>
            <a:r>
              <a:rPr lang="en-US" sz="1400" b="1" kern="1200" dirty="0">
                <a:solidFill>
                  <a:schemeClr val="tx1"/>
                </a:solidFill>
              </a:rPr>
              <a:t>(HR Executive)</a:t>
            </a:r>
          </a:p>
          <a:p>
            <a:pPr lvl="0" algn="ctr" defTabSz="444500">
              <a:lnSpc>
                <a:spcPct val="90000"/>
              </a:lnSpc>
              <a:spcBef>
                <a:spcPct val="0"/>
              </a:spcBef>
            </a:pPr>
            <a:r>
              <a:rPr lang="en-US" sz="1200" dirty="0">
                <a:solidFill>
                  <a:schemeClr val="tx1"/>
                </a:solidFill>
              </a:rPr>
              <a:t>(413)741-3576| Sathish.Sundharam@infinite.com</a:t>
            </a:r>
          </a:p>
          <a:p>
            <a:pPr marL="0" lvl="0" indent="0" algn="ctr" defTabSz="444500">
              <a:lnSpc>
                <a:spcPct val="90000"/>
              </a:lnSpc>
              <a:spcBef>
                <a:spcPct val="0"/>
              </a:spcBef>
              <a:buNone/>
            </a:pPr>
            <a:endParaRPr lang="en-US" sz="1200" kern="1200" dirty="0">
              <a:solidFill>
                <a:schemeClr val="tx1"/>
              </a:solidFill>
            </a:endParaRPr>
          </a:p>
        </p:txBody>
      </p:sp>
      <p:sp>
        <p:nvSpPr>
          <p:cNvPr id="17" name="Freeform: Shape 16">
            <a:extLst>
              <a:ext uri="{FF2B5EF4-FFF2-40B4-BE49-F238E27FC236}">
                <a16:creationId xmlns:a16="http://schemas.microsoft.com/office/drawing/2014/main" id="{0CBBD341-DBB4-4319-BBC0-4FDDDB509750}"/>
              </a:ext>
            </a:extLst>
          </p:cNvPr>
          <p:cNvSpPr/>
          <p:nvPr/>
        </p:nvSpPr>
        <p:spPr>
          <a:xfrm>
            <a:off x="4190183" y="5162931"/>
            <a:ext cx="3627890" cy="460768"/>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endParaRPr lang="en-US" sz="1400" b="1" kern="1200" dirty="0">
              <a:solidFill>
                <a:schemeClr val="tx1"/>
              </a:solidFill>
            </a:endParaRPr>
          </a:p>
          <a:p>
            <a:pPr lvl="0" algn="ctr" defTabSz="444500">
              <a:lnSpc>
                <a:spcPct val="90000"/>
              </a:lnSpc>
              <a:spcBef>
                <a:spcPct val="0"/>
              </a:spcBef>
            </a:pPr>
            <a:r>
              <a:rPr lang="en-US" sz="1400" b="1" dirty="0">
                <a:solidFill>
                  <a:schemeClr val="tx1"/>
                </a:solidFill>
              </a:rPr>
              <a:t>Deepak Balraj</a:t>
            </a:r>
            <a:r>
              <a:rPr lang="en-US" sz="1400" b="1" kern="1200" dirty="0">
                <a:solidFill>
                  <a:schemeClr val="tx1"/>
                </a:solidFill>
              </a:rPr>
              <a:t>(HR Associate Executive)</a:t>
            </a:r>
          </a:p>
          <a:p>
            <a:pPr lvl="0" algn="ctr" defTabSz="444500">
              <a:lnSpc>
                <a:spcPct val="90000"/>
              </a:lnSpc>
              <a:spcBef>
                <a:spcPct val="0"/>
              </a:spcBef>
            </a:pPr>
            <a:r>
              <a:rPr lang="en-US" sz="1200" dirty="0">
                <a:solidFill>
                  <a:schemeClr val="tx1"/>
                </a:solidFill>
              </a:rPr>
              <a:t>(413)238-9263| Deepak.Balraj@infinite.com</a:t>
            </a:r>
          </a:p>
          <a:p>
            <a:pPr marL="0" lvl="0" indent="0" algn="ctr" defTabSz="444500">
              <a:lnSpc>
                <a:spcPct val="90000"/>
              </a:lnSpc>
              <a:spcBef>
                <a:spcPct val="0"/>
              </a:spcBef>
              <a:buNone/>
            </a:pPr>
            <a:endParaRPr lang="en-US" sz="1200" kern="1200" dirty="0">
              <a:solidFill>
                <a:schemeClr val="tx1"/>
              </a:solidFill>
            </a:endParaRPr>
          </a:p>
        </p:txBody>
      </p:sp>
      <p:sp>
        <p:nvSpPr>
          <p:cNvPr id="21" name="Freeform: Shape 20">
            <a:extLst>
              <a:ext uri="{FF2B5EF4-FFF2-40B4-BE49-F238E27FC236}">
                <a16:creationId xmlns:a16="http://schemas.microsoft.com/office/drawing/2014/main" id="{45C574ED-E590-C5AB-C760-6EC20479FAB4}"/>
              </a:ext>
            </a:extLst>
          </p:cNvPr>
          <p:cNvSpPr/>
          <p:nvPr/>
        </p:nvSpPr>
        <p:spPr>
          <a:xfrm>
            <a:off x="4152540" y="2951667"/>
            <a:ext cx="3690545" cy="385337"/>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endParaRPr lang="en-US" sz="1400" b="1" kern="1200" dirty="0">
              <a:solidFill>
                <a:schemeClr val="tx1"/>
              </a:solidFill>
            </a:endParaRPr>
          </a:p>
          <a:p>
            <a:pPr lvl="0" algn="ctr" defTabSz="444500">
              <a:lnSpc>
                <a:spcPct val="90000"/>
              </a:lnSpc>
              <a:spcBef>
                <a:spcPct val="0"/>
              </a:spcBef>
            </a:pPr>
            <a:r>
              <a:rPr lang="en-US" sz="1400" b="1" dirty="0">
                <a:solidFill>
                  <a:schemeClr val="tx1"/>
                </a:solidFill>
              </a:rPr>
              <a:t>Priyadarshan Raghul </a:t>
            </a:r>
            <a:r>
              <a:rPr lang="en-US" sz="1400" b="1" kern="1200" dirty="0">
                <a:solidFill>
                  <a:schemeClr val="tx1"/>
                </a:solidFill>
              </a:rPr>
              <a:t>(HR Executive)</a:t>
            </a:r>
          </a:p>
          <a:p>
            <a:pPr lvl="0" algn="ctr" defTabSz="444500">
              <a:lnSpc>
                <a:spcPct val="90000"/>
              </a:lnSpc>
              <a:spcBef>
                <a:spcPct val="0"/>
              </a:spcBef>
            </a:pPr>
            <a:r>
              <a:rPr lang="en-US" sz="1200" dirty="0">
                <a:solidFill>
                  <a:schemeClr val="tx1"/>
                </a:solidFill>
              </a:rPr>
              <a:t>(413)741-3414| Priyadarshan.Raghul@infinite.com</a:t>
            </a:r>
          </a:p>
          <a:p>
            <a:pPr marL="0" lvl="0" indent="0" algn="ctr" defTabSz="444500">
              <a:lnSpc>
                <a:spcPct val="90000"/>
              </a:lnSpc>
              <a:spcBef>
                <a:spcPct val="0"/>
              </a:spcBef>
              <a:buNone/>
            </a:pPr>
            <a:r>
              <a:rPr lang="en-US" sz="1200" kern="1200" dirty="0">
                <a:solidFill>
                  <a:schemeClr val="tx1"/>
                </a:solidFill>
              </a:rPr>
              <a:t>(</a:t>
            </a:r>
          </a:p>
        </p:txBody>
      </p:sp>
      <p:sp>
        <p:nvSpPr>
          <p:cNvPr id="26" name="Freeform: Shape 25">
            <a:extLst>
              <a:ext uri="{FF2B5EF4-FFF2-40B4-BE49-F238E27FC236}">
                <a16:creationId xmlns:a16="http://schemas.microsoft.com/office/drawing/2014/main" id="{86617FC3-32E3-7B76-28AA-B7AAC6B263D2}"/>
              </a:ext>
            </a:extLst>
          </p:cNvPr>
          <p:cNvSpPr/>
          <p:nvPr/>
        </p:nvSpPr>
        <p:spPr>
          <a:xfrm>
            <a:off x="4161258" y="2432887"/>
            <a:ext cx="3647303" cy="416707"/>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endParaRPr lang="en-US" sz="1400" b="1" kern="1200" dirty="0">
              <a:solidFill>
                <a:schemeClr val="tx1"/>
              </a:solidFill>
            </a:endParaRPr>
          </a:p>
          <a:p>
            <a:pPr lvl="0" algn="ctr" defTabSz="444500">
              <a:lnSpc>
                <a:spcPct val="90000"/>
              </a:lnSpc>
              <a:spcBef>
                <a:spcPct val="0"/>
              </a:spcBef>
            </a:pPr>
            <a:r>
              <a:rPr lang="en-US" sz="1400" b="1" dirty="0">
                <a:solidFill>
                  <a:schemeClr val="tx1"/>
                </a:solidFill>
              </a:rPr>
              <a:t>Sai Vasanth </a:t>
            </a:r>
            <a:r>
              <a:rPr lang="en-US" sz="1400" b="1" kern="1200" dirty="0">
                <a:solidFill>
                  <a:schemeClr val="tx1"/>
                </a:solidFill>
              </a:rPr>
              <a:t>(HR Executive)</a:t>
            </a:r>
          </a:p>
          <a:p>
            <a:pPr lvl="0" algn="ctr" defTabSz="444500">
              <a:lnSpc>
                <a:spcPct val="90000"/>
              </a:lnSpc>
              <a:spcBef>
                <a:spcPct val="0"/>
              </a:spcBef>
            </a:pPr>
            <a:r>
              <a:rPr lang="en-US" sz="1200" dirty="0">
                <a:solidFill>
                  <a:schemeClr val="tx1"/>
                </a:solidFill>
              </a:rPr>
              <a:t>(413)741-3439| Sai.Vasanth@infinite.com</a:t>
            </a:r>
          </a:p>
          <a:p>
            <a:pPr marL="0" lvl="0" indent="0" algn="ctr" defTabSz="444500">
              <a:lnSpc>
                <a:spcPct val="90000"/>
              </a:lnSpc>
              <a:spcBef>
                <a:spcPct val="0"/>
              </a:spcBef>
              <a:buNone/>
            </a:pPr>
            <a:endParaRPr lang="en-US" sz="1200" kern="1200" dirty="0">
              <a:solidFill>
                <a:schemeClr val="tx1"/>
              </a:solidFill>
            </a:endParaRPr>
          </a:p>
        </p:txBody>
      </p:sp>
      <p:sp>
        <p:nvSpPr>
          <p:cNvPr id="27" name="Freeform: Shape 26">
            <a:extLst>
              <a:ext uri="{FF2B5EF4-FFF2-40B4-BE49-F238E27FC236}">
                <a16:creationId xmlns:a16="http://schemas.microsoft.com/office/drawing/2014/main" id="{E26C14AB-F1E8-8C5D-F516-2F3653C4ABA9}"/>
              </a:ext>
            </a:extLst>
          </p:cNvPr>
          <p:cNvSpPr/>
          <p:nvPr/>
        </p:nvSpPr>
        <p:spPr>
          <a:xfrm>
            <a:off x="4114864" y="3499834"/>
            <a:ext cx="3680181" cy="425148"/>
          </a:xfrm>
          <a:custGeom>
            <a:avLst/>
            <a:gdLst>
              <a:gd name="connsiteX0" fmla="*/ 0 w 2464226"/>
              <a:gd name="connsiteY0" fmla="*/ 140927 h 1409272"/>
              <a:gd name="connsiteX1" fmla="*/ 140927 w 2464226"/>
              <a:gd name="connsiteY1" fmla="*/ 0 h 1409272"/>
              <a:gd name="connsiteX2" fmla="*/ 2323299 w 2464226"/>
              <a:gd name="connsiteY2" fmla="*/ 0 h 1409272"/>
              <a:gd name="connsiteX3" fmla="*/ 2464226 w 2464226"/>
              <a:gd name="connsiteY3" fmla="*/ 140927 h 1409272"/>
              <a:gd name="connsiteX4" fmla="*/ 2464226 w 2464226"/>
              <a:gd name="connsiteY4" fmla="*/ 1268345 h 1409272"/>
              <a:gd name="connsiteX5" fmla="*/ 2323299 w 2464226"/>
              <a:gd name="connsiteY5" fmla="*/ 1409272 h 1409272"/>
              <a:gd name="connsiteX6" fmla="*/ 140927 w 2464226"/>
              <a:gd name="connsiteY6" fmla="*/ 1409272 h 1409272"/>
              <a:gd name="connsiteX7" fmla="*/ 0 w 2464226"/>
              <a:gd name="connsiteY7" fmla="*/ 1268345 h 1409272"/>
              <a:gd name="connsiteX8" fmla="*/ 0 w 2464226"/>
              <a:gd name="connsiteY8" fmla="*/ 140927 h 14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4226" h="1409272">
                <a:moveTo>
                  <a:pt x="0" y="140927"/>
                </a:moveTo>
                <a:cubicBezTo>
                  <a:pt x="0" y="63095"/>
                  <a:pt x="63095" y="0"/>
                  <a:pt x="140927" y="0"/>
                </a:cubicBezTo>
                <a:lnTo>
                  <a:pt x="2323299" y="0"/>
                </a:lnTo>
                <a:cubicBezTo>
                  <a:pt x="2401131" y="0"/>
                  <a:pt x="2464226" y="63095"/>
                  <a:pt x="2464226" y="140927"/>
                </a:cubicBezTo>
                <a:lnTo>
                  <a:pt x="2464226" y="1268345"/>
                </a:lnTo>
                <a:cubicBezTo>
                  <a:pt x="2464226" y="1346177"/>
                  <a:pt x="2401131" y="1409272"/>
                  <a:pt x="2323299" y="1409272"/>
                </a:cubicBezTo>
                <a:lnTo>
                  <a:pt x="140927" y="1409272"/>
                </a:lnTo>
                <a:cubicBezTo>
                  <a:pt x="63095" y="1409272"/>
                  <a:pt x="0" y="1346177"/>
                  <a:pt x="0" y="1268345"/>
                </a:cubicBezTo>
                <a:lnTo>
                  <a:pt x="0" y="140927"/>
                </a:lnTo>
                <a:close/>
              </a:path>
            </a:pathLst>
          </a:custGeom>
          <a:solidFill>
            <a:srgbClr val="B8E08C"/>
          </a:solidFill>
          <a:scene3d>
            <a:camera prst="orthographicFront">
              <a:rot lat="0" lon="0" rev="0"/>
            </a:camera>
            <a:lightRig rig="threePt" dir="t">
              <a:rot lat="0" lon="0" rev="1200000"/>
            </a:lightRig>
          </a:scene3d>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spcFirstLastPara="0" vert="horz" wrap="square" lIns="79376" tIns="79376" rIns="79376" bIns="79376" numCol="1" spcCol="1270" anchor="ctr" anchorCtr="0">
            <a:noAutofit/>
          </a:bodyPr>
          <a:lstStyle/>
          <a:p>
            <a:pPr marL="0" lvl="0" indent="0" algn="ctr" defTabSz="444500">
              <a:lnSpc>
                <a:spcPct val="90000"/>
              </a:lnSpc>
              <a:spcBef>
                <a:spcPct val="0"/>
              </a:spcBef>
              <a:buNone/>
            </a:pPr>
            <a:endParaRPr lang="en-US" sz="1400" b="1" kern="1200" dirty="0">
              <a:solidFill>
                <a:schemeClr val="tx1"/>
              </a:solidFill>
            </a:endParaRPr>
          </a:p>
          <a:p>
            <a:pPr lvl="0" algn="ctr" defTabSz="444500">
              <a:lnSpc>
                <a:spcPct val="90000"/>
              </a:lnSpc>
              <a:spcBef>
                <a:spcPct val="0"/>
              </a:spcBef>
            </a:pPr>
            <a:r>
              <a:rPr lang="en-US" sz="1400" b="1" dirty="0">
                <a:solidFill>
                  <a:schemeClr val="tx1"/>
                </a:solidFill>
              </a:rPr>
              <a:t>Prasanna Yadavan </a:t>
            </a:r>
            <a:r>
              <a:rPr lang="en-US" sz="1400" b="1" kern="1200" dirty="0">
                <a:solidFill>
                  <a:schemeClr val="tx1"/>
                </a:solidFill>
              </a:rPr>
              <a:t>(HR Executive)</a:t>
            </a:r>
          </a:p>
          <a:p>
            <a:pPr lvl="0" algn="ctr" defTabSz="444500">
              <a:lnSpc>
                <a:spcPct val="90000"/>
              </a:lnSpc>
              <a:spcBef>
                <a:spcPct val="0"/>
              </a:spcBef>
            </a:pPr>
            <a:r>
              <a:rPr lang="en-US" sz="1200" dirty="0">
                <a:solidFill>
                  <a:schemeClr val="tx1"/>
                </a:solidFill>
              </a:rPr>
              <a:t>(413)440-0074| Prasanna.Yadavan@infinite.com</a:t>
            </a:r>
          </a:p>
          <a:p>
            <a:pPr marL="0" lvl="0" indent="0" algn="ctr" defTabSz="444500">
              <a:lnSpc>
                <a:spcPct val="90000"/>
              </a:lnSpc>
              <a:spcBef>
                <a:spcPct val="0"/>
              </a:spcBef>
              <a:buNone/>
            </a:pPr>
            <a:r>
              <a:rPr lang="en-US" sz="1200" kern="1200" dirty="0">
                <a:solidFill>
                  <a:schemeClr val="tx1"/>
                </a:solidFill>
              </a:rPr>
              <a:t>(</a:t>
            </a:r>
          </a:p>
        </p:txBody>
      </p:sp>
      <p:cxnSp>
        <p:nvCxnSpPr>
          <p:cNvPr id="38" name="Straight Connector 37">
            <a:extLst>
              <a:ext uri="{FF2B5EF4-FFF2-40B4-BE49-F238E27FC236}">
                <a16:creationId xmlns:a16="http://schemas.microsoft.com/office/drawing/2014/main" id="{66AE6084-CED4-433C-977C-31C053661D8E}"/>
              </a:ext>
            </a:extLst>
          </p:cNvPr>
          <p:cNvCxnSpPr>
            <a:cxnSpLocks/>
          </p:cNvCxnSpPr>
          <p:nvPr/>
        </p:nvCxnSpPr>
        <p:spPr>
          <a:xfrm flipH="1">
            <a:off x="3411522" y="1344129"/>
            <a:ext cx="5244798" cy="0"/>
          </a:xfrm>
          <a:prstGeom prst="line">
            <a:avLst/>
          </a:prstGeom>
        </p:spPr>
        <p:style>
          <a:lnRef idx="2">
            <a:schemeClr val="accent4"/>
          </a:lnRef>
          <a:fillRef idx="0">
            <a:schemeClr val="accent4"/>
          </a:fillRef>
          <a:effectRef idx="1">
            <a:schemeClr val="accent4"/>
          </a:effectRef>
          <a:fontRef idx="minor">
            <a:schemeClr val="tx1"/>
          </a:fontRef>
        </p:style>
      </p:cxnSp>
      <p:cxnSp>
        <p:nvCxnSpPr>
          <p:cNvPr id="39" name="Straight Connector 38">
            <a:extLst>
              <a:ext uri="{FF2B5EF4-FFF2-40B4-BE49-F238E27FC236}">
                <a16:creationId xmlns:a16="http://schemas.microsoft.com/office/drawing/2014/main" id="{0C525232-DA0D-364A-48A3-61CC88A5811D}"/>
              </a:ext>
            </a:extLst>
          </p:cNvPr>
          <p:cNvCxnSpPr>
            <a:cxnSpLocks/>
          </p:cNvCxnSpPr>
          <p:nvPr/>
        </p:nvCxnSpPr>
        <p:spPr>
          <a:xfrm flipH="1" flipV="1">
            <a:off x="4043638" y="2195817"/>
            <a:ext cx="62699" cy="3516179"/>
          </a:xfrm>
          <a:prstGeom prst="line">
            <a:avLst/>
          </a:prstGeom>
        </p:spPr>
        <p:style>
          <a:lnRef idx="2">
            <a:schemeClr val="accent4"/>
          </a:lnRef>
          <a:fillRef idx="0">
            <a:schemeClr val="accent4"/>
          </a:fillRef>
          <a:effectRef idx="1">
            <a:schemeClr val="accent4"/>
          </a:effectRef>
          <a:fontRef idx="minor">
            <a:schemeClr val="tx1"/>
          </a:fontRef>
        </p:style>
      </p:cxnSp>
      <p:cxnSp>
        <p:nvCxnSpPr>
          <p:cNvPr id="46" name="Straight Connector 45">
            <a:extLst>
              <a:ext uri="{FF2B5EF4-FFF2-40B4-BE49-F238E27FC236}">
                <a16:creationId xmlns:a16="http://schemas.microsoft.com/office/drawing/2014/main" id="{F7EB51E5-0869-A58E-E83E-65212478B1D9}"/>
              </a:ext>
            </a:extLst>
          </p:cNvPr>
          <p:cNvCxnSpPr>
            <a:cxnSpLocks/>
          </p:cNvCxnSpPr>
          <p:nvPr/>
        </p:nvCxnSpPr>
        <p:spPr>
          <a:xfrm flipH="1">
            <a:off x="3837858" y="3285357"/>
            <a:ext cx="410118" cy="0"/>
          </a:xfrm>
          <a:prstGeom prst="line">
            <a:avLst/>
          </a:prstGeom>
        </p:spPr>
        <p:style>
          <a:lnRef idx="2">
            <a:schemeClr val="accent5"/>
          </a:lnRef>
          <a:fillRef idx="0">
            <a:schemeClr val="accent5"/>
          </a:fillRef>
          <a:effectRef idx="1">
            <a:schemeClr val="accent5"/>
          </a:effectRef>
          <a:fontRef idx="minor">
            <a:schemeClr val="tx1"/>
          </a:fontRef>
        </p:style>
      </p:cxnSp>
      <p:cxnSp>
        <p:nvCxnSpPr>
          <p:cNvPr id="47" name="Straight Connector 46">
            <a:extLst>
              <a:ext uri="{FF2B5EF4-FFF2-40B4-BE49-F238E27FC236}">
                <a16:creationId xmlns:a16="http://schemas.microsoft.com/office/drawing/2014/main" id="{A2602A78-1876-006B-62C6-E2710BB09EAD}"/>
              </a:ext>
            </a:extLst>
          </p:cNvPr>
          <p:cNvCxnSpPr>
            <a:cxnSpLocks/>
          </p:cNvCxnSpPr>
          <p:nvPr/>
        </p:nvCxnSpPr>
        <p:spPr>
          <a:xfrm flipH="1">
            <a:off x="3845033" y="3811836"/>
            <a:ext cx="410118" cy="0"/>
          </a:xfrm>
          <a:prstGeom prst="line">
            <a:avLst/>
          </a:prstGeom>
        </p:spPr>
        <p:style>
          <a:lnRef idx="2">
            <a:schemeClr val="accent5"/>
          </a:lnRef>
          <a:fillRef idx="0">
            <a:schemeClr val="accent5"/>
          </a:fillRef>
          <a:effectRef idx="1">
            <a:schemeClr val="accent5"/>
          </a:effectRef>
          <a:fontRef idx="minor">
            <a:schemeClr val="tx1"/>
          </a:fontRef>
        </p:style>
      </p:cxnSp>
      <p:cxnSp>
        <p:nvCxnSpPr>
          <p:cNvPr id="48" name="Straight Connector 47">
            <a:extLst>
              <a:ext uri="{FF2B5EF4-FFF2-40B4-BE49-F238E27FC236}">
                <a16:creationId xmlns:a16="http://schemas.microsoft.com/office/drawing/2014/main" id="{941B39B4-32F5-FA6D-D25D-1160BDCDAAE2}"/>
              </a:ext>
            </a:extLst>
          </p:cNvPr>
          <p:cNvCxnSpPr>
            <a:cxnSpLocks/>
          </p:cNvCxnSpPr>
          <p:nvPr/>
        </p:nvCxnSpPr>
        <p:spPr>
          <a:xfrm flipH="1">
            <a:off x="3837858" y="4456544"/>
            <a:ext cx="410118" cy="0"/>
          </a:xfrm>
          <a:prstGeom prst="line">
            <a:avLst/>
          </a:prstGeom>
        </p:spPr>
        <p:style>
          <a:lnRef idx="2">
            <a:schemeClr val="accent5"/>
          </a:lnRef>
          <a:fillRef idx="0">
            <a:schemeClr val="accent5"/>
          </a:fillRef>
          <a:effectRef idx="1">
            <a:schemeClr val="accent5"/>
          </a:effectRef>
          <a:fontRef idx="minor">
            <a:schemeClr val="tx1"/>
          </a:fontRef>
        </p:style>
      </p:cxnSp>
      <p:cxnSp>
        <p:nvCxnSpPr>
          <p:cNvPr id="49" name="Straight Connector 48">
            <a:extLst>
              <a:ext uri="{FF2B5EF4-FFF2-40B4-BE49-F238E27FC236}">
                <a16:creationId xmlns:a16="http://schemas.microsoft.com/office/drawing/2014/main" id="{DFAA813A-2D71-8003-89B2-A6D0827391DD}"/>
              </a:ext>
            </a:extLst>
          </p:cNvPr>
          <p:cNvCxnSpPr>
            <a:cxnSpLocks/>
          </p:cNvCxnSpPr>
          <p:nvPr/>
        </p:nvCxnSpPr>
        <p:spPr>
          <a:xfrm flipH="1">
            <a:off x="3772248" y="5015688"/>
            <a:ext cx="410118" cy="0"/>
          </a:xfrm>
          <a:prstGeom prst="line">
            <a:avLst/>
          </a:prstGeom>
        </p:spPr>
        <p:style>
          <a:lnRef idx="2">
            <a:schemeClr val="accent5"/>
          </a:lnRef>
          <a:fillRef idx="0">
            <a:schemeClr val="accent5"/>
          </a:fillRef>
          <a:effectRef idx="1">
            <a:schemeClr val="accent5"/>
          </a:effectRef>
          <a:fontRef idx="minor">
            <a:schemeClr val="tx1"/>
          </a:fontRef>
        </p:style>
      </p:cxnSp>
      <p:cxnSp>
        <p:nvCxnSpPr>
          <p:cNvPr id="50" name="Straight Connector 49">
            <a:extLst>
              <a:ext uri="{FF2B5EF4-FFF2-40B4-BE49-F238E27FC236}">
                <a16:creationId xmlns:a16="http://schemas.microsoft.com/office/drawing/2014/main" id="{175B1035-369B-6D24-2852-CDBB48CA534D}"/>
              </a:ext>
            </a:extLst>
          </p:cNvPr>
          <p:cNvCxnSpPr>
            <a:cxnSpLocks/>
          </p:cNvCxnSpPr>
          <p:nvPr/>
        </p:nvCxnSpPr>
        <p:spPr>
          <a:xfrm flipH="1">
            <a:off x="3909805" y="5586403"/>
            <a:ext cx="410118" cy="0"/>
          </a:xfrm>
          <a:prstGeom prst="line">
            <a:avLst/>
          </a:prstGeom>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34879387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946559F-030B-3AA9-04AD-4790A13C0A1C}"/>
              </a:ext>
            </a:extLst>
          </p:cNvPr>
          <p:cNvPicPr>
            <a:picLocks noChangeAspect="1"/>
          </p:cNvPicPr>
          <p:nvPr/>
        </p:nvPicPr>
        <p:blipFill>
          <a:blip r:embed="rId2"/>
          <a:stretch>
            <a:fillRect/>
          </a:stretch>
        </p:blipFill>
        <p:spPr>
          <a:xfrm>
            <a:off x="-1" y="1459062"/>
            <a:ext cx="12192001" cy="3762900"/>
          </a:xfrm>
          <a:prstGeom prst="rect">
            <a:avLst/>
          </a:prstGeom>
        </p:spPr>
      </p:pic>
    </p:spTree>
    <p:extLst>
      <p:ext uri="{BB962C8B-B14F-4D97-AF65-F5344CB8AC3E}">
        <p14:creationId xmlns:p14="http://schemas.microsoft.com/office/powerpoint/2010/main" val="29592483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644A85A-6D2C-42A1-BB27-F2C04D3EE1BD}"/>
              </a:ext>
            </a:extLst>
          </p:cNvPr>
          <p:cNvSpPr txBox="1"/>
          <p:nvPr/>
        </p:nvSpPr>
        <p:spPr>
          <a:xfrm>
            <a:off x="76699" y="246156"/>
            <a:ext cx="7393246"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STRENGTH </a:t>
            </a:r>
            <a:r>
              <a:rPr lang="en-US" sz="3200" spc="-150" dirty="0">
                <a:solidFill>
                  <a:srgbClr val="1E3ADA"/>
                </a:solidFill>
                <a:latin typeface="Work Sans" panose="00000500000000000000" pitchFamily="50" charset="0"/>
                <a:cs typeface="Segoe UI" panose="020B0502040204020203" pitchFamily="34" charset="0"/>
              </a:rPr>
              <a:t>OF A COMBINED ENTITY</a:t>
            </a:r>
          </a:p>
        </p:txBody>
      </p:sp>
      <p:sp>
        <p:nvSpPr>
          <p:cNvPr id="51" name="Content Placeholder 3">
            <a:extLst>
              <a:ext uri="{FF2B5EF4-FFF2-40B4-BE49-F238E27FC236}">
                <a16:creationId xmlns:a16="http://schemas.microsoft.com/office/drawing/2014/main" id="{379670DE-B15C-4B1A-89BE-DD421B21A854}"/>
              </a:ext>
            </a:extLst>
          </p:cNvPr>
          <p:cNvSpPr txBox="1">
            <a:spLocks/>
          </p:cNvSpPr>
          <p:nvPr/>
        </p:nvSpPr>
        <p:spPr>
          <a:xfrm>
            <a:off x="664039" y="806241"/>
            <a:ext cx="11016000" cy="342000"/>
          </a:xfrm>
          <a:prstGeom prst="rect">
            <a:avLst/>
          </a:prstGeom>
        </p:spPr>
        <p:txBody>
          <a:bodyPr vert="horz" lIns="45720" tIns="22860" rIns="45720" bIns="22860" rtlCol="0">
            <a:noAutofit/>
          </a:bodyPr>
          <a:lstStyle>
            <a:lvl1pPr marL="342900" indent="-342900" algn="l" defTabSz="457200" rtl="0" eaLnBrk="1" latinLnBrk="0" hangingPunct="1">
              <a:spcBef>
                <a:spcPct val="20000"/>
              </a:spcBef>
              <a:buClr>
                <a:srgbClr val="004F5A"/>
              </a:buClr>
              <a:buFont typeface="Arial"/>
              <a:buChar char="•"/>
              <a:defRPr sz="2400" kern="1200">
                <a:solidFill>
                  <a:srgbClr val="004F5A"/>
                </a:solidFill>
                <a:latin typeface="+mn-lt"/>
                <a:ea typeface="+mn-ea"/>
                <a:cs typeface="+mn-cs"/>
              </a:defRPr>
            </a:lvl1pPr>
            <a:lvl2pPr marL="742950" indent="-285750" algn="l" defTabSz="457200" rtl="0" eaLnBrk="1" latinLnBrk="0" hangingPunct="1">
              <a:spcBef>
                <a:spcPct val="20000"/>
              </a:spcBef>
              <a:buClr>
                <a:srgbClr val="F58025"/>
              </a:buClr>
              <a:buSzPct val="75000"/>
              <a:buFont typeface="Wingdings 3" panose="05040102010807070707" pitchFamily="18" charset="2"/>
              <a:buChar char="}"/>
              <a:defRPr sz="2000" kern="1200">
                <a:solidFill>
                  <a:srgbClr val="004F5A"/>
                </a:solidFill>
                <a:latin typeface="+mn-lt"/>
                <a:ea typeface="+mn-ea"/>
                <a:cs typeface="+mn-cs"/>
              </a:defRPr>
            </a:lvl2pPr>
            <a:lvl3pPr marL="1143000" indent="-228600" algn="l" defTabSz="457200" rtl="0" eaLnBrk="1" latinLnBrk="0" hangingPunct="1">
              <a:spcBef>
                <a:spcPct val="20000"/>
              </a:spcBef>
              <a:buClr>
                <a:srgbClr val="887E6E"/>
              </a:buClr>
              <a:buFont typeface="Wingdings 3" panose="05040102010807070707" pitchFamily="18" charset="2"/>
              <a:buChar char="}"/>
              <a:defRPr sz="1800" kern="1200">
                <a:solidFill>
                  <a:schemeClr val="accent6">
                    <a:lumMod val="75000"/>
                  </a:schemeClr>
                </a:solidFill>
                <a:latin typeface="+mn-lt"/>
                <a:ea typeface="+mn-ea"/>
                <a:cs typeface="+mn-cs"/>
              </a:defRPr>
            </a:lvl3pPr>
            <a:lvl4pPr marL="1600200" indent="-228600" algn="l" defTabSz="457200" rtl="0" eaLnBrk="1" latinLnBrk="0" hangingPunct="1">
              <a:spcBef>
                <a:spcPct val="20000"/>
              </a:spcBef>
              <a:buClr>
                <a:srgbClr val="004F5A"/>
              </a:buClr>
              <a:buFont typeface="Wingdings 3" panose="05040102010807070707" pitchFamily="18" charset="2"/>
              <a:buChar char="}"/>
              <a:defRPr sz="1600" kern="1200">
                <a:solidFill>
                  <a:srgbClr val="004F5A"/>
                </a:solidFill>
                <a:latin typeface="+mn-lt"/>
                <a:ea typeface="+mn-ea"/>
                <a:cs typeface="+mn-cs"/>
              </a:defRPr>
            </a:lvl4pPr>
            <a:lvl5pPr marL="2057400" indent="-228600" algn="l" defTabSz="457200" rtl="0" eaLnBrk="1" latinLnBrk="0" hangingPunct="1">
              <a:spcBef>
                <a:spcPct val="20000"/>
              </a:spcBef>
              <a:buClr>
                <a:srgbClr val="004F5A"/>
              </a:buClr>
              <a:buFont typeface="Wingdings 3" panose="05040102010807070707" pitchFamily="18" charset="2"/>
              <a:buChar char="}"/>
              <a:defRPr sz="1600" kern="1200">
                <a:solidFill>
                  <a:srgbClr val="004F5A"/>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228594">
              <a:lnSpc>
                <a:spcPct val="110000"/>
              </a:lnSpc>
              <a:spcBef>
                <a:spcPts val="900"/>
              </a:spcBef>
              <a:spcAft>
                <a:spcPts val="900"/>
              </a:spcAft>
              <a:buNone/>
              <a:defRPr/>
            </a:pPr>
            <a:r>
              <a:rPr lang="en-US" sz="1400" i="1" dirty="0">
                <a:solidFill>
                  <a:schemeClr val="tx1">
                    <a:lumMod val="75000"/>
                    <a:lumOff val="25000"/>
                  </a:schemeClr>
                </a:solidFill>
                <a:latin typeface="Open Sans" panose="020B0606030504020204"/>
              </a:rPr>
              <a:t>By coming together Zyter TruCare and Infinite can now offer you services and products across your IT enterprise ecosystem. </a:t>
            </a:r>
          </a:p>
        </p:txBody>
      </p:sp>
      <p:grpSp>
        <p:nvGrpSpPr>
          <p:cNvPr id="52" name="Group 51">
            <a:extLst>
              <a:ext uri="{FF2B5EF4-FFF2-40B4-BE49-F238E27FC236}">
                <a16:creationId xmlns:a16="http://schemas.microsoft.com/office/drawing/2014/main" id="{0AC74252-CC90-4C8C-AD28-9F30C06C740B}"/>
              </a:ext>
            </a:extLst>
          </p:cNvPr>
          <p:cNvGrpSpPr/>
          <p:nvPr/>
        </p:nvGrpSpPr>
        <p:grpSpPr>
          <a:xfrm>
            <a:off x="4060157" y="1511781"/>
            <a:ext cx="4656537" cy="4666813"/>
            <a:chOff x="7553187" y="4098518"/>
            <a:chExt cx="9289472" cy="9309970"/>
          </a:xfrm>
        </p:grpSpPr>
        <p:sp>
          <p:nvSpPr>
            <p:cNvPr id="53" name="Freeform: Shape 52">
              <a:extLst>
                <a:ext uri="{FF2B5EF4-FFF2-40B4-BE49-F238E27FC236}">
                  <a16:creationId xmlns:a16="http://schemas.microsoft.com/office/drawing/2014/main" id="{4F2A8158-556E-4E0B-B2F4-E5CE939E5D67}"/>
                </a:ext>
              </a:extLst>
            </p:cNvPr>
            <p:cNvSpPr/>
            <p:nvPr/>
          </p:nvSpPr>
          <p:spPr>
            <a:xfrm rot="5400000">
              <a:off x="9860180" y="6426009"/>
              <a:ext cx="9309970" cy="4654988"/>
            </a:xfrm>
            <a:custGeom>
              <a:avLst/>
              <a:gdLst>
                <a:gd name="connsiteX0" fmla="*/ 3234455 w 6468910"/>
                <a:gd name="connsiteY0" fmla="*/ 0 h 3234456"/>
                <a:gd name="connsiteX1" fmla="*/ 6468910 w 6468910"/>
                <a:gd name="connsiteY1" fmla="*/ 3234455 h 3234456"/>
                <a:gd name="connsiteX2" fmla="*/ 6468910 w 6468910"/>
                <a:gd name="connsiteY2" fmla="*/ 3234456 h 3234456"/>
                <a:gd name="connsiteX3" fmla="*/ 5296549 w 6468910"/>
                <a:gd name="connsiteY3" fmla="*/ 3234456 h 3234456"/>
                <a:gd name="connsiteX4" fmla="*/ 3234456 w 6468910"/>
                <a:gd name="connsiteY4" fmla="*/ 1172363 h 3234456"/>
                <a:gd name="connsiteX5" fmla="*/ 1172363 w 6468910"/>
                <a:gd name="connsiteY5" fmla="*/ 3234456 h 3234456"/>
                <a:gd name="connsiteX6" fmla="*/ 0 w 6468910"/>
                <a:gd name="connsiteY6" fmla="*/ 3234456 h 3234456"/>
                <a:gd name="connsiteX7" fmla="*/ 0 w 6468910"/>
                <a:gd name="connsiteY7" fmla="*/ 3234455 h 3234456"/>
                <a:gd name="connsiteX8" fmla="*/ 3234455 w 6468910"/>
                <a:gd name="connsiteY8" fmla="*/ 0 h 323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68910" h="3234456">
                  <a:moveTo>
                    <a:pt x="3234455" y="0"/>
                  </a:moveTo>
                  <a:cubicBezTo>
                    <a:pt x="5020795" y="0"/>
                    <a:pt x="6468910" y="1448115"/>
                    <a:pt x="6468910" y="3234455"/>
                  </a:cubicBezTo>
                  <a:lnTo>
                    <a:pt x="6468910" y="3234456"/>
                  </a:lnTo>
                  <a:lnTo>
                    <a:pt x="5296549" y="3234456"/>
                  </a:lnTo>
                  <a:cubicBezTo>
                    <a:pt x="5296549" y="2095593"/>
                    <a:pt x="4373319" y="1172363"/>
                    <a:pt x="3234456" y="1172363"/>
                  </a:cubicBezTo>
                  <a:cubicBezTo>
                    <a:pt x="2095593" y="1172363"/>
                    <a:pt x="1172363" y="2095593"/>
                    <a:pt x="1172363" y="3234456"/>
                  </a:cubicBezTo>
                  <a:lnTo>
                    <a:pt x="0" y="3234456"/>
                  </a:lnTo>
                  <a:lnTo>
                    <a:pt x="0" y="3234455"/>
                  </a:lnTo>
                  <a:cubicBezTo>
                    <a:pt x="0" y="1448115"/>
                    <a:pt x="1448115" y="0"/>
                    <a:pt x="3234455" y="0"/>
                  </a:cubicBezTo>
                  <a:close/>
                </a:path>
              </a:pathLst>
            </a:custGeom>
            <a:solidFill>
              <a:schemeClr val="bg1">
                <a:lumMod val="85000"/>
                <a:alpha val="50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914194"/>
              <a:endParaRPr lang="en-US" sz="1200" dirty="0">
                <a:solidFill>
                  <a:prstClr val="black"/>
                </a:solidFill>
                <a:latin typeface="Open Sans" panose="020B0606030504020204"/>
              </a:endParaRPr>
            </a:p>
          </p:txBody>
        </p:sp>
        <p:sp>
          <p:nvSpPr>
            <p:cNvPr id="54" name="Freeform: Shape 53">
              <a:extLst>
                <a:ext uri="{FF2B5EF4-FFF2-40B4-BE49-F238E27FC236}">
                  <a16:creationId xmlns:a16="http://schemas.microsoft.com/office/drawing/2014/main" id="{D0CE1F5B-DE09-4119-AD1F-CEF687EAA0DD}"/>
                </a:ext>
              </a:extLst>
            </p:cNvPr>
            <p:cNvSpPr/>
            <p:nvPr/>
          </p:nvSpPr>
          <p:spPr>
            <a:xfrm rot="16200000" flipH="1">
              <a:off x="5225696" y="6426009"/>
              <a:ext cx="9309970" cy="4654988"/>
            </a:xfrm>
            <a:custGeom>
              <a:avLst/>
              <a:gdLst>
                <a:gd name="connsiteX0" fmla="*/ 3234455 w 6468910"/>
                <a:gd name="connsiteY0" fmla="*/ 0 h 3234456"/>
                <a:gd name="connsiteX1" fmla="*/ 6468910 w 6468910"/>
                <a:gd name="connsiteY1" fmla="*/ 3234455 h 3234456"/>
                <a:gd name="connsiteX2" fmla="*/ 6468910 w 6468910"/>
                <a:gd name="connsiteY2" fmla="*/ 3234456 h 3234456"/>
                <a:gd name="connsiteX3" fmla="*/ 5296549 w 6468910"/>
                <a:gd name="connsiteY3" fmla="*/ 3234456 h 3234456"/>
                <a:gd name="connsiteX4" fmla="*/ 3234456 w 6468910"/>
                <a:gd name="connsiteY4" fmla="*/ 1172363 h 3234456"/>
                <a:gd name="connsiteX5" fmla="*/ 1172363 w 6468910"/>
                <a:gd name="connsiteY5" fmla="*/ 3234456 h 3234456"/>
                <a:gd name="connsiteX6" fmla="*/ 0 w 6468910"/>
                <a:gd name="connsiteY6" fmla="*/ 3234456 h 3234456"/>
                <a:gd name="connsiteX7" fmla="*/ 0 w 6468910"/>
                <a:gd name="connsiteY7" fmla="*/ 3234455 h 3234456"/>
                <a:gd name="connsiteX8" fmla="*/ 3234455 w 6468910"/>
                <a:gd name="connsiteY8" fmla="*/ 0 h 323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68910" h="3234456">
                  <a:moveTo>
                    <a:pt x="3234455" y="0"/>
                  </a:moveTo>
                  <a:cubicBezTo>
                    <a:pt x="5020795" y="0"/>
                    <a:pt x="6468910" y="1448115"/>
                    <a:pt x="6468910" y="3234455"/>
                  </a:cubicBezTo>
                  <a:lnTo>
                    <a:pt x="6468910" y="3234456"/>
                  </a:lnTo>
                  <a:lnTo>
                    <a:pt x="5296549" y="3234456"/>
                  </a:lnTo>
                  <a:cubicBezTo>
                    <a:pt x="5296549" y="2095593"/>
                    <a:pt x="4373319" y="1172363"/>
                    <a:pt x="3234456" y="1172363"/>
                  </a:cubicBezTo>
                  <a:cubicBezTo>
                    <a:pt x="2095593" y="1172363"/>
                    <a:pt x="1172363" y="2095593"/>
                    <a:pt x="1172363" y="3234456"/>
                  </a:cubicBezTo>
                  <a:lnTo>
                    <a:pt x="0" y="3234456"/>
                  </a:lnTo>
                  <a:lnTo>
                    <a:pt x="0" y="3234455"/>
                  </a:lnTo>
                  <a:cubicBezTo>
                    <a:pt x="0" y="1448115"/>
                    <a:pt x="1448115" y="0"/>
                    <a:pt x="3234455" y="0"/>
                  </a:cubicBezTo>
                  <a:close/>
                </a:path>
              </a:pathLst>
            </a:custGeom>
            <a:solidFill>
              <a:schemeClr val="bg1">
                <a:lumMod val="85000"/>
                <a:alpha val="50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914194"/>
              <a:endParaRPr lang="en-US" sz="1200" dirty="0">
                <a:solidFill>
                  <a:prstClr val="black"/>
                </a:solidFill>
                <a:latin typeface="Open Sans" panose="020B0606030504020204"/>
              </a:endParaRPr>
            </a:p>
          </p:txBody>
        </p:sp>
      </p:grpSp>
      <p:sp>
        <p:nvSpPr>
          <p:cNvPr id="55" name="Freeform 5">
            <a:extLst>
              <a:ext uri="{FF2B5EF4-FFF2-40B4-BE49-F238E27FC236}">
                <a16:creationId xmlns:a16="http://schemas.microsoft.com/office/drawing/2014/main" id="{5382A99D-C9E2-4BA9-9ABE-D08CD23E8EEB}"/>
              </a:ext>
            </a:extLst>
          </p:cNvPr>
          <p:cNvSpPr>
            <a:spLocks/>
          </p:cNvSpPr>
          <p:nvPr/>
        </p:nvSpPr>
        <p:spPr bwMode="auto">
          <a:xfrm rot="5400000">
            <a:off x="7494596" y="3817517"/>
            <a:ext cx="1136835" cy="1192173"/>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rgbClr val="00B6AD"/>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56" name="Freeform 6">
            <a:extLst>
              <a:ext uri="{FF2B5EF4-FFF2-40B4-BE49-F238E27FC236}">
                <a16:creationId xmlns:a16="http://schemas.microsoft.com/office/drawing/2014/main" id="{33041365-8B9E-4D89-B174-8F4D2A150A72}"/>
              </a:ext>
            </a:extLst>
          </p:cNvPr>
          <p:cNvSpPr>
            <a:spLocks/>
          </p:cNvSpPr>
          <p:nvPr/>
        </p:nvSpPr>
        <p:spPr bwMode="auto">
          <a:xfrm rot="5400000">
            <a:off x="7010389" y="4468941"/>
            <a:ext cx="1342547" cy="1346157"/>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rgbClr val="7E249F"/>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57" name="Freeform 7">
            <a:extLst>
              <a:ext uri="{FF2B5EF4-FFF2-40B4-BE49-F238E27FC236}">
                <a16:creationId xmlns:a16="http://schemas.microsoft.com/office/drawing/2014/main" id="{E0247C71-DE71-4C47-8C59-9BA2506C9BC9}"/>
              </a:ext>
            </a:extLst>
          </p:cNvPr>
          <p:cNvSpPr>
            <a:spLocks/>
          </p:cNvSpPr>
          <p:nvPr/>
        </p:nvSpPr>
        <p:spPr bwMode="auto">
          <a:xfrm rot="5400000">
            <a:off x="6357162" y="4953750"/>
            <a:ext cx="1189767" cy="1138037"/>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rgbClr val="00B6AD"/>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58" name="Freeform 14">
            <a:extLst>
              <a:ext uri="{FF2B5EF4-FFF2-40B4-BE49-F238E27FC236}">
                <a16:creationId xmlns:a16="http://schemas.microsoft.com/office/drawing/2014/main" id="{20E02539-C712-4E1B-A4B2-7D67D41E05DA}"/>
              </a:ext>
            </a:extLst>
          </p:cNvPr>
          <p:cNvSpPr>
            <a:spLocks/>
          </p:cNvSpPr>
          <p:nvPr/>
        </p:nvSpPr>
        <p:spPr bwMode="auto">
          <a:xfrm rot="5400000">
            <a:off x="6356561" y="1599188"/>
            <a:ext cx="1190969" cy="1138037"/>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rgbClr val="7E249F"/>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59" name="Freeform 15">
            <a:extLst>
              <a:ext uri="{FF2B5EF4-FFF2-40B4-BE49-F238E27FC236}">
                <a16:creationId xmlns:a16="http://schemas.microsoft.com/office/drawing/2014/main" id="{25FCCB77-B899-42FB-99FB-810F752046E5}"/>
              </a:ext>
            </a:extLst>
          </p:cNvPr>
          <p:cNvSpPr>
            <a:spLocks/>
          </p:cNvSpPr>
          <p:nvPr/>
        </p:nvSpPr>
        <p:spPr bwMode="auto">
          <a:xfrm rot="5400000">
            <a:off x="7009787" y="1875878"/>
            <a:ext cx="1343751" cy="1346157"/>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rgbClr val="00B6AD"/>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60" name="Freeform 16">
            <a:extLst>
              <a:ext uri="{FF2B5EF4-FFF2-40B4-BE49-F238E27FC236}">
                <a16:creationId xmlns:a16="http://schemas.microsoft.com/office/drawing/2014/main" id="{0191F451-48E4-4D86-820D-7FB085C415BD}"/>
              </a:ext>
            </a:extLst>
          </p:cNvPr>
          <p:cNvSpPr>
            <a:spLocks/>
          </p:cNvSpPr>
          <p:nvPr/>
        </p:nvSpPr>
        <p:spPr bwMode="auto">
          <a:xfrm rot="5400000">
            <a:off x="7495199" y="2681285"/>
            <a:ext cx="1135631" cy="1192173"/>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rgbClr val="7E249F"/>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61" name="Freeform: Shape 60">
            <a:extLst>
              <a:ext uri="{FF2B5EF4-FFF2-40B4-BE49-F238E27FC236}">
                <a16:creationId xmlns:a16="http://schemas.microsoft.com/office/drawing/2014/main" id="{3A6098DF-26B1-445B-8224-F3047DA9F1C8}"/>
              </a:ext>
            </a:extLst>
          </p:cNvPr>
          <p:cNvSpPr/>
          <p:nvPr/>
        </p:nvSpPr>
        <p:spPr>
          <a:xfrm rot="5400000">
            <a:off x="5601704" y="3063863"/>
            <a:ext cx="3125285" cy="1562643"/>
          </a:xfrm>
          <a:custGeom>
            <a:avLst/>
            <a:gdLst>
              <a:gd name="connsiteX0" fmla="*/ 2062093 w 4124186"/>
              <a:gd name="connsiteY0" fmla="*/ 0 h 2062093"/>
              <a:gd name="connsiteX1" fmla="*/ 4124186 w 4124186"/>
              <a:gd name="connsiteY1" fmla="*/ 2062093 h 2062093"/>
              <a:gd name="connsiteX2" fmla="*/ 3711660 w 4124186"/>
              <a:gd name="connsiteY2" fmla="*/ 2062093 h 2062093"/>
              <a:gd name="connsiteX3" fmla="*/ 3228905 w 4124186"/>
              <a:gd name="connsiteY3" fmla="*/ 893977 h 2062093"/>
              <a:gd name="connsiteX4" fmla="*/ 3229087 w 4124186"/>
              <a:gd name="connsiteY4" fmla="*/ 893693 h 2062093"/>
              <a:gd name="connsiteX5" fmla="*/ 2062093 w 4124186"/>
              <a:gd name="connsiteY5" fmla="*/ 410102 h 2062093"/>
              <a:gd name="connsiteX6" fmla="*/ 896253 w 4124186"/>
              <a:gd name="connsiteY6" fmla="*/ 893693 h 2062093"/>
              <a:gd name="connsiteX7" fmla="*/ 895280 w 4124186"/>
              <a:gd name="connsiteY7" fmla="*/ 893977 h 2062093"/>
              <a:gd name="connsiteX8" fmla="*/ 412525 w 4124186"/>
              <a:gd name="connsiteY8" fmla="*/ 2062093 h 2062093"/>
              <a:gd name="connsiteX9" fmla="*/ 0 w 4124186"/>
              <a:gd name="connsiteY9" fmla="*/ 2062093 h 2062093"/>
              <a:gd name="connsiteX10" fmla="*/ 2062093 w 4124186"/>
              <a:gd name="connsiteY10" fmla="*/ 0 h 206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4186" h="2062093">
                <a:moveTo>
                  <a:pt x="2062093" y="0"/>
                </a:moveTo>
                <a:cubicBezTo>
                  <a:pt x="3200956" y="0"/>
                  <a:pt x="4124186" y="923230"/>
                  <a:pt x="4124186" y="2062093"/>
                </a:cubicBezTo>
                <a:lnTo>
                  <a:pt x="3711660" y="2062093"/>
                </a:lnTo>
                <a:cubicBezTo>
                  <a:pt x="3711660" y="1624050"/>
                  <a:pt x="3537868" y="1204102"/>
                  <a:pt x="3228905" y="893977"/>
                </a:cubicBezTo>
                <a:lnTo>
                  <a:pt x="3229087" y="893693"/>
                </a:lnTo>
                <a:cubicBezTo>
                  <a:pt x="2919425" y="584195"/>
                  <a:pt x="2500105" y="410102"/>
                  <a:pt x="2062093" y="410102"/>
                </a:cubicBezTo>
                <a:cubicBezTo>
                  <a:pt x="1624903" y="410102"/>
                  <a:pt x="1205773" y="584195"/>
                  <a:pt x="896253" y="893693"/>
                </a:cubicBezTo>
                <a:lnTo>
                  <a:pt x="895280" y="893977"/>
                </a:lnTo>
                <a:cubicBezTo>
                  <a:pt x="586317" y="1204102"/>
                  <a:pt x="412525" y="1624050"/>
                  <a:pt x="412525" y="2062093"/>
                </a:cubicBezTo>
                <a:lnTo>
                  <a:pt x="0" y="2062093"/>
                </a:lnTo>
                <a:cubicBezTo>
                  <a:pt x="0" y="923230"/>
                  <a:pt x="923230" y="0"/>
                  <a:pt x="2062093" y="0"/>
                </a:cubicBez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sz="1200" dirty="0">
              <a:solidFill>
                <a:prstClr val="white"/>
              </a:solidFill>
              <a:latin typeface="Open Sans" panose="020B0606030504020204"/>
            </a:endParaRPr>
          </a:p>
        </p:txBody>
      </p:sp>
      <p:sp>
        <p:nvSpPr>
          <p:cNvPr id="62" name="Freeform 5">
            <a:extLst>
              <a:ext uri="{FF2B5EF4-FFF2-40B4-BE49-F238E27FC236}">
                <a16:creationId xmlns:a16="http://schemas.microsoft.com/office/drawing/2014/main" id="{86B0B8A8-E331-42A6-A09B-86D969139A68}"/>
              </a:ext>
            </a:extLst>
          </p:cNvPr>
          <p:cNvSpPr>
            <a:spLocks/>
          </p:cNvSpPr>
          <p:nvPr/>
        </p:nvSpPr>
        <p:spPr bwMode="auto">
          <a:xfrm rot="16200000" flipH="1">
            <a:off x="4145417" y="3817517"/>
            <a:ext cx="1136835" cy="1192173"/>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rgbClr val="7E249F"/>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63" name="Freeform 6">
            <a:extLst>
              <a:ext uri="{FF2B5EF4-FFF2-40B4-BE49-F238E27FC236}">
                <a16:creationId xmlns:a16="http://schemas.microsoft.com/office/drawing/2014/main" id="{9D5376C4-F3A4-4412-81E9-D8099B31F3FE}"/>
              </a:ext>
            </a:extLst>
          </p:cNvPr>
          <p:cNvSpPr>
            <a:spLocks/>
          </p:cNvSpPr>
          <p:nvPr/>
        </p:nvSpPr>
        <p:spPr bwMode="auto">
          <a:xfrm rot="16200000" flipH="1">
            <a:off x="4423913" y="4468941"/>
            <a:ext cx="1342547" cy="1346157"/>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rgbClr val="00B6AD"/>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64" name="Freeform 7">
            <a:extLst>
              <a:ext uri="{FF2B5EF4-FFF2-40B4-BE49-F238E27FC236}">
                <a16:creationId xmlns:a16="http://schemas.microsoft.com/office/drawing/2014/main" id="{BDB70274-2217-4881-9E50-C2644685124B}"/>
              </a:ext>
            </a:extLst>
          </p:cNvPr>
          <p:cNvSpPr>
            <a:spLocks/>
          </p:cNvSpPr>
          <p:nvPr/>
        </p:nvSpPr>
        <p:spPr bwMode="auto">
          <a:xfrm rot="16200000" flipH="1">
            <a:off x="5229921" y="4953750"/>
            <a:ext cx="1189767" cy="1138037"/>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rgbClr val="7E249F"/>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65" name="Freeform 14">
            <a:extLst>
              <a:ext uri="{FF2B5EF4-FFF2-40B4-BE49-F238E27FC236}">
                <a16:creationId xmlns:a16="http://schemas.microsoft.com/office/drawing/2014/main" id="{194485D5-278B-43FE-9625-BB84C2836F36}"/>
              </a:ext>
            </a:extLst>
          </p:cNvPr>
          <p:cNvSpPr>
            <a:spLocks/>
          </p:cNvSpPr>
          <p:nvPr/>
        </p:nvSpPr>
        <p:spPr bwMode="auto">
          <a:xfrm rot="16200000" flipH="1">
            <a:off x="5229321" y="1599188"/>
            <a:ext cx="1190969" cy="1138037"/>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rgbClr val="00B6AD"/>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66" name="Freeform 15">
            <a:extLst>
              <a:ext uri="{FF2B5EF4-FFF2-40B4-BE49-F238E27FC236}">
                <a16:creationId xmlns:a16="http://schemas.microsoft.com/office/drawing/2014/main" id="{7261CB9D-C614-4F3D-9720-71F9C002D2BE}"/>
              </a:ext>
            </a:extLst>
          </p:cNvPr>
          <p:cNvSpPr>
            <a:spLocks/>
          </p:cNvSpPr>
          <p:nvPr/>
        </p:nvSpPr>
        <p:spPr bwMode="auto">
          <a:xfrm rot="16200000" flipH="1">
            <a:off x="4423310" y="1875878"/>
            <a:ext cx="1343751" cy="1346157"/>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rgbClr val="7E249F"/>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67" name="Freeform 16">
            <a:extLst>
              <a:ext uri="{FF2B5EF4-FFF2-40B4-BE49-F238E27FC236}">
                <a16:creationId xmlns:a16="http://schemas.microsoft.com/office/drawing/2014/main" id="{6547CE8C-4375-4C23-B605-14614739F8B0}"/>
              </a:ext>
            </a:extLst>
          </p:cNvPr>
          <p:cNvSpPr>
            <a:spLocks/>
          </p:cNvSpPr>
          <p:nvPr/>
        </p:nvSpPr>
        <p:spPr bwMode="auto">
          <a:xfrm rot="16200000" flipH="1">
            <a:off x="4146021" y="2681285"/>
            <a:ext cx="1135631" cy="1192173"/>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rgbClr val="00B6AD"/>
          </a:solidFill>
          <a:ln w="0">
            <a:noFill/>
            <a:prstDash val="solid"/>
            <a:round/>
            <a:headEnd/>
            <a:tailEnd/>
          </a:ln>
        </p:spPr>
        <p:txBody>
          <a:bodyPr vert="horz" wrap="square" lIns="45720" tIns="22860" rIns="45720" bIns="22860" numCol="1" anchor="t" anchorCtr="0" compatLnSpc="1">
            <a:prstTxWarp prst="textNoShape">
              <a:avLst/>
            </a:prstTxWarp>
          </a:bodyPr>
          <a:lstStyle/>
          <a:p>
            <a:pPr defTabSz="914194"/>
            <a:endParaRPr lang="en-US" sz="1200" dirty="0">
              <a:solidFill>
                <a:prstClr val="black"/>
              </a:solidFill>
              <a:latin typeface="Open Sans" panose="020B0606030504020204"/>
            </a:endParaRPr>
          </a:p>
        </p:txBody>
      </p:sp>
      <p:sp>
        <p:nvSpPr>
          <p:cNvPr id="68" name="Freeform: Shape 67">
            <a:extLst>
              <a:ext uri="{FF2B5EF4-FFF2-40B4-BE49-F238E27FC236}">
                <a16:creationId xmlns:a16="http://schemas.microsoft.com/office/drawing/2014/main" id="{140EDACA-470F-4610-8307-9C35040E01C8}"/>
              </a:ext>
            </a:extLst>
          </p:cNvPr>
          <p:cNvSpPr/>
          <p:nvPr/>
        </p:nvSpPr>
        <p:spPr>
          <a:xfrm rot="16200000" flipH="1">
            <a:off x="4049859" y="3063863"/>
            <a:ext cx="3125285" cy="1562643"/>
          </a:xfrm>
          <a:custGeom>
            <a:avLst/>
            <a:gdLst>
              <a:gd name="connsiteX0" fmla="*/ 2062093 w 4124186"/>
              <a:gd name="connsiteY0" fmla="*/ 0 h 2062093"/>
              <a:gd name="connsiteX1" fmla="*/ 4124186 w 4124186"/>
              <a:gd name="connsiteY1" fmla="*/ 2062093 h 2062093"/>
              <a:gd name="connsiteX2" fmla="*/ 3711660 w 4124186"/>
              <a:gd name="connsiteY2" fmla="*/ 2062093 h 2062093"/>
              <a:gd name="connsiteX3" fmla="*/ 3228905 w 4124186"/>
              <a:gd name="connsiteY3" fmla="*/ 893977 h 2062093"/>
              <a:gd name="connsiteX4" fmla="*/ 3229087 w 4124186"/>
              <a:gd name="connsiteY4" fmla="*/ 893693 h 2062093"/>
              <a:gd name="connsiteX5" fmla="*/ 2062093 w 4124186"/>
              <a:gd name="connsiteY5" fmla="*/ 410102 h 2062093"/>
              <a:gd name="connsiteX6" fmla="*/ 896253 w 4124186"/>
              <a:gd name="connsiteY6" fmla="*/ 893693 h 2062093"/>
              <a:gd name="connsiteX7" fmla="*/ 895280 w 4124186"/>
              <a:gd name="connsiteY7" fmla="*/ 893977 h 2062093"/>
              <a:gd name="connsiteX8" fmla="*/ 412525 w 4124186"/>
              <a:gd name="connsiteY8" fmla="*/ 2062093 h 2062093"/>
              <a:gd name="connsiteX9" fmla="*/ 0 w 4124186"/>
              <a:gd name="connsiteY9" fmla="*/ 2062093 h 2062093"/>
              <a:gd name="connsiteX10" fmla="*/ 2062093 w 4124186"/>
              <a:gd name="connsiteY10" fmla="*/ 0 h 206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4186" h="2062093">
                <a:moveTo>
                  <a:pt x="2062093" y="0"/>
                </a:moveTo>
                <a:cubicBezTo>
                  <a:pt x="3200956" y="0"/>
                  <a:pt x="4124186" y="923230"/>
                  <a:pt x="4124186" y="2062093"/>
                </a:cubicBezTo>
                <a:lnTo>
                  <a:pt x="3711660" y="2062093"/>
                </a:lnTo>
                <a:cubicBezTo>
                  <a:pt x="3711660" y="1624050"/>
                  <a:pt x="3537868" y="1204102"/>
                  <a:pt x="3228905" y="893977"/>
                </a:cubicBezTo>
                <a:lnTo>
                  <a:pt x="3229087" y="893693"/>
                </a:lnTo>
                <a:cubicBezTo>
                  <a:pt x="2919425" y="584195"/>
                  <a:pt x="2500105" y="410102"/>
                  <a:pt x="2062093" y="410102"/>
                </a:cubicBezTo>
                <a:cubicBezTo>
                  <a:pt x="1624903" y="410102"/>
                  <a:pt x="1205773" y="584195"/>
                  <a:pt x="896253" y="893693"/>
                </a:cubicBezTo>
                <a:lnTo>
                  <a:pt x="895280" y="893977"/>
                </a:lnTo>
                <a:cubicBezTo>
                  <a:pt x="586317" y="1204102"/>
                  <a:pt x="412525" y="1624050"/>
                  <a:pt x="412525" y="2062093"/>
                </a:cubicBezTo>
                <a:lnTo>
                  <a:pt x="0" y="2062093"/>
                </a:lnTo>
                <a:cubicBezTo>
                  <a:pt x="0" y="923230"/>
                  <a:pt x="923230" y="0"/>
                  <a:pt x="2062093" y="0"/>
                </a:cubicBez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sz="1200" dirty="0">
              <a:solidFill>
                <a:prstClr val="white"/>
              </a:solidFill>
              <a:latin typeface="Open Sans" panose="020B0606030504020204"/>
            </a:endParaRPr>
          </a:p>
        </p:txBody>
      </p:sp>
      <p:sp>
        <p:nvSpPr>
          <p:cNvPr id="69" name="TextBox 68">
            <a:extLst>
              <a:ext uri="{FF2B5EF4-FFF2-40B4-BE49-F238E27FC236}">
                <a16:creationId xmlns:a16="http://schemas.microsoft.com/office/drawing/2014/main" id="{738A419A-740F-4CB4-A7A2-60874091BBE0}"/>
              </a:ext>
            </a:extLst>
          </p:cNvPr>
          <p:cNvSpPr txBox="1"/>
          <p:nvPr/>
        </p:nvSpPr>
        <p:spPr>
          <a:xfrm>
            <a:off x="7229919" y="6137038"/>
            <a:ext cx="2330740" cy="226881"/>
          </a:xfrm>
          <a:prstGeom prst="rect">
            <a:avLst/>
          </a:prstGeom>
          <a:noFill/>
        </p:spPr>
        <p:txBody>
          <a:bodyPr wrap="none" lIns="0" rIns="0" rtlCol="0" anchor="b">
            <a:noAutofit/>
          </a:bodyPr>
          <a:lstStyle/>
          <a:p>
            <a:pPr defTabSz="914194"/>
            <a:r>
              <a:rPr lang="en-US" sz="1200" b="1" noProof="1">
                <a:solidFill>
                  <a:srgbClr val="00B6AD"/>
                </a:solidFill>
                <a:latin typeface="Open Sans" panose="020B0606030504020204"/>
              </a:rPr>
              <a:t>CLAIMS &amp; ENCOUNTERS</a:t>
            </a:r>
          </a:p>
        </p:txBody>
      </p:sp>
      <p:sp>
        <p:nvSpPr>
          <p:cNvPr id="70" name="TextBox 69">
            <a:extLst>
              <a:ext uri="{FF2B5EF4-FFF2-40B4-BE49-F238E27FC236}">
                <a16:creationId xmlns:a16="http://schemas.microsoft.com/office/drawing/2014/main" id="{FAC90B71-2330-43F5-B26A-C825FC2F5281}"/>
              </a:ext>
            </a:extLst>
          </p:cNvPr>
          <p:cNvSpPr txBox="1"/>
          <p:nvPr/>
        </p:nvSpPr>
        <p:spPr>
          <a:xfrm>
            <a:off x="7326025" y="1343735"/>
            <a:ext cx="2666153" cy="226881"/>
          </a:xfrm>
          <a:prstGeom prst="rect">
            <a:avLst/>
          </a:prstGeom>
          <a:noFill/>
        </p:spPr>
        <p:txBody>
          <a:bodyPr wrap="none" lIns="0" rIns="0" rtlCol="0" anchor="b">
            <a:noAutofit/>
          </a:bodyPr>
          <a:lstStyle/>
          <a:p>
            <a:pPr defTabSz="914194"/>
            <a:r>
              <a:rPr lang="en-US" sz="1200" b="1" noProof="1">
                <a:solidFill>
                  <a:srgbClr val="7E249F"/>
                </a:solidFill>
                <a:latin typeface="Open Sans" panose="020B0606030504020204"/>
              </a:rPr>
              <a:t>POPULATION HEALTH MANAGEMENT</a:t>
            </a:r>
          </a:p>
        </p:txBody>
      </p:sp>
      <p:sp>
        <p:nvSpPr>
          <p:cNvPr id="71" name="TextBox 70">
            <a:extLst>
              <a:ext uri="{FF2B5EF4-FFF2-40B4-BE49-F238E27FC236}">
                <a16:creationId xmlns:a16="http://schemas.microsoft.com/office/drawing/2014/main" id="{3750927D-167C-4A32-887B-B6222E1E8ECC}"/>
              </a:ext>
            </a:extLst>
          </p:cNvPr>
          <p:cNvSpPr txBox="1"/>
          <p:nvPr/>
        </p:nvSpPr>
        <p:spPr>
          <a:xfrm>
            <a:off x="8334449" y="5413040"/>
            <a:ext cx="2384680" cy="226881"/>
          </a:xfrm>
          <a:prstGeom prst="rect">
            <a:avLst/>
          </a:prstGeom>
          <a:noFill/>
        </p:spPr>
        <p:txBody>
          <a:bodyPr wrap="none" lIns="0" rIns="0" rtlCol="0" anchor="b">
            <a:noAutofit/>
          </a:bodyPr>
          <a:lstStyle/>
          <a:p>
            <a:pPr defTabSz="914194"/>
            <a:r>
              <a:rPr lang="en-US" sz="1200" b="1" noProof="1">
                <a:solidFill>
                  <a:srgbClr val="7E249F"/>
                </a:solidFill>
                <a:latin typeface="Open Sans" panose="020B0606030504020204"/>
              </a:rPr>
              <a:t>PAYER INTEROPERABILITY</a:t>
            </a:r>
          </a:p>
        </p:txBody>
      </p:sp>
      <p:sp>
        <p:nvSpPr>
          <p:cNvPr id="72" name="TextBox 71">
            <a:extLst>
              <a:ext uri="{FF2B5EF4-FFF2-40B4-BE49-F238E27FC236}">
                <a16:creationId xmlns:a16="http://schemas.microsoft.com/office/drawing/2014/main" id="{AE7157C3-45B5-4033-957A-FB59A40199BD}"/>
              </a:ext>
            </a:extLst>
          </p:cNvPr>
          <p:cNvSpPr txBox="1"/>
          <p:nvPr/>
        </p:nvSpPr>
        <p:spPr>
          <a:xfrm>
            <a:off x="8362853" y="2130223"/>
            <a:ext cx="1962159" cy="226881"/>
          </a:xfrm>
          <a:prstGeom prst="rect">
            <a:avLst/>
          </a:prstGeom>
          <a:noFill/>
        </p:spPr>
        <p:txBody>
          <a:bodyPr wrap="none" lIns="0" rIns="0" rtlCol="0" anchor="b">
            <a:noAutofit/>
          </a:bodyPr>
          <a:lstStyle/>
          <a:p>
            <a:pPr defTabSz="914194"/>
            <a:r>
              <a:rPr lang="en-US" sz="1200" b="1" noProof="1">
                <a:solidFill>
                  <a:srgbClr val="00B6AD"/>
                </a:solidFill>
                <a:latin typeface="Open Sans" panose="020B0606030504020204"/>
              </a:rPr>
              <a:t>MEMBER ELIGIBILITY </a:t>
            </a:r>
          </a:p>
        </p:txBody>
      </p:sp>
      <p:sp>
        <p:nvSpPr>
          <p:cNvPr id="73" name="TextBox 72">
            <a:extLst>
              <a:ext uri="{FF2B5EF4-FFF2-40B4-BE49-F238E27FC236}">
                <a16:creationId xmlns:a16="http://schemas.microsoft.com/office/drawing/2014/main" id="{4A57FEFB-A153-471C-BEAE-6FA2F1858CF6}"/>
              </a:ext>
            </a:extLst>
          </p:cNvPr>
          <p:cNvSpPr txBox="1"/>
          <p:nvPr/>
        </p:nvSpPr>
        <p:spPr>
          <a:xfrm>
            <a:off x="8885502" y="4360132"/>
            <a:ext cx="2630119" cy="226881"/>
          </a:xfrm>
          <a:prstGeom prst="rect">
            <a:avLst/>
          </a:prstGeom>
          <a:noFill/>
        </p:spPr>
        <p:txBody>
          <a:bodyPr wrap="none" lIns="0" rIns="0" rtlCol="0" anchor="b">
            <a:noAutofit/>
          </a:bodyPr>
          <a:lstStyle/>
          <a:p>
            <a:pPr defTabSz="914194"/>
            <a:r>
              <a:rPr lang="en-US" sz="1200" b="1" noProof="1">
                <a:solidFill>
                  <a:srgbClr val="00B6AD"/>
                </a:solidFill>
                <a:latin typeface="Open Sans" panose="020B0606030504020204"/>
              </a:rPr>
              <a:t>ENTERPRISE EDI SOLUTIONS</a:t>
            </a:r>
          </a:p>
        </p:txBody>
      </p:sp>
      <p:sp>
        <p:nvSpPr>
          <p:cNvPr id="74" name="TextBox 73">
            <a:extLst>
              <a:ext uri="{FF2B5EF4-FFF2-40B4-BE49-F238E27FC236}">
                <a16:creationId xmlns:a16="http://schemas.microsoft.com/office/drawing/2014/main" id="{1BA3B8CB-82D4-4D26-B85B-58A5DFDCA955}"/>
              </a:ext>
            </a:extLst>
          </p:cNvPr>
          <p:cNvSpPr txBox="1"/>
          <p:nvPr/>
        </p:nvSpPr>
        <p:spPr>
          <a:xfrm>
            <a:off x="8849775" y="3136844"/>
            <a:ext cx="2001172" cy="226881"/>
          </a:xfrm>
          <a:prstGeom prst="rect">
            <a:avLst/>
          </a:prstGeom>
          <a:noFill/>
        </p:spPr>
        <p:txBody>
          <a:bodyPr wrap="none" lIns="0" rIns="0" rtlCol="0" anchor="b">
            <a:noAutofit/>
          </a:bodyPr>
          <a:lstStyle/>
          <a:p>
            <a:pPr defTabSz="914194"/>
            <a:r>
              <a:rPr lang="en-US" sz="1200" b="1" noProof="1">
                <a:solidFill>
                  <a:srgbClr val="7E249F"/>
                </a:solidFill>
                <a:latin typeface="Open Sans" panose="020B0606030504020204"/>
              </a:rPr>
              <a:t>MEDICAL MANAGEMENT</a:t>
            </a:r>
          </a:p>
        </p:txBody>
      </p:sp>
      <p:sp>
        <p:nvSpPr>
          <p:cNvPr id="75" name="TextBox 74">
            <a:extLst>
              <a:ext uri="{FF2B5EF4-FFF2-40B4-BE49-F238E27FC236}">
                <a16:creationId xmlns:a16="http://schemas.microsoft.com/office/drawing/2014/main" id="{26CF0E54-494D-4EC9-A98E-FCDBF50DC72A}"/>
              </a:ext>
            </a:extLst>
          </p:cNvPr>
          <p:cNvSpPr txBox="1"/>
          <p:nvPr/>
        </p:nvSpPr>
        <p:spPr>
          <a:xfrm flipH="1">
            <a:off x="2133324" y="6095022"/>
            <a:ext cx="3377769" cy="276999"/>
          </a:xfrm>
          <a:prstGeom prst="rect">
            <a:avLst/>
          </a:prstGeom>
          <a:noFill/>
        </p:spPr>
        <p:txBody>
          <a:bodyPr wrap="square" lIns="0" rIns="0" rtlCol="0" anchor="b">
            <a:spAutoFit/>
          </a:bodyPr>
          <a:lstStyle/>
          <a:p>
            <a:pPr algn="r" defTabSz="914194"/>
            <a:r>
              <a:rPr lang="en-US" sz="1200" b="1" noProof="1">
                <a:solidFill>
                  <a:srgbClr val="7E249F"/>
                </a:solidFill>
                <a:latin typeface="Open Sans" panose="020B0606030504020204"/>
              </a:rPr>
              <a:t>AUTOMATION AND INTEROPERABILITY</a:t>
            </a:r>
          </a:p>
        </p:txBody>
      </p:sp>
      <p:sp>
        <p:nvSpPr>
          <p:cNvPr id="76" name="TextBox 75">
            <a:extLst>
              <a:ext uri="{FF2B5EF4-FFF2-40B4-BE49-F238E27FC236}">
                <a16:creationId xmlns:a16="http://schemas.microsoft.com/office/drawing/2014/main" id="{69ED6151-7712-4BBF-8FDF-7B2D0AFD247D}"/>
              </a:ext>
            </a:extLst>
          </p:cNvPr>
          <p:cNvSpPr txBox="1"/>
          <p:nvPr/>
        </p:nvSpPr>
        <p:spPr>
          <a:xfrm flipH="1">
            <a:off x="2494650" y="1309822"/>
            <a:ext cx="2886004" cy="276999"/>
          </a:xfrm>
          <a:prstGeom prst="rect">
            <a:avLst/>
          </a:prstGeom>
          <a:noFill/>
        </p:spPr>
        <p:txBody>
          <a:bodyPr wrap="square" lIns="0" rIns="0" rtlCol="0" anchor="b">
            <a:spAutoFit/>
          </a:bodyPr>
          <a:lstStyle/>
          <a:p>
            <a:pPr algn="r" defTabSz="914194"/>
            <a:r>
              <a:rPr lang="en-US" sz="1200" b="1" noProof="1">
                <a:solidFill>
                  <a:srgbClr val="00B6AD"/>
                </a:solidFill>
                <a:latin typeface="Open Sans" panose="020B0606030504020204"/>
              </a:rPr>
              <a:t>APPEALS AND GRIEVANCES</a:t>
            </a:r>
          </a:p>
        </p:txBody>
      </p:sp>
      <p:sp>
        <p:nvSpPr>
          <p:cNvPr id="77" name="TextBox 76">
            <a:extLst>
              <a:ext uri="{FF2B5EF4-FFF2-40B4-BE49-F238E27FC236}">
                <a16:creationId xmlns:a16="http://schemas.microsoft.com/office/drawing/2014/main" id="{E25C772A-4202-40C9-9311-B0B2DB1C3BAD}"/>
              </a:ext>
            </a:extLst>
          </p:cNvPr>
          <p:cNvSpPr txBox="1"/>
          <p:nvPr/>
        </p:nvSpPr>
        <p:spPr>
          <a:xfrm flipH="1">
            <a:off x="677755" y="5392133"/>
            <a:ext cx="3805092" cy="276999"/>
          </a:xfrm>
          <a:prstGeom prst="rect">
            <a:avLst/>
          </a:prstGeom>
          <a:noFill/>
        </p:spPr>
        <p:txBody>
          <a:bodyPr wrap="square" lIns="0" rIns="0" rtlCol="0" anchor="b">
            <a:spAutoFit/>
          </a:bodyPr>
          <a:lstStyle/>
          <a:p>
            <a:pPr algn="r" defTabSz="914194"/>
            <a:r>
              <a:rPr lang="en-US" sz="1200" b="1" noProof="1">
                <a:solidFill>
                  <a:srgbClr val="00B6AD"/>
                </a:solidFill>
                <a:latin typeface="Open Sans" panose="020B0606030504020204"/>
              </a:rPr>
              <a:t>IT SERVICES/SUPPORT &amp; STAFF AUGMENTATION</a:t>
            </a:r>
          </a:p>
        </p:txBody>
      </p:sp>
      <p:sp>
        <p:nvSpPr>
          <p:cNvPr id="78" name="TextBox 77">
            <a:extLst>
              <a:ext uri="{FF2B5EF4-FFF2-40B4-BE49-F238E27FC236}">
                <a16:creationId xmlns:a16="http://schemas.microsoft.com/office/drawing/2014/main" id="{9C3208BB-F1BF-4CAA-A4BB-1C911D5E5197}"/>
              </a:ext>
            </a:extLst>
          </p:cNvPr>
          <p:cNvSpPr txBox="1"/>
          <p:nvPr/>
        </p:nvSpPr>
        <p:spPr>
          <a:xfrm flipH="1">
            <a:off x="1614329" y="2088206"/>
            <a:ext cx="2710792" cy="276999"/>
          </a:xfrm>
          <a:prstGeom prst="rect">
            <a:avLst/>
          </a:prstGeom>
          <a:noFill/>
        </p:spPr>
        <p:txBody>
          <a:bodyPr wrap="square" lIns="0" rIns="0" rtlCol="0" anchor="b">
            <a:spAutoFit/>
          </a:bodyPr>
          <a:lstStyle/>
          <a:p>
            <a:pPr algn="r" defTabSz="914194"/>
            <a:r>
              <a:rPr lang="en-US" sz="1200" b="1" noProof="1">
                <a:solidFill>
                  <a:srgbClr val="7E249F"/>
                </a:solidFill>
                <a:latin typeface="Open Sans" panose="020B0606030504020204"/>
              </a:rPr>
              <a:t>UTILIZATION MANAGEMENT</a:t>
            </a:r>
          </a:p>
        </p:txBody>
      </p:sp>
      <p:sp>
        <p:nvSpPr>
          <p:cNvPr id="79" name="TextBox 78">
            <a:extLst>
              <a:ext uri="{FF2B5EF4-FFF2-40B4-BE49-F238E27FC236}">
                <a16:creationId xmlns:a16="http://schemas.microsoft.com/office/drawing/2014/main" id="{4D28C146-C0D1-4C0B-B04C-4E046A11AEA0}"/>
              </a:ext>
            </a:extLst>
          </p:cNvPr>
          <p:cNvSpPr txBox="1"/>
          <p:nvPr/>
        </p:nvSpPr>
        <p:spPr>
          <a:xfrm flipH="1">
            <a:off x="2135384" y="4311084"/>
            <a:ext cx="1824189" cy="276999"/>
          </a:xfrm>
          <a:prstGeom prst="rect">
            <a:avLst/>
          </a:prstGeom>
          <a:noFill/>
        </p:spPr>
        <p:txBody>
          <a:bodyPr wrap="square" lIns="0" rIns="0" rtlCol="0" anchor="b">
            <a:spAutoFit/>
          </a:bodyPr>
          <a:lstStyle/>
          <a:p>
            <a:pPr algn="r" defTabSz="914194"/>
            <a:r>
              <a:rPr lang="en-US" sz="1200" b="1" noProof="1">
                <a:solidFill>
                  <a:srgbClr val="7E249F"/>
                </a:solidFill>
                <a:latin typeface="Open Sans" panose="020B0606030504020204"/>
              </a:rPr>
              <a:t>CARE MANAGEMENT</a:t>
            </a:r>
          </a:p>
        </p:txBody>
      </p:sp>
      <p:sp>
        <p:nvSpPr>
          <p:cNvPr id="80" name="TextBox 79">
            <a:extLst>
              <a:ext uri="{FF2B5EF4-FFF2-40B4-BE49-F238E27FC236}">
                <a16:creationId xmlns:a16="http://schemas.microsoft.com/office/drawing/2014/main" id="{60BD055C-163A-4619-A6AA-B989F484CCBA}"/>
              </a:ext>
            </a:extLst>
          </p:cNvPr>
          <p:cNvSpPr txBox="1"/>
          <p:nvPr/>
        </p:nvSpPr>
        <p:spPr>
          <a:xfrm flipH="1">
            <a:off x="1950487" y="3094968"/>
            <a:ext cx="1985195" cy="276999"/>
          </a:xfrm>
          <a:prstGeom prst="rect">
            <a:avLst/>
          </a:prstGeom>
          <a:noFill/>
        </p:spPr>
        <p:txBody>
          <a:bodyPr wrap="square" lIns="0" rIns="0" rtlCol="0" anchor="b">
            <a:spAutoFit/>
          </a:bodyPr>
          <a:lstStyle/>
          <a:p>
            <a:pPr algn="r" defTabSz="914194"/>
            <a:r>
              <a:rPr lang="en-US" sz="1200" b="1" noProof="1">
                <a:solidFill>
                  <a:srgbClr val="00B6AD"/>
                </a:solidFill>
                <a:latin typeface="Open Sans" panose="020B0606030504020204"/>
              </a:rPr>
              <a:t>DISEASE MANAGEMENT </a:t>
            </a:r>
          </a:p>
        </p:txBody>
      </p:sp>
      <p:pic>
        <p:nvPicPr>
          <p:cNvPr id="81" name="Picture 80" descr="Shape&#10;&#10;Description automatically generated">
            <a:extLst>
              <a:ext uri="{FF2B5EF4-FFF2-40B4-BE49-F238E27FC236}">
                <a16:creationId xmlns:a16="http://schemas.microsoft.com/office/drawing/2014/main" id="{F115E9AA-EA43-46FA-88AF-7B0963D9022A}"/>
              </a:ext>
            </a:extLst>
          </p:cNvPr>
          <p:cNvPicPr>
            <a:picLocks noChangeAspect="1"/>
          </p:cNvPicPr>
          <p:nvPr/>
        </p:nvPicPr>
        <p:blipFill>
          <a:blip r:embed="rId2" cstate="screen">
            <a:lum bright="70000" contrast="-70000"/>
            <a:extLst>
              <a:ext uri="{28A0092B-C50C-407E-A947-70E740481C1C}">
                <a14:useLocalDpi xmlns:a14="http://schemas.microsoft.com/office/drawing/2010/main"/>
              </a:ext>
            </a:extLst>
          </a:blip>
          <a:stretch>
            <a:fillRect/>
          </a:stretch>
        </p:blipFill>
        <p:spPr>
          <a:xfrm>
            <a:off x="6734810" y="1838632"/>
            <a:ext cx="321391" cy="321391"/>
          </a:xfrm>
          <a:prstGeom prst="rect">
            <a:avLst/>
          </a:prstGeom>
        </p:spPr>
      </p:pic>
      <p:pic>
        <p:nvPicPr>
          <p:cNvPr id="82" name="Picture 81">
            <a:extLst>
              <a:ext uri="{FF2B5EF4-FFF2-40B4-BE49-F238E27FC236}">
                <a16:creationId xmlns:a16="http://schemas.microsoft.com/office/drawing/2014/main" id="{C604A918-C19D-4AD4-82C8-E7F5D6A5492B}"/>
              </a:ext>
            </a:extLst>
          </p:cNvPr>
          <p:cNvPicPr>
            <a:picLocks noChangeAspect="1"/>
          </p:cNvPicPr>
          <p:nvPr/>
        </p:nvPicPr>
        <p:blipFill rotWithShape="1">
          <a:blip r:embed="rId3"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p:blipFill>
        <p:spPr>
          <a:xfrm>
            <a:off x="7502562" y="2248895"/>
            <a:ext cx="461607" cy="460660"/>
          </a:xfrm>
          <a:prstGeom prst="ellipse">
            <a:avLst/>
          </a:prstGeom>
        </p:spPr>
      </p:pic>
      <p:pic>
        <p:nvPicPr>
          <p:cNvPr id="83" name="Picture 82">
            <a:extLst>
              <a:ext uri="{FF2B5EF4-FFF2-40B4-BE49-F238E27FC236}">
                <a16:creationId xmlns:a16="http://schemas.microsoft.com/office/drawing/2014/main" id="{719E55B5-65DF-4828-BD8B-57D900B923DF}"/>
              </a:ext>
            </a:extLst>
          </p:cNvPr>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7980847" y="3162345"/>
            <a:ext cx="520664" cy="520664"/>
          </a:xfrm>
          <a:prstGeom prst="rect">
            <a:avLst/>
          </a:prstGeom>
        </p:spPr>
      </p:pic>
      <p:pic>
        <p:nvPicPr>
          <p:cNvPr id="84" name="Picture 83" descr="A close up of a logo&#10;&#10;Description automatically generated">
            <a:extLst>
              <a:ext uri="{FF2B5EF4-FFF2-40B4-BE49-F238E27FC236}">
                <a16:creationId xmlns:a16="http://schemas.microsoft.com/office/drawing/2014/main" id="{3934B194-5B0D-4CAE-A877-F9EDAD4573DB}"/>
              </a:ext>
            </a:extLst>
          </p:cNvPr>
          <p:cNvPicPr>
            <a:picLocks noChangeAspect="1"/>
          </p:cNvPicPr>
          <p:nvPr/>
        </p:nvPicPr>
        <p:blipFill>
          <a:blip r:embed="rId5" cstate="screen">
            <a:lum bright="70000" contrast="-70000"/>
            <a:extLst>
              <a:ext uri="{28A0092B-C50C-407E-A947-70E740481C1C}">
                <a14:useLocalDpi xmlns:a14="http://schemas.microsoft.com/office/drawing/2010/main"/>
              </a:ext>
            </a:extLst>
          </a:blip>
          <a:stretch>
            <a:fillRect/>
          </a:stretch>
        </p:blipFill>
        <p:spPr>
          <a:xfrm>
            <a:off x="8063302" y="4140961"/>
            <a:ext cx="374956" cy="374956"/>
          </a:xfrm>
          <a:prstGeom prst="rect">
            <a:avLst/>
          </a:prstGeom>
        </p:spPr>
      </p:pic>
      <p:pic>
        <p:nvPicPr>
          <p:cNvPr id="85" name="Picture 84" descr="A picture containing drawing&#10;&#10;Description automatically generated">
            <a:extLst>
              <a:ext uri="{FF2B5EF4-FFF2-40B4-BE49-F238E27FC236}">
                <a16:creationId xmlns:a16="http://schemas.microsoft.com/office/drawing/2014/main" id="{3BB9AB0D-31D7-460B-9858-F40CC1A4D34F}"/>
              </a:ext>
            </a:extLst>
          </p:cNvPr>
          <p:cNvPicPr>
            <a:picLocks noChangeAspect="1"/>
          </p:cNvPicPr>
          <p:nvPr/>
        </p:nvPicPr>
        <p:blipFill rotWithShape="1">
          <a:blip r:embed="rId6"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l="22485" t="20128" r="23212"/>
          <a:stretch/>
        </p:blipFill>
        <p:spPr>
          <a:xfrm>
            <a:off x="7538516" y="4982151"/>
            <a:ext cx="445609" cy="436160"/>
          </a:xfrm>
          <a:prstGeom prst="rect">
            <a:avLst/>
          </a:prstGeom>
        </p:spPr>
      </p:pic>
      <p:pic>
        <p:nvPicPr>
          <p:cNvPr id="86" name="Picture 6" descr="Claim icon PNG and SVG Vector Free Download">
            <a:hlinkClick r:id="rId7"/>
            <a:extLst>
              <a:ext uri="{FF2B5EF4-FFF2-40B4-BE49-F238E27FC236}">
                <a16:creationId xmlns:a16="http://schemas.microsoft.com/office/drawing/2014/main" id="{8DF09EA4-02F0-4F2F-ADF3-80CFAF21FEAB}"/>
              </a:ext>
            </a:extLst>
          </p:cNvPr>
          <p:cNvPicPr>
            <a:picLocks noChangeAspect="1" noChangeArrowheads="1"/>
          </p:cNvPicPr>
          <p:nvPr/>
        </p:nvPicPr>
        <p:blipFill>
          <a:blip r:embed="rId8"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6755515" y="5507654"/>
            <a:ext cx="264371" cy="336109"/>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a:extLst>
              <a:ext uri="{FF2B5EF4-FFF2-40B4-BE49-F238E27FC236}">
                <a16:creationId xmlns:a16="http://schemas.microsoft.com/office/drawing/2014/main" id="{733D272F-7DB3-4301-81C0-812BA722D775}"/>
              </a:ext>
            </a:extLst>
          </p:cNvPr>
          <p:cNvPicPr>
            <a:picLocks noChangeAspect="1"/>
          </p:cNvPicPr>
          <p:nvPr/>
        </p:nvPicPr>
        <p:blipFill>
          <a:blip r:embed="rId9" cstate="screen">
            <a:lum bright="70000" contrast="-70000"/>
            <a:extLst>
              <a:ext uri="{28A0092B-C50C-407E-A947-70E740481C1C}">
                <a14:useLocalDpi xmlns:a14="http://schemas.microsoft.com/office/drawing/2010/main"/>
              </a:ext>
            </a:extLst>
          </a:blip>
          <a:stretch>
            <a:fillRect/>
          </a:stretch>
        </p:blipFill>
        <p:spPr>
          <a:xfrm>
            <a:off x="5777757" y="5522934"/>
            <a:ext cx="305553" cy="305553"/>
          </a:xfrm>
          <a:prstGeom prst="rect">
            <a:avLst/>
          </a:prstGeom>
        </p:spPr>
      </p:pic>
      <p:pic>
        <p:nvPicPr>
          <p:cNvPr id="88" name="Picture 87" descr="Icon&#10;&#10;Description automatically generated">
            <a:extLst>
              <a:ext uri="{FF2B5EF4-FFF2-40B4-BE49-F238E27FC236}">
                <a16:creationId xmlns:a16="http://schemas.microsoft.com/office/drawing/2014/main" id="{37A2D13A-03C0-4896-90A5-D182A7B516E1}"/>
              </a:ext>
            </a:extLst>
          </p:cNvPr>
          <p:cNvPicPr>
            <a:picLocks noChangeAspect="1"/>
          </p:cNvPicPr>
          <p:nvPr/>
        </p:nvPicPr>
        <p:blipFill rotWithShape="1">
          <a:blip r:embed="rId10"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p:blipFill>
        <p:spPr>
          <a:xfrm>
            <a:off x="4878271" y="4993555"/>
            <a:ext cx="279283" cy="353287"/>
          </a:xfrm>
          <a:prstGeom prst="rect">
            <a:avLst/>
          </a:prstGeom>
        </p:spPr>
      </p:pic>
      <p:pic>
        <p:nvPicPr>
          <p:cNvPr id="89" name="Picture 88" descr="Icon&#10;&#10;Description automatically generated">
            <a:extLst>
              <a:ext uri="{FF2B5EF4-FFF2-40B4-BE49-F238E27FC236}">
                <a16:creationId xmlns:a16="http://schemas.microsoft.com/office/drawing/2014/main" id="{A95B4D69-C840-44D1-B67E-A442BD42D5E9}"/>
              </a:ext>
            </a:extLst>
          </p:cNvPr>
          <p:cNvPicPr>
            <a:picLocks noChangeAspect="1"/>
          </p:cNvPicPr>
          <p:nvPr/>
        </p:nvPicPr>
        <p:blipFill rotWithShape="1">
          <a:blip r:embed="rId11"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p:blipFill>
        <p:spPr>
          <a:xfrm>
            <a:off x="4334661" y="4133323"/>
            <a:ext cx="418993" cy="395739"/>
          </a:xfrm>
          <a:prstGeom prst="rect">
            <a:avLst/>
          </a:prstGeom>
        </p:spPr>
      </p:pic>
      <p:pic>
        <p:nvPicPr>
          <p:cNvPr id="90" name="Picture 89">
            <a:extLst>
              <a:ext uri="{FF2B5EF4-FFF2-40B4-BE49-F238E27FC236}">
                <a16:creationId xmlns:a16="http://schemas.microsoft.com/office/drawing/2014/main" id="{0600F75C-232A-48E1-A481-558E46144DE0}"/>
              </a:ext>
            </a:extLst>
          </p:cNvPr>
          <p:cNvPicPr>
            <a:picLocks noChangeAspect="1"/>
          </p:cNvPicPr>
          <p:nvPr/>
        </p:nvPicPr>
        <p:blipFill>
          <a:blip r:embed="rId12" cstate="screen">
            <a:lum bright="70000" contrast="-70000"/>
            <a:extLst>
              <a:ext uri="{28A0092B-C50C-407E-A947-70E740481C1C}">
                <a14:useLocalDpi xmlns:a14="http://schemas.microsoft.com/office/drawing/2010/main"/>
              </a:ext>
            </a:extLst>
          </a:blip>
          <a:stretch>
            <a:fillRect/>
          </a:stretch>
        </p:blipFill>
        <p:spPr>
          <a:xfrm>
            <a:off x="4351108" y="3181815"/>
            <a:ext cx="435312" cy="435312"/>
          </a:xfrm>
          <a:prstGeom prst="rect">
            <a:avLst/>
          </a:prstGeom>
        </p:spPr>
      </p:pic>
      <p:pic>
        <p:nvPicPr>
          <p:cNvPr id="91" name="Picture 90">
            <a:extLst>
              <a:ext uri="{FF2B5EF4-FFF2-40B4-BE49-F238E27FC236}">
                <a16:creationId xmlns:a16="http://schemas.microsoft.com/office/drawing/2014/main" id="{4F876103-B2EE-446F-B5D8-7CB723356135}"/>
              </a:ext>
            </a:extLst>
          </p:cNvPr>
          <p:cNvPicPr>
            <a:picLocks noChangeAspect="1"/>
          </p:cNvPicPr>
          <p:nvPr/>
        </p:nvPicPr>
        <p:blipFill>
          <a:blip r:embed="rId13" cstate="screen">
            <a:lum bright="70000" contrast="-70000"/>
            <a:extLst>
              <a:ext uri="{28A0092B-C50C-407E-A947-70E740481C1C}">
                <a14:useLocalDpi xmlns:a14="http://schemas.microsoft.com/office/drawing/2010/main"/>
              </a:ext>
            </a:extLst>
          </a:blip>
          <a:stretch>
            <a:fillRect/>
          </a:stretch>
        </p:blipFill>
        <p:spPr>
          <a:xfrm>
            <a:off x="4808141" y="2277663"/>
            <a:ext cx="449091" cy="449091"/>
          </a:xfrm>
          <a:prstGeom prst="rect">
            <a:avLst/>
          </a:prstGeom>
        </p:spPr>
      </p:pic>
      <p:pic>
        <p:nvPicPr>
          <p:cNvPr id="92" name="Picture 91">
            <a:extLst>
              <a:ext uri="{FF2B5EF4-FFF2-40B4-BE49-F238E27FC236}">
                <a16:creationId xmlns:a16="http://schemas.microsoft.com/office/drawing/2014/main" id="{2EC41FFC-9B61-4256-84FD-7A90941FCD07}"/>
              </a:ext>
            </a:extLst>
          </p:cNvPr>
          <p:cNvPicPr>
            <a:picLocks noChangeAspect="1"/>
          </p:cNvPicPr>
          <p:nvPr/>
        </p:nvPicPr>
        <p:blipFill>
          <a:blip r:embed="rId14" cstate="screen">
            <a:lum bright="70000" contrast="-70000"/>
            <a:extLst>
              <a:ext uri="{28A0092B-C50C-407E-A947-70E740481C1C}">
                <a14:useLocalDpi xmlns:a14="http://schemas.microsoft.com/office/drawing/2010/main"/>
              </a:ext>
            </a:extLst>
          </a:blip>
          <a:stretch>
            <a:fillRect/>
          </a:stretch>
        </p:blipFill>
        <p:spPr>
          <a:xfrm>
            <a:off x="5637667" y="1713131"/>
            <a:ext cx="507075" cy="507075"/>
          </a:xfrm>
          <a:prstGeom prst="rect">
            <a:avLst/>
          </a:prstGeom>
        </p:spPr>
      </p:pic>
      <p:pic>
        <p:nvPicPr>
          <p:cNvPr id="2" name="Picture 1" descr="Logo, company name&#10;&#10;Description automatically generated">
            <a:extLst>
              <a:ext uri="{FF2B5EF4-FFF2-40B4-BE49-F238E27FC236}">
                <a16:creationId xmlns:a16="http://schemas.microsoft.com/office/drawing/2014/main" id="{B85E832A-F7EF-FD6A-2EC9-3F010B4AE77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511093" y="3431677"/>
            <a:ext cx="1910771" cy="921265"/>
          </a:xfrm>
          <a:prstGeom prst="rect">
            <a:avLst/>
          </a:prstGeom>
        </p:spPr>
      </p:pic>
    </p:spTree>
    <p:extLst>
      <p:ext uri="{BB962C8B-B14F-4D97-AF65-F5344CB8AC3E}">
        <p14:creationId xmlns:p14="http://schemas.microsoft.com/office/powerpoint/2010/main" val="3337608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B7687-771C-42B4-98E5-FE68E3B7B326}"/>
              </a:ext>
            </a:extLst>
          </p:cNvPr>
          <p:cNvSpPr>
            <a:spLocks noGrp="1"/>
          </p:cNvSpPr>
          <p:nvPr>
            <p:ph type="title"/>
          </p:nvPr>
        </p:nvSpPr>
        <p:spPr>
          <a:xfrm>
            <a:off x="8069" y="-41932"/>
            <a:ext cx="7117548" cy="841617"/>
          </a:xfrm>
        </p:spPr>
        <p:txBody>
          <a:bodyPr/>
          <a:lstStyle/>
          <a:p>
            <a:r>
              <a:rPr kumimoji="0" lang="en-US" sz="3200" b="1" i="0" u="none" strike="noStrike" kern="1200" cap="none" spc="-150" normalizeH="0" baseline="0" noProof="0" dirty="0">
                <a:ln>
                  <a:noFill/>
                </a:ln>
                <a:solidFill>
                  <a:srgbClr val="1E3ADA"/>
                </a:solidFill>
                <a:effectLst/>
                <a:uLnTx/>
                <a:uFillTx/>
                <a:latin typeface="Work Sans" panose="00000500000000000000" pitchFamily="50" charset="0"/>
                <a:ea typeface="+mn-ea"/>
                <a:cs typeface="Segoe UI" panose="020B0502040204020203" pitchFamily="34" charset="0"/>
              </a:rPr>
              <a:t>KEY</a:t>
            </a:r>
            <a:r>
              <a:rPr kumimoji="0" lang="en-US" sz="3200" b="0" i="0" u="none" strike="noStrike" kern="1200" cap="none" spc="-150" normalizeH="0" baseline="0" noProof="0" dirty="0">
                <a:ln>
                  <a:noFill/>
                </a:ln>
                <a:solidFill>
                  <a:srgbClr val="1E3ADA"/>
                </a:solidFill>
                <a:effectLst/>
                <a:uLnTx/>
                <a:uFillTx/>
                <a:latin typeface="Work Sans" panose="00000500000000000000" pitchFamily="50" charset="0"/>
                <a:ea typeface="+mn-ea"/>
                <a:cs typeface="Segoe UI" panose="020B0502040204020203" pitchFamily="34" charset="0"/>
              </a:rPr>
              <a:t> BUSINESS </a:t>
            </a:r>
            <a:r>
              <a:rPr lang="en-US" sz="3200" spc="-150" dirty="0">
                <a:solidFill>
                  <a:srgbClr val="1E3ADA"/>
                </a:solidFill>
                <a:latin typeface="Work Sans" panose="00000500000000000000" pitchFamily="50" charset="0"/>
                <a:cs typeface="Segoe UI" panose="020B0502040204020203" pitchFamily="34" charset="0"/>
              </a:rPr>
              <a:t>AREAS</a:t>
            </a:r>
            <a:endParaRPr lang="en-IN" dirty="0"/>
          </a:p>
        </p:txBody>
      </p:sp>
      <p:grpSp>
        <p:nvGrpSpPr>
          <p:cNvPr id="3" name="Group 2">
            <a:extLst>
              <a:ext uri="{FF2B5EF4-FFF2-40B4-BE49-F238E27FC236}">
                <a16:creationId xmlns:a16="http://schemas.microsoft.com/office/drawing/2014/main" id="{E432D6C6-E335-4037-A80D-0ABD08B7862D}"/>
              </a:ext>
            </a:extLst>
          </p:cNvPr>
          <p:cNvGrpSpPr/>
          <p:nvPr/>
        </p:nvGrpSpPr>
        <p:grpSpPr>
          <a:xfrm>
            <a:off x="1034980" y="635386"/>
            <a:ext cx="7484810" cy="5693782"/>
            <a:chOff x="2357348" y="835477"/>
            <a:chExt cx="7488390" cy="5696503"/>
          </a:xfrm>
        </p:grpSpPr>
        <p:sp>
          <p:nvSpPr>
            <p:cNvPr id="4" name="Freeform 5">
              <a:extLst>
                <a:ext uri="{FF2B5EF4-FFF2-40B4-BE49-F238E27FC236}">
                  <a16:creationId xmlns:a16="http://schemas.microsoft.com/office/drawing/2014/main" id="{5CF19F7C-4C75-4008-9BE5-335F807B86C5}"/>
                </a:ext>
              </a:extLst>
            </p:cNvPr>
            <p:cNvSpPr>
              <a:spLocks/>
            </p:cNvSpPr>
            <p:nvPr/>
          </p:nvSpPr>
          <p:spPr bwMode="auto">
            <a:xfrm>
              <a:off x="4742610" y="5770121"/>
              <a:ext cx="2413995" cy="330428"/>
            </a:xfrm>
            <a:custGeom>
              <a:avLst/>
              <a:gdLst>
                <a:gd name="T0" fmla="*/ 3 w 705"/>
                <a:gd name="T1" fmla="*/ 18 h 96"/>
                <a:gd name="T2" fmla="*/ 6 w 705"/>
                <a:gd name="T3" fmla="*/ 18 h 96"/>
                <a:gd name="T4" fmla="*/ 18 w 705"/>
                <a:gd name="T5" fmla="*/ 6 h 96"/>
                <a:gd name="T6" fmla="*/ 687 w 705"/>
                <a:gd name="T7" fmla="*/ 6 h 96"/>
                <a:gd name="T8" fmla="*/ 699 w 705"/>
                <a:gd name="T9" fmla="*/ 18 h 96"/>
                <a:gd name="T10" fmla="*/ 699 w 705"/>
                <a:gd name="T11" fmla="*/ 78 h 96"/>
                <a:gd name="T12" fmla="*/ 687 w 705"/>
                <a:gd name="T13" fmla="*/ 90 h 96"/>
                <a:gd name="T14" fmla="*/ 18 w 705"/>
                <a:gd name="T15" fmla="*/ 90 h 96"/>
                <a:gd name="T16" fmla="*/ 6 w 705"/>
                <a:gd name="T17" fmla="*/ 78 h 96"/>
                <a:gd name="T18" fmla="*/ 6 w 705"/>
                <a:gd name="T19" fmla="*/ 18 h 96"/>
                <a:gd name="T20" fmla="*/ 3 w 705"/>
                <a:gd name="T21" fmla="*/ 18 h 96"/>
                <a:gd name="T22" fmla="*/ 0 w 705"/>
                <a:gd name="T23" fmla="*/ 18 h 96"/>
                <a:gd name="T24" fmla="*/ 0 w 705"/>
                <a:gd name="T25" fmla="*/ 78 h 96"/>
                <a:gd name="T26" fmla="*/ 18 w 705"/>
                <a:gd name="T27" fmla="*/ 96 h 96"/>
                <a:gd name="T28" fmla="*/ 687 w 705"/>
                <a:gd name="T29" fmla="*/ 96 h 96"/>
                <a:gd name="T30" fmla="*/ 705 w 705"/>
                <a:gd name="T31" fmla="*/ 78 h 96"/>
                <a:gd name="T32" fmla="*/ 705 w 705"/>
                <a:gd name="T33" fmla="*/ 18 h 96"/>
                <a:gd name="T34" fmla="*/ 687 w 705"/>
                <a:gd name="T35" fmla="*/ 0 h 96"/>
                <a:gd name="T36" fmla="*/ 18 w 705"/>
                <a:gd name="T37" fmla="*/ 0 h 96"/>
                <a:gd name="T38" fmla="*/ 0 w 705"/>
                <a:gd name="T39" fmla="*/ 18 h 96"/>
                <a:gd name="T40" fmla="*/ 3 w 705"/>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5" h="96">
                  <a:moveTo>
                    <a:pt x="3" y="18"/>
                  </a:moveTo>
                  <a:cubicBezTo>
                    <a:pt x="6" y="18"/>
                    <a:pt x="6" y="18"/>
                    <a:pt x="6" y="18"/>
                  </a:cubicBezTo>
                  <a:cubicBezTo>
                    <a:pt x="6" y="12"/>
                    <a:pt x="11" y="6"/>
                    <a:pt x="18" y="6"/>
                  </a:cubicBezTo>
                  <a:cubicBezTo>
                    <a:pt x="687" y="6"/>
                    <a:pt x="687" y="6"/>
                    <a:pt x="687" y="6"/>
                  </a:cubicBezTo>
                  <a:cubicBezTo>
                    <a:pt x="693" y="6"/>
                    <a:pt x="699" y="12"/>
                    <a:pt x="699" y="18"/>
                  </a:cubicBezTo>
                  <a:cubicBezTo>
                    <a:pt x="699" y="78"/>
                    <a:pt x="699" y="78"/>
                    <a:pt x="699" y="78"/>
                  </a:cubicBezTo>
                  <a:cubicBezTo>
                    <a:pt x="699" y="84"/>
                    <a:pt x="693" y="90"/>
                    <a:pt x="687" y="90"/>
                  </a:cubicBezTo>
                  <a:cubicBezTo>
                    <a:pt x="18" y="90"/>
                    <a:pt x="18" y="90"/>
                    <a:pt x="18" y="90"/>
                  </a:cubicBezTo>
                  <a:cubicBezTo>
                    <a:pt x="11"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687" y="96"/>
                    <a:pt x="687" y="96"/>
                    <a:pt x="687" y="96"/>
                  </a:cubicBezTo>
                  <a:cubicBezTo>
                    <a:pt x="697" y="96"/>
                    <a:pt x="705" y="88"/>
                    <a:pt x="705" y="78"/>
                  </a:cubicBezTo>
                  <a:cubicBezTo>
                    <a:pt x="705" y="18"/>
                    <a:pt x="705" y="18"/>
                    <a:pt x="705" y="18"/>
                  </a:cubicBezTo>
                  <a:cubicBezTo>
                    <a:pt x="705" y="8"/>
                    <a:pt x="697" y="0"/>
                    <a:pt x="687" y="0"/>
                  </a:cubicBezTo>
                  <a:cubicBezTo>
                    <a:pt x="18" y="0"/>
                    <a:pt x="18" y="0"/>
                    <a:pt x="18" y="0"/>
                  </a:cubicBezTo>
                  <a:cubicBezTo>
                    <a:pt x="8" y="0"/>
                    <a:pt x="0" y="8"/>
                    <a:pt x="0" y="18"/>
                  </a:cubicBezTo>
                  <a:lnTo>
                    <a:pt x="3" y="18"/>
                  </a:ln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6">
              <a:extLst>
                <a:ext uri="{FF2B5EF4-FFF2-40B4-BE49-F238E27FC236}">
                  <a16:creationId xmlns:a16="http://schemas.microsoft.com/office/drawing/2014/main" id="{EE004AF3-8274-468D-A1FE-E81B16A4E1B3}"/>
                </a:ext>
              </a:extLst>
            </p:cNvPr>
            <p:cNvSpPr>
              <a:spLocks/>
            </p:cNvSpPr>
            <p:nvPr/>
          </p:nvSpPr>
          <p:spPr bwMode="auto">
            <a:xfrm>
              <a:off x="5214442" y="5874011"/>
              <a:ext cx="14429" cy="105333"/>
            </a:xfrm>
            <a:custGeom>
              <a:avLst/>
              <a:gdLst>
                <a:gd name="T0" fmla="*/ 4 w 4"/>
                <a:gd name="T1" fmla="*/ 1 h 31"/>
                <a:gd name="T2" fmla="*/ 4 w 4"/>
                <a:gd name="T3" fmla="*/ 0 h 31"/>
                <a:gd name="T4" fmla="*/ 3 w 4"/>
                <a:gd name="T5" fmla="*/ 0 h 31"/>
                <a:gd name="T6" fmla="*/ 3 w 4"/>
                <a:gd name="T7" fmla="*/ 0 h 31"/>
                <a:gd name="T8" fmla="*/ 2 w 4"/>
                <a:gd name="T9" fmla="*/ 0 h 31"/>
                <a:gd name="T10" fmla="*/ 1 w 4"/>
                <a:gd name="T11" fmla="*/ 0 h 31"/>
                <a:gd name="T12" fmla="*/ 0 w 4"/>
                <a:gd name="T13" fmla="*/ 0 h 31"/>
                <a:gd name="T14" fmla="*/ 0 w 4"/>
                <a:gd name="T15" fmla="*/ 0 h 31"/>
                <a:gd name="T16" fmla="*/ 0 w 4"/>
                <a:gd name="T17" fmla="*/ 1 h 31"/>
                <a:gd name="T18" fmla="*/ 0 w 4"/>
                <a:gd name="T19" fmla="*/ 30 h 31"/>
                <a:gd name="T20" fmla="*/ 0 w 4"/>
                <a:gd name="T21" fmla="*/ 30 h 31"/>
                <a:gd name="T22" fmla="*/ 0 w 4"/>
                <a:gd name="T23" fmla="*/ 30 h 31"/>
                <a:gd name="T24" fmla="*/ 1 w 4"/>
                <a:gd name="T25" fmla="*/ 30 h 31"/>
                <a:gd name="T26" fmla="*/ 2 w 4"/>
                <a:gd name="T27" fmla="*/ 31 h 31"/>
                <a:gd name="T28" fmla="*/ 3 w 4"/>
                <a:gd name="T29" fmla="*/ 30 h 31"/>
                <a:gd name="T30" fmla="*/ 3 w 4"/>
                <a:gd name="T31" fmla="*/ 30 h 31"/>
                <a:gd name="T32" fmla="*/ 4 w 4"/>
                <a:gd name="T33" fmla="*/ 30 h 31"/>
                <a:gd name="T34" fmla="*/ 4 w 4"/>
                <a:gd name="T35" fmla="*/ 30 h 31"/>
                <a:gd name="T36" fmla="*/ 4 w 4"/>
                <a:gd name="T37"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1">
                  <a:moveTo>
                    <a:pt x="4" y="1"/>
                  </a:moveTo>
                  <a:cubicBezTo>
                    <a:pt x="4" y="1"/>
                    <a:pt x="4" y="0"/>
                    <a:pt x="4" y="0"/>
                  </a:cubicBezTo>
                  <a:cubicBezTo>
                    <a:pt x="4" y="0"/>
                    <a:pt x="3" y="0"/>
                    <a:pt x="3" y="0"/>
                  </a:cubicBezTo>
                  <a:cubicBezTo>
                    <a:pt x="3" y="0"/>
                    <a:pt x="3" y="0"/>
                    <a:pt x="3" y="0"/>
                  </a:cubicBezTo>
                  <a:cubicBezTo>
                    <a:pt x="2" y="0"/>
                    <a:pt x="2" y="0"/>
                    <a:pt x="2" y="0"/>
                  </a:cubicBezTo>
                  <a:cubicBezTo>
                    <a:pt x="1" y="0"/>
                    <a:pt x="1" y="0"/>
                    <a:pt x="1" y="0"/>
                  </a:cubicBezTo>
                  <a:cubicBezTo>
                    <a:pt x="1" y="0"/>
                    <a:pt x="0" y="0"/>
                    <a:pt x="0" y="0"/>
                  </a:cubicBezTo>
                  <a:cubicBezTo>
                    <a:pt x="0" y="0"/>
                    <a:pt x="0" y="0"/>
                    <a:pt x="0" y="0"/>
                  </a:cubicBezTo>
                  <a:cubicBezTo>
                    <a:pt x="0" y="0"/>
                    <a:pt x="0" y="1"/>
                    <a:pt x="0" y="1"/>
                  </a:cubicBezTo>
                  <a:cubicBezTo>
                    <a:pt x="0" y="30"/>
                    <a:pt x="0" y="30"/>
                    <a:pt x="0" y="30"/>
                  </a:cubicBezTo>
                  <a:cubicBezTo>
                    <a:pt x="0" y="30"/>
                    <a:pt x="0" y="30"/>
                    <a:pt x="0" y="30"/>
                  </a:cubicBezTo>
                  <a:cubicBezTo>
                    <a:pt x="0" y="30"/>
                    <a:pt x="0" y="30"/>
                    <a:pt x="0" y="30"/>
                  </a:cubicBezTo>
                  <a:cubicBezTo>
                    <a:pt x="0" y="30"/>
                    <a:pt x="0" y="30"/>
                    <a:pt x="1" y="30"/>
                  </a:cubicBezTo>
                  <a:cubicBezTo>
                    <a:pt x="1" y="31"/>
                    <a:pt x="1" y="31"/>
                    <a:pt x="2" y="31"/>
                  </a:cubicBezTo>
                  <a:cubicBezTo>
                    <a:pt x="2" y="31"/>
                    <a:pt x="2" y="31"/>
                    <a:pt x="3" y="30"/>
                  </a:cubicBezTo>
                  <a:cubicBezTo>
                    <a:pt x="3" y="30"/>
                    <a:pt x="3" y="30"/>
                    <a:pt x="3" y="30"/>
                  </a:cubicBezTo>
                  <a:cubicBezTo>
                    <a:pt x="3" y="30"/>
                    <a:pt x="4" y="30"/>
                    <a:pt x="4" y="30"/>
                  </a:cubicBezTo>
                  <a:cubicBezTo>
                    <a:pt x="4" y="30"/>
                    <a:pt x="4" y="30"/>
                    <a:pt x="4" y="30"/>
                  </a:cubicBezTo>
                  <a:cubicBezTo>
                    <a:pt x="4" y="1"/>
                    <a:pt x="4"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7">
              <a:extLst>
                <a:ext uri="{FF2B5EF4-FFF2-40B4-BE49-F238E27FC236}">
                  <a16:creationId xmlns:a16="http://schemas.microsoft.com/office/drawing/2014/main" id="{D1784C6E-2453-497C-9E32-5CB77D5042AA}"/>
                </a:ext>
              </a:extLst>
            </p:cNvPr>
            <p:cNvSpPr>
              <a:spLocks/>
            </p:cNvSpPr>
            <p:nvPr/>
          </p:nvSpPr>
          <p:spPr bwMode="auto">
            <a:xfrm>
              <a:off x="5251958" y="5901426"/>
              <a:ext cx="62046" cy="77917"/>
            </a:xfrm>
            <a:custGeom>
              <a:avLst/>
              <a:gdLst>
                <a:gd name="T0" fmla="*/ 18 w 18"/>
                <a:gd name="T1" fmla="*/ 9 h 23"/>
                <a:gd name="T2" fmla="*/ 18 w 18"/>
                <a:gd name="T3" fmla="*/ 5 h 23"/>
                <a:gd name="T4" fmla="*/ 17 w 18"/>
                <a:gd name="T5" fmla="*/ 2 h 23"/>
                <a:gd name="T6" fmla="*/ 14 w 18"/>
                <a:gd name="T7" fmla="*/ 0 h 23"/>
                <a:gd name="T8" fmla="*/ 11 w 18"/>
                <a:gd name="T9" fmla="*/ 0 h 23"/>
                <a:gd name="T10" fmla="*/ 7 w 18"/>
                <a:gd name="T11" fmla="*/ 1 h 23"/>
                <a:gd name="T12" fmla="*/ 4 w 18"/>
                <a:gd name="T13" fmla="*/ 4 h 23"/>
                <a:gd name="T14" fmla="*/ 4 w 18"/>
                <a:gd name="T15" fmla="*/ 1 h 23"/>
                <a:gd name="T16" fmla="*/ 4 w 18"/>
                <a:gd name="T17" fmla="*/ 0 h 23"/>
                <a:gd name="T18" fmla="*/ 3 w 18"/>
                <a:gd name="T19" fmla="*/ 0 h 23"/>
                <a:gd name="T20" fmla="*/ 3 w 18"/>
                <a:gd name="T21" fmla="*/ 0 h 23"/>
                <a:gd name="T22" fmla="*/ 2 w 18"/>
                <a:gd name="T23" fmla="*/ 0 h 23"/>
                <a:gd name="T24" fmla="*/ 1 w 18"/>
                <a:gd name="T25" fmla="*/ 0 h 23"/>
                <a:gd name="T26" fmla="*/ 1 w 18"/>
                <a:gd name="T27" fmla="*/ 0 h 23"/>
                <a:gd name="T28" fmla="*/ 0 w 18"/>
                <a:gd name="T29" fmla="*/ 0 h 23"/>
                <a:gd name="T30" fmla="*/ 0 w 18"/>
                <a:gd name="T31" fmla="*/ 1 h 23"/>
                <a:gd name="T32" fmla="*/ 0 w 18"/>
                <a:gd name="T33" fmla="*/ 22 h 23"/>
                <a:gd name="T34" fmla="*/ 0 w 18"/>
                <a:gd name="T35" fmla="*/ 22 h 23"/>
                <a:gd name="T36" fmla="*/ 1 w 18"/>
                <a:gd name="T37" fmla="*/ 22 h 23"/>
                <a:gd name="T38" fmla="*/ 1 w 18"/>
                <a:gd name="T39" fmla="*/ 23 h 23"/>
                <a:gd name="T40" fmla="*/ 2 w 18"/>
                <a:gd name="T41" fmla="*/ 23 h 23"/>
                <a:gd name="T42" fmla="*/ 3 w 18"/>
                <a:gd name="T43" fmla="*/ 23 h 23"/>
                <a:gd name="T44" fmla="*/ 4 w 18"/>
                <a:gd name="T45" fmla="*/ 22 h 23"/>
                <a:gd name="T46" fmla="*/ 4 w 18"/>
                <a:gd name="T47" fmla="*/ 22 h 23"/>
                <a:gd name="T48" fmla="*/ 4 w 18"/>
                <a:gd name="T49" fmla="*/ 22 h 23"/>
                <a:gd name="T50" fmla="*/ 4 w 18"/>
                <a:gd name="T51" fmla="*/ 7 h 23"/>
                <a:gd name="T52" fmla="*/ 7 w 18"/>
                <a:gd name="T53" fmla="*/ 4 h 23"/>
                <a:gd name="T54" fmla="*/ 10 w 18"/>
                <a:gd name="T55" fmla="*/ 3 h 23"/>
                <a:gd name="T56" fmla="*/ 12 w 18"/>
                <a:gd name="T57" fmla="*/ 3 h 23"/>
                <a:gd name="T58" fmla="*/ 13 w 18"/>
                <a:gd name="T59" fmla="*/ 5 h 23"/>
                <a:gd name="T60" fmla="*/ 14 w 18"/>
                <a:gd name="T61" fmla="*/ 7 h 23"/>
                <a:gd name="T62" fmla="*/ 15 w 18"/>
                <a:gd name="T63" fmla="*/ 9 h 23"/>
                <a:gd name="T64" fmla="*/ 15 w 18"/>
                <a:gd name="T65" fmla="*/ 22 h 23"/>
                <a:gd name="T66" fmla="*/ 15 w 18"/>
                <a:gd name="T67" fmla="*/ 22 h 23"/>
                <a:gd name="T68" fmla="*/ 15 w 18"/>
                <a:gd name="T69" fmla="*/ 22 h 23"/>
                <a:gd name="T70" fmla="*/ 16 w 18"/>
                <a:gd name="T71" fmla="*/ 23 h 23"/>
                <a:gd name="T72" fmla="*/ 17 w 18"/>
                <a:gd name="T73" fmla="*/ 23 h 23"/>
                <a:gd name="T74" fmla="*/ 17 w 18"/>
                <a:gd name="T75" fmla="*/ 23 h 23"/>
                <a:gd name="T76" fmla="*/ 18 w 18"/>
                <a:gd name="T77" fmla="*/ 22 h 23"/>
                <a:gd name="T78" fmla="*/ 18 w 18"/>
                <a:gd name="T79" fmla="*/ 22 h 23"/>
                <a:gd name="T80" fmla="*/ 18 w 18"/>
                <a:gd name="T81" fmla="*/ 22 h 23"/>
                <a:gd name="T82" fmla="*/ 18 w 18"/>
                <a:gd name="T83"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9"/>
                  </a:moveTo>
                  <a:cubicBezTo>
                    <a:pt x="18" y="7"/>
                    <a:pt x="18" y="6"/>
                    <a:pt x="18" y="5"/>
                  </a:cubicBezTo>
                  <a:cubicBezTo>
                    <a:pt x="18" y="4"/>
                    <a:pt x="17" y="3"/>
                    <a:pt x="17" y="2"/>
                  </a:cubicBezTo>
                  <a:cubicBezTo>
                    <a:pt x="16" y="2"/>
                    <a:pt x="15" y="1"/>
                    <a:pt x="14" y="0"/>
                  </a:cubicBezTo>
                  <a:cubicBezTo>
                    <a:pt x="14" y="0"/>
                    <a:pt x="12" y="0"/>
                    <a:pt x="11" y="0"/>
                  </a:cubicBezTo>
                  <a:cubicBezTo>
                    <a:pt x="10" y="0"/>
                    <a:pt x="9" y="0"/>
                    <a:pt x="7" y="1"/>
                  </a:cubicBezTo>
                  <a:cubicBezTo>
                    <a:pt x="6" y="1"/>
                    <a:pt x="5" y="2"/>
                    <a:pt x="4" y="4"/>
                  </a:cubicBezTo>
                  <a:cubicBezTo>
                    <a:pt x="4" y="1"/>
                    <a:pt x="4" y="1"/>
                    <a:pt x="4" y="1"/>
                  </a:cubicBezTo>
                  <a:cubicBezTo>
                    <a:pt x="4" y="1"/>
                    <a:pt x="4" y="1"/>
                    <a:pt x="4" y="0"/>
                  </a:cubicBezTo>
                  <a:cubicBezTo>
                    <a:pt x="4" y="0"/>
                    <a:pt x="4" y="0"/>
                    <a:pt x="3" y="0"/>
                  </a:cubicBezTo>
                  <a:cubicBezTo>
                    <a:pt x="3" y="0"/>
                    <a:pt x="3" y="0"/>
                    <a:pt x="3" y="0"/>
                  </a:cubicBezTo>
                  <a:cubicBezTo>
                    <a:pt x="3" y="0"/>
                    <a:pt x="2" y="0"/>
                    <a:pt x="2" y="0"/>
                  </a:cubicBezTo>
                  <a:cubicBezTo>
                    <a:pt x="2" y="0"/>
                    <a:pt x="1" y="0"/>
                    <a:pt x="1" y="0"/>
                  </a:cubicBezTo>
                  <a:cubicBezTo>
                    <a:pt x="1" y="0"/>
                    <a:pt x="1" y="0"/>
                    <a:pt x="1" y="0"/>
                  </a:cubicBezTo>
                  <a:cubicBezTo>
                    <a:pt x="1" y="0"/>
                    <a:pt x="0" y="0"/>
                    <a:pt x="0" y="0"/>
                  </a:cubicBezTo>
                  <a:cubicBezTo>
                    <a:pt x="0" y="1"/>
                    <a:pt x="0" y="1"/>
                    <a:pt x="0" y="1"/>
                  </a:cubicBezTo>
                  <a:cubicBezTo>
                    <a:pt x="0" y="22"/>
                    <a:pt x="0" y="22"/>
                    <a:pt x="0" y="22"/>
                  </a:cubicBezTo>
                  <a:cubicBezTo>
                    <a:pt x="0" y="22"/>
                    <a:pt x="0" y="22"/>
                    <a:pt x="0" y="22"/>
                  </a:cubicBezTo>
                  <a:cubicBezTo>
                    <a:pt x="0" y="22"/>
                    <a:pt x="1" y="22"/>
                    <a:pt x="1" y="22"/>
                  </a:cubicBezTo>
                  <a:cubicBezTo>
                    <a:pt x="1" y="22"/>
                    <a:pt x="1" y="22"/>
                    <a:pt x="1" y="23"/>
                  </a:cubicBezTo>
                  <a:cubicBezTo>
                    <a:pt x="2" y="23"/>
                    <a:pt x="2" y="23"/>
                    <a:pt x="2" y="23"/>
                  </a:cubicBezTo>
                  <a:cubicBezTo>
                    <a:pt x="3" y="23"/>
                    <a:pt x="3" y="23"/>
                    <a:pt x="3" y="23"/>
                  </a:cubicBezTo>
                  <a:cubicBezTo>
                    <a:pt x="3" y="22"/>
                    <a:pt x="4" y="22"/>
                    <a:pt x="4" y="22"/>
                  </a:cubicBezTo>
                  <a:cubicBezTo>
                    <a:pt x="4" y="22"/>
                    <a:pt x="4" y="22"/>
                    <a:pt x="4" y="22"/>
                  </a:cubicBezTo>
                  <a:cubicBezTo>
                    <a:pt x="4" y="22"/>
                    <a:pt x="4" y="22"/>
                    <a:pt x="4" y="22"/>
                  </a:cubicBezTo>
                  <a:cubicBezTo>
                    <a:pt x="4" y="7"/>
                    <a:pt x="4" y="7"/>
                    <a:pt x="4" y="7"/>
                  </a:cubicBezTo>
                  <a:cubicBezTo>
                    <a:pt x="5" y="6"/>
                    <a:pt x="6" y="5"/>
                    <a:pt x="7" y="4"/>
                  </a:cubicBezTo>
                  <a:cubicBezTo>
                    <a:pt x="8" y="3"/>
                    <a:pt x="9" y="3"/>
                    <a:pt x="10" y="3"/>
                  </a:cubicBezTo>
                  <a:cubicBezTo>
                    <a:pt x="11" y="3"/>
                    <a:pt x="12" y="3"/>
                    <a:pt x="12" y="3"/>
                  </a:cubicBezTo>
                  <a:cubicBezTo>
                    <a:pt x="13" y="4"/>
                    <a:pt x="13" y="4"/>
                    <a:pt x="13" y="5"/>
                  </a:cubicBezTo>
                  <a:cubicBezTo>
                    <a:pt x="14" y="5"/>
                    <a:pt x="14" y="6"/>
                    <a:pt x="14" y="7"/>
                  </a:cubicBezTo>
                  <a:cubicBezTo>
                    <a:pt x="15" y="7"/>
                    <a:pt x="15" y="8"/>
                    <a:pt x="15" y="9"/>
                  </a:cubicBezTo>
                  <a:cubicBezTo>
                    <a:pt x="15" y="22"/>
                    <a:pt x="15" y="22"/>
                    <a:pt x="15" y="22"/>
                  </a:cubicBezTo>
                  <a:cubicBezTo>
                    <a:pt x="15" y="22"/>
                    <a:pt x="15" y="22"/>
                    <a:pt x="15" y="22"/>
                  </a:cubicBezTo>
                  <a:cubicBezTo>
                    <a:pt x="15" y="22"/>
                    <a:pt x="15" y="22"/>
                    <a:pt x="15" y="22"/>
                  </a:cubicBezTo>
                  <a:cubicBezTo>
                    <a:pt x="15" y="22"/>
                    <a:pt x="15" y="22"/>
                    <a:pt x="16" y="23"/>
                  </a:cubicBezTo>
                  <a:cubicBezTo>
                    <a:pt x="16" y="23"/>
                    <a:pt x="16" y="23"/>
                    <a:pt x="17" y="23"/>
                  </a:cubicBezTo>
                  <a:cubicBezTo>
                    <a:pt x="17" y="23"/>
                    <a:pt x="17" y="23"/>
                    <a:pt x="17" y="23"/>
                  </a:cubicBezTo>
                  <a:cubicBezTo>
                    <a:pt x="18" y="22"/>
                    <a:pt x="18" y="22"/>
                    <a:pt x="18" y="22"/>
                  </a:cubicBezTo>
                  <a:cubicBezTo>
                    <a:pt x="18" y="22"/>
                    <a:pt x="18" y="22"/>
                    <a:pt x="18" y="22"/>
                  </a:cubicBezTo>
                  <a:cubicBezTo>
                    <a:pt x="18" y="22"/>
                    <a:pt x="18" y="22"/>
                    <a:pt x="18" y="22"/>
                  </a:cubicBezTo>
                  <a:cubicBezTo>
                    <a:pt x="18" y="9"/>
                    <a:pt x="18" y="9"/>
                    <a:pt x="18" y="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8">
              <a:extLst>
                <a:ext uri="{FF2B5EF4-FFF2-40B4-BE49-F238E27FC236}">
                  <a16:creationId xmlns:a16="http://schemas.microsoft.com/office/drawing/2014/main" id="{1E311F22-5243-4E13-97CC-5E645E1A8FD6}"/>
                </a:ext>
              </a:extLst>
            </p:cNvPr>
            <p:cNvSpPr>
              <a:spLocks/>
            </p:cNvSpPr>
            <p:nvPr/>
          </p:nvSpPr>
          <p:spPr bwMode="auto">
            <a:xfrm>
              <a:off x="5331318" y="5866796"/>
              <a:ext cx="47617" cy="112547"/>
            </a:xfrm>
            <a:custGeom>
              <a:avLst/>
              <a:gdLst>
                <a:gd name="T0" fmla="*/ 14 w 14"/>
                <a:gd name="T1" fmla="*/ 1 h 33"/>
                <a:gd name="T2" fmla="*/ 14 w 14"/>
                <a:gd name="T3" fmla="*/ 1 h 33"/>
                <a:gd name="T4" fmla="*/ 13 w 14"/>
                <a:gd name="T5" fmla="*/ 0 h 33"/>
                <a:gd name="T6" fmla="*/ 13 w 14"/>
                <a:gd name="T7" fmla="*/ 0 h 33"/>
                <a:gd name="T8" fmla="*/ 12 w 14"/>
                <a:gd name="T9" fmla="*/ 0 h 33"/>
                <a:gd name="T10" fmla="*/ 10 w 14"/>
                <a:gd name="T11" fmla="*/ 0 h 33"/>
                <a:gd name="T12" fmla="*/ 7 w 14"/>
                <a:gd name="T13" fmla="*/ 0 h 33"/>
                <a:gd name="T14" fmla="*/ 5 w 14"/>
                <a:gd name="T15" fmla="*/ 2 h 33"/>
                <a:gd name="T16" fmla="*/ 4 w 14"/>
                <a:gd name="T17" fmla="*/ 4 h 33"/>
                <a:gd name="T18" fmla="*/ 3 w 14"/>
                <a:gd name="T19" fmla="*/ 8 h 33"/>
                <a:gd name="T20" fmla="*/ 3 w 14"/>
                <a:gd name="T21" fmla="*/ 10 h 33"/>
                <a:gd name="T22" fmla="*/ 0 w 14"/>
                <a:gd name="T23" fmla="*/ 10 h 33"/>
                <a:gd name="T24" fmla="*/ 0 w 14"/>
                <a:gd name="T25" fmla="*/ 10 h 33"/>
                <a:gd name="T26" fmla="*/ 0 w 14"/>
                <a:gd name="T27" fmla="*/ 10 h 33"/>
                <a:gd name="T28" fmla="*/ 0 w 14"/>
                <a:gd name="T29" fmla="*/ 11 h 33"/>
                <a:gd name="T30" fmla="*/ 0 w 14"/>
                <a:gd name="T31" fmla="*/ 12 h 33"/>
                <a:gd name="T32" fmla="*/ 0 w 14"/>
                <a:gd name="T33" fmla="*/ 13 h 33"/>
                <a:gd name="T34" fmla="*/ 0 w 14"/>
                <a:gd name="T35" fmla="*/ 13 h 33"/>
                <a:gd name="T36" fmla="*/ 3 w 14"/>
                <a:gd name="T37" fmla="*/ 13 h 33"/>
                <a:gd name="T38" fmla="*/ 3 w 14"/>
                <a:gd name="T39" fmla="*/ 32 h 33"/>
                <a:gd name="T40" fmla="*/ 3 w 14"/>
                <a:gd name="T41" fmla="*/ 32 h 33"/>
                <a:gd name="T42" fmla="*/ 4 w 14"/>
                <a:gd name="T43" fmla="*/ 32 h 33"/>
                <a:gd name="T44" fmla="*/ 4 w 14"/>
                <a:gd name="T45" fmla="*/ 33 h 33"/>
                <a:gd name="T46" fmla="*/ 5 w 14"/>
                <a:gd name="T47" fmla="*/ 33 h 33"/>
                <a:gd name="T48" fmla="*/ 6 w 14"/>
                <a:gd name="T49" fmla="*/ 33 h 33"/>
                <a:gd name="T50" fmla="*/ 7 w 14"/>
                <a:gd name="T51" fmla="*/ 32 h 33"/>
                <a:gd name="T52" fmla="*/ 7 w 14"/>
                <a:gd name="T53" fmla="*/ 32 h 33"/>
                <a:gd name="T54" fmla="*/ 7 w 14"/>
                <a:gd name="T55" fmla="*/ 32 h 33"/>
                <a:gd name="T56" fmla="*/ 7 w 14"/>
                <a:gd name="T57" fmla="*/ 13 h 33"/>
                <a:gd name="T58" fmla="*/ 12 w 14"/>
                <a:gd name="T59" fmla="*/ 13 h 33"/>
                <a:gd name="T60" fmla="*/ 12 w 14"/>
                <a:gd name="T61" fmla="*/ 13 h 33"/>
                <a:gd name="T62" fmla="*/ 13 w 14"/>
                <a:gd name="T63" fmla="*/ 12 h 33"/>
                <a:gd name="T64" fmla="*/ 13 w 14"/>
                <a:gd name="T65" fmla="*/ 11 h 33"/>
                <a:gd name="T66" fmla="*/ 12 w 14"/>
                <a:gd name="T67" fmla="*/ 10 h 33"/>
                <a:gd name="T68" fmla="*/ 12 w 14"/>
                <a:gd name="T69" fmla="*/ 10 h 33"/>
                <a:gd name="T70" fmla="*/ 12 w 14"/>
                <a:gd name="T71" fmla="*/ 10 h 33"/>
                <a:gd name="T72" fmla="*/ 7 w 14"/>
                <a:gd name="T73" fmla="*/ 10 h 33"/>
                <a:gd name="T74" fmla="*/ 7 w 14"/>
                <a:gd name="T75" fmla="*/ 8 h 33"/>
                <a:gd name="T76" fmla="*/ 7 w 14"/>
                <a:gd name="T77" fmla="*/ 6 h 33"/>
                <a:gd name="T78" fmla="*/ 8 w 14"/>
                <a:gd name="T79" fmla="*/ 4 h 33"/>
                <a:gd name="T80" fmla="*/ 9 w 14"/>
                <a:gd name="T81" fmla="*/ 3 h 33"/>
                <a:gd name="T82" fmla="*/ 10 w 14"/>
                <a:gd name="T83" fmla="*/ 3 h 33"/>
                <a:gd name="T84" fmla="*/ 11 w 14"/>
                <a:gd name="T85" fmla="*/ 3 h 33"/>
                <a:gd name="T86" fmla="*/ 12 w 14"/>
                <a:gd name="T87" fmla="*/ 3 h 33"/>
                <a:gd name="T88" fmla="*/ 13 w 14"/>
                <a:gd name="T89" fmla="*/ 3 h 33"/>
                <a:gd name="T90" fmla="*/ 13 w 14"/>
                <a:gd name="T91" fmla="*/ 3 h 33"/>
                <a:gd name="T92" fmla="*/ 14 w 14"/>
                <a:gd name="T93" fmla="*/ 3 h 33"/>
                <a:gd name="T94" fmla="*/ 14 w 14"/>
                <a:gd name="T95" fmla="*/ 3 h 33"/>
                <a:gd name="T96" fmla="*/ 14 w 14"/>
                <a:gd name="T97" fmla="*/ 3 h 33"/>
                <a:gd name="T98" fmla="*/ 14 w 14"/>
                <a:gd name="T99" fmla="*/ 2 h 33"/>
                <a:gd name="T100" fmla="*/ 14 w 14"/>
                <a:gd name="T101"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 h="33">
                  <a:moveTo>
                    <a:pt x="14" y="1"/>
                  </a:moveTo>
                  <a:cubicBezTo>
                    <a:pt x="14" y="1"/>
                    <a:pt x="14" y="1"/>
                    <a:pt x="14" y="1"/>
                  </a:cubicBezTo>
                  <a:cubicBezTo>
                    <a:pt x="14" y="1"/>
                    <a:pt x="14" y="0"/>
                    <a:pt x="13" y="0"/>
                  </a:cubicBezTo>
                  <a:cubicBezTo>
                    <a:pt x="13" y="0"/>
                    <a:pt x="13" y="0"/>
                    <a:pt x="13" y="0"/>
                  </a:cubicBezTo>
                  <a:cubicBezTo>
                    <a:pt x="13" y="0"/>
                    <a:pt x="12" y="0"/>
                    <a:pt x="12" y="0"/>
                  </a:cubicBezTo>
                  <a:cubicBezTo>
                    <a:pt x="11" y="0"/>
                    <a:pt x="11" y="0"/>
                    <a:pt x="10" y="0"/>
                  </a:cubicBezTo>
                  <a:cubicBezTo>
                    <a:pt x="9" y="0"/>
                    <a:pt x="8" y="0"/>
                    <a:pt x="7" y="0"/>
                  </a:cubicBezTo>
                  <a:cubicBezTo>
                    <a:pt x="6" y="0"/>
                    <a:pt x="6" y="1"/>
                    <a:pt x="5" y="2"/>
                  </a:cubicBezTo>
                  <a:cubicBezTo>
                    <a:pt x="4" y="2"/>
                    <a:pt x="4" y="3"/>
                    <a:pt x="4" y="4"/>
                  </a:cubicBezTo>
                  <a:cubicBezTo>
                    <a:pt x="3" y="5"/>
                    <a:pt x="3" y="6"/>
                    <a:pt x="3" y="8"/>
                  </a:cubicBezTo>
                  <a:cubicBezTo>
                    <a:pt x="3" y="10"/>
                    <a:pt x="3" y="10"/>
                    <a:pt x="3" y="10"/>
                  </a:cubicBezTo>
                  <a:cubicBezTo>
                    <a:pt x="0" y="10"/>
                    <a:pt x="0" y="10"/>
                    <a:pt x="0" y="10"/>
                  </a:cubicBezTo>
                  <a:cubicBezTo>
                    <a:pt x="0" y="10"/>
                    <a:pt x="0" y="10"/>
                    <a:pt x="0" y="10"/>
                  </a:cubicBezTo>
                  <a:cubicBezTo>
                    <a:pt x="0" y="10"/>
                    <a:pt x="0" y="10"/>
                    <a:pt x="0" y="10"/>
                  </a:cubicBezTo>
                  <a:cubicBezTo>
                    <a:pt x="0" y="11"/>
                    <a:pt x="0" y="11"/>
                    <a:pt x="0" y="11"/>
                  </a:cubicBezTo>
                  <a:cubicBezTo>
                    <a:pt x="0" y="11"/>
                    <a:pt x="0" y="11"/>
                    <a:pt x="0" y="12"/>
                  </a:cubicBezTo>
                  <a:cubicBezTo>
                    <a:pt x="0" y="12"/>
                    <a:pt x="0" y="13"/>
                    <a:pt x="0" y="13"/>
                  </a:cubicBezTo>
                  <a:cubicBezTo>
                    <a:pt x="0" y="13"/>
                    <a:pt x="0" y="13"/>
                    <a:pt x="0" y="13"/>
                  </a:cubicBezTo>
                  <a:cubicBezTo>
                    <a:pt x="3" y="13"/>
                    <a:pt x="3" y="13"/>
                    <a:pt x="3" y="13"/>
                  </a:cubicBezTo>
                  <a:cubicBezTo>
                    <a:pt x="3" y="32"/>
                    <a:pt x="3" y="32"/>
                    <a:pt x="3" y="32"/>
                  </a:cubicBezTo>
                  <a:cubicBezTo>
                    <a:pt x="3" y="32"/>
                    <a:pt x="3" y="32"/>
                    <a:pt x="3" y="32"/>
                  </a:cubicBezTo>
                  <a:cubicBezTo>
                    <a:pt x="3" y="32"/>
                    <a:pt x="4" y="32"/>
                    <a:pt x="4" y="32"/>
                  </a:cubicBezTo>
                  <a:cubicBezTo>
                    <a:pt x="4" y="32"/>
                    <a:pt x="4" y="32"/>
                    <a:pt x="4" y="33"/>
                  </a:cubicBezTo>
                  <a:cubicBezTo>
                    <a:pt x="5" y="33"/>
                    <a:pt x="5" y="33"/>
                    <a:pt x="5" y="33"/>
                  </a:cubicBezTo>
                  <a:cubicBezTo>
                    <a:pt x="6" y="33"/>
                    <a:pt x="6" y="33"/>
                    <a:pt x="6" y="33"/>
                  </a:cubicBezTo>
                  <a:cubicBezTo>
                    <a:pt x="6" y="32"/>
                    <a:pt x="7" y="32"/>
                    <a:pt x="7" y="32"/>
                  </a:cubicBezTo>
                  <a:cubicBezTo>
                    <a:pt x="7" y="32"/>
                    <a:pt x="7" y="32"/>
                    <a:pt x="7" y="32"/>
                  </a:cubicBezTo>
                  <a:cubicBezTo>
                    <a:pt x="7" y="32"/>
                    <a:pt x="7" y="32"/>
                    <a:pt x="7" y="32"/>
                  </a:cubicBezTo>
                  <a:cubicBezTo>
                    <a:pt x="7" y="13"/>
                    <a:pt x="7" y="13"/>
                    <a:pt x="7" y="13"/>
                  </a:cubicBezTo>
                  <a:cubicBezTo>
                    <a:pt x="12" y="13"/>
                    <a:pt x="12" y="13"/>
                    <a:pt x="12" y="13"/>
                  </a:cubicBezTo>
                  <a:cubicBezTo>
                    <a:pt x="12" y="13"/>
                    <a:pt x="12" y="13"/>
                    <a:pt x="12" y="13"/>
                  </a:cubicBezTo>
                  <a:cubicBezTo>
                    <a:pt x="13" y="13"/>
                    <a:pt x="13" y="12"/>
                    <a:pt x="13" y="12"/>
                  </a:cubicBezTo>
                  <a:cubicBezTo>
                    <a:pt x="13" y="11"/>
                    <a:pt x="13" y="11"/>
                    <a:pt x="13" y="11"/>
                  </a:cubicBezTo>
                  <a:cubicBezTo>
                    <a:pt x="13" y="11"/>
                    <a:pt x="12" y="11"/>
                    <a:pt x="12" y="10"/>
                  </a:cubicBezTo>
                  <a:cubicBezTo>
                    <a:pt x="12" y="10"/>
                    <a:pt x="12" y="10"/>
                    <a:pt x="12" y="10"/>
                  </a:cubicBezTo>
                  <a:cubicBezTo>
                    <a:pt x="12" y="10"/>
                    <a:pt x="12" y="10"/>
                    <a:pt x="12" y="10"/>
                  </a:cubicBezTo>
                  <a:cubicBezTo>
                    <a:pt x="7" y="10"/>
                    <a:pt x="7" y="10"/>
                    <a:pt x="7" y="10"/>
                  </a:cubicBezTo>
                  <a:cubicBezTo>
                    <a:pt x="7" y="8"/>
                    <a:pt x="7" y="8"/>
                    <a:pt x="7" y="8"/>
                  </a:cubicBezTo>
                  <a:cubicBezTo>
                    <a:pt x="7" y="7"/>
                    <a:pt x="7" y="6"/>
                    <a:pt x="7" y="6"/>
                  </a:cubicBezTo>
                  <a:cubicBezTo>
                    <a:pt x="7" y="5"/>
                    <a:pt x="8" y="4"/>
                    <a:pt x="8" y="4"/>
                  </a:cubicBezTo>
                  <a:cubicBezTo>
                    <a:pt x="8" y="4"/>
                    <a:pt x="8" y="3"/>
                    <a:pt x="9" y="3"/>
                  </a:cubicBezTo>
                  <a:cubicBezTo>
                    <a:pt x="9" y="3"/>
                    <a:pt x="10" y="3"/>
                    <a:pt x="10" y="3"/>
                  </a:cubicBezTo>
                  <a:cubicBezTo>
                    <a:pt x="11" y="3"/>
                    <a:pt x="11" y="3"/>
                    <a:pt x="11" y="3"/>
                  </a:cubicBezTo>
                  <a:cubicBezTo>
                    <a:pt x="12" y="3"/>
                    <a:pt x="12" y="3"/>
                    <a:pt x="12" y="3"/>
                  </a:cubicBezTo>
                  <a:cubicBezTo>
                    <a:pt x="13" y="3"/>
                    <a:pt x="13" y="3"/>
                    <a:pt x="13" y="3"/>
                  </a:cubicBezTo>
                  <a:cubicBezTo>
                    <a:pt x="13" y="3"/>
                    <a:pt x="13" y="3"/>
                    <a:pt x="13" y="3"/>
                  </a:cubicBezTo>
                  <a:cubicBezTo>
                    <a:pt x="13" y="3"/>
                    <a:pt x="13" y="3"/>
                    <a:pt x="14" y="3"/>
                  </a:cubicBezTo>
                  <a:cubicBezTo>
                    <a:pt x="14" y="3"/>
                    <a:pt x="14" y="3"/>
                    <a:pt x="14" y="3"/>
                  </a:cubicBezTo>
                  <a:cubicBezTo>
                    <a:pt x="14" y="3"/>
                    <a:pt x="14" y="3"/>
                    <a:pt x="14" y="3"/>
                  </a:cubicBezTo>
                  <a:cubicBezTo>
                    <a:pt x="14" y="3"/>
                    <a:pt x="14" y="2"/>
                    <a:pt x="14" y="2"/>
                  </a:cubicBezTo>
                  <a:cubicBezTo>
                    <a:pt x="14" y="2"/>
                    <a:pt x="14" y="2"/>
                    <a:pt x="1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9">
              <a:extLst>
                <a:ext uri="{FF2B5EF4-FFF2-40B4-BE49-F238E27FC236}">
                  <a16:creationId xmlns:a16="http://schemas.microsoft.com/office/drawing/2014/main" id="{AE2946A1-7EDB-404E-9444-C9D9A1ECA03C}"/>
                </a:ext>
              </a:extLst>
            </p:cNvPr>
            <p:cNvSpPr>
              <a:spLocks/>
            </p:cNvSpPr>
            <p:nvPr/>
          </p:nvSpPr>
          <p:spPr bwMode="auto">
            <a:xfrm>
              <a:off x="5389035" y="5901426"/>
              <a:ext cx="41845" cy="77917"/>
            </a:xfrm>
            <a:custGeom>
              <a:avLst/>
              <a:gdLst>
                <a:gd name="T0" fmla="*/ 12 w 12"/>
                <a:gd name="T1" fmla="*/ 1 h 23"/>
                <a:gd name="T2" fmla="*/ 12 w 12"/>
                <a:gd name="T3" fmla="*/ 1 h 23"/>
                <a:gd name="T4" fmla="*/ 12 w 12"/>
                <a:gd name="T5" fmla="*/ 1 h 23"/>
                <a:gd name="T6" fmla="*/ 12 w 12"/>
                <a:gd name="T7" fmla="*/ 0 h 23"/>
                <a:gd name="T8" fmla="*/ 12 w 12"/>
                <a:gd name="T9" fmla="*/ 0 h 23"/>
                <a:gd name="T10" fmla="*/ 11 w 12"/>
                <a:gd name="T11" fmla="*/ 0 h 23"/>
                <a:gd name="T12" fmla="*/ 10 w 12"/>
                <a:gd name="T13" fmla="*/ 0 h 23"/>
                <a:gd name="T14" fmla="*/ 9 w 12"/>
                <a:gd name="T15" fmla="*/ 0 h 23"/>
                <a:gd name="T16" fmla="*/ 8 w 12"/>
                <a:gd name="T17" fmla="*/ 0 h 23"/>
                <a:gd name="T18" fmla="*/ 7 w 12"/>
                <a:gd name="T19" fmla="*/ 0 h 23"/>
                <a:gd name="T20" fmla="*/ 5 w 12"/>
                <a:gd name="T21" fmla="*/ 2 h 23"/>
                <a:gd name="T22" fmla="*/ 4 w 12"/>
                <a:gd name="T23" fmla="*/ 4 h 23"/>
                <a:gd name="T24" fmla="*/ 4 w 12"/>
                <a:gd name="T25" fmla="*/ 1 h 23"/>
                <a:gd name="T26" fmla="*/ 4 w 12"/>
                <a:gd name="T27" fmla="*/ 0 h 23"/>
                <a:gd name="T28" fmla="*/ 3 w 12"/>
                <a:gd name="T29" fmla="*/ 0 h 23"/>
                <a:gd name="T30" fmla="*/ 3 w 12"/>
                <a:gd name="T31" fmla="*/ 0 h 23"/>
                <a:gd name="T32" fmla="*/ 2 w 12"/>
                <a:gd name="T33" fmla="*/ 0 h 23"/>
                <a:gd name="T34" fmla="*/ 1 w 12"/>
                <a:gd name="T35" fmla="*/ 0 h 23"/>
                <a:gd name="T36" fmla="*/ 0 w 12"/>
                <a:gd name="T37" fmla="*/ 0 h 23"/>
                <a:gd name="T38" fmla="*/ 0 w 12"/>
                <a:gd name="T39" fmla="*/ 0 h 23"/>
                <a:gd name="T40" fmla="*/ 0 w 12"/>
                <a:gd name="T41" fmla="*/ 1 h 23"/>
                <a:gd name="T42" fmla="*/ 0 w 12"/>
                <a:gd name="T43" fmla="*/ 22 h 23"/>
                <a:gd name="T44" fmla="*/ 0 w 12"/>
                <a:gd name="T45" fmla="*/ 22 h 23"/>
                <a:gd name="T46" fmla="*/ 0 w 12"/>
                <a:gd name="T47" fmla="*/ 22 h 23"/>
                <a:gd name="T48" fmla="*/ 1 w 12"/>
                <a:gd name="T49" fmla="*/ 23 h 23"/>
                <a:gd name="T50" fmla="*/ 2 w 12"/>
                <a:gd name="T51" fmla="*/ 23 h 23"/>
                <a:gd name="T52" fmla="*/ 3 w 12"/>
                <a:gd name="T53" fmla="*/ 23 h 23"/>
                <a:gd name="T54" fmla="*/ 4 w 12"/>
                <a:gd name="T55" fmla="*/ 22 h 23"/>
                <a:gd name="T56" fmla="*/ 4 w 12"/>
                <a:gd name="T57" fmla="*/ 22 h 23"/>
                <a:gd name="T58" fmla="*/ 4 w 12"/>
                <a:gd name="T59" fmla="*/ 22 h 23"/>
                <a:gd name="T60" fmla="*/ 4 w 12"/>
                <a:gd name="T61" fmla="*/ 8 h 23"/>
                <a:gd name="T62" fmla="*/ 5 w 12"/>
                <a:gd name="T63" fmla="*/ 6 h 23"/>
                <a:gd name="T64" fmla="*/ 7 w 12"/>
                <a:gd name="T65" fmla="*/ 4 h 23"/>
                <a:gd name="T66" fmla="*/ 8 w 12"/>
                <a:gd name="T67" fmla="*/ 4 h 23"/>
                <a:gd name="T68" fmla="*/ 9 w 12"/>
                <a:gd name="T69" fmla="*/ 3 h 23"/>
                <a:gd name="T70" fmla="*/ 10 w 12"/>
                <a:gd name="T71" fmla="*/ 3 h 23"/>
                <a:gd name="T72" fmla="*/ 11 w 12"/>
                <a:gd name="T73" fmla="*/ 4 h 23"/>
                <a:gd name="T74" fmla="*/ 11 w 12"/>
                <a:gd name="T75" fmla="*/ 4 h 23"/>
                <a:gd name="T76" fmla="*/ 12 w 12"/>
                <a:gd name="T77" fmla="*/ 4 h 23"/>
                <a:gd name="T78" fmla="*/ 12 w 12"/>
                <a:gd name="T79" fmla="*/ 4 h 23"/>
                <a:gd name="T80" fmla="*/ 12 w 12"/>
                <a:gd name="T81" fmla="*/ 4 h 23"/>
                <a:gd name="T82" fmla="*/ 12 w 12"/>
                <a:gd name="T83" fmla="*/ 3 h 23"/>
                <a:gd name="T84" fmla="*/ 12 w 12"/>
                <a:gd name="T85" fmla="*/ 2 h 23"/>
                <a:gd name="T86" fmla="*/ 12 w 12"/>
                <a:gd name="T8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1"/>
                  </a:moveTo>
                  <a:cubicBezTo>
                    <a:pt x="12" y="1"/>
                    <a:pt x="12" y="1"/>
                    <a:pt x="12" y="1"/>
                  </a:cubicBezTo>
                  <a:cubicBezTo>
                    <a:pt x="12" y="1"/>
                    <a:pt x="12" y="1"/>
                    <a:pt x="12" y="1"/>
                  </a:cubicBezTo>
                  <a:cubicBezTo>
                    <a:pt x="12" y="0"/>
                    <a:pt x="12" y="0"/>
                    <a:pt x="12" y="0"/>
                  </a:cubicBezTo>
                  <a:cubicBezTo>
                    <a:pt x="12" y="0"/>
                    <a:pt x="12" y="0"/>
                    <a:pt x="12" y="0"/>
                  </a:cubicBezTo>
                  <a:cubicBezTo>
                    <a:pt x="11" y="0"/>
                    <a:pt x="11" y="0"/>
                    <a:pt x="11" y="0"/>
                  </a:cubicBezTo>
                  <a:cubicBezTo>
                    <a:pt x="11" y="0"/>
                    <a:pt x="10" y="0"/>
                    <a:pt x="10" y="0"/>
                  </a:cubicBezTo>
                  <a:cubicBezTo>
                    <a:pt x="10" y="0"/>
                    <a:pt x="10" y="0"/>
                    <a:pt x="9" y="0"/>
                  </a:cubicBezTo>
                  <a:cubicBezTo>
                    <a:pt x="9" y="0"/>
                    <a:pt x="8" y="0"/>
                    <a:pt x="8" y="0"/>
                  </a:cubicBezTo>
                  <a:cubicBezTo>
                    <a:pt x="8" y="0"/>
                    <a:pt x="7" y="0"/>
                    <a:pt x="7" y="0"/>
                  </a:cubicBezTo>
                  <a:cubicBezTo>
                    <a:pt x="6" y="1"/>
                    <a:pt x="6" y="1"/>
                    <a:pt x="5" y="2"/>
                  </a:cubicBezTo>
                  <a:cubicBezTo>
                    <a:pt x="5" y="2"/>
                    <a:pt x="4" y="3"/>
                    <a:pt x="4" y="4"/>
                  </a:cubicBezTo>
                  <a:cubicBezTo>
                    <a:pt x="4" y="1"/>
                    <a:pt x="4" y="1"/>
                    <a:pt x="4" y="1"/>
                  </a:cubicBezTo>
                  <a:cubicBezTo>
                    <a:pt x="4" y="1"/>
                    <a:pt x="4" y="1"/>
                    <a:pt x="4" y="0"/>
                  </a:cubicBezTo>
                  <a:cubicBezTo>
                    <a:pt x="3" y="0"/>
                    <a:pt x="3" y="0"/>
                    <a:pt x="3" y="0"/>
                  </a:cubicBezTo>
                  <a:cubicBezTo>
                    <a:pt x="3" y="0"/>
                    <a:pt x="3" y="0"/>
                    <a:pt x="3" y="0"/>
                  </a:cubicBezTo>
                  <a:cubicBezTo>
                    <a:pt x="2" y="0"/>
                    <a:pt x="2" y="0"/>
                    <a:pt x="2" y="0"/>
                  </a:cubicBezTo>
                  <a:cubicBezTo>
                    <a:pt x="2" y="0"/>
                    <a:pt x="1" y="0"/>
                    <a:pt x="1" y="0"/>
                  </a:cubicBezTo>
                  <a:cubicBezTo>
                    <a:pt x="1" y="0"/>
                    <a:pt x="1" y="0"/>
                    <a:pt x="0" y="0"/>
                  </a:cubicBezTo>
                  <a:cubicBezTo>
                    <a:pt x="0" y="0"/>
                    <a:pt x="0" y="0"/>
                    <a:pt x="0" y="0"/>
                  </a:cubicBezTo>
                  <a:cubicBezTo>
                    <a:pt x="0" y="1"/>
                    <a:pt x="0" y="1"/>
                    <a:pt x="0" y="1"/>
                  </a:cubicBezTo>
                  <a:cubicBezTo>
                    <a:pt x="0" y="22"/>
                    <a:pt x="0" y="22"/>
                    <a:pt x="0" y="22"/>
                  </a:cubicBezTo>
                  <a:cubicBezTo>
                    <a:pt x="0" y="22"/>
                    <a:pt x="0" y="22"/>
                    <a:pt x="0" y="22"/>
                  </a:cubicBezTo>
                  <a:cubicBezTo>
                    <a:pt x="0" y="22"/>
                    <a:pt x="0" y="22"/>
                    <a:pt x="0" y="22"/>
                  </a:cubicBezTo>
                  <a:cubicBezTo>
                    <a:pt x="1" y="22"/>
                    <a:pt x="1" y="22"/>
                    <a:pt x="1" y="23"/>
                  </a:cubicBezTo>
                  <a:cubicBezTo>
                    <a:pt x="1" y="23"/>
                    <a:pt x="2" y="23"/>
                    <a:pt x="2" y="23"/>
                  </a:cubicBezTo>
                  <a:cubicBezTo>
                    <a:pt x="2" y="23"/>
                    <a:pt x="3" y="23"/>
                    <a:pt x="3" y="23"/>
                  </a:cubicBezTo>
                  <a:cubicBezTo>
                    <a:pt x="3" y="22"/>
                    <a:pt x="3" y="22"/>
                    <a:pt x="4" y="22"/>
                  </a:cubicBezTo>
                  <a:cubicBezTo>
                    <a:pt x="4" y="22"/>
                    <a:pt x="4" y="22"/>
                    <a:pt x="4" y="22"/>
                  </a:cubicBezTo>
                  <a:cubicBezTo>
                    <a:pt x="4" y="22"/>
                    <a:pt x="4" y="22"/>
                    <a:pt x="4" y="22"/>
                  </a:cubicBezTo>
                  <a:cubicBezTo>
                    <a:pt x="4" y="8"/>
                    <a:pt x="4" y="8"/>
                    <a:pt x="4" y="8"/>
                  </a:cubicBezTo>
                  <a:cubicBezTo>
                    <a:pt x="5" y="7"/>
                    <a:pt x="5" y="6"/>
                    <a:pt x="5" y="6"/>
                  </a:cubicBezTo>
                  <a:cubicBezTo>
                    <a:pt x="6" y="5"/>
                    <a:pt x="6" y="5"/>
                    <a:pt x="7" y="4"/>
                  </a:cubicBezTo>
                  <a:cubicBezTo>
                    <a:pt x="7" y="4"/>
                    <a:pt x="8" y="4"/>
                    <a:pt x="8" y="4"/>
                  </a:cubicBezTo>
                  <a:cubicBezTo>
                    <a:pt x="8" y="3"/>
                    <a:pt x="9" y="3"/>
                    <a:pt x="9" y="3"/>
                  </a:cubicBezTo>
                  <a:cubicBezTo>
                    <a:pt x="9" y="3"/>
                    <a:pt x="10" y="3"/>
                    <a:pt x="10" y="3"/>
                  </a:cubicBezTo>
                  <a:cubicBezTo>
                    <a:pt x="10" y="3"/>
                    <a:pt x="11" y="4"/>
                    <a:pt x="11" y="4"/>
                  </a:cubicBezTo>
                  <a:cubicBezTo>
                    <a:pt x="11" y="4"/>
                    <a:pt x="11" y="4"/>
                    <a:pt x="11" y="4"/>
                  </a:cubicBezTo>
                  <a:cubicBezTo>
                    <a:pt x="12" y="4"/>
                    <a:pt x="12" y="4"/>
                    <a:pt x="12" y="4"/>
                  </a:cubicBezTo>
                  <a:cubicBezTo>
                    <a:pt x="12" y="4"/>
                    <a:pt x="12" y="4"/>
                    <a:pt x="12" y="4"/>
                  </a:cubicBezTo>
                  <a:cubicBezTo>
                    <a:pt x="12" y="4"/>
                    <a:pt x="12" y="4"/>
                    <a:pt x="12" y="4"/>
                  </a:cubicBezTo>
                  <a:cubicBezTo>
                    <a:pt x="12" y="3"/>
                    <a:pt x="12" y="3"/>
                    <a:pt x="12" y="3"/>
                  </a:cubicBezTo>
                  <a:cubicBezTo>
                    <a:pt x="12" y="3"/>
                    <a:pt x="12" y="2"/>
                    <a:pt x="12" y="2"/>
                  </a:cubicBezTo>
                  <a:cubicBezTo>
                    <a:pt x="12" y="2"/>
                    <a:pt x="12" y="1"/>
                    <a:pt x="12"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10">
              <a:extLst>
                <a:ext uri="{FF2B5EF4-FFF2-40B4-BE49-F238E27FC236}">
                  <a16:creationId xmlns:a16="http://schemas.microsoft.com/office/drawing/2014/main" id="{566E5E57-0469-46E0-A0B7-8D00C7019D89}"/>
                </a:ext>
              </a:extLst>
            </p:cNvPr>
            <p:cNvSpPr>
              <a:spLocks noEditPoints="1"/>
            </p:cNvSpPr>
            <p:nvPr/>
          </p:nvSpPr>
          <p:spPr bwMode="auto">
            <a:xfrm>
              <a:off x="5440980" y="5901426"/>
              <a:ext cx="57717" cy="77917"/>
            </a:xfrm>
            <a:custGeom>
              <a:avLst/>
              <a:gdLst>
                <a:gd name="T0" fmla="*/ 17 w 17"/>
                <a:gd name="T1" fmla="*/ 8 h 23"/>
                <a:gd name="T2" fmla="*/ 16 w 17"/>
                <a:gd name="T3" fmla="*/ 4 h 23"/>
                <a:gd name="T4" fmla="*/ 15 w 17"/>
                <a:gd name="T5" fmla="*/ 2 h 23"/>
                <a:gd name="T6" fmla="*/ 12 w 17"/>
                <a:gd name="T7" fmla="*/ 0 h 23"/>
                <a:gd name="T8" fmla="*/ 9 w 17"/>
                <a:gd name="T9" fmla="*/ 0 h 23"/>
                <a:gd name="T10" fmla="*/ 6 w 17"/>
                <a:gd name="T11" fmla="*/ 0 h 23"/>
                <a:gd name="T12" fmla="*/ 4 w 17"/>
                <a:gd name="T13" fmla="*/ 0 h 23"/>
                <a:gd name="T14" fmla="*/ 2 w 17"/>
                <a:gd name="T15" fmla="*/ 1 h 23"/>
                <a:gd name="T16" fmla="*/ 1 w 17"/>
                <a:gd name="T17" fmla="*/ 2 h 23"/>
                <a:gd name="T18" fmla="*/ 1 w 17"/>
                <a:gd name="T19" fmla="*/ 3 h 23"/>
                <a:gd name="T20" fmla="*/ 1 w 17"/>
                <a:gd name="T21" fmla="*/ 4 h 23"/>
                <a:gd name="T22" fmla="*/ 1 w 17"/>
                <a:gd name="T23" fmla="*/ 4 h 23"/>
                <a:gd name="T24" fmla="*/ 1 w 17"/>
                <a:gd name="T25" fmla="*/ 5 h 23"/>
                <a:gd name="T26" fmla="*/ 1 w 17"/>
                <a:gd name="T27" fmla="*/ 5 h 23"/>
                <a:gd name="T28" fmla="*/ 1 w 17"/>
                <a:gd name="T29" fmla="*/ 5 h 23"/>
                <a:gd name="T30" fmla="*/ 2 w 17"/>
                <a:gd name="T31" fmla="*/ 5 h 23"/>
                <a:gd name="T32" fmla="*/ 4 w 17"/>
                <a:gd name="T33" fmla="*/ 4 h 23"/>
                <a:gd name="T34" fmla="*/ 6 w 17"/>
                <a:gd name="T35" fmla="*/ 3 h 23"/>
                <a:gd name="T36" fmla="*/ 8 w 17"/>
                <a:gd name="T37" fmla="*/ 3 h 23"/>
                <a:gd name="T38" fmla="*/ 10 w 17"/>
                <a:gd name="T39" fmla="*/ 3 h 23"/>
                <a:gd name="T40" fmla="*/ 12 w 17"/>
                <a:gd name="T41" fmla="*/ 4 h 23"/>
                <a:gd name="T42" fmla="*/ 13 w 17"/>
                <a:gd name="T43" fmla="*/ 6 h 23"/>
                <a:gd name="T44" fmla="*/ 13 w 17"/>
                <a:gd name="T45" fmla="*/ 8 h 23"/>
                <a:gd name="T46" fmla="*/ 13 w 17"/>
                <a:gd name="T47" fmla="*/ 9 h 23"/>
                <a:gd name="T48" fmla="*/ 10 w 17"/>
                <a:gd name="T49" fmla="*/ 9 h 23"/>
                <a:gd name="T50" fmla="*/ 6 w 17"/>
                <a:gd name="T51" fmla="*/ 10 h 23"/>
                <a:gd name="T52" fmla="*/ 2 w 17"/>
                <a:gd name="T53" fmla="*/ 11 h 23"/>
                <a:gd name="T54" fmla="*/ 0 w 17"/>
                <a:gd name="T55" fmla="*/ 13 h 23"/>
                <a:gd name="T56" fmla="*/ 0 w 17"/>
                <a:gd name="T57" fmla="*/ 16 h 23"/>
                <a:gd name="T58" fmla="*/ 0 w 17"/>
                <a:gd name="T59" fmla="*/ 19 h 23"/>
                <a:gd name="T60" fmla="*/ 2 w 17"/>
                <a:gd name="T61" fmla="*/ 21 h 23"/>
                <a:gd name="T62" fmla="*/ 4 w 17"/>
                <a:gd name="T63" fmla="*/ 22 h 23"/>
                <a:gd name="T64" fmla="*/ 7 w 17"/>
                <a:gd name="T65" fmla="*/ 23 h 23"/>
                <a:gd name="T66" fmla="*/ 10 w 17"/>
                <a:gd name="T67" fmla="*/ 22 h 23"/>
                <a:gd name="T68" fmla="*/ 14 w 17"/>
                <a:gd name="T69" fmla="*/ 20 h 23"/>
                <a:gd name="T70" fmla="*/ 14 w 17"/>
                <a:gd name="T71" fmla="*/ 22 h 23"/>
                <a:gd name="T72" fmla="*/ 14 w 17"/>
                <a:gd name="T73" fmla="*/ 22 h 23"/>
                <a:gd name="T74" fmla="*/ 14 w 17"/>
                <a:gd name="T75" fmla="*/ 22 h 23"/>
                <a:gd name="T76" fmla="*/ 15 w 17"/>
                <a:gd name="T77" fmla="*/ 23 h 23"/>
                <a:gd name="T78" fmla="*/ 16 w 17"/>
                <a:gd name="T79" fmla="*/ 22 h 23"/>
                <a:gd name="T80" fmla="*/ 17 w 17"/>
                <a:gd name="T81" fmla="*/ 22 h 23"/>
                <a:gd name="T82" fmla="*/ 17 w 17"/>
                <a:gd name="T83" fmla="*/ 22 h 23"/>
                <a:gd name="T84" fmla="*/ 17 w 17"/>
                <a:gd name="T85" fmla="*/ 8 h 23"/>
                <a:gd name="T86" fmla="*/ 13 w 17"/>
                <a:gd name="T87" fmla="*/ 17 h 23"/>
                <a:gd name="T88" fmla="*/ 10 w 17"/>
                <a:gd name="T89" fmla="*/ 19 h 23"/>
                <a:gd name="T90" fmla="*/ 7 w 17"/>
                <a:gd name="T91" fmla="*/ 20 h 23"/>
                <a:gd name="T92" fmla="*/ 5 w 17"/>
                <a:gd name="T93" fmla="*/ 19 h 23"/>
                <a:gd name="T94" fmla="*/ 4 w 17"/>
                <a:gd name="T95" fmla="*/ 16 h 23"/>
                <a:gd name="T96" fmla="*/ 4 w 17"/>
                <a:gd name="T97" fmla="*/ 15 h 23"/>
                <a:gd name="T98" fmla="*/ 5 w 17"/>
                <a:gd name="T99" fmla="*/ 13 h 23"/>
                <a:gd name="T100" fmla="*/ 7 w 17"/>
                <a:gd name="T101" fmla="*/ 12 h 23"/>
                <a:gd name="T102" fmla="*/ 10 w 17"/>
                <a:gd name="T103" fmla="*/ 12 h 23"/>
                <a:gd name="T104" fmla="*/ 13 w 17"/>
                <a:gd name="T105" fmla="*/ 12 h 23"/>
                <a:gd name="T106" fmla="*/ 13 w 17"/>
                <a:gd name="T10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 h="23">
                  <a:moveTo>
                    <a:pt x="17" y="8"/>
                  </a:moveTo>
                  <a:cubicBezTo>
                    <a:pt x="17" y="6"/>
                    <a:pt x="17" y="5"/>
                    <a:pt x="16" y="4"/>
                  </a:cubicBezTo>
                  <a:cubicBezTo>
                    <a:pt x="16" y="3"/>
                    <a:pt x="16" y="2"/>
                    <a:pt x="15" y="2"/>
                  </a:cubicBezTo>
                  <a:cubicBezTo>
                    <a:pt x="14" y="1"/>
                    <a:pt x="13" y="1"/>
                    <a:pt x="12" y="0"/>
                  </a:cubicBezTo>
                  <a:cubicBezTo>
                    <a:pt x="11" y="0"/>
                    <a:pt x="10" y="0"/>
                    <a:pt x="9" y="0"/>
                  </a:cubicBezTo>
                  <a:cubicBezTo>
                    <a:pt x="8" y="0"/>
                    <a:pt x="7" y="0"/>
                    <a:pt x="6" y="0"/>
                  </a:cubicBezTo>
                  <a:cubicBezTo>
                    <a:pt x="5" y="0"/>
                    <a:pt x="5" y="0"/>
                    <a:pt x="4" y="0"/>
                  </a:cubicBezTo>
                  <a:cubicBezTo>
                    <a:pt x="3" y="1"/>
                    <a:pt x="3" y="1"/>
                    <a:pt x="2" y="1"/>
                  </a:cubicBezTo>
                  <a:cubicBezTo>
                    <a:pt x="2" y="1"/>
                    <a:pt x="1" y="2"/>
                    <a:pt x="1" y="2"/>
                  </a:cubicBezTo>
                  <a:cubicBezTo>
                    <a:pt x="1" y="2"/>
                    <a:pt x="1" y="2"/>
                    <a:pt x="1" y="3"/>
                  </a:cubicBezTo>
                  <a:cubicBezTo>
                    <a:pt x="1" y="3"/>
                    <a:pt x="1" y="3"/>
                    <a:pt x="1" y="4"/>
                  </a:cubicBezTo>
                  <a:cubicBezTo>
                    <a:pt x="1" y="4"/>
                    <a:pt x="1" y="4"/>
                    <a:pt x="1" y="4"/>
                  </a:cubicBezTo>
                  <a:cubicBezTo>
                    <a:pt x="1" y="4"/>
                    <a:pt x="1" y="5"/>
                    <a:pt x="1" y="5"/>
                  </a:cubicBezTo>
                  <a:cubicBezTo>
                    <a:pt x="1" y="5"/>
                    <a:pt x="1" y="5"/>
                    <a:pt x="1" y="5"/>
                  </a:cubicBezTo>
                  <a:cubicBezTo>
                    <a:pt x="1" y="5"/>
                    <a:pt x="1" y="5"/>
                    <a:pt x="1" y="5"/>
                  </a:cubicBezTo>
                  <a:cubicBezTo>
                    <a:pt x="2" y="5"/>
                    <a:pt x="2" y="5"/>
                    <a:pt x="2" y="5"/>
                  </a:cubicBezTo>
                  <a:cubicBezTo>
                    <a:pt x="3" y="4"/>
                    <a:pt x="3" y="4"/>
                    <a:pt x="4" y="4"/>
                  </a:cubicBezTo>
                  <a:cubicBezTo>
                    <a:pt x="4" y="4"/>
                    <a:pt x="5" y="3"/>
                    <a:pt x="6" y="3"/>
                  </a:cubicBezTo>
                  <a:cubicBezTo>
                    <a:pt x="6" y="3"/>
                    <a:pt x="7" y="3"/>
                    <a:pt x="8" y="3"/>
                  </a:cubicBezTo>
                  <a:cubicBezTo>
                    <a:pt x="9" y="3"/>
                    <a:pt x="10" y="3"/>
                    <a:pt x="10" y="3"/>
                  </a:cubicBezTo>
                  <a:cubicBezTo>
                    <a:pt x="11" y="3"/>
                    <a:pt x="12" y="4"/>
                    <a:pt x="12" y="4"/>
                  </a:cubicBezTo>
                  <a:cubicBezTo>
                    <a:pt x="12" y="4"/>
                    <a:pt x="13" y="5"/>
                    <a:pt x="13" y="6"/>
                  </a:cubicBezTo>
                  <a:cubicBezTo>
                    <a:pt x="13" y="6"/>
                    <a:pt x="13" y="7"/>
                    <a:pt x="13" y="8"/>
                  </a:cubicBezTo>
                  <a:cubicBezTo>
                    <a:pt x="13" y="9"/>
                    <a:pt x="13" y="9"/>
                    <a:pt x="13" y="9"/>
                  </a:cubicBezTo>
                  <a:cubicBezTo>
                    <a:pt x="10" y="9"/>
                    <a:pt x="10" y="9"/>
                    <a:pt x="10" y="9"/>
                  </a:cubicBezTo>
                  <a:cubicBezTo>
                    <a:pt x="8" y="9"/>
                    <a:pt x="7" y="10"/>
                    <a:pt x="6" y="10"/>
                  </a:cubicBezTo>
                  <a:cubicBezTo>
                    <a:pt x="4" y="10"/>
                    <a:pt x="3" y="11"/>
                    <a:pt x="2" y="11"/>
                  </a:cubicBezTo>
                  <a:cubicBezTo>
                    <a:pt x="1" y="12"/>
                    <a:pt x="1" y="12"/>
                    <a:pt x="0" y="13"/>
                  </a:cubicBezTo>
                  <a:cubicBezTo>
                    <a:pt x="0" y="14"/>
                    <a:pt x="0" y="15"/>
                    <a:pt x="0" y="16"/>
                  </a:cubicBezTo>
                  <a:cubicBezTo>
                    <a:pt x="0" y="17"/>
                    <a:pt x="0" y="18"/>
                    <a:pt x="0" y="19"/>
                  </a:cubicBezTo>
                  <a:cubicBezTo>
                    <a:pt x="0" y="20"/>
                    <a:pt x="1" y="21"/>
                    <a:pt x="2" y="21"/>
                  </a:cubicBezTo>
                  <a:cubicBezTo>
                    <a:pt x="2" y="22"/>
                    <a:pt x="3" y="22"/>
                    <a:pt x="4" y="22"/>
                  </a:cubicBezTo>
                  <a:cubicBezTo>
                    <a:pt x="5" y="23"/>
                    <a:pt x="6" y="23"/>
                    <a:pt x="7" y="23"/>
                  </a:cubicBezTo>
                  <a:cubicBezTo>
                    <a:pt x="8" y="23"/>
                    <a:pt x="9" y="23"/>
                    <a:pt x="10" y="22"/>
                  </a:cubicBezTo>
                  <a:cubicBezTo>
                    <a:pt x="12" y="21"/>
                    <a:pt x="13" y="21"/>
                    <a:pt x="14" y="20"/>
                  </a:cubicBezTo>
                  <a:cubicBezTo>
                    <a:pt x="14" y="22"/>
                    <a:pt x="14" y="22"/>
                    <a:pt x="14" y="22"/>
                  </a:cubicBezTo>
                  <a:cubicBezTo>
                    <a:pt x="14" y="22"/>
                    <a:pt x="14" y="22"/>
                    <a:pt x="14" y="22"/>
                  </a:cubicBezTo>
                  <a:cubicBezTo>
                    <a:pt x="14" y="22"/>
                    <a:pt x="14" y="22"/>
                    <a:pt x="14" y="22"/>
                  </a:cubicBezTo>
                  <a:cubicBezTo>
                    <a:pt x="14" y="23"/>
                    <a:pt x="15" y="23"/>
                    <a:pt x="15" y="23"/>
                  </a:cubicBezTo>
                  <a:cubicBezTo>
                    <a:pt x="16" y="23"/>
                    <a:pt x="16" y="23"/>
                    <a:pt x="16" y="22"/>
                  </a:cubicBezTo>
                  <a:cubicBezTo>
                    <a:pt x="16" y="22"/>
                    <a:pt x="17" y="22"/>
                    <a:pt x="17" y="22"/>
                  </a:cubicBezTo>
                  <a:cubicBezTo>
                    <a:pt x="17" y="22"/>
                    <a:pt x="17" y="22"/>
                    <a:pt x="17" y="22"/>
                  </a:cubicBezTo>
                  <a:cubicBezTo>
                    <a:pt x="17" y="8"/>
                    <a:pt x="17" y="8"/>
                    <a:pt x="17" y="8"/>
                  </a:cubicBezTo>
                  <a:close/>
                  <a:moveTo>
                    <a:pt x="13" y="17"/>
                  </a:moveTo>
                  <a:cubicBezTo>
                    <a:pt x="12" y="18"/>
                    <a:pt x="11" y="19"/>
                    <a:pt x="10" y="19"/>
                  </a:cubicBezTo>
                  <a:cubicBezTo>
                    <a:pt x="9" y="20"/>
                    <a:pt x="8" y="20"/>
                    <a:pt x="7" y="20"/>
                  </a:cubicBezTo>
                  <a:cubicBezTo>
                    <a:pt x="6" y="20"/>
                    <a:pt x="5" y="20"/>
                    <a:pt x="5" y="19"/>
                  </a:cubicBezTo>
                  <a:cubicBezTo>
                    <a:pt x="4" y="18"/>
                    <a:pt x="4" y="17"/>
                    <a:pt x="4" y="16"/>
                  </a:cubicBezTo>
                  <a:cubicBezTo>
                    <a:pt x="4" y="16"/>
                    <a:pt x="4" y="15"/>
                    <a:pt x="4" y="15"/>
                  </a:cubicBezTo>
                  <a:cubicBezTo>
                    <a:pt x="4" y="14"/>
                    <a:pt x="5" y="14"/>
                    <a:pt x="5" y="13"/>
                  </a:cubicBezTo>
                  <a:cubicBezTo>
                    <a:pt x="6" y="13"/>
                    <a:pt x="6" y="13"/>
                    <a:pt x="7" y="12"/>
                  </a:cubicBezTo>
                  <a:cubicBezTo>
                    <a:pt x="8" y="12"/>
                    <a:pt x="9" y="12"/>
                    <a:pt x="10" y="12"/>
                  </a:cubicBezTo>
                  <a:cubicBezTo>
                    <a:pt x="13" y="12"/>
                    <a:pt x="13" y="12"/>
                    <a:pt x="13" y="12"/>
                  </a:cubicBezTo>
                  <a:cubicBezTo>
                    <a:pt x="13" y="17"/>
                    <a:pt x="13" y="17"/>
                    <a:pt x="13" y="17"/>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11">
              <a:extLst>
                <a:ext uri="{FF2B5EF4-FFF2-40B4-BE49-F238E27FC236}">
                  <a16:creationId xmlns:a16="http://schemas.microsoft.com/office/drawing/2014/main" id="{52465819-634B-41F5-8B06-075DA4B8A120}"/>
                </a:ext>
              </a:extLst>
            </p:cNvPr>
            <p:cNvSpPr>
              <a:spLocks/>
            </p:cNvSpPr>
            <p:nvPr/>
          </p:nvSpPr>
          <p:spPr bwMode="auto">
            <a:xfrm>
              <a:off x="5516011" y="5901426"/>
              <a:ext cx="51945" cy="77917"/>
            </a:xfrm>
            <a:custGeom>
              <a:avLst/>
              <a:gdLst>
                <a:gd name="T0" fmla="*/ 15 w 15"/>
                <a:gd name="T1" fmla="*/ 14 h 23"/>
                <a:gd name="T2" fmla="*/ 14 w 15"/>
                <a:gd name="T3" fmla="*/ 12 h 23"/>
                <a:gd name="T4" fmla="*/ 12 w 15"/>
                <a:gd name="T5" fmla="*/ 11 h 23"/>
                <a:gd name="T6" fmla="*/ 10 w 15"/>
                <a:gd name="T7" fmla="*/ 10 h 23"/>
                <a:gd name="T8" fmla="*/ 8 w 15"/>
                <a:gd name="T9" fmla="*/ 9 h 23"/>
                <a:gd name="T10" fmla="*/ 6 w 15"/>
                <a:gd name="T11" fmla="*/ 8 h 23"/>
                <a:gd name="T12" fmla="*/ 5 w 15"/>
                <a:gd name="T13" fmla="*/ 7 h 23"/>
                <a:gd name="T14" fmla="*/ 5 w 15"/>
                <a:gd name="T15" fmla="*/ 6 h 23"/>
                <a:gd name="T16" fmla="*/ 5 w 15"/>
                <a:gd name="T17" fmla="*/ 5 h 23"/>
                <a:gd name="T18" fmla="*/ 6 w 15"/>
                <a:gd name="T19" fmla="*/ 4 h 23"/>
                <a:gd name="T20" fmla="*/ 7 w 15"/>
                <a:gd name="T21" fmla="*/ 3 h 23"/>
                <a:gd name="T22" fmla="*/ 8 w 15"/>
                <a:gd name="T23" fmla="*/ 3 h 23"/>
                <a:gd name="T24" fmla="*/ 10 w 15"/>
                <a:gd name="T25" fmla="*/ 3 h 23"/>
                <a:gd name="T26" fmla="*/ 12 w 15"/>
                <a:gd name="T27" fmla="*/ 3 h 23"/>
                <a:gd name="T28" fmla="*/ 13 w 15"/>
                <a:gd name="T29" fmla="*/ 4 h 23"/>
                <a:gd name="T30" fmla="*/ 14 w 15"/>
                <a:gd name="T31" fmla="*/ 4 h 23"/>
                <a:gd name="T32" fmla="*/ 14 w 15"/>
                <a:gd name="T33" fmla="*/ 4 h 23"/>
                <a:gd name="T34" fmla="*/ 14 w 15"/>
                <a:gd name="T35" fmla="*/ 4 h 23"/>
                <a:gd name="T36" fmla="*/ 14 w 15"/>
                <a:gd name="T37" fmla="*/ 3 h 23"/>
                <a:gd name="T38" fmla="*/ 14 w 15"/>
                <a:gd name="T39" fmla="*/ 3 h 23"/>
                <a:gd name="T40" fmla="*/ 14 w 15"/>
                <a:gd name="T41" fmla="*/ 2 h 23"/>
                <a:gd name="T42" fmla="*/ 14 w 15"/>
                <a:gd name="T43" fmla="*/ 2 h 23"/>
                <a:gd name="T44" fmla="*/ 14 w 15"/>
                <a:gd name="T45" fmla="*/ 1 h 23"/>
                <a:gd name="T46" fmla="*/ 14 w 15"/>
                <a:gd name="T47" fmla="*/ 1 h 23"/>
                <a:gd name="T48" fmla="*/ 13 w 15"/>
                <a:gd name="T49" fmla="*/ 1 h 23"/>
                <a:gd name="T50" fmla="*/ 12 w 15"/>
                <a:gd name="T51" fmla="*/ 0 h 23"/>
                <a:gd name="T52" fmla="*/ 10 w 15"/>
                <a:gd name="T53" fmla="*/ 0 h 23"/>
                <a:gd name="T54" fmla="*/ 9 w 15"/>
                <a:gd name="T55" fmla="*/ 0 h 23"/>
                <a:gd name="T56" fmla="*/ 5 w 15"/>
                <a:gd name="T57" fmla="*/ 0 h 23"/>
                <a:gd name="T58" fmla="*/ 3 w 15"/>
                <a:gd name="T59" fmla="*/ 2 h 23"/>
                <a:gd name="T60" fmla="*/ 1 w 15"/>
                <a:gd name="T61" fmla="*/ 4 h 23"/>
                <a:gd name="T62" fmla="*/ 1 w 15"/>
                <a:gd name="T63" fmla="*/ 6 h 23"/>
                <a:gd name="T64" fmla="*/ 1 w 15"/>
                <a:gd name="T65" fmla="*/ 8 h 23"/>
                <a:gd name="T66" fmla="*/ 3 w 15"/>
                <a:gd name="T67" fmla="*/ 10 h 23"/>
                <a:gd name="T68" fmla="*/ 4 w 15"/>
                <a:gd name="T69" fmla="*/ 11 h 23"/>
                <a:gd name="T70" fmla="*/ 6 w 15"/>
                <a:gd name="T71" fmla="*/ 12 h 23"/>
                <a:gd name="T72" fmla="*/ 8 w 15"/>
                <a:gd name="T73" fmla="*/ 13 h 23"/>
                <a:gd name="T74" fmla="*/ 10 w 15"/>
                <a:gd name="T75" fmla="*/ 14 h 23"/>
                <a:gd name="T76" fmla="*/ 11 w 15"/>
                <a:gd name="T77" fmla="*/ 15 h 23"/>
                <a:gd name="T78" fmla="*/ 11 w 15"/>
                <a:gd name="T79" fmla="*/ 16 h 23"/>
                <a:gd name="T80" fmla="*/ 11 w 15"/>
                <a:gd name="T81" fmla="*/ 18 h 23"/>
                <a:gd name="T82" fmla="*/ 10 w 15"/>
                <a:gd name="T83" fmla="*/ 19 h 23"/>
                <a:gd name="T84" fmla="*/ 9 w 15"/>
                <a:gd name="T85" fmla="*/ 20 h 23"/>
                <a:gd name="T86" fmla="*/ 7 w 15"/>
                <a:gd name="T87" fmla="*/ 20 h 23"/>
                <a:gd name="T88" fmla="*/ 5 w 15"/>
                <a:gd name="T89" fmla="*/ 19 h 23"/>
                <a:gd name="T90" fmla="*/ 3 w 15"/>
                <a:gd name="T91" fmla="*/ 19 h 23"/>
                <a:gd name="T92" fmla="*/ 2 w 15"/>
                <a:gd name="T93" fmla="*/ 18 h 23"/>
                <a:gd name="T94" fmla="*/ 1 w 15"/>
                <a:gd name="T95" fmla="*/ 18 h 23"/>
                <a:gd name="T96" fmla="*/ 1 w 15"/>
                <a:gd name="T97" fmla="*/ 18 h 23"/>
                <a:gd name="T98" fmla="*/ 0 w 15"/>
                <a:gd name="T99" fmla="*/ 18 h 23"/>
                <a:gd name="T100" fmla="*/ 0 w 15"/>
                <a:gd name="T101" fmla="*/ 19 h 23"/>
                <a:gd name="T102" fmla="*/ 0 w 15"/>
                <a:gd name="T103" fmla="*/ 19 h 23"/>
                <a:gd name="T104" fmla="*/ 0 w 15"/>
                <a:gd name="T105" fmla="*/ 20 h 23"/>
                <a:gd name="T106" fmla="*/ 1 w 15"/>
                <a:gd name="T107" fmla="*/ 21 h 23"/>
                <a:gd name="T108" fmla="*/ 2 w 15"/>
                <a:gd name="T109" fmla="*/ 22 h 23"/>
                <a:gd name="T110" fmla="*/ 3 w 15"/>
                <a:gd name="T111" fmla="*/ 22 h 23"/>
                <a:gd name="T112" fmla="*/ 5 w 15"/>
                <a:gd name="T113" fmla="*/ 23 h 23"/>
                <a:gd name="T114" fmla="*/ 7 w 15"/>
                <a:gd name="T115" fmla="*/ 23 h 23"/>
                <a:gd name="T116" fmla="*/ 10 w 15"/>
                <a:gd name="T117" fmla="*/ 22 h 23"/>
                <a:gd name="T118" fmla="*/ 13 w 15"/>
                <a:gd name="T119" fmla="*/ 21 h 23"/>
                <a:gd name="T120" fmla="*/ 15 w 15"/>
                <a:gd name="T121" fmla="*/ 19 h 23"/>
                <a:gd name="T122" fmla="*/ 15 w 15"/>
                <a:gd name="T123" fmla="*/ 16 h 23"/>
                <a:gd name="T124" fmla="*/ 15 w 15"/>
                <a:gd name="T1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3">
                  <a:moveTo>
                    <a:pt x="15" y="14"/>
                  </a:moveTo>
                  <a:cubicBezTo>
                    <a:pt x="14" y="13"/>
                    <a:pt x="14" y="13"/>
                    <a:pt x="14" y="12"/>
                  </a:cubicBezTo>
                  <a:cubicBezTo>
                    <a:pt x="13" y="12"/>
                    <a:pt x="13" y="11"/>
                    <a:pt x="12" y="11"/>
                  </a:cubicBezTo>
                  <a:cubicBezTo>
                    <a:pt x="11" y="11"/>
                    <a:pt x="11" y="10"/>
                    <a:pt x="10" y="10"/>
                  </a:cubicBezTo>
                  <a:cubicBezTo>
                    <a:pt x="9" y="10"/>
                    <a:pt x="9" y="9"/>
                    <a:pt x="8" y="9"/>
                  </a:cubicBezTo>
                  <a:cubicBezTo>
                    <a:pt x="7" y="9"/>
                    <a:pt x="7" y="9"/>
                    <a:pt x="6" y="8"/>
                  </a:cubicBezTo>
                  <a:cubicBezTo>
                    <a:pt x="6" y="8"/>
                    <a:pt x="5" y="8"/>
                    <a:pt x="5" y="7"/>
                  </a:cubicBezTo>
                  <a:cubicBezTo>
                    <a:pt x="5" y="7"/>
                    <a:pt x="5" y="6"/>
                    <a:pt x="5" y="6"/>
                  </a:cubicBezTo>
                  <a:cubicBezTo>
                    <a:pt x="5" y="5"/>
                    <a:pt x="5" y="5"/>
                    <a:pt x="5" y="5"/>
                  </a:cubicBezTo>
                  <a:cubicBezTo>
                    <a:pt x="5" y="4"/>
                    <a:pt x="5" y="4"/>
                    <a:pt x="6" y="4"/>
                  </a:cubicBezTo>
                  <a:cubicBezTo>
                    <a:pt x="6" y="3"/>
                    <a:pt x="6" y="3"/>
                    <a:pt x="7" y="3"/>
                  </a:cubicBezTo>
                  <a:cubicBezTo>
                    <a:pt x="7" y="3"/>
                    <a:pt x="8" y="3"/>
                    <a:pt x="8" y="3"/>
                  </a:cubicBezTo>
                  <a:cubicBezTo>
                    <a:pt x="9" y="3"/>
                    <a:pt x="10" y="3"/>
                    <a:pt x="10" y="3"/>
                  </a:cubicBezTo>
                  <a:cubicBezTo>
                    <a:pt x="11" y="3"/>
                    <a:pt x="12" y="3"/>
                    <a:pt x="12" y="3"/>
                  </a:cubicBezTo>
                  <a:cubicBezTo>
                    <a:pt x="12" y="4"/>
                    <a:pt x="13" y="4"/>
                    <a:pt x="13" y="4"/>
                  </a:cubicBezTo>
                  <a:cubicBezTo>
                    <a:pt x="13" y="4"/>
                    <a:pt x="13" y="4"/>
                    <a:pt x="14" y="4"/>
                  </a:cubicBezTo>
                  <a:cubicBezTo>
                    <a:pt x="14" y="4"/>
                    <a:pt x="14" y="4"/>
                    <a:pt x="14" y="4"/>
                  </a:cubicBezTo>
                  <a:cubicBezTo>
                    <a:pt x="14" y="4"/>
                    <a:pt x="14" y="4"/>
                    <a:pt x="14" y="4"/>
                  </a:cubicBezTo>
                  <a:cubicBezTo>
                    <a:pt x="14" y="4"/>
                    <a:pt x="14" y="4"/>
                    <a:pt x="14" y="3"/>
                  </a:cubicBezTo>
                  <a:cubicBezTo>
                    <a:pt x="14" y="3"/>
                    <a:pt x="14" y="3"/>
                    <a:pt x="14" y="3"/>
                  </a:cubicBezTo>
                  <a:cubicBezTo>
                    <a:pt x="14" y="3"/>
                    <a:pt x="14" y="2"/>
                    <a:pt x="14" y="2"/>
                  </a:cubicBezTo>
                  <a:cubicBezTo>
                    <a:pt x="14" y="2"/>
                    <a:pt x="14" y="2"/>
                    <a:pt x="14" y="2"/>
                  </a:cubicBezTo>
                  <a:cubicBezTo>
                    <a:pt x="14" y="2"/>
                    <a:pt x="14" y="1"/>
                    <a:pt x="14" y="1"/>
                  </a:cubicBezTo>
                  <a:cubicBezTo>
                    <a:pt x="14" y="1"/>
                    <a:pt x="14" y="1"/>
                    <a:pt x="14" y="1"/>
                  </a:cubicBezTo>
                  <a:cubicBezTo>
                    <a:pt x="13" y="1"/>
                    <a:pt x="13" y="1"/>
                    <a:pt x="13" y="1"/>
                  </a:cubicBezTo>
                  <a:cubicBezTo>
                    <a:pt x="13" y="0"/>
                    <a:pt x="12" y="0"/>
                    <a:pt x="12" y="0"/>
                  </a:cubicBezTo>
                  <a:cubicBezTo>
                    <a:pt x="11" y="0"/>
                    <a:pt x="11" y="0"/>
                    <a:pt x="10" y="0"/>
                  </a:cubicBezTo>
                  <a:cubicBezTo>
                    <a:pt x="10" y="0"/>
                    <a:pt x="9" y="0"/>
                    <a:pt x="9" y="0"/>
                  </a:cubicBezTo>
                  <a:cubicBezTo>
                    <a:pt x="7" y="0"/>
                    <a:pt x="6" y="0"/>
                    <a:pt x="5" y="0"/>
                  </a:cubicBezTo>
                  <a:cubicBezTo>
                    <a:pt x="4" y="1"/>
                    <a:pt x="3" y="1"/>
                    <a:pt x="3" y="2"/>
                  </a:cubicBezTo>
                  <a:cubicBezTo>
                    <a:pt x="2" y="2"/>
                    <a:pt x="2" y="3"/>
                    <a:pt x="1" y="4"/>
                  </a:cubicBezTo>
                  <a:cubicBezTo>
                    <a:pt x="1" y="4"/>
                    <a:pt x="1" y="5"/>
                    <a:pt x="1" y="6"/>
                  </a:cubicBezTo>
                  <a:cubicBezTo>
                    <a:pt x="1" y="7"/>
                    <a:pt x="1" y="8"/>
                    <a:pt x="1" y="8"/>
                  </a:cubicBezTo>
                  <a:cubicBezTo>
                    <a:pt x="2" y="9"/>
                    <a:pt x="2" y="10"/>
                    <a:pt x="3" y="10"/>
                  </a:cubicBezTo>
                  <a:cubicBezTo>
                    <a:pt x="3" y="11"/>
                    <a:pt x="4" y="11"/>
                    <a:pt x="4" y="11"/>
                  </a:cubicBezTo>
                  <a:cubicBezTo>
                    <a:pt x="5" y="12"/>
                    <a:pt x="5" y="12"/>
                    <a:pt x="6" y="12"/>
                  </a:cubicBezTo>
                  <a:cubicBezTo>
                    <a:pt x="7" y="12"/>
                    <a:pt x="7" y="13"/>
                    <a:pt x="8" y="13"/>
                  </a:cubicBezTo>
                  <a:cubicBezTo>
                    <a:pt x="9" y="13"/>
                    <a:pt x="9" y="14"/>
                    <a:pt x="10" y="14"/>
                  </a:cubicBezTo>
                  <a:cubicBezTo>
                    <a:pt x="10" y="14"/>
                    <a:pt x="11" y="14"/>
                    <a:pt x="11" y="15"/>
                  </a:cubicBezTo>
                  <a:cubicBezTo>
                    <a:pt x="11" y="15"/>
                    <a:pt x="11" y="16"/>
                    <a:pt x="11" y="16"/>
                  </a:cubicBezTo>
                  <a:cubicBezTo>
                    <a:pt x="11" y="17"/>
                    <a:pt x="11" y="17"/>
                    <a:pt x="11" y="18"/>
                  </a:cubicBezTo>
                  <a:cubicBezTo>
                    <a:pt x="11" y="18"/>
                    <a:pt x="11" y="19"/>
                    <a:pt x="10" y="19"/>
                  </a:cubicBezTo>
                  <a:cubicBezTo>
                    <a:pt x="10" y="19"/>
                    <a:pt x="9" y="19"/>
                    <a:pt x="9" y="20"/>
                  </a:cubicBezTo>
                  <a:cubicBezTo>
                    <a:pt x="8" y="20"/>
                    <a:pt x="8" y="20"/>
                    <a:pt x="7" y="20"/>
                  </a:cubicBezTo>
                  <a:cubicBezTo>
                    <a:pt x="6" y="20"/>
                    <a:pt x="5" y="20"/>
                    <a:pt x="5" y="19"/>
                  </a:cubicBezTo>
                  <a:cubicBezTo>
                    <a:pt x="4" y="19"/>
                    <a:pt x="3" y="19"/>
                    <a:pt x="3" y="19"/>
                  </a:cubicBezTo>
                  <a:cubicBezTo>
                    <a:pt x="2" y="19"/>
                    <a:pt x="2" y="18"/>
                    <a:pt x="2" y="18"/>
                  </a:cubicBezTo>
                  <a:cubicBezTo>
                    <a:pt x="1" y="18"/>
                    <a:pt x="1" y="18"/>
                    <a:pt x="1" y="18"/>
                  </a:cubicBezTo>
                  <a:cubicBezTo>
                    <a:pt x="1" y="18"/>
                    <a:pt x="1" y="18"/>
                    <a:pt x="1" y="18"/>
                  </a:cubicBezTo>
                  <a:cubicBezTo>
                    <a:pt x="1" y="18"/>
                    <a:pt x="1" y="18"/>
                    <a:pt x="0" y="18"/>
                  </a:cubicBezTo>
                  <a:cubicBezTo>
                    <a:pt x="0" y="18"/>
                    <a:pt x="0" y="18"/>
                    <a:pt x="0" y="19"/>
                  </a:cubicBezTo>
                  <a:cubicBezTo>
                    <a:pt x="0" y="19"/>
                    <a:pt x="0" y="19"/>
                    <a:pt x="0" y="19"/>
                  </a:cubicBezTo>
                  <a:cubicBezTo>
                    <a:pt x="0" y="20"/>
                    <a:pt x="0" y="20"/>
                    <a:pt x="0" y="20"/>
                  </a:cubicBezTo>
                  <a:cubicBezTo>
                    <a:pt x="1" y="21"/>
                    <a:pt x="1" y="21"/>
                    <a:pt x="1" y="21"/>
                  </a:cubicBezTo>
                  <a:cubicBezTo>
                    <a:pt x="1" y="21"/>
                    <a:pt x="1" y="21"/>
                    <a:pt x="2" y="22"/>
                  </a:cubicBezTo>
                  <a:cubicBezTo>
                    <a:pt x="2" y="22"/>
                    <a:pt x="2" y="22"/>
                    <a:pt x="3" y="22"/>
                  </a:cubicBezTo>
                  <a:cubicBezTo>
                    <a:pt x="4" y="22"/>
                    <a:pt x="4" y="23"/>
                    <a:pt x="5" y="23"/>
                  </a:cubicBezTo>
                  <a:cubicBezTo>
                    <a:pt x="6" y="23"/>
                    <a:pt x="6" y="23"/>
                    <a:pt x="7" y="23"/>
                  </a:cubicBezTo>
                  <a:cubicBezTo>
                    <a:pt x="8" y="23"/>
                    <a:pt x="9" y="23"/>
                    <a:pt x="10" y="22"/>
                  </a:cubicBezTo>
                  <a:cubicBezTo>
                    <a:pt x="11" y="22"/>
                    <a:pt x="12" y="22"/>
                    <a:pt x="13" y="21"/>
                  </a:cubicBezTo>
                  <a:cubicBezTo>
                    <a:pt x="14" y="21"/>
                    <a:pt x="14" y="20"/>
                    <a:pt x="15" y="19"/>
                  </a:cubicBezTo>
                  <a:cubicBezTo>
                    <a:pt x="15" y="18"/>
                    <a:pt x="15" y="17"/>
                    <a:pt x="15" y="16"/>
                  </a:cubicBezTo>
                  <a:cubicBezTo>
                    <a:pt x="15" y="15"/>
                    <a:pt x="15" y="14"/>
                    <a:pt x="15"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12">
              <a:extLst>
                <a:ext uri="{FF2B5EF4-FFF2-40B4-BE49-F238E27FC236}">
                  <a16:creationId xmlns:a16="http://schemas.microsoft.com/office/drawing/2014/main" id="{009A1475-0D7A-4225-88F8-BBBCFA0A3171}"/>
                </a:ext>
              </a:extLst>
            </p:cNvPr>
            <p:cNvSpPr>
              <a:spLocks/>
            </p:cNvSpPr>
            <p:nvPr/>
          </p:nvSpPr>
          <p:spPr bwMode="auto">
            <a:xfrm>
              <a:off x="5573728" y="5879783"/>
              <a:ext cx="49059" cy="99562"/>
            </a:xfrm>
            <a:custGeom>
              <a:avLst/>
              <a:gdLst>
                <a:gd name="T0" fmla="*/ 14 w 14"/>
                <a:gd name="T1" fmla="*/ 26 h 29"/>
                <a:gd name="T2" fmla="*/ 14 w 14"/>
                <a:gd name="T3" fmla="*/ 25 h 29"/>
                <a:gd name="T4" fmla="*/ 14 w 14"/>
                <a:gd name="T5" fmla="*/ 25 h 29"/>
                <a:gd name="T6" fmla="*/ 14 w 14"/>
                <a:gd name="T7" fmla="*/ 25 h 29"/>
                <a:gd name="T8" fmla="*/ 13 w 14"/>
                <a:gd name="T9" fmla="*/ 25 h 29"/>
                <a:gd name="T10" fmla="*/ 13 w 14"/>
                <a:gd name="T11" fmla="*/ 25 h 29"/>
                <a:gd name="T12" fmla="*/ 12 w 14"/>
                <a:gd name="T13" fmla="*/ 25 h 29"/>
                <a:gd name="T14" fmla="*/ 11 w 14"/>
                <a:gd name="T15" fmla="*/ 26 h 29"/>
                <a:gd name="T16" fmla="*/ 9 w 14"/>
                <a:gd name="T17" fmla="*/ 24 h 29"/>
                <a:gd name="T18" fmla="*/ 8 w 14"/>
                <a:gd name="T19" fmla="*/ 21 h 29"/>
                <a:gd name="T20" fmla="*/ 8 w 14"/>
                <a:gd name="T21" fmla="*/ 9 h 29"/>
                <a:gd name="T22" fmla="*/ 13 w 14"/>
                <a:gd name="T23" fmla="*/ 9 h 29"/>
                <a:gd name="T24" fmla="*/ 14 w 14"/>
                <a:gd name="T25" fmla="*/ 9 h 29"/>
                <a:gd name="T26" fmla="*/ 14 w 14"/>
                <a:gd name="T27" fmla="*/ 8 h 29"/>
                <a:gd name="T28" fmla="*/ 14 w 14"/>
                <a:gd name="T29" fmla="*/ 7 h 29"/>
                <a:gd name="T30" fmla="*/ 14 w 14"/>
                <a:gd name="T31" fmla="*/ 6 h 29"/>
                <a:gd name="T32" fmla="*/ 14 w 14"/>
                <a:gd name="T33" fmla="*/ 6 h 29"/>
                <a:gd name="T34" fmla="*/ 13 w 14"/>
                <a:gd name="T35" fmla="*/ 6 h 29"/>
                <a:gd name="T36" fmla="*/ 8 w 14"/>
                <a:gd name="T37" fmla="*/ 6 h 29"/>
                <a:gd name="T38" fmla="*/ 8 w 14"/>
                <a:gd name="T39" fmla="*/ 1 h 29"/>
                <a:gd name="T40" fmla="*/ 8 w 14"/>
                <a:gd name="T41" fmla="*/ 1 h 29"/>
                <a:gd name="T42" fmla="*/ 8 w 14"/>
                <a:gd name="T43" fmla="*/ 1 h 29"/>
                <a:gd name="T44" fmla="*/ 7 w 14"/>
                <a:gd name="T45" fmla="*/ 0 h 29"/>
                <a:gd name="T46" fmla="*/ 6 w 14"/>
                <a:gd name="T47" fmla="*/ 0 h 29"/>
                <a:gd name="T48" fmla="*/ 5 w 14"/>
                <a:gd name="T49" fmla="*/ 0 h 29"/>
                <a:gd name="T50" fmla="*/ 5 w 14"/>
                <a:gd name="T51" fmla="*/ 1 h 29"/>
                <a:gd name="T52" fmla="*/ 4 w 14"/>
                <a:gd name="T53" fmla="*/ 1 h 29"/>
                <a:gd name="T54" fmla="*/ 4 w 14"/>
                <a:gd name="T55" fmla="*/ 1 h 29"/>
                <a:gd name="T56" fmla="*/ 4 w 14"/>
                <a:gd name="T57" fmla="*/ 6 h 29"/>
                <a:gd name="T58" fmla="*/ 1 w 14"/>
                <a:gd name="T59" fmla="*/ 6 h 29"/>
                <a:gd name="T60" fmla="*/ 1 w 14"/>
                <a:gd name="T61" fmla="*/ 6 h 29"/>
                <a:gd name="T62" fmla="*/ 1 w 14"/>
                <a:gd name="T63" fmla="*/ 6 h 29"/>
                <a:gd name="T64" fmla="*/ 1 w 14"/>
                <a:gd name="T65" fmla="*/ 7 h 29"/>
                <a:gd name="T66" fmla="*/ 0 w 14"/>
                <a:gd name="T67" fmla="*/ 8 h 29"/>
                <a:gd name="T68" fmla="*/ 1 w 14"/>
                <a:gd name="T69" fmla="*/ 9 h 29"/>
                <a:gd name="T70" fmla="*/ 1 w 14"/>
                <a:gd name="T71" fmla="*/ 9 h 29"/>
                <a:gd name="T72" fmla="*/ 4 w 14"/>
                <a:gd name="T73" fmla="*/ 9 h 29"/>
                <a:gd name="T74" fmla="*/ 4 w 14"/>
                <a:gd name="T75" fmla="*/ 22 h 29"/>
                <a:gd name="T76" fmla="*/ 5 w 14"/>
                <a:gd name="T77" fmla="*/ 25 h 29"/>
                <a:gd name="T78" fmla="*/ 6 w 14"/>
                <a:gd name="T79" fmla="*/ 27 h 29"/>
                <a:gd name="T80" fmla="*/ 8 w 14"/>
                <a:gd name="T81" fmla="*/ 28 h 29"/>
                <a:gd name="T82" fmla="*/ 10 w 14"/>
                <a:gd name="T83" fmla="*/ 29 h 29"/>
                <a:gd name="T84" fmla="*/ 11 w 14"/>
                <a:gd name="T85" fmla="*/ 29 h 29"/>
                <a:gd name="T86" fmla="*/ 12 w 14"/>
                <a:gd name="T87" fmla="*/ 29 h 29"/>
                <a:gd name="T88" fmla="*/ 13 w 14"/>
                <a:gd name="T89" fmla="*/ 28 h 29"/>
                <a:gd name="T90" fmla="*/ 14 w 14"/>
                <a:gd name="T91" fmla="*/ 28 h 29"/>
                <a:gd name="T92" fmla="*/ 14 w 14"/>
                <a:gd name="T93" fmla="*/ 27 h 29"/>
                <a:gd name="T94" fmla="*/ 14 w 14"/>
                <a:gd name="T95" fmla="*/ 26 h 29"/>
                <a:gd name="T96" fmla="*/ 14 w 14"/>
                <a:gd name="T9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 h="29">
                  <a:moveTo>
                    <a:pt x="14" y="26"/>
                  </a:moveTo>
                  <a:cubicBezTo>
                    <a:pt x="14" y="25"/>
                    <a:pt x="14" y="25"/>
                    <a:pt x="14" y="25"/>
                  </a:cubicBezTo>
                  <a:cubicBezTo>
                    <a:pt x="14" y="25"/>
                    <a:pt x="14" y="25"/>
                    <a:pt x="14" y="25"/>
                  </a:cubicBezTo>
                  <a:cubicBezTo>
                    <a:pt x="14" y="25"/>
                    <a:pt x="14" y="25"/>
                    <a:pt x="14" y="25"/>
                  </a:cubicBezTo>
                  <a:cubicBezTo>
                    <a:pt x="14" y="25"/>
                    <a:pt x="13" y="25"/>
                    <a:pt x="13" y="25"/>
                  </a:cubicBezTo>
                  <a:cubicBezTo>
                    <a:pt x="13" y="25"/>
                    <a:pt x="13" y="25"/>
                    <a:pt x="13" y="25"/>
                  </a:cubicBezTo>
                  <a:cubicBezTo>
                    <a:pt x="12" y="25"/>
                    <a:pt x="12" y="25"/>
                    <a:pt x="12" y="25"/>
                  </a:cubicBezTo>
                  <a:cubicBezTo>
                    <a:pt x="12" y="25"/>
                    <a:pt x="11" y="26"/>
                    <a:pt x="11" y="26"/>
                  </a:cubicBezTo>
                  <a:cubicBezTo>
                    <a:pt x="10" y="26"/>
                    <a:pt x="9" y="25"/>
                    <a:pt x="9" y="24"/>
                  </a:cubicBezTo>
                  <a:cubicBezTo>
                    <a:pt x="8" y="24"/>
                    <a:pt x="8" y="23"/>
                    <a:pt x="8" y="21"/>
                  </a:cubicBezTo>
                  <a:cubicBezTo>
                    <a:pt x="8" y="9"/>
                    <a:pt x="8" y="9"/>
                    <a:pt x="8" y="9"/>
                  </a:cubicBezTo>
                  <a:cubicBezTo>
                    <a:pt x="13" y="9"/>
                    <a:pt x="13" y="9"/>
                    <a:pt x="13" y="9"/>
                  </a:cubicBezTo>
                  <a:cubicBezTo>
                    <a:pt x="14" y="9"/>
                    <a:pt x="14" y="9"/>
                    <a:pt x="14" y="9"/>
                  </a:cubicBezTo>
                  <a:cubicBezTo>
                    <a:pt x="14" y="9"/>
                    <a:pt x="14" y="8"/>
                    <a:pt x="14" y="8"/>
                  </a:cubicBezTo>
                  <a:cubicBezTo>
                    <a:pt x="14" y="7"/>
                    <a:pt x="14" y="7"/>
                    <a:pt x="14" y="7"/>
                  </a:cubicBezTo>
                  <a:cubicBezTo>
                    <a:pt x="14" y="7"/>
                    <a:pt x="14" y="7"/>
                    <a:pt x="14" y="6"/>
                  </a:cubicBezTo>
                  <a:cubicBezTo>
                    <a:pt x="14" y="6"/>
                    <a:pt x="14" y="6"/>
                    <a:pt x="14" y="6"/>
                  </a:cubicBezTo>
                  <a:cubicBezTo>
                    <a:pt x="14" y="6"/>
                    <a:pt x="14" y="6"/>
                    <a:pt x="13" y="6"/>
                  </a:cubicBezTo>
                  <a:cubicBezTo>
                    <a:pt x="8" y="6"/>
                    <a:pt x="8" y="6"/>
                    <a:pt x="8" y="6"/>
                  </a:cubicBezTo>
                  <a:cubicBezTo>
                    <a:pt x="8" y="1"/>
                    <a:pt x="8" y="1"/>
                    <a:pt x="8" y="1"/>
                  </a:cubicBezTo>
                  <a:cubicBezTo>
                    <a:pt x="8" y="1"/>
                    <a:pt x="8" y="1"/>
                    <a:pt x="8" y="1"/>
                  </a:cubicBezTo>
                  <a:cubicBezTo>
                    <a:pt x="8" y="1"/>
                    <a:pt x="8" y="1"/>
                    <a:pt x="8" y="1"/>
                  </a:cubicBezTo>
                  <a:cubicBezTo>
                    <a:pt x="8" y="0"/>
                    <a:pt x="7" y="0"/>
                    <a:pt x="7" y="0"/>
                  </a:cubicBezTo>
                  <a:cubicBezTo>
                    <a:pt x="7" y="0"/>
                    <a:pt x="6" y="0"/>
                    <a:pt x="6" y="0"/>
                  </a:cubicBezTo>
                  <a:cubicBezTo>
                    <a:pt x="6" y="0"/>
                    <a:pt x="5" y="0"/>
                    <a:pt x="5" y="0"/>
                  </a:cubicBezTo>
                  <a:cubicBezTo>
                    <a:pt x="5" y="0"/>
                    <a:pt x="5" y="0"/>
                    <a:pt x="5" y="1"/>
                  </a:cubicBezTo>
                  <a:cubicBezTo>
                    <a:pt x="4" y="1"/>
                    <a:pt x="4" y="1"/>
                    <a:pt x="4" y="1"/>
                  </a:cubicBezTo>
                  <a:cubicBezTo>
                    <a:pt x="4" y="1"/>
                    <a:pt x="4" y="1"/>
                    <a:pt x="4" y="1"/>
                  </a:cubicBezTo>
                  <a:cubicBezTo>
                    <a:pt x="4" y="6"/>
                    <a:pt x="4" y="6"/>
                    <a:pt x="4" y="6"/>
                  </a:cubicBezTo>
                  <a:cubicBezTo>
                    <a:pt x="1" y="6"/>
                    <a:pt x="1" y="6"/>
                    <a:pt x="1" y="6"/>
                  </a:cubicBezTo>
                  <a:cubicBezTo>
                    <a:pt x="1" y="6"/>
                    <a:pt x="1" y="6"/>
                    <a:pt x="1" y="6"/>
                  </a:cubicBezTo>
                  <a:cubicBezTo>
                    <a:pt x="1" y="6"/>
                    <a:pt x="1" y="6"/>
                    <a:pt x="1" y="6"/>
                  </a:cubicBezTo>
                  <a:cubicBezTo>
                    <a:pt x="1" y="7"/>
                    <a:pt x="1" y="7"/>
                    <a:pt x="1" y="7"/>
                  </a:cubicBezTo>
                  <a:cubicBezTo>
                    <a:pt x="0" y="7"/>
                    <a:pt x="0" y="7"/>
                    <a:pt x="0" y="8"/>
                  </a:cubicBezTo>
                  <a:cubicBezTo>
                    <a:pt x="0" y="8"/>
                    <a:pt x="1" y="9"/>
                    <a:pt x="1" y="9"/>
                  </a:cubicBezTo>
                  <a:cubicBezTo>
                    <a:pt x="1" y="9"/>
                    <a:pt x="1" y="9"/>
                    <a:pt x="1" y="9"/>
                  </a:cubicBezTo>
                  <a:cubicBezTo>
                    <a:pt x="4" y="9"/>
                    <a:pt x="4" y="9"/>
                    <a:pt x="4" y="9"/>
                  </a:cubicBezTo>
                  <a:cubicBezTo>
                    <a:pt x="4" y="22"/>
                    <a:pt x="4" y="22"/>
                    <a:pt x="4" y="22"/>
                  </a:cubicBezTo>
                  <a:cubicBezTo>
                    <a:pt x="4" y="23"/>
                    <a:pt x="4" y="24"/>
                    <a:pt x="5" y="25"/>
                  </a:cubicBezTo>
                  <a:cubicBezTo>
                    <a:pt x="5" y="26"/>
                    <a:pt x="5" y="26"/>
                    <a:pt x="6" y="27"/>
                  </a:cubicBezTo>
                  <a:cubicBezTo>
                    <a:pt x="6" y="28"/>
                    <a:pt x="7" y="28"/>
                    <a:pt x="8" y="28"/>
                  </a:cubicBezTo>
                  <a:cubicBezTo>
                    <a:pt x="8" y="29"/>
                    <a:pt x="9" y="29"/>
                    <a:pt x="10" y="29"/>
                  </a:cubicBezTo>
                  <a:cubicBezTo>
                    <a:pt x="11" y="29"/>
                    <a:pt x="11" y="29"/>
                    <a:pt x="11" y="29"/>
                  </a:cubicBezTo>
                  <a:cubicBezTo>
                    <a:pt x="12" y="29"/>
                    <a:pt x="12" y="29"/>
                    <a:pt x="12" y="29"/>
                  </a:cubicBezTo>
                  <a:cubicBezTo>
                    <a:pt x="13" y="28"/>
                    <a:pt x="13" y="28"/>
                    <a:pt x="13" y="28"/>
                  </a:cubicBezTo>
                  <a:cubicBezTo>
                    <a:pt x="14" y="28"/>
                    <a:pt x="14" y="28"/>
                    <a:pt x="14" y="28"/>
                  </a:cubicBezTo>
                  <a:cubicBezTo>
                    <a:pt x="14" y="28"/>
                    <a:pt x="14" y="28"/>
                    <a:pt x="14" y="27"/>
                  </a:cubicBezTo>
                  <a:cubicBezTo>
                    <a:pt x="14" y="27"/>
                    <a:pt x="14" y="27"/>
                    <a:pt x="14" y="26"/>
                  </a:cubicBezTo>
                  <a:cubicBezTo>
                    <a:pt x="14" y="26"/>
                    <a:pt x="14" y="26"/>
                    <a:pt x="14" y="26"/>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13">
              <a:extLst>
                <a:ext uri="{FF2B5EF4-FFF2-40B4-BE49-F238E27FC236}">
                  <a16:creationId xmlns:a16="http://schemas.microsoft.com/office/drawing/2014/main" id="{9389E098-D439-4AC3-A99B-C3532D8B66A7}"/>
                </a:ext>
              </a:extLst>
            </p:cNvPr>
            <p:cNvSpPr>
              <a:spLocks/>
            </p:cNvSpPr>
            <p:nvPr/>
          </p:nvSpPr>
          <p:spPr bwMode="auto">
            <a:xfrm>
              <a:off x="5642988" y="5901426"/>
              <a:ext cx="40402" cy="77917"/>
            </a:xfrm>
            <a:custGeom>
              <a:avLst/>
              <a:gdLst>
                <a:gd name="T0" fmla="*/ 12 w 12"/>
                <a:gd name="T1" fmla="*/ 1 h 23"/>
                <a:gd name="T2" fmla="*/ 12 w 12"/>
                <a:gd name="T3" fmla="*/ 1 h 23"/>
                <a:gd name="T4" fmla="*/ 12 w 12"/>
                <a:gd name="T5" fmla="*/ 1 h 23"/>
                <a:gd name="T6" fmla="*/ 12 w 12"/>
                <a:gd name="T7" fmla="*/ 0 h 23"/>
                <a:gd name="T8" fmla="*/ 11 w 12"/>
                <a:gd name="T9" fmla="*/ 0 h 23"/>
                <a:gd name="T10" fmla="*/ 10 w 12"/>
                <a:gd name="T11" fmla="*/ 0 h 23"/>
                <a:gd name="T12" fmla="*/ 9 w 12"/>
                <a:gd name="T13" fmla="*/ 0 h 23"/>
                <a:gd name="T14" fmla="*/ 9 w 12"/>
                <a:gd name="T15" fmla="*/ 0 h 23"/>
                <a:gd name="T16" fmla="*/ 7 w 12"/>
                <a:gd name="T17" fmla="*/ 0 h 23"/>
                <a:gd name="T18" fmla="*/ 6 w 12"/>
                <a:gd name="T19" fmla="*/ 0 h 23"/>
                <a:gd name="T20" fmla="*/ 5 w 12"/>
                <a:gd name="T21" fmla="*/ 2 h 23"/>
                <a:gd name="T22" fmla="*/ 3 w 12"/>
                <a:gd name="T23" fmla="*/ 4 h 23"/>
                <a:gd name="T24" fmla="*/ 3 w 12"/>
                <a:gd name="T25" fmla="*/ 1 h 23"/>
                <a:gd name="T26" fmla="*/ 3 w 12"/>
                <a:gd name="T27" fmla="*/ 0 h 23"/>
                <a:gd name="T28" fmla="*/ 3 w 12"/>
                <a:gd name="T29" fmla="*/ 0 h 23"/>
                <a:gd name="T30" fmla="*/ 2 w 12"/>
                <a:gd name="T31" fmla="*/ 0 h 23"/>
                <a:gd name="T32" fmla="*/ 1 w 12"/>
                <a:gd name="T33" fmla="*/ 0 h 23"/>
                <a:gd name="T34" fmla="*/ 0 w 12"/>
                <a:gd name="T35" fmla="*/ 0 h 23"/>
                <a:gd name="T36" fmla="*/ 0 w 12"/>
                <a:gd name="T37" fmla="*/ 0 h 23"/>
                <a:gd name="T38" fmla="*/ 0 w 12"/>
                <a:gd name="T39" fmla="*/ 0 h 23"/>
                <a:gd name="T40" fmla="*/ 0 w 12"/>
                <a:gd name="T41" fmla="*/ 1 h 23"/>
                <a:gd name="T42" fmla="*/ 0 w 12"/>
                <a:gd name="T43" fmla="*/ 22 h 23"/>
                <a:gd name="T44" fmla="*/ 0 w 12"/>
                <a:gd name="T45" fmla="*/ 22 h 23"/>
                <a:gd name="T46" fmla="*/ 0 w 12"/>
                <a:gd name="T47" fmla="*/ 22 h 23"/>
                <a:gd name="T48" fmla="*/ 1 w 12"/>
                <a:gd name="T49" fmla="*/ 23 h 23"/>
                <a:gd name="T50" fmla="*/ 1 w 12"/>
                <a:gd name="T51" fmla="*/ 23 h 23"/>
                <a:gd name="T52" fmla="*/ 2 w 12"/>
                <a:gd name="T53" fmla="*/ 23 h 23"/>
                <a:gd name="T54" fmla="*/ 3 w 12"/>
                <a:gd name="T55" fmla="*/ 22 h 23"/>
                <a:gd name="T56" fmla="*/ 3 w 12"/>
                <a:gd name="T57" fmla="*/ 22 h 23"/>
                <a:gd name="T58" fmla="*/ 3 w 12"/>
                <a:gd name="T59" fmla="*/ 22 h 23"/>
                <a:gd name="T60" fmla="*/ 3 w 12"/>
                <a:gd name="T61" fmla="*/ 8 h 23"/>
                <a:gd name="T62" fmla="*/ 5 w 12"/>
                <a:gd name="T63" fmla="*/ 6 h 23"/>
                <a:gd name="T64" fmla="*/ 6 w 12"/>
                <a:gd name="T65" fmla="*/ 4 h 23"/>
                <a:gd name="T66" fmla="*/ 7 w 12"/>
                <a:gd name="T67" fmla="*/ 4 h 23"/>
                <a:gd name="T68" fmla="*/ 9 w 12"/>
                <a:gd name="T69" fmla="*/ 3 h 23"/>
                <a:gd name="T70" fmla="*/ 9 w 12"/>
                <a:gd name="T71" fmla="*/ 3 h 23"/>
                <a:gd name="T72" fmla="*/ 10 w 12"/>
                <a:gd name="T73" fmla="*/ 4 h 23"/>
                <a:gd name="T74" fmla="*/ 11 w 12"/>
                <a:gd name="T75" fmla="*/ 4 h 23"/>
                <a:gd name="T76" fmla="*/ 11 w 12"/>
                <a:gd name="T77" fmla="*/ 4 h 23"/>
                <a:gd name="T78" fmla="*/ 12 w 12"/>
                <a:gd name="T79" fmla="*/ 4 h 23"/>
                <a:gd name="T80" fmla="*/ 12 w 12"/>
                <a:gd name="T81" fmla="*/ 4 h 23"/>
                <a:gd name="T82" fmla="*/ 12 w 12"/>
                <a:gd name="T83" fmla="*/ 3 h 23"/>
                <a:gd name="T84" fmla="*/ 12 w 12"/>
                <a:gd name="T85" fmla="*/ 2 h 23"/>
                <a:gd name="T86" fmla="*/ 12 w 12"/>
                <a:gd name="T8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1"/>
                  </a:moveTo>
                  <a:cubicBezTo>
                    <a:pt x="12" y="1"/>
                    <a:pt x="12" y="1"/>
                    <a:pt x="12" y="1"/>
                  </a:cubicBezTo>
                  <a:cubicBezTo>
                    <a:pt x="12" y="1"/>
                    <a:pt x="12" y="1"/>
                    <a:pt x="12" y="1"/>
                  </a:cubicBezTo>
                  <a:cubicBezTo>
                    <a:pt x="12" y="0"/>
                    <a:pt x="12" y="0"/>
                    <a:pt x="12" y="0"/>
                  </a:cubicBezTo>
                  <a:cubicBezTo>
                    <a:pt x="11" y="0"/>
                    <a:pt x="11" y="0"/>
                    <a:pt x="11" y="0"/>
                  </a:cubicBezTo>
                  <a:cubicBezTo>
                    <a:pt x="11" y="0"/>
                    <a:pt x="11" y="0"/>
                    <a:pt x="10" y="0"/>
                  </a:cubicBezTo>
                  <a:cubicBezTo>
                    <a:pt x="10" y="0"/>
                    <a:pt x="10" y="0"/>
                    <a:pt x="9" y="0"/>
                  </a:cubicBezTo>
                  <a:cubicBezTo>
                    <a:pt x="9" y="0"/>
                    <a:pt x="9" y="0"/>
                    <a:pt x="9" y="0"/>
                  </a:cubicBezTo>
                  <a:cubicBezTo>
                    <a:pt x="8" y="0"/>
                    <a:pt x="8" y="0"/>
                    <a:pt x="7" y="0"/>
                  </a:cubicBezTo>
                  <a:cubicBezTo>
                    <a:pt x="7" y="0"/>
                    <a:pt x="7" y="0"/>
                    <a:pt x="6" y="0"/>
                  </a:cubicBezTo>
                  <a:cubicBezTo>
                    <a:pt x="6" y="1"/>
                    <a:pt x="5" y="1"/>
                    <a:pt x="5" y="2"/>
                  </a:cubicBezTo>
                  <a:cubicBezTo>
                    <a:pt x="4" y="2"/>
                    <a:pt x="4" y="3"/>
                    <a:pt x="3" y="4"/>
                  </a:cubicBezTo>
                  <a:cubicBezTo>
                    <a:pt x="3" y="1"/>
                    <a:pt x="3" y="1"/>
                    <a:pt x="3" y="1"/>
                  </a:cubicBezTo>
                  <a:cubicBezTo>
                    <a:pt x="3" y="1"/>
                    <a:pt x="3" y="1"/>
                    <a:pt x="3" y="0"/>
                  </a:cubicBezTo>
                  <a:cubicBezTo>
                    <a:pt x="3" y="0"/>
                    <a:pt x="3" y="0"/>
                    <a:pt x="3" y="0"/>
                  </a:cubicBezTo>
                  <a:cubicBezTo>
                    <a:pt x="3" y="0"/>
                    <a:pt x="2" y="0"/>
                    <a:pt x="2" y="0"/>
                  </a:cubicBezTo>
                  <a:cubicBezTo>
                    <a:pt x="2" y="0"/>
                    <a:pt x="2" y="0"/>
                    <a:pt x="1" y="0"/>
                  </a:cubicBezTo>
                  <a:cubicBezTo>
                    <a:pt x="1" y="0"/>
                    <a:pt x="1" y="0"/>
                    <a:pt x="0" y="0"/>
                  </a:cubicBezTo>
                  <a:cubicBezTo>
                    <a:pt x="0" y="0"/>
                    <a:pt x="0" y="0"/>
                    <a:pt x="0" y="0"/>
                  </a:cubicBezTo>
                  <a:cubicBezTo>
                    <a:pt x="0" y="0"/>
                    <a:pt x="0" y="0"/>
                    <a:pt x="0" y="0"/>
                  </a:cubicBezTo>
                  <a:cubicBezTo>
                    <a:pt x="0" y="1"/>
                    <a:pt x="0" y="1"/>
                    <a:pt x="0" y="1"/>
                  </a:cubicBezTo>
                  <a:cubicBezTo>
                    <a:pt x="0" y="22"/>
                    <a:pt x="0" y="22"/>
                    <a:pt x="0" y="22"/>
                  </a:cubicBezTo>
                  <a:cubicBezTo>
                    <a:pt x="0" y="22"/>
                    <a:pt x="0" y="22"/>
                    <a:pt x="0" y="22"/>
                  </a:cubicBezTo>
                  <a:cubicBezTo>
                    <a:pt x="0" y="22"/>
                    <a:pt x="0" y="22"/>
                    <a:pt x="0" y="22"/>
                  </a:cubicBezTo>
                  <a:cubicBezTo>
                    <a:pt x="0" y="22"/>
                    <a:pt x="0" y="22"/>
                    <a:pt x="1" y="23"/>
                  </a:cubicBezTo>
                  <a:cubicBezTo>
                    <a:pt x="1" y="23"/>
                    <a:pt x="1" y="23"/>
                    <a:pt x="1" y="23"/>
                  </a:cubicBezTo>
                  <a:cubicBezTo>
                    <a:pt x="2" y="23"/>
                    <a:pt x="2" y="23"/>
                    <a:pt x="2" y="23"/>
                  </a:cubicBezTo>
                  <a:cubicBezTo>
                    <a:pt x="3" y="22"/>
                    <a:pt x="3" y="22"/>
                    <a:pt x="3" y="22"/>
                  </a:cubicBezTo>
                  <a:cubicBezTo>
                    <a:pt x="3" y="22"/>
                    <a:pt x="3" y="22"/>
                    <a:pt x="3" y="22"/>
                  </a:cubicBezTo>
                  <a:cubicBezTo>
                    <a:pt x="3" y="22"/>
                    <a:pt x="3" y="22"/>
                    <a:pt x="3" y="22"/>
                  </a:cubicBezTo>
                  <a:cubicBezTo>
                    <a:pt x="3" y="8"/>
                    <a:pt x="3" y="8"/>
                    <a:pt x="3" y="8"/>
                  </a:cubicBezTo>
                  <a:cubicBezTo>
                    <a:pt x="4" y="7"/>
                    <a:pt x="4" y="6"/>
                    <a:pt x="5" y="6"/>
                  </a:cubicBezTo>
                  <a:cubicBezTo>
                    <a:pt x="5" y="5"/>
                    <a:pt x="6" y="5"/>
                    <a:pt x="6" y="4"/>
                  </a:cubicBezTo>
                  <a:cubicBezTo>
                    <a:pt x="7" y="4"/>
                    <a:pt x="7" y="4"/>
                    <a:pt x="7" y="4"/>
                  </a:cubicBezTo>
                  <a:cubicBezTo>
                    <a:pt x="8" y="3"/>
                    <a:pt x="8" y="3"/>
                    <a:pt x="9" y="3"/>
                  </a:cubicBezTo>
                  <a:cubicBezTo>
                    <a:pt x="9" y="3"/>
                    <a:pt x="9" y="3"/>
                    <a:pt x="9" y="3"/>
                  </a:cubicBezTo>
                  <a:cubicBezTo>
                    <a:pt x="10" y="3"/>
                    <a:pt x="10" y="4"/>
                    <a:pt x="10" y="4"/>
                  </a:cubicBezTo>
                  <a:cubicBezTo>
                    <a:pt x="10" y="4"/>
                    <a:pt x="11" y="4"/>
                    <a:pt x="11" y="4"/>
                  </a:cubicBezTo>
                  <a:cubicBezTo>
                    <a:pt x="11" y="4"/>
                    <a:pt x="11" y="4"/>
                    <a:pt x="11" y="4"/>
                  </a:cubicBezTo>
                  <a:cubicBezTo>
                    <a:pt x="11" y="4"/>
                    <a:pt x="11" y="4"/>
                    <a:pt x="12" y="4"/>
                  </a:cubicBezTo>
                  <a:cubicBezTo>
                    <a:pt x="12" y="4"/>
                    <a:pt x="12" y="4"/>
                    <a:pt x="12" y="4"/>
                  </a:cubicBezTo>
                  <a:cubicBezTo>
                    <a:pt x="12" y="3"/>
                    <a:pt x="12" y="3"/>
                    <a:pt x="12" y="3"/>
                  </a:cubicBezTo>
                  <a:cubicBezTo>
                    <a:pt x="12" y="3"/>
                    <a:pt x="12" y="2"/>
                    <a:pt x="12" y="2"/>
                  </a:cubicBezTo>
                  <a:cubicBezTo>
                    <a:pt x="12" y="2"/>
                    <a:pt x="12" y="1"/>
                    <a:pt x="12"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14">
              <a:extLst>
                <a:ext uri="{FF2B5EF4-FFF2-40B4-BE49-F238E27FC236}">
                  <a16:creationId xmlns:a16="http://schemas.microsoft.com/office/drawing/2014/main" id="{49CE9AA9-D14C-4D96-9B12-593472D6F0F1}"/>
                </a:ext>
              </a:extLst>
            </p:cNvPr>
            <p:cNvSpPr>
              <a:spLocks/>
            </p:cNvSpPr>
            <p:nvPr/>
          </p:nvSpPr>
          <p:spPr bwMode="auto">
            <a:xfrm>
              <a:off x="5697818" y="5901426"/>
              <a:ext cx="62046" cy="77917"/>
            </a:xfrm>
            <a:custGeom>
              <a:avLst/>
              <a:gdLst>
                <a:gd name="T0" fmla="*/ 18 w 18"/>
                <a:gd name="T1" fmla="*/ 1 h 23"/>
                <a:gd name="T2" fmla="*/ 18 w 18"/>
                <a:gd name="T3" fmla="*/ 0 h 23"/>
                <a:gd name="T4" fmla="*/ 18 w 18"/>
                <a:gd name="T5" fmla="*/ 0 h 23"/>
                <a:gd name="T6" fmla="*/ 17 w 18"/>
                <a:gd name="T7" fmla="*/ 0 h 23"/>
                <a:gd name="T8" fmla="*/ 16 w 18"/>
                <a:gd name="T9" fmla="*/ 0 h 23"/>
                <a:gd name="T10" fmla="*/ 15 w 18"/>
                <a:gd name="T11" fmla="*/ 0 h 23"/>
                <a:gd name="T12" fmla="*/ 15 w 18"/>
                <a:gd name="T13" fmla="*/ 0 h 23"/>
                <a:gd name="T14" fmla="*/ 15 w 18"/>
                <a:gd name="T15" fmla="*/ 0 h 23"/>
                <a:gd name="T16" fmla="*/ 14 w 18"/>
                <a:gd name="T17" fmla="*/ 1 h 23"/>
                <a:gd name="T18" fmla="*/ 14 w 18"/>
                <a:gd name="T19" fmla="*/ 15 h 23"/>
                <a:gd name="T20" fmla="*/ 11 w 18"/>
                <a:gd name="T21" fmla="*/ 19 h 23"/>
                <a:gd name="T22" fmla="*/ 9 w 18"/>
                <a:gd name="T23" fmla="*/ 20 h 23"/>
                <a:gd name="T24" fmla="*/ 7 w 18"/>
                <a:gd name="T25" fmla="*/ 19 h 23"/>
                <a:gd name="T26" fmla="*/ 5 w 18"/>
                <a:gd name="T27" fmla="*/ 18 h 23"/>
                <a:gd name="T28" fmla="*/ 4 w 18"/>
                <a:gd name="T29" fmla="*/ 16 h 23"/>
                <a:gd name="T30" fmla="*/ 4 w 18"/>
                <a:gd name="T31" fmla="*/ 13 h 23"/>
                <a:gd name="T32" fmla="*/ 4 w 18"/>
                <a:gd name="T33" fmla="*/ 1 h 23"/>
                <a:gd name="T34" fmla="*/ 4 w 18"/>
                <a:gd name="T35" fmla="*/ 0 h 23"/>
                <a:gd name="T36" fmla="*/ 4 w 18"/>
                <a:gd name="T37" fmla="*/ 0 h 23"/>
                <a:gd name="T38" fmla="*/ 3 w 18"/>
                <a:gd name="T39" fmla="*/ 0 h 23"/>
                <a:gd name="T40" fmla="*/ 2 w 18"/>
                <a:gd name="T41" fmla="*/ 0 h 23"/>
                <a:gd name="T42" fmla="*/ 1 w 18"/>
                <a:gd name="T43" fmla="*/ 0 h 23"/>
                <a:gd name="T44" fmla="*/ 1 w 18"/>
                <a:gd name="T45" fmla="*/ 0 h 23"/>
                <a:gd name="T46" fmla="*/ 0 w 18"/>
                <a:gd name="T47" fmla="*/ 0 h 23"/>
                <a:gd name="T48" fmla="*/ 0 w 18"/>
                <a:gd name="T49" fmla="*/ 1 h 23"/>
                <a:gd name="T50" fmla="*/ 0 w 18"/>
                <a:gd name="T51" fmla="*/ 14 h 23"/>
                <a:gd name="T52" fmla="*/ 1 w 18"/>
                <a:gd name="T53" fmla="*/ 17 h 23"/>
                <a:gd name="T54" fmla="*/ 2 w 18"/>
                <a:gd name="T55" fmla="*/ 20 h 23"/>
                <a:gd name="T56" fmla="*/ 4 w 18"/>
                <a:gd name="T57" fmla="*/ 22 h 23"/>
                <a:gd name="T58" fmla="*/ 8 w 18"/>
                <a:gd name="T59" fmla="*/ 23 h 23"/>
                <a:gd name="T60" fmla="*/ 11 w 18"/>
                <a:gd name="T61" fmla="*/ 22 h 23"/>
                <a:gd name="T62" fmla="*/ 15 w 18"/>
                <a:gd name="T63" fmla="*/ 19 h 23"/>
                <a:gd name="T64" fmla="*/ 15 w 18"/>
                <a:gd name="T65" fmla="*/ 22 h 23"/>
                <a:gd name="T66" fmla="*/ 15 w 18"/>
                <a:gd name="T67" fmla="*/ 22 h 23"/>
                <a:gd name="T68" fmla="*/ 15 w 18"/>
                <a:gd name="T69" fmla="*/ 22 h 23"/>
                <a:gd name="T70" fmla="*/ 16 w 18"/>
                <a:gd name="T71" fmla="*/ 23 h 23"/>
                <a:gd name="T72" fmla="*/ 17 w 18"/>
                <a:gd name="T73" fmla="*/ 23 h 23"/>
                <a:gd name="T74" fmla="*/ 17 w 18"/>
                <a:gd name="T75" fmla="*/ 23 h 23"/>
                <a:gd name="T76" fmla="*/ 18 w 18"/>
                <a:gd name="T77" fmla="*/ 22 h 23"/>
                <a:gd name="T78" fmla="*/ 18 w 18"/>
                <a:gd name="T79" fmla="*/ 22 h 23"/>
                <a:gd name="T80" fmla="*/ 18 w 18"/>
                <a:gd name="T81" fmla="*/ 22 h 23"/>
                <a:gd name="T82" fmla="*/ 18 w 18"/>
                <a:gd name="T8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
                  </a:moveTo>
                  <a:cubicBezTo>
                    <a:pt x="18" y="1"/>
                    <a:pt x="18" y="1"/>
                    <a:pt x="18" y="0"/>
                  </a:cubicBezTo>
                  <a:cubicBezTo>
                    <a:pt x="18" y="0"/>
                    <a:pt x="18" y="0"/>
                    <a:pt x="18" y="0"/>
                  </a:cubicBezTo>
                  <a:cubicBezTo>
                    <a:pt x="18" y="0"/>
                    <a:pt x="18" y="0"/>
                    <a:pt x="17" y="0"/>
                  </a:cubicBezTo>
                  <a:cubicBezTo>
                    <a:pt x="17" y="0"/>
                    <a:pt x="17" y="0"/>
                    <a:pt x="16" y="0"/>
                  </a:cubicBezTo>
                  <a:cubicBezTo>
                    <a:pt x="16" y="0"/>
                    <a:pt x="16" y="0"/>
                    <a:pt x="15" y="0"/>
                  </a:cubicBezTo>
                  <a:cubicBezTo>
                    <a:pt x="15" y="0"/>
                    <a:pt x="15" y="0"/>
                    <a:pt x="15" y="0"/>
                  </a:cubicBezTo>
                  <a:cubicBezTo>
                    <a:pt x="15" y="0"/>
                    <a:pt x="15" y="0"/>
                    <a:pt x="15" y="0"/>
                  </a:cubicBezTo>
                  <a:cubicBezTo>
                    <a:pt x="15" y="1"/>
                    <a:pt x="14" y="1"/>
                    <a:pt x="14" y="1"/>
                  </a:cubicBezTo>
                  <a:cubicBezTo>
                    <a:pt x="14" y="15"/>
                    <a:pt x="14" y="15"/>
                    <a:pt x="14" y="15"/>
                  </a:cubicBezTo>
                  <a:cubicBezTo>
                    <a:pt x="13" y="17"/>
                    <a:pt x="12" y="18"/>
                    <a:pt x="11" y="19"/>
                  </a:cubicBezTo>
                  <a:cubicBezTo>
                    <a:pt x="10" y="19"/>
                    <a:pt x="10" y="20"/>
                    <a:pt x="9" y="20"/>
                  </a:cubicBezTo>
                  <a:cubicBezTo>
                    <a:pt x="8" y="20"/>
                    <a:pt x="7" y="19"/>
                    <a:pt x="7" y="19"/>
                  </a:cubicBezTo>
                  <a:cubicBezTo>
                    <a:pt x="6" y="19"/>
                    <a:pt x="6" y="18"/>
                    <a:pt x="5" y="18"/>
                  </a:cubicBezTo>
                  <a:cubicBezTo>
                    <a:pt x="5" y="17"/>
                    <a:pt x="5" y="17"/>
                    <a:pt x="4" y="16"/>
                  </a:cubicBezTo>
                  <a:cubicBezTo>
                    <a:pt x="4" y="15"/>
                    <a:pt x="4" y="14"/>
                    <a:pt x="4" y="13"/>
                  </a:cubicBezTo>
                  <a:cubicBezTo>
                    <a:pt x="4" y="1"/>
                    <a:pt x="4" y="1"/>
                    <a:pt x="4" y="1"/>
                  </a:cubicBezTo>
                  <a:cubicBezTo>
                    <a:pt x="4" y="1"/>
                    <a:pt x="4" y="1"/>
                    <a:pt x="4" y="0"/>
                  </a:cubicBezTo>
                  <a:cubicBezTo>
                    <a:pt x="4" y="0"/>
                    <a:pt x="4" y="0"/>
                    <a:pt x="4" y="0"/>
                  </a:cubicBezTo>
                  <a:cubicBezTo>
                    <a:pt x="4" y="0"/>
                    <a:pt x="3" y="0"/>
                    <a:pt x="3" y="0"/>
                  </a:cubicBezTo>
                  <a:cubicBezTo>
                    <a:pt x="3" y="0"/>
                    <a:pt x="3" y="0"/>
                    <a:pt x="2" y="0"/>
                  </a:cubicBezTo>
                  <a:cubicBezTo>
                    <a:pt x="2" y="0"/>
                    <a:pt x="1" y="0"/>
                    <a:pt x="1" y="0"/>
                  </a:cubicBezTo>
                  <a:cubicBezTo>
                    <a:pt x="1" y="0"/>
                    <a:pt x="1" y="0"/>
                    <a:pt x="1" y="0"/>
                  </a:cubicBezTo>
                  <a:cubicBezTo>
                    <a:pt x="0" y="0"/>
                    <a:pt x="0" y="0"/>
                    <a:pt x="0" y="0"/>
                  </a:cubicBezTo>
                  <a:cubicBezTo>
                    <a:pt x="0" y="1"/>
                    <a:pt x="0" y="1"/>
                    <a:pt x="0" y="1"/>
                  </a:cubicBezTo>
                  <a:cubicBezTo>
                    <a:pt x="0" y="14"/>
                    <a:pt x="0" y="14"/>
                    <a:pt x="0" y="14"/>
                  </a:cubicBezTo>
                  <a:cubicBezTo>
                    <a:pt x="0" y="15"/>
                    <a:pt x="0" y="16"/>
                    <a:pt x="1" y="17"/>
                  </a:cubicBezTo>
                  <a:cubicBezTo>
                    <a:pt x="1" y="19"/>
                    <a:pt x="1" y="19"/>
                    <a:pt x="2" y="20"/>
                  </a:cubicBezTo>
                  <a:cubicBezTo>
                    <a:pt x="2" y="21"/>
                    <a:pt x="3" y="22"/>
                    <a:pt x="4" y="22"/>
                  </a:cubicBezTo>
                  <a:cubicBezTo>
                    <a:pt x="5" y="23"/>
                    <a:pt x="6" y="23"/>
                    <a:pt x="8" y="23"/>
                  </a:cubicBezTo>
                  <a:cubicBezTo>
                    <a:pt x="9" y="23"/>
                    <a:pt x="10" y="23"/>
                    <a:pt x="11" y="22"/>
                  </a:cubicBezTo>
                  <a:cubicBezTo>
                    <a:pt x="12" y="21"/>
                    <a:pt x="14" y="20"/>
                    <a:pt x="15" y="19"/>
                  </a:cubicBezTo>
                  <a:cubicBezTo>
                    <a:pt x="15" y="22"/>
                    <a:pt x="15" y="22"/>
                    <a:pt x="15" y="22"/>
                  </a:cubicBezTo>
                  <a:cubicBezTo>
                    <a:pt x="15" y="22"/>
                    <a:pt x="15" y="22"/>
                    <a:pt x="15" y="22"/>
                  </a:cubicBezTo>
                  <a:cubicBezTo>
                    <a:pt x="15" y="22"/>
                    <a:pt x="15" y="22"/>
                    <a:pt x="15" y="22"/>
                  </a:cubicBezTo>
                  <a:cubicBezTo>
                    <a:pt x="15" y="22"/>
                    <a:pt x="16" y="22"/>
                    <a:pt x="16" y="23"/>
                  </a:cubicBezTo>
                  <a:cubicBezTo>
                    <a:pt x="16" y="23"/>
                    <a:pt x="16" y="23"/>
                    <a:pt x="17" y="23"/>
                  </a:cubicBezTo>
                  <a:cubicBezTo>
                    <a:pt x="17" y="23"/>
                    <a:pt x="17" y="23"/>
                    <a:pt x="17" y="23"/>
                  </a:cubicBezTo>
                  <a:cubicBezTo>
                    <a:pt x="18" y="22"/>
                    <a:pt x="18" y="22"/>
                    <a:pt x="18" y="22"/>
                  </a:cubicBezTo>
                  <a:cubicBezTo>
                    <a:pt x="18" y="22"/>
                    <a:pt x="18" y="22"/>
                    <a:pt x="18" y="22"/>
                  </a:cubicBezTo>
                  <a:cubicBezTo>
                    <a:pt x="18" y="22"/>
                    <a:pt x="18" y="22"/>
                    <a:pt x="18" y="22"/>
                  </a:cubicBezTo>
                  <a:cubicBezTo>
                    <a:pt x="18" y="1"/>
                    <a:pt x="18" y="1"/>
                    <a:pt x="18"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15">
              <a:extLst>
                <a:ext uri="{FF2B5EF4-FFF2-40B4-BE49-F238E27FC236}">
                  <a16:creationId xmlns:a16="http://schemas.microsoft.com/office/drawing/2014/main" id="{7D811E38-3867-47E5-A7AE-FF18F78E444C}"/>
                </a:ext>
              </a:extLst>
            </p:cNvPr>
            <p:cNvSpPr>
              <a:spLocks/>
            </p:cNvSpPr>
            <p:nvPr/>
          </p:nvSpPr>
          <p:spPr bwMode="auto">
            <a:xfrm>
              <a:off x="5780064" y="5901426"/>
              <a:ext cx="54831" cy="77917"/>
            </a:xfrm>
            <a:custGeom>
              <a:avLst/>
              <a:gdLst>
                <a:gd name="T0" fmla="*/ 16 w 16"/>
                <a:gd name="T1" fmla="*/ 18 h 23"/>
                <a:gd name="T2" fmla="*/ 16 w 16"/>
                <a:gd name="T3" fmla="*/ 17 h 23"/>
                <a:gd name="T4" fmla="*/ 16 w 16"/>
                <a:gd name="T5" fmla="*/ 17 h 23"/>
                <a:gd name="T6" fmla="*/ 16 w 16"/>
                <a:gd name="T7" fmla="*/ 17 h 23"/>
                <a:gd name="T8" fmla="*/ 15 w 16"/>
                <a:gd name="T9" fmla="*/ 17 h 23"/>
                <a:gd name="T10" fmla="*/ 14 w 16"/>
                <a:gd name="T11" fmla="*/ 18 h 23"/>
                <a:gd name="T12" fmla="*/ 12 w 16"/>
                <a:gd name="T13" fmla="*/ 19 h 23"/>
                <a:gd name="T14" fmla="*/ 10 w 16"/>
                <a:gd name="T15" fmla="*/ 20 h 23"/>
                <a:gd name="T16" fmla="*/ 7 w 16"/>
                <a:gd name="T17" fmla="*/ 19 h 23"/>
                <a:gd name="T18" fmla="*/ 5 w 16"/>
                <a:gd name="T19" fmla="*/ 17 h 23"/>
                <a:gd name="T20" fmla="*/ 4 w 16"/>
                <a:gd name="T21" fmla="*/ 15 h 23"/>
                <a:gd name="T22" fmla="*/ 4 w 16"/>
                <a:gd name="T23" fmla="*/ 11 h 23"/>
                <a:gd name="T24" fmla="*/ 5 w 16"/>
                <a:gd name="T25" fmla="*/ 5 h 23"/>
                <a:gd name="T26" fmla="*/ 10 w 16"/>
                <a:gd name="T27" fmla="*/ 3 h 23"/>
                <a:gd name="T28" fmla="*/ 12 w 16"/>
                <a:gd name="T29" fmla="*/ 3 h 23"/>
                <a:gd name="T30" fmla="*/ 14 w 16"/>
                <a:gd name="T31" fmla="*/ 4 h 23"/>
                <a:gd name="T32" fmla="*/ 15 w 16"/>
                <a:gd name="T33" fmla="*/ 5 h 23"/>
                <a:gd name="T34" fmla="*/ 16 w 16"/>
                <a:gd name="T35" fmla="*/ 5 h 23"/>
                <a:gd name="T36" fmla="*/ 16 w 16"/>
                <a:gd name="T37" fmla="*/ 5 h 23"/>
                <a:gd name="T38" fmla="*/ 16 w 16"/>
                <a:gd name="T39" fmla="*/ 4 h 23"/>
                <a:gd name="T40" fmla="*/ 16 w 16"/>
                <a:gd name="T41" fmla="*/ 3 h 23"/>
                <a:gd name="T42" fmla="*/ 16 w 16"/>
                <a:gd name="T43" fmla="*/ 3 h 23"/>
                <a:gd name="T44" fmla="*/ 16 w 16"/>
                <a:gd name="T45" fmla="*/ 2 h 23"/>
                <a:gd name="T46" fmla="*/ 16 w 16"/>
                <a:gd name="T47" fmla="*/ 2 h 23"/>
                <a:gd name="T48" fmla="*/ 15 w 16"/>
                <a:gd name="T49" fmla="*/ 1 h 23"/>
                <a:gd name="T50" fmla="*/ 13 w 16"/>
                <a:gd name="T51" fmla="*/ 0 h 23"/>
                <a:gd name="T52" fmla="*/ 12 w 16"/>
                <a:gd name="T53" fmla="*/ 0 h 23"/>
                <a:gd name="T54" fmla="*/ 10 w 16"/>
                <a:gd name="T55" fmla="*/ 0 h 23"/>
                <a:gd name="T56" fmla="*/ 6 w 16"/>
                <a:gd name="T57" fmla="*/ 0 h 23"/>
                <a:gd name="T58" fmla="*/ 3 w 16"/>
                <a:gd name="T59" fmla="*/ 3 h 23"/>
                <a:gd name="T60" fmla="*/ 1 w 16"/>
                <a:gd name="T61" fmla="*/ 6 h 23"/>
                <a:gd name="T62" fmla="*/ 0 w 16"/>
                <a:gd name="T63" fmla="*/ 12 h 23"/>
                <a:gd name="T64" fmla="*/ 0 w 16"/>
                <a:gd name="T65" fmla="*/ 16 h 23"/>
                <a:gd name="T66" fmla="*/ 2 w 16"/>
                <a:gd name="T67" fmla="*/ 20 h 23"/>
                <a:gd name="T68" fmla="*/ 5 w 16"/>
                <a:gd name="T69" fmla="*/ 22 h 23"/>
                <a:gd name="T70" fmla="*/ 9 w 16"/>
                <a:gd name="T71" fmla="*/ 23 h 23"/>
                <a:gd name="T72" fmla="*/ 11 w 16"/>
                <a:gd name="T73" fmla="*/ 23 h 23"/>
                <a:gd name="T74" fmla="*/ 13 w 16"/>
                <a:gd name="T75" fmla="*/ 22 h 23"/>
                <a:gd name="T76" fmla="*/ 15 w 16"/>
                <a:gd name="T77" fmla="*/ 21 h 23"/>
                <a:gd name="T78" fmla="*/ 16 w 16"/>
                <a:gd name="T79" fmla="*/ 21 h 23"/>
                <a:gd name="T80" fmla="*/ 16 w 16"/>
                <a:gd name="T81" fmla="*/ 20 h 23"/>
                <a:gd name="T82" fmla="*/ 16 w 16"/>
                <a:gd name="T83" fmla="*/ 20 h 23"/>
                <a:gd name="T84" fmla="*/ 16 w 16"/>
                <a:gd name="T85" fmla="*/ 19 h 23"/>
                <a:gd name="T86" fmla="*/ 16 w 16"/>
                <a:gd name="T87" fmla="*/ 19 h 23"/>
                <a:gd name="T88" fmla="*/ 16 w 16"/>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23">
                  <a:moveTo>
                    <a:pt x="16" y="18"/>
                  </a:moveTo>
                  <a:cubicBezTo>
                    <a:pt x="16" y="18"/>
                    <a:pt x="16" y="17"/>
                    <a:pt x="16" y="17"/>
                  </a:cubicBezTo>
                  <a:cubicBezTo>
                    <a:pt x="16" y="17"/>
                    <a:pt x="16" y="17"/>
                    <a:pt x="16" y="17"/>
                  </a:cubicBezTo>
                  <a:cubicBezTo>
                    <a:pt x="16" y="17"/>
                    <a:pt x="16" y="17"/>
                    <a:pt x="16" y="17"/>
                  </a:cubicBezTo>
                  <a:cubicBezTo>
                    <a:pt x="16" y="17"/>
                    <a:pt x="15" y="17"/>
                    <a:pt x="15" y="17"/>
                  </a:cubicBezTo>
                  <a:cubicBezTo>
                    <a:pt x="15" y="18"/>
                    <a:pt x="14" y="18"/>
                    <a:pt x="14" y="18"/>
                  </a:cubicBezTo>
                  <a:cubicBezTo>
                    <a:pt x="13" y="18"/>
                    <a:pt x="13" y="19"/>
                    <a:pt x="12" y="19"/>
                  </a:cubicBezTo>
                  <a:cubicBezTo>
                    <a:pt x="11" y="19"/>
                    <a:pt x="11" y="20"/>
                    <a:pt x="10" y="20"/>
                  </a:cubicBezTo>
                  <a:cubicBezTo>
                    <a:pt x="9" y="20"/>
                    <a:pt x="8" y="19"/>
                    <a:pt x="7" y="19"/>
                  </a:cubicBezTo>
                  <a:cubicBezTo>
                    <a:pt x="6" y="19"/>
                    <a:pt x="6" y="18"/>
                    <a:pt x="5" y="17"/>
                  </a:cubicBezTo>
                  <a:cubicBezTo>
                    <a:pt x="5" y="17"/>
                    <a:pt x="4" y="16"/>
                    <a:pt x="4" y="15"/>
                  </a:cubicBezTo>
                  <a:cubicBezTo>
                    <a:pt x="4" y="14"/>
                    <a:pt x="4" y="13"/>
                    <a:pt x="4" y="11"/>
                  </a:cubicBezTo>
                  <a:cubicBezTo>
                    <a:pt x="4" y="9"/>
                    <a:pt x="4" y="7"/>
                    <a:pt x="5" y="5"/>
                  </a:cubicBezTo>
                  <a:cubicBezTo>
                    <a:pt x="6" y="4"/>
                    <a:pt x="8" y="3"/>
                    <a:pt x="10" y="3"/>
                  </a:cubicBezTo>
                  <a:cubicBezTo>
                    <a:pt x="11" y="3"/>
                    <a:pt x="11" y="3"/>
                    <a:pt x="12" y="3"/>
                  </a:cubicBezTo>
                  <a:cubicBezTo>
                    <a:pt x="13" y="4"/>
                    <a:pt x="13" y="4"/>
                    <a:pt x="14" y="4"/>
                  </a:cubicBezTo>
                  <a:cubicBezTo>
                    <a:pt x="14" y="5"/>
                    <a:pt x="15" y="5"/>
                    <a:pt x="15" y="5"/>
                  </a:cubicBezTo>
                  <a:cubicBezTo>
                    <a:pt x="15" y="5"/>
                    <a:pt x="15" y="5"/>
                    <a:pt x="16" y="5"/>
                  </a:cubicBezTo>
                  <a:cubicBezTo>
                    <a:pt x="16" y="5"/>
                    <a:pt x="16" y="5"/>
                    <a:pt x="16" y="5"/>
                  </a:cubicBezTo>
                  <a:cubicBezTo>
                    <a:pt x="16" y="5"/>
                    <a:pt x="16" y="4"/>
                    <a:pt x="16" y="4"/>
                  </a:cubicBezTo>
                  <a:cubicBezTo>
                    <a:pt x="16" y="4"/>
                    <a:pt x="16" y="3"/>
                    <a:pt x="16" y="3"/>
                  </a:cubicBezTo>
                  <a:cubicBezTo>
                    <a:pt x="16" y="3"/>
                    <a:pt x="16" y="3"/>
                    <a:pt x="16" y="3"/>
                  </a:cubicBezTo>
                  <a:cubicBezTo>
                    <a:pt x="16" y="2"/>
                    <a:pt x="16" y="2"/>
                    <a:pt x="16" y="2"/>
                  </a:cubicBezTo>
                  <a:cubicBezTo>
                    <a:pt x="16" y="2"/>
                    <a:pt x="16" y="2"/>
                    <a:pt x="16" y="2"/>
                  </a:cubicBezTo>
                  <a:cubicBezTo>
                    <a:pt x="16" y="2"/>
                    <a:pt x="15" y="1"/>
                    <a:pt x="15" y="1"/>
                  </a:cubicBezTo>
                  <a:cubicBezTo>
                    <a:pt x="14" y="1"/>
                    <a:pt x="14" y="1"/>
                    <a:pt x="13" y="0"/>
                  </a:cubicBezTo>
                  <a:cubicBezTo>
                    <a:pt x="13" y="0"/>
                    <a:pt x="12" y="0"/>
                    <a:pt x="12" y="0"/>
                  </a:cubicBezTo>
                  <a:cubicBezTo>
                    <a:pt x="11" y="0"/>
                    <a:pt x="10" y="0"/>
                    <a:pt x="10" y="0"/>
                  </a:cubicBezTo>
                  <a:cubicBezTo>
                    <a:pt x="8" y="0"/>
                    <a:pt x="7" y="0"/>
                    <a:pt x="6" y="0"/>
                  </a:cubicBezTo>
                  <a:cubicBezTo>
                    <a:pt x="5" y="1"/>
                    <a:pt x="4" y="2"/>
                    <a:pt x="3" y="3"/>
                  </a:cubicBezTo>
                  <a:cubicBezTo>
                    <a:pt x="2" y="3"/>
                    <a:pt x="1" y="5"/>
                    <a:pt x="1" y="6"/>
                  </a:cubicBezTo>
                  <a:cubicBezTo>
                    <a:pt x="0" y="8"/>
                    <a:pt x="0" y="9"/>
                    <a:pt x="0" y="12"/>
                  </a:cubicBezTo>
                  <a:cubicBezTo>
                    <a:pt x="0" y="13"/>
                    <a:pt x="0" y="15"/>
                    <a:pt x="0" y="16"/>
                  </a:cubicBezTo>
                  <a:cubicBezTo>
                    <a:pt x="1" y="18"/>
                    <a:pt x="1" y="19"/>
                    <a:pt x="2" y="20"/>
                  </a:cubicBezTo>
                  <a:cubicBezTo>
                    <a:pt x="3" y="21"/>
                    <a:pt x="4" y="22"/>
                    <a:pt x="5" y="22"/>
                  </a:cubicBezTo>
                  <a:cubicBezTo>
                    <a:pt x="6" y="23"/>
                    <a:pt x="8" y="23"/>
                    <a:pt x="9" y="23"/>
                  </a:cubicBezTo>
                  <a:cubicBezTo>
                    <a:pt x="10" y="23"/>
                    <a:pt x="11" y="23"/>
                    <a:pt x="11" y="23"/>
                  </a:cubicBezTo>
                  <a:cubicBezTo>
                    <a:pt x="12" y="23"/>
                    <a:pt x="13" y="22"/>
                    <a:pt x="13" y="22"/>
                  </a:cubicBezTo>
                  <a:cubicBezTo>
                    <a:pt x="14" y="22"/>
                    <a:pt x="14" y="22"/>
                    <a:pt x="15" y="21"/>
                  </a:cubicBezTo>
                  <a:cubicBezTo>
                    <a:pt x="15" y="21"/>
                    <a:pt x="16" y="21"/>
                    <a:pt x="16" y="21"/>
                  </a:cubicBezTo>
                  <a:cubicBezTo>
                    <a:pt x="16" y="20"/>
                    <a:pt x="16" y="20"/>
                    <a:pt x="16" y="20"/>
                  </a:cubicBezTo>
                  <a:cubicBezTo>
                    <a:pt x="16" y="20"/>
                    <a:pt x="16" y="20"/>
                    <a:pt x="16" y="20"/>
                  </a:cubicBezTo>
                  <a:cubicBezTo>
                    <a:pt x="16" y="20"/>
                    <a:pt x="16" y="20"/>
                    <a:pt x="16" y="19"/>
                  </a:cubicBezTo>
                  <a:cubicBezTo>
                    <a:pt x="16" y="19"/>
                    <a:pt x="16" y="19"/>
                    <a:pt x="16" y="19"/>
                  </a:cubicBezTo>
                  <a:cubicBezTo>
                    <a:pt x="16" y="18"/>
                    <a:pt x="16" y="18"/>
                    <a:pt x="16" y="18"/>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16">
              <a:extLst>
                <a:ext uri="{FF2B5EF4-FFF2-40B4-BE49-F238E27FC236}">
                  <a16:creationId xmlns:a16="http://schemas.microsoft.com/office/drawing/2014/main" id="{61C6C893-BDA6-4781-A987-17A412FC72FC}"/>
                </a:ext>
              </a:extLst>
            </p:cNvPr>
            <p:cNvSpPr>
              <a:spLocks/>
            </p:cNvSpPr>
            <p:nvPr/>
          </p:nvSpPr>
          <p:spPr bwMode="auto">
            <a:xfrm>
              <a:off x="5844996" y="5879783"/>
              <a:ext cx="44731" cy="99562"/>
            </a:xfrm>
            <a:custGeom>
              <a:avLst/>
              <a:gdLst>
                <a:gd name="T0" fmla="*/ 13 w 13"/>
                <a:gd name="T1" fmla="*/ 26 h 29"/>
                <a:gd name="T2" fmla="*/ 13 w 13"/>
                <a:gd name="T3" fmla="*/ 25 h 29"/>
                <a:gd name="T4" fmla="*/ 13 w 13"/>
                <a:gd name="T5" fmla="*/ 25 h 29"/>
                <a:gd name="T6" fmla="*/ 13 w 13"/>
                <a:gd name="T7" fmla="*/ 25 h 29"/>
                <a:gd name="T8" fmla="*/ 13 w 13"/>
                <a:gd name="T9" fmla="*/ 25 h 29"/>
                <a:gd name="T10" fmla="*/ 12 w 13"/>
                <a:gd name="T11" fmla="*/ 25 h 29"/>
                <a:gd name="T12" fmla="*/ 11 w 13"/>
                <a:gd name="T13" fmla="*/ 25 h 29"/>
                <a:gd name="T14" fmla="*/ 10 w 13"/>
                <a:gd name="T15" fmla="*/ 26 h 29"/>
                <a:gd name="T16" fmla="*/ 8 w 13"/>
                <a:gd name="T17" fmla="*/ 24 h 29"/>
                <a:gd name="T18" fmla="*/ 7 w 13"/>
                <a:gd name="T19" fmla="*/ 21 h 29"/>
                <a:gd name="T20" fmla="*/ 7 w 13"/>
                <a:gd name="T21" fmla="*/ 9 h 29"/>
                <a:gd name="T22" fmla="*/ 13 w 13"/>
                <a:gd name="T23" fmla="*/ 9 h 29"/>
                <a:gd name="T24" fmla="*/ 13 w 13"/>
                <a:gd name="T25" fmla="*/ 9 h 29"/>
                <a:gd name="T26" fmla="*/ 13 w 13"/>
                <a:gd name="T27" fmla="*/ 8 h 29"/>
                <a:gd name="T28" fmla="*/ 13 w 13"/>
                <a:gd name="T29" fmla="*/ 7 h 29"/>
                <a:gd name="T30" fmla="*/ 13 w 13"/>
                <a:gd name="T31" fmla="*/ 6 h 29"/>
                <a:gd name="T32" fmla="*/ 13 w 13"/>
                <a:gd name="T33" fmla="*/ 6 h 29"/>
                <a:gd name="T34" fmla="*/ 13 w 13"/>
                <a:gd name="T35" fmla="*/ 6 h 29"/>
                <a:gd name="T36" fmla="*/ 7 w 13"/>
                <a:gd name="T37" fmla="*/ 6 h 29"/>
                <a:gd name="T38" fmla="*/ 7 w 13"/>
                <a:gd name="T39" fmla="*/ 1 h 29"/>
                <a:gd name="T40" fmla="*/ 7 w 13"/>
                <a:gd name="T41" fmla="*/ 1 h 29"/>
                <a:gd name="T42" fmla="*/ 7 w 13"/>
                <a:gd name="T43" fmla="*/ 1 h 29"/>
                <a:gd name="T44" fmla="*/ 6 w 13"/>
                <a:gd name="T45" fmla="*/ 0 h 29"/>
                <a:gd name="T46" fmla="*/ 5 w 13"/>
                <a:gd name="T47" fmla="*/ 0 h 29"/>
                <a:gd name="T48" fmla="*/ 4 w 13"/>
                <a:gd name="T49" fmla="*/ 0 h 29"/>
                <a:gd name="T50" fmla="*/ 4 w 13"/>
                <a:gd name="T51" fmla="*/ 1 h 29"/>
                <a:gd name="T52" fmla="*/ 3 w 13"/>
                <a:gd name="T53" fmla="*/ 1 h 29"/>
                <a:gd name="T54" fmla="*/ 3 w 13"/>
                <a:gd name="T55" fmla="*/ 1 h 29"/>
                <a:gd name="T56" fmla="*/ 3 w 13"/>
                <a:gd name="T57" fmla="*/ 6 h 29"/>
                <a:gd name="T58" fmla="*/ 0 w 13"/>
                <a:gd name="T59" fmla="*/ 6 h 29"/>
                <a:gd name="T60" fmla="*/ 0 w 13"/>
                <a:gd name="T61" fmla="*/ 6 h 29"/>
                <a:gd name="T62" fmla="*/ 0 w 13"/>
                <a:gd name="T63" fmla="*/ 6 h 29"/>
                <a:gd name="T64" fmla="*/ 0 w 13"/>
                <a:gd name="T65" fmla="*/ 7 h 29"/>
                <a:gd name="T66" fmla="*/ 0 w 13"/>
                <a:gd name="T67" fmla="*/ 8 h 29"/>
                <a:gd name="T68" fmla="*/ 0 w 13"/>
                <a:gd name="T69" fmla="*/ 9 h 29"/>
                <a:gd name="T70" fmla="*/ 0 w 13"/>
                <a:gd name="T71" fmla="*/ 9 h 29"/>
                <a:gd name="T72" fmla="*/ 3 w 13"/>
                <a:gd name="T73" fmla="*/ 9 h 29"/>
                <a:gd name="T74" fmla="*/ 3 w 13"/>
                <a:gd name="T75" fmla="*/ 22 h 29"/>
                <a:gd name="T76" fmla="*/ 4 w 13"/>
                <a:gd name="T77" fmla="*/ 25 h 29"/>
                <a:gd name="T78" fmla="*/ 5 w 13"/>
                <a:gd name="T79" fmla="*/ 27 h 29"/>
                <a:gd name="T80" fmla="*/ 7 w 13"/>
                <a:gd name="T81" fmla="*/ 28 h 29"/>
                <a:gd name="T82" fmla="*/ 10 w 13"/>
                <a:gd name="T83" fmla="*/ 29 h 29"/>
                <a:gd name="T84" fmla="*/ 11 w 13"/>
                <a:gd name="T85" fmla="*/ 29 h 29"/>
                <a:gd name="T86" fmla="*/ 12 w 13"/>
                <a:gd name="T87" fmla="*/ 29 h 29"/>
                <a:gd name="T88" fmla="*/ 13 w 13"/>
                <a:gd name="T89" fmla="*/ 28 h 29"/>
                <a:gd name="T90" fmla="*/ 13 w 13"/>
                <a:gd name="T91" fmla="*/ 28 h 29"/>
                <a:gd name="T92" fmla="*/ 13 w 13"/>
                <a:gd name="T93" fmla="*/ 27 h 29"/>
                <a:gd name="T94" fmla="*/ 13 w 13"/>
                <a:gd name="T95" fmla="*/ 26 h 29"/>
                <a:gd name="T96" fmla="*/ 13 w 13"/>
                <a:gd name="T9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 h="29">
                  <a:moveTo>
                    <a:pt x="13" y="26"/>
                  </a:moveTo>
                  <a:cubicBezTo>
                    <a:pt x="13" y="25"/>
                    <a:pt x="13" y="25"/>
                    <a:pt x="13" y="25"/>
                  </a:cubicBezTo>
                  <a:cubicBezTo>
                    <a:pt x="13" y="25"/>
                    <a:pt x="13" y="25"/>
                    <a:pt x="13" y="25"/>
                  </a:cubicBezTo>
                  <a:cubicBezTo>
                    <a:pt x="13" y="25"/>
                    <a:pt x="13" y="25"/>
                    <a:pt x="13" y="25"/>
                  </a:cubicBezTo>
                  <a:cubicBezTo>
                    <a:pt x="13" y="25"/>
                    <a:pt x="13" y="25"/>
                    <a:pt x="13" y="25"/>
                  </a:cubicBezTo>
                  <a:cubicBezTo>
                    <a:pt x="12" y="25"/>
                    <a:pt x="12" y="25"/>
                    <a:pt x="12" y="25"/>
                  </a:cubicBezTo>
                  <a:cubicBezTo>
                    <a:pt x="12" y="25"/>
                    <a:pt x="11" y="25"/>
                    <a:pt x="11" y="25"/>
                  </a:cubicBezTo>
                  <a:cubicBezTo>
                    <a:pt x="11" y="25"/>
                    <a:pt x="11" y="26"/>
                    <a:pt x="10" y="26"/>
                  </a:cubicBezTo>
                  <a:cubicBezTo>
                    <a:pt x="9" y="26"/>
                    <a:pt x="8" y="25"/>
                    <a:pt x="8" y="24"/>
                  </a:cubicBezTo>
                  <a:cubicBezTo>
                    <a:pt x="7" y="24"/>
                    <a:pt x="7" y="23"/>
                    <a:pt x="7" y="21"/>
                  </a:cubicBezTo>
                  <a:cubicBezTo>
                    <a:pt x="7" y="9"/>
                    <a:pt x="7" y="9"/>
                    <a:pt x="7" y="9"/>
                  </a:cubicBezTo>
                  <a:cubicBezTo>
                    <a:pt x="13" y="9"/>
                    <a:pt x="13" y="9"/>
                    <a:pt x="13" y="9"/>
                  </a:cubicBezTo>
                  <a:cubicBezTo>
                    <a:pt x="13" y="9"/>
                    <a:pt x="13" y="9"/>
                    <a:pt x="13" y="9"/>
                  </a:cubicBezTo>
                  <a:cubicBezTo>
                    <a:pt x="13" y="9"/>
                    <a:pt x="13" y="8"/>
                    <a:pt x="13" y="8"/>
                  </a:cubicBezTo>
                  <a:cubicBezTo>
                    <a:pt x="13" y="7"/>
                    <a:pt x="13" y="7"/>
                    <a:pt x="13" y="7"/>
                  </a:cubicBezTo>
                  <a:cubicBezTo>
                    <a:pt x="13" y="7"/>
                    <a:pt x="13" y="7"/>
                    <a:pt x="13" y="6"/>
                  </a:cubicBezTo>
                  <a:cubicBezTo>
                    <a:pt x="13" y="6"/>
                    <a:pt x="13" y="6"/>
                    <a:pt x="13" y="6"/>
                  </a:cubicBezTo>
                  <a:cubicBezTo>
                    <a:pt x="13" y="6"/>
                    <a:pt x="13" y="6"/>
                    <a:pt x="13" y="6"/>
                  </a:cubicBezTo>
                  <a:cubicBezTo>
                    <a:pt x="7" y="6"/>
                    <a:pt x="7" y="6"/>
                    <a:pt x="7" y="6"/>
                  </a:cubicBezTo>
                  <a:cubicBezTo>
                    <a:pt x="7" y="1"/>
                    <a:pt x="7" y="1"/>
                    <a:pt x="7" y="1"/>
                  </a:cubicBezTo>
                  <a:cubicBezTo>
                    <a:pt x="7" y="1"/>
                    <a:pt x="7" y="1"/>
                    <a:pt x="7" y="1"/>
                  </a:cubicBezTo>
                  <a:cubicBezTo>
                    <a:pt x="7" y="1"/>
                    <a:pt x="7" y="1"/>
                    <a:pt x="7" y="1"/>
                  </a:cubicBezTo>
                  <a:cubicBezTo>
                    <a:pt x="7" y="0"/>
                    <a:pt x="7" y="0"/>
                    <a:pt x="6" y="0"/>
                  </a:cubicBezTo>
                  <a:cubicBezTo>
                    <a:pt x="6" y="0"/>
                    <a:pt x="6" y="0"/>
                    <a:pt x="5" y="0"/>
                  </a:cubicBezTo>
                  <a:cubicBezTo>
                    <a:pt x="5" y="0"/>
                    <a:pt x="5" y="0"/>
                    <a:pt x="4" y="0"/>
                  </a:cubicBezTo>
                  <a:cubicBezTo>
                    <a:pt x="4" y="0"/>
                    <a:pt x="4" y="0"/>
                    <a:pt x="4" y="1"/>
                  </a:cubicBezTo>
                  <a:cubicBezTo>
                    <a:pt x="4" y="1"/>
                    <a:pt x="4" y="1"/>
                    <a:pt x="3" y="1"/>
                  </a:cubicBezTo>
                  <a:cubicBezTo>
                    <a:pt x="3" y="1"/>
                    <a:pt x="3" y="1"/>
                    <a:pt x="3" y="1"/>
                  </a:cubicBezTo>
                  <a:cubicBezTo>
                    <a:pt x="3" y="6"/>
                    <a:pt x="3" y="6"/>
                    <a:pt x="3" y="6"/>
                  </a:cubicBezTo>
                  <a:cubicBezTo>
                    <a:pt x="0" y="6"/>
                    <a:pt x="0" y="6"/>
                    <a:pt x="0" y="6"/>
                  </a:cubicBezTo>
                  <a:cubicBezTo>
                    <a:pt x="0" y="6"/>
                    <a:pt x="0" y="6"/>
                    <a:pt x="0" y="6"/>
                  </a:cubicBezTo>
                  <a:cubicBezTo>
                    <a:pt x="0" y="6"/>
                    <a:pt x="0" y="6"/>
                    <a:pt x="0" y="6"/>
                  </a:cubicBezTo>
                  <a:cubicBezTo>
                    <a:pt x="0" y="7"/>
                    <a:pt x="0" y="7"/>
                    <a:pt x="0" y="7"/>
                  </a:cubicBezTo>
                  <a:cubicBezTo>
                    <a:pt x="0" y="7"/>
                    <a:pt x="0" y="7"/>
                    <a:pt x="0" y="8"/>
                  </a:cubicBezTo>
                  <a:cubicBezTo>
                    <a:pt x="0" y="8"/>
                    <a:pt x="0" y="9"/>
                    <a:pt x="0" y="9"/>
                  </a:cubicBezTo>
                  <a:cubicBezTo>
                    <a:pt x="0" y="9"/>
                    <a:pt x="0" y="9"/>
                    <a:pt x="0" y="9"/>
                  </a:cubicBezTo>
                  <a:cubicBezTo>
                    <a:pt x="3" y="9"/>
                    <a:pt x="3" y="9"/>
                    <a:pt x="3" y="9"/>
                  </a:cubicBezTo>
                  <a:cubicBezTo>
                    <a:pt x="3" y="22"/>
                    <a:pt x="3" y="22"/>
                    <a:pt x="3" y="22"/>
                  </a:cubicBezTo>
                  <a:cubicBezTo>
                    <a:pt x="3" y="23"/>
                    <a:pt x="4" y="24"/>
                    <a:pt x="4" y="25"/>
                  </a:cubicBezTo>
                  <a:cubicBezTo>
                    <a:pt x="4" y="26"/>
                    <a:pt x="4" y="26"/>
                    <a:pt x="5" y="27"/>
                  </a:cubicBezTo>
                  <a:cubicBezTo>
                    <a:pt x="5" y="28"/>
                    <a:pt x="6" y="28"/>
                    <a:pt x="7" y="28"/>
                  </a:cubicBezTo>
                  <a:cubicBezTo>
                    <a:pt x="8" y="29"/>
                    <a:pt x="8" y="29"/>
                    <a:pt x="10" y="29"/>
                  </a:cubicBezTo>
                  <a:cubicBezTo>
                    <a:pt x="10" y="29"/>
                    <a:pt x="10" y="29"/>
                    <a:pt x="11" y="29"/>
                  </a:cubicBezTo>
                  <a:cubicBezTo>
                    <a:pt x="11" y="29"/>
                    <a:pt x="11" y="29"/>
                    <a:pt x="12" y="29"/>
                  </a:cubicBezTo>
                  <a:cubicBezTo>
                    <a:pt x="12" y="28"/>
                    <a:pt x="12" y="28"/>
                    <a:pt x="13" y="28"/>
                  </a:cubicBezTo>
                  <a:cubicBezTo>
                    <a:pt x="13" y="28"/>
                    <a:pt x="13" y="28"/>
                    <a:pt x="13" y="28"/>
                  </a:cubicBezTo>
                  <a:cubicBezTo>
                    <a:pt x="13" y="28"/>
                    <a:pt x="13" y="28"/>
                    <a:pt x="13" y="27"/>
                  </a:cubicBezTo>
                  <a:cubicBezTo>
                    <a:pt x="13" y="27"/>
                    <a:pt x="13" y="27"/>
                    <a:pt x="13" y="26"/>
                  </a:cubicBezTo>
                  <a:cubicBezTo>
                    <a:pt x="13" y="26"/>
                    <a:pt x="13" y="26"/>
                    <a:pt x="13" y="26"/>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17">
              <a:extLst>
                <a:ext uri="{FF2B5EF4-FFF2-40B4-BE49-F238E27FC236}">
                  <a16:creationId xmlns:a16="http://schemas.microsoft.com/office/drawing/2014/main" id="{71B443BF-CF07-4B95-8969-942C81EC11F1}"/>
                </a:ext>
              </a:extLst>
            </p:cNvPr>
            <p:cNvSpPr>
              <a:spLocks/>
            </p:cNvSpPr>
            <p:nvPr/>
          </p:nvSpPr>
          <p:spPr bwMode="auto">
            <a:xfrm>
              <a:off x="5909926" y="5901426"/>
              <a:ext cx="62046" cy="77917"/>
            </a:xfrm>
            <a:custGeom>
              <a:avLst/>
              <a:gdLst>
                <a:gd name="T0" fmla="*/ 18 w 18"/>
                <a:gd name="T1" fmla="*/ 1 h 23"/>
                <a:gd name="T2" fmla="*/ 18 w 18"/>
                <a:gd name="T3" fmla="*/ 0 h 23"/>
                <a:gd name="T4" fmla="*/ 17 w 18"/>
                <a:gd name="T5" fmla="*/ 0 h 23"/>
                <a:gd name="T6" fmla="*/ 17 w 18"/>
                <a:gd name="T7" fmla="*/ 0 h 23"/>
                <a:gd name="T8" fmla="*/ 16 w 18"/>
                <a:gd name="T9" fmla="*/ 0 h 23"/>
                <a:gd name="T10" fmla="*/ 15 w 18"/>
                <a:gd name="T11" fmla="*/ 0 h 23"/>
                <a:gd name="T12" fmla="*/ 14 w 18"/>
                <a:gd name="T13" fmla="*/ 0 h 23"/>
                <a:gd name="T14" fmla="*/ 14 w 18"/>
                <a:gd name="T15" fmla="*/ 0 h 23"/>
                <a:gd name="T16" fmla="*/ 14 w 18"/>
                <a:gd name="T17" fmla="*/ 1 h 23"/>
                <a:gd name="T18" fmla="*/ 14 w 18"/>
                <a:gd name="T19" fmla="*/ 15 h 23"/>
                <a:gd name="T20" fmla="*/ 11 w 18"/>
                <a:gd name="T21" fmla="*/ 19 h 23"/>
                <a:gd name="T22" fmla="*/ 8 w 18"/>
                <a:gd name="T23" fmla="*/ 20 h 23"/>
                <a:gd name="T24" fmla="*/ 6 w 18"/>
                <a:gd name="T25" fmla="*/ 19 h 23"/>
                <a:gd name="T26" fmla="*/ 5 w 18"/>
                <a:gd name="T27" fmla="*/ 18 h 23"/>
                <a:gd name="T28" fmla="*/ 4 w 18"/>
                <a:gd name="T29" fmla="*/ 16 h 23"/>
                <a:gd name="T30" fmla="*/ 4 w 18"/>
                <a:gd name="T31" fmla="*/ 13 h 23"/>
                <a:gd name="T32" fmla="*/ 4 w 18"/>
                <a:gd name="T33" fmla="*/ 1 h 23"/>
                <a:gd name="T34" fmla="*/ 3 w 18"/>
                <a:gd name="T35" fmla="*/ 0 h 23"/>
                <a:gd name="T36" fmla="*/ 3 w 18"/>
                <a:gd name="T37" fmla="*/ 0 h 23"/>
                <a:gd name="T38" fmla="*/ 3 w 18"/>
                <a:gd name="T39" fmla="*/ 0 h 23"/>
                <a:gd name="T40" fmla="*/ 2 w 18"/>
                <a:gd name="T41" fmla="*/ 0 h 23"/>
                <a:gd name="T42" fmla="*/ 1 w 18"/>
                <a:gd name="T43" fmla="*/ 0 h 23"/>
                <a:gd name="T44" fmla="*/ 0 w 18"/>
                <a:gd name="T45" fmla="*/ 0 h 23"/>
                <a:gd name="T46" fmla="*/ 0 w 18"/>
                <a:gd name="T47" fmla="*/ 0 h 23"/>
                <a:gd name="T48" fmla="*/ 0 w 18"/>
                <a:gd name="T49" fmla="*/ 1 h 23"/>
                <a:gd name="T50" fmla="*/ 0 w 18"/>
                <a:gd name="T51" fmla="*/ 14 h 23"/>
                <a:gd name="T52" fmla="*/ 0 w 18"/>
                <a:gd name="T53" fmla="*/ 17 h 23"/>
                <a:gd name="T54" fmla="*/ 1 w 18"/>
                <a:gd name="T55" fmla="*/ 20 h 23"/>
                <a:gd name="T56" fmla="*/ 4 w 18"/>
                <a:gd name="T57" fmla="*/ 22 h 23"/>
                <a:gd name="T58" fmla="*/ 7 w 18"/>
                <a:gd name="T59" fmla="*/ 23 h 23"/>
                <a:gd name="T60" fmla="*/ 11 w 18"/>
                <a:gd name="T61" fmla="*/ 22 h 23"/>
                <a:gd name="T62" fmla="*/ 14 w 18"/>
                <a:gd name="T63" fmla="*/ 19 h 23"/>
                <a:gd name="T64" fmla="*/ 14 w 18"/>
                <a:gd name="T65" fmla="*/ 22 h 23"/>
                <a:gd name="T66" fmla="*/ 14 w 18"/>
                <a:gd name="T67" fmla="*/ 22 h 23"/>
                <a:gd name="T68" fmla="*/ 15 w 18"/>
                <a:gd name="T69" fmla="*/ 22 h 23"/>
                <a:gd name="T70" fmla="*/ 15 w 18"/>
                <a:gd name="T71" fmla="*/ 23 h 23"/>
                <a:gd name="T72" fmla="*/ 16 w 18"/>
                <a:gd name="T73" fmla="*/ 23 h 23"/>
                <a:gd name="T74" fmla="*/ 17 w 18"/>
                <a:gd name="T75" fmla="*/ 23 h 23"/>
                <a:gd name="T76" fmla="*/ 18 w 18"/>
                <a:gd name="T77" fmla="*/ 22 h 23"/>
                <a:gd name="T78" fmla="*/ 18 w 18"/>
                <a:gd name="T79" fmla="*/ 22 h 23"/>
                <a:gd name="T80" fmla="*/ 18 w 18"/>
                <a:gd name="T81" fmla="*/ 22 h 23"/>
                <a:gd name="T82" fmla="*/ 18 w 18"/>
                <a:gd name="T8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
                  </a:moveTo>
                  <a:cubicBezTo>
                    <a:pt x="18" y="1"/>
                    <a:pt x="18" y="1"/>
                    <a:pt x="18" y="0"/>
                  </a:cubicBezTo>
                  <a:cubicBezTo>
                    <a:pt x="18" y="0"/>
                    <a:pt x="18" y="0"/>
                    <a:pt x="17" y="0"/>
                  </a:cubicBezTo>
                  <a:cubicBezTo>
                    <a:pt x="17" y="0"/>
                    <a:pt x="17" y="0"/>
                    <a:pt x="17" y="0"/>
                  </a:cubicBezTo>
                  <a:cubicBezTo>
                    <a:pt x="17" y="0"/>
                    <a:pt x="16" y="0"/>
                    <a:pt x="16" y="0"/>
                  </a:cubicBezTo>
                  <a:cubicBezTo>
                    <a:pt x="16" y="0"/>
                    <a:pt x="15" y="0"/>
                    <a:pt x="15" y="0"/>
                  </a:cubicBezTo>
                  <a:cubicBezTo>
                    <a:pt x="15" y="0"/>
                    <a:pt x="15" y="0"/>
                    <a:pt x="14" y="0"/>
                  </a:cubicBezTo>
                  <a:cubicBezTo>
                    <a:pt x="14" y="0"/>
                    <a:pt x="14" y="0"/>
                    <a:pt x="14" y="0"/>
                  </a:cubicBezTo>
                  <a:cubicBezTo>
                    <a:pt x="14" y="1"/>
                    <a:pt x="14" y="1"/>
                    <a:pt x="14" y="1"/>
                  </a:cubicBezTo>
                  <a:cubicBezTo>
                    <a:pt x="14" y="15"/>
                    <a:pt x="14" y="15"/>
                    <a:pt x="14" y="15"/>
                  </a:cubicBezTo>
                  <a:cubicBezTo>
                    <a:pt x="13" y="17"/>
                    <a:pt x="12" y="18"/>
                    <a:pt x="11" y="19"/>
                  </a:cubicBezTo>
                  <a:cubicBezTo>
                    <a:pt x="10" y="19"/>
                    <a:pt x="9" y="20"/>
                    <a:pt x="8" y="20"/>
                  </a:cubicBezTo>
                  <a:cubicBezTo>
                    <a:pt x="7" y="20"/>
                    <a:pt x="7" y="19"/>
                    <a:pt x="6" y="19"/>
                  </a:cubicBezTo>
                  <a:cubicBezTo>
                    <a:pt x="6" y="19"/>
                    <a:pt x="5" y="18"/>
                    <a:pt x="5" y="18"/>
                  </a:cubicBezTo>
                  <a:cubicBezTo>
                    <a:pt x="4" y="17"/>
                    <a:pt x="4" y="17"/>
                    <a:pt x="4" y="16"/>
                  </a:cubicBezTo>
                  <a:cubicBezTo>
                    <a:pt x="4" y="15"/>
                    <a:pt x="4" y="14"/>
                    <a:pt x="4" y="13"/>
                  </a:cubicBezTo>
                  <a:cubicBezTo>
                    <a:pt x="4" y="1"/>
                    <a:pt x="4" y="1"/>
                    <a:pt x="4" y="1"/>
                  </a:cubicBezTo>
                  <a:cubicBezTo>
                    <a:pt x="4" y="1"/>
                    <a:pt x="4" y="1"/>
                    <a:pt x="3" y="0"/>
                  </a:cubicBez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0" y="0"/>
                    <a:pt x="0" y="0"/>
                    <a:pt x="0" y="0"/>
                  </a:cubicBezTo>
                  <a:cubicBezTo>
                    <a:pt x="0" y="1"/>
                    <a:pt x="0" y="1"/>
                    <a:pt x="0" y="1"/>
                  </a:cubicBezTo>
                  <a:cubicBezTo>
                    <a:pt x="0" y="14"/>
                    <a:pt x="0" y="14"/>
                    <a:pt x="0" y="14"/>
                  </a:cubicBezTo>
                  <a:cubicBezTo>
                    <a:pt x="0" y="15"/>
                    <a:pt x="0" y="16"/>
                    <a:pt x="0" y="17"/>
                  </a:cubicBezTo>
                  <a:cubicBezTo>
                    <a:pt x="0" y="19"/>
                    <a:pt x="1" y="19"/>
                    <a:pt x="1" y="20"/>
                  </a:cubicBezTo>
                  <a:cubicBezTo>
                    <a:pt x="2" y="21"/>
                    <a:pt x="3" y="22"/>
                    <a:pt x="4" y="22"/>
                  </a:cubicBezTo>
                  <a:cubicBezTo>
                    <a:pt x="5" y="23"/>
                    <a:pt x="6" y="23"/>
                    <a:pt x="7" y="23"/>
                  </a:cubicBezTo>
                  <a:cubicBezTo>
                    <a:pt x="8" y="23"/>
                    <a:pt x="10" y="23"/>
                    <a:pt x="11" y="22"/>
                  </a:cubicBezTo>
                  <a:cubicBezTo>
                    <a:pt x="12" y="21"/>
                    <a:pt x="13" y="20"/>
                    <a:pt x="14" y="19"/>
                  </a:cubicBezTo>
                  <a:cubicBezTo>
                    <a:pt x="14" y="22"/>
                    <a:pt x="14" y="22"/>
                    <a:pt x="14" y="22"/>
                  </a:cubicBezTo>
                  <a:cubicBezTo>
                    <a:pt x="14" y="22"/>
                    <a:pt x="14" y="22"/>
                    <a:pt x="14" y="22"/>
                  </a:cubicBezTo>
                  <a:cubicBezTo>
                    <a:pt x="14" y="22"/>
                    <a:pt x="15" y="22"/>
                    <a:pt x="15" y="22"/>
                  </a:cubicBezTo>
                  <a:cubicBezTo>
                    <a:pt x="15" y="22"/>
                    <a:pt x="15" y="22"/>
                    <a:pt x="15" y="23"/>
                  </a:cubicBezTo>
                  <a:cubicBezTo>
                    <a:pt x="15" y="23"/>
                    <a:pt x="16" y="23"/>
                    <a:pt x="16" y="23"/>
                  </a:cubicBezTo>
                  <a:cubicBezTo>
                    <a:pt x="16" y="23"/>
                    <a:pt x="17" y="23"/>
                    <a:pt x="17" y="23"/>
                  </a:cubicBezTo>
                  <a:cubicBezTo>
                    <a:pt x="17" y="22"/>
                    <a:pt x="17" y="22"/>
                    <a:pt x="18" y="22"/>
                  </a:cubicBezTo>
                  <a:cubicBezTo>
                    <a:pt x="18" y="22"/>
                    <a:pt x="18" y="22"/>
                    <a:pt x="18" y="22"/>
                  </a:cubicBezTo>
                  <a:cubicBezTo>
                    <a:pt x="18" y="22"/>
                    <a:pt x="18" y="22"/>
                    <a:pt x="18" y="22"/>
                  </a:cubicBezTo>
                  <a:cubicBezTo>
                    <a:pt x="18" y="1"/>
                    <a:pt x="18" y="1"/>
                    <a:pt x="18"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18">
              <a:extLst>
                <a:ext uri="{FF2B5EF4-FFF2-40B4-BE49-F238E27FC236}">
                  <a16:creationId xmlns:a16="http://schemas.microsoft.com/office/drawing/2014/main" id="{8E2D7AC7-C1DF-4DE4-9475-978A984027D8}"/>
                </a:ext>
              </a:extLst>
            </p:cNvPr>
            <p:cNvSpPr>
              <a:spLocks/>
            </p:cNvSpPr>
            <p:nvPr/>
          </p:nvSpPr>
          <p:spPr bwMode="auto">
            <a:xfrm>
              <a:off x="5995059" y="5901426"/>
              <a:ext cx="41845" cy="77917"/>
            </a:xfrm>
            <a:custGeom>
              <a:avLst/>
              <a:gdLst>
                <a:gd name="T0" fmla="*/ 12 w 12"/>
                <a:gd name="T1" fmla="*/ 1 h 23"/>
                <a:gd name="T2" fmla="*/ 12 w 12"/>
                <a:gd name="T3" fmla="*/ 1 h 23"/>
                <a:gd name="T4" fmla="*/ 12 w 12"/>
                <a:gd name="T5" fmla="*/ 1 h 23"/>
                <a:gd name="T6" fmla="*/ 12 w 12"/>
                <a:gd name="T7" fmla="*/ 0 h 23"/>
                <a:gd name="T8" fmla="*/ 11 w 12"/>
                <a:gd name="T9" fmla="*/ 0 h 23"/>
                <a:gd name="T10" fmla="*/ 11 w 12"/>
                <a:gd name="T11" fmla="*/ 0 h 23"/>
                <a:gd name="T12" fmla="*/ 10 w 12"/>
                <a:gd name="T13" fmla="*/ 0 h 23"/>
                <a:gd name="T14" fmla="*/ 9 w 12"/>
                <a:gd name="T15" fmla="*/ 0 h 23"/>
                <a:gd name="T16" fmla="*/ 8 w 12"/>
                <a:gd name="T17" fmla="*/ 0 h 23"/>
                <a:gd name="T18" fmla="*/ 6 w 12"/>
                <a:gd name="T19" fmla="*/ 0 h 23"/>
                <a:gd name="T20" fmla="*/ 5 w 12"/>
                <a:gd name="T21" fmla="*/ 2 h 23"/>
                <a:gd name="T22" fmla="*/ 3 w 12"/>
                <a:gd name="T23" fmla="*/ 4 h 23"/>
                <a:gd name="T24" fmla="*/ 3 w 12"/>
                <a:gd name="T25" fmla="*/ 1 h 23"/>
                <a:gd name="T26" fmla="*/ 3 w 12"/>
                <a:gd name="T27" fmla="*/ 0 h 23"/>
                <a:gd name="T28" fmla="*/ 3 w 12"/>
                <a:gd name="T29" fmla="*/ 0 h 23"/>
                <a:gd name="T30" fmla="*/ 2 w 12"/>
                <a:gd name="T31" fmla="*/ 0 h 23"/>
                <a:gd name="T32" fmla="*/ 2 w 12"/>
                <a:gd name="T33" fmla="*/ 0 h 23"/>
                <a:gd name="T34" fmla="*/ 1 w 12"/>
                <a:gd name="T35" fmla="*/ 0 h 23"/>
                <a:gd name="T36" fmla="*/ 0 w 12"/>
                <a:gd name="T37" fmla="*/ 0 h 23"/>
                <a:gd name="T38" fmla="*/ 0 w 12"/>
                <a:gd name="T39" fmla="*/ 0 h 23"/>
                <a:gd name="T40" fmla="*/ 0 w 12"/>
                <a:gd name="T41" fmla="*/ 1 h 23"/>
                <a:gd name="T42" fmla="*/ 0 w 12"/>
                <a:gd name="T43" fmla="*/ 22 h 23"/>
                <a:gd name="T44" fmla="*/ 0 w 12"/>
                <a:gd name="T45" fmla="*/ 22 h 23"/>
                <a:gd name="T46" fmla="*/ 0 w 12"/>
                <a:gd name="T47" fmla="*/ 22 h 23"/>
                <a:gd name="T48" fmla="*/ 1 w 12"/>
                <a:gd name="T49" fmla="*/ 23 h 23"/>
                <a:gd name="T50" fmla="*/ 2 w 12"/>
                <a:gd name="T51" fmla="*/ 23 h 23"/>
                <a:gd name="T52" fmla="*/ 3 w 12"/>
                <a:gd name="T53" fmla="*/ 23 h 23"/>
                <a:gd name="T54" fmla="*/ 3 w 12"/>
                <a:gd name="T55" fmla="*/ 22 h 23"/>
                <a:gd name="T56" fmla="*/ 4 w 12"/>
                <a:gd name="T57" fmla="*/ 22 h 23"/>
                <a:gd name="T58" fmla="*/ 4 w 12"/>
                <a:gd name="T59" fmla="*/ 22 h 23"/>
                <a:gd name="T60" fmla="*/ 4 w 12"/>
                <a:gd name="T61" fmla="*/ 8 h 23"/>
                <a:gd name="T62" fmla="*/ 5 w 12"/>
                <a:gd name="T63" fmla="*/ 6 h 23"/>
                <a:gd name="T64" fmla="*/ 6 w 12"/>
                <a:gd name="T65" fmla="*/ 4 h 23"/>
                <a:gd name="T66" fmla="*/ 8 w 12"/>
                <a:gd name="T67" fmla="*/ 4 h 23"/>
                <a:gd name="T68" fmla="*/ 9 w 12"/>
                <a:gd name="T69" fmla="*/ 3 h 23"/>
                <a:gd name="T70" fmla="*/ 10 w 12"/>
                <a:gd name="T71" fmla="*/ 3 h 23"/>
                <a:gd name="T72" fmla="*/ 10 w 12"/>
                <a:gd name="T73" fmla="*/ 4 h 23"/>
                <a:gd name="T74" fmla="*/ 11 w 12"/>
                <a:gd name="T75" fmla="*/ 4 h 23"/>
                <a:gd name="T76" fmla="*/ 12 w 12"/>
                <a:gd name="T77" fmla="*/ 4 h 23"/>
                <a:gd name="T78" fmla="*/ 12 w 12"/>
                <a:gd name="T79" fmla="*/ 4 h 23"/>
                <a:gd name="T80" fmla="*/ 12 w 12"/>
                <a:gd name="T81" fmla="*/ 4 h 23"/>
                <a:gd name="T82" fmla="*/ 12 w 12"/>
                <a:gd name="T83" fmla="*/ 3 h 23"/>
                <a:gd name="T84" fmla="*/ 12 w 12"/>
                <a:gd name="T85" fmla="*/ 2 h 23"/>
                <a:gd name="T86" fmla="*/ 12 w 12"/>
                <a:gd name="T8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1"/>
                  </a:moveTo>
                  <a:cubicBezTo>
                    <a:pt x="12" y="1"/>
                    <a:pt x="12" y="1"/>
                    <a:pt x="12" y="1"/>
                  </a:cubicBezTo>
                  <a:cubicBezTo>
                    <a:pt x="12" y="1"/>
                    <a:pt x="12" y="1"/>
                    <a:pt x="12" y="1"/>
                  </a:cubicBezTo>
                  <a:cubicBezTo>
                    <a:pt x="12" y="0"/>
                    <a:pt x="12" y="0"/>
                    <a:pt x="12" y="0"/>
                  </a:cubicBezTo>
                  <a:cubicBezTo>
                    <a:pt x="12" y="0"/>
                    <a:pt x="12" y="0"/>
                    <a:pt x="11" y="0"/>
                  </a:cubicBezTo>
                  <a:cubicBezTo>
                    <a:pt x="11" y="0"/>
                    <a:pt x="11" y="0"/>
                    <a:pt x="11" y="0"/>
                  </a:cubicBezTo>
                  <a:cubicBezTo>
                    <a:pt x="10" y="0"/>
                    <a:pt x="10" y="0"/>
                    <a:pt x="10" y="0"/>
                  </a:cubicBezTo>
                  <a:cubicBezTo>
                    <a:pt x="9" y="0"/>
                    <a:pt x="9" y="0"/>
                    <a:pt x="9" y="0"/>
                  </a:cubicBezTo>
                  <a:cubicBezTo>
                    <a:pt x="9" y="0"/>
                    <a:pt x="8" y="0"/>
                    <a:pt x="8" y="0"/>
                  </a:cubicBezTo>
                  <a:cubicBezTo>
                    <a:pt x="7" y="0"/>
                    <a:pt x="7" y="0"/>
                    <a:pt x="6" y="0"/>
                  </a:cubicBezTo>
                  <a:cubicBezTo>
                    <a:pt x="6" y="1"/>
                    <a:pt x="5" y="1"/>
                    <a:pt x="5" y="2"/>
                  </a:cubicBezTo>
                  <a:cubicBezTo>
                    <a:pt x="4" y="2"/>
                    <a:pt x="4" y="3"/>
                    <a:pt x="3" y="4"/>
                  </a:cubicBezTo>
                  <a:cubicBezTo>
                    <a:pt x="3" y="1"/>
                    <a:pt x="3" y="1"/>
                    <a:pt x="3" y="1"/>
                  </a:cubicBezTo>
                  <a:cubicBezTo>
                    <a:pt x="3" y="1"/>
                    <a:pt x="3" y="1"/>
                    <a:pt x="3" y="0"/>
                  </a:cubicBezTo>
                  <a:cubicBezTo>
                    <a:pt x="3" y="0"/>
                    <a:pt x="3" y="0"/>
                    <a:pt x="3" y="0"/>
                  </a:cubicBezTo>
                  <a:cubicBezTo>
                    <a:pt x="3" y="0"/>
                    <a:pt x="3" y="0"/>
                    <a:pt x="2" y="0"/>
                  </a:cubicBezTo>
                  <a:cubicBezTo>
                    <a:pt x="2" y="0"/>
                    <a:pt x="2" y="0"/>
                    <a:pt x="2" y="0"/>
                  </a:cubicBezTo>
                  <a:cubicBezTo>
                    <a:pt x="1" y="0"/>
                    <a:pt x="1" y="0"/>
                    <a:pt x="1" y="0"/>
                  </a:cubicBezTo>
                  <a:cubicBezTo>
                    <a:pt x="0" y="0"/>
                    <a:pt x="0" y="0"/>
                    <a:pt x="0" y="0"/>
                  </a:cubicBezTo>
                  <a:cubicBezTo>
                    <a:pt x="0" y="0"/>
                    <a:pt x="0" y="0"/>
                    <a:pt x="0" y="0"/>
                  </a:cubicBezTo>
                  <a:cubicBezTo>
                    <a:pt x="0" y="1"/>
                    <a:pt x="0" y="1"/>
                    <a:pt x="0" y="1"/>
                  </a:cubicBezTo>
                  <a:cubicBezTo>
                    <a:pt x="0" y="22"/>
                    <a:pt x="0" y="22"/>
                    <a:pt x="0" y="22"/>
                  </a:cubicBezTo>
                  <a:cubicBezTo>
                    <a:pt x="0" y="22"/>
                    <a:pt x="0" y="22"/>
                    <a:pt x="0" y="22"/>
                  </a:cubicBezTo>
                  <a:cubicBezTo>
                    <a:pt x="0" y="22"/>
                    <a:pt x="0" y="22"/>
                    <a:pt x="0" y="22"/>
                  </a:cubicBezTo>
                  <a:cubicBezTo>
                    <a:pt x="0" y="22"/>
                    <a:pt x="1" y="22"/>
                    <a:pt x="1" y="23"/>
                  </a:cubicBezTo>
                  <a:cubicBezTo>
                    <a:pt x="1" y="23"/>
                    <a:pt x="1" y="23"/>
                    <a:pt x="2" y="23"/>
                  </a:cubicBezTo>
                  <a:cubicBezTo>
                    <a:pt x="2" y="23"/>
                    <a:pt x="2" y="23"/>
                    <a:pt x="3" y="23"/>
                  </a:cubicBezTo>
                  <a:cubicBezTo>
                    <a:pt x="3" y="22"/>
                    <a:pt x="3" y="22"/>
                    <a:pt x="3" y="22"/>
                  </a:cubicBezTo>
                  <a:cubicBezTo>
                    <a:pt x="3" y="22"/>
                    <a:pt x="4" y="22"/>
                    <a:pt x="4" y="22"/>
                  </a:cubicBezTo>
                  <a:cubicBezTo>
                    <a:pt x="4" y="22"/>
                    <a:pt x="4" y="22"/>
                    <a:pt x="4" y="22"/>
                  </a:cubicBezTo>
                  <a:cubicBezTo>
                    <a:pt x="4" y="8"/>
                    <a:pt x="4" y="8"/>
                    <a:pt x="4" y="8"/>
                  </a:cubicBezTo>
                  <a:cubicBezTo>
                    <a:pt x="4" y="7"/>
                    <a:pt x="5" y="6"/>
                    <a:pt x="5" y="6"/>
                  </a:cubicBezTo>
                  <a:cubicBezTo>
                    <a:pt x="6" y="5"/>
                    <a:pt x="6" y="5"/>
                    <a:pt x="6" y="4"/>
                  </a:cubicBezTo>
                  <a:cubicBezTo>
                    <a:pt x="7" y="4"/>
                    <a:pt x="7" y="4"/>
                    <a:pt x="8" y="4"/>
                  </a:cubicBezTo>
                  <a:cubicBezTo>
                    <a:pt x="8" y="3"/>
                    <a:pt x="8" y="3"/>
                    <a:pt x="9" y="3"/>
                  </a:cubicBezTo>
                  <a:cubicBezTo>
                    <a:pt x="9" y="3"/>
                    <a:pt x="9" y="3"/>
                    <a:pt x="10" y="3"/>
                  </a:cubicBezTo>
                  <a:cubicBezTo>
                    <a:pt x="10" y="3"/>
                    <a:pt x="10" y="4"/>
                    <a:pt x="10" y="4"/>
                  </a:cubicBezTo>
                  <a:cubicBezTo>
                    <a:pt x="11" y="4"/>
                    <a:pt x="11" y="4"/>
                    <a:pt x="11" y="4"/>
                  </a:cubicBezTo>
                  <a:cubicBezTo>
                    <a:pt x="11" y="4"/>
                    <a:pt x="11" y="4"/>
                    <a:pt x="12" y="4"/>
                  </a:cubicBezTo>
                  <a:cubicBezTo>
                    <a:pt x="12" y="4"/>
                    <a:pt x="12" y="4"/>
                    <a:pt x="12" y="4"/>
                  </a:cubicBezTo>
                  <a:cubicBezTo>
                    <a:pt x="12" y="4"/>
                    <a:pt x="12" y="4"/>
                    <a:pt x="12" y="4"/>
                  </a:cubicBezTo>
                  <a:cubicBezTo>
                    <a:pt x="12" y="3"/>
                    <a:pt x="12" y="3"/>
                    <a:pt x="12" y="3"/>
                  </a:cubicBezTo>
                  <a:cubicBezTo>
                    <a:pt x="12" y="3"/>
                    <a:pt x="12" y="2"/>
                    <a:pt x="12" y="2"/>
                  </a:cubicBezTo>
                  <a:cubicBezTo>
                    <a:pt x="12" y="2"/>
                    <a:pt x="12" y="1"/>
                    <a:pt x="12"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19">
              <a:extLst>
                <a:ext uri="{FF2B5EF4-FFF2-40B4-BE49-F238E27FC236}">
                  <a16:creationId xmlns:a16="http://schemas.microsoft.com/office/drawing/2014/main" id="{CF60BB90-8224-4403-A069-BE2B2F9FF141}"/>
                </a:ext>
              </a:extLst>
            </p:cNvPr>
            <p:cNvSpPr>
              <a:spLocks noEditPoints="1"/>
            </p:cNvSpPr>
            <p:nvPr/>
          </p:nvSpPr>
          <p:spPr bwMode="auto">
            <a:xfrm>
              <a:off x="6044118" y="5901426"/>
              <a:ext cx="67817" cy="77917"/>
            </a:xfrm>
            <a:custGeom>
              <a:avLst/>
              <a:gdLst>
                <a:gd name="T0" fmla="*/ 20 w 20"/>
                <a:gd name="T1" fmla="*/ 10 h 23"/>
                <a:gd name="T2" fmla="*/ 19 w 20"/>
                <a:gd name="T3" fmla="*/ 6 h 23"/>
                <a:gd name="T4" fmla="*/ 17 w 20"/>
                <a:gd name="T5" fmla="*/ 3 h 23"/>
                <a:gd name="T6" fmla="*/ 15 w 20"/>
                <a:gd name="T7" fmla="*/ 0 h 23"/>
                <a:gd name="T8" fmla="*/ 10 w 20"/>
                <a:gd name="T9" fmla="*/ 0 h 23"/>
                <a:gd name="T10" fmla="*/ 6 w 20"/>
                <a:gd name="T11" fmla="*/ 0 h 23"/>
                <a:gd name="T12" fmla="*/ 3 w 20"/>
                <a:gd name="T13" fmla="*/ 3 h 23"/>
                <a:gd name="T14" fmla="*/ 1 w 20"/>
                <a:gd name="T15" fmla="*/ 6 h 23"/>
                <a:gd name="T16" fmla="*/ 0 w 20"/>
                <a:gd name="T17" fmla="*/ 11 h 23"/>
                <a:gd name="T18" fmla="*/ 1 w 20"/>
                <a:gd name="T19" fmla="*/ 16 h 23"/>
                <a:gd name="T20" fmla="*/ 3 w 20"/>
                <a:gd name="T21" fmla="*/ 20 h 23"/>
                <a:gd name="T22" fmla="*/ 6 w 20"/>
                <a:gd name="T23" fmla="*/ 22 h 23"/>
                <a:gd name="T24" fmla="*/ 11 w 20"/>
                <a:gd name="T25" fmla="*/ 23 h 23"/>
                <a:gd name="T26" fmla="*/ 14 w 20"/>
                <a:gd name="T27" fmla="*/ 23 h 23"/>
                <a:gd name="T28" fmla="*/ 16 w 20"/>
                <a:gd name="T29" fmla="*/ 22 h 23"/>
                <a:gd name="T30" fmla="*/ 18 w 20"/>
                <a:gd name="T31" fmla="*/ 22 h 23"/>
                <a:gd name="T32" fmla="*/ 18 w 20"/>
                <a:gd name="T33" fmla="*/ 21 h 23"/>
                <a:gd name="T34" fmla="*/ 19 w 20"/>
                <a:gd name="T35" fmla="*/ 21 h 23"/>
                <a:gd name="T36" fmla="*/ 19 w 20"/>
                <a:gd name="T37" fmla="*/ 21 h 23"/>
                <a:gd name="T38" fmla="*/ 19 w 20"/>
                <a:gd name="T39" fmla="*/ 20 h 23"/>
                <a:gd name="T40" fmla="*/ 19 w 20"/>
                <a:gd name="T41" fmla="*/ 20 h 23"/>
                <a:gd name="T42" fmla="*/ 19 w 20"/>
                <a:gd name="T43" fmla="*/ 19 h 23"/>
                <a:gd name="T44" fmla="*/ 19 w 20"/>
                <a:gd name="T45" fmla="*/ 18 h 23"/>
                <a:gd name="T46" fmla="*/ 18 w 20"/>
                <a:gd name="T47" fmla="*/ 18 h 23"/>
                <a:gd name="T48" fmla="*/ 18 w 20"/>
                <a:gd name="T49" fmla="*/ 18 h 23"/>
                <a:gd name="T50" fmla="*/ 17 w 20"/>
                <a:gd name="T51" fmla="*/ 18 h 23"/>
                <a:gd name="T52" fmla="*/ 16 w 20"/>
                <a:gd name="T53" fmla="*/ 19 h 23"/>
                <a:gd name="T54" fmla="*/ 14 w 20"/>
                <a:gd name="T55" fmla="*/ 19 h 23"/>
                <a:gd name="T56" fmla="*/ 11 w 20"/>
                <a:gd name="T57" fmla="*/ 20 h 23"/>
                <a:gd name="T58" fmla="*/ 8 w 20"/>
                <a:gd name="T59" fmla="*/ 19 h 23"/>
                <a:gd name="T60" fmla="*/ 6 w 20"/>
                <a:gd name="T61" fmla="*/ 18 h 23"/>
                <a:gd name="T62" fmla="*/ 5 w 20"/>
                <a:gd name="T63" fmla="*/ 15 h 23"/>
                <a:gd name="T64" fmla="*/ 4 w 20"/>
                <a:gd name="T65" fmla="*/ 12 h 23"/>
                <a:gd name="T66" fmla="*/ 18 w 20"/>
                <a:gd name="T67" fmla="*/ 12 h 23"/>
                <a:gd name="T68" fmla="*/ 19 w 20"/>
                <a:gd name="T69" fmla="*/ 12 h 23"/>
                <a:gd name="T70" fmla="*/ 20 w 20"/>
                <a:gd name="T71" fmla="*/ 10 h 23"/>
                <a:gd name="T72" fmla="*/ 20 w 20"/>
                <a:gd name="T73" fmla="*/ 10 h 23"/>
                <a:gd name="T74" fmla="*/ 4 w 20"/>
                <a:gd name="T75" fmla="*/ 9 h 23"/>
                <a:gd name="T76" fmla="*/ 5 w 20"/>
                <a:gd name="T77" fmla="*/ 7 h 23"/>
                <a:gd name="T78" fmla="*/ 6 w 20"/>
                <a:gd name="T79" fmla="*/ 5 h 23"/>
                <a:gd name="T80" fmla="*/ 8 w 20"/>
                <a:gd name="T81" fmla="*/ 3 h 23"/>
                <a:gd name="T82" fmla="*/ 10 w 20"/>
                <a:gd name="T83" fmla="*/ 3 h 23"/>
                <a:gd name="T84" fmla="*/ 14 w 20"/>
                <a:gd name="T85" fmla="*/ 4 h 23"/>
                <a:gd name="T86" fmla="*/ 16 w 20"/>
                <a:gd name="T87" fmla="*/ 9 h 23"/>
                <a:gd name="T88" fmla="*/ 4 w 20"/>
                <a:gd name="T8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 h="23">
                  <a:moveTo>
                    <a:pt x="20" y="10"/>
                  </a:moveTo>
                  <a:cubicBezTo>
                    <a:pt x="20" y="8"/>
                    <a:pt x="19" y="7"/>
                    <a:pt x="19" y="6"/>
                  </a:cubicBezTo>
                  <a:cubicBezTo>
                    <a:pt x="19" y="5"/>
                    <a:pt x="18" y="4"/>
                    <a:pt x="17" y="3"/>
                  </a:cubicBezTo>
                  <a:cubicBezTo>
                    <a:pt x="17" y="2"/>
                    <a:pt x="16" y="1"/>
                    <a:pt x="15" y="0"/>
                  </a:cubicBezTo>
                  <a:cubicBezTo>
                    <a:pt x="13" y="0"/>
                    <a:pt x="12" y="0"/>
                    <a:pt x="10" y="0"/>
                  </a:cubicBezTo>
                  <a:cubicBezTo>
                    <a:pt x="9" y="0"/>
                    <a:pt x="7" y="0"/>
                    <a:pt x="6" y="0"/>
                  </a:cubicBezTo>
                  <a:cubicBezTo>
                    <a:pt x="5" y="1"/>
                    <a:pt x="4" y="2"/>
                    <a:pt x="3" y="3"/>
                  </a:cubicBezTo>
                  <a:cubicBezTo>
                    <a:pt x="2" y="4"/>
                    <a:pt x="1" y="5"/>
                    <a:pt x="1" y="6"/>
                  </a:cubicBezTo>
                  <a:cubicBezTo>
                    <a:pt x="0" y="8"/>
                    <a:pt x="0" y="10"/>
                    <a:pt x="0" y="11"/>
                  </a:cubicBezTo>
                  <a:cubicBezTo>
                    <a:pt x="0" y="13"/>
                    <a:pt x="0" y="15"/>
                    <a:pt x="1" y="16"/>
                  </a:cubicBezTo>
                  <a:cubicBezTo>
                    <a:pt x="1" y="18"/>
                    <a:pt x="2" y="19"/>
                    <a:pt x="3" y="20"/>
                  </a:cubicBezTo>
                  <a:cubicBezTo>
                    <a:pt x="4" y="21"/>
                    <a:pt x="5" y="22"/>
                    <a:pt x="6" y="22"/>
                  </a:cubicBezTo>
                  <a:cubicBezTo>
                    <a:pt x="8" y="23"/>
                    <a:pt x="9" y="23"/>
                    <a:pt x="11" y="23"/>
                  </a:cubicBezTo>
                  <a:cubicBezTo>
                    <a:pt x="12" y="23"/>
                    <a:pt x="13" y="23"/>
                    <a:pt x="14" y="23"/>
                  </a:cubicBezTo>
                  <a:cubicBezTo>
                    <a:pt x="15" y="22"/>
                    <a:pt x="15" y="22"/>
                    <a:pt x="16" y="22"/>
                  </a:cubicBezTo>
                  <a:cubicBezTo>
                    <a:pt x="17" y="22"/>
                    <a:pt x="17" y="22"/>
                    <a:pt x="18" y="22"/>
                  </a:cubicBezTo>
                  <a:cubicBezTo>
                    <a:pt x="18" y="21"/>
                    <a:pt x="18" y="21"/>
                    <a:pt x="18" y="21"/>
                  </a:cubicBezTo>
                  <a:cubicBezTo>
                    <a:pt x="18" y="21"/>
                    <a:pt x="19" y="21"/>
                    <a:pt x="19" y="21"/>
                  </a:cubicBezTo>
                  <a:cubicBezTo>
                    <a:pt x="19" y="21"/>
                    <a:pt x="19" y="21"/>
                    <a:pt x="19" y="21"/>
                  </a:cubicBezTo>
                  <a:cubicBezTo>
                    <a:pt x="19" y="20"/>
                    <a:pt x="19" y="20"/>
                    <a:pt x="19" y="20"/>
                  </a:cubicBezTo>
                  <a:cubicBezTo>
                    <a:pt x="19" y="20"/>
                    <a:pt x="19" y="20"/>
                    <a:pt x="19" y="20"/>
                  </a:cubicBezTo>
                  <a:cubicBezTo>
                    <a:pt x="19" y="19"/>
                    <a:pt x="19" y="19"/>
                    <a:pt x="19" y="19"/>
                  </a:cubicBezTo>
                  <a:cubicBezTo>
                    <a:pt x="19" y="19"/>
                    <a:pt x="19" y="19"/>
                    <a:pt x="19" y="18"/>
                  </a:cubicBezTo>
                  <a:cubicBezTo>
                    <a:pt x="19" y="18"/>
                    <a:pt x="19" y="18"/>
                    <a:pt x="18" y="18"/>
                  </a:cubicBezTo>
                  <a:cubicBezTo>
                    <a:pt x="18" y="18"/>
                    <a:pt x="18" y="18"/>
                    <a:pt x="18" y="18"/>
                  </a:cubicBezTo>
                  <a:cubicBezTo>
                    <a:pt x="18" y="18"/>
                    <a:pt x="18" y="18"/>
                    <a:pt x="17" y="18"/>
                  </a:cubicBezTo>
                  <a:cubicBezTo>
                    <a:pt x="17" y="19"/>
                    <a:pt x="16" y="19"/>
                    <a:pt x="16" y="19"/>
                  </a:cubicBezTo>
                  <a:cubicBezTo>
                    <a:pt x="15" y="19"/>
                    <a:pt x="15" y="19"/>
                    <a:pt x="14" y="19"/>
                  </a:cubicBezTo>
                  <a:cubicBezTo>
                    <a:pt x="13" y="20"/>
                    <a:pt x="12" y="20"/>
                    <a:pt x="11" y="20"/>
                  </a:cubicBezTo>
                  <a:cubicBezTo>
                    <a:pt x="10" y="20"/>
                    <a:pt x="9" y="20"/>
                    <a:pt x="8" y="19"/>
                  </a:cubicBezTo>
                  <a:cubicBezTo>
                    <a:pt x="7" y="19"/>
                    <a:pt x="6" y="18"/>
                    <a:pt x="6" y="18"/>
                  </a:cubicBezTo>
                  <a:cubicBezTo>
                    <a:pt x="5" y="17"/>
                    <a:pt x="5" y="16"/>
                    <a:pt x="5" y="15"/>
                  </a:cubicBezTo>
                  <a:cubicBezTo>
                    <a:pt x="4" y="14"/>
                    <a:pt x="4" y="13"/>
                    <a:pt x="4" y="12"/>
                  </a:cubicBezTo>
                  <a:cubicBezTo>
                    <a:pt x="18" y="12"/>
                    <a:pt x="18" y="12"/>
                    <a:pt x="18" y="12"/>
                  </a:cubicBezTo>
                  <a:cubicBezTo>
                    <a:pt x="19" y="12"/>
                    <a:pt x="19" y="12"/>
                    <a:pt x="19" y="12"/>
                  </a:cubicBezTo>
                  <a:cubicBezTo>
                    <a:pt x="20" y="11"/>
                    <a:pt x="20" y="11"/>
                    <a:pt x="20" y="10"/>
                  </a:cubicBezTo>
                  <a:cubicBezTo>
                    <a:pt x="20" y="10"/>
                    <a:pt x="20" y="10"/>
                    <a:pt x="20" y="10"/>
                  </a:cubicBezTo>
                  <a:close/>
                  <a:moveTo>
                    <a:pt x="4" y="9"/>
                  </a:moveTo>
                  <a:cubicBezTo>
                    <a:pt x="4" y="8"/>
                    <a:pt x="4" y="8"/>
                    <a:pt x="5" y="7"/>
                  </a:cubicBezTo>
                  <a:cubicBezTo>
                    <a:pt x="5" y="6"/>
                    <a:pt x="5" y="5"/>
                    <a:pt x="6" y="5"/>
                  </a:cubicBezTo>
                  <a:cubicBezTo>
                    <a:pt x="6" y="4"/>
                    <a:pt x="7" y="4"/>
                    <a:pt x="8" y="3"/>
                  </a:cubicBezTo>
                  <a:cubicBezTo>
                    <a:pt x="8" y="3"/>
                    <a:pt x="9" y="3"/>
                    <a:pt x="10" y="3"/>
                  </a:cubicBezTo>
                  <a:cubicBezTo>
                    <a:pt x="12" y="3"/>
                    <a:pt x="13" y="3"/>
                    <a:pt x="14" y="4"/>
                  </a:cubicBezTo>
                  <a:cubicBezTo>
                    <a:pt x="15" y="6"/>
                    <a:pt x="16" y="7"/>
                    <a:pt x="16" y="9"/>
                  </a:cubicBezTo>
                  <a:cubicBezTo>
                    <a:pt x="4" y="9"/>
                    <a:pt x="4" y="9"/>
                    <a:pt x="4" y="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
              <a:extLst>
                <a:ext uri="{FF2B5EF4-FFF2-40B4-BE49-F238E27FC236}">
                  <a16:creationId xmlns:a16="http://schemas.microsoft.com/office/drawing/2014/main" id="{905E68DC-4B10-458A-B249-2A3AC5850282}"/>
                </a:ext>
              </a:extLst>
            </p:cNvPr>
            <p:cNvSpPr>
              <a:spLocks/>
            </p:cNvSpPr>
            <p:nvPr/>
          </p:nvSpPr>
          <p:spPr bwMode="auto">
            <a:xfrm>
              <a:off x="6156665" y="5874011"/>
              <a:ext cx="64932" cy="105333"/>
            </a:xfrm>
            <a:custGeom>
              <a:avLst/>
              <a:gdLst>
                <a:gd name="T0" fmla="*/ 18 w 19"/>
                <a:gd name="T1" fmla="*/ 19 h 31"/>
                <a:gd name="T2" fmla="*/ 17 w 19"/>
                <a:gd name="T3" fmla="*/ 16 h 31"/>
                <a:gd name="T4" fmla="*/ 15 w 19"/>
                <a:gd name="T5" fmla="*/ 15 h 31"/>
                <a:gd name="T6" fmla="*/ 12 w 19"/>
                <a:gd name="T7" fmla="*/ 13 h 31"/>
                <a:gd name="T8" fmla="*/ 10 w 19"/>
                <a:gd name="T9" fmla="*/ 12 h 31"/>
                <a:gd name="T10" fmla="*/ 7 w 19"/>
                <a:gd name="T11" fmla="*/ 11 h 31"/>
                <a:gd name="T12" fmla="*/ 6 w 19"/>
                <a:gd name="T13" fmla="*/ 9 h 31"/>
                <a:gd name="T14" fmla="*/ 5 w 19"/>
                <a:gd name="T15" fmla="*/ 7 h 31"/>
                <a:gd name="T16" fmla="*/ 5 w 19"/>
                <a:gd name="T17" fmla="*/ 6 h 31"/>
                <a:gd name="T18" fmla="*/ 6 w 19"/>
                <a:gd name="T19" fmla="*/ 4 h 31"/>
                <a:gd name="T20" fmla="*/ 8 w 19"/>
                <a:gd name="T21" fmla="*/ 3 h 31"/>
                <a:gd name="T22" fmla="*/ 10 w 19"/>
                <a:gd name="T23" fmla="*/ 3 h 31"/>
                <a:gd name="T24" fmla="*/ 13 w 19"/>
                <a:gd name="T25" fmla="*/ 3 h 31"/>
                <a:gd name="T26" fmla="*/ 14 w 19"/>
                <a:gd name="T27" fmla="*/ 4 h 31"/>
                <a:gd name="T28" fmla="*/ 16 w 19"/>
                <a:gd name="T29" fmla="*/ 5 h 31"/>
                <a:gd name="T30" fmla="*/ 17 w 19"/>
                <a:gd name="T31" fmla="*/ 5 h 31"/>
                <a:gd name="T32" fmla="*/ 17 w 19"/>
                <a:gd name="T33" fmla="*/ 5 h 31"/>
                <a:gd name="T34" fmla="*/ 17 w 19"/>
                <a:gd name="T35" fmla="*/ 5 h 31"/>
                <a:gd name="T36" fmla="*/ 17 w 19"/>
                <a:gd name="T37" fmla="*/ 4 h 31"/>
                <a:gd name="T38" fmla="*/ 17 w 19"/>
                <a:gd name="T39" fmla="*/ 3 h 31"/>
                <a:gd name="T40" fmla="*/ 17 w 19"/>
                <a:gd name="T41" fmla="*/ 3 h 31"/>
                <a:gd name="T42" fmla="*/ 17 w 19"/>
                <a:gd name="T43" fmla="*/ 2 h 31"/>
                <a:gd name="T44" fmla="*/ 17 w 19"/>
                <a:gd name="T45" fmla="*/ 2 h 31"/>
                <a:gd name="T46" fmla="*/ 17 w 19"/>
                <a:gd name="T47" fmla="*/ 2 h 31"/>
                <a:gd name="T48" fmla="*/ 16 w 19"/>
                <a:gd name="T49" fmla="*/ 1 h 31"/>
                <a:gd name="T50" fmla="*/ 14 w 19"/>
                <a:gd name="T51" fmla="*/ 0 h 31"/>
                <a:gd name="T52" fmla="*/ 12 w 19"/>
                <a:gd name="T53" fmla="*/ 0 h 31"/>
                <a:gd name="T54" fmla="*/ 10 w 19"/>
                <a:gd name="T55" fmla="*/ 0 h 31"/>
                <a:gd name="T56" fmla="*/ 7 w 19"/>
                <a:gd name="T57" fmla="*/ 0 h 31"/>
                <a:gd name="T58" fmla="*/ 4 w 19"/>
                <a:gd name="T59" fmla="*/ 2 h 31"/>
                <a:gd name="T60" fmla="*/ 2 w 19"/>
                <a:gd name="T61" fmla="*/ 4 h 31"/>
                <a:gd name="T62" fmla="*/ 1 w 19"/>
                <a:gd name="T63" fmla="*/ 8 h 31"/>
                <a:gd name="T64" fmla="*/ 2 w 19"/>
                <a:gd name="T65" fmla="*/ 11 h 31"/>
                <a:gd name="T66" fmla="*/ 3 w 19"/>
                <a:gd name="T67" fmla="*/ 13 h 31"/>
                <a:gd name="T68" fmla="*/ 5 w 19"/>
                <a:gd name="T69" fmla="*/ 15 h 31"/>
                <a:gd name="T70" fmla="*/ 8 w 19"/>
                <a:gd name="T71" fmla="*/ 16 h 31"/>
                <a:gd name="T72" fmla="*/ 10 w 19"/>
                <a:gd name="T73" fmla="*/ 17 h 31"/>
                <a:gd name="T74" fmla="*/ 13 w 19"/>
                <a:gd name="T75" fmla="*/ 19 h 31"/>
                <a:gd name="T76" fmla="*/ 14 w 19"/>
                <a:gd name="T77" fmla="*/ 20 h 31"/>
                <a:gd name="T78" fmla="*/ 15 w 19"/>
                <a:gd name="T79" fmla="*/ 22 h 31"/>
                <a:gd name="T80" fmla="*/ 14 w 19"/>
                <a:gd name="T81" fmla="*/ 24 h 31"/>
                <a:gd name="T82" fmla="*/ 13 w 19"/>
                <a:gd name="T83" fmla="*/ 26 h 31"/>
                <a:gd name="T84" fmla="*/ 11 w 19"/>
                <a:gd name="T85" fmla="*/ 27 h 31"/>
                <a:gd name="T86" fmla="*/ 9 w 19"/>
                <a:gd name="T87" fmla="*/ 27 h 31"/>
                <a:gd name="T88" fmla="*/ 6 w 19"/>
                <a:gd name="T89" fmla="*/ 27 h 31"/>
                <a:gd name="T90" fmla="*/ 4 w 19"/>
                <a:gd name="T91" fmla="*/ 26 h 31"/>
                <a:gd name="T92" fmla="*/ 2 w 19"/>
                <a:gd name="T93" fmla="*/ 25 h 31"/>
                <a:gd name="T94" fmla="*/ 1 w 19"/>
                <a:gd name="T95" fmla="*/ 25 h 31"/>
                <a:gd name="T96" fmla="*/ 1 w 19"/>
                <a:gd name="T97" fmla="*/ 25 h 31"/>
                <a:gd name="T98" fmla="*/ 1 w 19"/>
                <a:gd name="T99" fmla="*/ 25 h 31"/>
                <a:gd name="T100" fmla="*/ 0 w 19"/>
                <a:gd name="T101" fmla="*/ 26 h 31"/>
                <a:gd name="T102" fmla="*/ 0 w 19"/>
                <a:gd name="T103" fmla="*/ 27 h 31"/>
                <a:gd name="T104" fmla="*/ 0 w 19"/>
                <a:gd name="T105" fmla="*/ 28 h 31"/>
                <a:gd name="T106" fmla="*/ 1 w 19"/>
                <a:gd name="T107" fmla="*/ 29 h 31"/>
                <a:gd name="T108" fmla="*/ 2 w 19"/>
                <a:gd name="T109" fmla="*/ 29 h 31"/>
                <a:gd name="T110" fmla="*/ 4 w 19"/>
                <a:gd name="T111" fmla="*/ 30 h 31"/>
                <a:gd name="T112" fmla="*/ 6 w 19"/>
                <a:gd name="T113" fmla="*/ 31 h 31"/>
                <a:gd name="T114" fmla="*/ 9 w 19"/>
                <a:gd name="T115" fmla="*/ 31 h 31"/>
                <a:gd name="T116" fmla="*/ 13 w 19"/>
                <a:gd name="T117" fmla="*/ 30 h 31"/>
                <a:gd name="T118" fmla="*/ 16 w 19"/>
                <a:gd name="T119" fmla="*/ 29 h 31"/>
                <a:gd name="T120" fmla="*/ 18 w 19"/>
                <a:gd name="T121" fmla="*/ 26 h 31"/>
                <a:gd name="T122" fmla="*/ 19 w 19"/>
                <a:gd name="T123" fmla="*/ 22 h 31"/>
                <a:gd name="T124" fmla="*/ 18 w 19"/>
                <a:gd name="T12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 h="31">
                  <a:moveTo>
                    <a:pt x="18" y="19"/>
                  </a:moveTo>
                  <a:cubicBezTo>
                    <a:pt x="18" y="18"/>
                    <a:pt x="17" y="17"/>
                    <a:pt x="17" y="16"/>
                  </a:cubicBezTo>
                  <a:cubicBezTo>
                    <a:pt x="16" y="16"/>
                    <a:pt x="15" y="15"/>
                    <a:pt x="15" y="15"/>
                  </a:cubicBezTo>
                  <a:cubicBezTo>
                    <a:pt x="14" y="14"/>
                    <a:pt x="13" y="14"/>
                    <a:pt x="12" y="13"/>
                  </a:cubicBezTo>
                  <a:cubicBezTo>
                    <a:pt x="11" y="13"/>
                    <a:pt x="10" y="13"/>
                    <a:pt x="10" y="12"/>
                  </a:cubicBezTo>
                  <a:cubicBezTo>
                    <a:pt x="9" y="12"/>
                    <a:pt x="8" y="11"/>
                    <a:pt x="7" y="11"/>
                  </a:cubicBezTo>
                  <a:cubicBezTo>
                    <a:pt x="7" y="11"/>
                    <a:pt x="6" y="10"/>
                    <a:pt x="6" y="9"/>
                  </a:cubicBezTo>
                  <a:cubicBezTo>
                    <a:pt x="5" y="9"/>
                    <a:pt x="5" y="8"/>
                    <a:pt x="5" y="7"/>
                  </a:cubicBezTo>
                  <a:cubicBezTo>
                    <a:pt x="5" y="7"/>
                    <a:pt x="5" y="6"/>
                    <a:pt x="5" y="6"/>
                  </a:cubicBezTo>
                  <a:cubicBezTo>
                    <a:pt x="6" y="5"/>
                    <a:pt x="6" y="5"/>
                    <a:pt x="6" y="4"/>
                  </a:cubicBezTo>
                  <a:cubicBezTo>
                    <a:pt x="7" y="4"/>
                    <a:pt x="7" y="4"/>
                    <a:pt x="8" y="3"/>
                  </a:cubicBezTo>
                  <a:cubicBezTo>
                    <a:pt x="9" y="3"/>
                    <a:pt x="9" y="3"/>
                    <a:pt x="10" y="3"/>
                  </a:cubicBezTo>
                  <a:cubicBezTo>
                    <a:pt x="11" y="3"/>
                    <a:pt x="12" y="3"/>
                    <a:pt x="13" y="3"/>
                  </a:cubicBezTo>
                  <a:cubicBezTo>
                    <a:pt x="13" y="4"/>
                    <a:pt x="14" y="4"/>
                    <a:pt x="14" y="4"/>
                  </a:cubicBezTo>
                  <a:cubicBezTo>
                    <a:pt x="15" y="4"/>
                    <a:pt x="15" y="5"/>
                    <a:pt x="16" y="5"/>
                  </a:cubicBezTo>
                  <a:cubicBezTo>
                    <a:pt x="16" y="5"/>
                    <a:pt x="16" y="5"/>
                    <a:pt x="17" y="5"/>
                  </a:cubicBezTo>
                  <a:cubicBezTo>
                    <a:pt x="17" y="5"/>
                    <a:pt x="17" y="5"/>
                    <a:pt x="17" y="5"/>
                  </a:cubicBezTo>
                  <a:cubicBezTo>
                    <a:pt x="17" y="5"/>
                    <a:pt x="17" y="5"/>
                    <a:pt x="17" y="5"/>
                  </a:cubicBezTo>
                  <a:cubicBezTo>
                    <a:pt x="17" y="5"/>
                    <a:pt x="17" y="4"/>
                    <a:pt x="17" y="4"/>
                  </a:cubicBezTo>
                  <a:cubicBezTo>
                    <a:pt x="17" y="4"/>
                    <a:pt x="17" y="4"/>
                    <a:pt x="17" y="3"/>
                  </a:cubicBezTo>
                  <a:cubicBezTo>
                    <a:pt x="17" y="3"/>
                    <a:pt x="17" y="3"/>
                    <a:pt x="17" y="3"/>
                  </a:cubicBezTo>
                  <a:cubicBezTo>
                    <a:pt x="17" y="3"/>
                    <a:pt x="17" y="2"/>
                    <a:pt x="17" y="2"/>
                  </a:cubicBezTo>
                  <a:cubicBezTo>
                    <a:pt x="17" y="2"/>
                    <a:pt x="17" y="2"/>
                    <a:pt x="17" y="2"/>
                  </a:cubicBezTo>
                  <a:cubicBezTo>
                    <a:pt x="17" y="2"/>
                    <a:pt x="17" y="2"/>
                    <a:pt x="17" y="2"/>
                  </a:cubicBezTo>
                  <a:cubicBezTo>
                    <a:pt x="17" y="1"/>
                    <a:pt x="16" y="1"/>
                    <a:pt x="16" y="1"/>
                  </a:cubicBezTo>
                  <a:cubicBezTo>
                    <a:pt x="15" y="1"/>
                    <a:pt x="15" y="0"/>
                    <a:pt x="14" y="0"/>
                  </a:cubicBezTo>
                  <a:cubicBezTo>
                    <a:pt x="14" y="0"/>
                    <a:pt x="13" y="0"/>
                    <a:pt x="12" y="0"/>
                  </a:cubicBezTo>
                  <a:cubicBezTo>
                    <a:pt x="12" y="0"/>
                    <a:pt x="11" y="0"/>
                    <a:pt x="10" y="0"/>
                  </a:cubicBezTo>
                  <a:cubicBezTo>
                    <a:pt x="9" y="0"/>
                    <a:pt x="8" y="0"/>
                    <a:pt x="7" y="0"/>
                  </a:cubicBezTo>
                  <a:cubicBezTo>
                    <a:pt x="5" y="1"/>
                    <a:pt x="5" y="1"/>
                    <a:pt x="4" y="2"/>
                  </a:cubicBezTo>
                  <a:cubicBezTo>
                    <a:pt x="3" y="2"/>
                    <a:pt x="2" y="3"/>
                    <a:pt x="2" y="4"/>
                  </a:cubicBezTo>
                  <a:cubicBezTo>
                    <a:pt x="1" y="5"/>
                    <a:pt x="1" y="6"/>
                    <a:pt x="1" y="8"/>
                  </a:cubicBezTo>
                  <a:cubicBezTo>
                    <a:pt x="1" y="9"/>
                    <a:pt x="1" y="10"/>
                    <a:pt x="2" y="11"/>
                  </a:cubicBezTo>
                  <a:cubicBezTo>
                    <a:pt x="2" y="12"/>
                    <a:pt x="3" y="12"/>
                    <a:pt x="3" y="13"/>
                  </a:cubicBezTo>
                  <a:cubicBezTo>
                    <a:pt x="4" y="14"/>
                    <a:pt x="5" y="14"/>
                    <a:pt x="5" y="15"/>
                  </a:cubicBezTo>
                  <a:cubicBezTo>
                    <a:pt x="6" y="15"/>
                    <a:pt x="7" y="16"/>
                    <a:pt x="8" y="16"/>
                  </a:cubicBezTo>
                  <a:cubicBezTo>
                    <a:pt x="9" y="17"/>
                    <a:pt x="10" y="17"/>
                    <a:pt x="10" y="17"/>
                  </a:cubicBezTo>
                  <a:cubicBezTo>
                    <a:pt x="11" y="18"/>
                    <a:pt x="12" y="18"/>
                    <a:pt x="13" y="19"/>
                  </a:cubicBezTo>
                  <a:cubicBezTo>
                    <a:pt x="13" y="19"/>
                    <a:pt x="14" y="20"/>
                    <a:pt x="14" y="20"/>
                  </a:cubicBezTo>
                  <a:cubicBezTo>
                    <a:pt x="15" y="21"/>
                    <a:pt x="15" y="21"/>
                    <a:pt x="15" y="22"/>
                  </a:cubicBezTo>
                  <a:cubicBezTo>
                    <a:pt x="15" y="23"/>
                    <a:pt x="15" y="24"/>
                    <a:pt x="14" y="24"/>
                  </a:cubicBezTo>
                  <a:cubicBezTo>
                    <a:pt x="14" y="25"/>
                    <a:pt x="14" y="26"/>
                    <a:pt x="13" y="26"/>
                  </a:cubicBezTo>
                  <a:cubicBezTo>
                    <a:pt x="13" y="26"/>
                    <a:pt x="12" y="27"/>
                    <a:pt x="11" y="27"/>
                  </a:cubicBezTo>
                  <a:cubicBezTo>
                    <a:pt x="11" y="27"/>
                    <a:pt x="10" y="27"/>
                    <a:pt x="9" y="27"/>
                  </a:cubicBezTo>
                  <a:cubicBezTo>
                    <a:pt x="8" y="27"/>
                    <a:pt x="7" y="27"/>
                    <a:pt x="6" y="27"/>
                  </a:cubicBezTo>
                  <a:cubicBezTo>
                    <a:pt x="5" y="27"/>
                    <a:pt x="4" y="26"/>
                    <a:pt x="4" y="26"/>
                  </a:cubicBezTo>
                  <a:cubicBezTo>
                    <a:pt x="3" y="26"/>
                    <a:pt x="2" y="26"/>
                    <a:pt x="2" y="25"/>
                  </a:cubicBezTo>
                  <a:cubicBezTo>
                    <a:pt x="2" y="25"/>
                    <a:pt x="1" y="25"/>
                    <a:pt x="1" y="25"/>
                  </a:cubicBezTo>
                  <a:cubicBezTo>
                    <a:pt x="1" y="25"/>
                    <a:pt x="1" y="25"/>
                    <a:pt x="1" y="25"/>
                  </a:cubicBezTo>
                  <a:cubicBezTo>
                    <a:pt x="1" y="25"/>
                    <a:pt x="1" y="25"/>
                    <a:pt x="1" y="25"/>
                  </a:cubicBezTo>
                  <a:cubicBezTo>
                    <a:pt x="0" y="25"/>
                    <a:pt x="0" y="26"/>
                    <a:pt x="0" y="26"/>
                  </a:cubicBezTo>
                  <a:cubicBezTo>
                    <a:pt x="0" y="26"/>
                    <a:pt x="0" y="26"/>
                    <a:pt x="0" y="27"/>
                  </a:cubicBezTo>
                  <a:cubicBezTo>
                    <a:pt x="0" y="27"/>
                    <a:pt x="0" y="28"/>
                    <a:pt x="0" y="28"/>
                  </a:cubicBezTo>
                  <a:cubicBezTo>
                    <a:pt x="1" y="28"/>
                    <a:pt x="1" y="28"/>
                    <a:pt x="1" y="29"/>
                  </a:cubicBezTo>
                  <a:cubicBezTo>
                    <a:pt x="1" y="29"/>
                    <a:pt x="1" y="29"/>
                    <a:pt x="2" y="29"/>
                  </a:cubicBezTo>
                  <a:cubicBezTo>
                    <a:pt x="2" y="29"/>
                    <a:pt x="3" y="30"/>
                    <a:pt x="4" y="30"/>
                  </a:cubicBezTo>
                  <a:cubicBezTo>
                    <a:pt x="4" y="30"/>
                    <a:pt x="5" y="30"/>
                    <a:pt x="6" y="31"/>
                  </a:cubicBezTo>
                  <a:cubicBezTo>
                    <a:pt x="7" y="31"/>
                    <a:pt x="8" y="31"/>
                    <a:pt x="9" y="31"/>
                  </a:cubicBezTo>
                  <a:cubicBezTo>
                    <a:pt x="10" y="31"/>
                    <a:pt x="11" y="31"/>
                    <a:pt x="13" y="30"/>
                  </a:cubicBezTo>
                  <a:cubicBezTo>
                    <a:pt x="14" y="30"/>
                    <a:pt x="15" y="29"/>
                    <a:pt x="16" y="29"/>
                  </a:cubicBezTo>
                  <a:cubicBezTo>
                    <a:pt x="17" y="28"/>
                    <a:pt x="18" y="27"/>
                    <a:pt x="18" y="26"/>
                  </a:cubicBezTo>
                  <a:cubicBezTo>
                    <a:pt x="19" y="25"/>
                    <a:pt x="19" y="23"/>
                    <a:pt x="19" y="22"/>
                  </a:cubicBezTo>
                  <a:cubicBezTo>
                    <a:pt x="19" y="21"/>
                    <a:pt x="19" y="20"/>
                    <a:pt x="18" y="1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1">
              <a:extLst>
                <a:ext uri="{FF2B5EF4-FFF2-40B4-BE49-F238E27FC236}">
                  <a16:creationId xmlns:a16="http://schemas.microsoft.com/office/drawing/2014/main" id="{BDD24555-DAED-47A0-85CA-0C9B3FF08ABB}"/>
                </a:ext>
              </a:extLst>
            </p:cNvPr>
            <p:cNvSpPr>
              <a:spLocks noEditPoints="1"/>
            </p:cNvSpPr>
            <p:nvPr/>
          </p:nvSpPr>
          <p:spPr bwMode="auto">
            <a:xfrm>
              <a:off x="6236025" y="5901426"/>
              <a:ext cx="64932" cy="77917"/>
            </a:xfrm>
            <a:custGeom>
              <a:avLst/>
              <a:gdLst>
                <a:gd name="T0" fmla="*/ 19 w 19"/>
                <a:gd name="T1" fmla="*/ 10 h 23"/>
                <a:gd name="T2" fmla="*/ 19 w 19"/>
                <a:gd name="T3" fmla="*/ 6 h 23"/>
                <a:gd name="T4" fmla="*/ 17 w 19"/>
                <a:gd name="T5" fmla="*/ 3 h 23"/>
                <a:gd name="T6" fmla="*/ 14 w 19"/>
                <a:gd name="T7" fmla="*/ 0 h 23"/>
                <a:gd name="T8" fmla="*/ 10 w 19"/>
                <a:gd name="T9" fmla="*/ 0 h 23"/>
                <a:gd name="T10" fmla="*/ 6 w 19"/>
                <a:gd name="T11" fmla="*/ 0 h 23"/>
                <a:gd name="T12" fmla="*/ 3 w 19"/>
                <a:gd name="T13" fmla="*/ 3 h 23"/>
                <a:gd name="T14" fmla="*/ 1 w 19"/>
                <a:gd name="T15" fmla="*/ 6 h 23"/>
                <a:gd name="T16" fmla="*/ 0 w 19"/>
                <a:gd name="T17" fmla="*/ 11 h 23"/>
                <a:gd name="T18" fmla="*/ 1 w 19"/>
                <a:gd name="T19" fmla="*/ 16 h 23"/>
                <a:gd name="T20" fmla="*/ 3 w 19"/>
                <a:gd name="T21" fmla="*/ 20 h 23"/>
                <a:gd name="T22" fmla="*/ 6 w 19"/>
                <a:gd name="T23" fmla="*/ 22 h 23"/>
                <a:gd name="T24" fmla="*/ 10 w 19"/>
                <a:gd name="T25" fmla="*/ 23 h 23"/>
                <a:gd name="T26" fmla="*/ 13 w 19"/>
                <a:gd name="T27" fmla="*/ 23 h 23"/>
                <a:gd name="T28" fmla="*/ 16 w 19"/>
                <a:gd name="T29" fmla="*/ 22 h 23"/>
                <a:gd name="T30" fmla="*/ 17 w 19"/>
                <a:gd name="T31" fmla="*/ 22 h 23"/>
                <a:gd name="T32" fmla="*/ 18 w 19"/>
                <a:gd name="T33" fmla="*/ 21 h 23"/>
                <a:gd name="T34" fmla="*/ 18 w 19"/>
                <a:gd name="T35" fmla="*/ 21 h 23"/>
                <a:gd name="T36" fmla="*/ 18 w 19"/>
                <a:gd name="T37" fmla="*/ 21 h 23"/>
                <a:gd name="T38" fmla="*/ 18 w 19"/>
                <a:gd name="T39" fmla="*/ 20 h 23"/>
                <a:gd name="T40" fmla="*/ 18 w 19"/>
                <a:gd name="T41" fmla="*/ 20 h 23"/>
                <a:gd name="T42" fmla="*/ 18 w 19"/>
                <a:gd name="T43" fmla="*/ 19 h 23"/>
                <a:gd name="T44" fmla="*/ 18 w 19"/>
                <a:gd name="T45" fmla="*/ 18 h 23"/>
                <a:gd name="T46" fmla="*/ 18 w 19"/>
                <a:gd name="T47" fmla="*/ 18 h 23"/>
                <a:gd name="T48" fmla="*/ 18 w 19"/>
                <a:gd name="T49" fmla="*/ 18 h 23"/>
                <a:gd name="T50" fmla="*/ 17 w 19"/>
                <a:gd name="T51" fmla="*/ 18 h 23"/>
                <a:gd name="T52" fmla="*/ 16 w 19"/>
                <a:gd name="T53" fmla="*/ 19 h 23"/>
                <a:gd name="T54" fmla="*/ 13 w 19"/>
                <a:gd name="T55" fmla="*/ 19 h 23"/>
                <a:gd name="T56" fmla="*/ 11 w 19"/>
                <a:gd name="T57" fmla="*/ 20 h 23"/>
                <a:gd name="T58" fmla="*/ 8 w 19"/>
                <a:gd name="T59" fmla="*/ 19 h 23"/>
                <a:gd name="T60" fmla="*/ 5 w 19"/>
                <a:gd name="T61" fmla="*/ 18 h 23"/>
                <a:gd name="T62" fmla="*/ 4 w 19"/>
                <a:gd name="T63" fmla="*/ 15 h 23"/>
                <a:gd name="T64" fmla="*/ 4 w 19"/>
                <a:gd name="T65" fmla="*/ 12 h 23"/>
                <a:gd name="T66" fmla="*/ 18 w 19"/>
                <a:gd name="T67" fmla="*/ 12 h 23"/>
                <a:gd name="T68" fmla="*/ 19 w 19"/>
                <a:gd name="T69" fmla="*/ 12 h 23"/>
                <a:gd name="T70" fmla="*/ 19 w 19"/>
                <a:gd name="T71" fmla="*/ 10 h 23"/>
                <a:gd name="T72" fmla="*/ 19 w 19"/>
                <a:gd name="T73" fmla="*/ 10 h 23"/>
                <a:gd name="T74" fmla="*/ 4 w 19"/>
                <a:gd name="T75" fmla="*/ 9 h 23"/>
                <a:gd name="T76" fmla="*/ 4 w 19"/>
                <a:gd name="T77" fmla="*/ 7 h 23"/>
                <a:gd name="T78" fmla="*/ 5 w 19"/>
                <a:gd name="T79" fmla="*/ 5 h 23"/>
                <a:gd name="T80" fmla="*/ 7 w 19"/>
                <a:gd name="T81" fmla="*/ 3 h 23"/>
                <a:gd name="T82" fmla="*/ 10 w 19"/>
                <a:gd name="T83" fmla="*/ 3 h 23"/>
                <a:gd name="T84" fmla="*/ 14 w 19"/>
                <a:gd name="T85" fmla="*/ 4 h 23"/>
                <a:gd name="T86" fmla="*/ 15 w 19"/>
                <a:gd name="T87" fmla="*/ 9 h 23"/>
                <a:gd name="T88" fmla="*/ 4 w 19"/>
                <a:gd name="T8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3">
                  <a:moveTo>
                    <a:pt x="19" y="10"/>
                  </a:moveTo>
                  <a:cubicBezTo>
                    <a:pt x="19" y="8"/>
                    <a:pt x="19" y="7"/>
                    <a:pt x="19" y="6"/>
                  </a:cubicBezTo>
                  <a:cubicBezTo>
                    <a:pt x="18" y="5"/>
                    <a:pt x="18" y="4"/>
                    <a:pt x="17" y="3"/>
                  </a:cubicBezTo>
                  <a:cubicBezTo>
                    <a:pt x="16" y="2"/>
                    <a:pt x="15" y="1"/>
                    <a:pt x="14" y="0"/>
                  </a:cubicBezTo>
                  <a:cubicBezTo>
                    <a:pt x="13" y="0"/>
                    <a:pt x="12" y="0"/>
                    <a:pt x="10" y="0"/>
                  </a:cubicBezTo>
                  <a:cubicBezTo>
                    <a:pt x="8" y="0"/>
                    <a:pt x="7" y="0"/>
                    <a:pt x="6" y="0"/>
                  </a:cubicBezTo>
                  <a:cubicBezTo>
                    <a:pt x="5" y="1"/>
                    <a:pt x="4" y="2"/>
                    <a:pt x="3" y="3"/>
                  </a:cubicBezTo>
                  <a:cubicBezTo>
                    <a:pt x="2" y="4"/>
                    <a:pt x="1" y="5"/>
                    <a:pt x="1" y="6"/>
                  </a:cubicBezTo>
                  <a:cubicBezTo>
                    <a:pt x="0" y="8"/>
                    <a:pt x="0" y="10"/>
                    <a:pt x="0" y="11"/>
                  </a:cubicBezTo>
                  <a:cubicBezTo>
                    <a:pt x="0" y="13"/>
                    <a:pt x="0" y="15"/>
                    <a:pt x="1" y="16"/>
                  </a:cubicBezTo>
                  <a:cubicBezTo>
                    <a:pt x="1" y="18"/>
                    <a:pt x="2" y="19"/>
                    <a:pt x="3" y="20"/>
                  </a:cubicBezTo>
                  <a:cubicBezTo>
                    <a:pt x="3" y="21"/>
                    <a:pt x="5" y="22"/>
                    <a:pt x="6" y="22"/>
                  </a:cubicBezTo>
                  <a:cubicBezTo>
                    <a:pt x="7" y="23"/>
                    <a:pt x="9" y="23"/>
                    <a:pt x="10" y="23"/>
                  </a:cubicBezTo>
                  <a:cubicBezTo>
                    <a:pt x="11" y="23"/>
                    <a:pt x="12" y="23"/>
                    <a:pt x="13" y="23"/>
                  </a:cubicBezTo>
                  <a:cubicBezTo>
                    <a:pt x="14" y="22"/>
                    <a:pt x="15" y="22"/>
                    <a:pt x="16" y="22"/>
                  </a:cubicBezTo>
                  <a:cubicBezTo>
                    <a:pt x="16" y="22"/>
                    <a:pt x="17" y="22"/>
                    <a:pt x="17" y="22"/>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20"/>
                  </a:cubicBezTo>
                  <a:cubicBezTo>
                    <a:pt x="18" y="19"/>
                    <a:pt x="18" y="19"/>
                    <a:pt x="18" y="19"/>
                  </a:cubicBezTo>
                  <a:cubicBezTo>
                    <a:pt x="18" y="19"/>
                    <a:pt x="18" y="19"/>
                    <a:pt x="18" y="18"/>
                  </a:cubicBezTo>
                  <a:cubicBezTo>
                    <a:pt x="18" y="18"/>
                    <a:pt x="18" y="18"/>
                    <a:pt x="18" y="18"/>
                  </a:cubicBezTo>
                  <a:cubicBezTo>
                    <a:pt x="18" y="18"/>
                    <a:pt x="18" y="18"/>
                    <a:pt x="18" y="18"/>
                  </a:cubicBezTo>
                  <a:cubicBezTo>
                    <a:pt x="18" y="18"/>
                    <a:pt x="17" y="18"/>
                    <a:pt x="17" y="18"/>
                  </a:cubicBezTo>
                  <a:cubicBezTo>
                    <a:pt x="17" y="19"/>
                    <a:pt x="16" y="19"/>
                    <a:pt x="16" y="19"/>
                  </a:cubicBezTo>
                  <a:cubicBezTo>
                    <a:pt x="15" y="19"/>
                    <a:pt x="14" y="19"/>
                    <a:pt x="13" y="19"/>
                  </a:cubicBezTo>
                  <a:cubicBezTo>
                    <a:pt x="13" y="20"/>
                    <a:pt x="12" y="20"/>
                    <a:pt x="11" y="20"/>
                  </a:cubicBezTo>
                  <a:cubicBezTo>
                    <a:pt x="10" y="20"/>
                    <a:pt x="8" y="20"/>
                    <a:pt x="8" y="19"/>
                  </a:cubicBezTo>
                  <a:cubicBezTo>
                    <a:pt x="7" y="19"/>
                    <a:pt x="6" y="18"/>
                    <a:pt x="5" y="18"/>
                  </a:cubicBezTo>
                  <a:cubicBezTo>
                    <a:pt x="5" y="17"/>
                    <a:pt x="4" y="16"/>
                    <a:pt x="4" y="15"/>
                  </a:cubicBezTo>
                  <a:cubicBezTo>
                    <a:pt x="4" y="14"/>
                    <a:pt x="4" y="13"/>
                    <a:pt x="4" y="12"/>
                  </a:cubicBezTo>
                  <a:cubicBezTo>
                    <a:pt x="18" y="12"/>
                    <a:pt x="18" y="12"/>
                    <a:pt x="18" y="12"/>
                  </a:cubicBezTo>
                  <a:cubicBezTo>
                    <a:pt x="18" y="12"/>
                    <a:pt x="19" y="12"/>
                    <a:pt x="19" y="12"/>
                  </a:cubicBezTo>
                  <a:cubicBezTo>
                    <a:pt x="19" y="11"/>
                    <a:pt x="19" y="11"/>
                    <a:pt x="19" y="10"/>
                  </a:cubicBezTo>
                  <a:cubicBezTo>
                    <a:pt x="19" y="10"/>
                    <a:pt x="19" y="10"/>
                    <a:pt x="19" y="10"/>
                  </a:cubicBezTo>
                  <a:close/>
                  <a:moveTo>
                    <a:pt x="4" y="9"/>
                  </a:moveTo>
                  <a:cubicBezTo>
                    <a:pt x="4" y="8"/>
                    <a:pt x="4" y="8"/>
                    <a:pt x="4" y="7"/>
                  </a:cubicBezTo>
                  <a:cubicBezTo>
                    <a:pt x="5" y="6"/>
                    <a:pt x="5" y="5"/>
                    <a:pt x="5" y="5"/>
                  </a:cubicBezTo>
                  <a:cubicBezTo>
                    <a:pt x="6" y="4"/>
                    <a:pt x="7" y="4"/>
                    <a:pt x="7" y="3"/>
                  </a:cubicBezTo>
                  <a:cubicBezTo>
                    <a:pt x="8" y="3"/>
                    <a:pt x="9" y="3"/>
                    <a:pt x="10" y="3"/>
                  </a:cubicBezTo>
                  <a:cubicBezTo>
                    <a:pt x="12" y="3"/>
                    <a:pt x="13" y="3"/>
                    <a:pt x="14" y="4"/>
                  </a:cubicBezTo>
                  <a:cubicBezTo>
                    <a:pt x="15" y="6"/>
                    <a:pt x="15" y="7"/>
                    <a:pt x="15" y="9"/>
                  </a:cubicBezTo>
                  <a:cubicBezTo>
                    <a:pt x="4" y="9"/>
                    <a:pt x="4" y="9"/>
                    <a:pt x="4" y="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2">
              <a:extLst>
                <a:ext uri="{FF2B5EF4-FFF2-40B4-BE49-F238E27FC236}">
                  <a16:creationId xmlns:a16="http://schemas.microsoft.com/office/drawing/2014/main" id="{8048F210-C7D3-4813-96F3-AA9B7B50D645}"/>
                </a:ext>
              </a:extLst>
            </p:cNvPr>
            <p:cNvSpPr>
              <a:spLocks/>
            </p:cNvSpPr>
            <p:nvPr/>
          </p:nvSpPr>
          <p:spPr bwMode="auto">
            <a:xfrm>
              <a:off x="6321157" y="5901426"/>
              <a:ext cx="44731" cy="77917"/>
            </a:xfrm>
            <a:custGeom>
              <a:avLst/>
              <a:gdLst>
                <a:gd name="T0" fmla="*/ 13 w 13"/>
                <a:gd name="T1" fmla="*/ 1 h 23"/>
                <a:gd name="T2" fmla="*/ 13 w 13"/>
                <a:gd name="T3" fmla="*/ 1 h 23"/>
                <a:gd name="T4" fmla="*/ 12 w 13"/>
                <a:gd name="T5" fmla="*/ 1 h 23"/>
                <a:gd name="T6" fmla="*/ 12 w 13"/>
                <a:gd name="T7" fmla="*/ 0 h 23"/>
                <a:gd name="T8" fmla="*/ 12 w 13"/>
                <a:gd name="T9" fmla="*/ 0 h 23"/>
                <a:gd name="T10" fmla="*/ 11 w 13"/>
                <a:gd name="T11" fmla="*/ 0 h 23"/>
                <a:gd name="T12" fmla="*/ 10 w 13"/>
                <a:gd name="T13" fmla="*/ 0 h 23"/>
                <a:gd name="T14" fmla="*/ 10 w 13"/>
                <a:gd name="T15" fmla="*/ 0 h 23"/>
                <a:gd name="T16" fmla="*/ 8 w 13"/>
                <a:gd name="T17" fmla="*/ 0 h 23"/>
                <a:gd name="T18" fmla="*/ 7 w 13"/>
                <a:gd name="T19" fmla="*/ 0 h 23"/>
                <a:gd name="T20" fmla="*/ 5 w 13"/>
                <a:gd name="T21" fmla="*/ 2 h 23"/>
                <a:gd name="T22" fmla="*/ 4 w 13"/>
                <a:gd name="T23" fmla="*/ 4 h 23"/>
                <a:gd name="T24" fmla="*/ 4 w 13"/>
                <a:gd name="T25" fmla="*/ 1 h 23"/>
                <a:gd name="T26" fmla="*/ 4 w 13"/>
                <a:gd name="T27" fmla="*/ 0 h 23"/>
                <a:gd name="T28" fmla="*/ 3 w 13"/>
                <a:gd name="T29" fmla="*/ 0 h 23"/>
                <a:gd name="T30" fmla="*/ 3 w 13"/>
                <a:gd name="T31" fmla="*/ 0 h 23"/>
                <a:gd name="T32" fmla="*/ 2 w 13"/>
                <a:gd name="T33" fmla="*/ 0 h 23"/>
                <a:gd name="T34" fmla="*/ 1 w 13"/>
                <a:gd name="T35" fmla="*/ 0 h 23"/>
                <a:gd name="T36" fmla="*/ 1 w 13"/>
                <a:gd name="T37" fmla="*/ 0 h 23"/>
                <a:gd name="T38" fmla="*/ 0 w 13"/>
                <a:gd name="T39" fmla="*/ 0 h 23"/>
                <a:gd name="T40" fmla="*/ 0 w 13"/>
                <a:gd name="T41" fmla="*/ 1 h 23"/>
                <a:gd name="T42" fmla="*/ 0 w 13"/>
                <a:gd name="T43" fmla="*/ 22 h 23"/>
                <a:gd name="T44" fmla="*/ 0 w 13"/>
                <a:gd name="T45" fmla="*/ 22 h 23"/>
                <a:gd name="T46" fmla="*/ 1 w 13"/>
                <a:gd name="T47" fmla="*/ 22 h 23"/>
                <a:gd name="T48" fmla="*/ 1 w 13"/>
                <a:gd name="T49" fmla="*/ 23 h 23"/>
                <a:gd name="T50" fmla="*/ 2 w 13"/>
                <a:gd name="T51" fmla="*/ 23 h 23"/>
                <a:gd name="T52" fmla="*/ 3 w 13"/>
                <a:gd name="T53" fmla="*/ 23 h 23"/>
                <a:gd name="T54" fmla="*/ 4 w 13"/>
                <a:gd name="T55" fmla="*/ 22 h 23"/>
                <a:gd name="T56" fmla="*/ 4 w 13"/>
                <a:gd name="T57" fmla="*/ 22 h 23"/>
                <a:gd name="T58" fmla="*/ 4 w 13"/>
                <a:gd name="T59" fmla="*/ 22 h 23"/>
                <a:gd name="T60" fmla="*/ 4 w 13"/>
                <a:gd name="T61" fmla="*/ 8 h 23"/>
                <a:gd name="T62" fmla="*/ 6 w 13"/>
                <a:gd name="T63" fmla="*/ 6 h 23"/>
                <a:gd name="T64" fmla="*/ 7 w 13"/>
                <a:gd name="T65" fmla="*/ 4 h 23"/>
                <a:gd name="T66" fmla="*/ 8 w 13"/>
                <a:gd name="T67" fmla="*/ 4 h 23"/>
                <a:gd name="T68" fmla="*/ 9 w 13"/>
                <a:gd name="T69" fmla="*/ 3 h 23"/>
                <a:gd name="T70" fmla="*/ 10 w 13"/>
                <a:gd name="T71" fmla="*/ 3 h 23"/>
                <a:gd name="T72" fmla="*/ 11 w 13"/>
                <a:gd name="T73" fmla="*/ 4 h 23"/>
                <a:gd name="T74" fmla="*/ 12 w 13"/>
                <a:gd name="T75" fmla="*/ 4 h 23"/>
                <a:gd name="T76" fmla="*/ 12 w 13"/>
                <a:gd name="T77" fmla="*/ 4 h 23"/>
                <a:gd name="T78" fmla="*/ 12 w 13"/>
                <a:gd name="T79" fmla="*/ 4 h 23"/>
                <a:gd name="T80" fmla="*/ 12 w 13"/>
                <a:gd name="T81" fmla="*/ 4 h 23"/>
                <a:gd name="T82" fmla="*/ 13 w 13"/>
                <a:gd name="T83" fmla="*/ 3 h 23"/>
                <a:gd name="T84" fmla="*/ 13 w 13"/>
                <a:gd name="T85" fmla="*/ 2 h 23"/>
                <a:gd name="T86" fmla="*/ 13 w 13"/>
                <a:gd name="T8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 h="23">
                  <a:moveTo>
                    <a:pt x="13" y="1"/>
                  </a:moveTo>
                  <a:cubicBezTo>
                    <a:pt x="13" y="1"/>
                    <a:pt x="13" y="1"/>
                    <a:pt x="13" y="1"/>
                  </a:cubicBezTo>
                  <a:cubicBezTo>
                    <a:pt x="13" y="1"/>
                    <a:pt x="13" y="1"/>
                    <a:pt x="12" y="1"/>
                  </a:cubicBezTo>
                  <a:cubicBezTo>
                    <a:pt x="12" y="0"/>
                    <a:pt x="12" y="0"/>
                    <a:pt x="12" y="0"/>
                  </a:cubicBezTo>
                  <a:cubicBezTo>
                    <a:pt x="12" y="0"/>
                    <a:pt x="12" y="0"/>
                    <a:pt x="12" y="0"/>
                  </a:cubicBezTo>
                  <a:cubicBezTo>
                    <a:pt x="12" y="0"/>
                    <a:pt x="11" y="0"/>
                    <a:pt x="11" y="0"/>
                  </a:cubicBezTo>
                  <a:cubicBezTo>
                    <a:pt x="11" y="0"/>
                    <a:pt x="10" y="0"/>
                    <a:pt x="10" y="0"/>
                  </a:cubicBezTo>
                  <a:cubicBezTo>
                    <a:pt x="10" y="0"/>
                    <a:pt x="10" y="0"/>
                    <a:pt x="10" y="0"/>
                  </a:cubicBezTo>
                  <a:cubicBezTo>
                    <a:pt x="9" y="0"/>
                    <a:pt x="9" y="0"/>
                    <a:pt x="8" y="0"/>
                  </a:cubicBezTo>
                  <a:cubicBezTo>
                    <a:pt x="8" y="0"/>
                    <a:pt x="7" y="0"/>
                    <a:pt x="7" y="0"/>
                  </a:cubicBezTo>
                  <a:cubicBezTo>
                    <a:pt x="6" y="1"/>
                    <a:pt x="6" y="1"/>
                    <a:pt x="5" y="2"/>
                  </a:cubicBezTo>
                  <a:cubicBezTo>
                    <a:pt x="5" y="2"/>
                    <a:pt x="4" y="3"/>
                    <a:pt x="4" y="4"/>
                  </a:cubicBezTo>
                  <a:cubicBezTo>
                    <a:pt x="4" y="1"/>
                    <a:pt x="4" y="1"/>
                    <a:pt x="4" y="1"/>
                  </a:cubicBezTo>
                  <a:cubicBezTo>
                    <a:pt x="4" y="1"/>
                    <a:pt x="4" y="1"/>
                    <a:pt x="4" y="0"/>
                  </a:cubicBezTo>
                  <a:cubicBezTo>
                    <a:pt x="4" y="0"/>
                    <a:pt x="4" y="0"/>
                    <a:pt x="3" y="0"/>
                  </a:cubicBezTo>
                  <a:cubicBezTo>
                    <a:pt x="3" y="0"/>
                    <a:pt x="3" y="0"/>
                    <a:pt x="3" y="0"/>
                  </a:cubicBezTo>
                  <a:cubicBezTo>
                    <a:pt x="3" y="0"/>
                    <a:pt x="2" y="0"/>
                    <a:pt x="2" y="0"/>
                  </a:cubicBezTo>
                  <a:cubicBezTo>
                    <a:pt x="2" y="0"/>
                    <a:pt x="1" y="0"/>
                    <a:pt x="1" y="0"/>
                  </a:cubicBezTo>
                  <a:cubicBezTo>
                    <a:pt x="1" y="0"/>
                    <a:pt x="1" y="0"/>
                    <a:pt x="1" y="0"/>
                  </a:cubicBezTo>
                  <a:cubicBezTo>
                    <a:pt x="0" y="0"/>
                    <a:pt x="0" y="0"/>
                    <a:pt x="0" y="0"/>
                  </a:cubicBezTo>
                  <a:cubicBezTo>
                    <a:pt x="0" y="1"/>
                    <a:pt x="0" y="1"/>
                    <a:pt x="0" y="1"/>
                  </a:cubicBezTo>
                  <a:cubicBezTo>
                    <a:pt x="0" y="22"/>
                    <a:pt x="0" y="22"/>
                    <a:pt x="0" y="22"/>
                  </a:cubicBezTo>
                  <a:cubicBezTo>
                    <a:pt x="0" y="22"/>
                    <a:pt x="0" y="22"/>
                    <a:pt x="0" y="22"/>
                  </a:cubicBezTo>
                  <a:cubicBezTo>
                    <a:pt x="0" y="22"/>
                    <a:pt x="1" y="22"/>
                    <a:pt x="1" y="22"/>
                  </a:cubicBezTo>
                  <a:cubicBezTo>
                    <a:pt x="1" y="22"/>
                    <a:pt x="1" y="22"/>
                    <a:pt x="1" y="23"/>
                  </a:cubicBezTo>
                  <a:cubicBezTo>
                    <a:pt x="2" y="23"/>
                    <a:pt x="2" y="23"/>
                    <a:pt x="2" y="23"/>
                  </a:cubicBezTo>
                  <a:cubicBezTo>
                    <a:pt x="3" y="23"/>
                    <a:pt x="3" y="23"/>
                    <a:pt x="3" y="23"/>
                  </a:cubicBezTo>
                  <a:cubicBezTo>
                    <a:pt x="3" y="22"/>
                    <a:pt x="4" y="22"/>
                    <a:pt x="4" y="22"/>
                  </a:cubicBezTo>
                  <a:cubicBezTo>
                    <a:pt x="4" y="22"/>
                    <a:pt x="4" y="22"/>
                    <a:pt x="4" y="22"/>
                  </a:cubicBezTo>
                  <a:cubicBezTo>
                    <a:pt x="4" y="22"/>
                    <a:pt x="4" y="22"/>
                    <a:pt x="4" y="22"/>
                  </a:cubicBezTo>
                  <a:cubicBezTo>
                    <a:pt x="4" y="8"/>
                    <a:pt x="4" y="8"/>
                    <a:pt x="4" y="8"/>
                  </a:cubicBezTo>
                  <a:cubicBezTo>
                    <a:pt x="5" y="7"/>
                    <a:pt x="5" y="6"/>
                    <a:pt x="6" y="6"/>
                  </a:cubicBezTo>
                  <a:cubicBezTo>
                    <a:pt x="6" y="5"/>
                    <a:pt x="7" y="5"/>
                    <a:pt x="7" y="4"/>
                  </a:cubicBezTo>
                  <a:cubicBezTo>
                    <a:pt x="7" y="4"/>
                    <a:pt x="8" y="4"/>
                    <a:pt x="8" y="4"/>
                  </a:cubicBezTo>
                  <a:cubicBezTo>
                    <a:pt x="9" y="3"/>
                    <a:pt x="9" y="3"/>
                    <a:pt x="9" y="3"/>
                  </a:cubicBezTo>
                  <a:cubicBezTo>
                    <a:pt x="10" y="3"/>
                    <a:pt x="10" y="3"/>
                    <a:pt x="10" y="3"/>
                  </a:cubicBezTo>
                  <a:cubicBezTo>
                    <a:pt x="10" y="3"/>
                    <a:pt x="11" y="4"/>
                    <a:pt x="11" y="4"/>
                  </a:cubicBezTo>
                  <a:cubicBezTo>
                    <a:pt x="11" y="4"/>
                    <a:pt x="11" y="4"/>
                    <a:pt x="12" y="4"/>
                  </a:cubicBezTo>
                  <a:cubicBezTo>
                    <a:pt x="12" y="4"/>
                    <a:pt x="12" y="4"/>
                    <a:pt x="12" y="4"/>
                  </a:cubicBezTo>
                  <a:cubicBezTo>
                    <a:pt x="12" y="4"/>
                    <a:pt x="12" y="4"/>
                    <a:pt x="12" y="4"/>
                  </a:cubicBezTo>
                  <a:cubicBezTo>
                    <a:pt x="12" y="4"/>
                    <a:pt x="12" y="4"/>
                    <a:pt x="12" y="4"/>
                  </a:cubicBezTo>
                  <a:cubicBezTo>
                    <a:pt x="13" y="3"/>
                    <a:pt x="13" y="3"/>
                    <a:pt x="13" y="3"/>
                  </a:cubicBezTo>
                  <a:cubicBezTo>
                    <a:pt x="13" y="3"/>
                    <a:pt x="13" y="2"/>
                    <a:pt x="13" y="2"/>
                  </a:cubicBezTo>
                  <a:cubicBezTo>
                    <a:pt x="13" y="2"/>
                    <a:pt x="13" y="1"/>
                    <a:pt x="13"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3">
              <a:extLst>
                <a:ext uri="{FF2B5EF4-FFF2-40B4-BE49-F238E27FC236}">
                  <a16:creationId xmlns:a16="http://schemas.microsoft.com/office/drawing/2014/main" id="{074698A2-2E86-4EC0-A13C-1D7CE3CA5DCD}"/>
                </a:ext>
              </a:extLst>
            </p:cNvPr>
            <p:cNvSpPr>
              <a:spLocks/>
            </p:cNvSpPr>
            <p:nvPr/>
          </p:nvSpPr>
          <p:spPr bwMode="auto">
            <a:xfrm>
              <a:off x="6373102" y="5901426"/>
              <a:ext cx="67817" cy="77917"/>
            </a:xfrm>
            <a:custGeom>
              <a:avLst/>
              <a:gdLst>
                <a:gd name="T0" fmla="*/ 20 w 20"/>
                <a:gd name="T1" fmla="*/ 0 h 23"/>
                <a:gd name="T2" fmla="*/ 19 w 20"/>
                <a:gd name="T3" fmla="*/ 0 h 23"/>
                <a:gd name="T4" fmla="*/ 19 w 20"/>
                <a:gd name="T5" fmla="*/ 0 h 23"/>
                <a:gd name="T6" fmla="*/ 18 w 20"/>
                <a:gd name="T7" fmla="*/ 0 h 23"/>
                <a:gd name="T8" fmla="*/ 17 w 20"/>
                <a:gd name="T9" fmla="*/ 0 h 23"/>
                <a:gd name="T10" fmla="*/ 16 w 20"/>
                <a:gd name="T11" fmla="*/ 0 h 23"/>
                <a:gd name="T12" fmla="*/ 16 w 20"/>
                <a:gd name="T13" fmla="*/ 0 h 23"/>
                <a:gd name="T14" fmla="*/ 16 w 20"/>
                <a:gd name="T15" fmla="*/ 1 h 23"/>
                <a:gd name="T16" fmla="*/ 10 w 20"/>
                <a:gd name="T17" fmla="*/ 18 h 23"/>
                <a:gd name="T18" fmla="*/ 10 w 20"/>
                <a:gd name="T19" fmla="*/ 18 h 23"/>
                <a:gd name="T20" fmla="*/ 10 w 20"/>
                <a:gd name="T21" fmla="*/ 18 h 23"/>
                <a:gd name="T22" fmla="*/ 4 w 20"/>
                <a:gd name="T23" fmla="*/ 1 h 23"/>
                <a:gd name="T24" fmla="*/ 4 w 20"/>
                <a:gd name="T25" fmla="*/ 0 h 23"/>
                <a:gd name="T26" fmla="*/ 3 w 20"/>
                <a:gd name="T27" fmla="*/ 0 h 23"/>
                <a:gd name="T28" fmla="*/ 3 w 20"/>
                <a:gd name="T29" fmla="*/ 0 h 23"/>
                <a:gd name="T30" fmla="*/ 2 w 20"/>
                <a:gd name="T31" fmla="*/ 0 h 23"/>
                <a:gd name="T32" fmla="*/ 1 w 20"/>
                <a:gd name="T33" fmla="*/ 0 h 23"/>
                <a:gd name="T34" fmla="*/ 0 w 20"/>
                <a:gd name="T35" fmla="*/ 0 h 23"/>
                <a:gd name="T36" fmla="*/ 0 w 20"/>
                <a:gd name="T37" fmla="*/ 0 h 23"/>
                <a:gd name="T38" fmla="*/ 0 w 20"/>
                <a:gd name="T39" fmla="*/ 1 h 23"/>
                <a:gd name="T40" fmla="*/ 0 w 20"/>
                <a:gd name="T41" fmla="*/ 1 h 23"/>
                <a:gd name="T42" fmla="*/ 0 w 20"/>
                <a:gd name="T43" fmla="*/ 1 h 23"/>
                <a:gd name="T44" fmla="*/ 0 w 20"/>
                <a:gd name="T45" fmla="*/ 2 h 23"/>
                <a:gd name="T46" fmla="*/ 7 w 20"/>
                <a:gd name="T47" fmla="*/ 22 h 23"/>
                <a:gd name="T48" fmla="*/ 7 w 20"/>
                <a:gd name="T49" fmla="*/ 22 h 23"/>
                <a:gd name="T50" fmla="*/ 8 w 20"/>
                <a:gd name="T51" fmla="*/ 22 h 23"/>
                <a:gd name="T52" fmla="*/ 9 w 20"/>
                <a:gd name="T53" fmla="*/ 23 h 23"/>
                <a:gd name="T54" fmla="*/ 10 w 20"/>
                <a:gd name="T55" fmla="*/ 23 h 23"/>
                <a:gd name="T56" fmla="*/ 11 w 20"/>
                <a:gd name="T57" fmla="*/ 23 h 23"/>
                <a:gd name="T58" fmla="*/ 12 w 20"/>
                <a:gd name="T59" fmla="*/ 22 h 23"/>
                <a:gd name="T60" fmla="*/ 12 w 20"/>
                <a:gd name="T61" fmla="*/ 22 h 23"/>
                <a:gd name="T62" fmla="*/ 12 w 20"/>
                <a:gd name="T63" fmla="*/ 22 h 23"/>
                <a:gd name="T64" fmla="*/ 20 w 20"/>
                <a:gd name="T65" fmla="*/ 2 h 23"/>
                <a:gd name="T66" fmla="*/ 20 w 20"/>
                <a:gd name="T67" fmla="*/ 1 h 23"/>
                <a:gd name="T68" fmla="*/ 20 w 20"/>
                <a:gd name="T69" fmla="*/ 1 h 23"/>
                <a:gd name="T70" fmla="*/ 20 w 20"/>
                <a:gd name="T71" fmla="*/ 1 h 23"/>
                <a:gd name="T72" fmla="*/ 20 w 20"/>
                <a:gd name="T73" fmla="*/ 1 h 23"/>
                <a:gd name="T74" fmla="*/ 20 w 20"/>
                <a:gd name="T7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23">
                  <a:moveTo>
                    <a:pt x="20" y="0"/>
                  </a:moveTo>
                  <a:cubicBezTo>
                    <a:pt x="20" y="0"/>
                    <a:pt x="20" y="0"/>
                    <a:pt x="19" y="0"/>
                  </a:cubicBezTo>
                  <a:cubicBezTo>
                    <a:pt x="19" y="0"/>
                    <a:pt x="19" y="0"/>
                    <a:pt x="19" y="0"/>
                  </a:cubicBezTo>
                  <a:cubicBezTo>
                    <a:pt x="19" y="0"/>
                    <a:pt x="18" y="0"/>
                    <a:pt x="18" y="0"/>
                  </a:cubicBezTo>
                  <a:cubicBezTo>
                    <a:pt x="18" y="0"/>
                    <a:pt x="17" y="0"/>
                    <a:pt x="17" y="0"/>
                  </a:cubicBezTo>
                  <a:cubicBezTo>
                    <a:pt x="17" y="0"/>
                    <a:pt x="17" y="0"/>
                    <a:pt x="16" y="0"/>
                  </a:cubicBezTo>
                  <a:cubicBezTo>
                    <a:pt x="16" y="0"/>
                    <a:pt x="16" y="0"/>
                    <a:pt x="16" y="0"/>
                  </a:cubicBezTo>
                  <a:cubicBezTo>
                    <a:pt x="16" y="1"/>
                    <a:pt x="16" y="1"/>
                    <a:pt x="16" y="1"/>
                  </a:cubicBezTo>
                  <a:cubicBezTo>
                    <a:pt x="10" y="18"/>
                    <a:pt x="10" y="18"/>
                    <a:pt x="10" y="18"/>
                  </a:cubicBezTo>
                  <a:cubicBezTo>
                    <a:pt x="10" y="18"/>
                    <a:pt x="10" y="18"/>
                    <a:pt x="10" y="18"/>
                  </a:cubicBezTo>
                  <a:cubicBezTo>
                    <a:pt x="10" y="18"/>
                    <a:pt x="10" y="18"/>
                    <a:pt x="10" y="18"/>
                  </a:cubicBezTo>
                  <a:cubicBezTo>
                    <a:pt x="4" y="1"/>
                    <a:pt x="4" y="1"/>
                    <a:pt x="4" y="1"/>
                  </a:cubicBezTo>
                  <a:cubicBezTo>
                    <a:pt x="4" y="1"/>
                    <a:pt x="4" y="1"/>
                    <a:pt x="4" y="0"/>
                  </a:cubicBezTo>
                  <a:cubicBezTo>
                    <a:pt x="4" y="0"/>
                    <a:pt x="4" y="0"/>
                    <a:pt x="3" y="0"/>
                  </a:cubicBezTo>
                  <a:cubicBezTo>
                    <a:pt x="3" y="0"/>
                    <a:pt x="3" y="0"/>
                    <a:pt x="3" y="0"/>
                  </a:cubicBezTo>
                  <a:cubicBezTo>
                    <a:pt x="2" y="0"/>
                    <a:pt x="2" y="0"/>
                    <a:pt x="2" y="0"/>
                  </a:cubicBezTo>
                  <a:cubicBezTo>
                    <a:pt x="1" y="0"/>
                    <a:pt x="1" y="0"/>
                    <a:pt x="1" y="0"/>
                  </a:cubicBezTo>
                  <a:cubicBezTo>
                    <a:pt x="1" y="0"/>
                    <a:pt x="0" y="0"/>
                    <a:pt x="0" y="0"/>
                  </a:cubicBezTo>
                  <a:cubicBezTo>
                    <a:pt x="0" y="0"/>
                    <a:pt x="0" y="0"/>
                    <a:pt x="0" y="0"/>
                  </a:cubicBezTo>
                  <a:cubicBezTo>
                    <a:pt x="0" y="0"/>
                    <a:pt x="0" y="1"/>
                    <a:pt x="0" y="1"/>
                  </a:cubicBezTo>
                  <a:cubicBezTo>
                    <a:pt x="0" y="1"/>
                    <a:pt x="0" y="1"/>
                    <a:pt x="0" y="1"/>
                  </a:cubicBezTo>
                  <a:cubicBezTo>
                    <a:pt x="0" y="1"/>
                    <a:pt x="0" y="1"/>
                    <a:pt x="0" y="1"/>
                  </a:cubicBezTo>
                  <a:cubicBezTo>
                    <a:pt x="0" y="1"/>
                    <a:pt x="0" y="1"/>
                    <a:pt x="0" y="2"/>
                  </a:cubicBezTo>
                  <a:cubicBezTo>
                    <a:pt x="7" y="22"/>
                    <a:pt x="7" y="22"/>
                    <a:pt x="7" y="22"/>
                  </a:cubicBezTo>
                  <a:cubicBezTo>
                    <a:pt x="7" y="22"/>
                    <a:pt x="7" y="22"/>
                    <a:pt x="7" y="22"/>
                  </a:cubicBezTo>
                  <a:cubicBezTo>
                    <a:pt x="8" y="22"/>
                    <a:pt x="8" y="22"/>
                    <a:pt x="8" y="22"/>
                  </a:cubicBezTo>
                  <a:cubicBezTo>
                    <a:pt x="8" y="22"/>
                    <a:pt x="8" y="22"/>
                    <a:pt x="9" y="23"/>
                  </a:cubicBezTo>
                  <a:cubicBezTo>
                    <a:pt x="9" y="23"/>
                    <a:pt x="9" y="23"/>
                    <a:pt x="10" y="23"/>
                  </a:cubicBezTo>
                  <a:cubicBezTo>
                    <a:pt x="10" y="23"/>
                    <a:pt x="11" y="23"/>
                    <a:pt x="11" y="23"/>
                  </a:cubicBezTo>
                  <a:cubicBezTo>
                    <a:pt x="11" y="22"/>
                    <a:pt x="12" y="22"/>
                    <a:pt x="12" y="22"/>
                  </a:cubicBezTo>
                  <a:cubicBezTo>
                    <a:pt x="12" y="22"/>
                    <a:pt x="12" y="22"/>
                    <a:pt x="12" y="22"/>
                  </a:cubicBezTo>
                  <a:cubicBezTo>
                    <a:pt x="12" y="22"/>
                    <a:pt x="12" y="22"/>
                    <a:pt x="12" y="22"/>
                  </a:cubicBezTo>
                  <a:cubicBezTo>
                    <a:pt x="20" y="2"/>
                    <a:pt x="20" y="2"/>
                    <a:pt x="20" y="2"/>
                  </a:cubicBezTo>
                  <a:cubicBezTo>
                    <a:pt x="20" y="2"/>
                    <a:pt x="20" y="1"/>
                    <a:pt x="20" y="1"/>
                  </a:cubicBezTo>
                  <a:cubicBezTo>
                    <a:pt x="20" y="1"/>
                    <a:pt x="20" y="1"/>
                    <a:pt x="20" y="1"/>
                  </a:cubicBezTo>
                  <a:cubicBezTo>
                    <a:pt x="20" y="1"/>
                    <a:pt x="20" y="1"/>
                    <a:pt x="20" y="1"/>
                  </a:cubicBezTo>
                  <a:cubicBezTo>
                    <a:pt x="20" y="1"/>
                    <a:pt x="20" y="1"/>
                    <a:pt x="20" y="1"/>
                  </a:cubicBezTo>
                  <a:cubicBezTo>
                    <a:pt x="20" y="1"/>
                    <a:pt x="20" y="0"/>
                    <a:pt x="20"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4">
              <a:extLst>
                <a:ext uri="{FF2B5EF4-FFF2-40B4-BE49-F238E27FC236}">
                  <a16:creationId xmlns:a16="http://schemas.microsoft.com/office/drawing/2014/main" id="{51EF7961-CE73-4A03-B277-EA51A584BDFB}"/>
                </a:ext>
              </a:extLst>
            </p:cNvPr>
            <p:cNvSpPr>
              <a:spLocks noEditPoints="1"/>
            </p:cNvSpPr>
            <p:nvPr/>
          </p:nvSpPr>
          <p:spPr bwMode="auto">
            <a:xfrm>
              <a:off x="6455348" y="5869682"/>
              <a:ext cx="12987" cy="109661"/>
            </a:xfrm>
            <a:custGeom>
              <a:avLst/>
              <a:gdLst>
                <a:gd name="T0" fmla="*/ 4 w 4"/>
                <a:gd name="T1" fmla="*/ 10 h 32"/>
                <a:gd name="T2" fmla="*/ 4 w 4"/>
                <a:gd name="T3" fmla="*/ 9 h 32"/>
                <a:gd name="T4" fmla="*/ 4 w 4"/>
                <a:gd name="T5" fmla="*/ 9 h 32"/>
                <a:gd name="T6" fmla="*/ 3 w 4"/>
                <a:gd name="T7" fmla="*/ 9 h 32"/>
                <a:gd name="T8" fmla="*/ 2 w 4"/>
                <a:gd name="T9" fmla="*/ 9 h 32"/>
                <a:gd name="T10" fmla="*/ 1 w 4"/>
                <a:gd name="T11" fmla="*/ 9 h 32"/>
                <a:gd name="T12" fmla="*/ 1 w 4"/>
                <a:gd name="T13" fmla="*/ 9 h 32"/>
                <a:gd name="T14" fmla="*/ 0 w 4"/>
                <a:gd name="T15" fmla="*/ 9 h 32"/>
                <a:gd name="T16" fmla="*/ 0 w 4"/>
                <a:gd name="T17" fmla="*/ 10 h 32"/>
                <a:gd name="T18" fmla="*/ 0 w 4"/>
                <a:gd name="T19" fmla="*/ 31 h 32"/>
                <a:gd name="T20" fmla="*/ 0 w 4"/>
                <a:gd name="T21" fmla="*/ 31 h 32"/>
                <a:gd name="T22" fmla="*/ 1 w 4"/>
                <a:gd name="T23" fmla="*/ 31 h 32"/>
                <a:gd name="T24" fmla="*/ 1 w 4"/>
                <a:gd name="T25" fmla="*/ 32 h 32"/>
                <a:gd name="T26" fmla="*/ 2 w 4"/>
                <a:gd name="T27" fmla="*/ 32 h 32"/>
                <a:gd name="T28" fmla="*/ 3 w 4"/>
                <a:gd name="T29" fmla="*/ 32 h 32"/>
                <a:gd name="T30" fmla="*/ 4 w 4"/>
                <a:gd name="T31" fmla="*/ 31 h 32"/>
                <a:gd name="T32" fmla="*/ 4 w 4"/>
                <a:gd name="T33" fmla="*/ 31 h 32"/>
                <a:gd name="T34" fmla="*/ 4 w 4"/>
                <a:gd name="T35" fmla="*/ 31 h 32"/>
                <a:gd name="T36" fmla="*/ 4 w 4"/>
                <a:gd name="T37" fmla="*/ 10 h 32"/>
                <a:gd name="T38" fmla="*/ 4 w 4"/>
                <a:gd name="T39" fmla="*/ 1 h 32"/>
                <a:gd name="T40" fmla="*/ 2 w 4"/>
                <a:gd name="T41" fmla="*/ 0 h 32"/>
                <a:gd name="T42" fmla="*/ 0 w 4"/>
                <a:gd name="T43" fmla="*/ 1 h 32"/>
                <a:gd name="T44" fmla="*/ 0 w 4"/>
                <a:gd name="T45" fmla="*/ 3 h 32"/>
                <a:gd name="T46" fmla="*/ 0 w 4"/>
                <a:gd name="T47" fmla="*/ 4 h 32"/>
                <a:gd name="T48" fmla="*/ 2 w 4"/>
                <a:gd name="T49" fmla="*/ 5 h 32"/>
                <a:gd name="T50" fmla="*/ 4 w 4"/>
                <a:gd name="T51" fmla="*/ 4 h 32"/>
                <a:gd name="T52" fmla="*/ 4 w 4"/>
                <a:gd name="T53" fmla="*/ 3 h 32"/>
                <a:gd name="T54" fmla="*/ 4 w 4"/>
                <a:gd name="T55"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32">
                  <a:moveTo>
                    <a:pt x="4" y="10"/>
                  </a:moveTo>
                  <a:cubicBezTo>
                    <a:pt x="4" y="10"/>
                    <a:pt x="4" y="10"/>
                    <a:pt x="4" y="9"/>
                  </a:cubicBezTo>
                  <a:cubicBezTo>
                    <a:pt x="4" y="9"/>
                    <a:pt x="4" y="9"/>
                    <a:pt x="4" y="9"/>
                  </a:cubicBezTo>
                  <a:cubicBezTo>
                    <a:pt x="4" y="9"/>
                    <a:pt x="3" y="9"/>
                    <a:pt x="3" y="9"/>
                  </a:cubicBezTo>
                  <a:cubicBezTo>
                    <a:pt x="3" y="9"/>
                    <a:pt x="2" y="9"/>
                    <a:pt x="2" y="9"/>
                  </a:cubicBezTo>
                  <a:cubicBezTo>
                    <a:pt x="2" y="9"/>
                    <a:pt x="1" y="9"/>
                    <a:pt x="1" y="9"/>
                  </a:cubicBezTo>
                  <a:cubicBezTo>
                    <a:pt x="1" y="9"/>
                    <a:pt x="1" y="9"/>
                    <a:pt x="1" y="9"/>
                  </a:cubicBezTo>
                  <a:cubicBezTo>
                    <a:pt x="0" y="9"/>
                    <a:pt x="0" y="9"/>
                    <a:pt x="0" y="9"/>
                  </a:cubicBezTo>
                  <a:cubicBezTo>
                    <a:pt x="0" y="10"/>
                    <a:pt x="0" y="10"/>
                    <a:pt x="0" y="10"/>
                  </a:cubicBezTo>
                  <a:cubicBezTo>
                    <a:pt x="0" y="31"/>
                    <a:pt x="0" y="31"/>
                    <a:pt x="0" y="31"/>
                  </a:cubicBezTo>
                  <a:cubicBezTo>
                    <a:pt x="0" y="31"/>
                    <a:pt x="0" y="31"/>
                    <a:pt x="0" y="31"/>
                  </a:cubicBezTo>
                  <a:cubicBezTo>
                    <a:pt x="0" y="31"/>
                    <a:pt x="0" y="31"/>
                    <a:pt x="1" y="31"/>
                  </a:cubicBezTo>
                  <a:cubicBezTo>
                    <a:pt x="1" y="31"/>
                    <a:pt x="1" y="31"/>
                    <a:pt x="1" y="32"/>
                  </a:cubicBezTo>
                  <a:cubicBezTo>
                    <a:pt x="1" y="32"/>
                    <a:pt x="2" y="32"/>
                    <a:pt x="2" y="32"/>
                  </a:cubicBezTo>
                  <a:cubicBezTo>
                    <a:pt x="2" y="32"/>
                    <a:pt x="3" y="32"/>
                    <a:pt x="3" y="32"/>
                  </a:cubicBezTo>
                  <a:cubicBezTo>
                    <a:pt x="3" y="31"/>
                    <a:pt x="4" y="31"/>
                    <a:pt x="4" y="31"/>
                  </a:cubicBezTo>
                  <a:cubicBezTo>
                    <a:pt x="4" y="31"/>
                    <a:pt x="4" y="31"/>
                    <a:pt x="4" y="31"/>
                  </a:cubicBezTo>
                  <a:cubicBezTo>
                    <a:pt x="4" y="31"/>
                    <a:pt x="4" y="31"/>
                    <a:pt x="4" y="31"/>
                  </a:cubicBezTo>
                  <a:cubicBezTo>
                    <a:pt x="4" y="10"/>
                    <a:pt x="4" y="10"/>
                    <a:pt x="4" y="10"/>
                  </a:cubicBezTo>
                  <a:close/>
                  <a:moveTo>
                    <a:pt x="4" y="1"/>
                  </a:moveTo>
                  <a:cubicBezTo>
                    <a:pt x="4" y="0"/>
                    <a:pt x="3" y="0"/>
                    <a:pt x="2" y="0"/>
                  </a:cubicBezTo>
                  <a:cubicBezTo>
                    <a:pt x="1" y="0"/>
                    <a:pt x="1" y="0"/>
                    <a:pt x="0" y="1"/>
                  </a:cubicBezTo>
                  <a:cubicBezTo>
                    <a:pt x="0" y="1"/>
                    <a:pt x="0" y="2"/>
                    <a:pt x="0" y="3"/>
                  </a:cubicBezTo>
                  <a:cubicBezTo>
                    <a:pt x="0" y="4"/>
                    <a:pt x="0" y="4"/>
                    <a:pt x="0" y="4"/>
                  </a:cubicBezTo>
                  <a:cubicBezTo>
                    <a:pt x="1" y="5"/>
                    <a:pt x="1" y="5"/>
                    <a:pt x="2" y="5"/>
                  </a:cubicBezTo>
                  <a:cubicBezTo>
                    <a:pt x="3" y="5"/>
                    <a:pt x="4" y="5"/>
                    <a:pt x="4" y="4"/>
                  </a:cubicBezTo>
                  <a:cubicBezTo>
                    <a:pt x="4" y="4"/>
                    <a:pt x="4" y="4"/>
                    <a:pt x="4" y="3"/>
                  </a:cubicBezTo>
                  <a:cubicBezTo>
                    <a:pt x="4" y="2"/>
                    <a:pt x="4"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5">
              <a:extLst>
                <a:ext uri="{FF2B5EF4-FFF2-40B4-BE49-F238E27FC236}">
                  <a16:creationId xmlns:a16="http://schemas.microsoft.com/office/drawing/2014/main" id="{4A008DC3-170E-443A-9AAF-2098C90BD03C}"/>
                </a:ext>
              </a:extLst>
            </p:cNvPr>
            <p:cNvSpPr>
              <a:spLocks/>
            </p:cNvSpPr>
            <p:nvPr/>
          </p:nvSpPr>
          <p:spPr bwMode="auto">
            <a:xfrm>
              <a:off x="6488535" y="5901426"/>
              <a:ext cx="54831" cy="77917"/>
            </a:xfrm>
            <a:custGeom>
              <a:avLst/>
              <a:gdLst>
                <a:gd name="T0" fmla="*/ 16 w 16"/>
                <a:gd name="T1" fmla="*/ 18 h 23"/>
                <a:gd name="T2" fmla="*/ 16 w 16"/>
                <a:gd name="T3" fmla="*/ 17 h 23"/>
                <a:gd name="T4" fmla="*/ 16 w 16"/>
                <a:gd name="T5" fmla="*/ 17 h 23"/>
                <a:gd name="T6" fmla="*/ 16 w 16"/>
                <a:gd name="T7" fmla="*/ 17 h 23"/>
                <a:gd name="T8" fmla="*/ 15 w 16"/>
                <a:gd name="T9" fmla="*/ 17 h 23"/>
                <a:gd name="T10" fmla="*/ 14 w 16"/>
                <a:gd name="T11" fmla="*/ 18 h 23"/>
                <a:gd name="T12" fmla="*/ 12 w 16"/>
                <a:gd name="T13" fmla="*/ 19 h 23"/>
                <a:gd name="T14" fmla="*/ 10 w 16"/>
                <a:gd name="T15" fmla="*/ 20 h 23"/>
                <a:gd name="T16" fmla="*/ 7 w 16"/>
                <a:gd name="T17" fmla="*/ 19 h 23"/>
                <a:gd name="T18" fmla="*/ 5 w 16"/>
                <a:gd name="T19" fmla="*/ 17 h 23"/>
                <a:gd name="T20" fmla="*/ 4 w 16"/>
                <a:gd name="T21" fmla="*/ 15 h 23"/>
                <a:gd name="T22" fmla="*/ 4 w 16"/>
                <a:gd name="T23" fmla="*/ 11 h 23"/>
                <a:gd name="T24" fmla="*/ 5 w 16"/>
                <a:gd name="T25" fmla="*/ 5 h 23"/>
                <a:gd name="T26" fmla="*/ 10 w 16"/>
                <a:gd name="T27" fmla="*/ 3 h 23"/>
                <a:gd name="T28" fmla="*/ 12 w 16"/>
                <a:gd name="T29" fmla="*/ 3 h 23"/>
                <a:gd name="T30" fmla="*/ 14 w 16"/>
                <a:gd name="T31" fmla="*/ 4 h 23"/>
                <a:gd name="T32" fmla="*/ 15 w 16"/>
                <a:gd name="T33" fmla="*/ 5 h 23"/>
                <a:gd name="T34" fmla="*/ 16 w 16"/>
                <a:gd name="T35" fmla="*/ 5 h 23"/>
                <a:gd name="T36" fmla="*/ 16 w 16"/>
                <a:gd name="T37" fmla="*/ 5 h 23"/>
                <a:gd name="T38" fmla="*/ 16 w 16"/>
                <a:gd name="T39" fmla="*/ 4 h 23"/>
                <a:gd name="T40" fmla="*/ 16 w 16"/>
                <a:gd name="T41" fmla="*/ 3 h 23"/>
                <a:gd name="T42" fmla="*/ 16 w 16"/>
                <a:gd name="T43" fmla="*/ 3 h 23"/>
                <a:gd name="T44" fmla="*/ 16 w 16"/>
                <a:gd name="T45" fmla="*/ 2 h 23"/>
                <a:gd name="T46" fmla="*/ 16 w 16"/>
                <a:gd name="T47" fmla="*/ 2 h 23"/>
                <a:gd name="T48" fmla="*/ 15 w 16"/>
                <a:gd name="T49" fmla="*/ 1 h 23"/>
                <a:gd name="T50" fmla="*/ 13 w 16"/>
                <a:gd name="T51" fmla="*/ 0 h 23"/>
                <a:gd name="T52" fmla="*/ 12 w 16"/>
                <a:gd name="T53" fmla="*/ 0 h 23"/>
                <a:gd name="T54" fmla="*/ 10 w 16"/>
                <a:gd name="T55" fmla="*/ 0 h 23"/>
                <a:gd name="T56" fmla="*/ 6 w 16"/>
                <a:gd name="T57" fmla="*/ 0 h 23"/>
                <a:gd name="T58" fmla="*/ 3 w 16"/>
                <a:gd name="T59" fmla="*/ 3 h 23"/>
                <a:gd name="T60" fmla="*/ 0 w 16"/>
                <a:gd name="T61" fmla="*/ 6 h 23"/>
                <a:gd name="T62" fmla="*/ 0 w 16"/>
                <a:gd name="T63" fmla="*/ 12 h 23"/>
                <a:gd name="T64" fmla="*/ 0 w 16"/>
                <a:gd name="T65" fmla="*/ 16 h 23"/>
                <a:gd name="T66" fmla="*/ 2 w 16"/>
                <a:gd name="T67" fmla="*/ 20 h 23"/>
                <a:gd name="T68" fmla="*/ 5 w 16"/>
                <a:gd name="T69" fmla="*/ 22 h 23"/>
                <a:gd name="T70" fmla="*/ 9 w 16"/>
                <a:gd name="T71" fmla="*/ 23 h 23"/>
                <a:gd name="T72" fmla="*/ 11 w 16"/>
                <a:gd name="T73" fmla="*/ 23 h 23"/>
                <a:gd name="T74" fmla="*/ 13 w 16"/>
                <a:gd name="T75" fmla="*/ 22 h 23"/>
                <a:gd name="T76" fmla="*/ 15 w 16"/>
                <a:gd name="T77" fmla="*/ 21 h 23"/>
                <a:gd name="T78" fmla="*/ 16 w 16"/>
                <a:gd name="T79" fmla="*/ 21 h 23"/>
                <a:gd name="T80" fmla="*/ 16 w 16"/>
                <a:gd name="T81" fmla="*/ 20 h 23"/>
                <a:gd name="T82" fmla="*/ 16 w 16"/>
                <a:gd name="T83" fmla="*/ 20 h 23"/>
                <a:gd name="T84" fmla="*/ 16 w 16"/>
                <a:gd name="T85" fmla="*/ 19 h 23"/>
                <a:gd name="T86" fmla="*/ 16 w 16"/>
                <a:gd name="T87" fmla="*/ 19 h 23"/>
                <a:gd name="T88" fmla="*/ 16 w 16"/>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23">
                  <a:moveTo>
                    <a:pt x="16" y="18"/>
                  </a:moveTo>
                  <a:cubicBezTo>
                    <a:pt x="16" y="18"/>
                    <a:pt x="16" y="17"/>
                    <a:pt x="16" y="17"/>
                  </a:cubicBezTo>
                  <a:cubicBezTo>
                    <a:pt x="16" y="17"/>
                    <a:pt x="16" y="17"/>
                    <a:pt x="16" y="17"/>
                  </a:cubicBezTo>
                  <a:cubicBezTo>
                    <a:pt x="16" y="17"/>
                    <a:pt x="16" y="17"/>
                    <a:pt x="16" y="17"/>
                  </a:cubicBezTo>
                  <a:cubicBezTo>
                    <a:pt x="16" y="17"/>
                    <a:pt x="15" y="17"/>
                    <a:pt x="15" y="17"/>
                  </a:cubicBezTo>
                  <a:cubicBezTo>
                    <a:pt x="15" y="18"/>
                    <a:pt x="14" y="18"/>
                    <a:pt x="14" y="18"/>
                  </a:cubicBezTo>
                  <a:cubicBezTo>
                    <a:pt x="13" y="18"/>
                    <a:pt x="13" y="19"/>
                    <a:pt x="12" y="19"/>
                  </a:cubicBezTo>
                  <a:cubicBezTo>
                    <a:pt x="11" y="19"/>
                    <a:pt x="10" y="20"/>
                    <a:pt x="10" y="20"/>
                  </a:cubicBezTo>
                  <a:cubicBezTo>
                    <a:pt x="9" y="20"/>
                    <a:pt x="8" y="19"/>
                    <a:pt x="7" y="19"/>
                  </a:cubicBezTo>
                  <a:cubicBezTo>
                    <a:pt x="6" y="19"/>
                    <a:pt x="6" y="18"/>
                    <a:pt x="5" y="17"/>
                  </a:cubicBezTo>
                  <a:cubicBezTo>
                    <a:pt x="5" y="17"/>
                    <a:pt x="4" y="16"/>
                    <a:pt x="4" y="15"/>
                  </a:cubicBezTo>
                  <a:cubicBezTo>
                    <a:pt x="4" y="14"/>
                    <a:pt x="4" y="13"/>
                    <a:pt x="4" y="11"/>
                  </a:cubicBezTo>
                  <a:cubicBezTo>
                    <a:pt x="4" y="9"/>
                    <a:pt x="4" y="7"/>
                    <a:pt x="5" y="5"/>
                  </a:cubicBezTo>
                  <a:cubicBezTo>
                    <a:pt x="6" y="4"/>
                    <a:pt x="8" y="3"/>
                    <a:pt x="10" y="3"/>
                  </a:cubicBezTo>
                  <a:cubicBezTo>
                    <a:pt x="10" y="3"/>
                    <a:pt x="11" y="3"/>
                    <a:pt x="12" y="3"/>
                  </a:cubicBezTo>
                  <a:cubicBezTo>
                    <a:pt x="13" y="4"/>
                    <a:pt x="13" y="4"/>
                    <a:pt x="14" y="4"/>
                  </a:cubicBezTo>
                  <a:cubicBezTo>
                    <a:pt x="14" y="5"/>
                    <a:pt x="14" y="5"/>
                    <a:pt x="15" y="5"/>
                  </a:cubicBezTo>
                  <a:cubicBezTo>
                    <a:pt x="15" y="5"/>
                    <a:pt x="15" y="5"/>
                    <a:pt x="16" y="5"/>
                  </a:cubicBezTo>
                  <a:cubicBezTo>
                    <a:pt x="16" y="5"/>
                    <a:pt x="16" y="5"/>
                    <a:pt x="16" y="5"/>
                  </a:cubicBezTo>
                  <a:cubicBezTo>
                    <a:pt x="16" y="5"/>
                    <a:pt x="16" y="4"/>
                    <a:pt x="16" y="4"/>
                  </a:cubicBezTo>
                  <a:cubicBezTo>
                    <a:pt x="16" y="4"/>
                    <a:pt x="16" y="3"/>
                    <a:pt x="16" y="3"/>
                  </a:cubicBezTo>
                  <a:cubicBezTo>
                    <a:pt x="16" y="3"/>
                    <a:pt x="16" y="3"/>
                    <a:pt x="16" y="3"/>
                  </a:cubicBezTo>
                  <a:cubicBezTo>
                    <a:pt x="16" y="2"/>
                    <a:pt x="16" y="2"/>
                    <a:pt x="16" y="2"/>
                  </a:cubicBezTo>
                  <a:cubicBezTo>
                    <a:pt x="16" y="2"/>
                    <a:pt x="16" y="2"/>
                    <a:pt x="16" y="2"/>
                  </a:cubicBezTo>
                  <a:cubicBezTo>
                    <a:pt x="15" y="2"/>
                    <a:pt x="15" y="1"/>
                    <a:pt x="15" y="1"/>
                  </a:cubicBezTo>
                  <a:cubicBezTo>
                    <a:pt x="14" y="1"/>
                    <a:pt x="14" y="1"/>
                    <a:pt x="13" y="0"/>
                  </a:cubicBezTo>
                  <a:cubicBezTo>
                    <a:pt x="13" y="0"/>
                    <a:pt x="12" y="0"/>
                    <a:pt x="12" y="0"/>
                  </a:cubicBezTo>
                  <a:cubicBezTo>
                    <a:pt x="11" y="0"/>
                    <a:pt x="10" y="0"/>
                    <a:pt x="10" y="0"/>
                  </a:cubicBezTo>
                  <a:cubicBezTo>
                    <a:pt x="8" y="0"/>
                    <a:pt x="7" y="0"/>
                    <a:pt x="6" y="0"/>
                  </a:cubicBezTo>
                  <a:cubicBezTo>
                    <a:pt x="4" y="1"/>
                    <a:pt x="3" y="2"/>
                    <a:pt x="3" y="3"/>
                  </a:cubicBezTo>
                  <a:cubicBezTo>
                    <a:pt x="2" y="3"/>
                    <a:pt x="1" y="5"/>
                    <a:pt x="0" y="6"/>
                  </a:cubicBezTo>
                  <a:cubicBezTo>
                    <a:pt x="0" y="8"/>
                    <a:pt x="0" y="9"/>
                    <a:pt x="0" y="12"/>
                  </a:cubicBezTo>
                  <a:cubicBezTo>
                    <a:pt x="0" y="13"/>
                    <a:pt x="0" y="15"/>
                    <a:pt x="0" y="16"/>
                  </a:cubicBezTo>
                  <a:cubicBezTo>
                    <a:pt x="1" y="18"/>
                    <a:pt x="1" y="19"/>
                    <a:pt x="2" y="20"/>
                  </a:cubicBezTo>
                  <a:cubicBezTo>
                    <a:pt x="3" y="21"/>
                    <a:pt x="4" y="22"/>
                    <a:pt x="5" y="22"/>
                  </a:cubicBezTo>
                  <a:cubicBezTo>
                    <a:pt x="6" y="23"/>
                    <a:pt x="8" y="23"/>
                    <a:pt x="9" y="23"/>
                  </a:cubicBezTo>
                  <a:cubicBezTo>
                    <a:pt x="10" y="23"/>
                    <a:pt x="11" y="23"/>
                    <a:pt x="11" y="23"/>
                  </a:cubicBezTo>
                  <a:cubicBezTo>
                    <a:pt x="12" y="23"/>
                    <a:pt x="13" y="22"/>
                    <a:pt x="13" y="22"/>
                  </a:cubicBezTo>
                  <a:cubicBezTo>
                    <a:pt x="14" y="22"/>
                    <a:pt x="14" y="22"/>
                    <a:pt x="15" y="21"/>
                  </a:cubicBezTo>
                  <a:cubicBezTo>
                    <a:pt x="15" y="21"/>
                    <a:pt x="16" y="21"/>
                    <a:pt x="16" y="21"/>
                  </a:cubicBezTo>
                  <a:cubicBezTo>
                    <a:pt x="16" y="20"/>
                    <a:pt x="16" y="20"/>
                    <a:pt x="16" y="20"/>
                  </a:cubicBezTo>
                  <a:cubicBezTo>
                    <a:pt x="16" y="20"/>
                    <a:pt x="16" y="20"/>
                    <a:pt x="16" y="20"/>
                  </a:cubicBezTo>
                  <a:cubicBezTo>
                    <a:pt x="16" y="20"/>
                    <a:pt x="16" y="20"/>
                    <a:pt x="16" y="19"/>
                  </a:cubicBezTo>
                  <a:cubicBezTo>
                    <a:pt x="16" y="19"/>
                    <a:pt x="16" y="19"/>
                    <a:pt x="16" y="19"/>
                  </a:cubicBezTo>
                  <a:cubicBezTo>
                    <a:pt x="16" y="18"/>
                    <a:pt x="16" y="18"/>
                    <a:pt x="16" y="18"/>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6">
              <a:extLst>
                <a:ext uri="{FF2B5EF4-FFF2-40B4-BE49-F238E27FC236}">
                  <a16:creationId xmlns:a16="http://schemas.microsoft.com/office/drawing/2014/main" id="{7E81D3CC-F2A7-494E-9D28-6AFAD55919FA}"/>
                </a:ext>
              </a:extLst>
            </p:cNvPr>
            <p:cNvSpPr>
              <a:spLocks noEditPoints="1"/>
            </p:cNvSpPr>
            <p:nvPr/>
          </p:nvSpPr>
          <p:spPr bwMode="auto">
            <a:xfrm>
              <a:off x="6557795" y="5901426"/>
              <a:ext cx="64932" cy="77917"/>
            </a:xfrm>
            <a:custGeom>
              <a:avLst/>
              <a:gdLst>
                <a:gd name="T0" fmla="*/ 19 w 19"/>
                <a:gd name="T1" fmla="*/ 10 h 23"/>
                <a:gd name="T2" fmla="*/ 19 w 19"/>
                <a:gd name="T3" fmla="*/ 6 h 23"/>
                <a:gd name="T4" fmla="*/ 17 w 19"/>
                <a:gd name="T5" fmla="*/ 3 h 23"/>
                <a:gd name="T6" fmla="*/ 14 w 19"/>
                <a:gd name="T7" fmla="*/ 0 h 23"/>
                <a:gd name="T8" fmla="*/ 10 w 19"/>
                <a:gd name="T9" fmla="*/ 0 h 23"/>
                <a:gd name="T10" fmla="*/ 6 w 19"/>
                <a:gd name="T11" fmla="*/ 0 h 23"/>
                <a:gd name="T12" fmla="*/ 3 w 19"/>
                <a:gd name="T13" fmla="*/ 3 h 23"/>
                <a:gd name="T14" fmla="*/ 1 w 19"/>
                <a:gd name="T15" fmla="*/ 6 h 23"/>
                <a:gd name="T16" fmla="*/ 0 w 19"/>
                <a:gd name="T17" fmla="*/ 11 h 23"/>
                <a:gd name="T18" fmla="*/ 1 w 19"/>
                <a:gd name="T19" fmla="*/ 16 h 23"/>
                <a:gd name="T20" fmla="*/ 3 w 19"/>
                <a:gd name="T21" fmla="*/ 20 h 23"/>
                <a:gd name="T22" fmla="*/ 6 w 19"/>
                <a:gd name="T23" fmla="*/ 22 h 23"/>
                <a:gd name="T24" fmla="*/ 11 w 19"/>
                <a:gd name="T25" fmla="*/ 23 h 23"/>
                <a:gd name="T26" fmla="*/ 13 w 19"/>
                <a:gd name="T27" fmla="*/ 23 h 23"/>
                <a:gd name="T28" fmla="*/ 16 w 19"/>
                <a:gd name="T29" fmla="*/ 22 h 23"/>
                <a:gd name="T30" fmla="*/ 17 w 19"/>
                <a:gd name="T31" fmla="*/ 22 h 23"/>
                <a:gd name="T32" fmla="*/ 18 w 19"/>
                <a:gd name="T33" fmla="*/ 21 h 23"/>
                <a:gd name="T34" fmla="*/ 18 w 19"/>
                <a:gd name="T35" fmla="*/ 21 h 23"/>
                <a:gd name="T36" fmla="*/ 18 w 19"/>
                <a:gd name="T37" fmla="*/ 21 h 23"/>
                <a:gd name="T38" fmla="*/ 18 w 19"/>
                <a:gd name="T39" fmla="*/ 20 h 23"/>
                <a:gd name="T40" fmla="*/ 19 w 19"/>
                <a:gd name="T41" fmla="*/ 20 h 23"/>
                <a:gd name="T42" fmla="*/ 18 w 19"/>
                <a:gd name="T43" fmla="*/ 19 h 23"/>
                <a:gd name="T44" fmla="*/ 18 w 19"/>
                <a:gd name="T45" fmla="*/ 18 h 23"/>
                <a:gd name="T46" fmla="*/ 18 w 19"/>
                <a:gd name="T47" fmla="*/ 18 h 23"/>
                <a:gd name="T48" fmla="*/ 18 w 19"/>
                <a:gd name="T49" fmla="*/ 18 h 23"/>
                <a:gd name="T50" fmla="*/ 17 w 19"/>
                <a:gd name="T51" fmla="*/ 18 h 23"/>
                <a:gd name="T52" fmla="*/ 16 w 19"/>
                <a:gd name="T53" fmla="*/ 19 h 23"/>
                <a:gd name="T54" fmla="*/ 14 w 19"/>
                <a:gd name="T55" fmla="*/ 19 h 23"/>
                <a:gd name="T56" fmla="*/ 11 w 19"/>
                <a:gd name="T57" fmla="*/ 20 h 23"/>
                <a:gd name="T58" fmla="*/ 8 w 19"/>
                <a:gd name="T59" fmla="*/ 19 h 23"/>
                <a:gd name="T60" fmla="*/ 6 w 19"/>
                <a:gd name="T61" fmla="*/ 18 h 23"/>
                <a:gd name="T62" fmla="*/ 4 w 19"/>
                <a:gd name="T63" fmla="*/ 15 h 23"/>
                <a:gd name="T64" fmla="*/ 4 w 19"/>
                <a:gd name="T65" fmla="*/ 12 h 23"/>
                <a:gd name="T66" fmla="*/ 18 w 19"/>
                <a:gd name="T67" fmla="*/ 12 h 23"/>
                <a:gd name="T68" fmla="*/ 19 w 19"/>
                <a:gd name="T69" fmla="*/ 12 h 23"/>
                <a:gd name="T70" fmla="*/ 19 w 19"/>
                <a:gd name="T71" fmla="*/ 10 h 23"/>
                <a:gd name="T72" fmla="*/ 19 w 19"/>
                <a:gd name="T73" fmla="*/ 10 h 23"/>
                <a:gd name="T74" fmla="*/ 4 w 19"/>
                <a:gd name="T75" fmla="*/ 9 h 23"/>
                <a:gd name="T76" fmla="*/ 4 w 19"/>
                <a:gd name="T77" fmla="*/ 7 h 23"/>
                <a:gd name="T78" fmla="*/ 6 w 19"/>
                <a:gd name="T79" fmla="*/ 5 h 23"/>
                <a:gd name="T80" fmla="*/ 7 w 19"/>
                <a:gd name="T81" fmla="*/ 3 h 23"/>
                <a:gd name="T82" fmla="*/ 10 w 19"/>
                <a:gd name="T83" fmla="*/ 3 h 23"/>
                <a:gd name="T84" fmla="*/ 14 w 19"/>
                <a:gd name="T85" fmla="*/ 4 h 23"/>
                <a:gd name="T86" fmla="*/ 16 w 19"/>
                <a:gd name="T87" fmla="*/ 9 h 23"/>
                <a:gd name="T88" fmla="*/ 4 w 19"/>
                <a:gd name="T8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3">
                  <a:moveTo>
                    <a:pt x="19" y="10"/>
                  </a:moveTo>
                  <a:cubicBezTo>
                    <a:pt x="19" y="8"/>
                    <a:pt x="19" y="7"/>
                    <a:pt x="19" y="6"/>
                  </a:cubicBezTo>
                  <a:cubicBezTo>
                    <a:pt x="19" y="5"/>
                    <a:pt x="18" y="4"/>
                    <a:pt x="17" y="3"/>
                  </a:cubicBezTo>
                  <a:cubicBezTo>
                    <a:pt x="16" y="2"/>
                    <a:pt x="16" y="1"/>
                    <a:pt x="14" y="0"/>
                  </a:cubicBezTo>
                  <a:cubicBezTo>
                    <a:pt x="13" y="0"/>
                    <a:pt x="12" y="0"/>
                    <a:pt x="10" y="0"/>
                  </a:cubicBezTo>
                  <a:cubicBezTo>
                    <a:pt x="9" y="0"/>
                    <a:pt x="7" y="0"/>
                    <a:pt x="6" y="0"/>
                  </a:cubicBezTo>
                  <a:cubicBezTo>
                    <a:pt x="5" y="1"/>
                    <a:pt x="4" y="2"/>
                    <a:pt x="3" y="3"/>
                  </a:cubicBezTo>
                  <a:cubicBezTo>
                    <a:pt x="2" y="4"/>
                    <a:pt x="1" y="5"/>
                    <a:pt x="1" y="6"/>
                  </a:cubicBezTo>
                  <a:cubicBezTo>
                    <a:pt x="0" y="8"/>
                    <a:pt x="0" y="10"/>
                    <a:pt x="0" y="11"/>
                  </a:cubicBezTo>
                  <a:cubicBezTo>
                    <a:pt x="0" y="13"/>
                    <a:pt x="0" y="15"/>
                    <a:pt x="1" y="16"/>
                  </a:cubicBezTo>
                  <a:cubicBezTo>
                    <a:pt x="1" y="18"/>
                    <a:pt x="2" y="19"/>
                    <a:pt x="3" y="20"/>
                  </a:cubicBezTo>
                  <a:cubicBezTo>
                    <a:pt x="4" y="21"/>
                    <a:pt x="5" y="22"/>
                    <a:pt x="6" y="22"/>
                  </a:cubicBezTo>
                  <a:cubicBezTo>
                    <a:pt x="7" y="23"/>
                    <a:pt x="9" y="23"/>
                    <a:pt x="11" y="23"/>
                  </a:cubicBezTo>
                  <a:cubicBezTo>
                    <a:pt x="12" y="23"/>
                    <a:pt x="12" y="23"/>
                    <a:pt x="13" y="23"/>
                  </a:cubicBezTo>
                  <a:cubicBezTo>
                    <a:pt x="14" y="22"/>
                    <a:pt x="15" y="22"/>
                    <a:pt x="16" y="22"/>
                  </a:cubicBezTo>
                  <a:cubicBezTo>
                    <a:pt x="16" y="22"/>
                    <a:pt x="17" y="22"/>
                    <a:pt x="17" y="22"/>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9" y="20"/>
                    <a:pt x="19" y="20"/>
                  </a:cubicBezTo>
                  <a:cubicBezTo>
                    <a:pt x="19" y="19"/>
                    <a:pt x="18" y="19"/>
                    <a:pt x="18" y="19"/>
                  </a:cubicBezTo>
                  <a:cubicBezTo>
                    <a:pt x="18" y="19"/>
                    <a:pt x="18" y="19"/>
                    <a:pt x="18" y="18"/>
                  </a:cubicBezTo>
                  <a:cubicBezTo>
                    <a:pt x="18" y="18"/>
                    <a:pt x="18" y="18"/>
                    <a:pt x="18" y="18"/>
                  </a:cubicBezTo>
                  <a:cubicBezTo>
                    <a:pt x="18" y="18"/>
                    <a:pt x="18" y="18"/>
                    <a:pt x="18" y="18"/>
                  </a:cubicBezTo>
                  <a:cubicBezTo>
                    <a:pt x="18" y="18"/>
                    <a:pt x="17" y="18"/>
                    <a:pt x="17" y="18"/>
                  </a:cubicBezTo>
                  <a:cubicBezTo>
                    <a:pt x="17" y="19"/>
                    <a:pt x="16" y="19"/>
                    <a:pt x="16" y="19"/>
                  </a:cubicBezTo>
                  <a:cubicBezTo>
                    <a:pt x="15" y="19"/>
                    <a:pt x="14" y="19"/>
                    <a:pt x="14" y="19"/>
                  </a:cubicBezTo>
                  <a:cubicBezTo>
                    <a:pt x="13" y="20"/>
                    <a:pt x="12" y="20"/>
                    <a:pt x="11" y="20"/>
                  </a:cubicBezTo>
                  <a:cubicBezTo>
                    <a:pt x="10" y="20"/>
                    <a:pt x="9" y="20"/>
                    <a:pt x="8" y="19"/>
                  </a:cubicBezTo>
                  <a:cubicBezTo>
                    <a:pt x="7" y="19"/>
                    <a:pt x="6" y="18"/>
                    <a:pt x="6" y="18"/>
                  </a:cubicBezTo>
                  <a:cubicBezTo>
                    <a:pt x="5" y="17"/>
                    <a:pt x="5" y="16"/>
                    <a:pt x="4" y="15"/>
                  </a:cubicBezTo>
                  <a:cubicBezTo>
                    <a:pt x="4" y="14"/>
                    <a:pt x="4" y="13"/>
                    <a:pt x="4" y="12"/>
                  </a:cubicBezTo>
                  <a:cubicBezTo>
                    <a:pt x="18" y="12"/>
                    <a:pt x="18" y="12"/>
                    <a:pt x="18" y="12"/>
                  </a:cubicBezTo>
                  <a:cubicBezTo>
                    <a:pt x="18" y="12"/>
                    <a:pt x="19" y="12"/>
                    <a:pt x="19" y="12"/>
                  </a:cubicBezTo>
                  <a:cubicBezTo>
                    <a:pt x="19" y="11"/>
                    <a:pt x="19" y="11"/>
                    <a:pt x="19" y="10"/>
                  </a:cubicBezTo>
                  <a:cubicBezTo>
                    <a:pt x="19" y="10"/>
                    <a:pt x="19" y="10"/>
                    <a:pt x="19" y="10"/>
                  </a:cubicBezTo>
                  <a:close/>
                  <a:moveTo>
                    <a:pt x="4" y="9"/>
                  </a:moveTo>
                  <a:cubicBezTo>
                    <a:pt x="4" y="8"/>
                    <a:pt x="4" y="8"/>
                    <a:pt x="4" y="7"/>
                  </a:cubicBezTo>
                  <a:cubicBezTo>
                    <a:pt x="5" y="6"/>
                    <a:pt x="5" y="5"/>
                    <a:pt x="6" y="5"/>
                  </a:cubicBezTo>
                  <a:cubicBezTo>
                    <a:pt x="6" y="4"/>
                    <a:pt x="7" y="4"/>
                    <a:pt x="7" y="3"/>
                  </a:cubicBezTo>
                  <a:cubicBezTo>
                    <a:pt x="8" y="3"/>
                    <a:pt x="9" y="3"/>
                    <a:pt x="10" y="3"/>
                  </a:cubicBezTo>
                  <a:cubicBezTo>
                    <a:pt x="12" y="3"/>
                    <a:pt x="13" y="3"/>
                    <a:pt x="14" y="4"/>
                  </a:cubicBezTo>
                  <a:cubicBezTo>
                    <a:pt x="15" y="6"/>
                    <a:pt x="16" y="7"/>
                    <a:pt x="16" y="9"/>
                  </a:cubicBezTo>
                  <a:cubicBezTo>
                    <a:pt x="4" y="9"/>
                    <a:pt x="4" y="9"/>
                    <a:pt x="4" y="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7">
              <a:extLst>
                <a:ext uri="{FF2B5EF4-FFF2-40B4-BE49-F238E27FC236}">
                  <a16:creationId xmlns:a16="http://schemas.microsoft.com/office/drawing/2014/main" id="{9A89C5DF-90F6-4FAF-83B7-9212F1C11D71}"/>
                </a:ext>
              </a:extLst>
            </p:cNvPr>
            <p:cNvSpPr>
              <a:spLocks/>
            </p:cNvSpPr>
            <p:nvPr/>
          </p:nvSpPr>
          <p:spPr bwMode="auto">
            <a:xfrm>
              <a:off x="6640041" y="5901426"/>
              <a:ext cx="50502" cy="77917"/>
            </a:xfrm>
            <a:custGeom>
              <a:avLst/>
              <a:gdLst>
                <a:gd name="T0" fmla="*/ 14 w 15"/>
                <a:gd name="T1" fmla="*/ 14 h 23"/>
                <a:gd name="T2" fmla="*/ 13 w 15"/>
                <a:gd name="T3" fmla="*/ 12 h 23"/>
                <a:gd name="T4" fmla="*/ 11 w 15"/>
                <a:gd name="T5" fmla="*/ 11 h 23"/>
                <a:gd name="T6" fmla="*/ 9 w 15"/>
                <a:gd name="T7" fmla="*/ 10 h 23"/>
                <a:gd name="T8" fmla="*/ 7 w 15"/>
                <a:gd name="T9" fmla="*/ 9 h 23"/>
                <a:gd name="T10" fmla="*/ 6 w 15"/>
                <a:gd name="T11" fmla="*/ 8 h 23"/>
                <a:gd name="T12" fmla="*/ 4 w 15"/>
                <a:gd name="T13" fmla="*/ 7 h 23"/>
                <a:gd name="T14" fmla="*/ 4 w 15"/>
                <a:gd name="T15" fmla="*/ 6 h 23"/>
                <a:gd name="T16" fmla="*/ 4 w 15"/>
                <a:gd name="T17" fmla="*/ 5 h 23"/>
                <a:gd name="T18" fmla="*/ 5 w 15"/>
                <a:gd name="T19" fmla="*/ 4 h 23"/>
                <a:gd name="T20" fmla="*/ 6 w 15"/>
                <a:gd name="T21" fmla="*/ 3 h 23"/>
                <a:gd name="T22" fmla="*/ 8 w 15"/>
                <a:gd name="T23" fmla="*/ 3 h 23"/>
                <a:gd name="T24" fmla="*/ 10 w 15"/>
                <a:gd name="T25" fmla="*/ 3 h 23"/>
                <a:gd name="T26" fmla="*/ 11 w 15"/>
                <a:gd name="T27" fmla="*/ 3 h 23"/>
                <a:gd name="T28" fmla="*/ 12 w 15"/>
                <a:gd name="T29" fmla="*/ 4 h 23"/>
                <a:gd name="T30" fmla="*/ 13 w 15"/>
                <a:gd name="T31" fmla="*/ 4 h 23"/>
                <a:gd name="T32" fmla="*/ 13 w 15"/>
                <a:gd name="T33" fmla="*/ 4 h 23"/>
                <a:gd name="T34" fmla="*/ 13 w 15"/>
                <a:gd name="T35" fmla="*/ 4 h 23"/>
                <a:gd name="T36" fmla="*/ 13 w 15"/>
                <a:gd name="T37" fmla="*/ 3 h 23"/>
                <a:gd name="T38" fmla="*/ 14 w 15"/>
                <a:gd name="T39" fmla="*/ 3 h 23"/>
                <a:gd name="T40" fmla="*/ 13 w 15"/>
                <a:gd name="T41" fmla="*/ 2 h 23"/>
                <a:gd name="T42" fmla="*/ 13 w 15"/>
                <a:gd name="T43" fmla="*/ 2 h 23"/>
                <a:gd name="T44" fmla="*/ 13 w 15"/>
                <a:gd name="T45" fmla="*/ 1 h 23"/>
                <a:gd name="T46" fmla="*/ 13 w 15"/>
                <a:gd name="T47" fmla="*/ 1 h 23"/>
                <a:gd name="T48" fmla="*/ 12 w 15"/>
                <a:gd name="T49" fmla="*/ 1 h 23"/>
                <a:gd name="T50" fmla="*/ 11 w 15"/>
                <a:gd name="T51" fmla="*/ 0 h 23"/>
                <a:gd name="T52" fmla="*/ 10 w 15"/>
                <a:gd name="T53" fmla="*/ 0 h 23"/>
                <a:gd name="T54" fmla="*/ 8 w 15"/>
                <a:gd name="T55" fmla="*/ 0 h 23"/>
                <a:gd name="T56" fmla="*/ 5 w 15"/>
                <a:gd name="T57" fmla="*/ 0 h 23"/>
                <a:gd name="T58" fmla="*/ 2 w 15"/>
                <a:gd name="T59" fmla="*/ 2 h 23"/>
                <a:gd name="T60" fmla="*/ 1 w 15"/>
                <a:gd name="T61" fmla="*/ 4 h 23"/>
                <a:gd name="T62" fmla="*/ 0 w 15"/>
                <a:gd name="T63" fmla="*/ 6 h 23"/>
                <a:gd name="T64" fmla="*/ 1 w 15"/>
                <a:gd name="T65" fmla="*/ 8 h 23"/>
                <a:gd name="T66" fmla="*/ 2 w 15"/>
                <a:gd name="T67" fmla="*/ 10 h 23"/>
                <a:gd name="T68" fmla="*/ 4 w 15"/>
                <a:gd name="T69" fmla="*/ 11 h 23"/>
                <a:gd name="T70" fmla="*/ 6 w 15"/>
                <a:gd name="T71" fmla="*/ 12 h 23"/>
                <a:gd name="T72" fmla="*/ 7 w 15"/>
                <a:gd name="T73" fmla="*/ 13 h 23"/>
                <a:gd name="T74" fmla="*/ 9 w 15"/>
                <a:gd name="T75" fmla="*/ 14 h 23"/>
                <a:gd name="T76" fmla="*/ 10 w 15"/>
                <a:gd name="T77" fmla="*/ 15 h 23"/>
                <a:gd name="T78" fmla="*/ 11 w 15"/>
                <a:gd name="T79" fmla="*/ 16 h 23"/>
                <a:gd name="T80" fmla="*/ 10 w 15"/>
                <a:gd name="T81" fmla="*/ 18 h 23"/>
                <a:gd name="T82" fmla="*/ 10 w 15"/>
                <a:gd name="T83" fmla="*/ 19 h 23"/>
                <a:gd name="T84" fmla="*/ 8 w 15"/>
                <a:gd name="T85" fmla="*/ 20 h 23"/>
                <a:gd name="T86" fmla="*/ 6 w 15"/>
                <a:gd name="T87" fmla="*/ 20 h 23"/>
                <a:gd name="T88" fmla="*/ 4 w 15"/>
                <a:gd name="T89" fmla="*/ 19 h 23"/>
                <a:gd name="T90" fmla="*/ 2 w 15"/>
                <a:gd name="T91" fmla="*/ 19 h 23"/>
                <a:gd name="T92" fmla="*/ 1 w 15"/>
                <a:gd name="T93" fmla="*/ 18 h 23"/>
                <a:gd name="T94" fmla="*/ 0 w 15"/>
                <a:gd name="T95" fmla="*/ 18 h 23"/>
                <a:gd name="T96" fmla="*/ 0 w 15"/>
                <a:gd name="T97" fmla="*/ 18 h 23"/>
                <a:gd name="T98" fmla="*/ 0 w 15"/>
                <a:gd name="T99" fmla="*/ 18 h 23"/>
                <a:gd name="T100" fmla="*/ 0 w 15"/>
                <a:gd name="T101" fmla="*/ 19 h 23"/>
                <a:gd name="T102" fmla="*/ 0 w 15"/>
                <a:gd name="T103" fmla="*/ 19 h 23"/>
                <a:gd name="T104" fmla="*/ 0 w 15"/>
                <a:gd name="T105" fmla="*/ 20 h 23"/>
                <a:gd name="T106" fmla="*/ 0 w 15"/>
                <a:gd name="T107" fmla="*/ 21 h 23"/>
                <a:gd name="T108" fmla="*/ 1 w 15"/>
                <a:gd name="T109" fmla="*/ 22 h 23"/>
                <a:gd name="T110" fmla="*/ 2 w 15"/>
                <a:gd name="T111" fmla="*/ 22 h 23"/>
                <a:gd name="T112" fmla="*/ 4 w 15"/>
                <a:gd name="T113" fmla="*/ 23 h 23"/>
                <a:gd name="T114" fmla="*/ 6 w 15"/>
                <a:gd name="T115" fmla="*/ 23 h 23"/>
                <a:gd name="T116" fmla="*/ 10 w 15"/>
                <a:gd name="T117" fmla="*/ 22 h 23"/>
                <a:gd name="T118" fmla="*/ 12 w 15"/>
                <a:gd name="T119" fmla="*/ 21 h 23"/>
                <a:gd name="T120" fmla="*/ 14 w 15"/>
                <a:gd name="T121" fmla="*/ 19 h 23"/>
                <a:gd name="T122" fmla="*/ 15 w 15"/>
                <a:gd name="T123" fmla="*/ 16 h 23"/>
                <a:gd name="T124" fmla="*/ 14 w 15"/>
                <a:gd name="T1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3">
                  <a:moveTo>
                    <a:pt x="14" y="14"/>
                  </a:moveTo>
                  <a:cubicBezTo>
                    <a:pt x="14" y="13"/>
                    <a:pt x="13" y="13"/>
                    <a:pt x="13" y="12"/>
                  </a:cubicBezTo>
                  <a:cubicBezTo>
                    <a:pt x="12" y="12"/>
                    <a:pt x="12" y="11"/>
                    <a:pt x="11" y="11"/>
                  </a:cubicBezTo>
                  <a:cubicBezTo>
                    <a:pt x="11" y="11"/>
                    <a:pt x="10" y="10"/>
                    <a:pt x="9" y="10"/>
                  </a:cubicBezTo>
                  <a:cubicBezTo>
                    <a:pt x="9" y="10"/>
                    <a:pt x="8" y="9"/>
                    <a:pt x="7" y="9"/>
                  </a:cubicBezTo>
                  <a:cubicBezTo>
                    <a:pt x="7" y="9"/>
                    <a:pt x="6" y="9"/>
                    <a:pt x="6" y="8"/>
                  </a:cubicBezTo>
                  <a:cubicBezTo>
                    <a:pt x="5" y="8"/>
                    <a:pt x="5" y="8"/>
                    <a:pt x="4" y="7"/>
                  </a:cubicBezTo>
                  <a:cubicBezTo>
                    <a:pt x="4" y="7"/>
                    <a:pt x="4" y="6"/>
                    <a:pt x="4" y="6"/>
                  </a:cubicBezTo>
                  <a:cubicBezTo>
                    <a:pt x="4" y="5"/>
                    <a:pt x="4" y="5"/>
                    <a:pt x="4" y="5"/>
                  </a:cubicBezTo>
                  <a:cubicBezTo>
                    <a:pt x="4" y="4"/>
                    <a:pt x="5" y="4"/>
                    <a:pt x="5" y="4"/>
                  </a:cubicBezTo>
                  <a:cubicBezTo>
                    <a:pt x="5" y="3"/>
                    <a:pt x="6" y="3"/>
                    <a:pt x="6" y="3"/>
                  </a:cubicBezTo>
                  <a:cubicBezTo>
                    <a:pt x="7" y="3"/>
                    <a:pt x="7" y="3"/>
                    <a:pt x="8" y="3"/>
                  </a:cubicBezTo>
                  <a:cubicBezTo>
                    <a:pt x="9" y="3"/>
                    <a:pt x="9" y="3"/>
                    <a:pt x="10" y="3"/>
                  </a:cubicBezTo>
                  <a:cubicBezTo>
                    <a:pt x="10" y="3"/>
                    <a:pt x="11" y="3"/>
                    <a:pt x="11" y="3"/>
                  </a:cubicBezTo>
                  <a:cubicBezTo>
                    <a:pt x="12" y="4"/>
                    <a:pt x="12" y="4"/>
                    <a:pt x="12" y="4"/>
                  </a:cubicBezTo>
                  <a:cubicBezTo>
                    <a:pt x="13" y="4"/>
                    <a:pt x="13" y="4"/>
                    <a:pt x="13" y="4"/>
                  </a:cubicBezTo>
                  <a:cubicBezTo>
                    <a:pt x="13" y="4"/>
                    <a:pt x="13" y="4"/>
                    <a:pt x="13" y="4"/>
                  </a:cubicBezTo>
                  <a:cubicBezTo>
                    <a:pt x="13" y="4"/>
                    <a:pt x="13" y="4"/>
                    <a:pt x="13" y="4"/>
                  </a:cubicBezTo>
                  <a:cubicBezTo>
                    <a:pt x="13" y="4"/>
                    <a:pt x="13" y="4"/>
                    <a:pt x="13" y="3"/>
                  </a:cubicBezTo>
                  <a:cubicBezTo>
                    <a:pt x="14" y="3"/>
                    <a:pt x="14" y="3"/>
                    <a:pt x="14" y="3"/>
                  </a:cubicBezTo>
                  <a:cubicBezTo>
                    <a:pt x="14" y="3"/>
                    <a:pt x="14" y="2"/>
                    <a:pt x="13" y="2"/>
                  </a:cubicBezTo>
                  <a:cubicBezTo>
                    <a:pt x="13" y="2"/>
                    <a:pt x="13" y="2"/>
                    <a:pt x="13" y="2"/>
                  </a:cubicBezTo>
                  <a:cubicBezTo>
                    <a:pt x="13" y="2"/>
                    <a:pt x="13" y="1"/>
                    <a:pt x="13" y="1"/>
                  </a:cubicBezTo>
                  <a:cubicBezTo>
                    <a:pt x="13" y="1"/>
                    <a:pt x="13" y="1"/>
                    <a:pt x="13" y="1"/>
                  </a:cubicBezTo>
                  <a:cubicBezTo>
                    <a:pt x="13" y="1"/>
                    <a:pt x="13" y="1"/>
                    <a:pt x="12" y="1"/>
                  </a:cubicBezTo>
                  <a:cubicBezTo>
                    <a:pt x="12" y="0"/>
                    <a:pt x="12" y="0"/>
                    <a:pt x="11" y="0"/>
                  </a:cubicBezTo>
                  <a:cubicBezTo>
                    <a:pt x="11" y="0"/>
                    <a:pt x="10" y="0"/>
                    <a:pt x="10" y="0"/>
                  </a:cubicBezTo>
                  <a:cubicBezTo>
                    <a:pt x="9" y="0"/>
                    <a:pt x="8" y="0"/>
                    <a:pt x="8" y="0"/>
                  </a:cubicBezTo>
                  <a:cubicBezTo>
                    <a:pt x="7" y="0"/>
                    <a:pt x="5" y="0"/>
                    <a:pt x="5" y="0"/>
                  </a:cubicBezTo>
                  <a:cubicBezTo>
                    <a:pt x="4" y="1"/>
                    <a:pt x="3" y="1"/>
                    <a:pt x="2" y="2"/>
                  </a:cubicBezTo>
                  <a:cubicBezTo>
                    <a:pt x="1" y="2"/>
                    <a:pt x="1" y="3"/>
                    <a:pt x="1" y="4"/>
                  </a:cubicBezTo>
                  <a:cubicBezTo>
                    <a:pt x="0" y="4"/>
                    <a:pt x="0" y="5"/>
                    <a:pt x="0" y="6"/>
                  </a:cubicBezTo>
                  <a:cubicBezTo>
                    <a:pt x="0" y="7"/>
                    <a:pt x="0" y="8"/>
                    <a:pt x="1" y="8"/>
                  </a:cubicBezTo>
                  <a:cubicBezTo>
                    <a:pt x="1" y="9"/>
                    <a:pt x="1" y="10"/>
                    <a:pt x="2" y="10"/>
                  </a:cubicBezTo>
                  <a:cubicBezTo>
                    <a:pt x="2" y="11"/>
                    <a:pt x="3" y="11"/>
                    <a:pt x="4" y="11"/>
                  </a:cubicBezTo>
                  <a:cubicBezTo>
                    <a:pt x="4" y="12"/>
                    <a:pt x="5" y="12"/>
                    <a:pt x="6" y="12"/>
                  </a:cubicBezTo>
                  <a:cubicBezTo>
                    <a:pt x="6" y="12"/>
                    <a:pt x="7" y="13"/>
                    <a:pt x="7" y="13"/>
                  </a:cubicBezTo>
                  <a:cubicBezTo>
                    <a:pt x="8" y="13"/>
                    <a:pt x="9" y="14"/>
                    <a:pt x="9" y="14"/>
                  </a:cubicBezTo>
                  <a:cubicBezTo>
                    <a:pt x="10" y="14"/>
                    <a:pt x="10" y="14"/>
                    <a:pt x="10" y="15"/>
                  </a:cubicBezTo>
                  <a:cubicBezTo>
                    <a:pt x="11" y="15"/>
                    <a:pt x="11" y="16"/>
                    <a:pt x="11" y="16"/>
                  </a:cubicBezTo>
                  <a:cubicBezTo>
                    <a:pt x="11" y="17"/>
                    <a:pt x="11" y="17"/>
                    <a:pt x="10" y="18"/>
                  </a:cubicBezTo>
                  <a:cubicBezTo>
                    <a:pt x="10" y="18"/>
                    <a:pt x="10" y="19"/>
                    <a:pt x="10" y="19"/>
                  </a:cubicBezTo>
                  <a:cubicBezTo>
                    <a:pt x="9" y="19"/>
                    <a:pt x="9" y="19"/>
                    <a:pt x="8" y="20"/>
                  </a:cubicBezTo>
                  <a:cubicBezTo>
                    <a:pt x="8" y="20"/>
                    <a:pt x="7" y="20"/>
                    <a:pt x="6" y="20"/>
                  </a:cubicBezTo>
                  <a:cubicBezTo>
                    <a:pt x="6" y="20"/>
                    <a:pt x="5" y="20"/>
                    <a:pt x="4" y="19"/>
                  </a:cubicBezTo>
                  <a:cubicBezTo>
                    <a:pt x="3" y="19"/>
                    <a:pt x="3" y="19"/>
                    <a:pt x="2" y="19"/>
                  </a:cubicBezTo>
                  <a:cubicBezTo>
                    <a:pt x="2" y="19"/>
                    <a:pt x="1" y="18"/>
                    <a:pt x="1" y="18"/>
                  </a:cubicBezTo>
                  <a:cubicBezTo>
                    <a:pt x="1" y="18"/>
                    <a:pt x="1" y="18"/>
                    <a:pt x="0" y="18"/>
                  </a:cubicBezTo>
                  <a:cubicBezTo>
                    <a:pt x="0" y="18"/>
                    <a:pt x="0" y="18"/>
                    <a:pt x="0" y="18"/>
                  </a:cubicBezTo>
                  <a:cubicBezTo>
                    <a:pt x="0" y="18"/>
                    <a:pt x="0" y="18"/>
                    <a:pt x="0" y="18"/>
                  </a:cubicBezTo>
                  <a:cubicBezTo>
                    <a:pt x="0" y="18"/>
                    <a:pt x="0" y="18"/>
                    <a:pt x="0" y="19"/>
                  </a:cubicBezTo>
                  <a:cubicBezTo>
                    <a:pt x="0" y="19"/>
                    <a:pt x="0" y="19"/>
                    <a:pt x="0" y="19"/>
                  </a:cubicBezTo>
                  <a:cubicBezTo>
                    <a:pt x="0" y="20"/>
                    <a:pt x="0" y="20"/>
                    <a:pt x="0" y="20"/>
                  </a:cubicBezTo>
                  <a:cubicBezTo>
                    <a:pt x="0" y="21"/>
                    <a:pt x="0" y="21"/>
                    <a:pt x="0" y="21"/>
                  </a:cubicBezTo>
                  <a:cubicBezTo>
                    <a:pt x="0" y="21"/>
                    <a:pt x="1" y="21"/>
                    <a:pt x="1" y="22"/>
                  </a:cubicBezTo>
                  <a:cubicBezTo>
                    <a:pt x="1" y="22"/>
                    <a:pt x="2" y="22"/>
                    <a:pt x="2" y="22"/>
                  </a:cubicBezTo>
                  <a:cubicBezTo>
                    <a:pt x="3" y="22"/>
                    <a:pt x="4" y="23"/>
                    <a:pt x="4" y="23"/>
                  </a:cubicBezTo>
                  <a:cubicBezTo>
                    <a:pt x="5" y="23"/>
                    <a:pt x="6" y="23"/>
                    <a:pt x="6" y="23"/>
                  </a:cubicBezTo>
                  <a:cubicBezTo>
                    <a:pt x="8" y="23"/>
                    <a:pt x="9" y="23"/>
                    <a:pt x="10" y="22"/>
                  </a:cubicBezTo>
                  <a:cubicBezTo>
                    <a:pt x="11" y="22"/>
                    <a:pt x="12" y="22"/>
                    <a:pt x="12" y="21"/>
                  </a:cubicBezTo>
                  <a:cubicBezTo>
                    <a:pt x="13" y="21"/>
                    <a:pt x="14" y="20"/>
                    <a:pt x="14" y="19"/>
                  </a:cubicBezTo>
                  <a:cubicBezTo>
                    <a:pt x="14" y="18"/>
                    <a:pt x="15" y="17"/>
                    <a:pt x="15" y="16"/>
                  </a:cubicBezTo>
                  <a:cubicBezTo>
                    <a:pt x="15" y="15"/>
                    <a:pt x="14" y="14"/>
                    <a:pt x="14"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8">
              <a:extLst>
                <a:ext uri="{FF2B5EF4-FFF2-40B4-BE49-F238E27FC236}">
                  <a16:creationId xmlns:a16="http://schemas.microsoft.com/office/drawing/2014/main" id="{757DFF38-28E3-4BC0-9DCA-9C798A638CF1}"/>
                </a:ext>
              </a:extLst>
            </p:cNvPr>
            <p:cNvSpPr>
              <a:spLocks/>
            </p:cNvSpPr>
            <p:nvPr/>
          </p:nvSpPr>
          <p:spPr bwMode="auto">
            <a:xfrm>
              <a:off x="4720965" y="6188566"/>
              <a:ext cx="2452954" cy="328984"/>
            </a:xfrm>
            <a:custGeom>
              <a:avLst/>
              <a:gdLst>
                <a:gd name="T0" fmla="*/ 3 w 716"/>
                <a:gd name="T1" fmla="*/ 18 h 96"/>
                <a:gd name="T2" fmla="*/ 6 w 716"/>
                <a:gd name="T3" fmla="*/ 18 h 96"/>
                <a:gd name="T4" fmla="*/ 18 w 716"/>
                <a:gd name="T5" fmla="*/ 6 h 96"/>
                <a:gd name="T6" fmla="*/ 698 w 716"/>
                <a:gd name="T7" fmla="*/ 6 h 96"/>
                <a:gd name="T8" fmla="*/ 710 w 716"/>
                <a:gd name="T9" fmla="*/ 18 h 96"/>
                <a:gd name="T10" fmla="*/ 710 w 716"/>
                <a:gd name="T11" fmla="*/ 78 h 96"/>
                <a:gd name="T12" fmla="*/ 698 w 716"/>
                <a:gd name="T13" fmla="*/ 90 h 96"/>
                <a:gd name="T14" fmla="*/ 18 w 716"/>
                <a:gd name="T15" fmla="*/ 90 h 96"/>
                <a:gd name="T16" fmla="*/ 6 w 716"/>
                <a:gd name="T17" fmla="*/ 78 h 96"/>
                <a:gd name="T18" fmla="*/ 6 w 716"/>
                <a:gd name="T19" fmla="*/ 18 h 96"/>
                <a:gd name="T20" fmla="*/ 3 w 716"/>
                <a:gd name="T21" fmla="*/ 18 h 96"/>
                <a:gd name="T22" fmla="*/ 0 w 716"/>
                <a:gd name="T23" fmla="*/ 18 h 96"/>
                <a:gd name="T24" fmla="*/ 0 w 716"/>
                <a:gd name="T25" fmla="*/ 78 h 96"/>
                <a:gd name="T26" fmla="*/ 18 w 716"/>
                <a:gd name="T27" fmla="*/ 96 h 96"/>
                <a:gd name="T28" fmla="*/ 698 w 716"/>
                <a:gd name="T29" fmla="*/ 96 h 96"/>
                <a:gd name="T30" fmla="*/ 716 w 716"/>
                <a:gd name="T31" fmla="*/ 78 h 96"/>
                <a:gd name="T32" fmla="*/ 716 w 716"/>
                <a:gd name="T33" fmla="*/ 18 h 96"/>
                <a:gd name="T34" fmla="*/ 698 w 716"/>
                <a:gd name="T35" fmla="*/ 0 h 96"/>
                <a:gd name="T36" fmla="*/ 18 w 716"/>
                <a:gd name="T37" fmla="*/ 0 h 96"/>
                <a:gd name="T38" fmla="*/ 0 w 716"/>
                <a:gd name="T39" fmla="*/ 18 h 96"/>
                <a:gd name="T40" fmla="*/ 3 w 716"/>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6" h="96">
                  <a:moveTo>
                    <a:pt x="3" y="18"/>
                  </a:moveTo>
                  <a:cubicBezTo>
                    <a:pt x="6" y="18"/>
                    <a:pt x="6" y="18"/>
                    <a:pt x="6" y="18"/>
                  </a:cubicBezTo>
                  <a:cubicBezTo>
                    <a:pt x="6" y="11"/>
                    <a:pt x="11" y="6"/>
                    <a:pt x="18" y="6"/>
                  </a:cubicBezTo>
                  <a:cubicBezTo>
                    <a:pt x="698" y="6"/>
                    <a:pt x="698" y="6"/>
                    <a:pt x="698" y="6"/>
                  </a:cubicBezTo>
                  <a:cubicBezTo>
                    <a:pt x="705" y="6"/>
                    <a:pt x="710" y="11"/>
                    <a:pt x="710" y="18"/>
                  </a:cubicBezTo>
                  <a:cubicBezTo>
                    <a:pt x="710" y="78"/>
                    <a:pt x="710" y="78"/>
                    <a:pt x="710" y="78"/>
                  </a:cubicBezTo>
                  <a:cubicBezTo>
                    <a:pt x="710" y="84"/>
                    <a:pt x="705" y="90"/>
                    <a:pt x="698" y="90"/>
                  </a:cubicBezTo>
                  <a:cubicBezTo>
                    <a:pt x="18" y="90"/>
                    <a:pt x="18" y="90"/>
                    <a:pt x="18" y="90"/>
                  </a:cubicBezTo>
                  <a:cubicBezTo>
                    <a:pt x="11"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698" y="96"/>
                    <a:pt x="698" y="96"/>
                    <a:pt x="698" y="96"/>
                  </a:cubicBezTo>
                  <a:cubicBezTo>
                    <a:pt x="708" y="96"/>
                    <a:pt x="716" y="88"/>
                    <a:pt x="716" y="78"/>
                  </a:cubicBezTo>
                  <a:cubicBezTo>
                    <a:pt x="716" y="18"/>
                    <a:pt x="716" y="18"/>
                    <a:pt x="716" y="18"/>
                  </a:cubicBezTo>
                  <a:cubicBezTo>
                    <a:pt x="716" y="8"/>
                    <a:pt x="708" y="0"/>
                    <a:pt x="698" y="0"/>
                  </a:cubicBezTo>
                  <a:cubicBezTo>
                    <a:pt x="18" y="0"/>
                    <a:pt x="18" y="0"/>
                    <a:pt x="18" y="0"/>
                  </a:cubicBezTo>
                  <a:cubicBezTo>
                    <a:pt x="8" y="0"/>
                    <a:pt x="0" y="8"/>
                    <a:pt x="0" y="18"/>
                  </a:cubicBezTo>
                  <a:lnTo>
                    <a:pt x="3" y="18"/>
                  </a:ln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9">
              <a:extLst>
                <a:ext uri="{FF2B5EF4-FFF2-40B4-BE49-F238E27FC236}">
                  <a16:creationId xmlns:a16="http://schemas.microsoft.com/office/drawing/2014/main" id="{901B9CA4-EDD8-4F9B-B7D5-EEE6422BAB1A}"/>
                </a:ext>
              </a:extLst>
            </p:cNvPr>
            <p:cNvSpPr>
              <a:spLocks/>
            </p:cNvSpPr>
            <p:nvPr/>
          </p:nvSpPr>
          <p:spPr bwMode="auto">
            <a:xfrm>
              <a:off x="5383263" y="6292456"/>
              <a:ext cx="77917" cy="102447"/>
            </a:xfrm>
            <a:custGeom>
              <a:avLst/>
              <a:gdLst>
                <a:gd name="T0" fmla="*/ 23 w 23"/>
                <a:gd name="T1" fmla="*/ 0 h 30"/>
                <a:gd name="T2" fmla="*/ 23 w 23"/>
                <a:gd name="T3" fmla="*/ 0 h 30"/>
                <a:gd name="T4" fmla="*/ 22 w 23"/>
                <a:gd name="T5" fmla="*/ 0 h 30"/>
                <a:gd name="T6" fmla="*/ 22 w 23"/>
                <a:gd name="T7" fmla="*/ 0 h 30"/>
                <a:gd name="T8" fmla="*/ 21 w 23"/>
                <a:gd name="T9" fmla="*/ 0 h 30"/>
                <a:gd name="T10" fmla="*/ 20 w 23"/>
                <a:gd name="T11" fmla="*/ 0 h 30"/>
                <a:gd name="T12" fmla="*/ 19 w 23"/>
                <a:gd name="T13" fmla="*/ 0 h 30"/>
                <a:gd name="T14" fmla="*/ 19 w 23"/>
                <a:gd name="T15" fmla="*/ 0 h 30"/>
                <a:gd name="T16" fmla="*/ 19 w 23"/>
                <a:gd name="T17" fmla="*/ 0 h 30"/>
                <a:gd name="T18" fmla="*/ 19 w 23"/>
                <a:gd name="T19" fmla="*/ 17 h 30"/>
                <a:gd name="T20" fmla="*/ 19 w 23"/>
                <a:gd name="T21" fmla="*/ 21 h 30"/>
                <a:gd name="T22" fmla="*/ 19 w 23"/>
                <a:gd name="T23" fmla="*/ 25 h 30"/>
                <a:gd name="T24" fmla="*/ 19 w 23"/>
                <a:gd name="T25" fmla="*/ 25 h 30"/>
                <a:gd name="T26" fmla="*/ 18 w 23"/>
                <a:gd name="T27" fmla="*/ 22 h 30"/>
                <a:gd name="T28" fmla="*/ 16 w 23"/>
                <a:gd name="T29" fmla="*/ 20 h 30"/>
                <a:gd name="T30" fmla="*/ 15 w 23"/>
                <a:gd name="T31" fmla="*/ 18 h 30"/>
                <a:gd name="T32" fmla="*/ 14 w 23"/>
                <a:gd name="T33" fmla="*/ 15 h 30"/>
                <a:gd name="T34" fmla="*/ 7 w 23"/>
                <a:gd name="T35" fmla="*/ 2 h 30"/>
                <a:gd name="T36" fmla="*/ 6 w 23"/>
                <a:gd name="T37" fmla="*/ 1 h 30"/>
                <a:gd name="T38" fmla="*/ 5 w 23"/>
                <a:gd name="T39" fmla="*/ 0 h 30"/>
                <a:gd name="T40" fmla="*/ 5 w 23"/>
                <a:gd name="T41" fmla="*/ 0 h 30"/>
                <a:gd name="T42" fmla="*/ 3 w 23"/>
                <a:gd name="T43" fmla="*/ 0 h 30"/>
                <a:gd name="T44" fmla="*/ 1 w 23"/>
                <a:gd name="T45" fmla="*/ 0 h 30"/>
                <a:gd name="T46" fmla="*/ 0 w 23"/>
                <a:gd name="T47" fmla="*/ 0 h 30"/>
                <a:gd name="T48" fmla="*/ 0 w 23"/>
                <a:gd name="T49" fmla="*/ 1 h 30"/>
                <a:gd name="T50" fmla="*/ 0 w 23"/>
                <a:gd name="T51" fmla="*/ 29 h 30"/>
                <a:gd name="T52" fmla="*/ 0 w 23"/>
                <a:gd name="T53" fmla="*/ 30 h 30"/>
                <a:gd name="T54" fmla="*/ 0 w 23"/>
                <a:gd name="T55" fmla="*/ 30 h 30"/>
                <a:gd name="T56" fmla="*/ 1 w 23"/>
                <a:gd name="T57" fmla="*/ 30 h 30"/>
                <a:gd name="T58" fmla="*/ 2 w 23"/>
                <a:gd name="T59" fmla="*/ 30 h 30"/>
                <a:gd name="T60" fmla="*/ 3 w 23"/>
                <a:gd name="T61" fmla="*/ 30 h 30"/>
                <a:gd name="T62" fmla="*/ 3 w 23"/>
                <a:gd name="T63" fmla="*/ 30 h 30"/>
                <a:gd name="T64" fmla="*/ 4 w 23"/>
                <a:gd name="T65" fmla="*/ 30 h 30"/>
                <a:gd name="T66" fmla="*/ 4 w 23"/>
                <a:gd name="T67" fmla="*/ 29 h 30"/>
                <a:gd name="T68" fmla="*/ 4 w 23"/>
                <a:gd name="T69" fmla="*/ 11 h 30"/>
                <a:gd name="T70" fmla="*/ 4 w 23"/>
                <a:gd name="T71" fmla="*/ 8 h 30"/>
                <a:gd name="T72" fmla="*/ 4 w 23"/>
                <a:gd name="T73" fmla="*/ 4 h 30"/>
                <a:gd name="T74" fmla="*/ 4 w 23"/>
                <a:gd name="T75" fmla="*/ 4 h 30"/>
                <a:gd name="T76" fmla="*/ 5 w 23"/>
                <a:gd name="T77" fmla="*/ 7 h 30"/>
                <a:gd name="T78" fmla="*/ 7 w 23"/>
                <a:gd name="T79" fmla="*/ 10 h 30"/>
                <a:gd name="T80" fmla="*/ 16 w 23"/>
                <a:gd name="T81" fmla="*/ 27 h 30"/>
                <a:gd name="T82" fmla="*/ 17 w 23"/>
                <a:gd name="T83" fmla="*/ 29 h 30"/>
                <a:gd name="T84" fmla="*/ 18 w 23"/>
                <a:gd name="T85" fmla="*/ 29 h 30"/>
                <a:gd name="T86" fmla="*/ 18 w 23"/>
                <a:gd name="T87" fmla="*/ 30 h 30"/>
                <a:gd name="T88" fmla="*/ 20 w 23"/>
                <a:gd name="T89" fmla="*/ 30 h 30"/>
                <a:gd name="T90" fmla="*/ 21 w 23"/>
                <a:gd name="T91" fmla="*/ 30 h 30"/>
                <a:gd name="T92" fmla="*/ 21 w 23"/>
                <a:gd name="T93" fmla="*/ 30 h 30"/>
                <a:gd name="T94" fmla="*/ 22 w 23"/>
                <a:gd name="T95" fmla="*/ 30 h 30"/>
                <a:gd name="T96" fmla="*/ 22 w 23"/>
                <a:gd name="T97" fmla="*/ 29 h 30"/>
                <a:gd name="T98" fmla="*/ 23 w 23"/>
                <a:gd name="T99" fmla="*/ 28 h 30"/>
                <a:gd name="T100" fmla="*/ 23 w 23"/>
                <a:gd name="T10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 h="30">
                  <a:moveTo>
                    <a:pt x="23" y="0"/>
                  </a:moveTo>
                  <a:cubicBezTo>
                    <a:pt x="23" y="0"/>
                    <a:pt x="23" y="0"/>
                    <a:pt x="23" y="0"/>
                  </a:cubicBezTo>
                  <a:cubicBezTo>
                    <a:pt x="22" y="0"/>
                    <a:pt x="22" y="0"/>
                    <a:pt x="22" y="0"/>
                  </a:cubicBezTo>
                  <a:cubicBezTo>
                    <a:pt x="22" y="0"/>
                    <a:pt x="22" y="0"/>
                    <a:pt x="22" y="0"/>
                  </a:cubicBezTo>
                  <a:cubicBezTo>
                    <a:pt x="21" y="0"/>
                    <a:pt x="21" y="0"/>
                    <a:pt x="21" y="0"/>
                  </a:cubicBezTo>
                  <a:cubicBezTo>
                    <a:pt x="20" y="0"/>
                    <a:pt x="20" y="0"/>
                    <a:pt x="20" y="0"/>
                  </a:cubicBezTo>
                  <a:cubicBezTo>
                    <a:pt x="19" y="0"/>
                    <a:pt x="19" y="0"/>
                    <a:pt x="19" y="0"/>
                  </a:cubicBezTo>
                  <a:cubicBezTo>
                    <a:pt x="19" y="0"/>
                    <a:pt x="19" y="0"/>
                    <a:pt x="19" y="0"/>
                  </a:cubicBezTo>
                  <a:cubicBezTo>
                    <a:pt x="19" y="0"/>
                    <a:pt x="19" y="0"/>
                    <a:pt x="19" y="0"/>
                  </a:cubicBezTo>
                  <a:cubicBezTo>
                    <a:pt x="19" y="17"/>
                    <a:pt x="19" y="17"/>
                    <a:pt x="19" y="17"/>
                  </a:cubicBezTo>
                  <a:cubicBezTo>
                    <a:pt x="19" y="18"/>
                    <a:pt x="19" y="19"/>
                    <a:pt x="19" y="21"/>
                  </a:cubicBezTo>
                  <a:cubicBezTo>
                    <a:pt x="19" y="22"/>
                    <a:pt x="19" y="23"/>
                    <a:pt x="19" y="25"/>
                  </a:cubicBezTo>
                  <a:cubicBezTo>
                    <a:pt x="19" y="25"/>
                    <a:pt x="19" y="25"/>
                    <a:pt x="19" y="25"/>
                  </a:cubicBezTo>
                  <a:cubicBezTo>
                    <a:pt x="18" y="24"/>
                    <a:pt x="18" y="23"/>
                    <a:pt x="18" y="22"/>
                  </a:cubicBezTo>
                  <a:cubicBezTo>
                    <a:pt x="17" y="22"/>
                    <a:pt x="17" y="21"/>
                    <a:pt x="16" y="20"/>
                  </a:cubicBezTo>
                  <a:cubicBezTo>
                    <a:pt x="16" y="19"/>
                    <a:pt x="16" y="19"/>
                    <a:pt x="15" y="18"/>
                  </a:cubicBezTo>
                  <a:cubicBezTo>
                    <a:pt x="15" y="17"/>
                    <a:pt x="14" y="16"/>
                    <a:pt x="14" y="15"/>
                  </a:cubicBezTo>
                  <a:cubicBezTo>
                    <a:pt x="7" y="2"/>
                    <a:pt x="7" y="2"/>
                    <a:pt x="7" y="2"/>
                  </a:cubicBezTo>
                  <a:cubicBezTo>
                    <a:pt x="7" y="2"/>
                    <a:pt x="6" y="1"/>
                    <a:pt x="6" y="1"/>
                  </a:cubicBezTo>
                  <a:cubicBezTo>
                    <a:pt x="6" y="1"/>
                    <a:pt x="6" y="0"/>
                    <a:pt x="5" y="0"/>
                  </a:cubicBezTo>
                  <a:cubicBezTo>
                    <a:pt x="5" y="0"/>
                    <a:pt x="5" y="0"/>
                    <a:pt x="5" y="0"/>
                  </a:cubicBezTo>
                  <a:cubicBezTo>
                    <a:pt x="4" y="0"/>
                    <a:pt x="4" y="0"/>
                    <a:pt x="3" y="0"/>
                  </a:cubicBezTo>
                  <a:cubicBezTo>
                    <a:pt x="1" y="0"/>
                    <a:pt x="1" y="0"/>
                    <a:pt x="1" y="0"/>
                  </a:cubicBezTo>
                  <a:cubicBezTo>
                    <a:pt x="1" y="0"/>
                    <a:pt x="1" y="0"/>
                    <a:pt x="0" y="0"/>
                  </a:cubicBezTo>
                  <a:cubicBezTo>
                    <a:pt x="0" y="0"/>
                    <a:pt x="0" y="1"/>
                    <a:pt x="0" y="1"/>
                  </a:cubicBezTo>
                  <a:cubicBezTo>
                    <a:pt x="0" y="29"/>
                    <a:pt x="0" y="29"/>
                    <a:pt x="0" y="29"/>
                  </a:cubicBezTo>
                  <a:cubicBezTo>
                    <a:pt x="0" y="30"/>
                    <a:pt x="0" y="30"/>
                    <a:pt x="0" y="30"/>
                  </a:cubicBezTo>
                  <a:cubicBezTo>
                    <a:pt x="0" y="30"/>
                    <a:pt x="0" y="30"/>
                    <a:pt x="0" y="30"/>
                  </a:cubicBezTo>
                  <a:cubicBezTo>
                    <a:pt x="0" y="30"/>
                    <a:pt x="0" y="30"/>
                    <a:pt x="1" y="30"/>
                  </a:cubicBezTo>
                  <a:cubicBezTo>
                    <a:pt x="1" y="30"/>
                    <a:pt x="1" y="30"/>
                    <a:pt x="2" y="30"/>
                  </a:cubicBezTo>
                  <a:cubicBezTo>
                    <a:pt x="2" y="30"/>
                    <a:pt x="2" y="30"/>
                    <a:pt x="3" y="30"/>
                  </a:cubicBezTo>
                  <a:cubicBezTo>
                    <a:pt x="3" y="30"/>
                    <a:pt x="3" y="30"/>
                    <a:pt x="3" y="30"/>
                  </a:cubicBezTo>
                  <a:cubicBezTo>
                    <a:pt x="3" y="30"/>
                    <a:pt x="4" y="30"/>
                    <a:pt x="4" y="30"/>
                  </a:cubicBezTo>
                  <a:cubicBezTo>
                    <a:pt x="4" y="30"/>
                    <a:pt x="4" y="30"/>
                    <a:pt x="4" y="29"/>
                  </a:cubicBezTo>
                  <a:cubicBezTo>
                    <a:pt x="4" y="11"/>
                    <a:pt x="4" y="11"/>
                    <a:pt x="4" y="11"/>
                  </a:cubicBezTo>
                  <a:cubicBezTo>
                    <a:pt x="4" y="10"/>
                    <a:pt x="4" y="9"/>
                    <a:pt x="4" y="8"/>
                  </a:cubicBezTo>
                  <a:cubicBezTo>
                    <a:pt x="4" y="6"/>
                    <a:pt x="4" y="5"/>
                    <a:pt x="4" y="4"/>
                  </a:cubicBezTo>
                  <a:cubicBezTo>
                    <a:pt x="4" y="4"/>
                    <a:pt x="4" y="4"/>
                    <a:pt x="4" y="4"/>
                  </a:cubicBezTo>
                  <a:cubicBezTo>
                    <a:pt x="4" y="5"/>
                    <a:pt x="5" y="6"/>
                    <a:pt x="5" y="7"/>
                  </a:cubicBezTo>
                  <a:cubicBezTo>
                    <a:pt x="6" y="8"/>
                    <a:pt x="6" y="9"/>
                    <a:pt x="7" y="10"/>
                  </a:cubicBezTo>
                  <a:cubicBezTo>
                    <a:pt x="16" y="27"/>
                    <a:pt x="16" y="27"/>
                    <a:pt x="16" y="27"/>
                  </a:cubicBezTo>
                  <a:cubicBezTo>
                    <a:pt x="16" y="28"/>
                    <a:pt x="16" y="28"/>
                    <a:pt x="17" y="29"/>
                  </a:cubicBezTo>
                  <a:cubicBezTo>
                    <a:pt x="17" y="29"/>
                    <a:pt x="17" y="29"/>
                    <a:pt x="18" y="29"/>
                  </a:cubicBezTo>
                  <a:cubicBezTo>
                    <a:pt x="18" y="30"/>
                    <a:pt x="18" y="30"/>
                    <a:pt x="18" y="30"/>
                  </a:cubicBezTo>
                  <a:cubicBezTo>
                    <a:pt x="19" y="30"/>
                    <a:pt x="19" y="30"/>
                    <a:pt x="20" y="30"/>
                  </a:cubicBezTo>
                  <a:cubicBezTo>
                    <a:pt x="21" y="30"/>
                    <a:pt x="21" y="30"/>
                    <a:pt x="21" y="30"/>
                  </a:cubicBezTo>
                  <a:cubicBezTo>
                    <a:pt x="21" y="30"/>
                    <a:pt x="21" y="30"/>
                    <a:pt x="21" y="30"/>
                  </a:cubicBezTo>
                  <a:cubicBezTo>
                    <a:pt x="22" y="30"/>
                    <a:pt x="22" y="30"/>
                    <a:pt x="22" y="30"/>
                  </a:cubicBezTo>
                  <a:cubicBezTo>
                    <a:pt x="22" y="30"/>
                    <a:pt x="22" y="29"/>
                    <a:pt x="22" y="29"/>
                  </a:cubicBezTo>
                  <a:cubicBezTo>
                    <a:pt x="23" y="29"/>
                    <a:pt x="23" y="29"/>
                    <a:pt x="23" y="28"/>
                  </a:cubicBezTo>
                  <a:cubicBezTo>
                    <a:pt x="23" y="0"/>
                    <a:pt x="23" y="0"/>
                    <a:pt x="23"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30">
              <a:extLst>
                <a:ext uri="{FF2B5EF4-FFF2-40B4-BE49-F238E27FC236}">
                  <a16:creationId xmlns:a16="http://schemas.microsoft.com/office/drawing/2014/main" id="{ABF3CD82-3141-4ACC-A900-CFF691F50D9E}"/>
                </a:ext>
              </a:extLst>
            </p:cNvPr>
            <p:cNvSpPr>
              <a:spLocks noEditPoints="1"/>
            </p:cNvSpPr>
            <p:nvPr/>
          </p:nvSpPr>
          <p:spPr bwMode="auto">
            <a:xfrm>
              <a:off x="5481381" y="6315543"/>
              <a:ext cx="64932" cy="79361"/>
            </a:xfrm>
            <a:custGeom>
              <a:avLst/>
              <a:gdLst>
                <a:gd name="T0" fmla="*/ 19 w 19"/>
                <a:gd name="T1" fmla="*/ 10 h 23"/>
                <a:gd name="T2" fmla="*/ 19 w 19"/>
                <a:gd name="T3" fmla="*/ 6 h 23"/>
                <a:gd name="T4" fmla="*/ 17 w 19"/>
                <a:gd name="T5" fmla="*/ 3 h 23"/>
                <a:gd name="T6" fmla="*/ 14 w 19"/>
                <a:gd name="T7" fmla="*/ 1 h 23"/>
                <a:gd name="T8" fmla="*/ 10 w 19"/>
                <a:gd name="T9" fmla="*/ 0 h 23"/>
                <a:gd name="T10" fmla="*/ 6 w 19"/>
                <a:gd name="T11" fmla="*/ 1 h 23"/>
                <a:gd name="T12" fmla="*/ 3 w 19"/>
                <a:gd name="T13" fmla="*/ 3 h 23"/>
                <a:gd name="T14" fmla="*/ 1 w 19"/>
                <a:gd name="T15" fmla="*/ 7 h 23"/>
                <a:gd name="T16" fmla="*/ 0 w 19"/>
                <a:gd name="T17" fmla="*/ 12 h 23"/>
                <a:gd name="T18" fmla="*/ 1 w 19"/>
                <a:gd name="T19" fmla="*/ 17 h 23"/>
                <a:gd name="T20" fmla="*/ 3 w 19"/>
                <a:gd name="T21" fmla="*/ 21 h 23"/>
                <a:gd name="T22" fmla="*/ 6 w 19"/>
                <a:gd name="T23" fmla="*/ 23 h 23"/>
                <a:gd name="T24" fmla="*/ 11 w 19"/>
                <a:gd name="T25" fmla="*/ 23 h 23"/>
                <a:gd name="T26" fmla="*/ 13 w 19"/>
                <a:gd name="T27" fmla="*/ 23 h 23"/>
                <a:gd name="T28" fmla="*/ 16 w 19"/>
                <a:gd name="T29" fmla="*/ 23 h 23"/>
                <a:gd name="T30" fmla="*/ 17 w 19"/>
                <a:gd name="T31" fmla="*/ 22 h 23"/>
                <a:gd name="T32" fmla="*/ 18 w 19"/>
                <a:gd name="T33" fmla="*/ 22 h 23"/>
                <a:gd name="T34" fmla="*/ 18 w 19"/>
                <a:gd name="T35" fmla="*/ 21 h 23"/>
                <a:gd name="T36" fmla="*/ 18 w 19"/>
                <a:gd name="T37" fmla="*/ 21 h 23"/>
                <a:gd name="T38" fmla="*/ 19 w 19"/>
                <a:gd name="T39" fmla="*/ 21 h 23"/>
                <a:gd name="T40" fmla="*/ 19 w 19"/>
                <a:gd name="T41" fmla="*/ 20 h 23"/>
                <a:gd name="T42" fmla="*/ 19 w 19"/>
                <a:gd name="T43" fmla="*/ 20 h 23"/>
                <a:gd name="T44" fmla="*/ 18 w 19"/>
                <a:gd name="T45" fmla="*/ 19 h 23"/>
                <a:gd name="T46" fmla="*/ 18 w 19"/>
                <a:gd name="T47" fmla="*/ 19 h 23"/>
                <a:gd name="T48" fmla="*/ 18 w 19"/>
                <a:gd name="T49" fmla="*/ 19 h 23"/>
                <a:gd name="T50" fmla="*/ 17 w 19"/>
                <a:gd name="T51" fmla="*/ 19 h 23"/>
                <a:gd name="T52" fmla="*/ 16 w 19"/>
                <a:gd name="T53" fmla="*/ 20 h 23"/>
                <a:gd name="T54" fmla="*/ 14 w 19"/>
                <a:gd name="T55" fmla="*/ 20 h 23"/>
                <a:gd name="T56" fmla="*/ 11 w 19"/>
                <a:gd name="T57" fmla="*/ 20 h 23"/>
                <a:gd name="T58" fmla="*/ 8 w 19"/>
                <a:gd name="T59" fmla="*/ 20 h 23"/>
                <a:gd name="T60" fmla="*/ 6 w 19"/>
                <a:gd name="T61" fmla="*/ 18 h 23"/>
                <a:gd name="T62" fmla="*/ 4 w 19"/>
                <a:gd name="T63" fmla="*/ 16 h 23"/>
                <a:gd name="T64" fmla="*/ 4 w 19"/>
                <a:gd name="T65" fmla="*/ 13 h 23"/>
                <a:gd name="T66" fmla="*/ 18 w 19"/>
                <a:gd name="T67" fmla="*/ 13 h 23"/>
                <a:gd name="T68" fmla="*/ 19 w 19"/>
                <a:gd name="T69" fmla="*/ 12 h 23"/>
                <a:gd name="T70" fmla="*/ 19 w 19"/>
                <a:gd name="T71" fmla="*/ 11 h 23"/>
                <a:gd name="T72" fmla="*/ 19 w 19"/>
                <a:gd name="T73" fmla="*/ 10 h 23"/>
                <a:gd name="T74" fmla="*/ 4 w 19"/>
                <a:gd name="T75" fmla="*/ 10 h 23"/>
                <a:gd name="T76" fmla="*/ 4 w 19"/>
                <a:gd name="T77" fmla="*/ 7 h 23"/>
                <a:gd name="T78" fmla="*/ 6 w 19"/>
                <a:gd name="T79" fmla="*/ 5 h 23"/>
                <a:gd name="T80" fmla="*/ 7 w 19"/>
                <a:gd name="T81" fmla="*/ 4 h 23"/>
                <a:gd name="T82" fmla="*/ 10 w 19"/>
                <a:gd name="T83" fmla="*/ 3 h 23"/>
                <a:gd name="T84" fmla="*/ 14 w 19"/>
                <a:gd name="T85" fmla="*/ 5 h 23"/>
                <a:gd name="T86" fmla="*/ 16 w 19"/>
                <a:gd name="T87" fmla="*/ 10 h 23"/>
                <a:gd name="T88" fmla="*/ 4 w 19"/>
                <a:gd name="T89"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3">
                  <a:moveTo>
                    <a:pt x="19" y="10"/>
                  </a:moveTo>
                  <a:cubicBezTo>
                    <a:pt x="19" y="9"/>
                    <a:pt x="19" y="8"/>
                    <a:pt x="19" y="6"/>
                  </a:cubicBezTo>
                  <a:cubicBezTo>
                    <a:pt x="19" y="5"/>
                    <a:pt x="18" y="4"/>
                    <a:pt x="17" y="3"/>
                  </a:cubicBezTo>
                  <a:cubicBezTo>
                    <a:pt x="17" y="2"/>
                    <a:pt x="16" y="2"/>
                    <a:pt x="14" y="1"/>
                  </a:cubicBezTo>
                  <a:cubicBezTo>
                    <a:pt x="13" y="1"/>
                    <a:pt x="12" y="0"/>
                    <a:pt x="10" y="0"/>
                  </a:cubicBezTo>
                  <a:cubicBezTo>
                    <a:pt x="9" y="0"/>
                    <a:pt x="7" y="1"/>
                    <a:pt x="6" y="1"/>
                  </a:cubicBezTo>
                  <a:cubicBezTo>
                    <a:pt x="5" y="2"/>
                    <a:pt x="4" y="2"/>
                    <a:pt x="3" y="3"/>
                  </a:cubicBezTo>
                  <a:cubicBezTo>
                    <a:pt x="2" y="4"/>
                    <a:pt x="1" y="6"/>
                    <a:pt x="1" y="7"/>
                  </a:cubicBezTo>
                  <a:cubicBezTo>
                    <a:pt x="0" y="9"/>
                    <a:pt x="0" y="10"/>
                    <a:pt x="0" y="12"/>
                  </a:cubicBezTo>
                  <a:cubicBezTo>
                    <a:pt x="0" y="14"/>
                    <a:pt x="0" y="16"/>
                    <a:pt x="1" y="17"/>
                  </a:cubicBezTo>
                  <a:cubicBezTo>
                    <a:pt x="1" y="18"/>
                    <a:pt x="2" y="20"/>
                    <a:pt x="3" y="21"/>
                  </a:cubicBezTo>
                  <a:cubicBezTo>
                    <a:pt x="4" y="22"/>
                    <a:pt x="5" y="22"/>
                    <a:pt x="6" y="23"/>
                  </a:cubicBezTo>
                  <a:cubicBezTo>
                    <a:pt x="7" y="23"/>
                    <a:pt x="9" y="23"/>
                    <a:pt x="11" y="23"/>
                  </a:cubicBezTo>
                  <a:cubicBezTo>
                    <a:pt x="12" y="23"/>
                    <a:pt x="13" y="23"/>
                    <a:pt x="13" y="23"/>
                  </a:cubicBezTo>
                  <a:cubicBezTo>
                    <a:pt x="14" y="23"/>
                    <a:pt x="15" y="23"/>
                    <a:pt x="16" y="23"/>
                  </a:cubicBezTo>
                  <a:cubicBezTo>
                    <a:pt x="16" y="23"/>
                    <a:pt x="17" y="22"/>
                    <a:pt x="17" y="22"/>
                  </a:cubicBezTo>
                  <a:cubicBezTo>
                    <a:pt x="18" y="22"/>
                    <a:pt x="18" y="22"/>
                    <a:pt x="18" y="22"/>
                  </a:cubicBezTo>
                  <a:cubicBezTo>
                    <a:pt x="18" y="22"/>
                    <a:pt x="18" y="22"/>
                    <a:pt x="18" y="21"/>
                  </a:cubicBezTo>
                  <a:cubicBezTo>
                    <a:pt x="18" y="21"/>
                    <a:pt x="18" y="21"/>
                    <a:pt x="18" y="21"/>
                  </a:cubicBezTo>
                  <a:cubicBezTo>
                    <a:pt x="18" y="21"/>
                    <a:pt x="19" y="21"/>
                    <a:pt x="19" y="21"/>
                  </a:cubicBezTo>
                  <a:cubicBezTo>
                    <a:pt x="19" y="21"/>
                    <a:pt x="19" y="20"/>
                    <a:pt x="19" y="20"/>
                  </a:cubicBezTo>
                  <a:cubicBezTo>
                    <a:pt x="19" y="20"/>
                    <a:pt x="19" y="20"/>
                    <a:pt x="19" y="20"/>
                  </a:cubicBezTo>
                  <a:cubicBezTo>
                    <a:pt x="18" y="19"/>
                    <a:pt x="18" y="19"/>
                    <a:pt x="18" y="19"/>
                  </a:cubicBezTo>
                  <a:cubicBezTo>
                    <a:pt x="18" y="19"/>
                    <a:pt x="18" y="19"/>
                    <a:pt x="18" y="19"/>
                  </a:cubicBezTo>
                  <a:cubicBezTo>
                    <a:pt x="18" y="19"/>
                    <a:pt x="18" y="19"/>
                    <a:pt x="18" y="19"/>
                  </a:cubicBezTo>
                  <a:cubicBezTo>
                    <a:pt x="18" y="19"/>
                    <a:pt x="17" y="19"/>
                    <a:pt x="17" y="19"/>
                  </a:cubicBezTo>
                  <a:cubicBezTo>
                    <a:pt x="17" y="19"/>
                    <a:pt x="16" y="19"/>
                    <a:pt x="16" y="20"/>
                  </a:cubicBezTo>
                  <a:cubicBezTo>
                    <a:pt x="15" y="20"/>
                    <a:pt x="14" y="20"/>
                    <a:pt x="14" y="20"/>
                  </a:cubicBezTo>
                  <a:cubicBezTo>
                    <a:pt x="13" y="20"/>
                    <a:pt x="12" y="20"/>
                    <a:pt x="11" y="20"/>
                  </a:cubicBezTo>
                  <a:cubicBezTo>
                    <a:pt x="10" y="20"/>
                    <a:pt x="9" y="20"/>
                    <a:pt x="8" y="20"/>
                  </a:cubicBezTo>
                  <a:cubicBezTo>
                    <a:pt x="7" y="19"/>
                    <a:pt x="6" y="19"/>
                    <a:pt x="6" y="18"/>
                  </a:cubicBezTo>
                  <a:cubicBezTo>
                    <a:pt x="5" y="18"/>
                    <a:pt x="5" y="17"/>
                    <a:pt x="4" y="16"/>
                  </a:cubicBezTo>
                  <a:cubicBezTo>
                    <a:pt x="4" y="15"/>
                    <a:pt x="4" y="14"/>
                    <a:pt x="4" y="13"/>
                  </a:cubicBezTo>
                  <a:cubicBezTo>
                    <a:pt x="18" y="13"/>
                    <a:pt x="18" y="13"/>
                    <a:pt x="18" y="13"/>
                  </a:cubicBezTo>
                  <a:cubicBezTo>
                    <a:pt x="18" y="13"/>
                    <a:pt x="19" y="13"/>
                    <a:pt x="19" y="12"/>
                  </a:cubicBezTo>
                  <a:cubicBezTo>
                    <a:pt x="19" y="12"/>
                    <a:pt x="19" y="12"/>
                    <a:pt x="19" y="11"/>
                  </a:cubicBezTo>
                  <a:cubicBezTo>
                    <a:pt x="19" y="10"/>
                    <a:pt x="19" y="10"/>
                    <a:pt x="19" y="10"/>
                  </a:cubicBezTo>
                  <a:close/>
                  <a:moveTo>
                    <a:pt x="4" y="10"/>
                  </a:moveTo>
                  <a:cubicBezTo>
                    <a:pt x="4" y="9"/>
                    <a:pt x="4" y="8"/>
                    <a:pt x="4" y="7"/>
                  </a:cubicBezTo>
                  <a:cubicBezTo>
                    <a:pt x="5" y="7"/>
                    <a:pt x="5" y="6"/>
                    <a:pt x="6" y="5"/>
                  </a:cubicBezTo>
                  <a:cubicBezTo>
                    <a:pt x="6" y="5"/>
                    <a:pt x="7" y="4"/>
                    <a:pt x="7" y="4"/>
                  </a:cubicBezTo>
                  <a:cubicBezTo>
                    <a:pt x="8" y="3"/>
                    <a:pt x="9" y="3"/>
                    <a:pt x="10" y="3"/>
                  </a:cubicBezTo>
                  <a:cubicBezTo>
                    <a:pt x="12" y="3"/>
                    <a:pt x="13" y="4"/>
                    <a:pt x="14" y="5"/>
                  </a:cubicBezTo>
                  <a:cubicBezTo>
                    <a:pt x="15" y="6"/>
                    <a:pt x="16" y="8"/>
                    <a:pt x="16" y="10"/>
                  </a:cubicBezTo>
                  <a:cubicBezTo>
                    <a:pt x="4" y="10"/>
                    <a:pt x="4" y="10"/>
                    <a:pt x="4"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31">
              <a:extLst>
                <a:ext uri="{FF2B5EF4-FFF2-40B4-BE49-F238E27FC236}">
                  <a16:creationId xmlns:a16="http://schemas.microsoft.com/office/drawing/2014/main" id="{7C1C7A8B-E7E1-4D7F-867C-62BDE36F8B40}"/>
                </a:ext>
              </a:extLst>
            </p:cNvPr>
            <p:cNvSpPr>
              <a:spLocks/>
            </p:cNvSpPr>
            <p:nvPr/>
          </p:nvSpPr>
          <p:spPr bwMode="auto">
            <a:xfrm>
              <a:off x="5557855" y="6298228"/>
              <a:ext cx="47617" cy="96676"/>
            </a:xfrm>
            <a:custGeom>
              <a:avLst/>
              <a:gdLst>
                <a:gd name="T0" fmla="*/ 14 w 14"/>
                <a:gd name="T1" fmla="*/ 25 h 28"/>
                <a:gd name="T2" fmla="*/ 14 w 14"/>
                <a:gd name="T3" fmla="*/ 25 h 28"/>
                <a:gd name="T4" fmla="*/ 14 w 14"/>
                <a:gd name="T5" fmla="*/ 25 h 28"/>
                <a:gd name="T6" fmla="*/ 13 w 14"/>
                <a:gd name="T7" fmla="*/ 24 h 28"/>
                <a:gd name="T8" fmla="*/ 13 w 14"/>
                <a:gd name="T9" fmla="*/ 25 h 28"/>
                <a:gd name="T10" fmla="*/ 12 w 14"/>
                <a:gd name="T11" fmla="*/ 25 h 28"/>
                <a:gd name="T12" fmla="*/ 12 w 14"/>
                <a:gd name="T13" fmla="*/ 25 h 28"/>
                <a:gd name="T14" fmla="*/ 11 w 14"/>
                <a:gd name="T15" fmla="*/ 25 h 28"/>
                <a:gd name="T16" fmla="*/ 8 w 14"/>
                <a:gd name="T17" fmla="*/ 24 h 28"/>
                <a:gd name="T18" fmla="*/ 8 w 14"/>
                <a:gd name="T19" fmla="*/ 21 h 28"/>
                <a:gd name="T20" fmla="*/ 8 w 14"/>
                <a:gd name="T21" fmla="*/ 9 h 28"/>
                <a:gd name="T22" fmla="*/ 13 w 14"/>
                <a:gd name="T23" fmla="*/ 9 h 28"/>
                <a:gd name="T24" fmla="*/ 14 w 14"/>
                <a:gd name="T25" fmla="*/ 9 h 28"/>
                <a:gd name="T26" fmla="*/ 14 w 14"/>
                <a:gd name="T27" fmla="*/ 7 h 28"/>
                <a:gd name="T28" fmla="*/ 14 w 14"/>
                <a:gd name="T29" fmla="*/ 7 h 28"/>
                <a:gd name="T30" fmla="*/ 14 w 14"/>
                <a:gd name="T31" fmla="*/ 6 h 28"/>
                <a:gd name="T32" fmla="*/ 14 w 14"/>
                <a:gd name="T33" fmla="*/ 6 h 28"/>
                <a:gd name="T34" fmla="*/ 13 w 14"/>
                <a:gd name="T35" fmla="*/ 6 h 28"/>
                <a:gd name="T36" fmla="*/ 8 w 14"/>
                <a:gd name="T37" fmla="*/ 6 h 28"/>
                <a:gd name="T38" fmla="*/ 8 w 14"/>
                <a:gd name="T39" fmla="*/ 1 h 28"/>
                <a:gd name="T40" fmla="*/ 8 w 14"/>
                <a:gd name="T41" fmla="*/ 0 h 28"/>
                <a:gd name="T42" fmla="*/ 7 w 14"/>
                <a:gd name="T43" fmla="*/ 0 h 28"/>
                <a:gd name="T44" fmla="*/ 7 w 14"/>
                <a:gd name="T45" fmla="*/ 0 h 28"/>
                <a:gd name="T46" fmla="*/ 6 w 14"/>
                <a:gd name="T47" fmla="*/ 0 h 28"/>
                <a:gd name="T48" fmla="*/ 5 w 14"/>
                <a:gd name="T49" fmla="*/ 0 h 28"/>
                <a:gd name="T50" fmla="*/ 4 w 14"/>
                <a:gd name="T51" fmla="*/ 0 h 28"/>
                <a:gd name="T52" fmla="*/ 4 w 14"/>
                <a:gd name="T53" fmla="*/ 0 h 28"/>
                <a:gd name="T54" fmla="*/ 4 w 14"/>
                <a:gd name="T55" fmla="*/ 1 h 28"/>
                <a:gd name="T56" fmla="*/ 4 w 14"/>
                <a:gd name="T57" fmla="*/ 6 h 28"/>
                <a:gd name="T58" fmla="*/ 1 w 14"/>
                <a:gd name="T59" fmla="*/ 6 h 28"/>
                <a:gd name="T60" fmla="*/ 1 w 14"/>
                <a:gd name="T61" fmla="*/ 6 h 28"/>
                <a:gd name="T62" fmla="*/ 0 w 14"/>
                <a:gd name="T63" fmla="*/ 6 h 28"/>
                <a:gd name="T64" fmla="*/ 0 w 14"/>
                <a:gd name="T65" fmla="*/ 7 h 28"/>
                <a:gd name="T66" fmla="*/ 0 w 14"/>
                <a:gd name="T67" fmla="*/ 7 h 28"/>
                <a:gd name="T68" fmla="*/ 0 w 14"/>
                <a:gd name="T69" fmla="*/ 9 h 28"/>
                <a:gd name="T70" fmla="*/ 1 w 14"/>
                <a:gd name="T71" fmla="*/ 9 h 28"/>
                <a:gd name="T72" fmla="*/ 4 w 14"/>
                <a:gd name="T73" fmla="*/ 9 h 28"/>
                <a:gd name="T74" fmla="*/ 4 w 14"/>
                <a:gd name="T75" fmla="*/ 21 h 28"/>
                <a:gd name="T76" fmla="*/ 4 w 14"/>
                <a:gd name="T77" fmla="*/ 24 h 28"/>
                <a:gd name="T78" fmla="*/ 5 w 14"/>
                <a:gd name="T79" fmla="*/ 27 h 28"/>
                <a:gd name="T80" fmla="*/ 7 w 14"/>
                <a:gd name="T81" fmla="*/ 28 h 28"/>
                <a:gd name="T82" fmla="*/ 10 w 14"/>
                <a:gd name="T83" fmla="*/ 28 h 28"/>
                <a:gd name="T84" fmla="*/ 11 w 14"/>
                <a:gd name="T85" fmla="*/ 28 h 28"/>
                <a:gd name="T86" fmla="*/ 12 w 14"/>
                <a:gd name="T87" fmla="*/ 28 h 28"/>
                <a:gd name="T88" fmla="*/ 13 w 14"/>
                <a:gd name="T89" fmla="*/ 28 h 28"/>
                <a:gd name="T90" fmla="*/ 14 w 14"/>
                <a:gd name="T91" fmla="*/ 28 h 28"/>
                <a:gd name="T92" fmla="*/ 14 w 14"/>
                <a:gd name="T93" fmla="*/ 27 h 28"/>
                <a:gd name="T94" fmla="*/ 14 w 14"/>
                <a:gd name="T95" fmla="*/ 26 h 28"/>
                <a:gd name="T96" fmla="*/ 14 w 14"/>
                <a:gd name="T9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 h="28">
                  <a:moveTo>
                    <a:pt x="14" y="25"/>
                  </a:moveTo>
                  <a:cubicBezTo>
                    <a:pt x="14" y="25"/>
                    <a:pt x="14" y="25"/>
                    <a:pt x="14" y="25"/>
                  </a:cubicBezTo>
                  <a:cubicBezTo>
                    <a:pt x="14" y="25"/>
                    <a:pt x="14" y="25"/>
                    <a:pt x="14" y="25"/>
                  </a:cubicBezTo>
                  <a:cubicBezTo>
                    <a:pt x="14" y="24"/>
                    <a:pt x="13" y="24"/>
                    <a:pt x="13" y="24"/>
                  </a:cubicBezTo>
                  <a:cubicBezTo>
                    <a:pt x="13" y="24"/>
                    <a:pt x="13" y="24"/>
                    <a:pt x="13" y="25"/>
                  </a:cubicBezTo>
                  <a:cubicBezTo>
                    <a:pt x="13" y="25"/>
                    <a:pt x="13" y="25"/>
                    <a:pt x="12" y="25"/>
                  </a:cubicBezTo>
                  <a:cubicBezTo>
                    <a:pt x="12" y="25"/>
                    <a:pt x="12" y="25"/>
                    <a:pt x="12" y="25"/>
                  </a:cubicBezTo>
                  <a:cubicBezTo>
                    <a:pt x="11" y="25"/>
                    <a:pt x="11" y="25"/>
                    <a:pt x="11" y="25"/>
                  </a:cubicBezTo>
                  <a:cubicBezTo>
                    <a:pt x="10" y="25"/>
                    <a:pt x="9" y="25"/>
                    <a:pt x="8" y="24"/>
                  </a:cubicBezTo>
                  <a:cubicBezTo>
                    <a:pt x="8" y="23"/>
                    <a:pt x="8" y="22"/>
                    <a:pt x="8" y="21"/>
                  </a:cubicBezTo>
                  <a:cubicBezTo>
                    <a:pt x="8" y="9"/>
                    <a:pt x="8" y="9"/>
                    <a:pt x="8" y="9"/>
                  </a:cubicBezTo>
                  <a:cubicBezTo>
                    <a:pt x="13" y="9"/>
                    <a:pt x="13" y="9"/>
                    <a:pt x="13" y="9"/>
                  </a:cubicBezTo>
                  <a:cubicBezTo>
                    <a:pt x="13" y="9"/>
                    <a:pt x="14" y="9"/>
                    <a:pt x="14" y="9"/>
                  </a:cubicBezTo>
                  <a:cubicBezTo>
                    <a:pt x="14" y="8"/>
                    <a:pt x="14" y="8"/>
                    <a:pt x="14" y="7"/>
                  </a:cubicBezTo>
                  <a:cubicBezTo>
                    <a:pt x="14" y="7"/>
                    <a:pt x="14" y="7"/>
                    <a:pt x="14" y="7"/>
                  </a:cubicBezTo>
                  <a:cubicBezTo>
                    <a:pt x="14" y="6"/>
                    <a:pt x="14" y="6"/>
                    <a:pt x="14" y="6"/>
                  </a:cubicBezTo>
                  <a:cubicBezTo>
                    <a:pt x="14" y="6"/>
                    <a:pt x="14" y="6"/>
                    <a:pt x="14" y="6"/>
                  </a:cubicBezTo>
                  <a:cubicBezTo>
                    <a:pt x="13" y="6"/>
                    <a:pt x="13" y="6"/>
                    <a:pt x="13" y="6"/>
                  </a:cubicBezTo>
                  <a:cubicBezTo>
                    <a:pt x="8" y="6"/>
                    <a:pt x="8" y="6"/>
                    <a:pt x="8" y="6"/>
                  </a:cubicBezTo>
                  <a:cubicBezTo>
                    <a:pt x="8" y="1"/>
                    <a:pt x="8" y="1"/>
                    <a:pt x="8" y="1"/>
                  </a:cubicBezTo>
                  <a:cubicBezTo>
                    <a:pt x="8" y="1"/>
                    <a:pt x="8" y="0"/>
                    <a:pt x="8" y="0"/>
                  </a:cubicBezTo>
                  <a:cubicBezTo>
                    <a:pt x="8" y="0"/>
                    <a:pt x="8" y="0"/>
                    <a:pt x="7" y="0"/>
                  </a:cubicBezTo>
                  <a:cubicBezTo>
                    <a:pt x="7" y="0"/>
                    <a:pt x="7" y="0"/>
                    <a:pt x="7" y="0"/>
                  </a:cubicBezTo>
                  <a:cubicBezTo>
                    <a:pt x="7" y="0"/>
                    <a:pt x="6" y="0"/>
                    <a:pt x="6" y="0"/>
                  </a:cubicBezTo>
                  <a:cubicBezTo>
                    <a:pt x="5" y="0"/>
                    <a:pt x="5" y="0"/>
                    <a:pt x="5" y="0"/>
                  </a:cubicBezTo>
                  <a:cubicBezTo>
                    <a:pt x="5" y="0"/>
                    <a:pt x="4" y="0"/>
                    <a:pt x="4" y="0"/>
                  </a:cubicBezTo>
                  <a:cubicBezTo>
                    <a:pt x="4" y="0"/>
                    <a:pt x="4" y="0"/>
                    <a:pt x="4" y="0"/>
                  </a:cubicBezTo>
                  <a:cubicBezTo>
                    <a:pt x="4" y="0"/>
                    <a:pt x="4" y="1"/>
                    <a:pt x="4" y="1"/>
                  </a:cubicBezTo>
                  <a:cubicBezTo>
                    <a:pt x="4" y="6"/>
                    <a:pt x="4" y="6"/>
                    <a:pt x="4" y="6"/>
                  </a:cubicBezTo>
                  <a:cubicBezTo>
                    <a:pt x="1" y="6"/>
                    <a:pt x="1" y="6"/>
                    <a:pt x="1" y="6"/>
                  </a:cubicBezTo>
                  <a:cubicBezTo>
                    <a:pt x="1" y="6"/>
                    <a:pt x="1" y="6"/>
                    <a:pt x="1" y="6"/>
                  </a:cubicBezTo>
                  <a:cubicBezTo>
                    <a:pt x="1" y="6"/>
                    <a:pt x="0" y="6"/>
                    <a:pt x="0" y="6"/>
                  </a:cubicBezTo>
                  <a:cubicBezTo>
                    <a:pt x="0" y="6"/>
                    <a:pt x="0" y="6"/>
                    <a:pt x="0" y="7"/>
                  </a:cubicBezTo>
                  <a:cubicBezTo>
                    <a:pt x="0" y="7"/>
                    <a:pt x="0" y="7"/>
                    <a:pt x="0" y="7"/>
                  </a:cubicBezTo>
                  <a:cubicBezTo>
                    <a:pt x="0" y="8"/>
                    <a:pt x="0" y="8"/>
                    <a:pt x="0" y="9"/>
                  </a:cubicBezTo>
                  <a:cubicBezTo>
                    <a:pt x="1" y="9"/>
                    <a:pt x="1" y="9"/>
                    <a:pt x="1" y="9"/>
                  </a:cubicBezTo>
                  <a:cubicBezTo>
                    <a:pt x="4" y="9"/>
                    <a:pt x="4" y="9"/>
                    <a:pt x="4" y="9"/>
                  </a:cubicBezTo>
                  <a:cubicBezTo>
                    <a:pt x="4" y="21"/>
                    <a:pt x="4" y="21"/>
                    <a:pt x="4" y="21"/>
                  </a:cubicBezTo>
                  <a:cubicBezTo>
                    <a:pt x="4" y="22"/>
                    <a:pt x="4" y="24"/>
                    <a:pt x="4" y="24"/>
                  </a:cubicBezTo>
                  <a:cubicBezTo>
                    <a:pt x="4" y="25"/>
                    <a:pt x="5" y="26"/>
                    <a:pt x="5" y="27"/>
                  </a:cubicBezTo>
                  <a:cubicBezTo>
                    <a:pt x="6" y="27"/>
                    <a:pt x="6" y="28"/>
                    <a:pt x="7" y="28"/>
                  </a:cubicBezTo>
                  <a:cubicBezTo>
                    <a:pt x="8" y="28"/>
                    <a:pt x="9" y="28"/>
                    <a:pt x="10" y="28"/>
                  </a:cubicBezTo>
                  <a:cubicBezTo>
                    <a:pt x="10" y="28"/>
                    <a:pt x="11" y="28"/>
                    <a:pt x="11" y="28"/>
                  </a:cubicBezTo>
                  <a:cubicBezTo>
                    <a:pt x="12" y="28"/>
                    <a:pt x="12" y="28"/>
                    <a:pt x="12" y="28"/>
                  </a:cubicBezTo>
                  <a:cubicBezTo>
                    <a:pt x="12" y="28"/>
                    <a:pt x="13" y="28"/>
                    <a:pt x="13" y="28"/>
                  </a:cubicBezTo>
                  <a:cubicBezTo>
                    <a:pt x="13" y="28"/>
                    <a:pt x="13" y="28"/>
                    <a:pt x="14" y="28"/>
                  </a:cubicBezTo>
                  <a:cubicBezTo>
                    <a:pt x="14" y="27"/>
                    <a:pt x="14" y="27"/>
                    <a:pt x="14" y="27"/>
                  </a:cubicBezTo>
                  <a:cubicBezTo>
                    <a:pt x="14" y="27"/>
                    <a:pt x="14" y="26"/>
                    <a:pt x="14" y="26"/>
                  </a:cubicBezTo>
                  <a:cubicBezTo>
                    <a:pt x="14" y="26"/>
                    <a:pt x="14" y="25"/>
                    <a:pt x="14" y="25"/>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32">
              <a:extLst>
                <a:ext uri="{FF2B5EF4-FFF2-40B4-BE49-F238E27FC236}">
                  <a16:creationId xmlns:a16="http://schemas.microsoft.com/office/drawing/2014/main" id="{0EA6AD99-A7D4-4CA4-9022-E790EFF547EE}"/>
                </a:ext>
              </a:extLst>
            </p:cNvPr>
            <p:cNvSpPr>
              <a:spLocks/>
            </p:cNvSpPr>
            <p:nvPr/>
          </p:nvSpPr>
          <p:spPr bwMode="auto">
            <a:xfrm>
              <a:off x="5615572" y="6319871"/>
              <a:ext cx="109661" cy="75032"/>
            </a:xfrm>
            <a:custGeom>
              <a:avLst/>
              <a:gdLst>
                <a:gd name="T0" fmla="*/ 32 w 32"/>
                <a:gd name="T1" fmla="*/ 0 h 22"/>
                <a:gd name="T2" fmla="*/ 31 w 32"/>
                <a:gd name="T3" fmla="*/ 0 h 22"/>
                <a:gd name="T4" fmla="*/ 31 w 32"/>
                <a:gd name="T5" fmla="*/ 0 h 22"/>
                <a:gd name="T6" fmla="*/ 30 w 32"/>
                <a:gd name="T7" fmla="*/ 0 h 22"/>
                <a:gd name="T8" fmla="*/ 29 w 32"/>
                <a:gd name="T9" fmla="*/ 0 h 22"/>
                <a:gd name="T10" fmla="*/ 28 w 32"/>
                <a:gd name="T11" fmla="*/ 0 h 22"/>
                <a:gd name="T12" fmla="*/ 28 w 32"/>
                <a:gd name="T13" fmla="*/ 0 h 22"/>
                <a:gd name="T14" fmla="*/ 28 w 32"/>
                <a:gd name="T15" fmla="*/ 0 h 22"/>
                <a:gd name="T16" fmla="*/ 23 w 32"/>
                <a:gd name="T17" fmla="*/ 18 h 22"/>
                <a:gd name="T18" fmla="*/ 23 w 32"/>
                <a:gd name="T19" fmla="*/ 18 h 22"/>
                <a:gd name="T20" fmla="*/ 23 w 32"/>
                <a:gd name="T21" fmla="*/ 18 h 22"/>
                <a:gd name="T22" fmla="*/ 18 w 32"/>
                <a:gd name="T23" fmla="*/ 0 h 22"/>
                <a:gd name="T24" fmla="*/ 18 w 32"/>
                <a:gd name="T25" fmla="*/ 0 h 22"/>
                <a:gd name="T26" fmla="*/ 17 w 32"/>
                <a:gd name="T27" fmla="*/ 0 h 22"/>
                <a:gd name="T28" fmla="*/ 17 w 32"/>
                <a:gd name="T29" fmla="*/ 0 h 22"/>
                <a:gd name="T30" fmla="*/ 16 w 32"/>
                <a:gd name="T31" fmla="*/ 0 h 22"/>
                <a:gd name="T32" fmla="*/ 15 w 32"/>
                <a:gd name="T33" fmla="*/ 0 h 22"/>
                <a:gd name="T34" fmla="*/ 14 w 32"/>
                <a:gd name="T35" fmla="*/ 0 h 22"/>
                <a:gd name="T36" fmla="*/ 14 w 32"/>
                <a:gd name="T37" fmla="*/ 0 h 22"/>
                <a:gd name="T38" fmla="*/ 14 w 32"/>
                <a:gd name="T39" fmla="*/ 0 h 22"/>
                <a:gd name="T40" fmla="*/ 9 w 32"/>
                <a:gd name="T41" fmla="*/ 18 h 22"/>
                <a:gd name="T42" fmla="*/ 9 w 32"/>
                <a:gd name="T43" fmla="*/ 18 h 22"/>
                <a:gd name="T44" fmla="*/ 9 w 32"/>
                <a:gd name="T45" fmla="*/ 18 h 22"/>
                <a:gd name="T46" fmla="*/ 4 w 32"/>
                <a:gd name="T47" fmla="*/ 0 h 22"/>
                <a:gd name="T48" fmla="*/ 4 w 32"/>
                <a:gd name="T49" fmla="*/ 0 h 22"/>
                <a:gd name="T50" fmla="*/ 4 w 32"/>
                <a:gd name="T51" fmla="*/ 0 h 22"/>
                <a:gd name="T52" fmla="*/ 3 w 32"/>
                <a:gd name="T53" fmla="*/ 0 h 22"/>
                <a:gd name="T54" fmla="*/ 2 w 32"/>
                <a:gd name="T55" fmla="*/ 0 h 22"/>
                <a:gd name="T56" fmla="*/ 1 w 32"/>
                <a:gd name="T57" fmla="*/ 0 h 22"/>
                <a:gd name="T58" fmla="*/ 0 w 32"/>
                <a:gd name="T59" fmla="*/ 0 h 22"/>
                <a:gd name="T60" fmla="*/ 0 w 32"/>
                <a:gd name="T61" fmla="*/ 0 h 22"/>
                <a:gd name="T62" fmla="*/ 0 w 32"/>
                <a:gd name="T63" fmla="*/ 0 h 22"/>
                <a:gd name="T64" fmla="*/ 0 w 32"/>
                <a:gd name="T65" fmla="*/ 1 h 22"/>
                <a:gd name="T66" fmla="*/ 0 w 32"/>
                <a:gd name="T67" fmla="*/ 1 h 22"/>
                <a:gd name="T68" fmla="*/ 6 w 32"/>
                <a:gd name="T69" fmla="*/ 21 h 22"/>
                <a:gd name="T70" fmla="*/ 7 w 32"/>
                <a:gd name="T71" fmla="*/ 22 h 22"/>
                <a:gd name="T72" fmla="*/ 7 w 32"/>
                <a:gd name="T73" fmla="*/ 22 h 22"/>
                <a:gd name="T74" fmla="*/ 8 w 32"/>
                <a:gd name="T75" fmla="*/ 22 h 22"/>
                <a:gd name="T76" fmla="*/ 9 w 32"/>
                <a:gd name="T77" fmla="*/ 22 h 22"/>
                <a:gd name="T78" fmla="*/ 10 w 32"/>
                <a:gd name="T79" fmla="*/ 22 h 22"/>
                <a:gd name="T80" fmla="*/ 11 w 32"/>
                <a:gd name="T81" fmla="*/ 22 h 22"/>
                <a:gd name="T82" fmla="*/ 11 w 32"/>
                <a:gd name="T83" fmla="*/ 22 h 22"/>
                <a:gd name="T84" fmla="*/ 12 w 32"/>
                <a:gd name="T85" fmla="*/ 21 h 22"/>
                <a:gd name="T86" fmla="*/ 16 w 32"/>
                <a:gd name="T87" fmla="*/ 6 h 22"/>
                <a:gd name="T88" fmla="*/ 16 w 32"/>
                <a:gd name="T89" fmla="*/ 6 h 22"/>
                <a:gd name="T90" fmla="*/ 16 w 32"/>
                <a:gd name="T91" fmla="*/ 6 h 22"/>
                <a:gd name="T92" fmla="*/ 20 w 32"/>
                <a:gd name="T93" fmla="*/ 21 h 22"/>
                <a:gd name="T94" fmla="*/ 20 w 32"/>
                <a:gd name="T95" fmla="*/ 22 h 22"/>
                <a:gd name="T96" fmla="*/ 21 w 32"/>
                <a:gd name="T97" fmla="*/ 22 h 22"/>
                <a:gd name="T98" fmla="*/ 22 w 32"/>
                <a:gd name="T99" fmla="*/ 22 h 22"/>
                <a:gd name="T100" fmla="*/ 23 w 32"/>
                <a:gd name="T101" fmla="*/ 22 h 22"/>
                <a:gd name="T102" fmla="*/ 24 w 32"/>
                <a:gd name="T103" fmla="*/ 22 h 22"/>
                <a:gd name="T104" fmla="*/ 25 w 32"/>
                <a:gd name="T105" fmla="*/ 22 h 22"/>
                <a:gd name="T106" fmla="*/ 25 w 32"/>
                <a:gd name="T107" fmla="*/ 22 h 22"/>
                <a:gd name="T108" fmla="*/ 25 w 32"/>
                <a:gd name="T109" fmla="*/ 21 h 22"/>
                <a:gd name="T110" fmla="*/ 32 w 32"/>
                <a:gd name="T111" fmla="*/ 1 h 22"/>
                <a:gd name="T112" fmla="*/ 32 w 32"/>
                <a:gd name="T113" fmla="*/ 1 h 22"/>
                <a:gd name="T114" fmla="*/ 32 w 32"/>
                <a:gd name="T115" fmla="*/ 0 h 22"/>
                <a:gd name="T116" fmla="*/ 32 w 32"/>
                <a:gd name="T1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 h="22">
                  <a:moveTo>
                    <a:pt x="32" y="0"/>
                  </a:moveTo>
                  <a:cubicBezTo>
                    <a:pt x="32" y="0"/>
                    <a:pt x="32" y="0"/>
                    <a:pt x="31" y="0"/>
                  </a:cubicBezTo>
                  <a:cubicBezTo>
                    <a:pt x="31" y="0"/>
                    <a:pt x="31" y="0"/>
                    <a:pt x="31" y="0"/>
                  </a:cubicBezTo>
                  <a:cubicBezTo>
                    <a:pt x="31" y="0"/>
                    <a:pt x="30" y="0"/>
                    <a:pt x="30" y="0"/>
                  </a:cubicBezTo>
                  <a:cubicBezTo>
                    <a:pt x="30" y="0"/>
                    <a:pt x="29" y="0"/>
                    <a:pt x="29" y="0"/>
                  </a:cubicBezTo>
                  <a:cubicBezTo>
                    <a:pt x="29" y="0"/>
                    <a:pt x="29" y="0"/>
                    <a:pt x="28" y="0"/>
                  </a:cubicBezTo>
                  <a:cubicBezTo>
                    <a:pt x="28" y="0"/>
                    <a:pt x="28" y="0"/>
                    <a:pt x="28" y="0"/>
                  </a:cubicBezTo>
                  <a:cubicBezTo>
                    <a:pt x="28" y="0"/>
                    <a:pt x="28" y="0"/>
                    <a:pt x="28" y="0"/>
                  </a:cubicBezTo>
                  <a:cubicBezTo>
                    <a:pt x="23" y="18"/>
                    <a:pt x="23" y="18"/>
                    <a:pt x="23" y="18"/>
                  </a:cubicBezTo>
                  <a:cubicBezTo>
                    <a:pt x="23" y="18"/>
                    <a:pt x="23" y="18"/>
                    <a:pt x="23" y="18"/>
                  </a:cubicBezTo>
                  <a:cubicBezTo>
                    <a:pt x="23" y="18"/>
                    <a:pt x="23" y="18"/>
                    <a:pt x="23" y="18"/>
                  </a:cubicBezTo>
                  <a:cubicBezTo>
                    <a:pt x="18" y="0"/>
                    <a:pt x="18" y="0"/>
                    <a:pt x="18" y="0"/>
                  </a:cubicBezTo>
                  <a:cubicBezTo>
                    <a:pt x="18" y="0"/>
                    <a:pt x="18" y="0"/>
                    <a:pt x="18" y="0"/>
                  </a:cubicBezTo>
                  <a:cubicBezTo>
                    <a:pt x="18" y="0"/>
                    <a:pt x="17" y="0"/>
                    <a:pt x="17" y="0"/>
                  </a:cubicBezTo>
                  <a:cubicBezTo>
                    <a:pt x="17" y="0"/>
                    <a:pt x="17" y="0"/>
                    <a:pt x="17" y="0"/>
                  </a:cubicBezTo>
                  <a:cubicBezTo>
                    <a:pt x="17" y="0"/>
                    <a:pt x="16" y="0"/>
                    <a:pt x="16" y="0"/>
                  </a:cubicBezTo>
                  <a:cubicBezTo>
                    <a:pt x="15" y="0"/>
                    <a:pt x="15" y="0"/>
                    <a:pt x="15" y="0"/>
                  </a:cubicBezTo>
                  <a:cubicBezTo>
                    <a:pt x="15" y="0"/>
                    <a:pt x="14" y="0"/>
                    <a:pt x="14" y="0"/>
                  </a:cubicBezTo>
                  <a:cubicBezTo>
                    <a:pt x="14" y="0"/>
                    <a:pt x="14" y="0"/>
                    <a:pt x="14" y="0"/>
                  </a:cubicBezTo>
                  <a:cubicBezTo>
                    <a:pt x="14" y="0"/>
                    <a:pt x="14" y="0"/>
                    <a:pt x="14" y="0"/>
                  </a:cubicBezTo>
                  <a:cubicBezTo>
                    <a:pt x="9" y="18"/>
                    <a:pt x="9" y="18"/>
                    <a:pt x="9" y="18"/>
                  </a:cubicBezTo>
                  <a:cubicBezTo>
                    <a:pt x="9" y="18"/>
                    <a:pt x="9" y="18"/>
                    <a:pt x="9" y="18"/>
                  </a:cubicBezTo>
                  <a:cubicBezTo>
                    <a:pt x="9" y="18"/>
                    <a:pt x="9" y="18"/>
                    <a:pt x="9" y="18"/>
                  </a:cubicBezTo>
                  <a:cubicBezTo>
                    <a:pt x="4" y="0"/>
                    <a:pt x="4" y="0"/>
                    <a:pt x="4" y="0"/>
                  </a:cubicBezTo>
                  <a:cubicBezTo>
                    <a:pt x="4" y="0"/>
                    <a:pt x="4" y="0"/>
                    <a:pt x="4" y="0"/>
                  </a:cubicBezTo>
                  <a:cubicBezTo>
                    <a:pt x="4" y="0"/>
                    <a:pt x="4" y="0"/>
                    <a:pt x="4" y="0"/>
                  </a:cubicBezTo>
                  <a:cubicBezTo>
                    <a:pt x="3" y="0"/>
                    <a:pt x="3" y="0"/>
                    <a:pt x="3" y="0"/>
                  </a:cubicBezTo>
                  <a:cubicBezTo>
                    <a:pt x="3" y="0"/>
                    <a:pt x="2" y="0"/>
                    <a:pt x="2" y="0"/>
                  </a:cubicBezTo>
                  <a:cubicBezTo>
                    <a:pt x="2" y="0"/>
                    <a:pt x="1" y="0"/>
                    <a:pt x="1" y="0"/>
                  </a:cubicBezTo>
                  <a:cubicBezTo>
                    <a:pt x="1" y="0"/>
                    <a:pt x="1" y="0"/>
                    <a:pt x="0" y="0"/>
                  </a:cubicBezTo>
                  <a:cubicBezTo>
                    <a:pt x="0" y="0"/>
                    <a:pt x="0" y="0"/>
                    <a:pt x="0" y="0"/>
                  </a:cubicBezTo>
                  <a:cubicBezTo>
                    <a:pt x="0" y="0"/>
                    <a:pt x="0" y="0"/>
                    <a:pt x="0" y="0"/>
                  </a:cubicBezTo>
                  <a:cubicBezTo>
                    <a:pt x="0" y="0"/>
                    <a:pt x="0" y="1"/>
                    <a:pt x="0" y="1"/>
                  </a:cubicBezTo>
                  <a:cubicBezTo>
                    <a:pt x="0" y="1"/>
                    <a:pt x="0" y="1"/>
                    <a:pt x="0" y="1"/>
                  </a:cubicBezTo>
                  <a:cubicBezTo>
                    <a:pt x="6" y="21"/>
                    <a:pt x="6" y="21"/>
                    <a:pt x="6" y="21"/>
                  </a:cubicBezTo>
                  <a:cubicBezTo>
                    <a:pt x="6" y="21"/>
                    <a:pt x="6" y="22"/>
                    <a:pt x="7" y="22"/>
                  </a:cubicBezTo>
                  <a:cubicBezTo>
                    <a:pt x="7" y="22"/>
                    <a:pt x="7" y="22"/>
                    <a:pt x="7" y="22"/>
                  </a:cubicBezTo>
                  <a:cubicBezTo>
                    <a:pt x="7" y="22"/>
                    <a:pt x="7" y="22"/>
                    <a:pt x="8" y="22"/>
                  </a:cubicBezTo>
                  <a:cubicBezTo>
                    <a:pt x="8" y="22"/>
                    <a:pt x="8" y="22"/>
                    <a:pt x="9" y="22"/>
                  </a:cubicBezTo>
                  <a:cubicBezTo>
                    <a:pt x="9" y="22"/>
                    <a:pt x="10" y="22"/>
                    <a:pt x="10" y="22"/>
                  </a:cubicBezTo>
                  <a:cubicBezTo>
                    <a:pt x="10" y="22"/>
                    <a:pt x="11" y="22"/>
                    <a:pt x="11" y="22"/>
                  </a:cubicBezTo>
                  <a:cubicBezTo>
                    <a:pt x="11" y="22"/>
                    <a:pt x="11" y="22"/>
                    <a:pt x="11" y="22"/>
                  </a:cubicBezTo>
                  <a:cubicBezTo>
                    <a:pt x="11" y="22"/>
                    <a:pt x="12" y="21"/>
                    <a:pt x="12" y="21"/>
                  </a:cubicBezTo>
                  <a:cubicBezTo>
                    <a:pt x="16" y="6"/>
                    <a:pt x="16" y="6"/>
                    <a:pt x="16" y="6"/>
                  </a:cubicBezTo>
                  <a:cubicBezTo>
                    <a:pt x="16" y="6"/>
                    <a:pt x="16" y="6"/>
                    <a:pt x="16" y="6"/>
                  </a:cubicBezTo>
                  <a:cubicBezTo>
                    <a:pt x="16" y="6"/>
                    <a:pt x="16" y="6"/>
                    <a:pt x="16" y="6"/>
                  </a:cubicBezTo>
                  <a:cubicBezTo>
                    <a:pt x="20" y="21"/>
                    <a:pt x="20" y="21"/>
                    <a:pt x="20" y="21"/>
                  </a:cubicBezTo>
                  <a:cubicBezTo>
                    <a:pt x="20" y="21"/>
                    <a:pt x="20" y="22"/>
                    <a:pt x="20" y="22"/>
                  </a:cubicBezTo>
                  <a:cubicBezTo>
                    <a:pt x="20" y="22"/>
                    <a:pt x="21" y="22"/>
                    <a:pt x="21" y="22"/>
                  </a:cubicBezTo>
                  <a:cubicBezTo>
                    <a:pt x="21" y="22"/>
                    <a:pt x="21" y="22"/>
                    <a:pt x="22" y="22"/>
                  </a:cubicBezTo>
                  <a:cubicBezTo>
                    <a:pt x="22" y="22"/>
                    <a:pt x="22" y="22"/>
                    <a:pt x="23" y="22"/>
                  </a:cubicBezTo>
                  <a:cubicBezTo>
                    <a:pt x="23" y="22"/>
                    <a:pt x="24" y="22"/>
                    <a:pt x="24" y="22"/>
                  </a:cubicBezTo>
                  <a:cubicBezTo>
                    <a:pt x="24" y="22"/>
                    <a:pt x="25" y="22"/>
                    <a:pt x="25" y="22"/>
                  </a:cubicBezTo>
                  <a:cubicBezTo>
                    <a:pt x="25" y="22"/>
                    <a:pt x="25" y="22"/>
                    <a:pt x="25" y="22"/>
                  </a:cubicBezTo>
                  <a:cubicBezTo>
                    <a:pt x="25" y="22"/>
                    <a:pt x="25" y="21"/>
                    <a:pt x="25" y="21"/>
                  </a:cubicBezTo>
                  <a:cubicBezTo>
                    <a:pt x="32" y="1"/>
                    <a:pt x="32" y="1"/>
                    <a:pt x="32" y="1"/>
                  </a:cubicBezTo>
                  <a:cubicBezTo>
                    <a:pt x="32" y="1"/>
                    <a:pt x="32" y="1"/>
                    <a:pt x="32" y="1"/>
                  </a:cubicBezTo>
                  <a:cubicBezTo>
                    <a:pt x="32" y="1"/>
                    <a:pt x="32" y="0"/>
                    <a:pt x="32" y="0"/>
                  </a:cubicBezTo>
                  <a:cubicBezTo>
                    <a:pt x="32" y="0"/>
                    <a:pt x="32" y="0"/>
                    <a:pt x="32"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33">
              <a:extLst>
                <a:ext uri="{FF2B5EF4-FFF2-40B4-BE49-F238E27FC236}">
                  <a16:creationId xmlns:a16="http://schemas.microsoft.com/office/drawing/2014/main" id="{38C16FAD-F562-4EF4-A9BD-9799E87D8BCA}"/>
                </a:ext>
              </a:extLst>
            </p:cNvPr>
            <p:cNvSpPr>
              <a:spLocks noEditPoints="1"/>
            </p:cNvSpPr>
            <p:nvPr/>
          </p:nvSpPr>
          <p:spPr bwMode="auto">
            <a:xfrm>
              <a:off x="5732448" y="6315543"/>
              <a:ext cx="75032" cy="79361"/>
            </a:xfrm>
            <a:custGeom>
              <a:avLst/>
              <a:gdLst>
                <a:gd name="T0" fmla="*/ 21 w 22"/>
                <a:gd name="T1" fmla="*/ 7 h 23"/>
                <a:gd name="T2" fmla="*/ 19 w 22"/>
                <a:gd name="T3" fmla="*/ 3 h 23"/>
                <a:gd name="T4" fmla="*/ 16 w 22"/>
                <a:gd name="T5" fmla="*/ 1 h 23"/>
                <a:gd name="T6" fmla="*/ 11 w 22"/>
                <a:gd name="T7" fmla="*/ 0 h 23"/>
                <a:gd name="T8" fmla="*/ 7 w 22"/>
                <a:gd name="T9" fmla="*/ 1 h 23"/>
                <a:gd name="T10" fmla="*/ 3 w 22"/>
                <a:gd name="T11" fmla="*/ 4 h 23"/>
                <a:gd name="T12" fmla="*/ 1 w 22"/>
                <a:gd name="T13" fmla="*/ 7 h 23"/>
                <a:gd name="T14" fmla="*/ 0 w 22"/>
                <a:gd name="T15" fmla="*/ 12 h 23"/>
                <a:gd name="T16" fmla="*/ 1 w 22"/>
                <a:gd name="T17" fmla="*/ 17 h 23"/>
                <a:gd name="T18" fmla="*/ 3 w 22"/>
                <a:gd name="T19" fmla="*/ 20 h 23"/>
                <a:gd name="T20" fmla="*/ 6 w 22"/>
                <a:gd name="T21" fmla="*/ 23 h 23"/>
                <a:gd name="T22" fmla="*/ 11 w 22"/>
                <a:gd name="T23" fmla="*/ 23 h 23"/>
                <a:gd name="T24" fmla="*/ 15 w 22"/>
                <a:gd name="T25" fmla="*/ 23 h 23"/>
                <a:gd name="T26" fmla="*/ 19 w 22"/>
                <a:gd name="T27" fmla="*/ 20 h 23"/>
                <a:gd name="T28" fmla="*/ 21 w 22"/>
                <a:gd name="T29" fmla="*/ 16 h 23"/>
                <a:gd name="T30" fmla="*/ 22 w 22"/>
                <a:gd name="T31" fmla="*/ 12 h 23"/>
                <a:gd name="T32" fmla="*/ 21 w 22"/>
                <a:gd name="T33" fmla="*/ 7 h 23"/>
                <a:gd name="T34" fmla="*/ 17 w 22"/>
                <a:gd name="T35" fmla="*/ 15 h 23"/>
                <a:gd name="T36" fmla="*/ 16 w 22"/>
                <a:gd name="T37" fmla="*/ 18 h 23"/>
                <a:gd name="T38" fmla="*/ 14 w 22"/>
                <a:gd name="T39" fmla="*/ 20 h 23"/>
                <a:gd name="T40" fmla="*/ 11 w 22"/>
                <a:gd name="T41" fmla="*/ 20 h 23"/>
                <a:gd name="T42" fmla="*/ 8 w 22"/>
                <a:gd name="T43" fmla="*/ 20 h 23"/>
                <a:gd name="T44" fmla="*/ 6 w 22"/>
                <a:gd name="T45" fmla="*/ 18 h 23"/>
                <a:gd name="T46" fmla="*/ 5 w 22"/>
                <a:gd name="T47" fmla="*/ 15 h 23"/>
                <a:gd name="T48" fmla="*/ 4 w 22"/>
                <a:gd name="T49" fmla="*/ 12 h 23"/>
                <a:gd name="T50" fmla="*/ 5 w 22"/>
                <a:gd name="T51" fmla="*/ 8 h 23"/>
                <a:gd name="T52" fmla="*/ 6 w 22"/>
                <a:gd name="T53" fmla="*/ 6 h 23"/>
                <a:gd name="T54" fmla="*/ 8 w 22"/>
                <a:gd name="T55" fmla="*/ 4 h 23"/>
                <a:gd name="T56" fmla="*/ 11 w 22"/>
                <a:gd name="T57" fmla="*/ 4 h 23"/>
                <a:gd name="T58" fmla="*/ 14 w 22"/>
                <a:gd name="T59" fmla="*/ 4 h 23"/>
                <a:gd name="T60" fmla="*/ 16 w 22"/>
                <a:gd name="T61" fmla="*/ 6 h 23"/>
                <a:gd name="T62" fmla="*/ 17 w 22"/>
                <a:gd name="T63" fmla="*/ 9 h 23"/>
                <a:gd name="T64" fmla="*/ 18 w 22"/>
                <a:gd name="T65" fmla="*/ 12 h 23"/>
                <a:gd name="T66" fmla="*/ 17 w 22"/>
                <a:gd name="T67"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23">
                  <a:moveTo>
                    <a:pt x="21" y="7"/>
                  </a:moveTo>
                  <a:cubicBezTo>
                    <a:pt x="20" y="5"/>
                    <a:pt x="20" y="4"/>
                    <a:pt x="19" y="3"/>
                  </a:cubicBezTo>
                  <a:cubicBezTo>
                    <a:pt x="18" y="2"/>
                    <a:pt x="17" y="2"/>
                    <a:pt x="16" y="1"/>
                  </a:cubicBezTo>
                  <a:cubicBezTo>
                    <a:pt x="14" y="1"/>
                    <a:pt x="13" y="0"/>
                    <a:pt x="11" y="0"/>
                  </a:cubicBezTo>
                  <a:cubicBezTo>
                    <a:pt x="9" y="0"/>
                    <a:pt x="8" y="1"/>
                    <a:pt x="7" y="1"/>
                  </a:cubicBezTo>
                  <a:cubicBezTo>
                    <a:pt x="5" y="2"/>
                    <a:pt x="4" y="3"/>
                    <a:pt x="3" y="4"/>
                  </a:cubicBezTo>
                  <a:cubicBezTo>
                    <a:pt x="2" y="5"/>
                    <a:pt x="2" y="6"/>
                    <a:pt x="1" y="7"/>
                  </a:cubicBezTo>
                  <a:cubicBezTo>
                    <a:pt x="1" y="9"/>
                    <a:pt x="0" y="10"/>
                    <a:pt x="0" y="12"/>
                  </a:cubicBezTo>
                  <a:cubicBezTo>
                    <a:pt x="0" y="14"/>
                    <a:pt x="1" y="15"/>
                    <a:pt x="1" y="17"/>
                  </a:cubicBezTo>
                  <a:cubicBezTo>
                    <a:pt x="2" y="18"/>
                    <a:pt x="2" y="19"/>
                    <a:pt x="3" y="20"/>
                  </a:cubicBezTo>
                  <a:cubicBezTo>
                    <a:pt x="4" y="21"/>
                    <a:pt x="5" y="22"/>
                    <a:pt x="6" y="23"/>
                  </a:cubicBezTo>
                  <a:cubicBezTo>
                    <a:pt x="8" y="23"/>
                    <a:pt x="9" y="23"/>
                    <a:pt x="11" y="23"/>
                  </a:cubicBezTo>
                  <a:cubicBezTo>
                    <a:pt x="13" y="23"/>
                    <a:pt x="14" y="23"/>
                    <a:pt x="15" y="23"/>
                  </a:cubicBezTo>
                  <a:cubicBezTo>
                    <a:pt x="17" y="22"/>
                    <a:pt x="18" y="21"/>
                    <a:pt x="19" y="20"/>
                  </a:cubicBezTo>
                  <a:cubicBezTo>
                    <a:pt x="20" y="19"/>
                    <a:pt x="20" y="18"/>
                    <a:pt x="21" y="16"/>
                  </a:cubicBezTo>
                  <a:cubicBezTo>
                    <a:pt x="21" y="15"/>
                    <a:pt x="22" y="13"/>
                    <a:pt x="22" y="12"/>
                  </a:cubicBezTo>
                  <a:cubicBezTo>
                    <a:pt x="22" y="10"/>
                    <a:pt x="21" y="8"/>
                    <a:pt x="21" y="7"/>
                  </a:cubicBezTo>
                  <a:close/>
                  <a:moveTo>
                    <a:pt x="17" y="15"/>
                  </a:moveTo>
                  <a:cubicBezTo>
                    <a:pt x="17" y="16"/>
                    <a:pt x="17" y="17"/>
                    <a:pt x="16" y="18"/>
                  </a:cubicBezTo>
                  <a:cubicBezTo>
                    <a:pt x="15" y="19"/>
                    <a:pt x="15" y="19"/>
                    <a:pt x="14" y="20"/>
                  </a:cubicBezTo>
                  <a:cubicBezTo>
                    <a:pt x="13" y="20"/>
                    <a:pt x="12" y="20"/>
                    <a:pt x="11" y="20"/>
                  </a:cubicBezTo>
                  <a:cubicBezTo>
                    <a:pt x="10" y="20"/>
                    <a:pt x="9" y="20"/>
                    <a:pt x="8" y="20"/>
                  </a:cubicBezTo>
                  <a:cubicBezTo>
                    <a:pt x="7" y="19"/>
                    <a:pt x="6" y="18"/>
                    <a:pt x="6" y="18"/>
                  </a:cubicBezTo>
                  <a:cubicBezTo>
                    <a:pt x="5" y="17"/>
                    <a:pt x="5" y="16"/>
                    <a:pt x="5" y="15"/>
                  </a:cubicBezTo>
                  <a:cubicBezTo>
                    <a:pt x="5" y="14"/>
                    <a:pt x="4" y="13"/>
                    <a:pt x="4" y="12"/>
                  </a:cubicBezTo>
                  <a:cubicBezTo>
                    <a:pt x="4" y="11"/>
                    <a:pt x="5" y="9"/>
                    <a:pt x="5" y="8"/>
                  </a:cubicBezTo>
                  <a:cubicBezTo>
                    <a:pt x="5" y="7"/>
                    <a:pt x="6" y="7"/>
                    <a:pt x="6" y="6"/>
                  </a:cubicBezTo>
                  <a:cubicBezTo>
                    <a:pt x="7" y="5"/>
                    <a:pt x="7" y="5"/>
                    <a:pt x="8" y="4"/>
                  </a:cubicBezTo>
                  <a:cubicBezTo>
                    <a:pt x="9" y="4"/>
                    <a:pt x="10" y="4"/>
                    <a:pt x="11" y="4"/>
                  </a:cubicBezTo>
                  <a:cubicBezTo>
                    <a:pt x="12" y="4"/>
                    <a:pt x="13" y="4"/>
                    <a:pt x="14" y="4"/>
                  </a:cubicBezTo>
                  <a:cubicBezTo>
                    <a:pt x="15" y="5"/>
                    <a:pt x="16" y="5"/>
                    <a:pt x="16" y="6"/>
                  </a:cubicBezTo>
                  <a:cubicBezTo>
                    <a:pt x="17" y="7"/>
                    <a:pt x="17" y="8"/>
                    <a:pt x="17" y="9"/>
                  </a:cubicBezTo>
                  <a:cubicBezTo>
                    <a:pt x="17" y="10"/>
                    <a:pt x="18" y="11"/>
                    <a:pt x="18" y="12"/>
                  </a:cubicBezTo>
                  <a:cubicBezTo>
                    <a:pt x="18" y="13"/>
                    <a:pt x="17" y="14"/>
                    <a:pt x="17" y="15"/>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34">
              <a:extLst>
                <a:ext uri="{FF2B5EF4-FFF2-40B4-BE49-F238E27FC236}">
                  <a16:creationId xmlns:a16="http://schemas.microsoft.com/office/drawing/2014/main" id="{5952B7A6-1AA4-4312-A644-E7842571395F}"/>
                </a:ext>
              </a:extLst>
            </p:cNvPr>
            <p:cNvSpPr>
              <a:spLocks/>
            </p:cNvSpPr>
            <p:nvPr/>
          </p:nvSpPr>
          <p:spPr bwMode="auto">
            <a:xfrm>
              <a:off x="5824795" y="6315543"/>
              <a:ext cx="44731" cy="79361"/>
            </a:xfrm>
            <a:custGeom>
              <a:avLst/>
              <a:gdLst>
                <a:gd name="T0" fmla="*/ 13 w 13"/>
                <a:gd name="T1" fmla="*/ 2 h 23"/>
                <a:gd name="T2" fmla="*/ 13 w 13"/>
                <a:gd name="T3" fmla="*/ 1 h 23"/>
                <a:gd name="T4" fmla="*/ 13 w 13"/>
                <a:gd name="T5" fmla="*/ 1 h 23"/>
                <a:gd name="T6" fmla="*/ 12 w 13"/>
                <a:gd name="T7" fmla="*/ 1 h 23"/>
                <a:gd name="T8" fmla="*/ 12 w 13"/>
                <a:gd name="T9" fmla="*/ 1 h 23"/>
                <a:gd name="T10" fmla="*/ 11 w 13"/>
                <a:gd name="T11" fmla="*/ 0 h 23"/>
                <a:gd name="T12" fmla="*/ 10 w 13"/>
                <a:gd name="T13" fmla="*/ 0 h 23"/>
                <a:gd name="T14" fmla="*/ 10 w 13"/>
                <a:gd name="T15" fmla="*/ 0 h 23"/>
                <a:gd name="T16" fmla="*/ 8 w 13"/>
                <a:gd name="T17" fmla="*/ 0 h 23"/>
                <a:gd name="T18" fmla="*/ 7 w 13"/>
                <a:gd name="T19" fmla="*/ 1 h 23"/>
                <a:gd name="T20" fmla="*/ 5 w 13"/>
                <a:gd name="T21" fmla="*/ 2 h 23"/>
                <a:gd name="T22" fmla="*/ 4 w 13"/>
                <a:gd name="T23" fmla="*/ 4 h 23"/>
                <a:gd name="T24" fmla="*/ 4 w 13"/>
                <a:gd name="T25" fmla="*/ 1 h 23"/>
                <a:gd name="T26" fmla="*/ 4 w 13"/>
                <a:gd name="T27" fmla="*/ 1 h 23"/>
                <a:gd name="T28" fmla="*/ 3 w 13"/>
                <a:gd name="T29" fmla="*/ 1 h 23"/>
                <a:gd name="T30" fmla="*/ 3 w 13"/>
                <a:gd name="T31" fmla="*/ 1 h 23"/>
                <a:gd name="T32" fmla="*/ 2 w 13"/>
                <a:gd name="T33" fmla="*/ 1 h 23"/>
                <a:gd name="T34" fmla="*/ 1 w 13"/>
                <a:gd name="T35" fmla="*/ 1 h 23"/>
                <a:gd name="T36" fmla="*/ 1 w 13"/>
                <a:gd name="T37" fmla="*/ 1 h 23"/>
                <a:gd name="T38" fmla="*/ 0 w 13"/>
                <a:gd name="T39" fmla="*/ 1 h 23"/>
                <a:gd name="T40" fmla="*/ 0 w 13"/>
                <a:gd name="T41" fmla="*/ 1 h 23"/>
                <a:gd name="T42" fmla="*/ 0 w 13"/>
                <a:gd name="T43" fmla="*/ 22 h 23"/>
                <a:gd name="T44" fmla="*/ 0 w 13"/>
                <a:gd name="T45" fmla="*/ 23 h 23"/>
                <a:gd name="T46" fmla="*/ 1 w 13"/>
                <a:gd name="T47" fmla="*/ 23 h 23"/>
                <a:gd name="T48" fmla="*/ 1 w 13"/>
                <a:gd name="T49" fmla="*/ 23 h 23"/>
                <a:gd name="T50" fmla="*/ 2 w 13"/>
                <a:gd name="T51" fmla="*/ 23 h 23"/>
                <a:gd name="T52" fmla="*/ 3 w 13"/>
                <a:gd name="T53" fmla="*/ 23 h 23"/>
                <a:gd name="T54" fmla="*/ 4 w 13"/>
                <a:gd name="T55" fmla="*/ 23 h 23"/>
                <a:gd name="T56" fmla="*/ 4 w 13"/>
                <a:gd name="T57" fmla="*/ 23 h 23"/>
                <a:gd name="T58" fmla="*/ 4 w 13"/>
                <a:gd name="T59" fmla="*/ 22 h 23"/>
                <a:gd name="T60" fmla="*/ 4 w 13"/>
                <a:gd name="T61" fmla="*/ 9 h 23"/>
                <a:gd name="T62" fmla="*/ 6 w 13"/>
                <a:gd name="T63" fmla="*/ 6 h 23"/>
                <a:gd name="T64" fmla="*/ 7 w 13"/>
                <a:gd name="T65" fmla="*/ 5 h 23"/>
                <a:gd name="T66" fmla="*/ 8 w 13"/>
                <a:gd name="T67" fmla="*/ 4 h 23"/>
                <a:gd name="T68" fmla="*/ 9 w 13"/>
                <a:gd name="T69" fmla="*/ 4 h 23"/>
                <a:gd name="T70" fmla="*/ 10 w 13"/>
                <a:gd name="T71" fmla="*/ 4 h 23"/>
                <a:gd name="T72" fmla="*/ 11 w 13"/>
                <a:gd name="T73" fmla="*/ 4 h 23"/>
                <a:gd name="T74" fmla="*/ 12 w 13"/>
                <a:gd name="T75" fmla="*/ 4 h 23"/>
                <a:gd name="T76" fmla="*/ 12 w 13"/>
                <a:gd name="T77" fmla="*/ 5 h 23"/>
                <a:gd name="T78" fmla="*/ 12 w 13"/>
                <a:gd name="T79" fmla="*/ 4 h 23"/>
                <a:gd name="T80" fmla="*/ 13 w 13"/>
                <a:gd name="T81" fmla="*/ 4 h 23"/>
                <a:gd name="T82" fmla="*/ 13 w 13"/>
                <a:gd name="T83" fmla="*/ 4 h 23"/>
                <a:gd name="T84" fmla="*/ 13 w 13"/>
                <a:gd name="T85" fmla="*/ 3 h 23"/>
                <a:gd name="T86" fmla="*/ 13 w 13"/>
                <a:gd name="T8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 h="23">
                  <a:moveTo>
                    <a:pt x="13" y="2"/>
                  </a:moveTo>
                  <a:cubicBezTo>
                    <a:pt x="13" y="2"/>
                    <a:pt x="13" y="1"/>
                    <a:pt x="13" y="1"/>
                  </a:cubicBezTo>
                  <a:cubicBezTo>
                    <a:pt x="13" y="1"/>
                    <a:pt x="13" y="1"/>
                    <a:pt x="13" y="1"/>
                  </a:cubicBezTo>
                  <a:cubicBezTo>
                    <a:pt x="13" y="1"/>
                    <a:pt x="12" y="1"/>
                    <a:pt x="12" y="1"/>
                  </a:cubicBezTo>
                  <a:cubicBezTo>
                    <a:pt x="12" y="1"/>
                    <a:pt x="12" y="1"/>
                    <a:pt x="12" y="1"/>
                  </a:cubicBezTo>
                  <a:cubicBezTo>
                    <a:pt x="12" y="1"/>
                    <a:pt x="11" y="1"/>
                    <a:pt x="11" y="0"/>
                  </a:cubicBezTo>
                  <a:cubicBezTo>
                    <a:pt x="11" y="0"/>
                    <a:pt x="11" y="0"/>
                    <a:pt x="10" y="0"/>
                  </a:cubicBezTo>
                  <a:cubicBezTo>
                    <a:pt x="10" y="0"/>
                    <a:pt x="10" y="0"/>
                    <a:pt x="10" y="0"/>
                  </a:cubicBezTo>
                  <a:cubicBezTo>
                    <a:pt x="9" y="0"/>
                    <a:pt x="9" y="0"/>
                    <a:pt x="8" y="0"/>
                  </a:cubicBezTo>
                  <a:cubicBezTo>
                    <a:pt x="8" y="1"/>
                    <a:pt x="7" y="1"/>
                    <a:pt x="7" y="1"/>
                  </a:cubicBezTo>
                  <a:cubicBezTo>
                    <a:pt x="6" y="1"/>
                    <a:pt x="6" y="2"/>
                    <a:pt x="5" y="2"/>
                  </a:cubicBezTo>
                  <a:cubicBezTo>
                    <a:pt x="5" y="3"/>
                    <a:pt x="4" y="4"/>
                    <a:pt x="4" y="4"/>
                  </a:cubicBezTo>
                  <a:cubicBezTo>
                    <a:pt x="4" y="1"/>
                    <a:pt x="4" y="1"/>
                    <a:pt x="4" y="1"/>
                  </a:cubicBezTo>
                  <a:cubicBezTo>
                    <a:pt x="4" y="1"/>
                    <a:pt x="4" y="1"/>
                    <a:pt x="4" y="1"/>
                  </a:cubicBezTo>
                  <a:cubicBezTo>
                    <a:pt x="4" y="1"/>
                    <a:pt x="4" y="1"/>
                    <a:pt x="3" y="1"/>
                  </a:cubicBezTo>
                  <a:cubicBezTo>
                    <a:pt x="3" y="1"/>
                    <a:pt x="3" y="1"/>
                    <a:pt x="3" y="1"/>
                  </a:cubicBezTo>
                  <a:cubicBezTo>
                    <a:pt x="3" y="1"/>
                    <a:pt x="2" y="1"/>
                    <a:pt x="2" y="1"/>
                  </a:cubicBezTo>
                  <a:cubicBezTo>
                    <a:pt x="2" y="1"/>
                    <a:pt x="1" y="1"/>
                    <a:pt x="1" y="1"/>
                  </a:cubicBezTo>
                  <a:cubicBezTo>
                    <a:pt x="1" y="1"/>
                    <a:pt x="1" y="1"/>
                    <a:pt x="1" y="1"/>
                  </a:cubicBezTo>
                  <a:cubicBezTo>
                    <a:pt x="1" y="1"/>
                    <a:pt x="0" y="1"/>
                    <a:pt x="0" y="1"/>
                  </a:cubicBezTo>
                  <a:cubicBezTo>
                    <a:pt x="0" y="1"/>
                    <a:pt x="0" y="1"/>
                    <a:pt x="0" y="1"/>
                  </a:cubicBezTo>
                  <a:cubicBezTo>
                    <a:pt x="0" y="22"/>
                    <a:pt x="0" y="22"/>
                    <a:pt x="0" y="22"/>
                  </a:cubicBezTo>
                  <a:cubicBezTo>
                    <a:pt x="0" y="23"/>
                    <a:pt x="0" y="23"/>
                    <a:pt x="0" y="23"/>
                  </a:cubicBezTo>
                  <a:cubicBezTo>
                    <a:pt x="0" y="23"/>
                    <a:pt x="1" y="23"/>
                    <a:pt x="1" y="23"/>
                  </a:cubicBezTo>
                  <a:cubicBezTo>
                    <a:pt x="1" y="23"/>
                    <a:pt x="1" y="23"/>
                    <a:pt x="1" y="23"/>
                  </a:cubicBezTo>
                  <a:cubicBezTo>
                    <a:pt x="2" y="23"/>
                    <a:pt x="2" y="23"/>
                    <a:pt x="2" y="23"/>
                  </a:cubicBezTo>
                  <a:cubicBezTo>
                    <a:pt x="3" y="23"/>
                    <a:pt x="3" y="23"/>
                    <a:pt x="3" y="23"/>
                  </a:cubicBezTo>
                  <a:cubicBezTo>
                    <a:pt x="3" y="23"/>
                    <a:pt x="4" y="23"/>
                    <a:pt x="4" y="23"/>
                  </a:cubicBezTo>
                  <a:cubicBezTo>
                    <a:pt x="4" y="23"/>
                    <a:pt x="4" y="23"/>
                    <a:pt x="4" y="23"/>
                  </a:cubicBezTo>
                  <a:cubicBezTo>
                    <a:pt x="4" y="23"/>
                    <a:pt x="4" y="23"/>
                    <a:pt x="4" y="22"/>
                  </a:cubicBezTo>
                  <a:cubicBezTo>
                    <a:pt x="4" y="9"/>
                    <a:pt x="4" y="9"/>
                    <a:pt x="4" y="9"/>
                  </a:cubicBezTo>
                  <a:cubicBezTo>
                    <a:pt x="5" y="8"/>
                    <a:pt x="5" y="7"/>
                    <a:pt x="6" y="6"/>
                  </a:cubicBezTo>
                  <a:cubicBezTo>
                    <a:pt x="6" y="6"/>
                    <a:pt x="7" y="5"/>
                    <a:pt x="7" y="5"/>
                  </a:cubicBezTo>
                  <a:cubicBezTo>
                    <a:pt x="7" y="5"/>
                    <a:pt x="8" y="4"/>
                    <a:pt x="8" y="4"/>
                  </a:cubicBezTo>
                  <a:cubicBezTo>
                    <a:pt x="9" y="4"/>
                    <a:pt x="9" y="4"/>
                    <a:pt x="9" y="4"/>
                  </a:cubicBezTo>
                  <a:cubicBezTo>
                    <a:pt x="10" y="4"/>
                    <a:pt x="10" y="4"/>
                    <a:pt x="10" y="4"/>
                  </a:cubicBezTo>
                  <a:cubicBezTo>
                    <a:pt x="11" y="4"/>
                    <a:pt x="11" y="4"/>
                    <a:pt x="11" y="4"/>
                  </a:cubicBezTo>
                  <a:cubicBezTo>
                    <a:pt x="11" y="4"/>
                    <a:pt x="11" y="4"/>
                    <a:pt x="12" y="4"/>
                  </a:cubicBezTo>
                  <a:cubicBezTo>
                    <a:pt x="12" y="5"/>
                    <a:pt x="12" y="5"/>
                    <a:pt x="12" y="5"/>
                  </a:cubicBezTo>
                  <a:cubicBezTo>
                    <a:pt x="12" y="5"/>
                    <a:pt x="12" y="5"/>
                    <a:pt x="12" y="4"/>
                  </a:cubicBezTo>
                  <a:cubicBezTo>
                    <a:pt x="12" y="4"/>
                    <a:pt x="13" y="4"/>
                    <a:pt x="13" y="4"/>
                  </a:cubicBezTo>
                  <a:cubicBezTo>
                    <a:pt x="13" y="4"/>
                    <a:pt x="13" y="4"/>
                    <a:pt x="13" y="4"/>
                  </a:cubicBezTo>
                  <a:cubicBezTo>
                    <a:pt x="13" y="3"/>
                    <a:pt x="13" y="3"/>
                    <a:pt x="13" y="3"/>
                  </a:cubicBezTo>
                  <a:cubicBezTo>
                    <a:pt x="13" y="2"/>
                    <a:pt x="13" y="2"/>
                    <a:pt x="13" y="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35">
              <a:extLst>
                <a:ext uri="{FF2B5EF4-FFF2-40B4-BE49-F238E27FC236}">
                  <a16:creationId xmlns:a16="http://schemas.microsoft.com/office/drawing/2014/main" id="{E6E21B40-EDD9-4A60-8333-DE7E172F79A1}"/>
                </a:ext>
              </a:extLst>
            </p:cNvPr>
            <p:cNvSpPr>
              <a:spLocks/>
            </p:cNvSpPr>
            <p:nvPr/>
          </p:nvSpPr>
          <p:spPr bwMode="auto">
            <a:xfrm>
              <a:off x="5882511" y="6280913"/>
              <a:ext cx="57717" cy="113991"/>
            </a:xfrm>
            <a:custGeom>
              <a:avLst/>
              <a:gdLst>
                <a:gd name="T0" fmla="*/ 17 w 17"/>
                <a:gd name="T1" fmla="*/ 32 h 33"/>
                <a:gd name="T2" fmla="*/ 17 w 17"/>
                <a:gd name="T3" fmla="*/ 31 h 33"/>
                <a:gd name="T4" fmla="*/ 8 w 17"/>
                <a:gd name="T5" fmla="*/ 20 h 33"/>
                <a:gd name="T6" fmla="*/ 16 w 17"/>
                <a:gd name="T7" fmla="*/ 13 h 33"/>
                <a:gd name="T8" fmla="*/ 16 w 17"/>
                <a:gd name="T9" fmla="*/ 12 h 33"/>
                <a:gd name="T10" fmla="*/ 17 w 17"/>
                <a:gd name="T11" fmla="*/ 11 h 33"/>
                <a:gd name="T12" fmla="*/ 17 w 17"/>
                <a:gd name="T13" fmla="*/ 11 h 33"/>
                <a:gd name="T14" fmla="*/ 16 w 17"/>
                <a:gd name="T15" fmla="*/ 11 h 33"/>
                <a:gd name="T16" fmla="*/ 16 w 17"/>
                <a:gd name="T17" fmla="*/ 11 h 33"/>
                <a:gd name="T18" fmla="*/ 15 w 17"/>
                <a:gd name="T19" fmla="*/ 11 h 33"/>
                <a:gd name="T20" fmla="*/ 14 w 17"/>
                <a:gd name="T21" fmla="*/ 11 h 33"/>
                <a:gd name="T22" fmla="*/ 13 w 17"/>
                <a:gd name="T23" fmla="*/ 11 h 33"/>
                <a:gd name="T24" fmla="*/ 12 w 17"/>
                <a:gd name="T25" fmla="*/ 11 h 33"/>
                <a:gd name="T26" fmla="*/ 12 w 17"/>
                <a:gd name="T27" fmla="*/ 11 h 33"/>
                <a:gd name="T28" fmla="*/ 4 w 17"/>
                <a:gd name="T29" fmla="*/ 20 h 33"/>
                <a:gd name="T30" fmla="*/ 4 w 17"/>
                <a:gd name="T31" fmla="*/ 1 h 33"/>
                <a:gd name="T32" fmla="*/ 4 w 17"/>
                <a:gd name="T33" fmla="*/ 1 h 33"/>
                <a:gd name="T34" fmla="*/ 4 w 17"/>
                <a:gd name="T35" fmla="*/ 1 h 33"/>
                <a:gd name="T36" fmla="*/ 3 w 17"/>
                <a:gd name="T37" fmla="*/ 0 h 33"/>
                <a:gd name="T38" fmla="*/ 2 w 17"/>
                <a:gd name="T39" fmla="*/ 0 h 33"/>
                <a:gd name="T40" fmla="*/ 1 w 17"/>
                <a:gd name="T41" fmla="*/ 0 h 33"/>
                <a:gd name="T42" fmla="*/ 1 w 17"/>
                <a:gd name="T43" fmla="*/ 1 h 33"/>
                <a:gd name="T44" fmla="*/ 0 w 17"/>
                <a:gd name="T45" fmla="*/ 1 h 33"/>
                <a:gd name="T46" fmla="*/ 0 w 17"/>
                <a:gd name="T47" fmla="*/ 1 h 33"/>
                <a:gd name="T48" fmla="*/ 0 w 17"/>
                <a:gd name="T49" fmla="*/ 32 h 33"/>
                <a:gd name="T50" fmla="*/ 0 w 17"/>
                <a:gd name="T51" fmla="*/ 33 h 33"/>
                <a:gd name="T52" fmla="*/ 1 w 17"/>
                <a:gd name="T53" fmla="*/ 33 h 33"/>
                <a:gd name="T54" fmla="*/ 1 w 17"/>
                <a:gd name="T55" fmla="*/ 33 h 33"/>
                <a:gd name="T56" fmla="*/ 2 w 17"/>
                <a:gd name="T57" fmla="*/ 33 h 33"/>
                <a:gd name="T58" fmla="*/ 3 w 17"/>
                <a:gd name="T59" fmla="*/ 33 h 33"/>
                <a:gd name="T60" fmla="*/ 4 w 17"/>
                <a:gd name="T61" fmla="*/ 33 h 33"/>
                <a:gd name="T62" fmla="*/ 4 w 17"/>
                <a:gd name="T63" fmla="*/ 33 h 33"/>
                <a:gd name="T64" fmla="*/ 4 w 17"/>
                <a:gd name="T65" fmla="*/ 32 h 33"/>
                <a:gd name="T66" fmla="*/ 4 w 17"/>
                <a:gd name="T67" fmla="*/ 21 h 33"/>
                <a:gd name="T68" fmla="*/ 13 w 17"/>
                <a:gd name="T69" fmla="*/ 32 h 33"/>
                <a:gd name="T70" fmla="*/ 13 w 17"/>
                <a:gd name="T71" fmla="*/ 33 h 33"/>
                <a:gd name="T72" fmla="*/ 14 w 17"/>
                <a:gd name="T73" fmla="*/ 33 h 33"/>
                <a:gd name="T74" fmla="*/ 14 w 17"/>
                <a:gd name="T75" fmla="*/ 33 h 33"/>
                <a:gd name="T76" fmla="*/ 15 w 17"/>
                <a:gd name="T77" fmla="*/ 33 h 33"/>
                <a:gd name="T78" fmla="*/ 16 w 17"/>
                <a:gd name="T79" fmla="*/ 33 h 33"/>
                <a:gd name="T80" fmla="*/ 17 w 17"/>
                <a:gd name="T81" fmla="*/ 33 h 33"/>
                <a:gd name="T82" fmla="*/ 17 w 17"/>
                <a:gd name="T83" fmla="*/ 33 h 33"/>
                <a:gd name="T84" fmla="*/ 17 w 17"/>
                <a:gd name="T85" fmla="*/ 32 h 33"/>
                <a:gd name="T86" fmla="*/ 17 w 17"/>
                <a:gd name="T8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33">
                  <a:moveTo>
                    <a:pt x="17" y="32"/>
                  </a:moveTo>
                  <a:cubicBezTo>
                    <a:pt x="17" y="32"/>
                    <a:pt x="17" y="32"/>
                    <a:pt x="17" y="31"/>
                  </a:cubicBezTo>
                  <a:cubicBezTo>
                    <a:pt x="8" y="20"/>
                    <a:pt x="8" y="20"/>
                    <a:pt x="8" y="20"/>
                  </a:cubicBezTo>
                  <a:cubicBezTo>
                    <a:pt x="16" y="13"/>
                    <a:pt x="16" y="13"/>
                    <a:pt x="16" y="13"/>
                  </a:cubicBezTo>
                  <a:cubicBezTo>
                    <a:pt x="16" y="12"/>
                    <a:pt x="16" y="12"/>
                    <a:pt x="16" y="12"/>
                  </a:cubicBezTo>
                  <a:cubicBezTo>
                    <a:pt x="17" y="12"/>
                    <a:pt x="17" y="11"/>
                    <a:pt x="17" y="11"/>
                  </a:cubicBezTo>
                  <a:cubicBezTo>
                    <a:pt x="17" y="11"/>
                    <a:pt x="17" y="11"/>
                    <a:pt x="17" y="11"/>
                  </a:cubicBezTo>
                  <a:cubicBezTo>
                    <a:pt x="16" y="11"/>
                    <a:pt x="16" y="11"/>
                    <a:pt x="16" y="11"/>
                  </a:cubicBezTo>
                  <a:cubicBezTo>
                    <a:pt x="16" y="11"/>
                    <a:pt x="16" y="11"/>
                    <a:pt x="16" y="11"/>
                  </a:cubicBezTo>
                  <a:cubicBezTo>
                    <a:pt x="15" y="11"/>
                    <a:pt x="15" y="11"/>
                    <a:pt x="15" y="11"/>
                  </a:cubicBezTo>
                  <a:cubicBezTo>
                    <a:pt x="14" y="11"/>
                    <a:pt x="14" y="11"/>
                    <a:pt x="14" y="11"/>
                  </a:cubicBezTo>
                  <a:cubicBezTo>
                    <a:pt x="13" y="11"/>
                    <a:pt x="13" y="11"/>
                    <a:pt x="13" y="11"/>
                  </a:cubicBezTo>
                  <a:cubicBezTo>
                    <a:pt x="13" y="11"/>
                    <a:pt x="13" y="11"/>
                    <a:pt x="12" y="11"/>
                  </a:cubicBezTo>
                  <a:cubicBezTo>
                    <a:pt x="12" y="11"/>
                    <a:pt x="12" y="11"/>
                    <a:pt x="12" y="11"/>
                  </a:cubicBezTo>
                  <a:cubicBezTo>
                    <a:pt x="4" y="20"/>
                    <a:pt x="4" y="20"/>
                    <a:pt x="4" y="20"/>
                  </a:cubicBezTo>
                  <a:cubicBezTo>
                    <a:pt x="4" y="1"/>
                    <a:pt x="4" y="1"/>
                    <a:pt x="4" y="1"/>
                  </a:cubicBezTo>
                  <a:cubicBezTo>
                    <a:pt x="4" y="1"/>
                    <a:pt x="4" y="1"/>
                    <a:pt x="4" y="1"/>
                  </a:cubicBezTo>
                  <a:cubicBezTo>
                    <a:pt x="4" y="1"/>
                    <a:pt x="4" y="1"/>
                    <a:pt x="4" y="1"/>
                  </a:cubicBezTo>
                  <a:cubicBezTo>
                    <a:pt x="3" y="0"/>
                    <a:pt x="3" y="0"/>
                    <a:pt x="3" y="0"/>
                  </a:cubicBezTo>
                  <a:cubicBezTo>
                    <a:pt x="3" y="0"/>
                    <a:pt x="2" y="0"/>
                    <a:pt x="2" y="0"/>
                  </a:cubicBezTo>
                  <a:cubicBezTo>
                    <a:pt x="2" y="0"/>
                    <a:pt x="1" y="0"/>
                    <a:pt x="1" y="0"/>
                  </a:cubicBezTo>
                  <a:cubicBezTo>
                    <a:pt x="1" y="0"/>
                    <a:pt x="1" y="0"/>
                    <a:pt x="1" y="1"/>
                  </a:cubicBezTo>
                  <a:cubicBezTo>
                    <a:pt x="0" y="1"/>
                    <a:pt x="0" y="1"/>
                    <a:pt x="0" y="1"/>
                  </a:cubicBezTo>
                  <a:cubicBezTo>
                    <a:pt x="0" y="1"/>
                    <a:pt x="0" y="1"/>
                    <a:pt x="0" y="1"/>
                  </a:cubicBezTo>
                  <a:cubicBezTo>
                    <a:pt x="0" y="32"/>
                    <a:pt x="0" y="32"/>
                    <a:pt x="0" y="32"/>
                  </a:cubicBezTo>
                  <a:cubicBezTo>
                    <a:pt x="0" y="33"/>
                    <a:pt x="0" y="33"/>
                    <a:pt x="0" y="33"/>
                  </a:cubicBezTo>
                  <a:cubicBezTo>
                    <a:pt x="0" y="33"/>
                    <a:pt x="0" y="33"/>
                    <a:pt x="1" y="33"/>
                  </a:cubicBezTo>
                  <a:cubicBezTo>
                    <a:pt x="1" y="33"/>
                    <a:pt x="1" y="33"/>
                    <a:pt x="1" y="33"/>
                  </a:cubicBezTo>
                  <a:cubicBezTo>
                    <a:pt x="1" y="33"/>
                    <a:pt x="2" y="33"/>
                    <a:pt x="2" y="33"/>
                  </a:cubicBezTo>
                  <a:cubicBezTo>
                    <a:pt x="2" y="33"/>
                    <a:pt x="3" y="33"/>
                    <a:pt x="3" y="33"/>
                  </a:cubicBezTo>
                  <a:cubicBezTo>
                    <a:pt x="3" y="33"/>
                    <a:pt x="3" y="33"/>
                    <a:pt x="4" y="33"/>
                  </a:cubicBezTo>
                  <a:cubicBezTo>
                    <a:pt x="4" y="33"/>
                    <a:pt x="4" y="33"/>
                    <a:pt x="4" y="33"/>
                  </a:cubicBezTo>
                  <a:cubicBezTo>
                    <a:pt x="4" y="33"/>
                    <a:pt x="4" y="33"/>
                    <a:pt x="4" y="32"/>
                  </a:cubicBezTo>
                  <a:cubicBezTo>
                    <a:pt x="4" y="21"/>
                    <a:pt x="4" y="21"/>
                    <a:pt x="4" y="21"/>
                  </a:cubicBezTo>
                  <a:cubicBezTo>
                    <a:pt x="13" y="32"/>
                    <a:pt x="13" y="32"/>
                    <a:pt x="13" y="32"/>
                  </a:cubicBezTo>
                  <a:cubicBezTo>
                    <a:pt x="13" y="33"/>
                    <a:pt x="13" y="33"/>
                    <a:pt x="13" y="33"/>
                  </a:cubicBezTo>
                  <a:cubicBezTo>
                    <a:pt x="13" y="33"/>
                    <a:pt x="13" y="33"/>
                    <a:pt x="14" y="33"/>
                  </a:cubicBezTo>
                  <a:cubicBezTo>
                    <a:pt x="14" y="33"/>
                    <a:pt x="14" y="33"/>
                    <a:pt x="14" y="33"/>
                  </a:cubicBezTo>
                  <a:cubicBezTo>
                    <a:pt x="15" y="33"/>
                    <a:pt x="15" y="33"/>
                    <a:pt x="15" y="33"/>
                  </a:cubicBezTo>
                  <a:cubicBezTo>
                    <a:pt x="16" y="33"/>
                    <a:pt x="16" y="33"/>
                    <a:pt x="16" y="33"/>
                  </a:cubicBezTo>
                  <a:cubicBezTo>
                    <a:pt x="17" y="33"/>
                    <a:pt x="17" y="33"/>
                    <a:pt x="17" y="33"/>
                  </a:cubicBezTo>
                  <a:cubicBezTo>
                    <a:pt x="17" y="33"/>
                    <a:pt x="17" y="33"/>
                    <a:pt x="17" y="33"/>
                  </a:cubicBezTo>
                  <a:cubicBezTo>
                    <a:pt x="17" y="33"/>
                    <a:pt x="17" y="33"/>
                    <a:pt x="17" y="32"/>
                  </a:cubicBezTo>
                  <a:cubicBezTo>
                    <a:pt x="17" y="32"/>
                    <a:pt x="17" y="32"/>
                    <a:pt x="17" y="3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36">
              <a:extLst>
                <a:ext uri="{FF2B5EF4-FFF2-40B4-BE49-F238E27FC236}">
                  <a16:creationId xmlns:a16="http://schemas.microsoft.com/office/drawing/2014/main" id="{8F6B849A-65D8-4A1A-B65A-CE6034969E62}"/>
                </a:ext>
              </a:extLst>
            </p:cNvPr>
            <p:cNvSpPr>
              <a:spLocks/>
            </p:cNvSpPr>
            <p:nvPr/>
          </p:nvSpPr>
          <p:spPr bwMode="auto">
            <a:xfrm>
              <a:off x="5989287" y="6288127"/>
              <a:ext cx="64932" cy="106776"/>
            </a:xfrm>
            <a:custGeom>
              <a:avLst/>
              <a:gdLst>
                <a:gd name="T0" fmla="*/ 18 w 19"/>
                <a:gd name="T1" fmla="*/ 19 h 31"/>
                <a:gd name="T2" fmla="*/ 17 w 19"/>
                <a:gd name="T3" fmla="*/ 17 h 31"/>
                <a:gd name="T4" fmla="*/ 15 w 19"/>
                <a:gd name="T5" fmla="*/ 15 h 31"/>
                <a:gd name="T6" fmla="*/ 12 w 19"/>
                <a:gd name="T7" fmla="*/ 14 h 31"/>
                <a:gd name="T8" fmla="*/ 10 w 19"/>
                <a:gd name="T9" fmla="*/ 13 h 31"/>
                <a:gd name="T10" fmla="*/ 7 w 19"/>
                <a:gd name="T11" fmla="*/ 12 h 31"/>
                <a:gd name="T12" fmla="*/ 6 w 19"/>
                <a:gd name="T13" fmla="*/ 10 h 31"/>
                <a:gd name="T14" fmla="*/ 5 w 19"/>
                <a:gd name="T15" fmla="*/ 8 h 31"/>
                <a:gd name="T16" fmla="*/ 5 w 19"/>
                <a:gd name="T17" fmla="*/ 6 h 31"/>
                <a:gd name="T18" fmla="*/ 6 w 19"/>
                <a:gd name="T19" fmla="*/ 5 h 31"/>
                <a:gd name="T20" fmla="*/ 8 w 19"/>
                <a:gd name="T21" fmla="*/ 4 h 31"/>
                <a:gd name="T22" fmla="*/ 10 w 19"/>
                <a:gd name="T23" fmla="*/ 4 h 31"/>
                <a:gd name="T24" fmla="*/ 13 w 19"/>
                <a:gd name="T25" fmla="*/ 4 h 31"/>
                <a:gd name="T26" fmla="*/ 14 w 19"/>
                <a:gd name="T27" fmla="*/ 5 h 31"/>
                <a:gd name="T28" fmla="*/ 16 w 19"/>
                <a:gd name="T29" fmla="*/ 5 h 31"/>
                <a:gd name="T30" fmla="*/ 17 w 19"/>
                <a:gd name="T31" fmla="*/ 6 h 31"/>
                <a:gd name="T32" fmla="*/ 17 w 19"/>
                <a:gd name="T33" fmla="*/ 6 h 31"/>
                <a:gd name="T34" fmla="*/ 17 w 19"/>
                <a:gd name="T35" fmla="*/ 5 h 31"/>
                <a:gd name="T36" fmla="*/ 17 w 19"/>
                <a:gd name="T37" fmla="*/ 5 h 31"/>
                <a:gd name="T38" fmla="*/ 17 w 19"/>
                <a:gd name="T39" fmla="*/ 4 h 31"/>
                <a:gd name="T40" fmla="*/ 17 w 19"/>
                <a:gd name="T41" fmla="*/ 3 h 31"/>
                <a:gd name="T42" fmla="*/ 17 w 19"/>
                <a:gd name="T43" fmla="*/ 3 h 31"/>
                <a:gd name="T44" fmla="*/ 17 w 19"/>
                <a:gd name="T45" fmla="*/ 2 h 31"/>
                <a:gd name="T46" fmla="*/ 17 w 19"/>
                <a:gd name="T47" fmla="*/ 2 h 31"/>
                <a:gd name="T48" fmla="*/ 16 w 19"/>
                <a:gd name="T49" fmla="*/ 2 h 31"/>
                <a:gd name="T50" fmla="*/ 14 w 19"/>
                <a:gd name="T51" fmla="*/ 1 h 31"/>
                <a:gd name="T52" fmla="*/ 12 w 19"/>
                <a:gd name="T53" fmla="*/ 0 h 31"/>
                <a:gd name="T54" fmla="*/ 10 w 19"/>
                <a:gd name="T55" fmla="*/ 0 h 31"/>
                <a:gd name="T56" fmla="*/ 7 w 19"/>
                <a:gd name="T57" fmla="*/ 1 h 31"/>
                <a:gd name="T58" fmla="*/ 4 w 19"/>
                <a:gd name="T59" fmla="*/ 2 h 31"/>
                <a:gd name="T60" fmla="*/ 2 w 19"/>
                <a:gd name="T61" fmla="*/ 5 h 31"/>
                <a:gd name="T62" fmla="*/ 1 w 19"/>
                <a:gd name="T63" fmla="*/ 8 h 31"/>
                <a:gd name="T64" fmla="*/ 2 w 19"/>
                <a:gd name="T65" fmla="*/ 11 h 31"/>
                <a:gd name="T66" fmla="*/ 3 w 19"/>
                <a:gd name="T67" fmla="*/ 14 h 31"/>
                <a:gd name="T68" fmla="*/ 5 w 19"/>
                <a:gd name="T69" fmla="*/ 15 h 31"/>
                <a:gd name="T70" fmla="*/ 8 w 19"/>
                <a:gd name="T71" fmla="*/ 17 h 31"/>
                <a:gd name="T72" fmla="*/ 10 w 19"/>
                <a:gd name="T73" fmla="*/ 18 h 31"/>
                <a:gd name="T74" fmla="*/ 13 w 19"/>
                <a:gd name="T75" fmla="*/ 19 h 31"/>
                <a:gd name="T76" fmla="*/ 14 w 19"/>
                <a:gd name="T77" fmla="*/ 21 h 31"/>
                <a:gd name="T78" fmla="*/ 15 w 19"/>
                <a:gd name="T79" fmla="*/ 23 h 31"/>
                <a:gd name="T80" fmla="*/ 14 w 19"/>
                <a:gd name="T81" fmla="*/ 25 h 31"/>
                <a:gd name="T82" fmla="*/ 13 w 19"/>
                <a:gd name="T83" fmla="*/ 27 h 31"/>
                <a:gd name="T84" fmla="*/ 11 w 19"/>
                <a:gd name="T85" fmla="*/ 28 h 31"/>
                <a:gd name="T86" fmla="*/ 9 w 19"/>
                <a:gd name="T87" fmla="*/ 28 h 31"/>
                <a:gd name="T88" fmla="*/ 6 w 19"/>
                <a:gd name="T89" fmla="*/ 28 h 31"/>
                <a:gd name="T90" fmla="*/ 4 w 19"/>
                <a:gd name="T91" fmla="*/ 27 h 31"/>
                <a:gd name="T92" fmla="*/ 2 w 19"/>
                <a:gd name="T93" fmla="*/ 26 h 31"/>
                <a:gd name="T94" fmla="*/ 1 w 19"/>
                <a:gd name="T95" fmla="*/ 25 h 31"/>
                <a:gd name="T96" fmla="*/ 1 w 19"/>
                <a:gd name="T97" fmla="*/ 26 h 31"/>
                <a:gd name="T98" fmla="*/ 1 w 19"/>
                <a:gd name="T99" fmla="*/ 26 h 31"/>
                <a:gd name="T100" fmla="*/ 0 w 19"/>
                <a:gd name="T101" fmla="*/ 26 h 31"/>
                <a:gd name="T102" fmla="*/ 0 w 19"/>
                <a:gd name="T103" fmla="*/ 27 h 31"/>
                <a:gd name="T104" fmla="*/ 0 w 19"/>
                <a:gd name="T105" fmla="*/ 28 h 31"/>
                <a:gd name="T106" fmla="*/ 1 w 19"/>
                <a:gd name="T107" fmla="*/ 29 h 31"/>
                <a:gd name="T108" fmla="*/ 2 w 19"/>
                <a:gd name="T109" fmla="*/ 30 h 31"/>
                <a:gd name="T110" fmla="*/ 4 w 19"/>
                <a:gd name="T111" fmla="*/ 31 h 31"/>
                <a:gd name="T112" fmla="*/ 6 w 19"/>
                <a:gd name="T113" fmla="*/ 31 h 31"/>
                <a:gd name="T114" fmla="*/ 9 w 19"/>
                <a:gd name="T115" fmla="*/ 31 h 31"/>
                <a:gd name="T116" fmla="*/ 13 w 19"/>
                <a:gd name="T117" fmla="*/ 31 h 31"/>
                <a:gd name="T118" fmla="*/ 16 w 19"/>
                <a:gd name="T119" fmla="*/ 29 h 31"/>
                <a:gd name="T120" fmla="*/ 18 w 19"/>
                <a:gd name="T121" fmla="*/ 26 h 31"/>
                <a:gd name="T122" fmla="*/ 19 w 19"/>
                <a:gd name="T123" fmla="*/ 23 h 31"/>
                <a:gd name="T124" fmla="*/ 18 w 19"/>
                <a:gd name="T12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 h="31">
                  <a:moveTo>
                    <a:pt x="18" y="19"/>
                  </a:moveTo>
                  <a:cubicBezTo>
                    <a:pt x="18" y="18"/>
                    <a:pt x="17" y="18"/>
                    <a:pt x="17" y="17"/>
                  </a:cubicBezTo>
                  <a:cubicBezTo>
                    <a:pt x="16" y="16"/>
                    <a:pt x="15" y="16"/>
                    <a:pt x="15" y="15"/>
                  </a:cubicBezTo>
                  <a:cubicBezTo>
                    <a:pt x="14" y="15"/>
                    <a:pt x="13" y="14"/>
                    <a:pt x="12" y="14"/>
                  </a:cubicBezTo>
                  <a:cubicBezTo>
                    <a:pt x="11" y="14"/>
                    <a:pt x="10" y="13"/>
                    <a:pt x="10" y="13"/>
                  </a:cubicBezTo>
                  <a:cubicBezTo>
                    <a:pt x="9" y="13"/>
                    <a:pt x="8" y="12"/>
                    <a:pt x="7" y="12"/>
                  </a:cubicBezTo>
                  <a:cubicBezTo>
                    <a:pt x="7" y="11"/>
                    <a:pt x="6" y="11"/>
                    <a:pt x="6" y="10"/>
                  </a:cubicBezTo>
                  <a:cubicBezTo>
                    <a:pt x="5" y="9"/>
                    <a:pt x="5" y="9"/>
                    <a:pt x="5" y="8"/>
                  </a:cubicBezTo>
                  <a:cubicBezTo>
                    <a:pt x="5" y="7"/>
                    <a:pt x="5" y="7"/>
                    <a:pt x="5" y="6"/>
                  </a:cubicBezTo>
                  <a:cubicBezTo>
                    <a:pt x="6" y="6"/>
                    <a:pt x="6" y="5"/>
                    <a:pt x="6" y="5"/>
                  </a:cubicBezTo>
                  <a:cubicBezTo>
                    <a:pt x="7" y="4"/>
                    <a:pt x="7" y="4"/>
                    <a:pt x="8" y="4"/>
                  </a:cubicBezTo>
                  <a:cubicBezTo>
                    <a:pt x="9" y="4"/>
                    <a:pt x="9" y="4"/>
                    <a:pt x="10" y="4"/>
                  </a:cubicBezTo>
                  <a:cubicBezTo>
                    <a:pt x="11" y="4"/>
                    <a:pt x="12" y="4"/>
                    <a:pt x="13" y="4"/>
                  </a:cubicBezTo>
                  <a:cubicBezTo>
                    <a:pt x="13" y="4"/>
                    <a:pt x="14" y="4"/>
                    <a:pt x="14" y="5"/>
                  </a:cubicBezTo>
                  <a:cubicBezTo>
                    <a:pt x="15" y="5"/>
                    <a:pt x="15" y="5"/>
                    <a:pt x="16" y="5"/>
                  </a:cubicBezTo>
                  <a:cubicBezTo>
                    <a:pt x="16" y="6"/>
                    <a:pt x="16" y="6"/>
                    <a:pt x="17" y="6"/>
                  </a:cubicBezTo>
                  <a:cubicBezTo>
                    <a:pt x="17" y="6"/>
                    <a:pt x="17" y="6"/>
                    <a:pt x="17" y="6"/>
                  </a:cubicBezTo>
                  <a:cubicBezTo>
                    <a:pt x="17" y="6"/>
                    <a:pt x="17" y="5"/>
                    <a:pt x="17" y="5"/>
                  </a:cubicBezTo>
                  <a:cubicBezTo>
                    <a:pt x="17" y="5"/>
                    <a:pt x="17" y="5"/>
                    <a:pt x="17" y="5"/>
                  </a:cubicBezTo>
                  <a:cubicBezTo>
                    <a:pt x="17" y="5"/>
                    <a:pt x="17" y="4"/>
                    <a:pt x="17" y="4"/>
                  </a:cubicBezTo>
                  <a:cubicBezTo>
                    <a:pt x="17" y="4"/>
                    <a:pt x="17" y="3"/>
                    <a:pt x="17" y="3"/>
                  </a:cubicBezTo>
                  <a:cubicBezTo>
                    <a:pt x="17" y="3"/>
                    <a:pt x="17" y="3"/>
                    <a:pt x="17" y="3"/>
                  </a:cubicBezTo>
                  <a:cubicBezTo>
                    <a:pt x="17" y="3"/>
                    <a:pt x="17" y="3"/>
                    <a:pt x="17" y="2"/>
                  </a:cubicBezTo>
                  <a:cubicBezTo>
                    <a:pt x="17" y="2"/>
                    <a:pt x="17" y="2"/>
                    <a:pt x="17" y="2"/>
                  </a:cubicBezTo>
                  <a:cubicBezTo>
                    <a:pt x="17" y="2"/>
                    <a:pt x="16" y="2"/>
                    <a:pt x="16" y="2"/>
                  </a:cubicBezTo>
                  <a:cubicBezTo>
                    <a:pt x="15" y="1"/>
                    <a:pt x="15" y="1"/>
                    <a:pt x="14" y="1"/>
                  </a:cubicBezTo>
                  <a:cubicBezTo>
                    <a:pt x="14" y="1"/>
                    <a:pt x="13" y="1"/>
                    <a:pt x="12" y="0"/>
                  </a:cubicBezTo>
                  <a:cubicBezTo>
                    <a:pt x="12" y="0"/>
                    <a:pt x="11" y="0"/>
                    <a:pt x="10" y="0"/>
                  </a:cubicBezTo>
                  <a:cubicBezTo>
                    <a:pt x="9" y="0"/>
                    <a:pt x="8" y="0"/>
                    <a:pt x="7" y="1"/>
                  </a:cubicBezTo>
                  <a:cubicBezTo>
                    <a:pt x="5" y="1"/>
                    <a:pt x="5" y="2"/>
                    <a:pt x="4" y="2"/>
                  </a:cubicBezTo>
                  <a:cubicBezTo>
                    <a:pt x="3" y="3"/>
                    <a:pt x="2" y="4"/>
                    <a:pt x="2" y="5"/>
                  </a:cubicBezTo>
                  <a:cubicBezTo>
                    <a:pt x="1" y="6"/>
                    <a:pt x="1" y="7"/>
                    <a:pt x="1" y="8"/>
                  </a:cubicBezTo>
                  <a:cubicBezTo>
                    <a:pt x="1" y="9"/>
                    <a:pt x="1" y="10"/>
                    <a:pt x="2" y="11"/>
                  </a:cubicBezTo>
                  <a:cubicBezTo>
                    <a:pt x="2" y="12"/>
                    <a:pt x="3" y="13"/>
                    <a:pt x="3" y="14"/>
                  </a:cubicBezTo>
                  <a:cubicBezTo>
                    <a:pt x="4" y="14"/>
                    <a:pt x="5" y="15"/>
                    <a:pt x="5" y="15"/>
                  </a:cubicBezTo>
                  <a:cubicBezTo>
                    <a:pt x="6" y="16"/>
                    <a:pt x="7" y="16"/>
                    <a:pt x="8" y="17"/>
                  </a:cubicBezTo>
                  <a:cubicBezTo>
                    <a:pt x="9" y="17"/>
                    <a:pt x="10" y="17"/>
                    <a:pt x="10" y="18"/>
                  </a:cubicBezTo>
                  <a:cubicBezTo>
                    <a:pt x="11" y="18"/>
                    <a:pt x="12" y="19"/>
                    <a:pt x="13" y="19"/>
                  </a:cubicBezTo>
                  <a:cubicBezTo>
                    <a:pt x="13" y="20"/>
                    <a:pt x="14" y="20"/>
                    <a:pt x="14" y="21"/>
                  </a:cubicBezTo>
                  <a:cubicBezTo>
                    <a:pt x="15" y="21"/>
                    <a:pt x="15" y="22"/>
                    <a:pt x="15" y="23"/>
                  </a:cubicBezTo>
                  <a:cubicBezTo>
                    <a:pt x="15" y="24"/>
                    <a:pt x="15" y="24"/>
                    <a:pt x="14" y="25"/>
                  </a:cubicBezTo>
                  <a:cubicBezTo>
                    <a:pt x="14" y="26"/>
                    <a:pt x="14" y="26"/>
                    <a:pt x="13" y="27"/>
                  </a:cubicBezTo>
                  <a:cubicBezTo>
                    <a:pt x="13" y="27"/>
                    <a:pt x="12" y="27"/>
                    <a:pt x="11" y="28"/>
                  </a:cubicBezTo>
                  <a:cubicBezTo>
                    <a:pt x="11" y="28"/>
                    <a:pt x="10" y="28"/>
                    <a:pt x="9" y="28"/>
                  </a:cubicBezTo>
                  <a:cubicBezTo>
                    <a:pt x="8" y="28"/>
                    <a:pt x="7" y="28"/>
                    <a:pt x="6" y="28"/>
                  </a:cubicBezTo>
                  <a:cubicBezTo>
                    <a:pt x="5" y="27"/>
                    <a:pt x="4" y="27"/>
                    <a:pt x="4" y="27"/>
                  </a:cubicBezTo>
                  <a:cubicBezTo>
                    <a:pt x="3" y="26"/>
                    <a:pt x="2" y="26"/>
                    <a:pt x="2" y="26"/>
                  </a:cubicBezTo>
                  <a:cubicBezTo>
                    <a:pt x="2" y="26"/>
                    <a:pt x="1" y="25"/>
                    <a:pt x="1" y="25"/>
                  </a:cubicBezTo>
                  <a:cubicBezTo>
                    <a:pt x="1" y="25"/>
                    <a:pt x="1" y="25"/>
                    <a:pt x="1" y="26"/>
                  </a:cubicBezTo>
                  <a:cubicBezTo>
                    <a:pt x="1" y="26"/>
                    <a:pt x="1" y="26"/>
                    <a:pt x="1" y="26"/>
                  </a:cubicBezTo>
                  <a:cubicBezTo>
                    <a:pt x="0" y="26"/>
                    <a:pt x="0" y="26"/>
                    <a:pt x="0" y="26"/>
                  </a:cubicBezTo>
                  <a:cubicBezTo>
                    <a:pt x="0" y="27"/>
                    <a:pt x="0" y="27"/>
                    <a:pt x="0" y="27"/>
                  </a:cubicBezTo>
                  <a:cubicBezTo>
                    <a:pt x="0" y="28"/>
                    <a:pt x="0" y="28"/>
                    <a:pt x="0" y="28"/>
                  </a:cubicBezTo>
                  <a:cubicBezTo>
                    <a:pt x="1" y="29"/>
                    <a:pt x="1" y="29"/>
                    <a:pt x="1" y="29"/>
                  </a:cubicBezTo>
                  <a:cubicBezTo>
                    <a:pt x="1" y="29"/>
                    <a:pt x="1" y="30"/>
                    <a:pt x="2" y="30"/>
                  </a:cubicBezTo>
                  <a:cubicBezTo>
                    <a:pt x="2" y="30"/>
                    <a:pt x="3" y="30"/>
                    <a:pt x="4" y="31"/>
                  </a:cubicBezTo>
                  <a:cubicBezTo>
                    <a:pt x="4" y="31"/>
                    <a:pt x="5" y="31"/>
                    <a:pt x="6" y="31"/>
                  </a:cubicBezTo>
                  <a:cubicBezTo>
                    <a:pt x="7" y="31"/>
                    <a:pt x="8" y="31"/>
                    <a:pt x="9" y="31"/>
                  </a:cubicBezTo>
                  <a:cubicBezTo>
                    <a:pt x="10" y="31"/>
                    <a:pt x="11" y="31"/>
                    <a:pt x="13" y="31"/>
                  </a:cubicBezTo>
                  <a:cubicBezTo>
                    <a:pt x="14" y="30"/>
                    <a:pt x="15" y="30"/>
                    <a:pt x="16" y="29"/>
                  </a:cubicBezTo>
                  <a:cubicBezTo>
                    <a:pt x="17" y="28"/>
                    <a:pt x="18" y="27"/>
                    <a:pt x="18" y="26"/>
                  </a:cubicBezTo>
                  <a:cubicBezTo>
                    <a:pt x="19" y="25"/>
                    <a:pt x="19" y="24"/>
                    <a:pt x="19" y="23"/>
                  </a:cubicBezTo>
                  <a:cubicBezTo>
                    <a:pt x="19" y="21"/>
                    <a:pt x="19" y="20"/>
                    <a:pt x="18" y="1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37">
              <a:extLst>
                <a:ext uri="{FF2B5EF4-FFF2-40B4-BE49-F238E27FC236}">
                  <a16:creationId xmlns:a16="http://schemas.microsoft.com/office/drawing/2014/main" id="{31108085-FC0B-45A7-A814-4B009E84568B}"/>
                </a:ext>
              </a:extLst>
            </p:cNvPr>
            <p:cNvSpPr>
              <a:spLocks noEditPoints="1"/>
            </p:cNvSpPr>
            <p:nvPr/>
          </p:nvSpPr>
          <p:spPr bwMode="auto">
            <a:xfrm>
              <a:off x="6067204" y="6315543"/>
              <a:ext cx="64932" cy="79361"/>
            </a:xfrm>
            <a:custGeom>
              <a:avLst/>
              <a:gdLst>
                <a:gd name="T0" fmla="*/ 19 w 19"/>
                <a:gd name="T1" fmla="*/ 10 h 23"/>
                <a:gd name="T2" fmla="*/ 19 w 19"/>
                <a:gd name="T3" fmla="*/ 6 h 23"/>
                <a:gd name="T4" fmla="*/ 17 w 19"/>
                <a:gd name="T5" fmla="*/ 3 h 23"/>
                <a:gd name="T6" fmla="*/ 14 w 19"/>
                <a:gd name="T7" fmla="*/ 1 h 23"/>
                <a:gd name="T8" fmla="*/ 10 w 19"/>
                <a:gd name="T9" fmla="*/ 0 h 23"/>
                <a:gd name="T10" fmla="*/ 6 w 19"/>
                <a:gd name="T11" fmla="*/ 1 h 23"/>
                <a:gd name="T12" fmla="*/ 3 w 19"/>
                <a:gd name="T13" fmla="*/ 3 h 23"/>
                <a:gd name="T14" fmla="*/ 1 w 19"/>
                <a:gd name="T15" fmla="*/ 7 h 23"/>
                <a:gd name="T16" fmla="*/ 0 w 19"/>
                <a:gd name="T17" fmla="*/ 12 h 23"/>
                <a:gd name="T18" fmla="*/ 1 w 19"/>
                <a:gd name="T19" fmla="*/ 17 h 23"/>
                <a:gd name="T20" fmla="*/ 3 w 19"/>
                <a:gd name="T21" fmla="*/ 21 h 23"/>
                <a:gd name="T22" fmla="*/ 6 w 19"/>
                <a:gd name="T23" fmla="*/ 23 h 23"/>
                <a:gd name="T24" fmla="*/ 10 w 19"/>
                <a:gd name="T25" fmla="*/ 23 h 23"/>
                <a:gd name="T26" fmla="*/ 13 w 19"/>
                <a:gd name="T27" fmla="*/ 23 h 23"/>
                <a:gd name="T28" fmla="*/ 16 w 19"/>
                <a:gd name="T29" fmla="*/ 23 h 23"/>
                <a:gd name="T30" fmla="*/ 17 w 19"/>
                <a:gd name="T31" fmla="*/ 22 h 23"/>
                <a:gd name="T32" fmla="*/ 18 w 19"/>
                <a:gd name="T33" fmla="*/ 22 h 23"/>
                <a:gd name="T34" fmla="*/ 18 w 19"/>
                <a:gd name="T35" fmla="*/ 21 h 23"/>
                <a:gd name="T36" fmla="*/ 18 w 19"/>
                <a:gd name="T37" fmla="*/ 21 h 23"/>
                <a:gd name="T38" fmla="*/ 18 w 19"/>
                <a:gd name="T39" fmla="*/ 21 h 23"/>
                <a:gd name="T40" fmla="*/ 18 w 19"/>
                <a:gd name="T41" fmla="*/ 20 h 23"/>
                <a:gd name="T42" fmla="*/ 18 w 19"/>
                <a:gd name="T43" fmla="*/ 20 h 23"/>
                <a:gd name="T44" fmla="*/ 18 w 19"/>
                <a:gd name="T45" fmla="*/ 19 h 23"/>
                <a:gd name="T46" fmla="*/ 18 w 19"/>
                <a:gd name="T47" fmla="*/ 19 h 23"/>
                <a:gd name="T48" fmla="*/ 18 w 19"/>
                <a:gd name="T49" fmla="*/ 19 h 23"/>
                <a:gd name="T50" fmla="*/ 17 w 19"/>
                <a:gd name="T51" fmla="*/ 19 h 23"/>
                <a:gd name="T52" fmla="*/ 16 w 19"/>
                <a:gd name="T53" fmla="*/ 20 h 23"/>
                <a:gd name="T54" fmla="*/ 13 w 19"/>
                <a:gd name="T55" fmla="*/ 20 h 23"/>
                <a:gd name="T56" fmla="*/ 11 w 19"/>
                <a:gd name="T57" fmla="*/ 20 h 23"/>
                <a:gd name="T58" fmla="*/ 8 w 19"/>
                <a:gd name="T59" fmla="*/ 20 h 23"/>
                <a:gd name="T60" fmla="*/ 5 w 19"/>
                <a:gd name="T61" fmla="*/ 18 h 23"/>
                <a:gd name="T62" fmla="*/ 4 w 19"/>
                <a:gd name="T63" fmla="*/ 16 h 23"/>
                <a:gd name="T64" fmla="*/ 4 w 19"/>
                <a:gd name="T65" fmla="*/ 13 h 23"/>
                <a:gd name="T66" fmla="*/ 18 w 19"/>
                <a:gd name="T67" fmla="*/ 13 h 23"/>
                <a:gd name="T68" fmla="*/ 19 w 19"/>
                <a:gd name="T69" fmla="*/ 12 h 23"/>
                <a:gd name="T70" fmla="*/ 19 w 19"/>
                <a:gd name="T71" fmla="*/ 11 h 23"/>
                <a:gd name="T72" fmla="*/ 19 w 19"/>
                <a:gd name="T73" fmla="*/ 10 h 23"/>
                <a:gd name="T74" fmla="*/ 4 w 19"/>
                <a:gd name="T75" fmla="*/ 10 h 23"/>
                <a:gd name="T76" fmla="*/ 4 w 19"/>
                <a:gd name="T77" fmla="*/ 7 h 23"/>
                <a:gd name="T78" fmla="*/ 5 w 19"/>
                <a:gd name="T79" fmla="*/ 5 h 23"/>
                <a:gd name="T80" fmla="*/ 7 w 19"/>
                <a:gd name="T81" fmla="*/ 4 h 23"/>
                <a:gd name="T82" fmla="*/ 10 w 19"/>
                <a:gd name="T83" fmla="*/ 3 h 23"/>
                <a:gd name="T84" fmla="*/ 14 w 19"/>
                <a:gd name="T85" fmla="*/ 5 h 23"/>
                <a:gd name="T86" fmla="*/ 15 w 19"/>
                <a:gd name="T87" fmla="*/ 10 h 23"/>
                <a:gd name="T88" fmla="*/ 4 w 19"/>
                <a:gd name="T89"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3">
                  <a:moveTo>
                    <a:pt x="19" y="10"/>
                  </a:moveTo>
                  <a:cubicBezTo>
                    <a:pt x="19" y="9"/>
                    <a:pt x="19" y="8"/>
                    <a:pt x="19" y="6"/>
                  </a:cubicBezTo>
                  <a:cubicBezTo>
                    <a:pt x="18" y="5"/>
                    <a:pt x="18" y="4"/>
                    <a:pt x="17" y="3"/>
                  </a:cubicBezTo>
                  <a:cubicBezTo>
                    <a:pt x="16" y="2"/>
                    <a:pt x="15" y="2"/>
                    <a:pt x="14" y="1"/>
                  </a:cubicBezTo>
                  <a:cubicBezTo>
                    <a:pt x="13" y="1"/>
                    <a:pt x="12" y="0"/>
                    <a:pt x="10" y="0"/>
                  </a:cubicBezTo>
                  <a:cubicBezTo>
                    <a:pt x="8" y="0"/>
                    <a:pt x="7" y="1"/>
                    <a:pt x="6" y="1"/>
                  </a:cubicBezTo>
                  <a:cubicBezTo>
                    <a:pt x="5" y="2"/>
                    <a:pt x="3" y="2"/>
                    <a:pt x="3" y="3"/>
                  </a:cubicBezTo>
                  <a:cubicBezTo>
                    <a:pt x="2" y="4"/>
                    <a:pt x="1" y="6"/>
                    <a:pt x="1" y="7"/>
                  </a:cubicBezTo>
                  <a:cubicBezTo>
                    <a:pt x="0" y="9"/>
                    <a:pt x="0" y="10"/>
                    <a:pt x="0" y="12"/>
                  </a:cubicBezTo>
                  <a:cubicBezTo>
                    <a:pt x="0" y="14"/>
                    <a:pt x="0" y="16"/>
                    <a:pt x="1" y="17"/>
                  </a:cubicBezTo>
                  <a:cubicBezTo>
                    <a:pt x="1" y="18"/>
                    <a:pt x="2" y="20"/>
                    <a:pt x="3" y="21"/>
                  </a:cubicBezTo>
                  <a:cubicBezTo>
                    <a:pt x="3" y="22"/>
                    <a:pt x="5" y="22"/>
                    <a:pt x="6" y="23"/>
                  </a:cubicBezTo>
                  <a:cubicBezTo>
                    <a:pt x="7" y="23"/>
                    <a:pt x="9" y="23"/>
                    <a:pt x="10" y="23"/>
                  </a:cubicBezTo>
                  <a:cubicBezTo>
                    <a:pt x="11" y="23"/>
                    <a:pt x="12" y="23"/>
                    <a:pt x="13" y="23"/>
                  </a:cubicBezTo>
                  <a:cubicBezTo>
                    <a:pt x="14" y="23"/>
                    <a:pt x="15" y="23"/>
                    <a:pt x="16" y="23"/>
                  </a:cubicBezTo>
                  <a:cubicBezTo>
                    <a:pt x="16" y="23"/>
                    <a:pt x="17" y="22"/>
                    <a:pt x="17" y="22"/>
                  </a:cubicBezTo>
                  <a:cubicBezTo>
                    <a:pt x="18" y="22"/>
                    <a:pt x="18" y="22"/>
                    <a:pt x="18" y="22"/>
                  </a:cubicBezTo>
                  <a:cubicBezTo>
                    <a:pt x="18" y="22"/>
                    <a:pt x="18" y="22"/>
                    <a:pt x="18" y="21"/>
                  </a:cubicBezTo>
                  <a:cubicBezTo>
                    <a:pt x="18" y="21"/>
                    <a:pt x="18" y="21"/>
                    <a:pt x="18" y="21"/>
                  </a:cubicBezTo>
                  <a:cubicBezTo>
                    <a:pt x="18" y="21"/>
                    <a:pt x="18" y="21"/>
                    <a:pt x="18" y="21"/>
                  </a:cubicBezTo>
                  <a:cubicBezTo>
                    <a:pt x="18" y="21"/>
                    <a:pt x="18" y="20"/>
                    <a:pt x="18" y="20"/>
                  </a:cubicBezTo>
                  <a:cubicBezTo>
                    <a:pt x="18" y="20"/>
                    <a:pt x="18" y="20"/>
                    <a:pt x="18" y="20"/>
                  </a:cubicBezTo>
                  <a:cubicBezTo>
                    <a:pt x="18" y="19"/>
                    <a:pt x="18" y="19"/>
                    <a:pt x="18" y="19"/>
                  </a:cubicBezTo>
                  <a:cubicBezTo>
                    <a:pt x="18" y="19"/>
                    <a:pt x="18" y="19"/>
                    <a:pt x="18" y="19"/>
                  </a:cubicBezTo>
                  <a:cubicBezTo>
                    <a:pt x="18" y="19"/>
                    <a:pt x="18" y="19"/>
                    <a:pt x="18" y="19"/>
                  </a:cubicBezTo>
                  <a:cubicBezTo>
                    <a:pt x="18" y="19"/>
                    <a:pt x="17" y="19"/>
                    <a:pt x="17" y="19"/>
                  </a:cubicBezTo>
                  <a:cubicBezTo>
                    <a:pt x="17" y="19"/>
                    <a:pt x="16" y="19"/>
                    <a:pt x="16" y="20"/>
                  </a:cubicBezTo>
                  <a:cubicBezTo>
                    <a:pt x="15" y="20"/>
                    <a:pt x="14" y="20"/>
                    <a:pt x="13" y="20"/>
                  </a:cubicBezTo>
                  <a:cubicBezTo>
                    <a:pt x="13" y="20"/>
                    <a:pt x="12" y="20"/>
                    <a:pt x="11" y="20"/>
                  </a:cubicBezTo>
                  <a:cubicBezTo>
                    <a:pt x="10" y="20"/>
                    <a:pt x="8" y="20"/>
                    <a:pt x="8" y="20"/>
                  </a:cubicBezTo>
                  <a:cubicBezTo>
                    <a:pt x="7" y="19"/>
                    <a:pt x="6" y="19"/>
                    <a:pt x="5" y="18"/>
                  </a:cubicBezTo>
                  <a:cubicBezTo>
                    <a:pt x="5" y="18"/>
                    <a:pt x="4" y="17"/>
                    <a:pt x="4" y="16"/>
                  </a:cubicBezTo>
                  <a:cubicBezTo>
                    <a:pt x="4" y="15"/>
                    <a:pt x="4" y="14"/>
                    <a:pt x="4" y="13"/>
                  </a:cubicBezTo>
                  <a:cubicBezTo>
                    <a:pt x="18" y="13"/>
                    <a:pt x="18" y="13"/>
                    <a:pt x="18" y="13"/>
                  </a:cubicBezTo>
                  <a:cubicBezTo>
                    <a:pt x="18" y="13"/>
                    <a:pt x="19" y="13"/>
                    <a:pt x="19" y="12"/>
                  </a:cubicBezTo>
                  <a:cubicBezTo>
                    <a:pt x="19" y="12"/>
                    <a:pt x="19" y="12"/>
                    <a:pt x="19" y="11"/>
                  </a:cubicBezTo>
                  <a:cubicBezTo>
                    <a:pt x="19" y="10"/>
                    <a:pt x="19" y="10"/>
                    <a:pt x="19" y="10"/>
                  </a:cubicBezTo>
                  <a:close/>
                  <a:moveTo>
                    <a:pt x="4" y="10"/>
                  </a:moveTo>
                  <a:cubicBezTo>
                    <a:pt x="4" y="9"/>
                    <a:pt x="4" y="8"/>
                    <a:pt x="4" y="7"/>
                  </a:cubicBezTo>
                  <a:cubicBezTo>
                    <a:pt x="5" y="7"/>
                    <a:pt x="5" y="6"/>
                    <a:pt x="5" y="5"/>
                  </a:cubicBezTo>
                  <a:cubicBezTo>
                    <a:pt x="6" y="5"/>
                    <a:pt x="7" y="4"/>
                    <a:pt x="7" y="4"/>
                  </a:cubicBezTo>
                  <a:cubicBezTo>
                    <a:pt x="8" y="3"/>
                    <a:pt x="9" y="3"/>
                    <a:pt x="10" y="3"/>
                  </a:cubicBezTo>
                  <a:cubicBezTo>
                    <a:pt x="12" y="3"/>
                    <a:pt x="13" y="4"/>
                    <a:pt x="14" y="5"/>
                  </a:cubicBezTo>
                  <a:cubicBezTo>
                    <a:pt x="15" y="6"/>
                    <a:pt x="15" y="8"/>
                    <a:pt x="15" y="10"/>
                  </a:cubicBezTo>
                  <a:cubicBezTo>
                    <a:pt x="4" y="10"/>
                    <a:pt x="4" y="10"/>
                    <a:pt x="4"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38">
              <a:extLst>
                <a:ext uri="{FF2B5EF4-FFF2-40B4-BE49-F238E27FC236}">
                  <a16:creationId xmlns:a16="http://schemas.microsoft.com/office/drawing/2014/main" id="{31360F94-A7F1-4EED-9287-E83C74EAE579}"/>
                </a:ext>
              </a:extLst>
            </p:cNvPr>
            <p:cNvSpPr>
              <a:spLocks/>
            </p:cNvSpPr>
            <p:nvPr/>
          </p:nvSpPr>
          <p:spPr bwMode="auto">
            <a:xfrm>
              <a:off x="6153779" y="6315543"/>
              <a:ext cx="43287" cy="79361"/>
            </a:xfrm>
            <a:custGeom>
              <a:avLst/>
              <a:gdLst>
                <a:gd name="T0" fmla="*/ 13 w 13"/>
                <a:gd name="T1" fmla="*/ 2 h 23"/>
                <a:gd name="T2" fmla="*/ 13 w 13"/>
                <a:gd name="T3" fmla="*/ 1 h 23"/>
                <a:gd name="T4" fmla="*/ 12 w 13"/>
                <a:gd name="T5" fmla="*/ 1 h 23"/>
                <a:gd name="T6" fmla="*/ 12 w 13"/>
                <a:gd name="T7" fmla="*/ 1 h 23"/>
                <a:gd name="T8" fmla="*/ 12 w 13"/>
                <a:gd name="T9" fmla="*/ 1 h 23"/>
                <a:gd name="T10" fmla="*/ 11 w 13"/>
                <a:gd name="T11" fmla="*/ 0 h 23"/>
                <a:gd name="T12" fmla="*/ 10 w 13"/>
                <a:gd name="T13" fmla="*/ 0 h 23"/>
                <a:gd name="T14" fmla="*/ 10 w 13"/>
                <a:gd name="T15" fmla="*/ 0 h 23"/>
                <a:gd name="T16" fmla="*/ 8 w 13"/>
                <a:gd name="T17" fmla="*/ 0 h 23"/>
                <a:gd name="T18" fmla="*/ 7 w 13"/>
                <a:gd name="T19" fmla="*/ 1 h 23"/>
                <a:gd name="T20" fmla="*/ 5 w 13"/>
                <a:gd name="T21" fmla="*/ 2 h 23"/>
                <a:gd name="T22" fmla="*/ 4 w 13"/>
                <a:gd name="T23" fmla="*/ 4 h 23"/>
                <a:gd name="T24" fmla="*/ 4 w 13"/>
                <a:gd name="T25" fmla="*/ 1 h 23"/>
                <a:gd name="T26" fmla="*/ 4 w 13"/>
                <a:gd name="T27" fmla="*/ 1 h 23"/>
                <a:gd name="T28" fmla="*/ 3 w 13"/>
                <a:gd name="T29" fmla="*/ 1 h 23"/>
                <a:gd name="T30" fmla="*/ 3 w 13"/>
                <a:gd name="T31" fmla="*/ 1 h 23"/>
                <a:gd name="T32" fmla="*/ 2 w 13"/>
                <a:gd name="T33" fmla="*/ 1 h 23"/>
                <a:gd name="T34" fmla="*/ 1 w 13"/>
                <a:gd name="T35" fmla="*/ 1 h 23"/>
                <a:gd name="T36" fmla="*/ 1 w 13"/>
                <a:gd name="T37" fmla="*/ 1 h 23"/>
                <a:gd name="T38" fmla="*/ 0 w 13"/>
                <a:gd name="T39" fmla="*/ 1 h 23"/>
                <a:gd name="T40" fmla="*/ 0 w 13"/>
                <a:gd name="T41" fmla="*/ 1 h 23"/>
                <a:gd name="T42" fmla="*/ 0 w 13"/>
                <a:gd name="T43" fmla="*/ 22 h 23"/>
                <a:gd name="T44" fmla="*/ 0 w 13"/>
                <a:gd name="T45" fmla="*/ 23 h 23"/>
                <a:gd name="T46" fmla="*/ 1 w 13"/>
                <a:gd name="T47" fmla="*/ 23 h 23"/>
                <a:gd name="T48" fmla="*/ 1 w 13"/>
                <a:gd name="T49" fmla="*/ 23 h 23"/>
                <a:gd name="T50" fmla="*/ 2 w 13"/>
                <a:gd name="T51" fmla="*/ 23 h 23"/>
                <a:gd name="T52" fmla="*/ 3 w 13"/>
                <a:gd name="T53" fmla="*/ 23 h 23"/>
                <a:gd name="T54" fmla="*/ 4 w 13"/>
                <a:gd name="T55" fmla="*/ 23 h 23"/>
                <a:gd name="T56" fmla="*/ 4 w 13"/>
                <a:gd name="T57" fmla="*/ 23 h 23"/>
                <a:gd name="T58" fmla="*/ 4 w 13"/>
                <a:gd name="T59" fmla="*/ 22 h 23"/>
                <a:gd name="T60" fmla="*/ 4 w 13"/>
                <a:gd name="T61" fmla="*/ 9 h 23"/>
                <a:gd name="T62" fmla="*/ 6 w 13"/>
                <a:gd name="T63" fmla="*/ 6 h 23"/>
                <a:gd name="T64" fmla="*/ 7 w 13"/>
                <a:gd name="T65" fmla="*/ 5 h 23"/>
                <a:gd name="T66" fmla="*/ 8 w 13"/>
                <a:gd name="T67" fmla="*/ 4 h 23"/>
                <a:gd name="T68" fmla="*/ 9 w 13"/>
                <a:gd name="T69" fmla="*/ 4 h 23"/>
                <a:gd name="T70" fmla="*/ 10 w 13"/>
                <a:gd name="T71" fmla="*/ 4 h 23"/>
                <a:gd name="T72" fmla="*/ 11 w 13"/>
                <a:gd name="T73" fmla="*/ 4 h 23"/>
                <a:gd name="T74" fmla="*/ 12 w 13"/>
                <a:gd name="T75" fmla="*/ 4 h 23"/>
                <a:gd name="T76" fmla="*/ 12 w 13"/>
                <a:gd name="T77" fmla="*/ 5 h 23"/>
                <a:gd name="T78" fmla="*/ 12 w 13"/>
                <a:gd name="T79" fmla="*/ 4 h 23"/>
                <a:gd name="T80" fmla="*/ 12 w 13"/>
                <a:gd name="T81" fmla="*/ 4 h 23"/>
                <a:gd name="T82" fmla="*/ 13 w 13"/>
                <a:gd name="T83" fmla="*/ 4 h 23"/>
                <a:gd name="T84" fmla="*/ 13 w 13"/>
                <a:gd name="T85" fmla="*/ 3 h 23"/>
                <a:gd name="T86" fmla="*/ 13 w 13"/>
                <a:gd name="T8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 h="23">
                  <a:moveTo>
                    <a:pt x="13" y="2"/>
                  </a:moveTo>
                  <a:cubicBezTo>
                    <a:pt x="13" y="2"/>
                    <a:pt x="13" y="1"/>
                    <a:pt x="13" y="1"/>
                  </a:cubicBezTo>
                  <a:cubicBezTo>
                    <a:pt x="13" y="1"/>
                    <a:pt x="12" y="1"/>
                    <a:pt x="12" y="1"/>
                  </a:cubicBezTo>
                  <a:cubicBezTo>
                    <a:pt x="12" y="1"/>
                    <a:pt x="12" y="1"/>
                    <a:pt x="12" y="1"/>
                  </a:cubicBezTo>
                  <a:cubicBezTo>
                    <a:pt x="12" y="1"/>
                    <a:pt x="12" y="1"/>
                    <a:pt x="12" y="1"/>
                  </a:cubicBezTo>
                  <a:cubicBezTo>
                    <a:pt x="12" y="1"/>
                    <a:pt x="11" y="1"/>
                    <a:pt x="11" y="0"/>
                  </a:cubicBezTo>
                  <a:cubicBezTo>
                    <a:pt x="11" y="0"/>
                    <a:pt x="10" y="0"/>
                    <a:pt x="10" y="0"/>
                  </a:cubicBezTo>
                  <a:cubicBezTo>
                    <a:pt x="10" y="0"/>
                    <a:pt x="10" y="0"/>
                    <a:pt x="10" y="0"/>
                  </a:cubicBezTo>
                  <a:cubicBezTo>
                    <a:pt x="9" y="0"/>
                    <a:pt x="9" y="0"/>
                    <a:pt x="8" y="0"/>
                  </a:cubicBezTo>
                  <a:cubicBezTo>
                    <a:pt x="8" y="1"/>
                    <a:pt x="7" y="1"/>
                    <a:pt x="7" y="1"/>
                  </a:cubicBezTo>
                  <a:cubicBezTo>
                    <a:pt x="6" y="1"/>
                    <a:pt x="6" y="2"/>
                    <a:pt x="5" y="2"/>
                  </a:cubicBezTo>
                  <a:cubicBezTo>
                    <a:pt x="5" y="3"/>
                    <a:pt x="4" y="4"/>
                    <a:pt x="4" y="4"/>
                  </a:cubicBezTo>
                  <a:cubicBezTo>
                    <a:pt x="4" y="1"/>
                    <a:pt x="4" y="1"/>
                    <a:pt x="4" y="1"/>
                  </a:cubicBezTo>
                  <a:cubicBezTo>
                    <a:pt x="4" y="1"/>
                    <a:pt x="4" y="1"/>
                    <a:pt x="4" y="1"/>
                  </a:cubicBezTo>
                  <a:cubicBezTo>
                    <a:pt x="4" y="1"/>
                    <a:pt x="4" y="1"/>
                    <a:pt x="3" y="1"/>
                  </a:cubicBezTo>
                  <a:cubicBezTo>
                    <a:pt x="3" y="1"/>
                    <a:pt x="3" y="1"/>
                    <a:pt x="3" y="1"/>
                  </a:cubicBezTo>
                  <a:cubicBezTo>
                    <a:pt x="3" y="1"/>
                    <a:pt x="2" y="1"/>
                    <a:pt x="2" y="1"/>
                  </a:cubicBezTo>
                  <a:cubicBezTo>
                    <a:pt x="2" y="1"/>
                    <a:pt x="1" y="1"/>
                    <a:pt x="1" y="1"/>
                  </a:cubicBezTo>
                  <a:cubicBezTo>
                    <a:pt x="1" y="1"/>
                    <a:pt x="1" y="1"/>
                    <a:pt x="1" y="1"/>
                  </a:cubicBezTo>
                  <a:cubicBezTo>
                    <a:pt x="0" y="1"/>
                    <a:pt x="0" y="1"/>
                    <a:pt x="0" y="1"/>
                  </a:cubicBezTo>
                  <a:cubicBezTo>
                    <a:pt x="0" y="1"/>
                    <a:pt x="0" y="1"/>
                    <a:pt x="0" y="1"/>
                  </a:cubicBezTo>
                  <a:cubicBezTo>
                    <a:pt x="0" y="22"/>
                    <a:pt x="0" y="22"/>
                    <a:pt x="0" y="22"/>
                  </a:cubicBezTo>
                  <a:cubicBezTo>
                    <a:pt x="0" y="23"/>
                    <a:pt x="0" y="23"/>
                    <a:pt x="0" y="23"/>
                  </a:cubicBezTo>
                  <a:cubicBezTo>
                    <a:pt x="0" y="23"/>
                    <a:pt x="1" y="23"/>
                    <a:pt x="1" y="23"/>
                  </a:cubicBezTo>
                  <a:cubicBezTo>
                    <a:pt x="1" y="23"/>
                    <a:pt x="1" y="23"/>
                    <a:pt x="1" y="23"/>
                  </a:cubicBezTo>
                  <a:cubicBezTo>
                    <a:pt x="2" y="23"/>
                    <a:pt x="2" y="23"/>
                    <a:pt x="2" y="23"/>
                  </a:cubicBezTo>
                  <a:cubicBezTo>
                    <a:pt x="3" y="23"/>
                    <a:pt x="3" y="23"/>
                    <a:pt x="3" y="23"/>
                  </a:cubicBezTo>
                  <a:cubicBezTo>
                    <a:pt x="3" y="23"/>
                    <a:pt x="4" y="23"/>
                    <a:pt x="4" y="23"/>
                  </a:cubicBezTo>
                  <a:cubicBezTo>
                    <a:pt x="4" y="23"/>
                    <a:pt x="4" y="23"/>
                    <a:pt x="4" y="23"/>
                  </a:cubicBezTo>
                  <a:cubicBezTo>
                    <a:pt x="4" y="23"/>
                    <a:pt x="4" y="23"/>
                    <a:pt x="4" y="22"/>
                  </a:cubicBezTo>
                  <a:cubicBezTo>
                    <a:pt x="4" y="9"/>
                    <a:pt x="4" y="9"/>
                    <a:pt x="4" y="9"/>
                  </a:cubicBezTo>
                  <a:cubicBezTo>
                    <a:pt x="5" y="8"/>
                    <a:pt x="5" y="7"/>
                    <a:pt x="6" y="6"/>
                  </a:cubicBezTo>
                  <a:cubicBezTo>
                    <a:pt x="6" y="6"/>
                    <a:pt x="7" y="5"/>
                    <a:pt x="7" y="5"/>
                  </a:cubicBezTo>
                  <a:cubicBezTo>
                    <a:pt x="7" y="5"/>
                    <a:pt x="8" y="4"/>
                    <a:pt x="8" y="4"/>
                  </a:cubicBezTo>
                  <a:cubicBezTo>
                    <a:pt x="8" y="4"/>
                    <a:pt x="9" y="4"/>
                    <a:pt x="9" y="4"/>
                  </a:cubicBezTo>
                  <a:cubicBezTo>
                    <a:pt x="10" y="4"/>
                    <a:pt x="10" y="4"/>
                    <a:pt x="10" y="4"/>
                  </a:cubicBezTo>
                  <a:cubicBezTo>
                    <a:pt x="10" y="4"/>
                    <a:pt x="11" y="4"/>
                    <a:pt x="11" y="4"/>
                  </a:cubicBezTo>
                  <a:cubicBezTo>
                    <a:pt x="11" y="4"/>
                    <a:pt x="11" y="4"/>
                    <a:pt x="12" y="4"/>
                  </a:cubicBezTo>
                  <a:cubicBezTo>
                    <a:pt x="12" y="5"/>
                    <a:pt x="12" y="5"/>
                    <a:pt x="12" y="5"/>
                  </a:cubicBezTo>
                  <a:cubicBezTo>
                    <a:pt x="12" y="5"/>
                    <a:pt x="12" y="5"/>
                    <a:pt x="12" y="4"/>
                  </a:cubicBezTo>
                  <a:cubicBezTo>
                    <a:pt x="12" y="4"/>
                    <a:pt x="12" y="4"/>
                    <a:pt x="12" y="4"/>
                  </a:cubicBezTo>
                  <a:cubicBezTo>
                    <a:pt x="13" y="4"/>
                    <a:pt x="13" y="4"/>
                    <a:pt x="13" y="4"/>
                  </a:cubicBezTo>
                  <a:cubicBezTo>
                    <a:pt x="13" y="3"/>
                    <a:pt x="13" y="3"/>
                    <a:pt x="13" y="3"/>
                  </a:cubicBezTo>
                  <a:cubicBezTo>
                    <a:pt x="13" y="2"/>
                    <a:pt x="13" y="2"/>
                    <a:pt x="13" y="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39">
              <a:extLst>
                <a:ext uri="{FF2B5EF4-FFF2-40B4-BE49-F238E27FC236}">
                  <a16:creationId xmlns:a16="http://schemas.microsoft.com/office/drawing/2014/main" id="{6635D6BA-2DD9-471A-B4BB-C90F16B6BE2C}"/>
                </a:ext>
              </a:extLst>
            </p:cNvPr>
            <p:cNvSpPr>
              <a:spLocks/>
            </p:cNvSpPr>
            <p:nvPr/>
          </p:nvSpPr>
          <p:spPr bwMode="auto">
            <a:xfrm>
              <a:off x="6204281" y="6319871"/>
              <a:ext cx="69260" cy="75032"/>
            </a:xfrm>
            <a:custGeom>
              <a:avLst/>
              <a:gdLst>
                <a:gd name="T0" fmla="*/ 20 w 20"/>
                <a:gd name="T1" fmla="*/ 0 h 22"/>
                <a:gd name="T2" fmla="*/ 19 w 20"/>
                <a:gd name="T3" fmla="*/ 0 h 22"/>
                <a:gd name="T4" fmla="*/ 19 w 20"/>
                <a:gd name="T5" fmla="*/ 0 h 22"/>
                <a:gd name="T6" fmla="*/ 18 w 20"/>
                <a:gd name="T7" fmla="*/ 0 h 22"/>
                <a:gd name="T8" fmla="*/ 17 w 20"/>
                <a:gd name="T9" fmla="*/ 0 h 22"/>
                <a:gd name="T10" fmla="*/ 16 w 20"/>
                <a:gd name="T11" fmla="*/ 0 h 22"/>
                <a:gd name="T12" fmla="*/ 16 w 20"/>
                <a:gd name="T13" fmla="*/ 0 h 22"/>
                <a:gd name="T14" fmla="*/ 16 w 20"/>
                <a:gd name="T15" fmla="*/ 0 h 22"/>
                <a:gd name="T16" fmla="*/ 10 w 20"/>
                <a:gd name="T17" fmla="*/ 18 h 22"/>
                <a:gd name="T18" fmla="*/ 10 w 20"/>
                <a:gd name="T19" fmla="*/ 18 h 22"/>
                <a:gd name="T20" fmla="*/ 10 w 20"/>
                <a:gd name="T21" fmla="*/ 18 h 22"/>
                <a:gd name="T22" fmla="*/ 4 w 20"/>
                <a:gd name="T23" fmla="*/ 0 h 22"/>
                <a:gd name="T24" fmla="*/ 4 w 20"/>
                <a:gd name="T25" fmla="*/ 0 h 22"/>
                <a:gd name="T26" fmla="*/ 3 w 20"/>
                <a:gd name="T27" fmla="*/ 0 h 22"/>
                <a:gd name="T28" fmla="*/ 3 w 20"/>
                <a:gd name="T29" fmla="*/ 0 h 22"/>
                <a:gd name="T30" fmla="*/ 2 w 20"/>
                <a:gd name="T31" fmla="*/ 0 h 22"/>
                <a:gd name="T32" fmla="*/ 1 w 20"/>
                <a:gd name="T33" fmla="*/ 0 h 22"/>
                <a:gd name="T34" fmla="*/ 0 w 20"/>
                <a:gd name="T35" fmla="*/ 0 h 22"/>
                <a:gd name="T36" fmla="*/ 0 w 20"/>
                <a:gd name="T37" fmla="*/ 0 h 22"/>
                <a:gd name="T38" fmla="*/ 0 w 20"/>
                <a:gd name="T39" fmla="*/ 0 h 22"/>
                <a:gd name="T40" fmla="*/ 0 w 20"/>
                <a:gd name="T41" fmla="*/ 0 h 22"/>
                <a:gd name="T42" fmla="*/ 0 w 20"/>
                <a:gd name="T43" fmla="*/ 1 h 22"/>
                <a:gd name="T44" fmla="*/ 0 w 20"/>
                <a:gd name="T45" fmla="*/ 1 h 22"/>
                <a:gd name="T46" fmla="*/ 7 w 20"/>
                <a:gd name="T47" fmla="*/ 21 h 22"/>
                <a:gd name="T48" fmla="*/ 7 w 20"/>
                <a:gd name="T49" fmla="*/ 22 h 22"/>
                <a:gd name="T50" fmla="*/ 8 w 20"/>
                <a:gd name="T51" fmla="*/ 22 h 22"/>
                <a:gd name="T52" fmla="*/ 9 w 20"/>
                <a:gd name="T53" fmla="*/ 22 h 22"/>
                <a:gd name="T54" fmla="*/ 10 w 20"/>
                <a:gd name="T55" fmla="*/ 22 h 22"/>
                <a:gd name="T56" fmla="*/ 11 w 20"/>
                <a:gd name="T57" fmla="*/ 22 h 22"/>
                <a:gd name="T58" fmla="*/ 12 w 20"/>
                <a:gd name="T59" fmla="*/ 22 h 22"/>
                <a:gd name="T60" fmla="*/ 12 w 20"/>
                <a:gd name="T61" fmla="*/ 22 h 22"/>
                <a:gd name="T62" fmla="*/ 12 w 20"/>
                <a:gd name="T63" fmla="*/ 21 h 22"/>
                <a:gd name="T64" fmla="*/ 20 w 20"/>
                <a:gd name="T65" fmla="*/ 1 h 22"/>
                <a:gd name="T66" fmla="*/ 20 w 20"/>
                <a:gd name="T67" fmla="*/ 1 h 22"/>
                <a:gd name="T68" fmla="*/ 20 w 20"/>
                <a:gd name="T69" fmla="*/ 1 h 22"/>
                <a:gd name="T70" fmla="*/ 20 w 20"/>
                <a:gd name="T71" fmla="*/ 0 h 22"/>
                <a:gd name="T72" fmla="*/ 20 w 20"/>
                <a:gd name="T73" fmla="*/ 0 h 22"/>
                <a:gd name="T74" fmla="*/ 20 w 20"/>
                <a:gd name="T7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22">
                  <a:moveTo>
                    <a:pt x="20" y="0"/>
                  </a:moveTo>
                  <a:cubicBezTo>
                    <a:pt x="20" y="0"/>
                    <a:pt x="20" y="0"/>
                    <a:pt x="19" y="0"/>
                  </a:cubicBezTo>
                  <a:cubicBezTo>
                    <a:pt x="19" y="0"/>
                    <a:pt x="19" y="0"/>
                    <a:pt x="19" y="0"/>
                  </a:cubicBezTo>
                  <a:cubicBezTo>
                    <a:pt x="19" y="0"/>
                    <a:pt x="18" y="0"/>
                    <a:pt x="18" y="0"/>
                  </a:cubicBezTo>
                  <a:cubicBezTo>
                    <a:pt x="18" y="0"/>
                    <a:pt x="17" y="0"/>
                    <a:pt x="17" y="0"/>
                  </a:cubicBezTo>
                  <a:cubicBezTo>
                    <a:pt x="17" y="0"/>
                    <a:pt x="17" y="0"/>
                    <a:pt x="16" y="0"/>
                  </a:cubicBezTo>
                  <a:cubicBezTo>
                    <a:pt x="16" y="0"/>
                    <a:pt x="16" y="0"/>
                    <a:pt x="16" y="0"/>
                  </a:cubicBezTo>
                  <a:cubicBezTo>
                    <a:pt x="16" y="0"/>
                    <a:pt x="16" y="0"/>
                    <a:pt x="16" y="0"/>
                  </a:cubicBezTo>
                  <a:cubicBezTo>
                    <a:pt x="10" y="18"/>
                    <a:pt x="10" y="18"/>
                    <a:pt x="10" y="18"/>
                  </a:cubicBezTo>
                  <a:cubicBezTo>
                    <a:pt x="10" y="18"/>
                    <a:pt x="10" y="18"/>
                    <a:pt x="10" y="18"/>
                  </a:cubicBezTo>
                  <a:cubicBezTo>
                    <a:pt x="10" y="18"/>
                    <a:pt x="10" y="18"/>
                    <a:pt x="10" y="18"/>
                  </a:cubicBezTo>
                  <a:cubicBezTo>
                    <a:pt x="4" y="0"/>
                    <a:pt x="4" y="0"/>
                    <a:pt x="4" y="0"/>
                  </a:cubicBezTo>
                  <a:cubicBezTo>
                    <a:pt x="4" y="0"/>
                    <a:pt x="4" y="0"/>
                    <a:pt x="4" y="0"/>
                  </a:cubicBezTo>
                  <a:cubicBezTo>
                    <a:pt x="4" y="0"/>
                    <a:pt x="4" y="0"/>
                    <a:pt x="3" y="0"/>
                  </a:cubicBezTo>
                  <a:cubicBezTo>
                    <a:pt x="3" y="0"/>
                    <a:pt x="3" y="0"/>
                    <a:pt x="3" y="0"/>
                  </a:cubicBezTo>
                  <a:cubicBezTo>
                    <a:pt x="2" y="0"/>
                    <a:pt x="2" y="0"/>
                    <a:pt x="2" y="0"/>
                  </a:cubicBezTo>
                  <a:cubicBezTo>
                    <a:pt x="1" y="0"/>
                    <a:pt x="1" y="0"/>
                    <a:pt x="1" y="0"/>
                  </a:cubicBezTo>
                  <a:cubicBezTo>
                    <a:pt x="1"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7" y="21"/>
                    <a:pt x="7" y="21"/>
                    <a:pt x="7" y="21"/>
                  </a:cubicBezTo>
                  <a:cubicBezTo>
                    <a:pt x="7" y="21"/>
                    <a:pt x="7" y="22"/>
                    <a:pt x="7" y="22"/>
                  </a:cubicBezTo>
                  <a:cubicBezTo>
                    <a:pt x="8" y="22"/>
                    <a:pt x="8" y="22"/>
                    <a:pt x="8" y="22"/>
                  </a:cubicBezTo>
                  <a:cubicBezTo>
                    <a:pt x="8" y="22"/>
                    <a:pt x="8" y="22"/>
                    <a:pt x="9" y="22"/>
                  </a:cubicBezTo>
                  <a:cubicBezTo>
                    <a:pt x="9" y="22"/>
                    <a:pt x="9" y="22"/>
                    <a:pt x="10" y="22"/>
                  </a:cubicBezTo>
                  <a:cubicBezTo>
                    <a:pt x="10" y="22"/>
                    <a:pt x="11" y="22"/>
                    <a:pt x="11" y="22"/>
                  </a:cubicBezTo>
                  <a:cubicBezTo>
                    <a:pt x="11" y="22"/>
                    <a:pt x="12" y="22"/>
                    <a:pt x="12" y="22"/>
                  </a:cubicBezTo>
                  <a:cubicBezTo>
                    <a:pt x="12" y="22"/>
                    <a:pt x="12" y="22"/>
                    <a:pt x="12" y="22"/>
                  </a:cubicBezTo>
                  <a:cubicBezTo>
                    <a:pt x="12" y="22"/>
                    <a:pt x="12" y="21"/>
                    <a:pt x="12" y="21"/>
                  </a:cubicBezTo>
                  <a:cubicBezTo>
                    <a:pt x="20" y="1"/>
                    <a:pt x="20" y="1"/>
                    <a:pt x="20" y="1"/>
                  </a:cubicBezTo>
                  <a:cubicBezTo>
                    <a:pt x="20" y="1"/>
                    <a:pt x="20" y="1"/>
                    <a:pt x="20" y="1"/>
                  </a:cubicBezTo>
                  <a:cubicBezTo>
                    <a:pt x="20" y="1"/>
                    <a:pt x="20" y="1"/>
                    <a:pt x="20" y="1"/>
                  </a:cubicBezTo>
                  <a:cubicBezTo>
                    <a:pt x="20" y="1"/>
                    <a:pt x="20" y="1"/>
                    <a:pt x="20" y="0"/>
                  </a:cubicBezTo>
                  <a:cubicBezTo>
                    <a:pt x="20" y="0"/>
                    <a:pt x="20" y="0"/>
                    <a:pt x="20" y="0"/>
                  </a:cubicBezTo>
                  <a:cubicBezTo>
                    <a:pt x="20" y="0"/>
                    <a:pt x="20" y="0"/>
                    <a:pt x="20"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40">
              <a:extLst>
                <a:ext uri="{FF2B5EF4-FFF2-40B4-BE49-F238E27FC236}">
                  <a16:creationId xmlns:a16="http://schemas.microsoft.com/office/drawing/2014/main" id="{BD7162D7-91F0-4948-968B-1532A9C454A4}"/>
                </a:ext>
              </a:extLst>
            </p:cNvPr>
            <p:cNvSpPr>
              <a:spLocks noEditPoints="1"/>
            </p:cNvSpPr>
            <p:nvPr/>
          </p:nvSpPr>
          <p:spPr bwMode="auto">
            <a:xfrm>
              <a:off x="6286527" y="6288127"/>
              <a:ext cx="14429" cy="106776"/>
            </a:xfrm>
            <a:custGeom>
              <a:avLst/>
              <a:gdLst>
                <a:gd name="T0" fmla="*/ 4 w 4"/>
                <a:gd name="T1" fmla="*/ 9 h 31"/>
                <a:gd name="T2" fmla="*/ 4 w 4"/>
                <a:gd name="T3" fmla="*/ 9 h 31"/>
                <a:gd name="T4" fmla="*/ 4 w 4"/>
                <a:gd name="T5" fmla="*/ 9 h 31"/>
                <a:gd name="T6" fmla="*/ 3 w 4"/>
                <a:gd name="T7" fmla="*/ 9 h 31"/>
                <a:gd name="T8" fmla="*/ 2 w 4"/>
                <a:gd name="T9" fmla="*/ 9 h 31"/>
                <a:gd name="T10" fmla="*/ 1 w 4"/>
                <a:gd name="T11" fmla="*/ 9 h 31"/>
                <a:gd name="T12" fmla="*/ 1 w 4"/>
                <a:gd name="T13" fmla="*/ 9 h 31"/>
                <a:gd name="T14" fmla="*/ 0 w 4"/>
                <a:gd name="T15" fmla="*/ 9 h 31"/>
                <a:gd name="T16" fmla="*/ 0 w 4"/>
                <a:gd name="T17" fmla="*/ 9 h 31"/>
                <a:gd name="T18" fmla="*/ 0 w 4"/>
                <a:gd name="T19" fmla="*/ 30 h 31"/>
                <a:gd name="T20" fmla="*/ 0 w 4"/>
                <a:gd name="T21" fmla="*/ 31 h 31"/>
                <a:gd name="T22" fmla="*/ 1 w 4"/>
                <a:gd name="T23" fmla="*/ 31 h 31"/>
                <a:gd name="T24" fmla="*/ 1 w 4"/>
                <a:gd name="T25" fmla="*/ 31 h 31"/>
                <a:gd name="T26" fmla="*/ 2 w 4"/>
                <a:gd name="T27" fmla="*/ 31 h 31"/>
                <a:gd name="T28" fmla="*/ 3 w 4"/>
                <a:gd name="T29" fmla="*/ 31 h 31"/>
                <a:gd name="T30" fmla="*/ 4 w 4"/>
                <a:gd name="T31" fmla="*/ 31 h 31"/>
                <a:gd name="T32" fmla="*/ 4 w 4"/>
                <a:gd name="T33" fmla="*/ 31 h 31"/>
                <a:gd name="T34" fmla="*/ 4 w 4"/>
                <a:gd name="T35" fmla="*/ 30 h 31"/>
                <a:gd name="T36" fmla="*/ 4 w 4"/>
                <a:gd name="T37" fmla="*/ 9 h 31"/>
                <a:gd name="T38" fmla="*/ 4 w 4"/>
                <a:gd name="T39" fmla="*/ 0 h 31"/>
                <a:gd name="T40" fmla="*/ 2 w 4"/>
                <a:gd name="T41" fmla="*/ 0 h 31"/>
                <a:gd name="T42" fmla="*/ 0 w 4"/>
                <a:gd name="T43" fmla="*/ 0 h 31"/>
                <a:gd name="T44" fmla="*/ 0 w 4"/>
                <a:gd name="T45" fmla="*/ 2 h 31"/>
                <a:gd name="T46" fmla="*/ 0 w 4"/>
                <a:gd name="T47" fmla="*/ 4 h 31"/>
                <a:gd name="T48" fmla="*/ 2 w 4"/>
                <a:gd name="T49" fmla="*/ 5 h 31"/>
                <a:gd name="T50" fmla="*/ 4 w 4"/>
                <a:gd name="T51" fmla="*/ 4 h 31"/>
                <a:gd name="T52" fmla="*/ 4 w 4"/>
                <a:gd name="T53" fmla="*/ 2 h 31"/>
                <a:gd name="T54" fmla="*/ 4 w 4"/>
                <a:gd name="T5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31">
                  <a:moveTo>
                    <a:pt x="4" y="9"/>
                  </a:moveTo>
                  <a:cubicBezTo>
                    <a:pt x="4" y="9"/>
                    <a:pt x="4" y="9"/>
                    <a:pt x="4" y="9"/>
                  </a:cubicBezTo>
                  <a:cubicBezTo>
                    <a:pt x="4" y="9"/>
                    <a:pt x="4" y="9"/>
                    <a:pt x="4" y="9"/>
                  </a:cubicBezTo>
                  <a:cubicBezTo>
                    <a:pt x="3" y="9"/>
                    <a:pt x="3" y="9"/>
                    <a:pt x="3" y="9"/>
                  </a:cubicBezTo>
                  <a:cubicBezTo>
                    <a:pt x="3" y="9"/>
                    <a:pt x="2" y="9"/>
                    <a:pt x="2" y="9"/>
                  </a:cubicBezTo>
                  <a:cubicBezTo>
                    <a:pt x="2" y="9"/>
                    <a:pt x="1" y="9"/>
                    <a:pt x="1" y="9"/>
                  </a:cubicBezTo>
                  <a:cubicBezTo>
                    <a:pt x="1" y="9"/>
                    <a:pt x="1" y="9"/>
                    <a:pt x="1" y="9"/>
                  </a:cubicBezTo>
                  <a:cubicBezTo>
                    <a:pt x="0" y="9"/>
                    <a:pt x="0" y="9"/>
                    <a:pt x="0" y="9"/>
                  </a:cubicBezTo>
                  <a:cubicBezTo>
                    <a:pt x="0" y="9"/>
                    <a:pt x="0" y="9"/>
                    <a:pt x="0" y="9"/>
                  </a:cubicBezTo>
                  <a:cubicBezTo>
                    <a:pt x="0" y="30"/>
                    <a:pt x="0" y="30"/>
                    <a:pt x="0" y="30"/>
                  </a:cubicBezTo>
                  <a:cubicBezTo>
                    <a:pt x="0" y="31"/>
                    <a:pt x="0" y="31"/>
                    <a:pt x="0" y="31"/>
                  </a:cubicBezTo>
                  <a:cubicBezTo>
                    <a:pt x="0" y="31"/>
                    <a:pt x="0" y="31"/>
                    <a:pt x="1" y="31"/>
                  </a:cubicBezTo>
                  <a:cubicBezTo>
                    <a:pt x="1" y="31"/>
                    <a:pt x="1" y="31"/>
                    <a:pt x="1" y="31"/>
                  </a:cubicBezTo>
                  <a:cubicBezTo>
                    <a:pt x="1" y="31"/>
                    <a:pt x="2" y="31"/>
                    <a:pt x="2" y="31"/>
                  </a:cubicBezTo>
                  <a:cubicBezTo>
                    <a:pt x="2" y="31"/>
                    <a:pt x="3" y="31"/>
                    <a:pt x="3" y="31"/>
                  </a:cubicBezTo>
                  <a:cubicBezTo>
                    <a:pt x="3" y="31"/>
                    <a:pt x="3" y="31"/>
                    <a:pt x="4" y="31"/>
                  </a:cubicBezTo>
                  <a:cubicBezTo>
                    <a:pt x="4" y="31"/>
                    <a:pt x="4" y="31"/>
                    <a:pt x="4" y="31"/>
                  </a:cubicBezTo>
                  <a:cubicBezTo>
                    <a:pt x="4" y="31"/>
                    <a:pt x="4" y="31"/>
                    <a:pt x="4" y="30"/>
                  </a:cubicBezTo>
                  <a:cubicBezTo>
                    <a:pt x="4" y="9"/>
                    <a:pt x="4" y="9"/>
                    <a:pt x="4" y="9"/>
                  </a:cubicBezTo>
                  <a:close/>
                  <a:moveTo>
                    <a:pt x="4" y="0"/>
                  </a:moveTo>
                  <a:cubicBezTo>
                    <a:pt x="4" y="0"/>
                    <a:pt x="3" y="0"/>
                    <a:pt x="2" y="0"/>
                  </a:cubicBezTo>
                  <a:cubicBezTo>
                    <a:pt x="1" y="0"/>
                    <a:pt x="1" y="0"/>
                    <a:pt x="0" y="0"/>
                  </a:cubicBezTo>
                  <a:cubicBezTo>
                    <a:pt x="0" y="1"/>
                    <a:pt x="0" y="1"/>
                    <a:pt x="0" y="2"/>
                  </a:cubicBezTo>
                  <a:cubicBezTo>
                    <a:pt x="0" y="3"/>
                    <a:pt x="0" y="4"/>
                    <a:pt x="0" y="4"/>
                  </a:cubicBezTo>
                  <a:cubicBezTo>
                    <a:pt x="1" y="4"/>
                    <a:pt x="1" y="5"/>
                    <a:pt x="2" y="5"/>
                  </a:cubicBezTo>
                  <a:cubicBezTo>
                    <a:pt x="3" y="5"/>
                    <a:pt x="4" y="4"/>
                    <a:pt x="4" y="4"/>
                  </a:cubicBezTo>
                  <a:cubicBezTo>
                    <a:pt x="4" y="4"/>
                    <a:pt x="4" y="3"/>
                    <a:pt x="4" y="2"/>
                  </a:cubicBezTo>
                  <a:cubicBezTo>
                    <a:pt x="4" y="1"/>
                    <a:pt x="4" y="1"/>
                    <a:pt x="4"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41">
              <a:extLst>
                <a:ext uri="{FF2B5EF4-FFF2-40B4-BE49-F238E27FC236}">
                  <a16:creationId xmlns:a16="http://schemas.microsoft.com/office/drawing/2014/main" id="{06EBDC99-852E-4F17-A4E6-4D0523915838}"/>
                </a:ext>
              </a:extLst>
            </p:cNvPr>
            <p:cNvSpPr>
              <a:spLocks/>
            </p:cNvSpPr>
            <p:nvPr/>
          </p:nvSpPr>
          <p:spPr bwMode="auto">
            <a:xfrm>
              <a:off x="6321157" y="6315543"/>
              <a:ext cx="54831" cy="79361"/>
            </a:xfrm>
            <a:custGeom>
              <a:avLst/>
              <a:gdLst>
                <a:gd name="T0" fmla="*/ 16 w 16"/>
                <a:gd name="T1" fmla="*/ 18 h 23"/>
                <a:gd name="T2" fmla="*/ 16 w 16"/>
                <a:gd name="T3" fmla="*/ 18 h 23"/>
                <a:gd name="T4" fmla="*/ 16 w 16"/>
                <a:gd name="T5" fmla="*/ 18 h 23"/>
                <a:gd name="T6" fmla="*/ 16 w 16"/>
                <a:gd name="T7" fmla="*/ 17 h 23"/>
                <a:gd name="T8" fmla="*/ 15 w 16"/>
                <a:gd name="T9" fmla="*/ 18 h 23"/>
                <a:gd name="T10" fmla="*/ 14 w 16"/>
                <a:gd name="T11" fmla="*/ 19 h 23"/>
                <a:gd name="T12" fmla="*/ 12 w 16"/>
                <a:gd name="T13" fmla="*/ 20 h 23"/>
                <a:gd name="T14" fmla="*/ 10 w 16"/>
                <a:gd name="T15" fmla="*/ 20 h 23"/>
                <a:gd name="T16" fmla="*/ 7 w 16"/>
                <a:gd name="T17" fmla="*/ 20 h 23"/>
                <a:gd name="T18" fmla="*/ 5 w 16"/>
                <a:gd name="T19" fmla="*/ 18 h 23"/>
                <a:gd name="T20" fmla="*/ 4 w 16"/>
                <a:gd name="T21" fmla="*/ 15 h 23"/>
                <a:gd name="T22" fmla="*/ 4 w 16"/>
                <a:gd name="T23" fmla="*/ 12 h 23"/>
                <a:gd name="T24" fmla="*/ 5 w 16"/>
                <a:gd name="T25" fmla="*/ 6 h 23"/>
                <a:gd name="T26" fmla="*/ 9 w 16"/>
                <a:gd name="T27" fmla="*/ 4 h 23"/>
                <a:gd name="T28" fmla="*/ 12 w 16"/>
                <a:gd name="T29" fmla="*/ 4 h 23"/>
                <a:gd name="T30" fmla="*/ 14 w 16"/>
                <a:gd name="T31" fmla="*/ 5 h 23"/>
                <a:gd name="T32" fmla="*/ 15 w 16"/>
                <a:gd name="T33" fmla="*/ 6 h 23"/>
                <a:gd name="T34" fmla="*/ 16 w 16"/>
                <a:gd name="T35" fmla="*/ 6 h 23"/>
                <a:gd name="T36" fmla="*/ 16 w 16"/>
                <a:gd name="T37" fmla="*/ 6 h 23"/>
                <a:gd name="T38" fmla="*/ 16 w 16"/>
                <a:gd name="T39" fmla="*/ 4 h 23"/>
                <a:gd name="T40" fmla="*/ 16 w 16"/>
                <a:gd name="T41" fmla="*/ 4 h 23"/>
                <a:gd name="T42" fmla="*/ 16 w 16"/>
                <a:gd name="T43" fmla="*/ 3 h 23"/>
                <a:gd name="T44" fmla="*/ 16 w 16"/>
                <a:gd name="T45" fmla="*/ 3 h 23"/>
                <a:gd name="T46" fmla="*/ 16 w 16"/>
                <a:gd name="T47" fmla="*/ 2 h 23"/>
                <a:gd name="T48" fmla="*/ 15 w 16"/>
                <a:gd name="T49" fmla="*/ 2 h 23"/>
                <a:gd name="T50" fmla="*/ 13 w 16"/>
                <a:gd name="T51" fmla="*/ 1 h 23"/>
                <a:gd name="T52" fmla="*/ 12 w 16"/>
                <a:gd name="T53" fmla="*/ 0 h 23"/>
                <a:gd name="T54" fmla="*/ 10 w 16"/>
                <a:gd name="T55" fmla="*/ 0 h 23"/>
                <a:gd name="T56" fmla="*/ 6 w 16"/>
                <a:gd name="T57" fmla="*/ 1 h 23"/>
                <a:gd name="T58" fmla="*/ 3 w 16"/>
                <a:gd name="T59" fmla="*/ 3 h 23"/>
                <a:gd name="T60" fmla="*/ 0 w 16"/>
                <a:gd name="T61" fmla="*/ 7 h 23"/>
                <a:gd name="T62" fmla="*/ 0 w 16"/>
                <a:gd name="T63" fmla="*/ 12 h 23"/>
                <a:gd name="T64" fmla="*/ 0 w 16"/>
                <a:gd name="T65" fmla="*/ 17 h 23"/>
                <a:gd name="T66" fmla="*/ 2 w 16"/>
                <a:gd name="T67" fmla="*/ 21 h 23"/>
                <a:gd name="T68" fmla="*/ 5 w 16"/>
                <a:gd name="T69" fmla="*/ 23 h 23"/>
                <a:gd name="T70" fmla="*/ 9 w 16"/>
                <a:gd name="T71" fmla="*/ 23 h 23"/>
                <a:gd name="T72" fmla="*/ 11 w 16"/>
                <a:gd name="T73" fmla="*/ 23 h 23"/>
                <a:gd name="T74" fmla="*/ 13 w 16"/>
                <a:gd name="T75" fmla="*/ 23 h 23"/>
                <a:gd name="T76" fmla="*/ 15 w 16"/>
                <a:gd name="T77" fmla="*/ 22 h 23"/>
                <a:gd name="T78" fmla="*/ 16 w 16"/>
                <a:gd name="T79" fmla="*/ 21 h 23"/>
                <a:gd name="T80" fmla="*/ 16 w 16"/>
                <a:gd name="T81" fmla="*/ 21 h 23"/>
                <a:gd name="T82" fmla="*/ 16 w 16"/>
                <a:gd name="T83" fmla="*/ 20 h 23"/>
                <a:gd name="T84" fmla="*/ 16 w 16"/>
                <a:gd name="T85" fmla="*/ 20 h 23"/>
                <a:gd name="T86" fmla="*/ 16 w 16"/>
                <a:gd name="T87" fmla="*/ 19 h 23"/>
                <a:gd name="T88" fmla="*/ 16 w 16"/>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23">
                  <a:moveTo>
                    <a:pt x="16" y="18"/>
                  </a:moveTo>
                  <a:cubicBezTo>
                    <a:pt x="16" y="18"/>
                    <a:pt x="16" y="18"/>
                    <a:pt x="16" y="18"/>
                  </a:cubicBezTo>
                  <a:cubicBezTo>
                    <a:pt x="16" y="18"/>
                    <a:pt x="16" y="18"/>
                    <a:pt x="16" y="18"/>
                  </a:cubicBezTo>
                  <a:cubicBezTo>
                    <a:pt x="16" y="17"/>
                    <a:pt x="16" y="17"/>
                    <a:pt x="16" y="17"/>
                  </a:cubicBezTo>
                  <a:cubicBezTo>
                    <a:pt x="16" y="17"/>
                    <a:pt x="15" y="18"/>
                    <a:pt x="15" y="18"/>
                  </a:cubicBezTo>
                  <a:cubicBezTo>
                    <a:pt x="15" y="18"/>
                    <a:pt x="14" y="18"/>
                    <a:pt x="14" y="19"/>
                  </a:cubicBezTo>
                  <a:cubicBezTo>
                    <a:pt x="13" y="19"/>
                    <a:pt x="13" y="19"/>
                    <a:pt x="12" y="20"/>
                  </a:cubicBezTo>
                  <a:cubicBezTo>
                    <a:pt x="11" y="20"/>
                    <a:pt x="10" y="20"/>
                    <a:pt x="10" y="20"/>
                  </a:cubicBezTo>
                  <a:cubicBezTo>
                    <a:pt x="9" y="20"/>
                    <a:pt x="8" y="20"/>
                    <a:pt x="7" y="20"/>
                  </a:cubicBezTo>
                  <a:cubicBezTo>
                    <a:pt x="6" y="19"/>
                    <a:pt x="6" y="19"/>
                    <a:pt x="5" y="18"/>
                  </a:cubicBezTo>
                  <a:cubicBezTo>
                    <a:pt x="5" y="17"/>
                    <a:pt x="4" y="17"/>
                    <a:pt x="4" y="15"/>
                  </a:cubicBezTo>
                  <a:cubicBezTo>
                    <a:pt x="4" y="14"/>
                    <a:pt x="4" y="13"/>
                    <a:pt x="4" y="12"/>
                  </a:cubicBezTo>
                  <a:cubicBezTo>
                    <a:pt x="4" y="9"/>
                    <a:pt x="4" y="7"/>
                    <a:pt x="5" y="6"/>
                  </a:cubicBezTo>
                  <a:cubicBezTo>
                    <a:pt x="6" y="4"/>
                    <a:pt x="8" y="4"/>
                    <a:pt x="9" y="4"/>
                  </a:cubicBezTo>
                  <a:cubicBezTo>
                    <a:pt x="10" y="4"/>
                    <a:pt x="11" y="4"/>
                    <a:pt x="12" y="4"/>
                  </a:cubicBezTo>
                  <a:cubicBezTo>
                    <a:pt x="13" y="4"/>
                    <a:pt x="13" y="4"/>
                    <a:pt x="14" y="5"/>
                  </a:cubicBezTo>
                  <a:cubicBezTo>
                    <a:pt x="14" y="5"/>
                    <a:pt x="14" y="5"/>
                    <a:pt x="15" y="6"/>
                  </a:cubicBezTo>
                  <a:cubicBezTo>
                    <a:pt x="15" y="6"/>
                    <a:pt x="15" y="6"/>
                    <a:pt x="16" y="6"/>
                  </a:cubicBezTo>
                  <a:cubicBezTo>
                    <a:pt x="16" y="6"/>
                    <a:pt x="16" y="6"/>
                    <a:pt x="16" y="6"/>
                  </a:cubicBezTo>
                  <a:cubicBezTo>
                    <a:pt x="16" y="5"/>
                    <a:pt x="16" y="5"/>
                    <a:pt x="16" y="4"/>
                  </a:cubicBezTo>
                  <a:cubicBezTo>
                    <a:pt x="16" y="4"/>
                    <a:pt x="16" y="4"/>
                    <a:pt x="16" y="4"/>
                  </a:cubicBezTo>
                  <a:cubicBezTo>
                    <a:pt x="16" y="4"/>
                    <a:pt x="16" y="3"/>
                    <a:pt x="16" y="3"/>
                  </a:cubicBezTo>
                  <a:cubicBezTo>
                    <a:pt x="16" y="3"/>
                    <a:pt x="16" y="3"/>
                    <a:pt x="16" y="3"/>
                  </a:cubicBezTo>
                  <a:cubicBezTo>
                    <a:pt x="16" y="3"/>
                    <a:pt x="16" y="3"/>
                    <a:pt x="16" y="2"/>
                  </a:cubicBezTo>
                  <a:cubicBezTo>
                    <a:pt x="15" y="2"/>
                    <a:pt x="15" y="2"/>
                    <a:pt x="15" y="2"/>
                  </a:cubicBezTo>
                  <a:cubicBezTo>
                    <a:pt x="14" y="1"/>
                    <a:pt x="14" y="1"/>
                    <a:pt x="13" y="1"/>
                  </a:cubicBezTo>
                  <a:cubicBezTo>
                    <a:pt x="13" y="1"/>
                    <a:pt x="12" y="1"/>
                    <a:pt x="12" y="0"/>
                  </a:cubicBezTo>
                  <a:cubicBezTo>
                    <a:pt x="11" y="0"/>
                    <a:pt x="10" y="0"/>
                    <a:pt x="10" y="0"/>
                  </a:cubicBezTo>
                  <a:cubicBezTo>
                    <a:pt x="8" y="0"/>
                    <a:pt x="7" y="1"/>
                    <a:pt x="6" y="1"/>
                  </a:cubicBezTo>
                  <a:cubicBezTo>
                    <a:pt x="4" y="1"/>
                    <a:pt x="3" y="2"/>
                    <a:pt x="3" y="3"/>
                  </a:cubicBezTo>
                  <a:cubicBezTo>
                    <a:pt x="2" y="4"/>
                    <a:pt x="1" y="5"/>
                    <a:pt x="0" y="7"/>
                  </a:cubicBezTo>
                  <a:cubicBezTo>
                    <a:pt x="0" y="8"/>
                    <a:pt x="0" y="10"/>
                    <a:pt x="0" y="12"/>
                  </a:cubicBezTo>
                  <a:cubicBezTo>
                    <a:pt x="0" y="14"/>
                    <a:pt x="0" y="16"/>
                    <a:pt x="0" y="17"/>
                  </a:cubicBezTo>
                  <a:cubicBezTo>
                    <a:pt x="1" y="18"/>
                    <a:pt x="1" y="20"/>
                    <a:pt x="2" y="21"/>
                  </a:cubicBezTo>
                  <a:cubicBezTo>
                    <a:pt x="3" y="21"/>
                    <a:pt x="4" y="22"/>
                    <a:pt x="5" y="23"/>
                  </a:cubicBezTo>
                  <a:cubicBezTo>
                    <a:pt x="6" y="23"/>
                    <a:pt x="8" y="23"/>
                    <a:pt x="9" y="23"/>
                  </a:cubicBezTo>
                  <a:cubicBezTo>
                    <a:pt x="10" y="23"/>
                    <a:pt x="11" y="23"/>
                    <a:pt x="11" y="23"/>
                  </a:cubicBezTo>
                  <a:cubicBezTo>
                    <a:pt x="12" y="23"/>
                    <a:pt x="13" y="23"/>
                    <a:pt x="13" y="23"/>
                  </a:cubicBezTo>
                  <a:cubicBezTo>
                    <a:pt x="14" y="22"/>
                    <a:pt x="14" y="22"/>
                    <a:pt x="15" y="22"/>
                  </a:cubicBezTo>
                  <a:cubicBezTo>
                    <a:pt x="15" y="22"/>
                    <a:pt x="16" y="21"/>
                    <a:pt x="16" y="21"/>
                  </a:cubicBezTo>
                  <a:cubicBezTo>
                    <a:pt x="16" y="21"/>
                    <a:pt x="16" y="21"/>
                    <a:pt x="16" y="21"/>
                  </a:cubicBezTo>
                  <a:cubicBezTo>
                    <a:pt x="16" y="21"/>
                    <a:pt x="16" y="21"/>
                    <a:pt x="16" y="20"/>
                  </a:cubicBezTo>
                  <a:cubicBezTo>
                    <a:pt x="16" y="20"/>
                    <a:pt x="16" y="20"/>
                    <a:pt x="16" y="20"/>
                  </a:cubicBezTo>
                  <a:cubicBezTo>
                    <a:pt x="16" y="20"/>
                    <a:pt x="16" y="19"/>
                    <a:pt x="16" y="19"/>
                  </a:cubicBezTo>
                  <a:cubicBezTo>
                    <a:pt x="16" y="19"/>
                    <a:pt x="16" y="19"/>
                    <a:pt x="16" y="18"/>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42">
              <a:extLst>
                <a:ext uri="{FF2B5EF4-FFF2-40B4-BE49-F238E27FC236}">
                  <a16:creationId xmlns:a16="http://schemas.microsoft.com/office/drawing/2014/main" id="{8B122840-0B7B-4724-B7C3-8CE50F252FD0}"/>
                </a:ext>
              </a:extLst>
            </p:cNvPr>
            <p:cNvSpPr>
              <a:spLocks noEditPoints="1"/>
            </p:cNvSpPr>
            <p:nvPr/>
          </p:nvSpPr>
          <p:spPr bwMode="auto">
            <a:xfrm>
              <a:off x="6388974" y="6315543"/>
              <a:ext cx="66374" cy="79361"/>
            </a:xfrm>
            <a:custGeom>
              <a:avLst/>
              <a:gdLst>
                <a:gd name="T0" fmla="*/ 19 w 19"/>
                <a:gd name="T1" fmla="*/ 10 h 23"/>
                <a:gd name="T2" fmla="*/ 19 w 19"/>
                <a:gd name="T3" fmla="*/ 6 h 23"/>
                <a:gd name="T4" fmla="*/ 17 w 19"/>
                <a:gd name="T5" fmla="*/ 3 h 23"/>
                <a:gd name="T6" fmla="*/ 14 w 19"/>
                <a:gd name="T7" fmla="*/ 1 h 23"/>
                <a:gd name="T8" fmla="*/ 10 w 19"/>
                <a:gd name="T9" fmla="*/ 0 h 23"/>
                <a:gd name="T10" fmla="*/ 6 w 19"/>
                <a:gd name="T11" fmla="*/ 1 h 23"/>
                <a:gd name="T12" fmla="*/ 3 w 19"/>
                <a:gd name="T13" fmla="*/ 3 h 23"/>
                <a:gd name="T14" fmla="*/ 1 w 19"/>
                <a:gd name="T15" fmla="*/ 7 h 23"/>
                <a:gd name="T16" fmla="*/ 0 w 19"/>
                <a:gd name="T17" fmla="*/ 12 h 23"/>
                <a:gd name="T18" fmla="*/ 1 w 19"/>
                <a:gd name="T19" fmla="*/ 17 h 23"/>
                <a:gd name="T20" fmla="*/ 3 w 19"/>
                <a:gd name="T21" fmla="*/ 21 h 23"/>
                <a:gd name="T22" fmla="*/ 6 w 19"/>
                <a:gd name="T23" fmla="*/ 23 h 23"/>
                <a:gd name="T24" fmla="*/ 11 w 19"/>
                <a:gd name="T25" fmla="*/ 23 h 23"/>
                <a:gd name="T26" fmla="*/ 13 w 19"/>
                <a:gd name="T27" fmla="*/ 23 h 23"/>
                <a:gd name="T28" fmla="*/ 16 w 19"/>
                <a:gd name="T29" fmla="*/ 23 h 23"/>
                <a:gd name="T30" fmla="*/ 17 w 19"/>
                <a:gd name="T31" fmla="*/ 22 h 23"/>
                <a:gd name="T32" fmla="*/ 18 w 19"/>
                <a:gd name="T33" fmla="*/ 22 h 23"/>
                <a:gd name="T34" fmla="*/ 18 w 19"/>
                <a:gd name="T35" fmla="*/ 21 h 23"/>
                <a:gd name="T36" fmla="*/ 18 w 19"/>
                <a:gd name="T37" fmla="*/ 21 h 23"/>
                <a:gd name="T38" fmla="*/ 18 w 19"/>
                <a:gd name="T39" fmla="*/ 21 h 23"/>
                <a:gd name="T40" fmla="*/ 18 w 19"/>
                <a:gd name="T41" fmla="*/ 20 h 23"/>
                <a:gd name="T42" fmla="*/ 18 w 19"/>
                <a:gd name="T43" fmla="*/ 20 h 23"/>
                <a:gd name="T44" fmla="*/ 18 w 19"/>
                <a:gd name="T45" fmla="*/ 19 h 23"/>
                <a:gd name="T46" fmla="*/ 18 w 19"/>
                <a:gd name="T47" fmla="*/ 19 h 23"/>
                <a:gd name="T48" fmla="*/ 18 w 19"/>
                <a:gd name="T49" fmla="*/ 19 h 23"/>
                <a:gd name="T50" fmla="*/ 17 w 19"/>
                <a:gd name="T51" fmla="*/ 19 h 23"/>
                <a:gd name="T52" fmla="*/ 16 w 19"/>
                <a:gd name="T53" fmla="*/ 20 h 23"/>
                <a:gd name="T54" fmla="*/ 14 w 19"/>
                <a:gd name="T55" fmla="*/ 20 h 23"/>
                <a:gd name="T56" fmla="*/ 11 w 19"/>
                <a:gd name="T57" fmla="*/ 20 h 23"/>
                <a:gd name="T58" fmla="*/ 8 w 19"/>
                <a:gd name="T59" fmla="*/ 20 h 23"/>
                <a:gd name="T60" fmla="*/ 6 w 19"/>
                <a:gd name="T61" fmla="*/ 18 h 23"/>
                <a:gd name="T62" fmla="*/ 4 w 19"/>
                <a:gd name="T63" fmla="*/ 16 h 23"/>
                <a:gd name="T64" fmla="*/ 4 w 19"/>
                <a:gd name="T65" fmla="*/ 13 h 23"/>
                <a:gd name="T66" fmla="*/ 18 w 19"/>
                <a:gd name="T67" fmla="*/ 13 h 23"/>
                <a:gd name="T68" fmla="*/ 19 w 19"/>
                <a:gd name="T69" fmla="*/ 12 h 23"/>
                <a:gd name="T70" fmla="*/ 19 w 19"/>
                <a:gd name="T71" fmla="*/ 11 h 23"/>
                <a:gd name="T72" fmla="*/ 19 w 19"/>
                <a:gd name="T73" fmla="*/ 10 h 23"/>
                <a:gd name="T74" fmla="*/ 4 w 19"/>
                <a:gd name="T75" fmla="*/ 10 h 23"/>
                <a:gd name="T76" fmla="*/ 4 w 19"/>
                <a:gd name="T77" fmla="*/ 7 h 23"/>
                <a:gd name="T78" fmla="*/ 6 w 19"/>
                <a:gd name="T79" fmla="*/ 5 h 23"/>
                <a:gd name="T80" fmla="*/ 7 w 19"/>
                <a:gd name="T81" fmla="*/ 4 h 23"/>
                <a:gd name="T82" fmla="*/ 10 w 19"/>
                <a:gd name="T83" fmla="*/ 3 h 23"/>
                <a:gd name="T84" fmla="*/ 14 w 19"/>
                <a:gd name="T85" fmla="*/ 5 h 23"/>
                <a:gd name="T86" fmla="*/ 15 w 19"/>
                <a:gd name="T87" fmla="*/ 10 h 23"/>
                <a:gd name="T88" fmla="*/ 4 w 19"/>
                <a:gd name="T89"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3">
                  <a:moveTo>
                    <a:pt x="19" y="10"/>
                  </a:moveTo>
                  <a:cubicBezTo>
                    <a:pt x="19" y="9"/>
                    <a:pt x="19" y="8"/>
                    <a:pt x="19" y="6"/>
                  </a:cubicBezTo>
                  <a:cubicBezTo>
                    <a:pt x="19" y="5"/>
                    <a:pt x="18" y="4"/>
                    <a:pt x="17" y="3"/>
                  </a:cubicBezTo>
                  <a:cubicBezTo>
                    <a:pt x="16" y="2"/>
                    <a:pt x="15" y="2"/>
                    <a:pt x="14" y="1"/>
                  </a:cubicBezTo>
                  <a:cubicBezTo>
                    <a:pt x="13" y="1"/>
                    <a:pt x="12" y="0"/>
                    <a:pt x="10" y="0"/>
                  </a:cubicBezTo>
                  <a:cubicBezTo>
                    <a:pt x="9" y="0"/>
                    <a:pt x="7" y="1"/>
                    <a:pt x="6" y="1"/>
                  </a:cubicBezTo>
                  <a:cubicBezTo>
                    <a:pt x="5" y="2"/>
                    <a:pt x="4" y="2"/>
                    <a:pt x="3" y="3"/>
                  </a:cubicBezTo>
                  <a:cubicBezTo>
                    <a:pt x="2" y="4"/>
                    <a:pt x="1" y="6"/>
                    <a:pt x="1" y="7"/>
                  </a:cubicBezTo>
                  <a:cubicBezTo>
                    <a:pt x="0" y="9"/>
                    <a:pt x="0" y="10"/>
                    <a:pt x="0" y="12"/>
                  </a:cubicBezTo>
                  <a:cubicBezTo>
                    <a:pt x="0" y="14"/>
                    <a:pt x="0" y="16"/>
                    <a:pt x="1" y="17"/>
                  </a:cubicBezTo>
                  <a:cubicBezTo>
                    <a:pt x="1" y="18"/>
                    <a:pt x="2" y="20"/>
                    <a:pt x="3" y="21"/>
                  </a:cubicBezTo>
                  <a:cubicBezTo>
                    <a:pt x="4" y="22"/>
                    <a:pt x="5" y="22"/>
                    <a:pt x="6" y="23"/>
                  </a:cubicBezTo>
                  <a:cubicBezTo>
                    <a:pt x="7" y="23"/>
                    <a:pt x="9" y="23"/>
                    <a:pt x="11" y="23"/>
                  </a:cubicBezTo>
                  <a:cubicBezTo>
                    <a:pt x="12" y="23"/>
                    <a:pt x="12" y="23"/>
                    <a:pt x="13" y="23"/>
                  </a:cubicBezTo>
                  <a:cubicBezTo>
                    <a:pt x="14" y="23"/>
                    <a:pt x="15" y="23"/>
                    <a:pt x="16" y="23"/>
                  </a:cubicBezTo>
                  <a:cubicBezTo>
                    <a:pt x="16" y="23"/>
                    <a:pt x="17" y="22"/>
                    <a:pt x="17" y="22"/>
                  </a:cubicBezTo>
                  <a:cubicBezTo>
                    <a:pt x="18" y="22"/>
                    <a:pt x="18" y="22"/>
                    <a:pt x="18" y="22"/>
                  </a:cubicBezTo>
                  <a:cubicBezTo>
                    <a:pt x="18" y="22"/>
                    <a:pt x="18" y="22"/>
                    <a:pt x="18" y="21"/>
                  </a:cubicBezTo>
                  <a:cubicBezTo>
                    <a:pt x="18" y="21"/>
                    <a:pt x="18" y="21"/>
                    <a:pt x="18" y="21"/>
                  </a:cubicBezTo>
                  <a:cubicBezTo>
                    <a:pt x="18" y="21"/>
                    <a:pt x="18" y="21"/>
                    <a:pt x="18" y="21"/>
                  </a:cubicBezTo>
                  <a:cubicBezTo>
                    <a:pt x="18" y="21"/>
                    <a:pt x="18" y="20"/>
                    <a:pt x="18" y="20"/>
                  </a:cubicBezTo>
                  <a:cubicBezTo>
                    <a:pt x="18" y="20"/>
                    <a:pt x="18" y="20"/>
                    <a:pt x="18" y="20"/>
                  </a:cubicBezTo>
                  <a:cubicBezTo>
                    <a:pt x="18" y="19"/>
                    <a:pt x="18" y="19"/>
                    <a:pt x="18" y="19"/>
                  </a:cubicBezTo>
                  <a:cubicBezTo>
                    <a:pt x="18" y="19"/>
                    <a:pt x="18" y="19"/>
                    <a:pt x="18" y="19"/>
                  </a:cubicBezTo>
                  <a:cubicBezTo>
                    <a:pt x="18" y="19"/>
                    <a:pt x="18" y="19"/>
                    <a:pt x="18" y="19"/>
                  </a:cubicBezTo>
                  <a:cubicBezTo>
                    <a:pt x="18" y="19"/>
                    <a:pt x="17" y="19"/>
                    <a:pt x="17" y="19"/>
                  </a:cubicBezTo>
                  <a:cubicBezTo>
                    <a:pt x="17" y="19"/>
                    <a:pt x="16" y="19"/>
                    <a:pt x="16" y="20"/>
                  </a:cubicBezTo>
                  <a:cubicBezTo>
                    <a:pt x="15" y="20"/>
                    <a:pt x="14" y="20"/>
                    <a:pt x="14" y="20"/>
                  </a:cubicBezTo>
                  <a:cubicBezTo>
                    <a:pt x="13" y="20"/>
                    <a:pt x="12" y="20"/>
                    <a:pt x="11" y="20"/>
                  </a:cubicBezTo>
                  <a:cubicBezTo>
                    <a:pt x="10" y="20"/>
                    <a:pt x="9" y="20"/>
                    <a:pt x="8" y="20"/>
                  </a:cubicBezTo>
                  <a:cubicBezTo>
                    <a:pt x="7" y="19"/>
                    <a:pt x="6" y="19"/>
                    <a:pt x="6" y="18"/>
                  </a:cubicBezTo>
                  <a:cubicBezTo>
                    <a:pt x="5" y="18"/>
                    <a:pt x="5" y="17"/>
                    <a:pt x="4" y="16"/>
                  </a:cubicBezTo>
                  <a:cubicBezTo>
                    <a:pt x="4" y="15"/>
                    <a:pt x="4" y="14"/>
                    <a:pt x="4" y="13"/>
                  </a:cubicBezTo>
                  <a:cubicBezTo>
                    <a:pt x="18" y="13"/>
                    <a:pt x="18" y="13"/>
                    <a:pt x="18" y="13"/>
                  </a:cubicBezTo>
                  <a:cubicBezTo>
                    <a:pt x="18" y="13"/>
                    <a:pt x="19" y="13"/>
                    <a:pt x="19" y="12"/>
                  </a:cubicBezTo>
                  <a:cubicBezTo>
                    <a:pt x="19" y="12"/>
                    <a:pt x="19" y="12"/>
                    <a:pt x="19" y="11"/>
                  </a:cubicBezTo>
                  <a:cubicBezTo>
                    <a:pt x="19" y="10"/>
                    <a:pt x="19" y="10"/>
                    <a:pt x="19" y="10"/>
                  </a:cubicBezTo>
                  <a:close/>
                  <a:moveTo>
                    <a:pt x="4" y="10"/>
                  </a:moveTo>
                  <a:cubicBezTo>
                    <a:pt x="4" y="9"/>
                    <a:pt x="4" y="8"/>
                    <a:pt x="4" y="7"/>
                  </a:cubicBezTo>
                  <a:cubicBezTo>
                    <a:pt x="5" y="7"/>
                    <a:pt x="5" y="6"/>
                    <a:pt x="6" y="5"/>
                  </a:cubicBezTo>
                  <a:cubicBezTo>
                    <a:pt x="6" y="5"/>
                    <a:pt x="7" y="4"/>
                    <a:pt x="7" y="4"/>
                  </a:cubicBezTo>
                  <a:cubicBezTo>
                    <a:pt x="8" y="3"/>
                    <a:pt x="9" y="3"/>
                    <a:pt x="10" y="3"/>
                  </a:cubicBezTo>
                  <a:cubicBezTo>
                    <a:pt x="12" y="3"/>
                    <a:pt x="13" y="4"/>
                    <a:pt x="14" y="5"/>
                  </a:cubicBezTo>
                  <a:cubicBezTo>
                    <a:pt x="15" y="6"/>
                    <a:pt x="16" y="8"/>
                    <a:pt x="15" y="10"/>
                  </a:cubicBezTo>
                  <a:cubicBezTo>
                    <a:pt x="4" y="10"/>
                    <a:pt x="4" y="10"/>
                    <a:pt x="4"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43">
              <a:extLst>
                <a:ext uri="{FF2B5EF4-FFF2-40B4-BE49-F238E27FC236}">
                  <a16:creationId xmlns:a16="http://schemas.microsoft.com/office/drawing/2014/main" id="{44363A87-5179-45C6-B3C3-8322EBD2EB56}"/>
                </a:ext>
              </a:extLst>
            </p:cNvPr>
            <p:cNvSpPr>
              <a:spLocks/>
            </p:cNvSpPr>
            <p:nvPr/>
          </p:nvSpPr>
          <p:spPr bwMode="auto">
            <a:xfrm>
              <a:off x="6471220" y="6315543"/>
              <a:ext cx="51945" cy="79361"/>
            </a:xfrm>
            <a:custGeom>
              <a:avLst/>
              <a:gdLst>
                <a:gd name="T0" fmla="*/ 14 w 15"/>
                <a:gd name="T1" fmla="*/ 14 h 23"/>
                <a:gd name="T2" fmla="*/ 13 w 15"/>
                <a:gd name="T3" fmla="*/ 13 h 23"/>
                <a:gd name="T4" fmla="*/ 11 w 15"/>
                <a:gd name="T5" fmla="*/ 11 h 23"/>
                <a:gd name="T6" fmla="*/ 9 w 15"/>
                <a:gd name="T7" fmla="*/ 11 h 23"/>
                <a:gd name="T8" fmla="*/ 7 w 15"/>
                <a:gd name="T9" fmla="*/ 10 h 23"/>
                <a:gd name="T10" fmla="*/ 6 w 15"/>
                <a:gd name="T11" fmla="*/ 9 h 23"/>
                <a:gd name="T12" fmla="*/ 4 w 15"/>
                <a:gd name="T13" fmla="*/ 8 h 23"/>
                <a:gd name="T14" fmla="*/ 4 w 15"/>
                <a:gd name="T15" fmla="*/ 6 h 23"/>
                <a:gd name="T16" fmla="*/ 4 w 15"/>
                <a:gd name="T17" fmla="*/ 5 h 23"/>
                <a:gd name="T18" fmla="*/ 5 w 15"/>
                <a:gd name="T19" fmla="*/ 4 h 23"/>
                <a:gd name="T20" fmla="*/ 6 w 15"/>
                <a:gd name="T21" fmla="*/ 3 h 23"/>
                <a:gd name="T22" fmla="*/ 8 w 15"/>
                <a:gd name="T23" fmla="*/ 3 h 23"/>
                <a:gd name="T24" fmla="*/ 10 w 15"/>
                <a:gd name="T25" fmla="*/ 4 h 23"/>
                <a:gd name="T26" fmla="*/ 11 w 15"/>
                <a:gd name="T27" fmla="*/ 4 h 23"/>
                <a:gd name="T28" fmla="*/ 12 w 15"/>
                <a:gd name="T29" fmla="*/ 5 h 23"/>
                <a:gd name="T30" fmla="*/ 13 w 15"/>
                <a:gd name="T31" fmla="*/ 5 h 23"/>
                <a:gd name="T32" fmla="*/ 13 w 15"/>
                <a:gd name="T33" fmla="*/ 5 h 23"/>
                <a:gd name="T34" fmla="*/ 13 w 15"/>
                <a:gd name="T35" fmla="*/ 5 h 23"/>
                <a:gd name="T36" fmla="*/ 13 w 15"/>
                <a:gd name="T37" fmla="*/ 4 h 23"/>
                <a:gd name="T38" fmla="*/ 14 w 15"/>
                <a:gd name="T39" fmla="*/ 3 h 23"/>
                <a:gd name="T40" fmla="*/ 13 w 15"/>
                <a:gd name="T41" fmla="*/ 3 h 23"/>
                <a:gd name="T42" fmla="*/ 13 w 15"/>
                <a:gd name="T43" fmla="*/ 2 h 23"/>
                <a:gd name="T44" fmla="*/ 13 w 15"/>
                <a:gd name="T45" fmla="*/ 2 h 23"/>
                <a:gd name="T46" fmla="*/ 13 w 15"/>
                <a:gd name="T47" fmla="*/ 2 h 23"/>
                <a:gd name="T48" fmla="*/ 12 w 15"/>
                <a:gd name="T49" fmla="*/ 1 h 23"/>
                <a:gd name="T50" fmla="*/ 11 w 15"/>
                <a:gd name="T51" fmla="*/ 1 h 23"/>
                <a:gd name="T52" fmla="*/ 10 w 15"/>
                <a:gd name="T53" fmla="*/ 0 h 23"/>
                <a:gd name="T54" fmla="*/ 8 w 15"/>
                <a:gd name="T55" fmla="*/ 0 h 23"/>
                <a:gd name="T56" fmla="*/ 5 w 15"/>
                <a:gd name="T57" fmla="*/ 1 h 23"/>
                <a:gd name="T58" fmla="*/ 2 w 15"/>
                <a:gd name="T59" fmla="*/ 2 h 23"/>
                <a:gd name="T60" fmla="*/ 1 w 15"/>
                <a:gd name="T61" fmla="*/ 4 h 23"/>
                <a:gd name="T62" fmla="*/ 0 w 15"/>
                <a:gd name="T63" fmla="*/ 7 h 23"/>
                <a:gd name="T64" fmla="*/ 1 w 15"/>
                <a:gd name="T65" fmla="*/ 9 h 23"/>
                <a:gd name="T66" fmla="*/ 2 w 15"/>
                <a:gd name="T67" fmla="*/ 11 h 23"/>
                <a:gd name="T68" fmla="*/ 4 w 15"/>
                <a:gd name="T69" fmla="*/ 12 h 23"/>
                <a:gd name="T70" fmla="*/ 6 w 15"/>
                <a:gd name="T71" fmla="*/ 13 h 23"/>
                <a:gd name="T72" fmla="*/ 7 w 15"/>
                <a:gd name="T73" fmla="*/ 14 h 23"/>
                <a:gd name="T74" fmla="*/ 9 w 15"/>
                <a:gd name="T75" fmla="*/ 14 h 23"/>
                <a:gd name="T76" fmla="*/ 10 w 15"/>
                <a:gd name="T77" fmla="*/ 15 h 23"/>
                <a:gd name="T78" fmla="*/ 11 w 15"/>
                <a:gd name="T79" fmla="*/ 17 h 23"/>
                <a:gd name="T80" fmla="*/ 10 w 15"/>
                <a:gd name="T81" fmla="*/ 18 h 23"/>
                <a:gd name="T82" fmla="*/ 10 w 15"/>
                <a:gd name="T83" fmla="*/ 20 h 23"/>
                <a:gd name="T84" fmla="*/ 8 w 15"/>
                <a:gd name="T85" fmla="*/ 20 h 23"/>
                <a:gd name="T86" fmla="*/ 6 w 15"/>
                <a:gd name="T87" fmla="*/ 20 h 23"/>
                <a:gd name="T88" fmla="*/ 4 w 15"/>
                <a:gd name="T89" fmla="*/ 20 h 23"/>
                <a:gd name="T90" fmla="*/ 2 w 15"/>
                <a:gd name="T91" fmla="*/ 19 h 23"/>
                <a:gd name="T92" fmla="*/ 1 w 15"/>
                <a:gd name="T93" fmla="*/ 19 h 23"/>
                <a:gd name="T94" fmla="*/ 0 w 15"/>
                <a:gd name="T95" fmla="*/ 18 h 23"/>
                <a:gd name="T96" fmla="*/ 0 w 15"/>
                <a:gd name="T97" fmla="*/ 18 h 23"/>
                <a:gd name="T98" fmla="*/ 0 w 15"/>
                <a:gd name="T99" fmla="*/ 19 h 23"/>
                <a:gd name="T100" fmla="*/ 0 w 15"/>
                <a:gd name="T101" fmla="*/ 19 h 23"/>
                <a:gd name="T102" fmla="*/ 0 w 15"/>
                <a:gd name="T103" fmla="*/ 20 h 23"/>
                <a:gd name="T104" fmla="*/ 0 w 15"/>
                <a:gd name="T105" fmla="*/ 21 h 23"/>
                <a:gd name="T106" fmla="*/ 0 w 15"/>
                <a:gd name="T107" fmla="*/ 22 h 23"/>
                <a:gd name="T108" fmla="*/ 1 w 15"/>
                <a:gd name="T109" fmla="*/ 22 h 23"/>
                <a:gd name="T110" fmla="*/ 2 w 15"/>
                <a:gd name="T111" fmla="*/ 23 h 23"/>
                <a:gd name="T112" fmla="*/ 4 w 15"/>
                <a:gd name="T113" fmla="*/ 23 h 23"/>
                <a:gd name="T114" fmla="*/ 6 w 15"/>
                <a:gd name="T115" fmla="*/ 23 h 23"/>
                <a:gd name="T116" fmla="*/ 10 w 15"/>
                <a:gd name="T117" fmla="*/ 23 h 23"/>
                <a:gd name="T118" fmla="*/ 12 w 15"/>
                <a:gd name="T119" fmla="*/ 22 h 23"/>
                <a:gd name="T120" fmla="*/ 14 w 15"/>
                <a:gd name="T121" fmla="*/ 20 h 23"/>
                <a:gd name="T122" fmla="*/ 15 w 15"/>
                <a:gd name="T123" fmla="*/ 17 h 23"/>
                <a:gd name="T124" fmla="*/ 14 w 15"/>
                <a:gd name="T1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3">
                  <a:moveTo>
                    <a:pt x="14" y="14"/>
                  </a:moveTo>
                  <a:cubicBezTo>
                    <a:pt x="14" y="14"/>
                    <a:pt x="13" y="13"/>
                    <a:pt x="13" y="13"/>
                  </a:cubicBezTo>
                  <a:cubicBezTo>
                    <a:pt x="12" y="12"/>
                    <a:pt x="12" y="12"/>
                    <a:pt x="11" y="11"/>
                  </a:cubicBezTo>
                  <a:cubicBezTo>
                    <a:pt x="11" y="11"/>
                    <a:pt x="10" y="11"/>
                    <a:pt x="9" y="11"/>
                  </a:cubicBezTo>
                  <a:cubicBezTo>
                    <a:pt x="9" y="10"/>
                    <a:pt x="8" y="10"/>
                    <a:pt x="7" y="10"/>
                  </a:cubicBezTo>
                  <a:cubicBezTo>
                    <a:pt x="7" y="10"/>
                    <a:pt x="6" y="9"/>
                    <a:pt x="6" y="9"/>
                  </a:cubicBezTo>
                  <a:cubicBezTo>
                    <a:pt x="5" y="9"/>
                    <a:pt x="5" y="8"/>
                    <a:pt x="4" y="8"/>
                  </a:cubicBezTo>
                  <a:cubicBezTo>
                    <a:pt x="4" y="7"/>
                    <a:pt x="4" y="7"/>
                    <a:pt x="4" y="6"/>
                  </a:cubicBezTo>
                  <a:cubicBezTo>
                    <a:pt x="4" y="6"/>
                    <a:pt x="4" y="5"/>
                    <a:pt x="4" y="5"/>
                  </a:cubicBezTo>
                  <a:cubicBezTo>
                    <a:pt x="4" y="5"/>
                    <a:pt x="5" y="4"/>
                    <a:pt x="5" y="4"/>
                  </a:cubicBezTo>
                  <a:cubicBezTo>
                    <a:pt x="5" y="4"/>
                    <a:pt x="6" y="4"/>
                    <a:pt x="6" y="3"/>
                  </a:cubicBezTo>
                  <a:cubicBezTo>
                    <a:pt x="7" y="3"/>
                    <a:pt x="7" y="3"/>
                    <a:pt x="8" y="3"/>
                  </a:cubicBezTo>
                  <a:cubicBezTo>
                    <a:pt x="9" y="3"/>
                    <a:pt x="9" y="3"/>
                    <a:pt x="10" y="4"/>
                  </a:cubicBezTo>
                  <a:cubicBezTo>
                    <a:pt x="10" y="4"/>
                    <a:pt x="11" y="4"/>
                    <a:pt x="11" y="4"/>
                  </a:cubicBezTo>
                  <a:cubicBezTo>
                    <a:pt x="12" y="4"/>
                    <a:pt x="12" y="4"/>
                    <a:pt x="12" y="5"/>
                  </a:cubicBezTo>
                  <a:cubicBezTo>
                    <a:pt x="13" y="5"/>
                    <a:pt x="13" y="5"/>
                    <a:pt x="13" y="5"/>
                  </a:cubicBezTo>
                  <a:cubicBezTo>
                    <a:pt x="13" y="5"/>
                    <a:pt x="13" y="5"/>
                    <a:pt x="13" y="5"/>
                  </a:cubicBezTo>
                  <a:cubicBezTo>
                    <a:pt x="13" y="5"/>
                    <a:pt x="13" y="5"/>
                    <a:pt x="13" y="5"/>
                  </a:cubicBezTo>
                  <a:cubicBezTo>
                    <a:pt x="13" y="4"/>
                    <a:pt x="13" y="4"/>
                    <a:pt x="13" y="4"/>
                  </a:cubicBezTo>
                  <a:cubicBezTo>
                    <a:pt x="14" y="4"/>
                    <a:pt x="14" y="4"/>
                    <a:pt x="14" y="3"/>
                  </a:cubicBezTo>
                  <a:cubicBezTo>
                    <a:pt x="14" y="3"/>
                    <a:pt x="14" y="3"/>
                    <a:pt x="13" y="3"/>
                  </a:cubicBezTo>
                  <a:cubicBezTo>
                    <a:pt x="13" y="3"/>
                    <a:pt x="13" y="2"/>
                    <a:pt x="13" y="2"/>
                  </a:cubicBezTo>
                  <a:cubicBezTo>
                    <a:pt x="13" y="2"/>
                    <a:pt x="13" y="2"/>
                    <a:pt x="13" y="2"/>
                  </a:cubicBezTo>
                  <a:cubicBezTo>
                    <a:pt x="13" y="2"/>
                    <a:pt x="13" y="2"/>
                    <a:pt x="13" y="2"/>
                  </a:cubicBezTo>
                  <a:cubicBezTo>
                    <a:pt x="13" y="2"/>
                    <a:pt x="13" y="1"/>
                    <a:pt x="12" y="1"/>
                  </a:cubicBezTo>
                  <a:cubicBezTo>
                    <a:pt x="12" y="1"/>
                    <a:pt x="12" y="1"/>
                    <a:pt x="11" y="1"/>
                  </a:cubicBezTo>
                  <a:cubicBezTo>
                    <a:pt x="11" y="1"/>
                    <a:pt x="10" y="1"/>
                    <a:pt x="10" y="0"/>
                  </a:cubicBezTo>
                  <a:cubicBezTo>
                    <a:pt x="9" y="0"/>
                    <a:pt x="8" y="0"/>
                    <a:pt x="8" y="0"/>
                  </a:cubicBezTo>
                  <a:cubicBezTo>
                    <a:pt x="7" y="0"/>
                    <a:pt x="5" y="0"/>
                    <a:pt x="5" y="1"/>
                  </a:cubicBezTo>
                  <a:cubicBezTo>
                    <a:pt x="4" y="1"/>
                    <a:pt x="3" y="2"/>
                    <a:pt x="2" y="2"/>
                  </a:cubicBezTo>
                  <a:cubicBezTo>
                    <a:pt x="1" y="3"/>
                    <a:pt x="1" y="3"/>
                    <a:pt x="1" y="4"/>
                  </a:cubicBezTo>
                  <a:cubicBezTo>
                    <a:pt x="0" y="5"/>
                    <a:pt x="0" y="6"/>
                    <a:pt x="0" y="7"/>
                  </a:cubicBezTo>
                  <a:cubicBezTo>
                    <a:pt x="0" y="7"/>
                    <a:pt x="0" y="8"/>
                    <a:pt x="1" y="9"/>
                  </a:cubicBezTo>
                  <a:cubicBezTo>
                    <a:pt x="1" y="10"/>
                    <a:pt x="1" y="10"/>
                    <a:pt x="2" y="11"/>
                  </a:cubicBezTo>
                  <a:cubicBezTo>
                    <a:pt x="2" y="11"/>
                    <a:pt x="3" y="12"/>
                    <a:pt x="4" y="12"/>
                  </a:cubicBezTo>
                  <a:cubicBezTo>
                    <a:pt x="4" y="12"/>
                    <a:pt x="5" y="13"/>
                    <a:pt x="6" y="13"/>
                  </a:cubicBezTo>
                  <a:cubicBezTo>
                    <a:pt x="6" y="13"/>
                    <a:pt x="7" y="13"/>
                    <a:pt x="7" y="14"/>
                  </a:cubicBezTo>
                  <a:cubicBezTo>
                    <a:pt x="8" y="14"/>
                    <a:pt x="9" y="14"/>
                    <a:pt x="9" y="14"/>
                  </a:cubicBezTo>
                  <a:cubicBezTo>
                    <a:pt x="10" y="15"/>
                    <a:pt x="10" y="15"/>
                    <a:pt x="10" y="15"/>
                  </a:cubicBezTo>
                  <a:cubicBezTo>
                    <a:pt x="11" y="16"/>
                    <a:pt x="11" y="16"/>
                    <a:pt x="11" y="17"/>
                  </a:cubicBezTo>
                  <a:cubicBezTo>
                    <a:pt x="11" y="18"/>
                    <a:pt x="11" y="18"/>
                    <a:pt x="10" y="18"/>
                  </a:cubicBezTo>
                  <a:cubicBezTo>
                    <a:pt x="10" y="19"/>
                    <a:pt x="10" y="19"/>
                    <a:pt x="10" y="20"/>
                  </a:cubicBezTo>
                  <a:cubicBezTo>
                    <a:pt x="9" y="20"/>
                    <a:pt x="9" y="20"/>
                    <a:pt x="8" y="20"/>
                  </a:cubicBezTo>
                  <a:cubicBezTo>
                    <a:pt x="8" y="20"/>
                    <a:pt x="7" y="20"/>
                    <a:pt x="6" y="20"/>
                  </a:cubicBezTo>
                  <a:cubicBezTo>
                    <a:pt x="6" y="20"/>
                    <a:pt x="5" y="20"/>
                    <a:pt x="4" y="20"/>
                  </a:cubicBezTo>
                  <a:cubicBezTo>
                    <a:pt x="3" y="20"/>
                    <a:pt x="3" y="20"/>
                    <a:pt x="2" y="19"/>
                  </a:cubicBezTo>
                  <a:cubicBezTo>
                    <a:pt x="2" y="19"/>
                    <a:pt x="1" y="19"/>
                    <a:pt x="1" y="19"/>
                  </a:cubicBezTo>
                  <a:cubicBezTo>
                    <a:pt x="1" y="18"/>
                    <a:pt x="1" y="18"/>
                    <a:pt x="0" y="18"/>
                  </a:cubicBezTo>
                  <a:cubicBezTo>
                    <a:pt x="0" y="18"/>
                    <a:pt x="0" y="18"/>
                    <a:pt x="0" y="18"/>
                  </a:cubicBezTo>
                  <a:cubicBezTo>
                    <a:pt x="0" y="18"/>
                    <a:pt x="0" y="19"/>
                    <a:pt x="0" y="19"/>
                  </a:cubicBezTo>
                  <a:cubicBezTo>
                    <a:pt x="0" y="19"/>
                    <a:pt x="0" y="19"/>
                    <a:pt x="0" y="19"/>
                  </a:cubicBezTo>
                  <a:cubicBezTo>
                    <a:pt x="0" y="19"/>
                    <a:pt x="0" y="20"/>
                    <a:pt x="0" y="20"/>
                  </a:cubicBezTo>
                  <a:cubicBezTo>
                    <a:pt x="0" y="20"/>
                    <a:pt x="0" y="21"/>
                    <a:pt x="0" y="21"/>
                  </a:cubicBezTo>
                  <a:cubicBezTo>
                    <a:pt x="0" y="21"/>
                    <a:pt x="0" y="22"/>
                    <a:pt x="0" y="22"/>
                  </a:cubicBezTo>
                  <a:cubicBezTo>
                    <a:pt x="0" y="22"/>
                    <a:pt x="1" y="22"/>
                    <a:pt x="1" y="22"/>
                  </a:cubicBezTo>
                  <a:cubicBezTo>
                    <a:pt x="1" y="22"/>
                    <a:pt x="2" y="23"/>
                    <a:pt x="2" y="23"/>
                  </a:cubicBezTo>
                  <a:cubicBezTo>
                    <a:pt x="3" y="23"/>
                    <a:pt x="4" y="23"/>
                    <a:pt x="4" y="23"/>
                  </a:cubicBezTo>
                  <a:cubicBezTo>
                    <a:pt x="5" y="23"/>
                    <a:pt x="6" y="23"/>
                    <a:pt x="6" y="23"/>
                  </a:cubicBezTo>
                  <a:cubicBezTo>
                    <a:pt x="8" y="23"/>
                    <a:pt x="9" y="23"/>
                    <a:pt x="10" y="23"/>
                  </a:cubicBezTo>
                  <a:cubicBezTo>
                    <a:pt x="11" y="23"/>
                    <a:pt x="12" y="22"/>
                    <a:pt x="12" y="22"/>
                  </a:cubicBezTo>
                  <a:cubicBezTo>
                    <a:pt x="13" y="21"/>
                    <a:pt x="14" y="20"/>
                    <a:pt x="14" y="20"/>
                  </a:cubicBezTo>
                  <a:cubicBezTo>
                    <a:pt x="14" y="19"/>
                    <a:pt x="15" y="18"/>
                    <a:pt x="15" y="17"/>
                  </a:cubicBezTo>
                  <a:cubicBezTo>
                    <a:pt x="15" y="16"/>
                    <a:pt x="14" y="15"/>
                    <a:pt x="14"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44">
              <a:extLst>
                <a:ext uri="{FF2B5EF4-FFF2-40B4-BE49-F238E27FC236}">
                  <a16:creationId xmlns:a16="http://schemas.microsoft.com/office/drawing/2014/main" id="{AF1C4B82-1FA2-402B-A2BC-CA97B754209B}"/>
                </a:ext>
              </a:extLst>
            </p:cNvPr>
            <p:cNvSpPr>
              <a:spLocks/>
            </p:cNvSpPr>
            <p:nvPr/>
          </p:nvSpPr>
          <p:spPr bwMode="auto">
            <a:xfrm>
              <a:off x="4720965" y="4011208"/>
              <a:ext cx="5113687" cy="326099"/>
            </a:xfrm>
            <a:custGeom>
              <a:avLst/>
              <a:gdLst>
                <a:gd name="T0" fmla="*/ 3 w 1493"/>
                <a:gd name="T1" fmla="*/ 18 h 95"/>
                <a:gd name="T2" fmla="*/ 6 w 1493"/>
                <a:gd name="T3" fmla="*/ 18 h 95"/>
                <a:gd name="T4" fmla="*/ 18 w 1493"/>
                <a:gd name="T5" fmla="*/ 6 h 95"/>
                <a:gd name="T6" fmla="*/ 1475 w 1493"/>
                <a:gd name="T7" fmla="*/ 6 h 95"/>
                <a:gd name="T8" fmla="*/ 1487 w 1493"/>
                <a:gd name="T9" fmla="*/ 18 h 95"/>
                <a:gd name="T10" fmla="*/ 1487 w 1493"/>
                <a:gd name="T11" fmla="*/ 77 h 95"/>
                <a:gd name="T12" fmla="*/ 1475 w 1493"/>
                <a:gd name="T13" fmla="*/ 89 h 95"/>
                <a:gd name="T14" fmla="*/ 18 w 1493"/>
                <a:gd name="T15" fmla="*/ 89 h 95"/>
                <a:gd name="T16" fmla="*/ 6 w 1493"/>
                <a:gd name="T17" fmla="*/ 77 h 95"/>
                <a:gd name="T18" fmla="*/ 6 w 1493"/>
                <a:gd name="T19" fmla="*/ 18 h 95"/>
                <a:gd name="T20" fmla="*/ 3 w 1493"/>
                <a:gd name="T21" fmla="*/ 18 h 95"/>
                <a:gd name="T22" fmla="*/ 0 w 1493"/>
                <a:gd name="T23" fmla="*/ 18 h 95"/>
                <a:gd name="T24" fmla="*/ 0 w 1493"/>
                <a:gd name="T25" fmla="*/ 77 h 95"/>
                <a:gd name="T26" fmla="*/ 18 w 1493"/>
                <a:gd name="T27" fmla="*/ 95 h 95"/>
                <a:gd name="T28" fmla="*/ 1475 w 1493"/>
                <a:gd name="T29" fmla="*/ 95 h 95"/>
                <a:gd name="T30" fmla="*/ 1493 w 1493"/>
                <a:gd name="T31" fmla="*/ 77 h 95"/>
                <a:gd name="T32" fmla="*/ 1493 w 1493"/>
                <a:gd name="T33" fmla="*/ 18 h 95"/>
                <a:gd name="T34" fmla="*/ 1475 w 1493"/>
                <a:gd name="T35" fmla="*/ 0 h 95"/>
                <a:gd name="T36" fmla="*/ 18 w 1493"/>
                <a:gd name="T37" fmla="*/ 0 h 95"/>
                <a:gd name="T38" fmla="*/ 0 w 1493"/>
                <a:gd name="T39" fmla="*/ 18 h 95"/>
                <a:gd name="T40" fmla="*/ 3 w 1493"/>
                <a:gd name="T4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3" h="95">
                  <a:moveTo>
                    <a:pt x="3" y="18"/>
                  </a:moveTo>
                  <a:cubicBezTo>
                    <a:pt x="6" y="18"/>
                    <a:pt x="6" y="18"/>
                    <a:pt x="6" y="18"/>
                  </a:cubicBezTo>
                  <a:cubicBezTo>
                    <a:pt x="6" y="11"/>
                    <a:pt x="11" y="6"/>
                    <a:pt x="18" y="6"/>
                  </a:cubicBezTo>
                  <a:cubicBezTo>
                    <a:pt x="1475" y="6"/>
                    <a:pt x="1475" y="6"/>
                    <a:pt x="1475" y="6"/>
                  </a:cubicBezTo>
                  <a:cubicBezTo>
                    <a:pt x="1481" y="6"/>
                    <a:pt x="1487" y="11"/>
                    <a:pt x="1487" y="18"/>
                  </a:cubicBezTo>
                  <a:cubicBezTo>
                    <a:pt x="1487" y="77"/>
                    <a:pt x="1487" y="77"/>
                    <a:pt x="1487" y="77"/>
                  </a:cubicBezTo>
                  <a:cubicBezTo>
                    <a:pt x="1487" y="84"/>
                    <a:pt x="1481" y="89"/>
                    <a:pt x="1475" y="89"/>
                  </a:cubicBezTo>
                  <a:cubicBezTo>
                    <a:pt x="18" y="89"/>
                    <a:pt x="18" y="89"/>
                    <a:pt x="18" y="89"/>
                  </a:cubicBezTo>
                  <a:cubicBezTo>
                    <a:pt x="11" y="89"/>
                    <a:pt x="6" y="84"/>
                    <a:pt x="6" y="77"/>
                  </a:cubicBezTo>
                  <a:cubicBezTo>
                    <a:pt x="6" y="18"/>
                    <a:pt x="6" y="18"/>
                    <a:pt x="6" y="18"/>
                  </a:cubicBezTo>
                  <a:cubicBezTo>
                    <a:pt x="3" y="18"/>
                    <a:pt x="3" y="18"/>
                    <a:pt x="3" y="18"/>
                  </a:cubicBezTo>
                  <a:cubicBezTo>
                    <a:pt x="0" y="18"/>
                    <a:pt x="0" y="18"/>
                    <a:pt x="0" y="18"/>
                  </a:cubicBezTo>
                  <a:cubicBezTo>
                    <a:pt x="0" y="77"/>
                    <a:pt x="0" y="77"/>
                    <a:pt x="0" y="77"/>
                  </a:cubicBezTo>
                  <a:cubicBezTo>
                    <a:pt x="0" y="87"/>
                    <a:pt x="8" y="95"/>
                    <a:pt x="18" y="95"/>
                  </a:cubicBezTo>
                  <a:cubicBezTo>
                    <a:pt x="1475" y="95"/>
                    <a:pt x="1475" y="95"/>
                    <a:pt x="1475" y="95"/>
                  </a:cubicBezTo>
                  <a:cubicBezTo>
                    <a:pt x="1485" y="95"/>
                    <a:pt x="1493" y="87"/>
                    <a:pt x="1493" y="77"/>
                  </a:cubicBezTo>
                  <a:cubicBezTo>
                    <a:pt x="1493" y="18"/>
                    <a:pt x="1493" y="18"/>
                    <a:pt x="1493" y="18"/>
                  </a:cubicBezTo>
                  <a:cubicBezTo>
                    <a:pt x="1493" y="8"/>
                    <a:pt x="1485" y="0"/>
                    <a:pt x="1475" y="0"/>
                  </a:cubicBezTo>
                  <a:cubicBezTo>
                    <a:pt x="18" y="0"/>
                    <a:pt x="18" y="0"/>
                    <a:pt x="18" y="0"/>
                  </a:cubicBezTo>
                  <a:cubicBezTo>
                    <a:pt x="8" y="0"/>
                    <a:pt x="0" y="8"/>
                    <a:pt x="0" y="18"/>
                  </a:cubicBezTo>
                  <a:lnTo>
                    <a:pt x="3" y="18"/>
                  </a:ln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45">
              <a:extLst>
                <a:ext uri="{FF2B5EF4-FFF2-40B4-BE49-F238E27FC236}">
                  <a16:creationId xmlns:a16="http://schemas.microsoft.com/office/drawing/2014/main" id="{EF0F8986-647C-48A7-844B-26CDFC3BECDE}"/>
                </a:ext>
              </a:extLst>
            </p:cNvPr>
            <p:cNvSpPr>
              <a:spLocks noEditPoints="1"/>
            </p:cNvSpPr>
            <p:nvPr/>
          </p:nvSpPr>
          <p:spPr bwMode="auto">
            <a:xfrm>
              <a:off x="6228811" y="4110770"/>
              <a:ext cx="64932" cy="106776"/>
            </a:xfrm>
            <a:custGeom>
              <a:avLst/>
              <a:gdLst>
                <a:gd name="T0" fmla="*/ 18 w 19"/>
                <a:gd name="T1" fmla="*/ 6 h 31"/>
                <a:gd name="T2" fmla="*/ 17 w 19"/>
                <a:gd name="T3" fmla="*/ 4 h 31"/>
                <a:gd name="T4" fmla="*/ 15 w 19"/>
                <a:gd name="T5" fmla="*/ 2 h 31"/>
                <a:gd name="T6" fmla="*/ 12 w 19"/>
                <a:gd name="T7" fmla="*/ 1 h 31"/>
                <a:gd name="T8" fmla="*/ 10 w 19"/>
                <a:gd name="T9" fmla="*/ 0 h 31"/>
                <a:gd name="T10" fmla="*/ 8 w 19"/>
                <a:gd name="T11" fmla="*/ 0 h 31"/>
                <a:gd name="T12" fmla="*/ 2 w 19"/>
                <a:gd name="T13" fmla="*/ 0 h 31"/>
                <a:gd name="T14" fmla="*/ 1 w 19"/>
                <a:gd name="T15" fmla="*/ 1 h 31"/>
                <a:gd name="T16" fmla="*/ 0 w 19"/>
                <a:gd name="T17" fmla="*/ 2 h 31"/>
                <a:gd name="T18" fmla="*/ 0 w 19"/>
                <a:gd name="T19" fmla="*/ 30 h 31"/>
                <a:gd name="T20" fmla="*/ 0 w 19"/>
                <a:gd name="T21" fmla="*/ 30 h 31"/>
                <a:gd name="T22" fmla="*/ 1 w 19"/>
                <a:gd name="T23" fmla="*/ 31 h 31"/>
                <a:gd name="T24" fmla="*/ 1 w 19"/>
                <a:gd name="T25" fmla="*/ 31 h 31"/>
                <a:gd name="T26" fmla="*/ 2 w 19"/>
                <a:gd name="T27" fmla="*/ 31 h 31"/>
                <a:gd name="T28" fmla="*/ 3 w 19"/>
                <a:gd name="T29" fmla="*/ 31 h 31"/>
                <a:gd name="T30" fmla="*/ 4 w 19"/>
                <a:gd name="T31" fmla="*/ 31 h 31"/>
                <a:gd name="T32" fmla="*/ 4 w 19"/>
                <a:gd name="T33" fmla="*/ 30 h 31"/>
                <a:gd name="T34" fmla="*/ 4 w 19"/>
                <a:gd name="T35" fmla="*/ 30 h 31"/>
                <a:gd name="T36" fmla="*/ 4 w 19"/>
                <a:gd name="T37" fmla="*/ 19 h 31"/>
                <a:gd name="T38" fmla="*/ 8 w 19"/>
                <a:gd name="T39" fmla="*/ 19 h 31"/>
                <a:gd name="T40" fmla="*/ 13 w 19"/>
                <a:gd name="T41" fmla="*/ 18 h 31"/>
                <a:gd name="T42" fmla="*/ 16 w 19"/>
                <a:gd name="T43" fmla="*/ 16 h 31"/>
                <a:gd name="T44" fmla="*/ 18 w 19"/>
                <a:gd name="T45" fmla="*/ 13 h 31"/>
                <a:gd name="T46" fmla="*/ 19 w 19"/>
                <a:gd name="T47" fmla="*/ 9 h 31"/>
                <a:gd name="T48" fmla="*/ 18 w 19"/>
                <a:gd name="T49" fmla="*/ 6 h 31"/>
                <a:gd name="T50" fmla="*/ 14 w 19"/>
                <a:gd name="T51" fmla="*/ 12 h 31"/>
                <a:gd name="T52" fmla="*/ 13 w 19"/>
                <a:gd name="T53" fmla="*/ 14 h 31"/>
                <a:gd name="T54" fmla="*/ 11 w 19"/>
                <a:gd name="T55" fmla="*/ 15 h 31"/>
                <a:gd name="T56" fmla="*/ 8 w 19"/>
                <a:gd name="T57" fmla="*/ 16 h 31"/>
                <a:gd name="T58" fmla="*/ 4 w 19"/>
                <a:gd name="T59" fmla="*/ 16 h 31"/>
                <a:gd name="T60" fmla="*/ 4 w 19"/>
                <a:gd name="T61" fmla="*/ 4 h 31"/>
                <a:gd name="T62" fmla="*/ 8 w 19"/>
                <a:gd name="T63" fmla="*/ 4 h 31"/>
                <a:gd name="T64" fmla="*/ 10 w 19"/>
                <a:gd name="T65" fmla="*/ 4 h 31"/>
                <a:gd name="T66" fmla="*/ 12 w 19"/>
                <a:gd name="T67" fmla="*/ 5 h 31"/>
                <a:gd name="T68" fmla="*/ 14 w 19"/>
                <a:gd name="T69" fmla="*/ 6 h 31"/>
                <a:gd name="T70" fmla="*/ 15 w 19"/>
                <a:gd name="T71" fmla="*/ 10 h 31"/>
                <a:gd name="T72" fmla="*/ 14 w 19"/>
                <a:gd name="T7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 h="31">
                  <a:moveTo>
                    <a:pt x="18" y="6"/>
                  </a:moveTo>
                  <a:cubicBezTo>
                    <a:pt x="18" y="5"/>
                    <a:pt x="18" y="4"/>
                    <a:pt x="17" y="4"/>
                  </a:cubicBezTo>
                  <a:cubicBezTo>
                    <a:pt x="16" y="3"/>
                    <a:pt x="16" y="2"/>
                    <a:pt x="15" y="2"/>
                  </a:cubicBezTo>
                  <a:cubicBezTo>
                    <a:pt x="14" y="1"/>
                    <a:pt x="13" y="1"/>
                    <a:pt x="12" y="1"/>
                  </a:cubicBezTo>
                  <a:cubicBezTo>
                    <a:pt x="11" y="1"/>
                    <a:pt x="11" y="0"/>
                    <a:pt x="10" y="0"/>
                  </a:cubicBezTo>
                  <a:cubicBezTo>
                    <a:pt x="10" y="0"/>
                    <a:pt x="9" y="0"/>
                    <a:pt x="8" y="0"/>
                  </a:cubicBezTo>
                  <a:cubicBezTo>
                    <a:pt x="2" y="0"/>
                    <a:pt x="2" y="0"/>
                    <a:pt x="2" y="0"/>
                  </a:cubicBezTo>
                  <a:cubicBezTo>
                    <a:pt x="1" y="0"/>
                    <a:pt x="1" y="0"/>
                    <a:pt x="1" y="1"/>
                  </a:cubicBezTo>
                  <a:cubicBezTo>
                    <a:pt x="0" y="1"/>
                    <a:pt x="0" y="1"/>
                    <a:pt x="0" y="2"/>
                  </a:cubicBezTo>
                  <a:cubicBezTo>
                    <a:pt x="0" y="30"/>
                    <a:pt x="0" y="30"/>
                    <a:pt x="0" y="30"/>
                  </a:cubicBezTo>
                  <a:cubicBezTo>
                    <a:pt x="0" y="30"/>
                    <a:pt x="0" y="30"/>
                    <a:pt x="0" y="30"/>
                  </a:cubicBezTo>
                  <a:cubicBezTo>
                    <a:pt x="0" y="30"/>
                    <a:pt x="0" y="31"/>
                    <a:pt x="1" y="31"/>
                  </a:cubicBezTo>
                  <a:cubicBezTo>
                    <a:pt x="1" y="31"/>
                    <a:pt x="1" y="31"/>
                    <a:pt x="1" y="31"/>
                  </a:cubicBezTo>
                  <a:cubicBezTo>
                    <a:pt x="2" y="31"/>
                    <a:pt x="2" y="31"/>
                    <a:pt x="2" y="31"/>
                  </a:cubicBezTo>
                  <a:cubicBezTo>
                    <a:pt x="3" y="31"/>
                    <a:pt x="3" y="31"/>
                    <a:pt x="3" y="31"/>
                  </a:cubicBezTo>
                  <a:cubicBezTo>
                    <a:pt x="3" y="31"/>
                    <a:pt x="4" y="31"/>
                    <a:pt x="4" y="31"/>
                  </a:cubicBezTo>
                  <a:cubicBezTo>
                    <a:pt x="4" y="31"/>
                    <a:pt x="4" y="30"/>
                    <a:pt x="4" y="30"/>
                  </a:cubicBezTo>
                  <a:cubicBezTo>
                    <a:pt x="4" y="30"/>
                    <a:pt x="4" y="30"/>
                    <a:pt x="4" y="30"/>
                  </a:cubicBezTo>
                  <a:cubicBezTo>
                    <a:pt x="4" y="19"/>
                    <a:pt x="4" y="19"/>
                    <a:pt x="4" y="19"/>
                  </a:cubicBezTo>
                  <a:cubicBezTo>
                    <a:pt x="8" y="19"/>
                    <a:pt x="8" y="19"/>
                    <a:pt x="8" y="19"/>
                  </a:cubicBezTo>
                  <a:cubicBezTo>
                    <a:pt x="10" y="19"/>
                    <a:pt x="11" y="19"/>
                    <a:pt x="13" y="18"/>
                  </a:cubicBezTo>
                  <a:cubicBezTo>
                    <a:pt x="14" y="18"/>
                    <a:pt x="15" y="17"/>
                    <a:pt x="16" y="16"/>
                  </a:cubicBezTo>
                  <a:cubicBezTo>
                    <a:pt x="17" y="16"/>
                    <a:pt x="18" y="15"/>
                    <a:pt x="18" y="13"/>
                  </a:cubicBezTo>
                  <a:cubicBezTo>
                    <a:pt x="19" y="12"/>
                    <a:pt x="19" y="11"/>
                    <a:pt x="19" y="9"/>
                  </a:cubicBezTo>
                  <a:cubicBezTo>
                    <a:pt x="19" y="8"/>
                    <a:pt x="19" y="7"/>
                    <a:pt x="18" y="6"/>
                  </a:cubicBezTo>
                  <a:close/>
                  <a:moveTo>
                    <a:pt x="14" y="12"/>
                  </a:moveTo>
                  <a:cubicBezTo>
                    <a:pt x="14" y="13"/>
                    <a:pt x="13" y="13"/>
                    <a:pt x="13" y="14"/>
                  </a:cubicBezTo>
                  <a:cubicBezTo>
                    <a:pt x="12" y="15"/>
                    <a:pt x="12" y="15"/>
                    <a:pt x="11" y="15"/>
                  </a:cubicBezTo>
                  <a:cubicBezTo>
                    <a:pt x="10" y="16"/>
                    <a:pt x="9" y="16"/>
                    <a:pt x="8" y="16"/>
                  </a:cubicBezTo>
                  <a:cubicBezTo>
                    <a:pt x="4" y="16"/>
                    <a:pt x="4" y="16"/>
                    <a:pt x="4" y="16"/>
                  </a:cubicBezTo>
                  <a:cubicBezTo>
                    <a:pt x="4" y="4"/>
                    <a:pt x="4" y="4"/>
                    <a:pt x="4" y="4"/>
                  </a:cubicBezTo>
                  <a:cubicBezTo>
                    <a:pt x="8" y="4"/>
                    <a:pt x="8" y="4"/>
                    <a:pt x="8" y="4"/>
                  </a:cubicBezTo>
                  <a:cubicBezTo>
                    <a:pt x="9" y="4"/>
                    <a:pt x="9" y="4"/>
                    <a:pt x="10" y="4"/>
                  </a:cubicBezTo>
                  <a:cubicBezTo>
                    <a:pt x="11" y="4"/>
                    <a:pt x="12" y="4"/>
                    <a:pt x="12" y="5"/>
                  </a:cubicBezTo>
                  <a:cubicBezTo>
                    <a:pt x="13" y="5"/>
                    <a:pt x="13" y="6"/>
                    <a:pt x="14" y="6"/>
                  </a:cubicBezTo>
                  <a:cubicBezTo>
                    <a:pt x="14" y="7"/>
                    <a:pt x="15" y="8"/>
                    <a:pt x="15" y="10"/>
                  </a:cubicBezTo>
                  <a:cubicBezTo>
                    <a:pt x="15" y="10"/>
                    <a:pt x="14" y="11"/>
                    <a:pt x="14" y="12"/>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46">
              <a:extLst>
                <a:ext uri="{FF2B5EF4-FFF2-40B4-BE49-F238E27FC236}">
                  <a16:creationId xmlns:a16="http://schemas.microsoft.com/office/drawing/2014/main" id="{B6B8D81B-3D92-444B-94BD-2274AB583514}"/>
                </a:ext>
              </a:extLst>
            </p:cNvPr>
            <p:cNvSpPr>
              <a:spLocks/>
            </p:cNvSpPr>
            <p:nvPr/>
          </p:nvSpPr>
          <p:spPr bwMode="auto">
            <a:xfrm>
              <a:off x="6313942" y="4138185"/>
              <a:ext cx="41845" cy="79361"/>
            </a:xfrm>
            <a:custGeom>
              <a:avLst/>
              <a:gdLst>
                <a:gd name="T0" fmla="*/ 12 w 12"/>
                <a:gd name="T1" fmla="*/ 1 h 23"/>
                <a:gd name="T2" fmla="*/ 12 w 12"/>
                <a:gd name="T3" fmla="*/ 1 h 23"/>
                <a:gd name="T4" fmla="*/ 12 w 12"/>
                <a:gd name="T5" fmla="*/ 1 h 23"/>
                <a:gd name="T6" fmla="*/ 12 w 12"/>
                <a:gd name="T7" fmla="*/ 1 h 23"/>
                <a:gd name="T8" fmla="*/ 11 w 12"/>
                <a:gd name="T9" fmla="*/ 0 h 23"/>
                <a:gd name="T10" fmla="*/ 10 w 12"/>
                <a:gd name="T11" fmla="*/ 0 h 23"/>
                <a:gd name="T12" fmla="*/ 10 w 12"/>
                <a:gd name="T13" fmla="*/ 0 h 23"/>
                <a:gd name="T14" fmla="*/ 9 w 12"/>
                <a:gd name="T15" fmla="*/ 0 h 23"/>
                <a:gd name="T16" fmla="*/ 8 w 12"/>
                <a:gd name="T17" fmla="*/ 0 h 23"/>
                <a:gd name="T18" fmla="*/ 6 w 12"/>
                <a:gd name="T19" fmla="*/ 1 h 23"/>
                <a:gd name="T20" fmla="*/ 5 w 12"/>
                <a:gd name="T21" fmla="*/ 2 h 23"/>
                <a:gd name="T22" fmla="*/ 3 w 12"/>
                <a:gd name="T23" fmla="*/ 4 h 23"/>
                <a:gd name="T24" fmla="*/ 3 w 12"/>
                <a:gd name="T25" fmla="*/ 1 h 23"/>
                <a:gd name="T26" fmla="*/ 3 w 12"/>
                <a:gd name="T27" fmla="*/ 1 h 23"/>
                <a:gd name="T28" fmla="*/ 3 w 12"/>
                <a:gd name="T29" fmla="*/ 0 h 23"/>
                <a:gd name="T30" fmla="*/ 2 w 12"/>
                <a:gd name="T31" fmla="*/ 0 h 23"/>
                <a:gd name="T32" fmla="*/ 1 w 12"/>
                <a:gd name="T33" fmla="*/ 0 h 23"/>
                <a:gd name="T34" fmla="*/ 1 w 12"/>
                <a:gd name="T35" fmla="*/ 0 h 23"/>
                <a:gd name="T36" fmla="*/ 0 w 12"/>
                <a:gd name="T37" fmla="*/ 0 h 23"/>
                <a:gd name="T38" fmla="*/ 0 w 12"/>
                <a:gd name="T39" fmla="*/ 1 h 23"/>
                <a:gd name="T40" fmla="*/ 0 w 12"/>
                <a:gd name="T41" fmla="*/ 1 h 23"/>
                <a:gd name="T42" fmla="*/ 0 w 12"/>
                <a:gd name="T43" fmla="*/ 22 h 23"/>
                <a:gd name="T44" fmla="*/ 0 w 12"/>
                <a:gd name="T45" fmla="*/ 22 h 23"/>
                <a:gd name="T46" fmla="*/ 0 w 12"/>
                <a:gd name="T47" fmla="*/ 23 h 23"/>
                <a:gd name="T48" fmla="*/ 1 w 12"/>
                <a:gd name="T49" fmla="*/ 23 h 23"/>
                <a:gd name="T50" fmla="*/ 2 w 12"/>
                <a:gd name="T51" fmla="*/ 23 h 23"/>
                <a:gd name="T52" fmla="*/ 3 w 12"/>
                <a:gd name="T53" fmla="*/ 23 h 23"/>
                <a:gd name="T54" fmla="*/ 3 w 12"/>
                <a:gd name="T55" fmla="*/ 23 h 23"/>
                <a:gd name="T56" fmla="*/ 3 w 12"/>
                <a:gd name="T57" fmla="*/ 22 h 23"/>
                <a:gd name="T58" fmla="*/ 4 w 12"/>
                <a:gd name="T59" fmla="*/ 22 h 23"/>
                <a:gd name="T60" fmla="*/ 4 w 12"/>
                <a:gd name="T61" fmla="*/ 8 h 23"/>
                <a:gd name="T62" fmla="*/ 5 w 12"/>
                <a:gd name="T63" fmla="*/ 6 h 23"/>
                <a:gd name="T64" fmla="*/ 6 w 12"/>
                <a:gd name="T65" fmla="*/ 5 h 23"/>
                <a:gd name="T66" fmla="*/ 8 w 12"/>
                <a:gd name="T67" fmla="*/ 4 h 23"/>
                <a:gd name="T68" fmla="*/ 9 w 12"/>
                <a:gd name="T69" fmla="*/ 4 h 23"/>
                <a:gd name="T70" fmla="*/ 10 w 12"/>
                <a:gd name="T71" fmla="*/ 4 h 23"/>
                <a:gd name="T72" fmla="*/ 10 w 12"/>
                <a:gd name="T73" fmla="*/ 4 h 23"/>
                <a:gd name="T74" fmla="*/ 11 w 12"/>
                <a:gd name="T75" fmla="*/ 4 h 23"/>
                <a:gd name="T76" fmla="*/ 11 w 12"/>
                <a:gd name="T77" fmla="*/ 4 h 23"/>
                <a:gd name="T78" fmla="*/ 12 w 12"/>
                <a:gd name="T79" fmla="*/ 4 h 23"/>
                <a:gd name="T80" fmla="*/ 12 w 12"/>
                <a:gd name="T81" fmla="*/ 4 h 23"/>
                <a:gd name="T82" fmla="*/ 12 w 12"/>
                <a:gd name="T83" fmla="*/ 3 h 23"/>
                <a:gd name="T84" fmla="*/ 12 w 12"/>
                <a:gd name="T85" fmla="*/ 2 h 23"/>
                <a:gd name="T86" fmla="*/ 12 w 12"/>
                <a:gd name="T8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1"/>
                  </a:moveTo>
                  <a:cubicBezTo>
                    <a:pt x="12" y="1"/>
                    <a:pt x="12" y="1"/>
                    <a:pt x="12" y="1"/>
                  </a:cubicBezTo>
                  <a:cubicBezTo>
                    <a:pt x="12" y="1"/>
                    <a:pt x="12" y="1"/>
                    <a:pt x="12" y="1"/>
                  </a:cubicBezTo>
                  <a:cubicBezTo>
                    <a:pt x="12" y="1"/>
                    <a:pt x="12" y="1"/>
                    <a:pt x="12" y="1"/>
                  </a:cubicBezTo>
                  <a:cubicBezTo>
                    <a:pt x="12" y="0"/>
                    <a:pt x="11" y="0"/>
                    <a:pt x="11" y="0"/>
                  </a:cubicBezTo>
                  <a:cubicBezTo>
                    <a:pt x="11" y="0"/>
                    <a:pt x="11" y="0"/>
                    <a:pt x="10" y="0"/>
                  </a:cubicBezTo>
                  <a:cubicBezTo>
                    <a:pt x="10" y="0"/>
                    <a:pt x="10" y="0"/>
                    <a:pt x="10" y="0"/>
                  </a:cubicBezTo>
                  <a:cubicBezTo>
                    <a:pt x="9" y="0"/>
                    <a:pt x="9" y="0"/>
                    <a:pt x="9" y="0"/>
                  </a:cubicBezTo>
                  <a:cubicBezTo>
                    <a:pt x="9" y="0"/>
                    <a:pt x="8" y="0"/>
                    <a:pt x="8" y="0"/>
                  </a:cubicBezTo>
                  <a:cubicBezTo>
                    <a:pt x="7" y="0"/>
                    <a:pt x="7" y="0"/>
                    <a:pt x="6" y="1"/>
                  </a:cubicBezTo>
                  <a:cubicBezTo>
                    <a:pt x="6" y="1"/>
                    <a:pt x="5" y="1"/>
                    <a:pt x="5" y="2"/>
                  </a:cubicBezTo>
                  <a:cubicBezTo>
                    <a:pt x="4" y="2"/>
                    <a:pt x="4" y="3"/>
                    <a:pt x="3" y="4"/>
                  </a:cubicBezTo>
                  <a:cubicBezTo>
                    <a:pt x="3" y="1"/>
                    <a:pt x="3" y="1"/>
                    <a:pt x="3" y="1"/>
                  </a:cubicBezTo>
                  <a:cubicBezTo>
                    <a:pt x="3" y="1"/>
                    <a:pt x="3" y="1"/>
                    <a:pt x="3" y="1"/>
                  </a:cubicBezTo>
                  <a:cubicBezTo>
                    <a:pt x="3" y="1"/>
                    <a:pt x="3" y="0"/>
                    <a:pt x="3" y="0"/>
                  </a:cubicBezTo>
                  <a:cubicBezTo>
                    <a:pt x="3" y="0"/>
                    <a:pt x="3" y="0"/>
                    <a:pt x="2" y="0"/>
                  </a:cubicBezTo>
                  <a:cubicBezTo>
                    <a:pt x="2" y="0"/>
                    <a:pt x="2" y="0"/>
                    <a:pt x="1" y="0"/>
                  </a:cubicBezTo>
                  <a:cubicBezTo>
                    <a:pt x="1" y="0"/>
                    <a:pt x="1" y="0"/>
                    <a:pt x="1" y="0"/>
                  </a:cubicBezTo>
                  <a:cubicBezTo>
                    <a:pt x="0" y="0"/>
                    <a:pt x="0" y="0"/>
                    <a:pt x="0" y="0"/>
                  </a:cubicBezTo>
                  <a:cubicBezTo>
                    <a:pt x="0" y="0"/>
                    <a:pt x="0" y="1"/>
                    <a:pt x="0" y="1"/>
                  </a:cubicBezTo>
                  <a:cubicBezTo>
                    <a:pt x="0" y="1"/>
                    <a:pt x="0" y="1"/>
                    <a:pt x="0" y="1"/>
                  </a:cubicBezTo>
                  <a:cubicBezTo>
                    <a:pt x="0" y="22"/>
                    <a:pt x="0" y="22"/>
                    <a:pt x="0" y="22"/>
                  </a:cubicBezTo>
                  <a:cubicBezTo>
                    <a:pt x="0" y="22"/>
                    <a:pt x="0" y="22"/>
                    <a:pt x="0" y="22"/>
                  </a:cubicBezTo>
                  <a:cubicBezTo>
                    <a:pt x="0" y="22"/>
                    <a:pt x="0" y="23"/>
                    <a:pt x="0" y="23"/>
                  </a:cubicBezTo>
                  <a:cubicBezTo>
                    <a:pt x="0" y="23"/>
                    <a:pt x="0" y="23"/>
                    <a:pt x="1" y="23"/>
                  </a:cubicBezTo>
                  <a:cubicBezTo>
                    <a:pt x="1" y="23"/>
                    <a:pt x="1" y="23"/>
                    <a:pt x="2" y="23"/>
                  </a:cubicBezTo>
                  <a:cubicBezTo>
                    <a:pt x="2" y="23"/>
                    <a:pt x="2" y="23"/>
                    <a:pt x="3" y="23"/>
                  </a:cubicBezTo>
                  <a:cubicBezTo>
                    <a:pt x="3" y="23"/>
                    <a:pt x="3" y="23"/>
                    <a:pt x="3" y="23"/>
                  </a:cubicBezTo>
                  <a:cubicBezTo>
                    <a:pt x="3" y="23"/>
                    <a:pt x="3" y="22"/>
                    <a:pt x="3" y="22"/>
                  </a:cubicBezTo>
                  <a:cubicBezTo>
                    <a:pt x="4" y="22"/>
                    <a:pt x="4" y="22"/>
                    <a:pt x="4" y="22"/>
                  </a:cubicBezTo>
                  <a:cubicBezTo>
                    <a:pt x="4" y="8"/>
                    <a:pt x="4" y="8"/>
                    <a:pt x="4" y="8"/>
                  </a:cubicBezTo>
                  <a:cubicBezTo>
                    <a:pt x="4" y="7"/>
                    <a:pt x="5" y="7"/>
                    <a:pt x="5" y="6"/>
                  </a:cubicBezTo>
                  <a:cubicBezTo>
                    <a:pt x="6" y="5"/>
                    <a:pt x="6" y="5"/>
                    <a:pt x="6" y="5"/>
                  </a:cubicBezTo>
                  <a:cubicBezTo>
                    <a:pt x="7" y="4"/>
                    <a:pt x="7" y="4"/>
                    <a:pt x="8" y="4"/>
                  </a:cubicBezTo>
                  <a:cubicBezTo>
                    <a:pt x="8" y="4"/>
                    <a:pt x="8" y="4"/>
                    <a:pt x="9" y="4"/>
                  </a:cubicBezTo>
                  <a:cubicBezTo>
                    <a:pt x="9" y="4"/>
                    <a:pt x="9" y="4"/>
                    <a:pt x="10" y="4"/>
                  </a:cubicBezTo>
                  <a:cubicBezTo>
                    <a:pt x="10" y="4"/>
                    <a:pt x="10" y="4"/>
                    <a:pt x="10" y="4"/>
                  </a:cubicBezTo>
                  <a:cubicBezTo>
                    <a:pt x="11" y="4"/>
                    <a:pt x="11" y="4"/>
                    <a:pt x="11" y="4"/>
                  </a:cubicBezTo>
                  <a:cubicBezTo>
                    <a:pt x="11" y="4"/>
                    <a:pt x="11" y="4"/>
                    <a:pt x="11" y="4"/>
                  </a:cubicBezTo>
                  <a:cubicBezTo>
                    <a:pt x="12" y="4"/>
                    <a:pt x="12" y="4"/>
                    <a:pt x="12" y="4"/>
                  </a:cubicBezTo>
                  <a:cubicBezTo>
                    <a:pt x="12" y="4"/>
                    <a:pt x="12" y="4"/>
                    <a:pt x="12" y="4"/>
                  </a:cubicBezTo>
                  <a:cubicBezTo>
                    <a:pt x="12" y="4"/>
                    <a:pt x="12" y="3"/>
                    <a:pt x="12" y="3"/>
                  </a:cubicBezTo>
                  <a:cubicBezTo>
                    <a:pt x="12" y="3"/>
                    <a:pt x="12" y="3"/>
                    <a:pt x="12" y="2"/>
                  </a:cubicBezTo>
                  <a:cubicBezTo>
                    <a:pt x="12" y="2"/>
                    <a:pt x="12" y="2"/>
                    <a:pt x="12" y="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47">
              <a:extLst>
                <a:ext uri="{FF2B5EF4-FFF2-40B4-BE49-F238E27FC236}">
                  <a16:creationId xmlns:a16="http://schemas.microsoft.com/office/drawing/2014/main" id="{98E05E73-68C7-45C8-AA9D-6484CE29B9FA}"/>
                </a:ext>
              </a:extLst>
            </p:cNvPr>
            <p:cNvSpPr>
              <a:spLocks noEditPoints="1"/>
            </p:cNvSpPr>
            <p:nvPr/>
          </p:nvSpPr>
          <p:spPr bwMode="auto">
            <a:xfrm>
              <a:off x="6361559" y="4138185"/>
              <a:ext cx="72146" cy="79361"/>
            </a:xfrm>
            <a:custGeom>
              <a:avLst/>
              <a:gdLst>
                <a:gd name="T0" fmla="*/ 21 w 21"/>
                <a:gd name="T1" fmla="*/ 7 h 23"/>
                <a:gd name="T2" fmla="*/ 19 w 21"/>
                <a:gd name="T3" fmla="*/ 3 h 23"/>
                <a:gd name="T4" fmla="*/ 15 w 21"/>
                <a:gd name="T5" fmla="*/ 1 h 23"/>
                <a:gd name="T6" fmla="*/ 11 w 21"/>
                <a:gd name="T7" fmla="*/ 0 h 23"/>
                <a:gd name="T8" fmla="*/ 6 w 21"/>
                <a:gd name="T9" fmla="*/ 1 h 23"/>
                <a:gd name="T10" fmla="*/ 3 w 21"/>
                <a:gd name="T11" fmla="*/ 3 h 23"/>
                <a:gd name="T12" fmla="*/ 1 w 21"/>
                <a:gd name="T13" fmla="*/ 7 h 23"/>
                <a:gd name="T14" fmla="*/ 0 w 21"/>
                <a:gd name="T15" fmla="*/ 12 h 23"/>
                <a:gd name="T16" fmla="*/ 1 w 21"/>
                <a:gd name="T17" fmla="*/ 16 h 23"/>
                <a:gd name="T18" fmla="*/ 3 w 21"/>
                <a:gd name="T19" fmla="*/ 20 h 23"/>
                <a:gd name="T20" fmla="*/ 6 w 21"/>
                <a:gd name="T21" fmla="*/ 22 h 23"/>
                <a:gd name="T22" fmla="*/ 10 w 21"/>
                <a:gd name="T23" fmla="*/ 23 h 23"/>
                <a:gd name="T24" fmla="*/ 15 w 21"/>
                <a:gd name="T25" fmla="*/ 22 h 23"/>
                <a:gd name="T26" fmla="*/ 18 w 21"/>
                <a:gd name="T27" fmla="*/ 20 h 23"/>
                <a:gd name="T28" fmla="*/ 21 w 21"/>
                <a:gd name="T29" fmla="*/ 16 h 23"/>
                <a:gd name="T30" fmla="*/ 21 w 21"/>
                <a:gd name="T31" fmla="*/ 11 h 23"/>
                <a:gd name="T32" fmla="*/ 21 w 21"/>
                <a:gd name="T33" fmla="*/ 7 h 23"/>
                <a:gd name="T34" fmla="*/ 17 w 21"/>
                <a:gd name="T35" fmla="*/ 15 h 23"/>
                <a:gd name="T36" fmla="*/ 16 w 21"/>
                <a:gd name="T37" fmla="*/ 18 h 23"/>
                <a:gd name="T38" fmla="*/ 14 w 21"/>
                <a:gd name="T39" fmla="*/ 19 h 23"/>
                <a:gd name="T40" fmla="*/ 11 w 21"/>
                <a:gd name="T41" fmla="*/ 20 h 23"/>
                <a:gd name="T42" fmla="*/ 7 w 21"/>
                <a:gd name="T43" fmla="*/ 19 h 23"/>
                <a:gd name="T44" fmla="*/ 5 w 21"/>
                <a:gd name="T45" fmla="*/ 17 h 23"/>
                <a:gd name="T46" fmla="*/ 4 w 21"/>
                <a:gd name="T47" fmla="*/ 15 h 23"/>
                <a:gd name="T48" fmla="*/ 4 w 21"/>
                <a:gd name="T49" fmla="*/ 11 h 23"/>
                <a:gd name="T50" fmla="*/ 4 w 21"/>
                <a:gd name="T51" fmla="*/ 8 h 23"/>
                <a:gd name="T52" fmla="*/ 6 w 21"/>
                <a:gd name="T53" fmla="*/ 5 h 23"/>
                <a:gd name="T54" fmla="*/ 8 w 21"/>
                <a:gd name="T55" fmla="*/ 4 h 23"/>
                <a:gd name="T56" fmla="*/ 11 w 21"/>
                <a:gd name="T57" fmla="*/ 3 h 23"/>
                <a:gd name="T58" fmla="*/ 14 w 21"/>
                <a:gd name="T59" fmla="*/ 4 h 23"/>
                <a:gd name="T60" fmla="*/ 16 w 21"/>
                <a:gd name="T61" fmla="*/ 6 h 23"/>
                <a:gd name="T62" fmla="*/ 17 w 21"/>
                <a:gd name="T63" fmla="*/ 8 h 23"/>
                <a:gd name="T64" fmla="*/ 17 w 21"/>
                <a:gd name="T65" fmla="*/ 12 h 23"/>
                <a:gd name="T66" fmla="*/ 17 w 21"/>
                <a:gd name="T67"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3">
                  <a:moveTo>
                    <a:pt x="21" y="7"/>
                  </a:moveTo>
                  <a:cubicBezTo>
                    <a:pt x="20" y="5"/>
                    <a:pt x="19" y="4"/>
                    <a:pt x="19" y="3"/>
                  </a:cubicBezTo>
                  <a:cubicBezTo>
                    <a:pt x="18" y="2"/>
                    <a:pt x="17" y="1"/>
                    <a:pt x="15" y="1"/>
                  </a:cubicBezTo>
                  <a:cubicBezTo>
                    <a:pt x="14" y="0"/>
                    <a:pt x="13" y="0"/>
                    <a:pt x="11" y="0"/>
                  </a:cubicBezTo>
                  <a:cubicBezTo>
                    <a:pt x="9" y="0"/>
                    <a:pt x="7" y="0"/>
                    <a:pt x="6" y="1"/>
                  </a:cubicBezTo>
                  <a:cubicBezTo>
                    <a:pt x="5" y="1"/>
                    <a:pt x="4" y="2"/>
                    <a:pt x="3" y="3"/>
                  </a:cubicBezTo>
                  <a:cubicBezTo>
                    <a:pt x="2" y="4"/>
                    <a:pt x="1" y="6"/>
                    <a:pt x="1" y="7"/>
                  </a:cubicBezTo>
                  <a:cubicBezTo>
                    <a:pt x="0" y="8"/>
                    <a:pt x="0" y="10"/>
                    <a:pt x="0" y="12"/>
                  </a:cubicBezTo>
                  <a:cubicBezTo>
                    <a:pt x="0" y="13"/>
                    <a:pt x="0" y="15"/>
                    <a:pt x="1" y="16"/>
                  </a:cubicBezTo>
                  <a:cubicBezTo>
                    <a:pt x="1" y="18"/>
                    <a:pt x="2" y="19"/>
                    <a:pt x="3" y="20"/>
                  </a:cubicBezTo>
                  <a:cubicBezTo>
                    <a:pt x="4" y="21"/>
                    <a:pt x="5" y="22"/>
                    <a:pt x="6" y="22"/>
                  </a:cubicBezTo>
                  <a:cubicBezTo>
                    <a:pt x="7" y="23"/>
                    <a:pt x="9" y="23"/>
                    <a:pt x="10" y="23"/>
                  </a:cubicBezTo>
                  <a:cubicBezTo>
                    <a:pt x="12" y="23"/>
                    <a:pt x="14" y="23"/>
                    <a:pt x="15" y="22"/>
                  </a:cubicBezTo>
                  <a:cubicBezTo>
                    <a:pt x="16" y="22"/>
                    <a:pt x="18" y="21"/>
                    <a:pt x="18" y="20"/>
                  </a:cubicBezTo>
                  <a:cubicBezTo>
                    <a:pt x="19" y="19"/>
                    <a:pt x="20" y="17"/>
                    <a:pt x="21" y="16"/>
                  </a:cubicBezTo>
                  <a:cubicBezTo>
                    <a:pt x="21" y="15"/>
                    <a:pt x="21" y="13"/>
                    <a:pt x="21" y="11"/>
                  </a:cubicBezTo>
                  <a:cubicBezTo>
                    <a:pt x="21" y="10"/>
                    <a:pt x="21" y="8"/>
                    <a:pt x="21" y="7"/>
                  </a:cubicBezTo>
                  <a:close/>
                  <a:moveTo>
                    <a:pt x="17" y="15"/>
                  </a:moveTo>
                  <a:cubicBezTo>
                    <a:pt x="17" y="16"/>
                    <a:pt x="16" y="17"/>
                    <a:pt x="16" y="18"/>
                  </a:cubicBezTo>
                  <a:cubicBezTo>
                    <a:pt x="15" y="18"/>
                    <a:pt x="14" y="19"/>
                    <a:pt x="14" y="19"/>
                  </a:cubicBezTo>
                  <a:cubicBezTo>
                    <a:pt x="13" y="20"/>
                    <a:pt x="12" y="20"/>
                    <a:pt x="11" y="20"/>
                  </a:cubicBezTo>
                  <a:cubicBezTo>
                    <a:pt x="9" y="20"/>
                    <a:pt x="8" y="20"/>
                    <a:pt x="7" y="19"/>
                  </a:cubicBezTo>
                  <a:cubicBezTo>
                    <a:pt x="7" y="19"/>
                    <a:pt x="6" y="18"/>
                    <a:pt x="5" y="17"/>
                  </a:cubicBezTo>
                  <a:cubicBezTo>
                    <a:pt x="5" y="17"/>
                    <a:pt x="5" y="16"/>
                    <a:pt x="4" y="15"/>
                  </a:cubicBezTo>
                  <a:cubicBezTo>
                    <a:pt x="4" y="14"/>
                    <a:pt x="4" y="13"/>
                    <a:pt x="4" y="11"/>
                  </a:cubicBezTo>
                  <a:cubicBezTo>
                    <a:pt x="4" y="10"/>
                    <a:pt x="4" y="9"/>
                    <a:pt x="4" y="8"/>
                  </a:cubicBezTo>
                  <a:cubicBezTo>
                    <a:pt x="5" y="7"/>
                    <a:pt x="5" y="6"/>
                    <a:pt x="6" y="5"/>
                  </a:cubicBezTo>
                  <a:cubicBezTo>
                    <a:pt x="6" y="5"/>
                    <a:pt x="7" y="4"/>
                    <a:pt x="8" y="4"/>
                  </a:cubicBezTo>
                  <a:cubicBezTo>
                    <a:pt x="9" y="3"/>
                    <a:pt x="10" y="3"/>
                    <a:pt x="11" y="3"/>
                  </a:cubicBezTo>
                  <a:cubicBezTo>
                    <a:pt x="12" y="3"/>
                    <a:pt x="13" y="3"/>
                    <a:pt x="14" y="4"/>
                  </a:cubicBezTo>
                  <a:cubicBezTo>
                    <a:pt x="15" y="4"/>
                    <a:pt x="15" y="5"/>
                    <a:pt x="16" y="6"/>
                  </a:cubicBezTo>
                  <a:cubicBezTo>
                    <a:pt x="16" y="6"/>
                    <a:pt x="17" y="7"/>
                    <a:pt x="17" y="8"/>
                  </a:cubicBezTo>
                  <a:cubicBezTo>
                    <a:pt x="17" y="9"/>
                    <a:pt x="17" y="10"/>
                    <a:pt x="17" y="12"/>
                  </a:cubicBezTo>
                  <a:cubicBezTo>
                    <a:pt x="17" y="13"/>
                    <a:pt x="17" y="14"/>
                    <a:pt x="17" y="15"/>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48">
              <a:extLst>
                <a:ext uri="{FF2B5EF4-FFF2-40B4-BE49-F238E27FC236}">
                  <a16:creationId xmlns:a16="http://schemas.microsoft.com/office/drawing/2014/main" id="{AA025B75-1CCB-43B3-8649-A5818674ADBF}"/>
                </a:ext>
              </a:extLst>
            </p:cNvPr>
            <p:cNvSpPr>
              <a:spLocks noEditPoints="1"/>
            </p:cNvSpPr>
            <p:nvPr/>
          </p:nvSpPr>
          <p:spPr bwMode="auto">
            <a:xfrm>
              <a:off x="6451020" y="4104998"/>
              <a:ext cx="64932" cy="112547"/>
            </a:xfrm>
            <a:custGeom>
              <a:avLst/>
              <a:gdLst>
                <a:gd name="T0" fmla="*/ 19 w 19"/>
                <a:gd name="T1" fmla="*/ 1 h 33"/>
                <a:gd name="T2" fmla="*/ 19 w 19"/>
                <a:gd name="T3" fmla="*/ 1 h 33"/>
                <a:gd name="T4" fmla="*/ 19 w 19"/>
                <a:gd name="T5" fmla="*/ 0 h 33"/>
                <a:gd name="T6" fmla="*/ 18 w 19"/>
                <a:gd name="T7" fmla="*/ 0 h 33"/>
                <a:gd name="T8" fmla="*/ 17 w 19"/>
                <a:gd name="T9" fmla="*/ 0 h 33"/>
                <a:gd name="T10" fmla="*/ 16 w 19"/>
                <a:gd name="T11" fmla="*/ 0 h 33"/>
                <a:gd name="T12" fmla="*/ 16 w 19"/>
                <a:gd name="T13" fmla="*/ 0 h 33"/>
                <a:gd name="T14" fmla="*/ 15 w 19"/>
                <a:gd name="T15" fmla="*/ 1 h 33"/>
                <a:gd name="T16" fmla="*/ 15 w 19"/>
                <a:gd name="T17" fmla="*/ 1 h 33"/>
                <a:gd name="T18" fmla="*/ 15 w 19"/>
                <a:gd name="T19" fmla="*/ 13 h 33"/>
                <a:gd name="T20" fmla="*/ 12 w 19"/>
                <a:gd name="T21" fmla="*/ 11 h 33"/>
                <a:gd name="T22" fmla="*/ 9 w 19"/>
                <a:gd name="T23" fmla="*/ 10 h 33"/>
                <a:gd name="T24" fmla="*/ 5 w 19"/>
                <a:gd name="T25" fmla="*/ 11 h 33"/>
                <a:gd name="T26" fmla="*/ 2 w 19"/>
                <a:gd name="T27" fmla="*/ 13 h 33"/>
                <a:gd name="T28" fmla="*/ 0 w 19"/>
                <a:gd name="T29" fmla="*/ 17 h 33"/>
                <a:gd name="T30" fmla="*/ 0 w 19"/>
                <a:gd name="T31" fmla="*/ 22 h 33"/>
                <a:gd name="T32" fmla="*/ 0 w 19"/>
                <a:gd name="T33" fmla="*/ 26 h 33"/>
                <a:gd name="T34" fmla="*/ 2 w 19"/>
                <a:gd name="T35" fmla="*/ 30 h 33"/>
                <a:gd name="T36" fmla="*/ 4 w 19"/>
                <a:gd name="T37" fmla="*/ 32 h 33"/>
                <a:gd name="T38" fmla="*/ 8 w 19"/>
                <a:gd name="T39" fmla="*/ 33 h 33"/>
                <a:gd name="T40" fmla="*/ 12 w 19"/>
                <a:gd name="T41" fmla="*/ 32 h 33"/>
                <a:gd name="T42" fmla="*/ 16 w 19"/>
                <a:gd name="T43" fmla="*/ 29 h 33"/>
                <a:gd name="T44" fmla="*/ 16 w 19"/>
                <a:gd name="T45" fmla="*/ 32 h 33"/>
                <a:gd name="T46" fmla="*/ 16 w 19"/>
                <a:gd name="T47" fmla="*/ 32 h 33"/>
                <a:gd name="T48" fmla="*/ 16 w 19"/>
                <a:gd name="T49" fmla="*/ 33 h 33"/>
                <a:gd name="T50" fmla="*/ 17 w 19"/>
                <a:gd name="T51" fmla="*/ 33 h 33"/>
                <a:gd name="T52" fmla="*/ 17 w 19"/>
                <a:gd name="T53" fmla="*/ 33 h 33"/>
                <a:gd name="T54" fmla="*/ 18 w 19"/>
                <a:gd name="T55" fmla="*/ 33 h 33"/>
                <a:gd name="T56" fmla="*/ 19 w 19"/>
                <a:gd name="T57" fmla="*/ 33 h 33"/>
                <a:gd name="T58" fmla="*/ 19 w 19"/>
                <a:gd name="T59" fmla="*/ 32 h 33"/>
                <a:gd name="T60" fmla="*/ 19 w 19"/>
                <a:gd name="T61" fmla="*/ 32 h 33"/>
                <a:gd name="T62" fmla="*/ 19 w 19"/>
                <a:gd name="T63" fmla="*/ 1 h 33"/>
                <a:gd name="T64" fmla="*/ 15 w 19"/>
                <a:gd name="T65" fmla="*/ 26 h 33"/>
                <a:gd name="T66" fmla="*/ 13 w 19"/>
                <a:gd name="T67" fmla="*/ 28 h 33"/>
                <a:gd name="T68" fmla="*/ 12 w 19"/>
                <a:gd name="T69" fmla="*/ 29 h 33"/>
                <a:gd name="T70" fmla="*/ 10 w 19"/>
                <a:gd name="T71" fmla="*/ 30 h 33"/>
                <a:gd name="T72" fmla="*/ 9 w 19"/>
                <a:gd name="T73" fmla="*/ 30 h 33"/>
                <a:gd name="T74" fmla="*/ 6 w 19"/>
                <a:gd name="T75" fmla="*/ 29 h 33"/>
                <a:gd name="T76" fmla="*/ 5 w 19"/>
                <a:gd name="T77" fmla="*/ 27 h 33"/>
                <a:gd name="T78" fmla="*/ 4 w 19"/>
                <a:gd name="T79" fmla="*/ 24 h 33"/>
                <a:gd name="T80" fmla="*/ 4 w 19"/>
                <a:gd name="T81" fmla="*/ 21 h 33"/>
                <a:gd name="T82" fmla="*/ 4 w 19"/>
                <a:gd name="T83" fmla="*/ 18 h 33"/>
                <a:gd name="T84" fmla="*/ 5 w 19"/>
                <a:gd name="T85" fmla="*/ 16 h 33"/>
                <a:gd name="T86" fmla="*/ 7 w 19"/>
                <a:gd name="T87" fmla="*/ 14 h 33"/>
                <a:gd name="T88" fmla="*/ 9 w 19"/>
                <a:gd name="T89" fmla="*/ 13 h 33"/>
                <a:gd name="T90" fmla="*/ 12 w 19"/>
                <a:gd name="T91" fmla="*/ 14 h 33"/>
                <a:gd name="T92" fmla="*/ 15 w 19"/>
                <a:gd name="T93" fmla="*/ 17 h 33"/>
                <a:gd name="T94" fmla="*/ 15 w 19"/>
                <a:gd name="T95"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 h="33">
                  <a:moveTo>
                    <a:pt x="19" y="1"/>
                  </a:moveTo>
                  <a:cubicBezTo>
                    <a:pt x="19" y="1"/>
                    <a:pt x="19" y="1"/>
                    <a:pt x="19" y="1"/>
                  </a:cubicBezTo>
                  <a:cubicBezTo>
                    <a:pt x="19" y="0"/>
                    <a:pt x="19" y="0"/>
                    <a:pt x="19" y="0"/>
                  </a:cubicBezTo>
                  <a:cubicBezTo>
                    <a:pt x="18" y="0"/>
                    <a:pt x="18" y="0"/>
                    <a:pt x="18" y="0"/>
                  </a:cubicBezTo>
                  <a:cubicBezTo>
                    <a:pt x="18" y="0"/>
                    <a:pt x="17" y="0"/>
                    <a:pt x="17" y="0"/>
                  </a:cubicBezTo>
                  <a:cubicBezTo>
                    <a:pt x="17" y="0"/>
                    <a:pt x="16" y="0"/>
                    <a:pt x="16" y="0"/>
                  </a:cubicBezTo>
                  <a:cubicBezTo>
                    <a:pt x="16" y="0"/>
                    <a:pt x="16" y="0"/>
                    <a:pt x="16" y="0"/>
                  </a:cubicBezTo>
                  <a:cubicBezTo>
                    <a:pt x="15" y="0"/>
                    <a:pt x="15" y="0"/>
                    <a:pt x="15" y="1"/>
                  </a:cubicBezTo>
                  <a:cubicBezTo>
                    <a:pt x="15" y="1"/>
                    <a:pt x="15" y="1"/>
                    <a:pt x="15" y="1"/>
                  </a:cubicBezTo>
                  <a:cubicBezTo>
                    <a:pt x="15" y="13"/>
                    <a:pt x="15" y="13"/>
                    <a:pt x="15" y="13"/>
                  </a:cubicBezTo>
                  <a:cubicBezTo>
                    <a:pt x="14" y="12"/>
                    <a:pt x="13" y="11"/>
                    <a:pt x="12" y="11"/>
                  </a:cubicBezTo>
                  <a:cubicBezTo>
                    <a:pt x="11" y="10"/>
                    <a:pt x="10" y="10"/>
                    <a:pt x="9" y="10"/>
                  </a:cubicBezTo>
                  <a:cubicBezTo>
                    <a:pt x="7" y="10"/>
                    <a:pt x="6" y="10"/>
                    <a:pt x="5" y="11"/>
                  </a:cubicBezTo>
                  <a:cubicBezTo>
                    <a:pt x="4" y="11"/>
                    <a:pt x="3" y="12"/>
                    <a:pt x="2" y="13"/>
                  </a:cubicBezTo>
                  <a:cubicBezTo>
                    <a:pt x="1" y="14"/>
                    <a:pt x="1" y="15"/>
                    <a:pt x="0" y="17"/>
                  </a:cubicBezTo>
                  <a:cubicBezTo>
                    <a:pt x="0" y="18"/>
                    <a:pt x="0" y="20"/>
                    <a:pt x="0" y="22"/>
                  </a:cubicBezTo>
                  <a:cubicBezTo>
                    <a:pt x="0" y="23"/>
                    <a:pt x="0" y="25"/>
                    <a:pt x="0" y="26"/>
                  </a:cubicBezTo>
                  <a:cubicBezTo>
                    <a:pt x="0" y="28"/>
                    <a:pt x="1" y="29"/>
                    <a:pt x="2" y="30"/>
                  </a:cubicBezTo>
                  <a:cubicBezTo>
                    <a:pt x="2" y="31"/>
                    <a:pt x="3" y="32"/>
                    <a:pt x="4" y="32"/>
                  </a:cubicBezTo>
                  <a:cubicBezTo>
                    <a:pt x="5" y="33"/>
                    <a:pt x="7" y="33"/>
                    <a:pt x="8" y="33"/>
                  </a:cubicBezTo>
                  <a:cubicBezTo>
                    <a:pt x="10" y="33"/>
                    <a:pt x="11" y="33"/>
                    <a:pt x="12" y="32"/>
                  </a:cubicBezTo>
                  <a:cubicBezTo>
                    <a:pt x="13" y="31"/>
                    <a:pt x="14" y="30"/>
                    <a:pt x="16" y="29"/>
                  </a:cubicBezTo>
                  <a:cubicBezTo>
                    <a:pt x="16" y="32"/>
                    <a:pt x="16" y="32"/>
                    <a:pt x="16" y="32"/>
                  </a:cubicBezTo>
                  <a:cubicBezTo>
                    <a:pt x="16" y="32"/>
                    <a:pt x="16" y="32"/>
                    <a:pt x="16" y="32"/>
                  </a:cubicBezTo>
                  <a:cubicBezTo>
                    <a:pt x="16" y="32"/>
                    <a:pt x="16" y="33"/>
                    <a:pt x="16" y="33"/>
                  </a:cubicBezTo>
                  <a:cubicBezTo>
                    <a:pt x="16" y="33"/>
                    <a:pt x="16" y="33"/>
                    <a:pt x="17" y="33"/>
                  </a:cubicBezTo>
                  <a:cubicBezTo>
                    <a:pt x="17" y="33"/>
                    <a:pt x="17" y="33"/>
                    <a:pt x="17" y="33"/>
                  </a:cubicBezTo>
                  <a:cubicBezTo>
                    <a:pt x="18" y="33"/>
                    <a:pt x="18" y="33"/>
                    <a:pt x="18" y="33"/>
                  </a:cubicBezTo>
                  <a:cubicBezTo>
                    <a:pt x="18" y="33"/>
                    <a:pt x="19" y="33"/>
                    <a:pt x="19" y="33"/>
                  </a:cubicBezTo>
                  <a:cubicBezTo>
                    <a:pt x="19" y="33"/>
                    <a:pt x="19" y="32"/>
                    <a:pt x="19" y="32"/>
                  </a:cubicBezTo>
                  <a:cubicBezTo>
                    <a:pt x="19" y="32"/>
                    <a:pt x="19" y="32"/>
                    <a:pt x="19" y="32"/>
                  </a:cubicBezTo>
                  <a:cubicBezTo>
                    <a:pt x="19" y="1"/>
                    <a:pt x="19" y="1"/>
                    <a:pt x="19" y="1"/>
                  </a:cubicBezTo>
                  <a:close/>
                  <a:moveTo>
                    <a:pt x="15" y="26"/>
                  </a:moveTo>
                  <a:cubicBezTo>
                    <a:pt x="15" y="26"/>
                    <a:pt x="14" y="27"/>
                    <a:pt x="13" y="28"/>
                  </a:cubicBezTo>
                  <a:cubicBezTo>
                    <a:pt x="13" y="28"/>
                    <a:pt x="12" y="29"/>
                    <a:pt x="12" y="29"/>
                  </a:cubicBezTo>
                  <a:cubicBezTo>
                    <a:pt x="11" y="29"/>
                    <a:pt x="11" y="29"/>
                    <a:pt x="10" y="30"/>
                  </a:cubicBezTo>
                  <a:cubicBezTo>
                    <a:pt x="10" y="30"/>
                    <a:pt x="9" y="30"/>
                    <a:pt x="9" y="30"/>
                  </a:cubicBezTo>
                  <a:cubicBezTo>
                    <a:pt x="8" y="30"/>
                    <a:pt x="7" y="30"/>
                    <a:pt x="6" y="29"/>
                  </a:cubicBezTo>
                  <a:cubicBezTo>
                    <a:pt x="6" y="29"/>
                    <a:pt x="5" y="28"/>
                    <a:pt x="5" y="27"/>
                  </a:cubicBezTo>
                  <a:cubicBezTo>
                    <a:pt x="4" y="26"/>
                    <a:pt x="4" y="25"/>
                    <a:pt x="4" y="24"/>
                  </a:cubicBezTo>
                  <a:cubicBezTo>
                    <a:pt x="4" y="23"/>
                    <a:pt x="4" y="22"/>
                    <a:pt x="4" y="21"/>
                  </a:cubicBezTo>
                  <a:cubicBezTo>
                    <a:pt x="4" y="20"/>
                    <a:pt x="4" y="19"/>
                    <a:pt x="4" y="18"/>
                  </a:cubicBezTo>
                  <a:cubicBezTo>
                    <a:pt x="4" y="17"/>
                    <a:pt x="4" y="17"/>
                    <a:pt x="5" y="16"/>
                  </a:cubicBezTo>
                  <a:cubicBezTo>
                    <a:pt x="5" y="15"/>
                    <a:pt x="6" y="14"/>
                    <a:pt x="7" y="14"/>
                  </a:cubicBezTo>
                  <a:cubicBezTo>
                    <a:pt x="7" y="13"/>
                    <a:pt x="8" y="13"/>
                    <a:pt x="9" y="13"/>
                  </a:cubicBezTo>
                  <a:cubicBezTo>
                    <a:pt x="10" y="13"/>
                    <a:pt x="11" y="14"/>
                    <a:pt x="12" y="14"/>
                  </a:cubicBezTo>
                  <a:cubicBezTo>
                    <a:pt x="13" y="15"/>
                    <a:pt x="14" y="16"/>
                    <a:pt x="15" y="17"/>
                  </a:cubicBezTo>
                  <a:cubicBezTo>
                    <a:pt x="15" y="26"/>
                    <a:pt x="15" y="26"/>
                    <a:pt x="15" y="26"/>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49">
              <a:extLst>
                <a:ext uri="{FF2B5EF4-FFF2-40B4-BE49-F238E27FC236}">
                  <a16:creationId xmlns:a16="http://schemas.microsoft.com/office/drawing/2014/main" id="{549D5A27-F9B4-493A-8B9B-DBD8547768E6}"/>
                </a:ext>
              </a:extLst>
            </p:cNvPr>
            <p:cNvSpPr>
              <a:spLocks/>
            </p:cNvSpPr>
            <p:nvPr/>
          </p:nvSpPr>
          <p:spPr bwMode="auto">
            <a:xfrm>
              <a:off x="6540480" y="4138185"/>
              <a:ext cx="62046" cy="79361"/>
            </a:xfrm>
            <a:custGeom>
              <a:avLst/>
              <a:gdLst>
                <a:gd name="T0" fmla="*/ 18 w 18"/>
                <a:gd name="T1" fmla="*/ 1 h 23"/>
                <a:gd name="T2" fmla="*/ 18 w 18"/>
                <a:gd name="T3" fmla="*/ 1 h 23"/>
                <a:gd name="T4" fmla="*/ 18 w 18"/>
                <a:gd name="T5" fmla="*/ 0 h 23"/>
                <a:gd name="T6" fmla="*/ 17 w 18"/>
                <a:gd name="T7" fmla="*/ 0 h 23"/>
                <a:gd name="T8" fmla="*/ 16 w 18"/>
                <a:gd name="T9" fmla="*/ 0 h 23"/>
                <a:gd name="T10" fmla="*/ 16 w 18"/>
                <a:gd name="T11" fmla="*/ 0 h 23"/>
                <a:gd name="T12" fmla="*/ 15 w 18"/>
                <a:gd name="T13" fmla="*/ 0 h 23"/>
                <a:gd name="T14" fmla="*/ 15 w 18"/>
                <a:gd name="T15" fmla="*/ 1 h 23"/>
                <a:gd name="T16" fmla="*/ 15 w 18"/>
                <a:gd name="T17" fmla="*/ 1 h 23"/>
                <a:gd name="T18" fmla="*/ 15 w 18"/>
                <a:gd name="T19" fmla="*/ 16 h 23"/>
                <a:gd name="T20" fmla="*/ 11 w 18"/>
                <a:gd name="T21" fmla="*/ 19 h 23"/>
                <a:gd name="T22" fmla="*/ 9 w 18"/>
                <a:gd name="T23" fmla="*/ 20 h 23"/>
                <a:gd name="T24" fmla="*/ 7 w 18"/>
                <a:gd name="T25" fmla="*/ 19 h 23"/>
                <a:gd name="T26" fmla="*/ 5 w 18"/>
                <a:gd name="T27" fmla="*/ 18 h 23"/>
                <a:gd name="T28" fmla="*/ 4 w 18"/>
                <a:gd name="T29" fmla="*/ 16 h 23"/>
                <a:gd name="T30" fmla="*/ 4 w 18"/>
                <a:gd name="T31" fmla="*/ 13 h 23"/>
                <a:gd name="T32" fmla="*/ 4 w 18"/>
                <a:gd name="T33" fmla="*/ 1 h 23"/>
                <a:gd name="T34" fmla="*/ 4 w 18"/>
                <a:gd name="T35" fmla="*/ 1 h 23"/>
                <a:gd name="T36" fmla="*/ 4 w 18"/>
                <a:gd name="T37" fmla="*/ 0 h 23"/>
                <a:gd name="T38" fmla="*/ 3 w 18"/>
                <a:gd name="T39" fmla="*/ 0 h 23"/>
                <a:gd name="T40" fmla="*/ 2 w 18"/>
                <a:gd name="T41" fmla="*/ 0 h 23"/>
                <a:gd name="T42" fmla="*/ 1 w 18"/>
                <a:gd name="T43" fmla="*/ 0 h 23"/>
                <a:gd name="T44" fmla="*/ 1 w 18"/>
                <a:gd name="T45" fmla="*/ 0 h 23"/>
                <a:gd name="T46" fmla="*/ 0 w 18"/>
                <a:gd name="T47" fmla="*/ 1 h 23"/>
                <a:gd name="T48" fmla="*/ 0 w 18"/>
                <a:gd name="T49" fmla="*/ 1 h 23"/>
                <a:gd name="T50" fmla="*/ 0 w 18"/>
                <a:gd name="T51" fmla="*/ 14 h 23"/>
                <a:gd name="T52" fmla="*/ 1 w 18"/>
                <a:gd name="T53" fmla="*/ 18 h 23"/>
                <a:gd name="T54" fmla="*/ 2 w 18"/>
                <a:gd name="T55" fmla="*/ 20 h 23"/>
                <a:gd name="T56" fmla="*/ 4 w 18"/>
                <a:gd name="T57" fmla="*/ 22 h 23"/>
                <a:gd name="T58" fmla="*/ 8 w 18"/>
                <a:gd name="T59" fmla="*/ 23 h 23"/>
                <a:gd name="T60" fmla="*/ 11 w 18"/>
                <a:gd name="T61" fmla="*/ 22 h 23"/>
                <a:gd name="T62" fmla="*/ 15 w 18"/>
                <a:gd name="T63" fmla="*/ 19 h 23"/>
                <a:gd name="T64" fmla="*/ 15 w 18"/>
                <a:gd name="T65" fmla="*/ 22 h 23"/>
                <a:gd name="T66" fmla="*/ 15 w 18"/>
                <a:gd name="T67" fmla="*/ 22 h 23"/>
                <a:gd name="T68" fmla="*/ 15 w 18"/>
                <a:gd name="T69" fmla="*/ 23 h 23"/>
                <a:gd name="T70" fmla="*/ 16 w 18"/>
                <a:gd name="T71" fmla="*/ 23 h 23"/>
                <a:gd name="T72" fmla="*/ 17 w 18"/>
                <a:gd name="T73" fmla="*/ 23 h 23"/>
                <a:gd name="T74" fmla="*/ 17 w 18"/>
                <a:gd name="T75" fmla="*/ 23 h 23"/>
                <a:gd name="T76" fmla="*/ 18 w 18"/>
                <a:gd name="T77" fmla="*/ 23 h 23"/>
                <a:gd name="T78" fmla="*/ 18 w 18"/>
                <a:gd name="T79" fmla="*/ 22 h 23"/>
                <a:gd name="T80" fmla="*/ 18 w 18"/>
                <a:gd name="T81" fmla="*/ 22 h 23"/>
                <a:gd name="T82" fmla="*/ 18 w 18"/>
                <a:gd name="T8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
                  </a:moveTo>
                  <a:cubicBezTo>
                    <a:pt x="18" y="1"/>
                    <a:pt x="18" y="1"/>
                    <a:pt x="18" y="1"/>
                  </a:cubicBezTo>
                  <a:cubicBezTo>
                    <a:pt x="18" y="1"/>
                    <a:pt x="18" y="0"/>
                    <a:pt x="18" y="0"/>
                  </a:cubicBezTo>
                  <a:cubicBezTo>
                    <a:pt x="18" y="0"/>
                    <a:pt x="18" y="0"/>
                    <a:pt x="17" y="0"/>
                  </a:cubicBezTo>
                  <a:cubicBezTo>
                    <a:pt x="17" y="0"/>
                    <a:pt x="17" y="0"/>
                    <a:pt x="16" y="0"/>
                  </a:cubicBezTo>
                  <a:cubicBezTo>
                    <a:pt x="16" y="0"/>
                    <a:pt x="16" y="0"/>
                    <a:pt x="16" y="0"/>
                  </a:cubicBezTo>
                  <a:cubicBezTo>
                    <a:pt x="15" y="0"/>
                    <a:pt x="15" y="0"/>
                    <a:pt x="15" y="0"/>
                  </a:cubicBezTo>
                  <a:cubicBezTo>
                    <a:pt x="15" y="0"/>
                    <a:pt x="15" y="1"/>
                    <a:pt x="15" y="1"/>
                  </a:cubicBezTo>
                  <a:cubicBezTo>
                    <a:pt x="15" y="1"/>
                    <a:pt x="15" y="1"/>
                    <a:pt x="15" y="1"/>
                  </a:cubicBezTo>
                  <a:cubicBezTo>
                    <a:pt x="15" y="16"/>
                    <a:pt x="15" y="16"/>
                    <a:pt x="15" y="16"/>
                  </a:cubicBezTo>
                  <a:cubicBezTo>
                    <a:pt x="13" y="17"/>
                    <a:pt x="12" y="18"/>
                    <a:pt x="11" y="19"/>
                  </a:cubicBezTo>
                  <a:cubicBezTo>
                    <a:pt x="10" y="19"/>
                    <a:pt x="10" y="20"/>
                    <a:pt x="9" y="20"/>
                  </a:cubicBezTo>
                  <a:cubicBezTo>
                    <a:pt x="8" y="20"/>
                    <a:pt x="7" y="20"/>
                    <a:pt x="7" y="19"/>
                  </a:cubicBezTo>
                  <a:cubicBezTo>
                    <a:pt x="6" y="19"/>
                    <a:pt x="6" y="19"/>
                    <a:pt x="5" y="18"/>
                  </a:cubicBezTo>
                  <a:cubicBezTo>
                    <a:pt x="5" y="18"/>
                    <a:pt x="5" y="17"/>
                    <a:pt x="4" y="16"/>
                  </a:cubicBezTo>
                  <a:cubicBezTo>
                    <a:pt x="4" y="15"/>
                    <a:pt x="4" y="14"/>
                    <a:pt x="4" y="13"/>
                  </a:cubicBezTo>
                  <a:cubicBezTo>
                    <a:pt x="4" y="1"/>
                    <a:pt x="4" y="1"/>
                    <a:pt x="4" y="1"/>
                  </a:cubicBezTo>
                  <a:cubicBezTo>
                    <a:pt x="4" y="1"/>
                    <a:pt x="4" y="1"/>
                    <a:pt x="4" y="1"/>
                  </a:cubicBezTo>
                  <a:cubicBezTo>
                    <a:pt x="4" y="1"/>
                    <a:pt x="4" y="0"/>
                    <a:pt x="4" y="0"/>
                  </a:cubicBezTo>
                  <a:cubicBezTo>
                    <a:pt x="4" y="0"/>
                    <a:pt x="3" y="0"/>
                    <a:pt x="3" y="0"/>
                  </a:cubicBezTo>
                  <a:cubicBezTo>
                    <a:pt x="3" y="0"/>
                    <a:pt x="3" y="0"/>
                    <a:pt x="2" y="0"/>
                  </a:cubicBezTo>
                  <a:cubicBezTo>
                    <a:pt x="2" y="0"/>
                    <a:pt x="1" y="0"/>
                    <a:pt x="1" y="0"/>
                  </a:cubicBezTo>
                  <a:cubicBezTo>
                    <a:pt x="1" y="0"/>
                    <a:pt x="1" y="0"/>
                    <a:pt x="1" y="0"/>
                  </a:cubicBezTo>
                  <a:cubicBezTo>
                    <a:pt x="0" y="0"/>
                    <a:pt x="0" y="1"/>
                    <a:pt x="0" y="1"/>
                  </a:cubicBezTo>
                  <a:cubicBezTo>
                    <a:pt x="0" y="1"/>
                    <a:pt x="0" y="1"/>
                    <a:pt x="0" y="1"/>
                  </a:cubicBezTo>
                  <a:cubicBezTo>
                    <a:pt x="0" y="14"/>
                    <a:pt x="0" y="14"/>
                    <a:pt x="0" y="14"/>
                  </a:cubicBezTo>
                  <a:cubicBezTo>
                    <a:pt x="0" y="15"/>
                    <a:pt x="0" y="17"/>
                    <a:pt x="1" y="18"/>
                  </a:cubicBezTo>
                  <a:cubicBezTo>
                    <a:pt x="1" y="19"/>
                    <a:pt x="1" y="20"/>
                    <a:pt x="2" y="20"/>
                  </a:cubicBezTo>
                  <a:cubicBezTo>
                    <a:pt x="2" y="21"/>
                    <a:pt x="3" y="22"/>
                    <a:pt x="4" y="22"/>
                  </a:cubicBezTo>
                  <a:cubicBezTo>
                    <a:pt x="5" y="23"/>
                    <a:pt x="6" y="23"/>
                    <a:pt x="8" y="23"/>
                  </a:cubicBezTo>
                  <a:cubicBezTo>
                    <a:pt x="9" y="23"/>
                    <a:pt x="10" y="23"/>
                    <a:pt x="11" y="22"/>
                  </a:cubicBezTo>
                  <a:cubicBezTo>
                    <a:pt x="13" y="22"/>
                    <a:pt x="14" y="21"/>
                    <a:pt x="15" y="19"/>
                  </a:cubicBezTo>
                  <a:cubicBezTo>
                    <a:pt x="15" y="22"/>
                    <a:pt x="15" y="22"/>
                    <a:pt x="15" y="22"/>
                  </a:cubicBezTo>
                  <a:cubicBezTo>
                    <a:pt x="15" y="22"/>
                    <a:pt x="15" y="22"/>
                    <a:pt x="15" y="22"/>
                  </a:cubicBezTo>
                  <a:cubicBezTo>
                    <a:pt x="15" y="22"/>
                    <a:pt x="15" y="23"/>
                    <a:pt x="15" y="23"/>
                  </a:cubicBezTo>
                  <a:cubicBezTo>
                    <a:pt x="15" y="23"/>
                    <a:pt x="16" y="23"/>
                    <a:pt x="16" y="23"/>
                  </a:cubicBezTo>
                  <a:cubicBezTo>
                    <a:pt x="16" y="23"/>
                    <a:pt x="16" y="23"/>
                    <a:pt x="17" y="23"/>
                  </a:cubicBezTo>
                  <a:cubicBezTo>
                    <a:pt x="17" y="23"/>
                    <a:pt x="17" y="23"/>
                    <a:pt x="17" y="23"/>
                  </a:cubicBezTo>
                  <a:cubicBezTo>
                    <a:pt x="18" y="23"/>
                    <a:pt x="18" y="23"/>
                    <a:pt x="18" y="23"/>
                  </a:cubicBezTo>
                  <a:cubicBezTo>
                    <a:pt x="18" y="23"/>
                    <a:pt x="18" y="22"/>
                    <a:pt x="18" y="22"/>
                  </a:cubicBezTo>
                  <a:cubicBezTo>
                    <a:pt x="18" y="22"/>
                    <a:pt x="18" y="22"/>
                    <a:pt x="18" y="22"/>
                  </a:cubicBezTo>
                  <a:cubicBezTo>
                    <a:pt x="18" y="1"/>
                    <a:pt x="18" y="1"/>
                    <a:pt x="18" y="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50">
              <a:extLst>
                <a:ext uri="{FF2B5EF4-FFF2-40B4-BE49-F238E27FC236}">
                  <a16:creationId xmlns:a16="http://schemas.microsoft.com/office/drawing/2014/main" id="{9D32984E-EAD9-4058-8C19-8059E75F0892}"/>
                </a:ext>
              </a:extLst>
            </p:cNvPr>
            <p:cNvSpPr>
              <a:spLocks/>
            </p:cNvSpPr>
            <p:nvPr/>
          </p:nvSpPr>
          <p:spPr bwMode="auto">
            <a:xfrm>
              <a:off x="6622726" y="4138185"/>
              <a:ext cx="57717" cy="79361"/>
            </a:xfrm>
            <a:custGeom>
              <a:avLst/>
              <a:gdLst>
                <a:gd name="T0" fmla="*/ 17 w 17"/>
                <a:gd name="T1" fmla="*/ 18 h 23"/>
                <a:gd name="T2" fmla="*/ 17 w 17"/>
                <a:gd name="T3" fmla="*/ 17 h 23"/>
                <a:gd name="T4" fmla="*/ 17 w 17"/>
                <a:gd name="T5" fmla="*/ 17 h 23"/>
                <a:gd name="T6" fmla="*/ 16 w 17"/>
                <a:gd name="T7" fmla="*/ 17 h 23"/>
                <a:gd name="T8" fmla="*/ 16 w 17"/>
                <a:gd name="T9" fmla="*/ 17 h 23"/>
                <a:gd name="T10" fmla="*/ 14 w 17"/>
                <a:gd name="T11" fmla="*/ 18 h 23"/>
                <a:gd name="T12" fmla="*/ 13 w 17"/>
                <a:gd name="T13" fmla="*/ 19 h 23"/>
                <a:gd name="T14" fmla="*/ 10 w 17"/>
                <a:gd name="T15" fmla="*/ 20 h 23"/>
                <a:gd name="T16" fmla="*/ 8 w 17"/>
                <a:gd name="T17" fmla="*/ 19 h 23"/>
                <a:gd name="T18" fmla="*/ 6 w 17"/>
                <a:gd name="T19" fmla="*/ 18 h 23"/>
                <a:gd name="T20" fmla="*/ 5 w 17"/>
                <a:gd name="T21" fmla="*/ 15 h 23"/>
                <a:gd name="T22" fmla="*/ 4 w 17"/>
                <a:gd name="T23" fmla="*/ 12 h 23"/>
                <a:gd name="T24" fmla="*/ 6 w 17"/>
                <a:gd name="T25" fmla="*/ 5 h 23"/>
                <a:gd name="T26" fmla="*/ 10 w 17"/>
                <a:gd name="T27" fmla="*/ 3 h 23"/>
                <a:gd name="T28" fmla="*/ 12 w 17"/>
                <a:gd name="T29" fmla="*/ 4 h 23"/>
                <a:gd name="T30" fmla="*/ 14 w 17"/>
                <a:gd name="T31" fmla="*/ 4 h 23"/>
                <a:gd name="T32" fmla="*/ 15 w 17"/>
                <a:gd name="T33" fmla="*/ 5 h 23"/>
                <a:gd name="T34" fmla="*/ 16 w 17"/>
                <a:gd name="T35" fmla="*/ 6 h 23"/>
                <a:gd name="T36" fmla="*/ 17 w 17"/>
                <a:gd name="T37" fmla="*/ 5 h 23"/>
                <a:gd name="T38" fmla="*/ 17 w 17"/>
                <a:gd name="T39" fmla="*/ 4 h 23"/>
                <a:gd name="T40" fmla="*/ 17 w 17"/>
                <a:gd name="T41" fmla="*/ 3 h 23"/>
                <a:gd name="T42" fmla="*/ 17 w 17"/>
                <a:gd name="T43" fmla="*/ 3 h 23"/>
                <a:gd name="T44" fmla="*/ 17 w 17"/>
                <a:gd name="T45" fmla="*/ 2 h 23"/>
                <a:gd name="T46" fmla="*/ 16 w 17"/>
                <a:gd name="T47" fmla="*/ 2 h 23"/>
                <a:gd name="T48" fmla="*/ 15 w 17"/>
                <a:gd name="T49" fmla="*/ 1 h 23"/>
                <a:gd name="T50" fmla="*/ 14 w 17"/>
                <a:gd name="T51" fmla="*/ 1 h 23"/>
                <a:gd name="T52" fmla="*/ 12 w 17"/>
                <a:gd name="T53" fmla="*/ 0 h 23"/>
                <a:gd name="T54" fmla="*/ 10 w 17"/>
                <a:gd name="T55" fmla="*/ 0 h 23"/>
                <a:gd name="T56" fmla="*/ 6 w 17"/>
                <a:gd name="T57" fmla="*/ 1 h 23"/>
                <a:gd name="T58" fmla="*/ 3 w 17"/>
                <a:gd name="T59" fmla="*/ 3 h 23"/>
                <a:gd name="T60" fmla="*/ 1 w 17"/>
                <a:gd name="T61" fmla="*/ 6 h 23"/>
                <a:gd name="T62" fmla="*/ 0 w 17"/>
                <a:gd name="T63" fmla="*/ 12 h 23"/>
                <a:gd name="T64" fmla="*/ 1 w 17"/>
                <a:gd name="T65" fmla="*/ 17 h 23"/>
                <a:gd name="T66" fmla="*/ 3 w 17"/>
                <a:gd name="T67" fmla="*/ 20 h 23"/>
                <a:gd name="T68" fmla="*/ 6 w 17"/>
                <a:gd name="T69" fmla="*/ 22 h 23"/>
                <a:gd name="T70" fmla="*/ 10 w 17"/>
                <a:gd name="T71" fmla="*/ 23 h 23"/>
                <a:gd name="T72" fmla="*/ 12 w 17"/>
                <a:gd name="T73" fmla="*/ 23 h 23"/>
                <a:gd name="T74" fmla="*/ 14 w 17"/>
                <a:gd name="T75" fmla="*/ 22 h 23"/>
                <a:gd name="T76" fmla="*/ 15 w 17"/>
                <a:gd name="T77" fmla="*/ 22 h 23"/>
                <a:gd name="T78" fmla="*/ 16 w 17"/>
                <a:gd name="T79" fmla="*/ 21 h 23"/>
                <a:gd name="T80" fmla="*/ 17 w 17"/>
                <a:gd name="T81" fmla="*/ 20 h 23"/>
                <a:gd name="T82" fmla="*/ 17 w 17"/>
                <a:gd name="T83" fmla="*/ 20 h 23"/>
                <a:gd name="T84" fmla="*/ 17 w 17"/>
                <a:gd name="T85" fmla="*/ 20 h 23"/>
                <a:gd name="T86" fmla="*/ 17 w 17"/>
                <a:gd name="T87" fmla="*/ 19 h 23"/>
                <a:gd name="T88" fmla="*/ 17 w 17"/>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 h="23">
                  <a:moveTo>
                    <a:pt x="17" y="18"/>
                  </a:moveTo>
                  <a:cubicBezTo>
                    <a:pt x="17" y="18"/>
                    <a:pt x="17" y="18"/>
                    <a:pt x="17" y="17"/>
                  </a:cubicBezTo>
                  <a:cubicBezTo>
                    <a:pt x="17" y="17"/>
                    <a:pt x="17" y="17"/>
                    <a:pt x="17" y="17"/>
                  </a:cubicBezTo>
                  <a:cubicBezTo>
                    <a:pt x="17" y="17"/>
                    <a:pt x="16" y="17"/>
                    <a:pt x="16" y="17"/>
                  </a:cubicBezTo>
                  <a:cubicBezTo>
                    <a:pt x="16" y="17"/>
                    <a:pt x="16" y="17"/>
                    <a:pt x="16" y="17"/>
                  </a:cubicBezTo>
                  <a:cubicBezTo>
                    <a:pt x="15" y="18"/>
                    <a:pt x="15" y="18"/>
                    <a:pt x="14" y="18"/>
                  </a:cubicBezTo>
                  <a:cubicBezTo>
                    <a:pt x="14" y="19"/>
                    <a:pt x="13" y="19"/>
                    <a:pt x="13" y="19"/>
                  </a:cubicBezTo>
                  <a:cubicBezTo>
                    <a:pt x="12" y="20"/>
                    <a:pt x="11" y="20"/>
                    <a:pt x="10" y="20"/>
                  </a:cubicBezTo>
                  <a:cubicBezTo>
                    <a:pt x="9" y="20"/>
                    <a:pt x="8" y="20"/>
                    <a:pt x="8" y="19"/>
                  </a:cubicBezTo>
                  <a:cubicBezTo>
                    <a:pt x="7" y="19"/>
                    <a:pt x="6" y="18"/>
                    <a:pt x="6" y="18"/>
                  </a:cubicBezTo>
                  <a:cubicBezTo>
                    <a:pt x="5" y="17"/>
                    <a:pt x="5" y="16"/>
                    <a:pt x="5" y="15"/>
                  </a:cubicBezTo>
                  <a:cubicBezTo>
                    <a:pt x="4" y="14"/>
                    <a:pt x="4" y="13"/>
                    <a:pt x="4" y="12"/>
                  </a:cubicBezTo>
                  <a:cubicBezTo>
                    <a:pt x="4" y="9"/>
                    <a:pt x="5" y="7"/>
                    <a:pt x="6" y="5"/>
                  </a:cubicBezTo>
                  <a:cubicBezTo>
                    <a:pt x="7" y="4"/>
                    <a:pt x="8" y="3"/>
                    <a:pt x="10" y="3"/>
                  </a:cubicBezTo>
                  <a:cubicBezTo>
                    <a:pt x="11" y="3"/>
                    <a:pt x="12" y="3"/>
                    <a:pt x="12" y="4"/>
                  </a:cubicBezTo>
                  <a:cubicBezTo>
                    <a:pt x="13" y="4"/>
                    <a:pt x="14" y="4"/>
                    <a:pt x="14" y="4"/>
                  </a:cubicBezTo>
                  <a:cubicBezTo>
                    <a:pt x="15" y="5"/>
                    <a:pt x="15" y="5"/>
                    <a:pt x="15" y="5"/>
                  </a:cubicBezTo>
                  <a:cubicBezTo>
                    <a:pt x="16" y="6"/>
                    <a:pt x="16" y="6"/>
                    <a:pt x="16" y="6"/>
                  </a:cubicBezTo>
                  <a:cubicBezTo>
                    <a:pt x="16" y="6"/>
                    <a:pt x="17" y="6"/>
                    <a:pt x="17" y="5"/>
                  </a:cubicBezTo>
                  <a:cubicBezTo>
                    <a:pt x="17" y="5"/>
                    <a:pt x="17" y="5"/>
                    <a:pt x="17" y="4"/>
                  </a:cubicBezTo>
                  <a:cubicBezTo>
                    <a:pt x="17" y="4"/>
                    <a:pt x="17" y="4"/>
                    <a:pt x="17" y="3"/>
                  </a:cubicBezTo>
                  <a:cubicBezTo>
                    <a:pt x="17" y="3"/>
                    <a:pt x="17" y="3"/>
                    <a:pt x="17" y="3"/>
                  </a:cubicBezTo>
                  <a:cubicBezTo>
                    <a:pt x="17" y="3"/>
                    <a:pt x="17" y="3"/>
                    <a:pt x="17" y="2"/>
                  </a:cubicBezTo>
                  <a:cubicBezTo>
                    <a:pt x="16" y="2"/>
                    <a:pt x="16" y="2"/>
                    <a:pt x="16" y="2"/>
                  </a:cubicBezTo>
                  <a:cubicBezTo>
                    <a:pt x="16" y="2"/>
                    <a:pt x="16" y="2"/>
                    <a:pt x="15" y="1"/>
                  </a:cubicBezTo>
                  <a:cubicBezTo>
                    <a:pt x="15" y="1"/>
                    <a:pt x="14" y="1"/>
                    <a:pt x="14" y="1"/>
                  </a:cubicBezTo>
                  <a:cubicBezTo>
                    <a:pt x="13" y="0"/>
                    <a:pt x="13" y="0"/>
                    <a:pt x="12" y="0"/>
                  </a:cubicBezTo>
                  <a:cubicBezTo>
                    <a:pt x="11" y="0"/>
                    <a:pt x="11" y="0"/>
                    <a:pt x="10" y="0"/>
                  </a:cubicBezTo>
                  <a:cubicBezTo>
                    <a:pt x="9" y="0"/>
                    <a:pt x="7" y="0"/>
                    <a:pt x="6" y="1"/>
                  </a:cubicBezTo>
                  <a:cubicBezTo>
                    <a:pt x="5" y="1"/>
                    <a:pt x="4" y="2"/>
                    <a:pt x="3" y="3"/>
                  </a:cubicBezTo>
                  <a:cubicBezTo>
                    <a:pt x="2" y="4"/>
                    <a:pt x="2" y="5"/>
                    <a:pt x="1" y="6"/>
                  </a:cubicBezTo>
                  <a:cubicBezTo>
                    <a:pt x="1" y="8"/>
                    <a:pt x="0" y="10"/>
                    <a:pt x="0" y="12"/>
                  </a:cubicBezTo>
                  <a:cubicBezTo>
                    <a:pt x="0" y="14"/>
                    <a:pt x="1" y="15"/>
                    <a:pt x="1" y="17"/>
                  </a:cubicBezTo>
                  <a:cubicBezTo>
                    <a:pt x="1" y="18"/>
                    <a:pt x="2" y="19"/>
                    <a:pt x="3" y="20"/>
                  </a:cubicBezTo>
                  <a:cubicBezTo>
                    <a:pt x="4" y="21"/>
                    <a:pt x="5" y="22"/>
                    <a:pt x="6" y="22"/>
                  </a:cubicBezTo>
                  <a:cubicBezTo>
                    <a:pt x="7" y="23"/>
                    <a:pt x="8" y="23"/>
                    <a:pt x="10" y="23"/>
                  </a:cubicBezTo>
                  <a:cubicBezTo>
                    <a:pt x="10" y="23"/>
                    <a:pt x="11" y="23"/>
                    <a:pt x="12" y="23"/>
                  </a:cubicBezTo>
                  <a:cubicBezTo>
                    <a:pt x="13" y="23"/>
                    <a:pt x="13" y="23"/>
                    <a:pt x="14" y="22"/>
                  </a:cubicBezTo>
                  <a:cubicBezTo>
                    <a:pt x="14" y="22"/>
                    <a:pt x="15" y="22"/>
                    <a:pt x="15" y="22"/>
                  </a:cubicBezTo>
                  <a:cubicBezTo>
                    <a:pt x="16" y="21"/>
                    <a:pt x="16" y="21"/>
                    <a:pt x="16" y="21"/>
                  </a:cubicBezTo>
                  <a:cubicBezTo>
                    <a:pt x="17" y="21"/>
                    <a:pt x="17" y="20"/>
                    <a:pt x="17" y="20"/>
                  </a:cubicBezTo>
                  <a:cubicBezTo>
                    <a:pt x="17" y="20"/>
                    <a:pt x="17" y="20"/>
                    <a:pt x="17" y="20"/>
                  </a:cubicBezTo>
                  <a:cubicBezTo>
                    <a:pt x="17" y="20"/>
                    <a:pt x="17" y="20"/>
                    <a:pt x="17" y="20"/>
                  </a:cubicBezTo>
                  <a:cubicBezTo>
                    <a:pt x="17" y="19"/>
                    <a:pt x="17" y="19"/>
                    <a:pt x="17" y="19"/>
                  </a:cubicBezTo>
                  <a:cubicBezTo>
                    <a:pt x="17" y="19"/>
                    <a:pt x="17" y="18"/>
                    <a:pt x="17" y="18"/>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51">
              <a:extLst>
                <a:ext uri="{FF2B5EF4-FFF2-40B4-BE49-F238E27FC236}">
                  <a16:creationId xmlns:a16="http://schemas.microsoft.com/office/drawing/2014/main" id="{AAA4652B-BFAB-4B65-A85B-8140D6EC44E3}"/>
                </a:ext>
              </a:extLst>
            </p:cNvPr>
            <p:cNvSpPr>
              <a:spLocks noEditPoints="1"/>
            </p:cNvSpPr>
            <p:nvPr/>
          </p:nvSpPr>
          <p:spPr bwMode="auto">
            <a:xfrm>
              <a:off x="6687657" y="4104998"/>
              <a:ext cx="812361" cy="112547"/>
            </a:xfrm>
            <a:custGeom>
              <a:avLst/>
              <a:gdLst>
                <a:gd name="T0" fmla="*/ 7 w 237"/>
                <a:gd name="T1" fmla="*/ 33 h 33"/>
                <a:gd name="T2" fmla="*/ 0 w 237"/>
                <a:gd name="T3" fmla="*/ 11 h 33"/>
                <a:gd name="T4" fmla="*/ 5 w 237"/>
                <a:gd name="T5" fmla="*/ 5 h 33"/>
                <a:gd name="T6" fmla="*/ 14 w 237"/>
                <a:gd name="T7" fmla="*/ 10 h 33"/>
                <a:gd name="T8" fmla="*/ 8 w 237"/>
                <a:gd name="T9" fmla="*/ 29 h 33"/>
                <a:gd name="T10" fmla="*/ 14 w 237"/>
                <a:gd name="T11" fmla="*/ 30 h 33"/>
                <a:gd name="T12" fmla="*/ 31 w 237"/>
                <a:gd name="T13" fmla="*/ 20 h 33"/>
                <a:gd name="T14" fmla="*/ 34 w 237"/>
                <a:gd name="T15" fmla="*/ 3 h 33"/>
                <a:gd name="T16" fmla="*/ 47 w 237"/>
                <a:gd name="T17" fmla="*/ 12 h 33"/>
                <a:gd name="T18" fmla="*/ 51 w 237"/>
                <a:gd name="T19" fmla="*/ 21 h 33"/>
                <a:gd name="T20" fmla="*/ 54 w 237"/>
                <a:gd name="T21" fmla="*/ 16 h 33"/>
                <a:gd name="T22" fmla="*/ 52 w 237"/>
                <a:gd name="T23" fmla="*/ 27 h 33"/>
                <a:gd name="T24" fmla="*/ 58 w 237"/>
                <a:gd name="T25" fmla="*/ 31 h 33"/>
                <a:gd name="T26" fmla="*/ 52 w 237"/>
                <a:gd name="T27" fmla="*/ 31 h 33"/>
                <a:gd name="T28" fmla="*/ 32 w 237"/>
                <a:gd name="T29" fmla="*/ 31 h 33"/>
                <a:gd name="T30" fmla="*/ 40 w 237"/>
                <a:gd name="T31" fmla="*/ 30 h 33"/>
                <a:gd name="T32" fmla="*/ 38 w 237"/>
                <a:gd name="T33" fmla="*/ 18 h 33"/>
                <a:gd name="T34" fmla="*/ 38 w 237"/>
                <a:gd name="T35" fmla="*/ 12 h 33"/>
                <a:gd name="T36" fmla="*/ 43 w 237"/>
                <a:gd name="T37" fmla="*/ 4 h 33"/>
                <a:gd name="T38" fmla="*/ 94 w 237"/>
                <a:gd name="T39" fmla="*/ 11 h 33"/>
                <a:gd name="T40" fmla="*/ 79 w 237"/>
                <a:gd name="T41" fmla="*/ 33 h 33"/>
                <a:gd name="T42" fmla="*/ 75 w 237"/>
                <a:gd name="T43" fmla="*/ 3 h 33"/>
                <a:gd name="T44" fmla="*/ 94 w 237"/>
                <a:gd name="T45" fmla="*/ 11 h 33"/>
                <a:gd name="T46" fmla="*/ 83 w 237"/>
                <a:gd name="T47" fmla="*/ 18 h 33"/>
                <a:gd name="T48" fmla="*/ 102 w 237"/>
                <a:gd name="T49" fmla="*/ 33 h 33"/>
                <a:gd name="T50" fmla="*/ 100 w 237"/>
                <a:gd name="T51" fmla="*/ 0 h 33"/>
                <a:gd name="T52" fmla="*/ 127 w 237"/>
                <a:gd name="T53" fmla="*/ 32 h 33"/>
                <a:gd name="T54" fmla="*/ 120 w 237"/>
                <a:gd name="T55" fmla="*/ 32 h 33"/>
                <a:gd name="T56" fmla="*/ 115 w 237"/>
                <a:gd name="T57" fmla="*/ 20 h 33"/>
                <a:gd name="T58" fmla="*/ 115 w 237"/>
                <a:gd name="T59" fmla="*/ 13 h 33"/>
                <a:gd name="T60" fmla="*/ 110 w 237"/>
                <a:gd name="T61" fmla="*/ 13 h 33"/>
                <a:gd name="T62" fmla="*/ 126 w 237"/>
                <a:gd name="T63" fmla="*/ 14 h 33"/>
                <a:gd name="T64" fmla="*/ 113 w 237"/>
                <a:gd name="T65" fmla="*/ 26 h 33"/>
                <a:gd name="T66" fmla="*/ 150 w 237"/>
                <a:gd name="T67" fmla="*/ 4 h 33"/>
                <a:gd name="T68" fmla="*/ 160 w 237"/>
                <a:gd name="T69" fmla="*/ 2 h 33"/>
                <a:gd name="T70" fmla="*/ 157 w 237"/>
                <a:gd name="T71" fmla="*/ 3 h 33"/>
                <a:gd name="T72" fmla="*/ 159 w 237"/>
                <a:gd name="T73" fmla="*/ 11 h 33"/>
                <a:gd name="T74" fmla="*/ 153 w 237"/>
                <a:gd name="T75" fmla="*/ 33 h 33"/>
                <a:gd name="T76" fmla="*/ 139 w 237"/>
                <a:gd name="T77" fmla="*/ 14 h 33"/>
                <a:gd name="T78" fmla="*/ 145 w 237"/>
                <a:gd name="T79" fmla="*/ 29 h 33"/>
                <a:gd name="T80" fmla="*/ 142 w 237"/>
                <a:gd name="T81" fmla="*/ 33 h 33"/>
                <a:gd name="T82" fmla="*/ 131 w 237"/>
                <a:gd name="T83" fmla="*/ 13 h 33"/>
                <a:gd name="T84" fmla="*/ 135 w 237"/>
                <a:gd name="T85" fmla="*/ 5 h 33"/>
                <a:gd name="T86" fmla="*/ 139 w 237"/>
                <a:gd name="T87" fmla="*/ 10 h 33"/>
                <a:gd name="T88" fmla="*/ 165 w 237"/>
                <a:gd name="T89" fmla="*/ 30 h 33"/>
                <a:gd name="T90" fmla="*/ 181 w 237"/>
                <a:gd name="T91" fmla="*/ 13 h 33"/>
                <a:gd name="T92" fmla="*/ 170 w 237"/>
                <a:gd name="T93" fmla="*/ 14 h 33"/>
                <a:gd name="T94" fmla="*/ 176 w 237"/>
                <a:gd name="T95" fmla="*/ 29 h 33"/>
                <a:gd name="T96" fmla="*/ 201 w 237"/>
                <a:gd name="T97" fmla="*/ 14 h 33"/>
                <a:gd name="T98" fmla="*/ 193 w 237"/>
                <a:gd name="T99" fmla="*/ 18 h 33"/>
                <a:gd name="T100" fmla="*/ 189 w 237"/>
                <a:gd name="T101" fmla="*/ 32 h 33"/>
                <a:gd name="T102" fmla="*/ 192 w 237"/>
                <a:gd name="T103" fmla="*/ 10 h 33"/>
                <a:gd name="T104" fmla="*/ 199 w 237"/>
                <a:gd name="T105" fmla="*/ 10 h 33"/>
                <a:gd name="T106" fmla="*/ 237 w 237"/>
                <a:gd name="T107" fmla="*/ 32 h 33"/>
                <a:gd name="T108" fmla="*/ 234 w 237"/>
                <a:gd name="T109" fmla="*/ 32 h 33"/>
                <a:gd name="T110" fmla="*/ 224 w 237"/>
                <a:gd name="T111" fmla="*/ 32 h 33"/>
                <a:gd name="T112" fmla="*/ 220 w 237"/>
                <a:gd name="T113" fmla="*/ 32 h 33"/>
                <a:gd name="T114" fmla="*/ 210 w 237"/>
                <a:gd name="T115" fmla="*/ 32 h 33"/>
                <a:gd name="T116" fmla="*/ 206 w 237"/>
                <a:gd name="T117" fmla="*/ 32 h 33"/>
                <a:gd name="T118" fmla="*/ 210 w 237"/>
                <a:gd name="T119" fmla="*/ 11 h 33"/>
                <a:gd name="T120" fmla="*/ 223 w 237"/>
                <a:gd name="T121" fmla="*/ 14 h 33"/>
                <a:gd name="T122" fmla="*/ 237 w 237"/>
                <a:gd name="T123"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33">
                  <a:moveTo>
                    <a:pt x="14" y="31"/>
                  </a:moveTo>
                  <a:cubicBezTo>
                    <a:pt x="14" y="31"/>
                    <a:pt x="14" y="31"/>
                    <a:pt x="14" y="32"/>
                  </a:cubicBezTo>
                  <a:cubicBezTo>
                    <a:pt x="14" y="32"/>
                    <a:pt x="14" y="32"/>
                    <a:pt x="14" y="32"/>
                  </a:cubicBezTo>
                  <a:cubicBezTo>
                    <a:pt x="13" y="32"/>
                    <a:pt x="13" y="32"/>
                    <a:pt x="13" y="33"/>
                  </a:cubicBezTo>
                  <a:cubicBezTo>
                    <a:pt x="13" y="33"/>
                    <a:pt x="12" y="33"/>
                    <a:pt x="12" y="33"/>
                  </a:cubicBezTo>
                  <a:cubicBezTo>
                    <a:pt x="12" y="33"/>
                    <a:pt x="12" y="33"/>
                    <a:pt x="11" y="33"/>
                  </a:cubicBezTo>
                  <a:cubicBezTo>
                    <a:pt x="11" y="33"/>
                    <a:pt x="10" y="33"/>
                    <a:pt x="10" y="33"/>
                  </a:cubicBezTo>
                  <a:cubicBezTo>
                    <a:pt x="9" y="33"/>
                    <a:pt x="8" y="33"/>
                    <a:pt x="7" y="33"/>
                  </a:cubicBezTo>
                  <a:cubicBezTo>
                    <a:pt x="6" y="32"/>
                    <a:pt x="6" y="32"/>
                    <a:pt x="5" y="31"/>
                  </a:cubicBezTo>
                  <a:cubicBezTo>
                    <a:pt x="5" y="31"/>
                    <a:pt x="4" y="30"/>
                    <a:pt x="4" y="29"/>
                  </a:cubicBezTo>
                  <a:cubicBezTo>
                    <a:pt x="4" y="28"/>
                    <a:pt x="4" y="27"/>
                    <a:pt x="4" y="26"/>
                  </a:cubicBezTo>
                  <a:cubicBezTo>
                    <a:pt x="4" y="14"/>
                    <a:pt x="4" y="14"/>
                    <a:pt x="4" y="14"/>
                  </a:cubicBezTo>
                  <a:cubicBezTo>
                    <a:pt x="1" y="14"/>
                    <a:pt x="1" y="14"/>
                    <a:pt x="1" y="14"/>
                  </a:cubicBezTo>
                  <a:cubicBezTo>
                    <a:pt x="1" y="14"/>
                    <a:pt x="1" y="13"/>
                    <a:pt x="0" y="13"/>
                  </a:cubicBezTo>
                  <a:cubicBezTo>
                    <a:pt x="0" y="13"/>
                    <a:pt x="0" y="13"/>
                    <a:pt x="0" y="12"/>
                  </a:cubicBezTo>
                  <a:cubicBezTo>
                    <a:pt x="0" y="12"/>
                    <a:pt x="0" y="11"/>
                    <a:pt x="0" y="11"/>
                  </a:cubicBezTo>
                  <a:cubicBezTo>
                    <a:pt x="0" y="11"/>
                    <a:pt x="0" y="11"/>
                    <a:pt x="0" y="11"/>
                  </a:cubicBezTo>
                  <a:cubicBezTo>
                    <a:pt x="0" y="11"/>
                    <a:pt x="1" y="10"/>
                    <a:pt x="1" y="10"/>
                  </a:cubicBezTo>
                  <a:cubicBezTo>
                    <a:pt x="1" y="10"/>
                    <a:pt x="1" y="10"/>
                    <a:pt x="1" y="10"/>
                  </a:cubicBezTo>
                  <a:cubicBezTo>
                    <a:pt x="4" y="10"/>
                    <a:pt x="4" y="10"/>
                    <a:pt x="4" y="10"/>
                  </a:cubicBezTo>
                  <a:cubicBezTo>
                    <a:pt x="4" y="5"/>
                    <a:pt x="4" y="5"/>
                    <a:pt x="4" y="5"/>
                  </a:cubicBezTo>
                  <a:cubicBezTo>
                    <a:pt x="4" y="5"/>
                    <a:pt x="4" y="5"/>
                    <a:pt x="4" y="5"/>
                  </a:cubicBezTo>
                  <a:cubicBezTo>
                    <a:pt x="4" y="5"/>
                    <a:pt x="4" y="5"/>
                    <a:pt x="4" y="5"/>
                  </a:cubicBezTo>
                  <a:cubicBezTo>
                    <a:pt x="4" y="5"/>
                    <a:pt x="5" y="5"/>
                    <a:pt x="5" y="5"/>
                  </a:cubicBezTo>
                  <a:cubicBezTo>
                    <a:pt x="5" y="5"/>
                    <a:pt x="5" y="5"/>
                    <a:pt x="6" y="5"/>
                  </a:cubicBezTo>
                  <a:cubicBezTo>
                    <a:pt x="6" y="5"/>
                    <a:pt x="7" y="5"/>
                    <a:pt x="7" y="5"/>
                  </a:cubicBezTo>
                  <a:cubicBezTo>
                    <a:pt x="7" y="5"/>
                    <a:pt x="7" y="5"/>
                    <a:pt x="7" y="5"/>
                  </a:cubicBezTo>
                  <a:cubicBezTo>
                    <a:pt x="8" y="5"/>
                    <a:pt x="8" y="5"/>
                    <a:pt x="8" y="5"/>
                  </a:cubicBezTo>
                  <a:cubicBezTo>
                    <a:pt x="8" y="5"/>
                    <a:pt x="8" y="5"/>
                    <a:pt x="8" y="5"/>
                  </a:cubicBezTo>
                  <a:cubicBezTo>
                    <a:pt x="8" y="10"/>
                    <a:pt x="8" y="10"/>
                    <a:pt x="8" y="10"/>
                  </a:cubicBezTo>
                  <a:cubicBezTo>
                    <a:pt x="13" y="10"/>
                    <a:pt x="13" y="10"/>
                    <a:pt x="13" y="10"/>
                  </a:cubicBezTo>
                  <a:cubicBezTo>
                    <a:pt x="13" y="10"/>
                    <a:pt x="13" y="10"/>
                    <a:pt x="14" y="10"/>
                  </a:cubicBezTo>
                  <a:cubicBezTo>
                    <a:pt x="14" y="10"/>
                    <a:pt x="14" y="11"/>
                    <a:pt x="14" y="11"/>
                  </a:cubicBezTo>
                  <a:cubicBezTo>
                    <a:pt x="14" y="11"/>
                    <a:pt x="14" y="11"/>
                    <a:pt x="14" y="11"/>
                  </a:cubicBezTo>
                  <a:cubicBezTo>
                    <a:pt x="14" y="11"/>
                    <a:pt x="14" y="12"/>
                    <a:pt x="14" y="12"/>
                  </a:cubicBezTo>
                  <a:cubicBezTo>
                    <a:pt x="14" y="13"/>
                    <a:pt x="14" y="13"/>
                    <a:pt x="14" y="13"/>
                  </a:cubicBezTo>
                  <a:cubicBezTo>
                    <a:pt x="14" y="13"/>
                    <a:pt x="13" y="14"/>
                    <a:pt x="13" y="14"/>
                  </a:cubicBezTo>
                  <a:cubicBezTo>
                    <a:pt x="8" y="14"/>
                    <a:pt x="8" y="14"/>
                    <a:pt x="8" y="14"/>
                  </a:cubicBezTo>
                  <a:cubicBezTo>
                    <a:pt x="8" y="25"/>
                    <a:pt x="8" y="25"/>
                    <a:pt x="8" y="25"/>
                  </a:cubicBezTo>
                  <a:cubicBezTo>
                    <a:pt x="8" y="27"/>
                    <a:pt x="8" y="28"/>
                    <a:pt x="8" y="29"/>
                  </a:cubicBezTo>
                  <a:cubicBezTo>
                    <a:pt x="9" y="29"/>
                    <a:pt x="10" y="30"/>
                    <a:pt x="11" y="30"/>
                  </a:cubicBezTo>
                  <a:cubicBezTo>
                    <a:pt x="11" y="30"/>
                    <a:pt x="11" y="30"/>
                    <a:pt x="12" y="30"/>
                  </a:cubicBezTo>
                  <a:cubicBezTo>
                    <a:pt x="12" y="30"/>
                    <a:pt x="12" y="29"/>
                    <a:pt x="12" y="29"/>
                  </a:cubicBezTo>
                  <a:cubicBezTo>
                    <a:pt x="13" y="29"/>
                    <a:pt x="13" y="29"/>
                    <a:pt x="13" y="29"/>
                  </a:cubicBezTo>
                  <a:cubicBezTo>
                    <a:pt x="13" y="29"/>
                    <a:pt x="13" y="29"/>
                    <a:pt x="13" y="29"/>
                  </a:cubicBezTo>
                  <a:cubicBezTo>
                    <a:pt x="14" y="29"/>
                    <a:pt x="14" y="29"/>
                    <a:pt x="14" y="29"/>
                  </a:cubicBezTo>
                  <a:cubicBezTo>
                    <a:pt x="14" y="29"/>
                    <a:pt x="14" y="29"/>
                    <a:pt x="14" y="29"/>
                  </a:cubicBezTo>
                  <a:cubicBezTo>
                    <a:pt x="14" y="29"/>
                    <a:pt x="14" y="30"/>
                    <a:pt x="14" y="30"/>
                  </a:cubicBezTo>
                  <a:cubicBezTo>
                    <a:pt x="14" y="30"/>
                    <a:pt x="14" y="30"/>
                    <a:pt x="14" y="31"/>
                  </a:cubicBezTo>
                  <a:close/>
                  <a:moveTo>
                    <a:pt x="16" y="33"/>
                  </a:moveTo>
                  <a:cubicBezTo>
                    <a:pt x="16" y="33"/>
                    <a:pt x="16" y="33"/>
                    <a:pt x="16" y="33"/>
                  </a:cubicBezTo>
                  <a:moveTo>
                    <a:pt x="27" y="2"/>
                  </a:moveTo>
                  <a:cubicBezTo>
                    <a:pt x="27" y="2"/>
                    <a:pt x="27" y="2"/>
                    <a:pt x="27" y="2"/>
                  </a:cubicBezTo>
                  <a:moveTo>
                    <a:pt x="29" y="25"/>
                  </a:moveTo>
                  <a:cubicBezTo>
                    <a:pt x="29" y="24"/>
                    <a:pt x="29" y="23"/>
                    <a:pt x="30" y="22"/>
                  </a:cubicBezTo>
                  <a:cubicBezTo>
                    <a:pt x="30" y="21"/>
                    <a:pt x="30" y="21"/>
                    <a:pt x="31" y="20"/>
                  </a:cubicBezTo>
                  <a:cubicBezTo>
                    <a:pt x="31" y="19"/>
                    <a:pt x="32" y="19"/>
                    <a:pt x="33" y="18"/>
                  </a:cubicBezTo>
                  <a:cubicBezTo>
                    <a:pt x="34" y="17"/>
                    <a:pt x="35" y="16"/>
                    <a:pt x="36" y="16"/>
                  </a:cubicBezTo>
                  <a:cubicBezTo>
                    <a:pt x="35" y="15"/>
                    <a:pt x="35" y="14"/>
                    <a:pt x="34" y="13"/>
                  </a:cubicBezTo>
                  <a:cubicBezTo>
                    <a:pt x="34" y="13"/>
                    <a:pt x="33" y="12"/>
                    <a:pt x="33" y="12"/>
                  </a:cubicBezTo>
                  <a:cubicBezTo>
                    <a:pt x="33" y="11"/>
                    <a:pt x="32" y="10"/>
                    <a:pt x="32" y="10"/>
                  </a:cubicBezTo>
                  <a:cubicBezTo>
                    <a:pt x="32" y="9"/>
                    <a:pt x="32" y="9"/>
                    <a:pt x="32" y="8"/>
                  </a:cubicBezTo>
                  <a:cubicBezTo>
                    <a:pt x="32" y="7"/>
                    <a:pt x="32" y="6"/>
                    <a:pt x="33" y="5"/>
                  </a:cubicBezTo>
                  <a:cubicBezTo>
                    <a:pt x="33" y="5"/>
                    <a:pt x="34" y="4"/>
                    <a:pt x="34" y="3"/>
                  </a:cubicBezTo>
                  <a:cubicBezTo>
                    <a:pt x="35" y="2"/>
                    <a:pt x="36" y="2"/>
                    <a:pt x="37" y="2"/>
                  </a:cubicBezTo>
                  <a:cubicBezTo>
                    <a:pt x="38" y="1"/>
                    <a:pt x="40" y="1"/>
                    <a:pt x="41" y="1"/>
                  </a:cubicBezTo>
                  <a:cubicBezTo>
                    <a:pt x="43" y="1"/>
                    <a:pt x="44" y="1"/>
                    <a:pt x="45" y="1"/>
                  </a:cubicBezTo>
                  <a:cubicBezTo>
                    <a:pt x="46" y="2"/>
                    <a:pt x="47" y="2"/>
                    <a:pt x="47" y="3"/>
                  </a:cubicBezTo>
                  <a:cubicBezTo>
                    <a:pt x="48" y="3"/>
                    <a:pt x="48" y="4"/>
                    <a:pt x="49" y="5"/>
                  </a:cubicBezTo>
                  <a:cubicBezTo>
                    <a:pt x="49" y="5"/>
                    <a:pt x="49" y="6"/>
                    <a:pt x="49" y="7"/>
                  </a:cubicBezTo>
                  <a:cubicBezTo>
                    <a:pt x="49" y="8"/>
                    <a:pt x="49" y="9"/>
                    <a:pt x="49" y="10"/>
                  </a:cubicBezTo>
                  <a:cubicBezTo>
                    <a:pt x="49" y="10"/>
                    <a:pt x="48" y="11"/>
                    <a:pt x="47" y="12"/>
                  </a:cubicBezTo>
                  <a:cubicBezTo>
                    <a:pt x="47" y="13"/>
                    <a:pt x="46" y="13"/>
                    <a:pt x="45" y="14"/>
                  </a:cubicBezTo>
                  <a:cubicBezTo>
                    <a:pt x="44" y="15"/>
                    <a:pt x="43" y="16"/>
                    <a:pt x="41" y="16"/>
                  </a:cubicBezTo>
                  <a:cubicBezTo>
                    <a:pt x="42" y="17"/>
                    <a:pt x="42" y="18"/>
                    <a:pt x="43" y="18"/>
                  </a:cubicBezTo>
                  <a:cubicBezTo>
                    <a:pt x="44" y="19"/>
                    <a:pt x="44" y="20"/>
                    <a:pt x="45" y="20"/>
                  </a:cubicBezTo>
                  <a:cubicBezTo>
                    <a:pt x="46" y="21"/>
                    <a:pt x="46" y="22"/>
                    <a:pt x="47" y="23"/>
                  </a:cubicBezTo>
                  <a:cubicBezTo>
                    <a:pt x="48" y="23"/>
                    <a:pt x="48" y="24"/>
                    <a:pt x="49" y="24"/>
                  </a:cubicBezTo>
                  <a:cubicBezTo>
                    <a:pt x="49" y="24"/>
                    <a:pt x="50" y="24"/>
                    <a:pt x="50" y="23"/>
                  </a:cubicBezTo>
                  <a:cubicBezTo>
                    <a:pt x="50" y="22"/>
                    <a:pt x="50" y="22"/>
                    <a:pt x="51" y="21"/>
                  </a:cubicBezTo>
                  <a:cubicBezTo>
                    <a:pt x="51" y="21"/>
                    <a:pt x="51" y="20"/>
                    <a:pt x="51" y="19"/>
                  </a:cubicBezTo>
                  <a:cubicBezTo>
                    <a:pt x="51" y="19"/>
                    <a:pt x="51" y="18"/>
                    <a:pt x="51" y="18"/>
                  </a:cubicBezTo>
                  <a:cubicBezTo>
                    <a:pt x="51" y="17"/>
                    <a:pt x="51" y="17"/>
                    <a:pt x="51" y="17"/>
                  </a:cubicBezTo>
                  <a:cubicBezTo>
                    <a:pt x="51" y="17"/>
                    <a:pt x="51" y="16"/>
                    <a:pt x="51" y="16"/>
                  </a:cubicBezTo>
                  <a:cubicBezTo>
                    <a:pt x="51" y="16"/>
                    <a:pt x="51" y="16"/>
                    <a:pt x="51" y="16"/>
                  </a:cubicBezTo>
                  <a:cubicBezTo>
                    <a:pt x="52" y="16"/>
                    <a:pt x="52" y="16"/>
                    <a:pt x="52" y="16"/>
                  </a:cubicBezTo>
                  <a:cubicBezTo>
                    <a:pt x="52" y="16"/>
                    <a:pt x="53" y="16"/>
                    <a:pt x="53" y="16"/>
                  </a:cubicBezTo>
                  <a:cubicBezTo>
                    <a:pt x="53" y="16"/>
                    <a:pt x="54" y="16"/>
                    <a:pt x="54" y="16"/>
                  </a:cubicBezTo>
                  <a:cubicBezTo>
                    <a:pt x="54" y="16"/>
                    <a:pt x="54" y="16"/>
                    <a:pt x="54" y="16"/>
                  </a:cubicBezTo>
                  <a:cubicBezTo>
                    <a:pt x="55" y="16"/>
                    <a:pt x="55" y="16"/>
                    <a:pt x="55" y="16"/>
                  </a:cubicBezTo>
                  <a:cubicBezTo>
                    <a:pt x="55" y="16"/>
                    <a:pt x="55" y="17"/>
                    <a:pt x="55" y="17"/>
                  </a:cubicBezTo>
                  <a:cubicBezTo>
                    <a:pt x="55" y="17"/>
                    <a:pt x="55" y="17"/>
                    <a:pt x="55" y="17"/>
                  </a:cubicBezTo>
                  <a:cubicBezTo>
                    <a:pt x="55" y="18"/>
                    <a:pt x="55" y="19"/>
                    <a:pt x="55" y="20"/>
                  </a:cubicBezTo>
                  <a:cubicBezTo>
                    <a:pt x="55" y="21"/>
                    <a:pt x="54" y="22"/>
                    <a:pt x="54" y="22"/>
                  </a:cubicBezTo>
                  <a:cubicBezTo>
                    <a:pt x="54" y="23"/>
                    <a:pt x="53" y="24"/>
                    <a:pt x="53" y="25"/>
                  </a:cubicBezTo>
                  <a:cubicBezTo>
                    <a:pt x="53" y="25"/>
                    <a:pt x="52" y="26"/>
                    <a:pt x="52" y="27"/>
                  </a:cubicBezTo>
                  <a:cubicBezTo>
                    <a:pt x="53" y="27"/>
                    <a:pt x="53" y="28"/>
                    <a:pt x="54" y="28"/>
                  </a:cubicBezTo>
                  <a:cubicBezTo>
                    <a:pt x="54" y="29"/>
                    <a:pt x="55" y="29"/>
                    <a:pt x="55" y="29"/>
                  </a:cubicBezTo>
                  <a:cubicBezTo>
                    <a:pt x="55" y="29"/>
                    <a:pt x="56" y="29"/>
                    <a:pt x="56" y="30"/>
                  </a:cubicBezTo>
                  <a:cubicBezTo>
                    <a:pt x="56" y="30"/>
                    <a:pt x="56" y="30"/>
                    <a:pt x="56" y="30"/>
                  </a:cubicBezTo>
                  <a:cubicBezTo>
                    <a:pt x="57" y="30"/>
                    <a:pt x="57" y="30"/>
                    <a:pt x="57" y="30"/>
                  </a:cubicBezTo>
                  <a:cubicBezTo>
                    <a:pt x="57" y="30"/>
                    <a:pt x="57" y="30"/>
                    <a:pt x="57" y="30"/>
                  </a:cubicBezTo>
                  <a:cubicBezTo>
                    <a:pt x="57" y="30"/>
                    <a:pt x="57" y="30"/>
                    <a:pt x="57" y="30"/>
                  </a:cubicBezTo>
                  <a:cubicBezTo>
                    <a:pt x="58" y="30"/>
                    <a:pt x="58" y="31"/>
                    <a:pt x="58" y="31"/>
                  </a:cubicBezTo>
                  <a:cubicBezTo>
                    <a:pt x="58" y="31"/>
                    <a:pt x="58" y="32"/>
                    <a:pt x="58" y="32"/>
                  </a:cubicBezTo>
                  <a:cubicBezTo>
                    <a:pt x="58" y="32"/>
                    <a:pt x="57" y="32"/>
                    <a:pt x="57" y="32"/>
                  </a:cubicBezTo>
                  <a:cubicBezTo>
                    <a:pt x="57" y="33"/>
                    <a:pt x="57" y="33"/>
                    <a:pt x="57" y="33"/>
                  </a:cubicBezTo>
                  <a:cubicBezTo>
                    <a:pt x="57" y="33"/>
                    <a:pt x="57" y="33"/>
                    <a:pt x="57" y="33"/>
                  </a:cubicBezTo>
                  <a:cubicBezTo>
                    <a:pt x="56" y="33"/>
                    <a:pt x="56" y="33"/>
                    <a:pt x="56" y="33"/>
                  </a:cubicBezTo>
                  <a:cubicBezTo>
                    <a:pt x="55" y="33"/>
                    <a:pt x="55" y="33"/>
                    <a:pt x="55" y="33"/>
                  </a:cubicBezTo>
                  <a:cubicBezTo>
                    <a:pt x="54" y="33"/>
                    <a:pt x="54" y="33"/>
                    <a:pt x="53" y="32"/>
                  </a:cubicBezTo>
                  <a:cubicBezTo>
                    <a:pt x="53" y="32"/>
                    <a:pt x="52" y="32"/>
                    <a:pt x="52" y="31"/>
                  </a:cubicBezTo>
                  <a:cubicBezTo>
                    <a:pt x="51" y="31"/>
                    <a:pt x="50" y="30"/>
                    <a:pt x="49" y="29"/>
                  </a:cubicBezTo>
                  <a:cubicBezTo>
                    <a:pt x="49" y="30"/>
                    <a:pt x="48" y="30"/>
                    <a:pt x="47" y="31"/>
                  </a:cubicBezTo>
                  <a:cubicBezTo>
                    <a:pt x="47" y="31"/>
                    <a:pt x="46" y="32"/>
                    <a:pt x="45" y="32"/>
                  </a:cubicBezTo>
                  <a:cubicBezTo>
                    <a:pt x="44" y="32"/>
                    <a:pt x="43" y="33"/>
                    <a:pt x="42" y="33"/>
                  </a:cubicBezTo>
                  <a:cubicBezTo>
                    <a:pt x="41" y="33"/>
                    <a:pt x="40" y="33"/>
                    <a:pt x="39" y="33"/>
                  </a:cubicBezTo>
                  <a:cubicBezTo>
                    <a:pt x="38" y="33"/>
                    <a:pt x="38" y="33"/>
                    <a:pt x="37" y="33"/>
                  </a:cubicBezTo>
                  <a:cubicBezTo>
                    <a:pt x="36" y="33"/>
                    <a:pt x="35" y="32"/>
                    <a:pt x="34" y="32"/>
                  </a:cubicBezTo>
                  <a:cubicBezTo>
                    <a:pt x="33" y="32"/>
                    <a:pt x="33" y="31"/>
                    <a:pt x="32" y="31"/>
                  </a:cubicBezTo>
                  <a:cubicBezTo>
                    <a:pt x="32" y="30"/>
                    <a:pt x="31" y="30"/>
                    <a:pt x="31" y="29"/>
                  </a:cubicBezTo>
                  <a:cubicBezTo>
                    <a:pt x="30" y="29"/>
                    <a:pt x="30" y="28"/>
                    <a:pt x="30" y="27"/>
                  </a:cubicBezTo>
                  <a:cubicBezTo>
                    <a:pt x="29" y="26"/>
                    <a:pt x="29" y="26"/>
                    <a:pt x="29" y="25"/>
                  </a:cubicBezTo>
                  <a:close/>
                  <a:moveTo>
                    <a:pt x="34" y="24"/>
                  </a:moveTo>
                  <a:cubicBezTo>
                    <a:pt x="34" y="25"/>
                    <a:pt x="34" y="26"/>
                    <a:pt x="34" y="26"/>
                  </a:cubicBezTo>
                  <a:cubicBezTo>
                    <a:pt x="34" y="27"/>
                    <a:pt x="35" y="28"/>
                    <a:pt x="35" y="28"/>
                  </a:cubicBezTo>
                  <a:cubicBezTo>
                    <a:pt x="36" y="29"/>
                    <a:pt x="36" y="29"/>
                    <a:pt x="37" y="29"/>
                  </a:cubicBezTo>
                  <a:cubicBezTo>
                    <a:pt x="38" y="30"/>
                    <a:pt x="39" y="30"/>
                    <a:pt x="40" y="30"/>
                  </a:cubicBezTo>
                  <a:cubicBezTo>
                    <a:pt x="41" y="30"/>
                    <a:pt x="41" y="30"/>
                    <a:pt x="42" y="30"/>
                  </a:cubicBezTo>
                  <a:cubicBezTo>
                    <a:pt x="42" y="29"/>
                    <a:pt x="43" y="29"/>
                    <a:pt x="44" y="29"/>
                  </a:cubicBezTo>
                  <a:cubicBezTo>
                    <a:pt x="44" y="29"/>
                    <a:pt x="45" y="29"/>
                    <a:pt x="45" y="28"/>
                  </a:cubicBezTo>
                  <a:cubicBezTo>
                    <a:pt x="46" y="28"/>
                    <a:pt x="46" y="28"/>
                    <a:pt x="47" y="27"/>
                  </a:cubicBezTo>
                  <a:cubicBezTo>
                    <a:pt x="46" y="26"/>
                    <a:pt x="45" y="26"/>
                    <a:pt x="44" y="25"/>
                  </a:cubicBezTo>
                  <a:cubicBezTo>
                    <a:pt x="43" y="24"/>
                    <a:pt x="42" y="23"/>
                    <a:pt x="42" y="23"/>
                  </a:cubicBezTo>
                  <a:cubicBezTo>
                    <a:pt x="41" y="22"/>
                    <a:pt x="40" y="21"/>
                    <a:pt x="40" y="20"/>
                  </a:cubicBezTo>
                  <a:cubicBezTo>
                    <a:pt x="39" y="20"/>
                    <a:pt x="38" y="19"/>
                    <a:pt x="38" y="18"/>
                  </a:cubicBezTo>
                  <a:cubicBezTo>
                    <a:pt x="37" y="19"/>
                    <a:pt x="36" y="19"/>
                    <a:pt x="36" y="20"/>
                  </a:cubicBezTo>
                  <a:cubicBezTo>
                    <a:pt x="35" y="20"/>
                    <a:pt x="35" y="21"/>
                    <a:pt x="34" y="21"/>
                  </a:cubicBezTo>
                  <a:cubicBezTo>
                    <a:pt x="34" y="22"/>
                    <a:pt x="34" y="22"/>
                    <a:pt x="34" y="23"/>
                  </a:cubicBezTo>
                  <a:cubicBezTo>
                    <a:pt x="34" y="23"/>
                    <a:pt x="34" y="24"/>
                    <a:pt x="34" y="24"/>
                  </a:cubicBezTo>
                  <a:close/>
                  <a:moveTo>
                    <a:pt x="36" y="8"/>
                  </a:moveTo>
                  <a:cubicBezTo>
                    <a:pt x="36" y="8"/>
                    <a:pt x="36" y="9"/>
                    <a:pt x="36" y="9"/>
                  </a:cubicBezTo>
                  <a:cubicBezTo>
                    <a:pt x="37" y="10"/>
                    <a:pt x="37" y="10"/>
                    <a:pt x="37" y="11"/>
                  </a:cubicBezTo>
                  <a:cubicBezTo>
                    <a:pt x="37" y="11"/>
                    <a:pt x="38" y="12"/>
                    <a:pt x="38" y="12"/>
                  </a:cubicBezTo>
                  <a:cubicBezTo>
                    <a:pt x="38" y="13"/>
                    <a:pt x="39" y="13"/>
                    <a:pt x="39" y="14"/>
                  </a:cubicBezTo>
                  <a:cubicBezTo>
                    <a:pt x="40" y="13"/>
                    <a:pt x="41" y="13"/>
                    <a:pt x="42" y="12"/>
                  </a:cubicBezTo>
                  <a:cubicBezTo>
                    <a:pt x="43" y="12"/>
                    <a:pt x="43" y="11"/>
                    <a:pt x="44" y="11"/>
                  </a:cubicBezTo>
                  <a:cubicBezTo>
                    <a:pt x="44" y="10"/>
                    <a:pt x="45" y="10"/>
                    <a:pt x="45" y="9"/>
                  </a:cubicBezTo>
                  <a:cubicBezTo>
                    <a:pt x="45" y="9"/>
                    <a:pt x="45" y="8"/>
                    <a:pt x="45" y="8"/>
                  </a:cubicBezTo>
                  <a:cubicBezTo>
                    <a:pt x="45" y="7"/>
                    <a:pt x="45" y="7"/>
                    <a:pt x="45" y="6"/>
                  </a:cubicBezTo>
                  <a:cubicBezTo>
                    <a:pt x="45" y="6"/>
                    <a:pt x="45" y="5"/>
                    <a:pt x="44" y="5"/>
                  </a:cubicBezTo>
                  <a:cubicBezTo>
                    <a:pt x="44" y="5"/>
                    <a:pt x="43" y="5"/>
                    <a:pt x="43" y="4"/>
                  </a:cubicBezTo>
                  <a:cubicBezTo>
                    <a:pt x="42" y="4"/>
                    <a:pt x="42" y="4"/>
                    <a:pt x="41" y="4"/>
                  </a:cubicBezTo>
                  <a:cubicBezTo>
                    <a:pt x="40" y="4"/>
                    <a:pt x="39" y="4"/>
                    <a:pt x="39" y="4"/>
                  </a:cubicBezTo>
                  <a:cubicBezTo>
                    <a:pt x="38" y="5"/>
                    <a:pt x="38" y="5"/>
                    <a:pt x="37" y="5"/>
                  </a:cubicBezTo>
                  <a:cubicBezTo>
                    <a:pt x="37" y="6"/>
                    <a:pt x="37" y="6"/>
                    <a:pt x="37" y="6"/>
                  </a:cubicBezTo>
                  <a:cubicBezTo>
                    <a:pt x="36" y="7"/>
                    <a:pt x="36" y="7"/>
                    <a:pt x="36" y="8"/>
                  </a:cubicBezTo>
                  <a:close/>
                  <a:moveTo>
                    <a:pt x="60" y="33"/>
                  </a:moveTo>
                  <a:cubicBezTo>
                    <a:pt x="60" y="33"/>
                    <a:pt x="60" y="33"/>
                    <a:pt x="60" y="33"/>
                  </a:cubicBezTo>
                  <a:moveTo>
                    <a:pt x="94" y="11"/>
                  </a:moveTo>
                  <a:cubicBezTo>
                    <a:pt x="94" y="13"/>
                    <a:pt x="93" y="14"/>
                    <a:pt x="93" y="15"/>
                  </a:cubicBezTo>
                  <a:cubicBezTo>
                    <a:pt x="92" y="17"/>
                    <a:pt x="92" y="18"/>
                    <a:pt x="91" y="18"/>
                  </a:cubicBezTo>
                  <a:cubicBezTo>
                    <a:pt x="90" y="19"/>
                    <a:pt x="89" y="20"/>
                    <a:pt x="87" y="20"/>
                  </a:cubicBezTo>
                  <a:cubicBezTo>
                    <a:pt x="86" y="21"/>
                    <a:pt x="84" y="21"/>
                    <a:pt x="82" y="21"/>
                  </a:cubicBezTo>
                  <a:cubicBezTo>
                    <a:pt x="79" y="21"/>
                    <a:pt x="79" y="21"/>
                    <a:pt x="79" y="21"/>
                  </a:cubicBezTo>
                  <a:cubicBezTo>
                    <a:pt x="79" y="32"/>
                    <a:pt x="79" y="32"/>
                    <a:pt x="79" y="32"/>
                  </a:cubicBezTo>
                  <a:cubicBezTo>
                    <a:pt x="79" y="32"/>
                    <a:pt x="79" y="32"/>
                    <a:pt x="79" y="32"/>
                  </a:cubicBezTo>
                  <a:cubicBezTo>
                    <a:pt x="79" y="32"/>
                    <a:pt x="79" y="33"/>
                    <a:pt x="79" y="33"/>
                  </a:cubicBezTo>
                  <a:cubicBezTo>
                    <a:pt x="78" y="33"/>
                    <a:pt x="78" y="33"/>
                    <a:pt x="78" y="33"/>
                  </a:cubicBezTo>
                  <a:cubicBezTo>
                    <a:pt x="78" y="33"/>
                    <a:pt x="77" y="33"/>
                    <a:pt x="77" y="33"/>
                  </a:cubicBezTo>
                  <a:cubicBezTo>
                    <a:pt x="77" y="33"/>
                    <a:pt x="76" y="33"/>
                    <a:pt x="76" y="33"/>
                  </a:cubicBezTo>
                  <a:cubicBezTo>
                    <a:pt x="76" y="33"/>
                    <a:pt x="76" y="33"/>
                    <a:pt x="75" y="33"/>
                  </a:cubicBezTo>
                  <a:cubicBezTo>
                    <a:pt x="75" y="33"/>
                    <a:pt x="75" y="32"/>
                    <a:pt x="75" y="32"/>
                  </a:cubicBezTo>
                  <a:cubicBezTo>
                    <a:pt x="75" y="32"/>
                    <a:pt x="75" y="32"/>
                    <a:pt x="75" y="32"/>
                  </a:cubicBezTo>
                  <a:cubicBezTo>
                    <a:pt x="75" y="4"/>
                    <a:pt x="75" y="4"/>
                    <a:pt x="75" y="4"/>
                  </a:cubicBezTo>
                  <a:cubicBezTo>
                    <a:pt x="75" y="3"/>
                    <a:pt x="75" y="3"/>
                    <a:pt x="75" y="3"/>
                  </a:cubicBezTo>
                  <a:cubicBezTo>
                    <a:pt x="76" y="2"/>
                    <a:pt x="76" y="2"/>
                    <a:pt x="77" y="2"/>
                  </a:cubicBezTo>
                  <a:cubicBezTo>
                    <a:pt x="83" y="2"/>
                    <a:pt x="83" y="2"/>
                    <a:pt x="83" y="2"/>
                  </a:cubicBezTo>
                  <a:cubicBezTo>
                    <a:pt x="84" y="2"/>
                    <a:pt x="84" y="2"/>
                    <a:pt x="85" y="2"/>
                  </a:cubicBezTo>
                  <a:cubicBezTo>
                    <a:pt x="85" y="2"/>
                    <a:pt x="86" y="3"/>
                    <a:pt x="87" y="3"/>
                  </a:cubicBezTo>
                  <a:cubicBezTo>
                    <a:pt x="88" y="3"/>
                    <a:pt x="89" y="3"/>
                    <a:pt x="90" y="4"/>
                  </a:cubicBezTo>
                  <a:cubicBezTo>
                    <a:pt x="90" y="4"/>
                    <a:pt x="91" y="5"/>
                    <a:pt x="92" y="6"/>
                  </a:cubicBezTo>
                  <a:cubicBezTo>
                    <a:pt x="92" y="6"/>
                    <a:pt x="93" y="7"/>
                    <a:pt x="93" y="8"/>
                  </a:cubicBezTo>
                  <a:cubicBezTo>
                    <a:pt x="93" y="9"/>
                    <a:pt x="94" y="10"/>
                    <a:pt x="94" y="11"/>
                  </a:cubicBezTo>
                  <a:close/>
                  <a:moveTo>
                    <a:pt x="89" y="12"/>
                  </a:moveTo>
                  <a:cubicBezTo>
                    <a:pt x="89" y="10"/>
                    <a:pt x="89" y="9"/>
                    <a:pt x="89" y="8"/>
                  </a:cubicBezTo>
                  <a:cubicBezTo>
                    <a:pt x="88" y="8"/>
                    <a:pt x="88" y="7"/>
                    <a:pt x="87" y="7"/>
                  </a:cubicBezTo>
                  <a:cubicBezTo>
                    <a:pt x="86" y="6"/>
                    <a:pt x="86" y="6"/>
                    <a:pt x="85" y="6"/>
                  </a:cubicBezTo>
                  <a:cubicBezTo>
                    <a:pt x="84" y="6"/>
                    <a:pt x="83" y="6"/>
                    <a:pt x="83" y="6"/>
                  </a:cubicBezTo>
                  <a:cubicBezTo>
                    <a:pt x="79" y="6"/>
                    <a:pt x="79" y="6"/>
                    <a:pt x="79" y="6"/>
                  </a:cubicBezTo>
                  <a:cubicBezTo>
                    <a:pt x="79" y="18"/>
                    <a:pt x="79" y="18"/>
                    <a:pt x="79" y="18"/>
                  </a:cubicBezTo>
                  <a:cubicBezTo>
                    <a:pt x="83" y="18"/>
                    <a:pt x="83" y="18"/>
                    <a:pt x="83" y="18"/>
                  </a:cubicBezTo>
                  <a:cubicBezTo>
                    <a:pt x="84" y="18"/>
                    <a:pt x="85" y="18"/>
                    <a:pt x="86" y="17"/>
                  </a:cubicBezTo>
                  <a:cubicBezTo>
                    <a:pt x="86" y="17"/>
                    <a:pt x="87" y="17"/>
                    <a:pt x="88" y="16"/>
                  </a:cubicBezTo>
                  <a:cubicBezTo>
                    <a:pt x="88" y="15"/>
                    <a:pt x="89" y="15"/>
                    <a:pt x="89" y="14"/>
                  </a:cubicBezTo>
                  <a:cubicBezTo>
                    <a:pt x="89" y="13"/>
                    <a:pt x="89" y="12"/>
                    <a:pt x="89" y="12"/>
                  </a:cubicBezTo>
                  <a:close/>
                  <a:moveTo>
                    <a:pt x="103" y="32"/>
                  </a:moveTo>
                  <a:cubicBezTo>
                    <a:pt x="103" y="32"/>
                    <a:pt x="103" y="32"/>
                    <a:pt x="103" y="32"/>
                  </a:cubicBezTo>
                  <a:cubicBezTo>
                    <a:pt x="103" y="32"/>
                    <a:pt x="103" y="33"/>
                    <a:pt x="103" y="33"/>
                  </a:cubicBezTo>
                  <a:cubicBezTo>
                    <a:pt x="103" y="33"/>
                    <a:pt x="103" y="33"/>
                    <a:pt x="102" y="33"/>
                  </a:cubicBezTo>
                  <a:cubicBezTo>
                    <a:pt x="102" y="33"/>
                    <a:pt x="102" y="33"/>
                    <a:pt x="101" y="33"/>
                  </a:cubicBezTo>
                  <a:cubicBezTo>
                    <a:pt x="101" y="33"/>
                    <a:pt x="101" y="33"/>
                    <a:pt x="100" y="33"/>
                  </a:cubicBezTo>
                  <a:cubicBezTo>
                    <a:pt x="100" y="33"/>
                    <a:pt x="100" y="33"/>
                    <a:pt x="100" y="33"/>
                  </a:cubicBezTo>
                  <a:cubicBezTo>
                    <a:pt x="100" y="33"/>
                    <a:pt x="100" y="32"/>
                    <a:pt x="100" y="32"/>
                  </a:cubicBezTo>
                  <a:cubicBezTo>
                    <a:pt x="100" y="32"/>
                    <a:pt x="100" y="32"/>
                    <a:pt x="100" y="32"/>
                  </a:cubicBezTo>
                  <a:cubicBezTo>
                    <a:pt x="100" y="1"/>
                    <a:pt x="100" y="1"/>
                    <a:pt x="100" y="1"/>
                  </a:cubicBezTo>
                  <a:cubicBezTo>
                    <a:pt x="100" y="1"/>
                    <a:pt x="100" y="1"/>
                    <a:pt x="100" y="0"/>
                  </a:cubicBezTo>
                  <a:cubicBezTo>
                    <a:pt x="100" y="0"/>
                    <a:pt x="100" y="0"/>
                    <a:pt x="100" y="0"/>
                  </a:cubicBezTo>
                  <a:cubicBezTo>
                    <a:pt x="100" y="0"/>
                    <a:pt x="100" y="0"/>
                    <a:pt x="100" y="0"/>
                  </a:cubicBezTo>
                  <a:cubicBezTo>
                    <a:pt x="101" y="0"/>
                    <a:pt x="101" y="0"/>
                    <a:pt x="101" y="0"/>
                  </a:cubicBezTo>
                  <a:cubicBezTo>
                    <a:pt x="102" y="0"/>
                    <a:pt x="102" y="0"/>
                    <a:pt x="102" y="0"/>
                  </a:cubicBezTo>
                  <a:cubicBezTo>
                    <a:pt x="103" y="0"/>
                    <a:pt x="103" y="0"/>
                    <a:pt x="103" y="0"/>
                  </a:cubicBezTo>
                  <a:cubicBezTo>
                    <a:pt x="103" y="0"/>
                    <a:pt x="103" y="0"/>
                    <a:pt x="103" y="0"/>
                  </a:cubicBezTo>
                  <a:cubicBezTo>
                    <a:pt x="103" y="1"/>
                    <a:pt x="103" y="1"/>
                    <a:pt x="103" y="1"/>
                  </a:cubicBezTo>
                  <a:lnTo>
                    <a:pt x="103" y="32"/>
                  </a:lnTo>
                  <a:close/>
                  <a:moveTo>
                    <a:pt x="127" y="32"/>
                  </a:moveTo>
                  <a:cubicBezTo>
                    <a:pt x="127" y="32"/>
                    <a:pt x="127" y="32"/>
                    <a:pt x="126" y="32"/>
                  </a:cubicBezTo>
                  <a:cubicBezTo>
                    <a:pt x="126" y="33"/>
                    <a:pt x="126" y="33"/>
                    <a:pt x="126" y="33"/>
                  </a:cubicBezTo>
                  <a:cubicBezTo>
                    <a:pt x="126" y="33"/>
                    <a:pt x="125" y="33"/>
                    <a:pt x="125" y="33"/>
                  </a:cubicBezTo>
                  <a:cubicBezTo>
                    <a:pt x="125" y="33"/>
                    <a:pt x="124" y="33"/>
                    <a:pt x="124" y="33"/>
                  </a:cubicBezTo>
                  <a:cubicBezTo>
                    <a:pt x="124" y="33"/>
                    <a:pt x="124" y="33"/>
                    <a:pt x="123" y="32"/>
                  </a:cubicBezTo>
                  <a:cubicBezTo>
                    <a:pt x="123" y="32"/>
                    <a:pt x="123" y="32"/>
                    <a:pt x="123" y="32"/>
                  </a:cubicBezTo>
                  <a:cubicBezTo>
                    <a:pt x="123" y="30"/>
                    <a:pt x="123" y="30"/>
                    <a:pt x="123" y="30"/>
                  </a:cubicBezTo>
                  <a:cubicBezTo>
                    <a:pt x="122" y="31"/>
                    <a:pt x="121" y="32"/>
                    <a:pt x="120" y="32"/>
                  </a:cubicBezTo>
                  <a:cubicBezTo>
                    <a:pt x="119" y="33"/>
                    <a:pt x="118" y="33"/>
                    <a:pt x="117" y="33"/>
                  </a:cubicBezTo>
                  <a:cubicBezTo>
                    <a:pt x="116" y="33"/>
                    <a:pt x="115" y="33"/>
                    <a:pt x="114" y="33"/>
                  </a:cubicBezTo>
                  <a:cubicBezTo>
                    <a:pt x="113" y="32"/>
                    <a:pt x="112" y="32"/>
                    <a:pt x="111" y="31"/>
                  </a:cubicBezTo>
                  <a:cubicBezTo>
                    <a:pt x="111" y="31"/>
                    <a:pt x="110" y="30"/>
                    <a:pt x="110" y="29"/>
                  </a:cubicBezTo>
                  <a:cubicBezTo>
                    <a:pt x="110" y="29"/>
                    <a:pt x="109" y="28"/>
                    <a:pt x="109" y="27"/>
                  </a:cubicBezTo>
                  <a:cubicBezTo>
                    <a:pt x="109" y="25"/>
                    <a:pt x="110" y="24"/>
                    <a:pt x="110" y="24"/>
                  </a:cubicBezTo>
                  <a:cubicBezTo>
                    <a:pt x="111" y="23"/>
                    <a:pt x="111" y="22"/>
                    <a:pt x="112" y="21"/>
                  </a:cubicBezTo>
                  <a:cubicBezTo>
                    <a:pt x="113" y="21"/>
                    <a:pt x="114" y="20"/>
                    <a:pt x="115" y="20"/>
                  </a:cubicBezTo>
                  <a:cubicBezTo>
                    <a:pt x="117" y="20"/>
                    <a:pt x="118" y="20"/>
                    <a:pt x="120" y="20"/>
                  </a:cubicBezTo>
                  <a:cubicBezTo>
                    <a:pt x="123" y="20"/>
                    <a:pt x="123" y="20"/>
                    <a:pt x="123" y="20"/>
                  </a:cubicBezTo>
                  <a:cubicBezTo>
                    <a:pt x="123" y="18"/>
                    <a:pt x="123" y="18"/>
                    <a:pt x="123" y="18"/>
                  </a:cubicBezTo>
                  <a:cubicBezTo>
                    <a:pt x="123" y="17"/>
                    <a:pt x="123" y="16"/>
                    <a:pt x="123" y="16"/>
                  </a:cubicBezTo>
                  <a:cubicBezTo>
                    <a:pt x="122" y="15"/>
                    <a:pt x="122" y="15"/>
                    <a:pt x="122" y="14"/>
                  </a:cubicBezTo>
                  <a:cubicBezTo>
                    <a:pt x="121" y="14"/>
                    <a:pt x="121" y="14"/>
                    <a:pt x="120" y="13"/>
                  </a:cubicBezTo>
                  <a:cubicBezTo>
                    <a:pt x="120" y="13"/>
                    <a:pt x="119" y="13"/>
                    <a:pt x="118" y="13"/>
                  </a:cubicBezTo>
                  <a:cubicBezTo>
                    <a:pt x="117" y="13"/>
                    <a:pt x="116" y="13"/>
                    <a:pt x="115" y="13"/>
                  </a:cubicBezTo>
                  <a:cubicBezTo>
                    <a:pt x="115" y="14"/>
                    <a:pt x="114" y="14"/>
                    <a:pt x="113" y="14"/>
                  </a:cubicBezTo>
                  <a:cubicBezTo>
                    <a:pt x="113" y="14"/>
                    <a:pt x="112" y="15"/>
                    <a:pt x="112" y="15"/>
                  </a:cubicBezTo>
                  <a:cubicBezTo>
                    <a:pt x="112" y="15"/>
                    <a:pt x="111" y="15"/>
                    <a:pt x="111" y="15"/>
                  </a:cubicBezTo>
                  <a:cubicBezTo>
                    <a:pt x="111" y="15"/>
                    <a:pt x="111" y="15"/>
                    <a:pt x="111" y="15"/>
                  </a:cubicBezTo>
                  <a:cubicBezTo>
                    <a:pt x="111" y="15"/>
                    <a:pt x="111" y="15"/>
                    <a:pt x="111" y="15"/>
                  </a:cubicBezTo>
                  <a:cubicBezTo>
                    <a:pt x="111" y="15"/>
                    <a:pt x="110" y="15"/>
                    <a:pt x="110" y="14"/>
                  </a:cubicBezTo>
                  <a:cubicBezTo>
                    <a:pt x="110" y="14"/>
                    <a:pt x="110" y="14"/>
                    <a:pt x="110" y="14"/>
                  </a:cubicBezTo>
                  <a:cubicBezTo>
                    <a:pt x="110" y="13"/>
                    <a:pt x="110" y="13"/>
                    <a:pt x="110" y="13"/>
                  </a:cubicBezTo>
                  <a:cubicBezTo>
                    <a:pt x="111" y="13"/>
                    <a:pt x="111" y="12"/>
                    <a:pt x="111" y="12"/>
                  </a:cubicBezTo>
                  <a:cubicBezTo>
                    <a:pt x="111" y="12"/>
                    <a:pt x="111" y="12"/>
                    <a:pt x="112" y="11"/>
                  </a:cubicBezTo>
                  <a:cubicBezTo>
                    <a:pt x="112" y="11"/>
                    <a:pt x="113" y="11"/>
                    <a:pt x="114" y="11"/>
                  </a:cubicBezTo>
                  <a:cubicBezTo>
                    <a:pt x="114" y="10"/>
                    <a:pt x="115" y="10"/>
                    <a:pt x="116" y="10"/>
                  </a:cubicBezTo>
                  <a:cubicBezTo>
                    <a:pt x="117" y="10"/>
                    <a:pt x="118" y="10"/>
                    <a:pt x="118" y="10"/>
                  </a:cubicBezTo>
                  <a:cubicBezTo>
                    <a:pt x="120" y="10"/>
                    <a:pt x="121" y="10"/>
                    <a:pt x="122" y="10"/>
                  </a:cubicBezTo>
                  <a:cubicBezTo>
                    <a:pt x="123" y="11"/>
                    <a:pt x="124" y="11"/>
                    <a:pt x="125" y="12"/>
                  </a:cubicBezTo>
                  <a:cubicBezTo>
                    <a:pt x="125" y="13"/>
                    <a:pt x="126" y="13"/>
                    <a:pt x="126" y="14"/>
                  </a:cubicBezTo>
                  <a:cubicBezTo>
                    <a:pt x="127" y="15"/>
                    <a:pt x="127" y="17"/>
                    <a:pt x="127" y="18"/>
                  </a:cubicBezTo>
                  <a:lnTo>
                    <a:pt x="127" y="32"/>
                  </a:lnTo>
                  <a:close/>
                  <a:moveTo>
                    <a:pt x="123" y="22"/>
                  </a:moveTo>
                  <a:cubicBezTo>
                    <a:pt x="120" y="22"/>
                    <a:pt x="120" y="22"/>
                    <a:pt x="120" y="22"/>
                  </a:cubicBezTo>
                  <a:cubicBezTo>
                    <a:pt x="118" y="22"/>
                    <a:pt x="118" y="23"/>
                    <a:pt x="117" y="23"/>
                  </a:cubicBezTo>
                  <a:cubicBezTo>
                    <a:pt x="116" y="23"/>
                    <a:pt x="115" y="23"/>
                    <a:pt x="115" y="24"/>
                  </a:cubicBezTo>
                  <a:cubicBezTo>
                    <a:pt x="114" y="24"/>
                    <a:pt x="114" y="24"/>
                    <a:pt x="114" y="25"/>
                  </a:cubicBezTo>
                  <a:cubicBezTo>
                    <a:pt x="113" y="25"/>
                    <a:pt x="113" y="26"/>
                    <a:pt x="113" y="26"/>
                  </a:cubicBezTo>
                  <a:cubicBezTo>
                    <a:pt x="113" y="28"/>
                    <a:pt x="114" y="28"/>
                    <a:pt x="114" y="29"/>
                  </a:cubicBezTo>
                  <a:cubicBezTo>
                    <a:pt x="115" y="30"/>
                    <a:pt x="116" y="30"/>
                    <a:pt x="117" y="30"/>
                  </a:cubicBezTo>
                  <a:cubicBezTo>
                    <a:pt x="118" y="30"/>
                    <a:pt x="119" y="30"/>
                    <a:pt x="120" y="29"/>
                  </a:cubicBezTo>
                  <a:cubicBezTo>
                    <a:pt x="121" y="29"/>
                    <a:pt x="122" y="28"/>
                    <a:pt x="123" y="27"/>
                  </a:cubicBezTo>
                  <a:lnTo>
                    <a:pt x="123" y="22"/>
                  </a:lnTo>
                  <a:close/>
                  <a:moveTo>
                    <a:pt x="150" y="10"/>
                  </a:moveTo>
                  <a:cubicBezTo>
                    <a:pt x="150" y="8"/>
                    <a:pt x="150" y="8"/>
                    <a:pt x="150" y="8"/>
                  </a:cubicBezTo>
                  <a:cubicBezTo>
                    <a:pt x="150" y="7"/>
                    <a:pt x="150" y="5"/>
                    <a:pt x="150" y="4"/>
                  </a:cubicBezTo>
                  <a:cubicBezTo>
                    <a:pt x="150" y="3"/>
                    <a:pt x="151" y="2"/>
                    <a:pt x="151" y="2"/>
                  </a:cubicBezTo>
                  <a:cubicBezTo>
                    <a:pt x="152" y="1"/>
                    <a:pt x="153" y="1"/>
                    <a:pt x="154" y="0"/>
                  </a:cubicBezTo>
                  <a:cubicBezTo>
                    <a:pt x="154" y="0"/>
                    <a:pt x="155" y="0"/>
                    <a:pt x="157" y="0"/>
                  </a:cubicBezTo>
                  <a:cubicBezTo>
                    <a:pt x="157" y="0"/>
                    <a:pt x="158" y="0"/>
                    <a:pt x="158" y="0"/>
                  </a:cubicBezTo>
                  <a:cubicBezTo>
                    <a:pt x="159" y="0"/>
                    <a:pt x="159" y="0"/>
                    <a:pt x="159" y="0"/>
                  </a:cubicBezTo>
                  <a:cubicBezTo>
                    <a:pt x="160" y="0"/>
                    <a:pt x="160" y="1"/>
                    <a:pt x="160" y="1"/>
                  </a:cubicBezTo>
                  <a:cubicBezTo>
                    <a:pt x="160" y="1"/>
                    <a:pt x="160" y="1"/>
                    <a:pt x="160" y="1"/>
                  </a:cubicBezTo>
                  <a:cubicBezTo>
                    <a:pt x="160" y="1"/>
                    <a:pt x="160" y="1"/>
                    <a:pt x="160" y="2"/>
                  </a:cubicBezTo>
                  <a:cubicBezTo>
                    <a:pt x="160" y="2"/>
                    <a:pt x="160" y="2"/>
                    <a:pt x="160" y="2"/>
                  </a:cubicBezTo>
                  <a:cubicBezTo>
                    <a:pt x="160" y="3"/>
                    <a:pt x="160" y="3"/>
                    <a:pt x="160" y="3"/>
                  </a:cubicBezTo>
                  <a:cubicBezTo>
                    <a:pt x="160" y="3"/>
                    <a:pt x="160" y="3"/>
                    <a:pt x="160" y="3"/>
                  </a:cubicBezTo>
                  <a:cubicBezTo>
                    <a:pt x="160" y="4"/>
                    <a:pt x="160" y="4"/>
                    <a:pt x="160" y="4"/>
                  </a:cubicBezTo>
                  <a:cubicBezTo>
                    <a:pt x="160" y="4"/>
                    <a:pt x="160" y="4"/>
                    <a:pt x="160" y="4"/>
                  </a:cubicBezTo>
                  <a:cubicBezTo>
                    <a:pt x="160" y="4"/>
                    <a:pt x="159" y="4"/>
                    <a:pt x="159" y="4"/>
                  </a:cubicBezTo>
                  <a:cubicBezTo>
                    <a:pt x="159" y="3"/>
                    <a:pt x="158" y="3"/>
                    <a:pt x="158" y="3"/>
                  </a:cubicBezTo>
                  <a:cubicBezTo>
                    <a:pt x="158" y="3"/>
                    <a:pt x="157" y="3"/>
                    <a:pt x="157" y="3"/>
                  </a:cubicBezTo>
                  <a:cubicBezTo>
                    <a:pt x="156" y="3"/>
                    <a:pt x="156" y="3"/>
                    <a:pt x="155" y="3"/>
                  </a:cubicBezTo>
                  <a:cubicBezTo>
                    <a:pt x="155" y="4"/>
                    <a:pt x="155" y="4"/>
                    <a:pt x="154" y="4"/>
                  </a:cubicBezTo>
                  <a:cubicBezTo>
                    <a:pt x="154" y="5"/>
                    <a:pt x="154" y="5"/>
                    <a:pt x="154" y="6"/>
                  </a:cubicBezTo>
                  <a:cubicBezTo>
                    <a:pt x="154" y="6"/>
                    <a:pt x="154" y="7"/>
                    <a:pt x="154" y="8"/>
                  </a:cubicBezTo>
                  <a:cubicBezTo>
                    <a:pt x="154" y="10"/>
                    <a:pt x="154" y="10"/>
                    <a:pt x="154" y="10"/>
                  </a:cubicBezTo>
                  <a:cubicBezTo>
                    <a:pt x="158" y="10"/>
                    <a:pt x="158" y="10"/>
                    <a:pt x="158" y="10"/>
                  </a:cubicBezTo>
                  <a:cubicBezTo>
                    <a:pt x="158" y="10"/>
                    <a:pt x="159" y="10"/>
                    <a:pt x="159" y="10"/>
                  </a:cubicBezTo>
                  <a:cubicBezTo>
                    <a:pt x="159" y="10"/>
                    <a:pt x="159" y="11"/>
                    <a:pt x="159" y="11"/>
                  </a:cubicBezTo>
                  <a:cubicBezTo>
                    <a:pt x="159" y="11"/>
                    <a:pt x="159" y="11"/>
                    <a:pt x="159" y="11"/>
                  </a:cubicBezTo>
                  <a:cubicBezTo>
                    <a:pt x="159" y="11"/>
                    <a:pt x="159" y="12"/>
                    <a:pt x="159" y="12"/>
                  </a:cubicBezTo>
                  <a:cubicBezTo>
                    <a:pt x="159" y="13"/>
                    <a:pt x="159" y="13"/>
                    <a:pt x="159" y="13"/>
                  </a:cubicBezTo>
                  <a:cubicBezTo>
                    <a:pt x="159" y="13"/>
                    <a:pt x="159" y="14"/>
                    <a:pt x="158" y="14"/>
                  </a:cubicBezTo>
                  <a:cubicBezTo>
                    <a:pt x="154" y="14"/>
                    <a:pt x="154" y="14"/>
                    <a:pt x="154" y="14"/>
                  </a:cubicBezTo>
                  <a:cubicBezTo>
                    <a:pt x="154" y="32"/>
                    <a:pt x="154" y="32"/>
                    <a:pt x="154" y="32"/>
                  </a:cubicBezTo>
                  <a:cubicBezTo>
                    <a:pt x="154" y="32"/>
                    <a:pt x="154" y="32"/>
                    <a:pt x="154" y="32"/>
                  </a:cubicBezTo>
                  <a:cubicBezTo>
                    <a:pt x="153" y="32"/>
                    <a:pt x="153" y="33"/>
                    <a:pt x="153" y="33"/>
                  </a:cubicBezTo>
                  <a:cubicBezTo>
                    <a:pt x="153" y="33"/>
                    <a:pt x="153" y="33"/>
                    <a:pt x="153" y="33"/>
                  </a:cubicBezTo>
                  <a:cubicBezTo>
                    <a:pt x="152" y="33"/>
                    <a:pt x="152" y="33"/>
                    <a:pt x="152" y="33"/>
                  </a:cubicBezTo>
                  <a:cubicBezTo>
                    <a:pt x="151" y="33"/>
                    <a:pt x="151" y="33"/>
                    <a:pt x="151" y="33"/>
                  </a:cubicBezTo>
                  <a:cubicBezTo>
                    <a:pt x="151" y="33"/>
                    <a:pt x="150" y="33"/>
                    <a:pt x="150" y="33"/>
                  </a:cubicBezTo>
                  <a:cubicBezTo>
                    <a:pt x="150" y="33"/>
                    <a:pt x="150" y="32"/>
                    <a:pt x="150" y="32"/>
                  </a:cubicBezTo>
                  <a:cubicBezTo>
                    <a:pt x="150" y="32"/>
                    <a:pt x="150" y="32"/>
                    <a:pt x="150" y="32"/>
                  </a:cubicBezTo>
                  <a:cubicBezTo>
                    <a:pt x="150" y="14"/>
                    <a:pt x="150" y="14"/>
                    <a:pt x="150" y="14"/>
                  </a:cubicBezTo>
                  <a:cubicBezTo>
                    <a:pt x="139" y="14"/>
                    <a:pt x="139" y="14"/>
                    <a:pt x="139" y="14"/>
                  </a:cubicBezTo>
                  <a:cubicBezTo>
                    <a:pt x="139" y="25"/>
                    <a:pt x="139" y="25"/>
                    <a:pt x="139" y="25"/>
                  </a:cubicBezTo>
                  <a:cubicBezTo>
                    <a:pt x="139" y="27"/>
                    <a:pt x="139" y="28"/>
                    <a:pt x="139" y="29"/>
                  </a:cubicBezTo>
                  <a:cubicBezTo>
                    <a:pt x="140" y="29"/>
                    <a:pt x="141" y="30"/>
                    <a:pt x="142" y="30"/>
                  </a:cubicBezTo>
                  <a:cubicBezTo>
                    <a:pt x="142" y="30"/>
                    <a:pt x="142" y="30"/>
                    <a:pt x="143" y="30"/>
                  </a:cubicBezTo>
                  <a:cubicBezTo>
                    <a:pt x="143" y="30"/>
                    <a:pt x="143" y="29"/>
                    <a:pt x="143" y="29"/>
                  </a:cubicBezTo>
                  <a:cubicBezTo>
                    <a:pt x="144" y="29"/>
                    <a:pt x="144" y="29"/>
                    <a:pt x="144" y="29"/>
                  </a:cubicBezTo>
                  <a:cubicBezTo>
                    <a:pt x="144" y="29"/>
                    <a:pt x="144" y="29"/>
                    <a:pt x="144" y="29"/>
                  </a:cubicBezTo>
                  <a:cubicBezTo>
                    <a:pt x="145" y="29"/>
                    <a:pt x="145" y="29"/>
                    <a:pt x="145" y="29"/>
                  </a:cubicBezTo>
                  <a:cubicBezTo>
                    <a:pt x="145" y="29"/>
                    <a:pt x="145" y="29"/>
                    <a:pt x="145" y="29"/>
                  </a:cubicBezTo>
                  <a:cubicBezTo>
                    <a:pt x="145" y="29"/>
                    <a:pt x="145" y="30"/>
                    <a:pt x="145" y="30"/>
                  </a:cubicBezTo>
                  <a:cubicBezTo>
                    <a:pt x="145" y="30"/>
                    <a:pt x="145" y="30"/>
                    <a:pt x="145" y="31"/>
                  </a:cubicBezTo>
                  <a:cubicBezTo>
                    <a:pt x="145" y="31"/>
                    <a:pt x="145" y="31"/>
                    <a:pt x="145" y="32"/>
                  </a:cubicBezTo>
                  <a:cubicBezTo>
                    <a:pt x="145" y="32"/>
                    <a:pt x="145" y="32"/>
                    <a:pt x="145" y="32"/>
                  </a:cubicBezTo>
                  <a:cubicBezTo>
                    <a:pt x="144" y="32"/>
                    <a:pt x="144" y="32"/>
                    <a:pt x="144" y="33"/>
                  </a:cubicBezTo>
                  <a:cubicBezTo>
                    <a:pt x="144" y="33"/>
                    <a:pt x="143" y="33"/>
                    <a:pt x="143" y="33"/>
                  </a:cubicBezTo>
                  <a:cubicBezTo>
                    <a:pt x="143" y="33"/>
                    <a:pt x="143" y="33"/>
                    <a:pt x="142" y="33"/>
                  </a:cubicBezTo>
                  <a:cubicBezTo>
                    <a:pt x="142" y="33"/>
                    <a:pt x="141" y="33"/>
                    <a:pt x="141" y="33"/>
                  </a:cubicBezTo>
                  <a:cubicBezTo>
                    <a:pt x="140" y="33"/>
                    <a:pt x="139" y="33"/>
                    <a:pt x="138" y="33"/>
                  </a:cubicBezTo>
                  <a:cubicBezTo>
                    <a:pt x="137" y="32"/>
                    <a:pt x="137" y="32"/>
                    <a:pt x="136" y="31"/>
                  </a:cubicBezTo>
                  <a:cubicBezTo>
                    <a:pt x="136" y="31"/>
                    <a:pt x="135" y="30"/>
                    <a:pt x="135" y="29"/>
                  </a:cubicBezTo>
                  <a:cubicBezTo>
                    <a:pt x="135" y="28"/>
                    <a:pt x="135" y="27"/>
                    <a:pt x="135" y="26"/>
                  </a:cubicBezTo>
                  <a:cubicBezTo>
                    <a:pt x="135" y="14"/>
                    <a:pt x="135" y="14"/>
                    <a:pt x="135" y="14"/>
                  </a:cubicBezTo>
                  <a:cubicBezTo>
                    <a:pt x="132" y="14"/>
                    <a:pt x="132" y="14"/>
                    <a:pt x="132" y="14"/>
                  </a:cubicBezTo>
                  <a:cubicBezTo>
                    <a:pt x="132" y="14"/>
                    <a:pt x="132" y="13"/>
                    <a:pt x="131" y="13"/>
                  </a:cubicBezTo>
                  <a:cubicBezTo>
                    <a:pt x="131" y="13"/>
                    <a:pt x="131" y="13"/>
                    <a:pt x="131" y="12"/>
                  </a:cubicBezTo>
                  <a:cubicBezTo>
                    <a:pt x="131" y="12"/>
                    <a:pt x="131" y="11"/>
                    <a:pt x="131" y="11"/>
                  </a:cubicBezTo>
                  <a:cubicBezTo>
                    <a:pt x="131" y="11"/>
                    <a:pt x="131" y="11"/>
                    <a:pt x="131" y="11"/>
                  </a:cubicBezTo>
                  <a:cubicBezTo>
                    <a:pt x="131" y="11"/>
                    <a:pt x="132" y="10"/>
                    <a:pt x="132" y="10"/>
                  </a:cubicBezTo>
                  <a:cubicBezTo>
                    <a:pt x="132" y="10"/>
                    <a:pt x="132" y="10"/>
                    <a:pt x="132" y="10"/>
                  </a:cubicBezTo>
                  <a:cubicBezTo>
                    <a:pt x="135" y="10"/>
                    <a:pt x="135" y="10"/>
                    <a:pt x="135" y="10"/>
                  </a:cubicBezTo>
                  <a:cubicBezTo>
                    <a:pt x="135" y="5"/>
                    <a:pt x="135" y="5"/>
                    <a:pt x="135" y="5"/>
                  </a:cubicBezTo>
                  <a:cubicBezTo>
                    <a:pt x="135" y="5"/>
                    <a:pt x="135" y="5"/>
                    <a:pt x="135" y="5"/>
                  </a:cubicBezTo>
                  <a:cubicBezTo>
                    <a:pt x="135" y="5"/>
                    <a:pt x="135" y="5"/>
                    <a:pt x="135" y="5"/>
                  </a:cubicBezTo>
                  <a:cubicBezTo>
                    <a:pt x="135" y="5"/>
                    <a:pt x="136" y="5"/>
                    <a:pt x="136" y="5"/>
                  </a:cubicBezTo>
                  <a:cubicBezTo>
                    <a:pt x="136" y="5"/>
                    <a:pt x="136" y="5"/>
                    <a:pt x="137" y="5"/>
                  </a:cubicBezTo>
                  <a:cubicBezTo>
                    <a:pt x="137" y="5"/>
                    <a:pt x="138" y="5"/>
                    <a:pt x="138" y="5"/>
                  </a:cubicBezTo>
                  <a:cubicBezTo>
                    <a:pt x="138" y="5"/>
                    <a:pt x="138" y="5"/>
                    <a:pt x="138" y="5"/>
                  </a:cubicBezTo>
                  <a:cubicBezTo>
                    <a:pt x="139" y="5"/>
                    <a:pt x="139" y="5"/>
                    <a:pt x="139" y="5"/>
                  </a:cubicBezTo>
                  <a:cubicBezTo>
                    <a:pt x="139" y="5"/>
                    <a:pt x="139" y="5"/>
                    <a:pt x="139" y="5"/>
                  </a:cubicBezTo>
                  <a:cubicBezTo>
                    <a:pt x="139" y="10"/>
                    <a:pt x="139" y="10"/>
                    <a:pt x="139" y="10"/>
                  </a:cubicBezTo>
                  <a:lnTo>
                    <a:pt x="150" y="10"/>
                  </a:lnTo>
                  <a:close/>
                  <a:moveTo>
                    <a:pt x="183" y="21"/>
                  </a:moveTo>
                  <a:cubicBezTo>
                    <a:pt x="183" y="23"/>
                    <a:pt x="183" y="25"/>
                    <a:pt x="183" y="26"/>
                  </a:cubicBezTo>
                  <a:cubicBezTo>
                    <a:pt x="182" y="27"/>
                    <a:pt x="181" y="29"/>
                    <a:pt x="181" y="30"/>
                  </a:cubicBezTo>
                  <a:cubicBezTo>
                    <a:pt x="180" y="31"/>
                    <a:pt x="179" y="32"/>
                    <a:pt x="177" y="32"/>
                  </a:cubicBezTo>
                  <a:cubicBezTo>
                    <a:pt x="176" y="33"/>
                    <a:pt x="174" y="33"/>
                    <a:pt x="172" y="33"/>
                  </a:cubicBezTo>
                  <a:cubicBezTo>
                    <a:pt x="171" y="33"/>
                    <a:pt x="169" y="33"/>
                    <a:pt x="168" y="32"/>
                  </a:cubicBezTo>
                  <a:cubicBezTo>
                    <a:pt x="167" y="32"/>
                    <a:pt x="166" y="31"/>
                    <a:pt x="165" y="30"/>
                  </a:cubicBezTo>
                  <a:cubicBezTo>
                    <a:pt x="164" y="29"/>
                    <a:pt x="163" y="28"/>
                    <a:pt x="163" y="26"/>
                  </a:cubicBezTo>
                  <a:cubicBezTo>
                    <a:pt x="162" y="25"/>
                    <a:pt x="162" y="23"/>
                    <a:pt x="162" y="22"/>
                  </a:cubicBezTo>
                  <a:cubicBezTo>
                    <a:pt x="162" y="20"/>
                    <a:pt x="162" y="18"/>
                    <a:pt x="163" y="17"/>
                  </a:cubicBezTo>
                  <a:cubicBezTo>
                    <a:pt x="163" y="16"/>
                    <a:pt x="164" y="14"/>
                    <a:pt x="165" y="13"/>
                  </a:cubicBezTo>
                  <a:cubicBezTo>
                    <a:pt x="166" y="12"/>
                    <a:pt x="167" y="11"/>
                    <a:pt x="168" y="11"/>
                  </a:cubicBezTo>
                  <a:cubicBezTo>
                    <a:pt x="170" y="10"/>
                    <a:pt x="171" y="10"/>
                    <a:pt x="173" y="10"/>
                  </a:cubicBezTo>
                  <a:cubicBezTo>
                    <a:pt x="175" y="10"/>
                    <a:pt x="176" y="10"/>
                    <a:pt x="177" y="11"/>
                  </a:cubicBezTo>
                  <a:cubicBezTo>
                    <a:pt x="179" y="11"/>
                    <a:pt x="180" y="12"/>
                    <a:pt x="181" y="13"/>
                  </a:cubicBezTo>
                  <a:cubicBezTo>
                    <a:pt x="182" y="14"/>
                    <a:pt x="182" y="15"/>
                    <a:pt x="183" y="17"/>
                  </a:cubicBezTo>
                  <a:cubicBezTo>
                    <a:pt x="183" y="18"/>
                    <a:pt x="183" y="20"/>
                    <a:pt x="183" y="21"/>
                  </a:cubicBezTo>
                  <a:close/>
                  <a:moveTo>
                    <a:pt x="179" y="22"/>
                  </a:moveTo>
                  <a:cubicBezTo>
                    <a:pt x="179" y="20"/>
                    <a:pt x="179" y="19"/>
                    <a:pt x="179" y="18"/>
                  </a:cubicBezTo>
                  <a:cubicBezTo>
                    <a:pt x="179" y="17"/>
                    <a:pt x="178" y="16"/>
                    <a:pt x="178" y="16"/>
                  </a:cubicBezTo>
                  <a:cubicBezTo>
                    <a:pt x="177" y="15"/>
                    <a:pt x="177" y="14"/>
                    <a:pt x="176" y="14"/>
                  </a:cubicBezTo>
                  <a:cubicBezTo>
                    <a:pt x="175" y="13"/>
                    <a:pt x="174" y="13"/>
                    <a:pt x="173" y="13"/>
                  </a:cubicBezTo>
                  <a:cubicBezTo>
                    <a:pt x="172" y="13"/>
                    <a:pt x="171" y="13"/>
                    <a:pt x="170" y="14"/>
                  </a:cubicBezTo>
                  <a:cubicBezTo>
                    <a:pt x="169" y="14"/>
                    <a:pt x="168" y="15"/>
                    <a:pt x="168" y="15"/>
                  </a:cubicBezTo>
                  <a:cubicBezTo>
                    <a:pt x="167" y="16"/>
                    <a:pt x="167" y="17"/>
                    <a:pt x="167" y="18"/>
                  </a:cubicBezTo>
                  <a:cubicBezTo>
                    <a:pt x="166" y="19"/>
                    <a:pt x="166" y="20"/>
                    <a:pt x="166" y="21"/>
                  </a:cubicBezTo>
                  <a:cubicBezTo>
                    <a:pt x="166" y="23"/>
                    <a:pt x="166" y="24"/>
                    <a:pt x="166" y="25"/>
                  </a:cubicBezTo>
                  <a:cubicBezTo>
                    <a:pt x="167" y="26"/>
                    <a:pt x="167" y="27"/>
                    <a:pt x="168" y="27"/>
                  </a:cubicBezTo>
                  <a:cubicBezTo>
                    <a:pt x="168" y="28"/>
                    <a:pt x="169" y="29"/>
                    <a:pt x="170" y="29"/>
                  </a:cubicBezTo>
                  <a:cubicBezTo>
                    <a:pt x="170" y="30"/>
                    <a:pt x="171" y="30"/>
                    <a:pt x="173" y="30"/>
                  </a:cubicBezTo>
                  <a:cubicBezTo>
                    <a:pt x="174" y="30"/>
                    <a:pt x="175" y="30"/>
                    <a:pt x="176" y="29"/>
                  </a:cubicBezTo>
                  <a:cubicBezTo>
                    <a:pt x="176" y="29"/>
                    <a:pt x="177" y="28"/>
                    <a:pt x="178" y="28"/>
                  </a:cubicBezTo>
                  <a:cubicBezTo>
                    <a:pt x="178" y="27"/>
                    <a:pt x="179" y="26"/>
                    <a:pt x="179" y="25"/>
                  </a:cubicBezTo>
                  <a:cubicBezTo>
                    <a:pt x="179" y="24"/>
                    <a:pt x="179" y="23"/>
                    <a:pt x="179" y="22"/>
                  </a:cubicBezTo>
                  <a:close/>
                  <a:moveTo>
                    <a:pt x="202" y="12"/>
                  </a:moveTo>
                  <a:cubicBezTo>
                    <a:pt x="202" y="13"/>
                    <a:pt x="202" y="13"/>
                    <a:pt x="201" y="13"/>
                  </a:cubicBezTo>
                  <a:cubicBezTo>
                    <a:pt x="201" y="13"/>
                    <a:pt x="201" y="14"/>
                    <a:pt x="201" y="14"/>
                  </a:cubicBezTo>
                  <a:cubicBezTo>
                    <a:pt x="201" y="14"/>
                    <a:pt x="201" y="14"/>
                    <a:pt x="201" y="14"/>
                  </a:cubicBezTo>
                  <a:cubicBezTo>
                    <a:pt x="201" y="14"/>
                    <a:pt x="201" y="14"/>
                    <a:pt x="201" y="14"/>
                  </a:cubicBezTo>
                  <a:cubicBezTo>
                    <a:pt x="201" y="14"/>
                    <a:pt x="201" y="14"/>
                    <a:pt x="200" y="14"/>
                  </a:cubicBezTo>
                  <a:cubicBezTo>
                    <a:pt x="200" y="14"/>
                    <a:pt x="200" y="14"/>
                    <a:pt x="200" y="14"/>
                  </a:cubicBezTo>
                  <a:cubicBezTo>
                    <a:pt x="200" y="14"/>
                    <a:pt x="199" y="14"/>
                    <a:pt x="199" y="14"/>
                  </a:cubicBezTo>
                  <a:cubicBezTo>
                    <a:pt x="199" y="14"/>
                    <a:pt x="199" y="14"/>
                    <a:pt x="198" y="14"/>
                  </a:cubicBezTo>
                  <a:cubicBezTo>
                    <a:pt x="198" y="14"/>
                    <a:pt x="197" y="14"/>
                    <a:pt x="197" y="14"/>
                  </a:cubicBezTo>
                  <a:cubicBezTo>
                    <a:pt x="197" y="14"/>
                    <a:pt x="196" y="14"/>
                    <a:pt x="196" y="15"/>
                  </a:cubicBezTo>
                  <a:cubicBezTo>
                    <a:pt x="195" y="15"/>
                    <a:pt x="195" y="15"/>
                    <a:pt x="195" y="16"/>
                  </a:cubicBezTo>
                  <a:cubicBezTo>
                    <a:pt x="194" y="17"/>
                    <a:pt x="194" y="17"/>
                    <a:pt x="193" y="18"/>
                  </a:cubicBezTo>
                  <a:cubicBezTo>
                    <a:pt x="193" y="32"/>
                    <a:pt x="193" y="32"/>
                    <a:pt x="193" y="32"/>
                  </a:cubicBezTo>
                  <a:cubicBezTo>
                    <a:pt x="193" y="32"/>
                    <a:pt x="193" y="32"/>
                    <a:pt x="193" y="32"/>
                  </a:cubicBezTo>
                  <a:cubicBezTo>
                    <a:pt x="193" y="32"/>
                    <a:pt x="193" y="33"/>
                    <a:pt x="193" y="33"/>
                  </a:cubicBezTo>
                  <a:cubicBezTo>
                    <a:pt x="193" y="33"/>
                    <a:pt x="192" y="33"/>
                    <a:pt x="192" y="33"/>
                  </a:cubicBezTo>
                  <a:cubicBezTo>
                    <a:pt x="192" y="33"/>
                    <a:pt x="191" y="33"/>
                    <a:pt x="191" y="33"/>
                  </a:cubicBezTo>
                  <a:cubicBezTo>
                    <a:pt x="191" y="33"/>
                    <a:pt x="190" y="33"/>
                    <a:pt x="190" y="33"/>
                  </a:cubicBezTo>
                  <a:cubicBezTo>
                    <a:pt x="190" y="33"/>
                    <a:pt x="190" y="33"/>
                    <a:pt x="190" y="33"/>
                  </a:cubicBezTo>
                  <a:cubicBezTo>
                    <a:pt x="189" y="33"/>
                    <a:pt x="189" y="32"/>
                    <a:pt x="189" y="32"/>
                  </a:cubicBezTo>
                  <a:cubicBezTo>
                    <a:pt x="189" y="32"/>
                    <a:pt x="189" y="32"/>
                    <a:pt x="189" y="32"/>
                  </a:cubicBezTo>
                  <a:cubicBezTo>
                    <a:pt x="189" y="11"/>
                    <a:pt x="189" y="11"/>
                    <a:pt x="189" y="11"/>
                  </a:cubicBezTo>
                  <a:cubicBezTo>
                    <a:pt x="189" y="11"/>
                    <a:pt x="189" y="11"/>
                    <a:pt x="189" y="11"/>
                  </a:cubicBezTo>
                  <a:cubicBezTo>
                    <a:pt x="189" y="11"/>
                    <a:pt x="189" y="10"/>
                    <a:pt x="190" y="10"/>
                  </a:cubicBezTo>
                  <a:cubicBezTo>
                    <a:pt x="190" y="10"/>
                    <a:pt x="190" y="10"/>
                    <a:pt x="190" y="10"/>
                  </a:cubicBezTo>
                  <a:cubicBezTo>
                    <a:pt x="190" y="10"/>
                    <a:pt x="191" y="10"/>
                    <a:pt x="191" y="10"/>
                  </a:cubicBezTo>
                  <a:cubicBezTo>
                    <a:pt x="191" y="10"/>
                    <a:pt x="192" y="10"/>
                    <a:pt x="192" y="10"/>
                  </a:cubicBezTo>
                  <a:cubicBezTo>
                    <a:pt x="192" y="10"/>
                    <a:pt x="192" y="10"/>
                    <a:pt x="192" y="10"/>
                  </a:cubicBezTo>
                  <a:cubicBezTo>
                    <a:pt x="192" y="10"/>
                    <a:pt x="193" y="11"/>
                    <a:pt x="193" y="11"/>
                  </a:cubicBezTo>
                  <a:cubicBezTo>
                    <a:pt x="193" y="11"/>
                    <a:pt x="193" y="11"/>
                    <a:pt x="193" y="11"/>
                  </a:cubicBezTo>
                  <a:cubicBezTo>
                    <a:pt x="193" y="14"/>
                    <a:pt x="193" y="14"/>
                    <a:pt x="193" y="14"/>
                  </a:cubicBezTo>
                  <a:cubicBezTo>
                    <a:pt x="193" y="13"/>
                    <a:pt x="194" y="12"/>
                    <a:pt x="194" y="12"/>
                  </a:cubicBezTo>
                  <a:cubicBezTo>
                    <a:pt x="195" y="11"/>
                    <a:pt x="195" y="11"/>
                    <a:pt x="196" y="11"/>
                  </a:cubicBezTo>
                  <a:cubicBezTo>
                    <a:pt x="196" y="10"/>
                    <a:pt x="197" y="10"/>
                    <a:pt x="197" y="10"/>
                  </a:cubicBezTo>
                  <a:cubicBezTo>
                    <a:pt x="198" y="10"/>
                    <a:pt x="198" y="10"/>
                    <a:pt x="198" y="10"/>
                  </a:cubicBezTo>
                  <a:cubicBezTo>
                    <a:pt x="199" y="10"/>
                    <a:pt x="199" y="10"/>
                    <a:pt x="199" y="10"/>
                  </a:cubicBezTo>
                  <a:cubicBezTo>
                    <a:pt x="199" y="10"/>
                    <a:pt x="200" y="10"/>
                    <a:pt x="200" y="10"/>
                  </a:cubicBezTo>
                  <a:cubicBezTo>
                    <a:pt x="200" y="10"/>
                    <a:pt x="200" y="10"/>
                    <a:pt x="201" y="10"/>
                  </a:cubicBezTo>
                  <a:cubicBezTo>
                    <a:pt x="201" y="10"/>
                    <a:pt x="201" y="10"/>
                    <a:pt x="201" y="11"/>
                  </a:cubicBezTo>
                  <a:cubicBezTo>
                    <a:pt x="201" y="11"/>
                    <a:pt x="201" y="11"/>
                    <a:pt x="201" y="11"/>
                  </a:cubicBezTo>
                  <a:cubicBezTo>
                    <a:pt x="201" y="11"/>
                    <a:pt x="201" y="11"/>
                    <a:pt x="201" y="11"/>
                  </a:cubicBezTo>
                  <a:cubicBezTo>
                    <a:pt x="201" y="11"/>
                    <a:pt x="201" y="11"/>
                    <a:pt x="202" y="11"/>
                  </a:cubicBezTo>
                  <a:cubicBezTo>
                    <a:pt x="202" y="12"/>
                    <a:pt x="202" y="12"/>
                    <a:pt x="202" y="12"/>
                  </a:cubicBezTo>
                  <a:close/>
                  <a:moveTo>
                    <a:pt x="237" y="32"/>
                  </a:moveTo>
                  <a:cubicBezTo>
                    <a:pt x="237" y="32"/>
                    <a:pt x="237" y="32"/>
                    <a:pt x="237" y="32"/>
                  </a:cubicBezTo>
                  <a:cubicBezTo>
                    <a:pt x="237" y="32"/>
                    <a:pt x="237" y="33"/>
                    <a:pt x="237" y="33"/>
                  </a:cubicBezTo>
                  <a:cubicBezTo>
                    <a:pt x="237" y="33"/>
                    <a:pt x="237" y="33"/>
                    <a:pt x="236" y="33"/>
                  </a:cubicBezTo>
                  <a:cubicBezTo>
                    <a:pt x="236" y="33"/>
                    <a:pt x="236" y="33"/>
                    <a:pt x="236" y="33"/>
                  </a:cubicBezTo>
                  <a:cubicBezTo>
                    <a:pt x="235" y="33"/>
                    <a:pt x="235" y="33"/>
                    <a:pt x="235" y="33"/>
                  </a:cubicBezTo>
                  <a:cubicBezTo>
                    <a:pt x="234" y="33"/>
                    <a:pt x="234" y="33"/>
                    <a:pt x="234" y="33"/>
                  </a:cubicBezTo>
                  <a:cubicBezTo>
                    <a:pt x="234" y="33"/>
                    <a:pt x="234" y="32"/>
                    <a:pt x="234" y="32"/>
                  </a:cubicBezTo>
                  <a:cubicBezTo>
                    <a:pt x="234" y="32"/>
                    <a:pt x="234" y="32"/>
                    <a:pt x="234" y="32"/>
                  </a:cubicBezTo>
                  <a:cubicBezTo>
                    <a:pt x="234" y="19"/>
                    <a:pt x="234" y="19"/>
                    <a:pt x="234" y="19"/>
                  </a:cubicBezTo>
                  <a:cubicBezTo>
                    <a:pt x="234" y="18"/>
                    <a:pt x="233" y="18"/>
                    <a:pt x="233" y="17"/>
                  </a:cubicBezTo>
                  <a:cubicBezTo>
                    <a:pt x="233" y="16"/>
                    <a:pt x="233" y="15"/>
                    <a:pt x="233" y="15"/>
                  </a:cubicBezTo>
                  <a:cubicBezTo>
                    <a:pt x="232" y="14"/>
                    <a:pt x="232" y="14"/>
                    <a:pt x="231" y="14"/>
                  </a:cubicBezTo>
                  <a:cubicBezTo>
                    <a:pt x="231" y="13"/>
                    <a:pt x="230" y="13"/>
                    <a:pt x="229" y="13"/>
                  </a:cubicBezTo>
                  <a:cubicBezTo>
                    <a:pt x="228" y="13"/>
                    <a:pt x="228" y="14"/>
                    <a:pt x="227" y="14"/>
                  </a:cubicBezTo>
                  <a:cubicBezTo>
                    <a:pt x="226" y="15"/>
                    <a:pt x="225" y="16"/>
                    <a:pt x="224" y="17"/>
                  </a:cubicBezTo>
                  <a:cubicBezTo>
                    <a:pt x="224" y="32"/>
                    <a:pt x="224" y="32"/>
                    <a:pt x="224" y="32"/>
                  </a:cubicBezTo>
                  <a:cubicBezTo>
                    <a:pt x="224" y="32"/>
                    <a:pt x="224" y="32"/>
                    <a:pt x="224" y="32"/>
                  </a:cubicBezTo>
                  <a:cubicBezTo>
                    <a:pt x="224" y="32"/>
                    <a:pt x="223" y="33"/>
                    <a:pt x="223" y="33"/>
                  </a:cubicBezTo>
                  <a:cubicBezTo>
                    <a:pt x="223" y="33"/>
                    <a:pt x="223" y="33"/>
                    <a:pt x="223" y="33"/>
                  </a:cubicBezTo>
                  <a:cubicBezTo>
                    <a:pt x="222" y="33"/>
                    <a:pt x="222" y="33"/>
                    <a:pt x="222" y="33"/>
                  </a:cubicBezTo>
                  <a:cubicBezTo>
                    <a:pt x="221" y="33"/>
                    <a:pt x="221" y="33"/>
                    <a:pt x="221" y="33"/>
                  </a:cubicBezTo>
                  <a:cubicBezTo>
                    <a:pt x="221" y="33"/>
                    <a:pt x="220" y="33"/>
                    <a:pt x="220" y="33"/>
                  </a:cubicBezTo>
                  <a:cubicBezTo>
                    <a:pt x="220" y="33"/>
                    <a:pt x="220" y="32"/>
                    <a:pt x="220" y="32"/>
                  </a:cubicBezTo>
                  <a:cubicBezTo>
                    <a:pt x="220" y="32"/>
                    <a:pt x="220" y="32"/>
                    <a:pt x="220" y="32"/>
                  </a:cubicBezTo>
                  <a:cubicBezTo>
                    <a:pt x="220" y="19"/>
                    <a:pt x="220" y="19"/>
                    <a:pt x="220" y="19"/>
                  </a:cubicBezTo>
                  <a:cubicBezTo>
                    <a:pt x="220" y="18"/>
                    <a:pt x="220" y="18"/>
                    <a:pt x="220" y="17"/>
                  </a:cubicBezTo>
                  <a:cubicBezTo>
                    <a:pt x="219" y="16"/>
                    <a:pt x="219" y="15"/>
                    <a:pt x="219" y="15"/>
                  </a:cubicBezTo>
                  <a:cubicBezTo>
                    <a:pt x="218" y="14"/>
                    <a:pt x="218" y="14"/>
                    <a:pt x="218" y="14"/>
                  </a:cubicBezTo>
                  <a:cubicBezTo>
                    <a:pt x="217" y="13"/>
                    <a:pt x="216" y="13"/>
                    <a:pt x="216" y="13"/>
                  </a:cubicBezTo>
                  <a:cubicBezTo>
                    <a:pt x="215" y="13"/>
                    <a:pt x="214" y="14"/>
                    <a:pt x="213" y="14"/>
                  </a:cubicBezTo>
                  <a:cubicBezTo>
                    <a:pt x="212" y="15"/>
                    <a:pt x="211" y="16"/>
                    <a:pt x="210" y="17"/>
                  </a:cubicBezTo>
                  <a:cubicBezTo>
                    <a:pt x="210" y="32"/>
                    <a:pt x="210" y="32"/>
                    <a:pt x="210" y="32"/>
                  </a:cubicBezTo>
                  <a:cubicBezTo>
                    <a:pt x="210" y="32"/>
                    <a:pt x="210" y="32"/>
                    <a:pt x="210" y="32"/>
                  </a:cubicBezTo>
                  <a:cubicBezTo>
                    <a:pt x="210" y="32"/>
                    <a:pt x="210" y="33"/>
                    <a:pt x="210" y="33"/>
                  </a:cubicBezTo>
                  <a:cubicBezTo>
                    <a:pt x="209" y="33"/>
                    <a:pt x="209" y="33"/>
                    <a:pt x="209" y="33"/>
                  </a:cubicBezTo>
                  <a:cubicBezTo>
                    <a:pt x="209" y="33"/>
                    <a:pt x="208" y="33"/>
                    <a:pt x="208" y="33"/>
                  </a:cubicBezTo>
                  <a:cubicBezTo>
                    <a:pt x="208" y="33"/>
                    <a:pt x="207" y="33"/>
                    <a:pt x="207" y="33"/>
                  </a:cubicBezTo>
                  <a:cubicBezTo>
                    <a:pt x="207" y="33"/>
                    <a:pt x="207" y="33"/>
                    <a:pt x="207" y="33"/>
                  </a:cubicBezTo>
                  <a:cubicBezTo>
                    <a:pt x="206" y="33"/>
                    <a:pt x="206" y="32"/>
                    <a:pt x="206" y="32"/>
                  </a:cubicBezTo>
                  <a:cubicBezTo>
                    <a:pt x="206" y="32"/>
                    <a:pt x="206" y="32"/>
                    <a:pt x="206" y="32"/>
                  </a:cubicBezTo>
                  <a:cubicBezTo>
                    <a:pt x="206" y="11"/>
                    <a:pt x="206" y="11"/>
                    <a:pt x="206" y="11"/>
                  </a:cubicBezTo>
                  <a:cubicBezTo>
                    <a:pt x="206" y="11"/>
                    <a:pt x="206" y="11"/>
                    <a:pt x="206" y="11"/>
                  </a:cubicBezTo>
                  <a:cubicBezTo>
                    <a:pt x="206" y="11"/>
                    <a:pt x="206" y="10"/>
                    <a:pt x="207" y="10"/>
                  </a:cubicBezTo>
                  <a:cubicBezTo>
                    <a:pt x="207" y="10"/>
                    <a:pt x="207" y="10"/>
                    <a:pt x="207" y="10"/>
                  </a:cubicBezTo>
                  <a:cubicBezTo>
                    <a:pt x="207" y="10"/>
                    <a:pt x="208" y="10"/>
                    <a:pt x="208" y="10"/>
                  </a:cubicBezTo>
                  <a:cubicBezTo>
                    <a:pt x="208" y="10"/>
                    <a:pt x="209" y="10"/>
                    <a:pt x="209" y="10"/>
                  </a:cubicBezTo>
                  <a:cubicBezTo>
                    <a:pt x="209" y="10"/>
                    <a:pt x="209" y="10"/>
                    <a:pt x="209" y="10"/>
                  </a:cubicBezTo>
                  <a:cubicBezTo>
                    <a:pt x="209" y="10"/>
                    <a:pt x="210" y="11"/>
                    <a:pt x="210" y="11"/>
                  </a:cubicBezTo>
                  <a:cubicBezTo>
                    <a:pt x="210" y="11"/>
                    <a:pt x="210" y="11"/>
                    <a:pt x="210" y="11"/>
                  </a:cubicBezTo>
                  <a:cubicBezTo>
                    <a:pt x="210" y="14"/>
                    <a:pt x="210" y="14"/>
                    <a:pt x="210" y="14"/>
                  </a:cubicBezTo>
                  <a:cubicBezTo>
                    <a:pt x="211" y="12"/>
                    <a:pt x="212" y="11"/>
                    <a:pt x="213" y="11"/>
                  </a:cubicBezTo>
                  <a:cubicBezTo>
                    <a:pt x="214" y="10"/>
                    <a:pt x="215" y="10"/>
                    <a:pt x="216" y="10"/>
                  </a:cubicBezTo>
                  <a:cubicBezTo>
                    <a:pt x="217" y="10"/>
                    <a:pt x="218" y="10"/>
                    <a:pt x="219" y="10"/>
                  </a:cubicBezTo>
                  <a:cubicBezTo>
                    <a:pt x="220" y="10"/>
                    <a:pt x="220" y="11"/>
                    <a:pt x="221" y="11"/>
                  </a:cubicBezTo>
                  <a:cubicBezTo>
                    <a:pt x="221" y="11"/>
                    <a:pt x="222" y="12"/>
                    <a:pt x="222" y="12"/>
                  </a:cubicBezTo>
                  <a:cubicBezTo>
                    <a:pt x="222" y="13"/>
                    <a:pt x="223" y="13"/>
                    <a:pt x="223" y="14"/>
                  </a:cubicBezTo>
                  <a:cubicBezTo>
                    <a:pt x="224" y="13"/>
                    <a:pt x="224" y="13"/>
                    <a:pt x="225" y="12"/>
                  </a:cubicBezTo>
                  <a:cubicBezTo>
                    <a:pt x="226" y="12"/>
                    <a:pt x="226" y="11"/>
                    <a:pt x="227" y="11"/>
                  </a:cubicBezTo>
                  <a:cubicBezTo>
                    <a:pt x="227" y="11"/>
                    <a:pt x="228" y="10"/>
                    <a:pt x="229" y="10"/>
                  </a:cubicBezTo>
                  <a:cubicBezTo>
                    <a:pt x="229" y="10"/>
                    <a:pt x="230" y="10"/>
                    <a:pt x="230" y="10"/>
                  </a:cubicBezTo>
                  <a:cubicBezTo>
                    <a:pt x="232" y="10"/>
                    <a:pt x="233" y="10"/>
                    <a:pt x="234" y="11"/>
                  </a:cubicBezTo>
                  <a:cubicBezTo>
                    <a:pt x="235" y="11"/>
                    <a:pt x="235" y="12"/>
                    <a:pt x="236" y="13"/>
                  </a:cubicBezTo>
                  <a:cubicBezTo>
                    <a:pt x="236" y="13"/>
                    <a:pt x="237" y="14"/>
                    <a:pt x="237" y="15"/>
                  </a:cubicBezTo>
                  <a:cubicBezTo>
                    <a:pt x="237" y="16"/>
                    <a:pt x="237" y="18"/>
                    <a:pt x="237" y="19"/>
                  </a:cubicBezTo>
                  <a:lnTo>
                    <a:pt x="237" y="32"/>
                  </a:ln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52">
              <a:extLst>
                <a:ext uri="{FF2B5EF4-FFF2-40B4-BE49-F238E27FC236}">
                  <a16:creationId xmlns:a16="http://schemas.microsoft.com/office/drawing/2014/main" id="{30EB1B08-8B0F-4587-A83A-36B9A5F09FDD}"/>
                </a:ext>
              </a:extLst>
            </p:cNvPr>
            <p:cNvSpPr>
              <a:spLocks/>
            </p:cNvSpPr>
            <p:nvPr/>
          </p:nvSpPr>
          <p:spPr bwMode="auto">
            <a:xfrm>
              <a:off x="7560620" y="4110770"/>
              <a:ext cx="59160" cy="106776"/>
            </a:xfrm>
            <a:custGeom>
              <a:avLst/>
              <a:gdLst>
                <a:gd name="T0" fmla="*/ 17 w 17"/>
                <a:gd name="T1" fmla="*/ 28 h 31"/>
                <a:gd name="T2" fmla="*/ 17 w 17"/>
                <a:gd name="T3" fmla="*/ 28 h 31"/>
                <a:gd name="T4" fmla="*/ 17 w 17"/>
                <a:gd name="T5" fmla="*/ 27 h 31"/>
                <a:gd name="T6" fmla="*/ 16 w 17"/>
                <a:gd name="T7" fmla="*/ 27 h 31"/>
                <a:gd name="T8" fmla="*/ 4 w 17"/>
                <a:gd name="T9" fmla="*/ 27 h 31"/>
                <a:gd name="T10" fmla="*/ 4 w 17"/>
                <a:gd name="T11" fmla="*/ 16 h 31"/>
                <a:gd name="T12" fmla="*/ 14 w 17"/>
                <a:gd name="T13" fmla="*/ 16 h 31"/>
                <a:gd name="T14" fmla="*/ 15 w 17"/>
                <a:gd name="T15" fmla="*/ 16 h 31"/>
                <a:gd name="T16" fmla="*/ 15 w 17"/>
                <a:gd name="T17" fmla="*/ 16 h 31"/>
                <a:gd name="T18" fmla="*/ 15 w 17"/>
                <a:gd name="T19" fmla="*/ 16 h 31"/>
                <a:gd name="T20" fmla="*/ 15 w 17"/>
                <a:gd name="T21" fmla="*/ 15 h 31"/>
                <a:gd name="T22" fmla="*/ 15 w 17"/>
                <a:gd name="T23" fmla="*/ 14 h 31"/>
                <a:gd name="T24" fmla="*/ 15 w 17"/>
                <a:gd name="T25" fmla="*/ 14 h 31"/>
                <a:gd name="T26" fmla="*/ 15 w 17"/>
                <a:gd name="T27" fmla="*/ 13 h 31"/>
                <a:gd name="T28" fmla="*/ 14 w 17"/>
                <a:gd name="T29" fmla="*/ 13 h 31"/>
                <a:gd name="T30" fmla="*/ 4 w 17"/>
                <a:gd name="T31" fmla="*/ 13 h 31"/>
                <a:gd name="T32" fmla="*/ 4 w 17"/>
                <a:gd name="T33" fmla="*/ 4 h 31"/>
                <a:gd name="T34" fmla="*/ 16 w 17"/>
                <a:gd name="T35" fmla="*/ 4 h 31"/>
                <a:gd name="T36" fmla="*/ 16 w 17"/>
                <a:gd name="T37" fmla="*/ 4 h 31"/>
                <a:gd name="T38" fmla="*/ 17 w 17"/>
                <a:gd name="T39" fmla="*/ 3 h 31"/>
                <a:gd name="T40" fmla="*/ 17 w 17"/>
                <a:gd name="T41" fmla="*/ 3 h 31"/>
                <a:gd name="T42" fmla="*/ 17 w 17"/>
                <a:gd name="T43" fmla="*/ 2 h 31"/>
                <a:gd name="T44" fmla="*/ 17 w 17"/>
                <a:gd name="T45" fmla="*/ 1 h 31"/>
                <a:gd name="T46" fmla="*/ 17 w 17"/>
                <a:gd name="T47" fmla="*/ 1 h 31"/>
                <a:gd name="T48" fmla="*/ 16 w 17"/>
                <a:gd name="T49" fmla="*/ 0 h 31"/>
                <a:gd name="T50" fmla="*/ 16 w 17"/>
                <a:gd name="T51" fmla="*/ 0 h 31"/>
                <a:gd name="T52" fmla="*/ 2 w 17"/>
                <a:gd name="T53" fmla="*/ 0 h 31"/>
                <a:gd name="T54" fmla="*/ 1 w 17"/>
                <a:gd name="T55" fmla="*/ 1 h 31"/>
                <a:gd name="T56" fmla="*/ 0 w 17"/>
                <a:gd name="T57" fmla="*/ 2 h 31"/>
                <a:gd name="T58" fmla="*/ 0 w 17"/>
                <a:gd name="T59" fmla="*/ 29 h 31"/>
                <a:gd name="T60" fmla="*/ 1 w 17"/>
                <a:gd name="T61" fmla="*/ 30 h 31"/>
                <a:gd name="T62" fmla="*/ 2 w 17"/>
                <a:gd name="T63" fmla="*/ 31 h 31"/>
                <a:gd name="T64" fmla="*/ 16 w 17"/>
                <a:gd name="T65" fmla="*/ 31 h 31"/>
                <a:gd name="T66" fmla="*/ 17 w 17"/>
                <a:gd name="T67" fmla="*/ 31 h 31"/>
                <a:gd name="T68" fmla="*/ 17 w 17"/>
                <a:gd name="T69" fmla="*/ 30 h 31"/>
                <a:gd name="T70" fmla="*/ 17 w 17"/>
                <a:gd name="T71" fmla="*/ 30 h 31"/>
                <a:gd name="T72" fmla="*/ 17 w 17"/>
                <a:gd name="T73" fmla="*/ 29 h 31"/>
                <a:gd name="T74" fmla="*/ 17 w 17"/>
                <a:gd name="T75"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31">
                  <a:moveTo>
                    <a:pt x="17" y="28"/>
                  </a:moveTo>
                  <a:cubicBezTo>
                    <a:pt x="17" y="28"/>
                    <a:pt x="17" y="28"/>
                    <a:pt x="17" y="28"/>
                  </a:cubicBezTo>
                  <a:cubicBezTo>
                    <a:pt x="17" y="28"/>
                    <a:pt x="17" y="27"/>
                    <a:pt x="17" y="27"/>
                  </a:cubicBezTo>
                  <a:cubicBezTo>
                    <a:pt x="17" y="27"/>
                    <a:pt x="16" y="27"/>
                    <a:pt x="16" y="27"/>
                  </a:cubicBezTo>
                  <a:cubicBezTo>
                    <a:pt x="4" y="27"/>
                    <a:pt x="4" y="27"/>
                    <a:pt x="4" y="27"/>
                  </a:cubicBezTo>
                  <a:cubicBezTo>
                    <a:pt x="4" y="16"/>
                    <a:pt x="4" y="16"/>
                    <a:pt x="4" y="16"/>
                  </a:cubicBezTo>
                  <a:cubicBezTo>
                    <a:pt x="14" y="16"/>
                    <a:pt x="14" y="16"/>
                    <a:pt x="14" y="16"/>
                  </a:cubicBezTo>
                  <a:cubicBezTo>
                    <a:pt x="15" y="16"/>
                    <a:pt x="15" y="16"/>
                    <a:pt x="15" y="16"/>
                  </a:cubicBezTo>
                  <a:cubicBezTo>
                    <a:pt x="15" y="16"/>
                    <a:pt x="15" y="16"/>
                    <a:pt x="15" y="16"/>
                  </a:cubicBezTo>
                  <a:cubicBezTo>
                    <a:pt x="15" y="16"/>
                    <a:pt x="15" y="16"/>
                    <a:pt x="15" y="16"/>
                  </a:cubicBezTo>
                  <a:cubicBezTo>
                    <a:pt x="15" y="15"/>
                    <a:pt x="15" y="15"/>
                    <a:pt x="15" y="15"/>
                  </a:cubicBezTo>
                  <a:cubicBezTo>
                    <a:pt x="15" y="15"/>
                    <a:pt x="15" y="14"/>
                    <a:pt x="15" y="14"/>
                  </a:cubicBezTo>
                  <a:cubicBezTo>
                    <a:pt x="15" y="14"/>
                    <a:pt x="15" y="14"/>
                    <a:pt x="15" y="14"/>
                  </a:cubicBezTo>
                  <a:cubicBezTo>
                    <a:pt x="15" y="13"/>
                    <a:pt x="15" y="13"/>
                    <a:pt x="15" y="13"/>
                  </a:cubicBezTo>
                  <a:cubicBezTo>
                    <a:pt x="15" y="13"/>
                    <a:pt x="15" y="13"/>
                    <a:pt x="14" y="13"/>
                  </a:cubicBezTo>
                  <a:cubicBezTo>
                    <a:pt x="4" y="13"/>
                    <a:pt x="4" y="13"/>
                    <a:pt x="4" y="13"/>
                  </a:cubicBezTo>
                  <a:cubicBezTo>
                    <a:pt x="4" y="4"/>
                    <a:pt x="4" y="4"/>
                    <a:pt x="4" y="4"/>
                  </a:cubicBezTo>
                  <a:cubicBezTo>
                    <a:pt x="16" y="4"/>
                    <a:pt x="16" y="4"/>
                    <a:pt x="16" y="4"/>
                  </a:cubicBezTo>
                  <a:cubicBezTo>
                    <a:pt x="16" y="4"/>
                    <a:pt x="16" y="4"/>
                    <a:pt x="16" y="4"/>
                  </a:cubicBezTo>
                  <a:cubicBezTo>
                    <a:pt x="17" y="4"/>
                    <a:pt x="17" y="3"/>
                    <a:pt x="17" y="3"/>
                  </a:cubicBezTo>
                  <a:cubicBezTo>
                    <a:pt x="17" y="3"/>
                    <a:pt x="17" y="3"/>
                    <a:pt x="17" y="3"/>
                  </a:cubicBezTo>
                  <a:cubicBezTo>
                    <a:pt x="17" y="3"/>
                    <a:pt x="17" y="2"/>
                    <a:pt x="17" y="2"/>
                  </a:cubicBezTo>
                  <a:cubicBezTo>
                    <a:pt x="17" y="2"/>
                    <a:pt x="17" y="1"/>
                    <a:pt x="17" y="1"/>
                  </a:cubicBezTo>
                  <a:cubicBezTo>
                    <a:pt x="17" y="1"/>
                    <a:pt x="17" y="1"/>
                    <a:pt x="17" y="1"/>
                  </a:cubicBezTo>
                  <a:cubicBezTo>
                    <a:pt x="17" y="1"/>
                    <a:pt x="17" y="0"/>
                    <a:pt x="16" y="0"/>
                  </a:cubicBezTo>
                  <a:cubicBezTo>
                    <a:pt x="16" y="0"/>
                    <a:pt x="16" y="0"/>
                    <a:pt x="16" y="0"/>
                  </a:cubicBezTo>
                  <a:cubicBezTo>
                    <a:pt x="2" y="0"/>
                    <a:pt x="2" y="0"/>
                    <a:pt x="2" y="0"/>
                  </a:cubicBezTo>
                  <a:cubicBezTo>
                    <a:pt x="1" y="0"/>
                    <a:pt x="1" y="0"/>
                    <a:pt x="1" y="1"/>
                  </a:cubicBezTo>
                  <a:cubicBezTo>
                    <a:pt x="0" y="1"/>
                    <a:pt x="0" y="1"/>
                    <a:pt x="0" y="2"/>
                  </a:cubicBezTo>
                  <a:cubicBezTo>
                    <a:pt x="0" y="29"/>
                    <a:pt x="0" y="29"/>
                    <a:pt x="0" y="29"/>
                  </a:cubicBezTo>
                  <a:cubicBezTo>
                    <a:pt x="0" y="30"/>
                    <a:pt x="0" y="30"/>
                    <a:pt x="1" y="30"/>
                  </a:cubicBezTo>
                  <a:cubicBezTo>
                    <a:pt x="1" y="31"/>
                    <a:pt x="1" y="31"/>
                    <a:pt x="2" y="31"/>
                  </a:cubicBezTo>
                  <a:cubicBezTo>
                    <a:pt x="16" y="31"/>
                    <a:pt x="16" y="31"/>
                    <a:pt x="16" y="31"/>
                  </a:cubicBezTo>
                  <a:cubicBezTo>
                    <a:pt x="16" y="31"/>
                    <a:pt x="17" y="31"/>
                    <a:pt x="17" y="31"/>
                  </a:cubicBezTo>
                  <a:cubicBezTo>
                    <a:pt x="17" y="30"/>
                    <a:pt x="17" y="30"/>
                    <a:pt x="17" y="30"/>
                  </a:cubicBezTo>
                  <a:cubicBezTo>
                    <a:pt x="17" y="30"/>
                    <a:pt x="17" y="30"/>
                    <a:pt x="17" y="30"/>
                  </a:cubicBezTo>
                  <a:cubicBezTo>
                    <a:pt x="17" y="30"/>
                    <a:pt x="17" y="29"/>
                    <a:pt x="17" y="29"/>
                  </a:cubicBezTo>
                  <a:cubicBezTo>
                    <a:pt x="17" y="29"/>
                    <a:pt x="17" y="28"/>
                    <a:pt x="17" y="28"/>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53">
              <a:extLst>
                <a:ext uri="{FF2B5EF4-FFF2-40B4-BE49-F238E27FC236}">
                  <a16:creationId xmlns:a16="http://schemas.microsoft.com/office/drawing/2014/main" id="{D6D2293F-07BB-4839-A829-D4DC7CEA6B8D}"/>
                </a:ext>
              </a:extLst>
            </p:cNvPr>
            <p:cNvSpPr>
              <a:spLocks/>
            </p:cNvSpPr>
            <p:nvPr/>
          </p:nvSpPr>
          <p:spPr bwMode="auto">
            <a:xfrm>
              <a:off x="7639981" y="4138185"/>
              <a:ext cx="62046" cy="79361"/>
            </a:xfrm>
            <a:custGeom>
              <a:avLst/>
              <a:gdLst>
                <a:gd name="T0" fmla="*/ 18 w 18"/>
                <a:gd name="T1" fmla="*/ 9 h 23"/>
                <a:gd name="T2" fmla="*/ 18 w 18"/>
                <a:gd name="T3" fmla="*/ 5 h 23"/>
                <a:gd name="T4" fmla="*/ 17 w 18"/>
                <a:gd name="T5" fmla="*/ 3 h 23"/>
                <a:gd name="T6" fmla="*/ 14 w 18"/>
                <a:gd name="T7" fmla="*/ 1 h 23"/>
                <a:gd name="T8" fmla="*/ 11 w 18"/>
                <a:gd name="T9" fmla="*/ 0 h 23"/>
                <a:gd name="T10" fmla="*/ 7 w 18"/>
                <a:gd name="T11" fmla="*/ 1 h 23"/>
                <a:gd name="T12" fmla="*/ 4 w 18"/>
                <a:gd name="T13" fmla="*/ 4 h 23"/>
                <a:gd name="T14" fmla="*/ 4 w 18"/>
                <a:gd name="T15" fmla="*/ 1 h 23"/>
                <a:gd name="T16" fmla="*/ 4 w 18"/>
                <a:gd name="T17" fmla="*/ 1 h 23"/>
                <a:gd name="T18" fmla="*/ 3 w 18"/>
                <a:gd name="T19" fmla="*/ 0 h 23"/>
                <a:gd name="T20" fmla="*/ 3 w 18"/>
                <a:gd name="T21" fmla="*/ 0 h 23"/>
                <a:gd name="T22" fmla="*/ 2 w 18"/>
                <a:gd name="T23" fmla="*/ 0 h 23"/>
                <a:gd name="T24" fmla="*/ 1 w 18"/>
                <a:gd name="T25" fmla="*/ 0 h 23"/>
                <a:gd name="T26" fmla="*/ 1 w 18"/>
                <a:gd name="T27" fmla="*/ 0 h 23"/>
                <a:gd name="T28" fmla="*/ 0 w 18"/>
                <a:gd name="T29" fmla="*/ 1 h 23"/>
                <a:gd name="T30" fmla="*/ 0 w 18"/>
                <a:gd name="T31" fmla="*/ 1 h 23"/>
                <a:gd name="T32" fmla="*/ 0 w 18"/>
                <a:gd name="T33" fmla="*/ 22 h 23"/>
                <a:gd name="T34" fmla="*/ 0 w 18"/>
                <a:gd name="T35" fmla="*/ 22 h 23"/>
                <a:gd name="T36" fmla="*/ 1 w 18"/>
                <a:gd name="T37" fmla="*/ 23 h 23"/>
                <a:gd name="T38" fmla="*/ 1 w 18"/>
                <a:gd name="T39" fmla="*/ 23 h 23"/>
                <a:gd name="T40" fmla="*/ 2 w 18"/>
                <a:gd name="T41" fmla="*/ 23 h 23"/>
                <a:gd name="T42" fmla="*/ 3 w 18"/>
                <a:gd name="T43" fmla="*/ 23 h 23"/>
                <a:gd name="T44" fmla="*/ 4 w 18"/>
                <a:gd name="T45" fmla="*/ 23 h 23"/>
                <a:gd name="T46" fmla="*/ 4 w 18"/>
                <a:gd name="T47" fmla="*/ 22 h 23"/>
                <a:gd name="T48" fmla="*/ 4 w 18"/>
                <a:gd name="T49" fmla="*/ 22 h 23"/>
                <a:gd name="T50" fmla="*/ 4 w 18"/>
                <a:gd name="T51" fmla="*/ 7 h 23"/>
                <a:gd name="T52" fmla="*/ 7 w 18"/>
                <a:gd name="T53" fmla="*/ 4 h 23"/>
                <a:gd name="T54" fmla="*/ 10 w 18"/>
                <a:gd name="T55" fmla="*/ 3 h 23"/>
                <a:gd name="T56" fmla="*/ 12 w 18"/>
                <a:gd name="T57" fmla="*/ 4 h 23"/>
                <a:gd name="T58" fmla="*/ 14 w 18"/>
                <a:gd name="T59" fmla="*/ 5 h 23"/>
                <a:gd name="T60" fmla="*/ 14 w 18"/>
                <a:gd name="T61" fmla="*/ 7 h 23"/>
                <a:gd name="T62" fmla="*/ 15 w 18"/>
                <a:gd name="T63" fmla="*/ 10 h 23"/>
                <a:gd name="T64" fmla="*/ 15 w 18"/>
                <a:gd name="T65" fmla="*/ 22 h 23"/>
                <a:gd name="T66" fmla="*/ 15 w 18"/>
                <a:gd name="T67" fmla="*/ 22 h 23"/>
                <a:gd name="T68" fmla="*/ 15 w 18"/>
                <a:gd name="T69" fmla="*/ 23 h 23"/>
                <a:gd name="T70" fmla="*/ 16 w 18"/>
                <a:gd name="T71" fmla="*/ 23 h 23"/>
                <a:gd name="T72" fmla="*/ 17 w 18"/>
                <a:gd name="T73" fmla="*/ 23 h 23"/>
                <a:gd name="T74" fmla="*/ 17 w 18"/>
                <a:gd name="T75" fmla="*/ 23 h 23"/>
                <a:gd name="T76" fmla="*/ 18 w 18"/>
                <a:gd name="T77" fmla="*/ 23 h 23"/>
                <a:gd name="T78" fmla="*/ 18 w 18"/>
                <a:gd name="T79" fmla="*/ 22 h 23"/>
                <a:gd name="T80" fmla="*/ 18 w 18"/>
                <a:gd name="T81" fmla="*/ 22 h 23"/>
                <a:gd name="T82" fmla="*/ 18 w 18"/>
                <a:gd name="T83"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9"/>
                  </a:moveTo>
                  <a:cubicBezTo>
                    <a:pt x="18" y="8"/>
                    <a:pt x="18" y="6"/>
                    <a:pt x="18" y="5"/>
                  </a:cubicBezTo>
                  <a:cubicBezTo>
                    <a:pt x="18" y="4"/>
                    <a:pt x="17" y="3"/>
                    <a:pt x="17" y="3"/>
                  </a:cubicBezTo>
                  <a:cubicBezTo>
                    <a:pt x="16" y="2"/>
                    <a:pt x="15" y="1"/>
                    <a:pt x="14" y="1"/>
                  </a:cubicBezTo>
                  <a:cubicBezTo>
                    <a:pt x="14" y="0"/>
                    <a:pt x="12" y="0"/>
                    <a:pt x="11" y="0"/>
                  </a:cubicBezTo>
                  <a:cubicBezTo>
                    <a:pt x="10" y="0"/>
                    <a:pt x="9" y="0"/>
                    <a:pt x="7" y="1"/>
                  </a:cubicBezTo>
                  <a:cubicBezTo>
                    <a:pt x="6" y="1"/>
                    <a:pt x="5" y="2"/>
                    <a:pt x="4" y="4"/>
                  </a:cubicBezTo>
                  <a:cubicBezTo>
                    <a:pt x="4" y="1"/>
                    <a:pt x="4" y="1"/>
                    <a:pt x="4" y="1"/>
                  </a:cubicBezTo>
                  <a:cubicBezTo>
                    <a:pt x="4" y="1"/>
                    <a:pt x="4" y="1"/>
                    <a:pt x="4" y="1"/>
                  </a:cubicBezTo>
                  <a:cubicBezTo>
                    <a:pt x="4" y="1"/>
                    <a:pt x="4" y="0"/>
                    <a:pt x="3" y="0"/>
                  </a:cubicBezTo>
                  <a:cubicBezTo>
                    <a:pt x="3" y="0"/>
                    <a:pt x="3" y="0"/>
                    <a:pt x="3" y="0"/>
                  </a:cubicBezTo>
                  <a:cubicBezTo>
                    <a:pt x="3" y="0"/>
                    <a:pt x="2" y="0"/>
                    <a:pt x="2" y="0"/>
                  </a:cubicBezTo>
                  <a:cubicBezTo>
                    <a:pt x="2" y="0"/>
                    <a:pt x="1" y="0"/>
                    <a:pt x="1" y="0"/>
                  </a:cubicBezTo>
                  <a:cubicBezTo>
                    <a:pt x="1" y="0"/>
                    <a:pt x="1" y="0"/>
                    <a:pt x="1" y="0"/>
                  </a:cubicBezTo>
                  <a:cubicBezTo>
                    <a:pt x="1" y="0"/>
                    <a:pt x="0" y="1"/>
                    <a:pt x="0" y="1"/>
                  </a:cubicBezTo>
                  <a:cubicBezTo>
                    <a:pt x="0" y="1"/>
                    <a:pt x="0" y="1"/>
                    <a:pt x="0" y="1"/>
                  </a:cubicBezTo>
                  <a:cubicBezTo>
                    <a:pt x="0" y="22"/>
                    <a:pt x="0" y="22"/>
                    <a:pt x="0" y="22"/>
                  </a:cubicBezTo>
                  <a:cubicBezTo>
                    <a:pt x="0" y="22"/>
                    <a:pt x="0" y="22"/>
                    <a:pt x="0" y="22"/>
                  </a:cubicBezTo>
                  <a:cubicBezTo>
                    <a:pt x="0" y="22"/>
                    <a:pt x="1" y="23"/>
                    <a:pt x="1" y="23"/>
                  </a:cubicBezTo>
                  <a:cubicBezTo>
                    <a:pt x="1" y="23"/>
                    <a:pt x="1" y="23"/>
                    <a:pt x="1" y="23"/>
                  </a:cubicBezTo>
                  <a:cubicBezTo>
                    <a:pt x="2" y="23"/>
                    <a:pt x="2" y="23"/>
                    <a:pt x="2" y="23"/>
                  </a:cubicBezTo>
                  <a:cubicBezTo>
                    <a:pt x="3" y="23"/>
                    <a:pt x="3" y="23"/>
                    <a:pt x="3" y="23"/>
                  </a:cubicBezTo>
                  <a:cubicBezTo>
                    <a:pt x="3" y="23"/>
                    <a:pt x="4" y="23"/>
                    <a:pt x="4" y="23"/>
                  </a:cubicBezTo>
                  <a:cubicBezTo>
                    <a:pt x="4" y="23"/>
                    <a:pt x="4" y="22"/>
                    <a:pt x="4" y="22"/>
                  </a:cubicBezTo>
                  <a:cubicBezTo>
                    <a:pt x="4" y="22"/>
                    <a:pt x="4" y="22"/>
                    <a:pt x="4" y="22"/>
                  </a:cubicBezTo>
                  <a:cubicBezTo>
                    <a:pt x="4" y="7"/>
                    <a:pt x="4" y="7"/>
                    <a:pt x="4" y="7"/>
                  </a:cubicBezTo>
                  <a:cubicBezTo>
                    <a:pt x="5" y="6"/>
                    <a:pt x="6" y="5"/>
                    <a:pt x="7" y="4"/>
                  </a:cubicBezTo>
                  <a:cubicBezTo>
                    <a:pt x="8" y="4"/>
                    <a:pt x="9" y="3"/>
                    <a:pt x="10" y="3"/>
                  </a:cubicBezTo>
                  <a:cubicBezTo>
                    <a:pt x="11" y="3"/>
                    <a:pt x="12" y="3"/>
                    <a:pt x="12" y="4"/>
                  </a:cubicBezTo>
                  <a:cubicBezTo>
                    <a:pt x="13" y="4"/>
                    <a:pt x="13" y="4"/>
                    <a:pt x="14" y="5"/>
                  </a:cubicBezTo>
                  <a:cubicBezTo>
                    <a:pt x="14" y="5"/>
                    <a:pt x="14" y="6"/>
                    <a:pt x="14" y="7"/>
                  </a:cubicBezTo>
                  <a:cubicBezTo>
                    <a:pt x="15" y="8"/>
                    <a:pt x="15" y="8"/>
                    <a:pt x="15" y="10"/>
                  </a:cubicBezTo>
                  <a:cubicBezTo>
                    <a:pt x="15" y="22"/>
                    <a:pt x="15" y="22"/>
                    <a:pt x="15" y="22"/>
                  </a:cubicBezTo>
                  <a:cubicBezTo>
                    <a:pt x="15" y="22"/>
                    <a:pt x="15" y="22"/>
                    <a:pt x="15" y="22"/>
                  </a:cubicBezTo>
                  <a:cubicBezTo>
                    <a:pt x="15" y="22"/>
                    <a:pt x="15" y="23"/>
                    <a:pt x="15" y="23"/>
                  </a:cubicBezTo>
                  <a:cubicBezTo>
                    <a:pt x="15" y="23"/>
                    <a:pt x="15" y="23"/>
                    <a:pt x="16" y="23"/>
                  </a:cubicBezTo>
                  <a:cubicBezTo>
                    <a:pt x="16" y="23"/>
                    <a:pt x="16" y="23"/>
                    <a:pt x="17" y="23"/>
                  </a:cubicBezTo>
                  <a:cubicBezTo>
                    <a:pt x="17" y="23"/>
                    <a:pt x="17" y="23"/>
                    <a:pt x="17" y="23"/>
                  </a:cubicBezTo>
                  <a:cubicBezTo>
                    <a:pt x="18" y="23"/>
                    <a:pt x="18" y="23"/>
                    <a:pt x="18" y="23"/>
                  </a:cubicBezTo>
                  <a:cubicBezTo>
                    <a:pt x="18" y="23"/>
                    <a:pt x="18" y="22"/>
                    <a:pt x="18" y="22"/>
                  </a:cubicBezTo>
                  <a:cubicBezTo>
                    <a:pt x="18" y="22"/>
                    <a:pt x="18" y="22"/>
                    <a:pt x="18" y="22"/>
                  </a:cubicBezTo>
                  <a:cubicBezTo>
                    <a:pt x="18" y="9"/>
                    <a:pt x="18" y="9"/>
                    <a:pt x="18" y="9"/>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54">
              <a:extLst>
                <a:ext uri="{FF2B5EF4-FFF2-40B4-BE49-F238E27FC236}">
                  <a16:creationId xmlns:a16="http://schemas.microsoft.com/office/drawing/2014/main" id="{B09C48E7-D283-41CF-989D-00D6647F7903}"/>
                </a:ext>
              </a:extLst>
            </p:cNvPr>
            <p:cNvSpPr>
              <a:spLocks noEditPoints="1"/>
            </p:cNvSpPr>
            <p:nvPr/>
          </p:nvSpPr>
          <p:spPr bwMode="auto">
            <a:xfrm>
              <a:off x="7717898" y="4138185"/>
              <a:ext cx="69260" cy="106776"/>
            </a:xfrm>
            <a:custGeom>
              <a:avLst/>
              <a:gdLst>
                <a:gd name="T0" fmla="*/ 20 w 20"/>
                <a:gd name="T1" fmla="*/ 0 h 31"/>
                <a:gd name="T2" fmla="*/ 12 w 20"/>
                <a:gd name="T3" fmla="*/ 0 h 31"/>
                <a:gd name="T4" fmla="*/ 7 w 20"/>
                <a:gd name="T5" fmla="*/ 0 h 31"/>
                <a:gd name="T6" fmla="*/ 2 w 20"/>
                <a:gd name="T7" fmla="*/ 4 h 31"/>
                <a:gd name="T8" fmla="*/ 2 w 20"/>
                <a:gd name="T9" fmla="*/ 10 h 31"/>
                <a:gd name="T10" fmla="*/ 2 w 20"/>
                <a:gd name="T11" fmla="*/ 14 h 31"/>
                <a:gd name="T12" fmla="*/ 2 w 20"/>
                <a:gd name="T13" fmla="*/ 19 h 31"/>
                <a:gd name="T14" fmla="*/ 2 w 20"/>
                <a:gd name="T15" fmla="*/ 21 h 31"/>
                <a:gd name="T16" fmla="*/ 1 w 20"/>
                <a:gd name="T17" fmla="*/ 24 h 31"/>
                <a:gd name="T18" fmla="*/ 1 w 20"/>
                <a:gd name="T19" fmla="*/ 28 h 31"/>
                <a:gd name="T20" fmla="*/ 5 w 20"/>
                <a:gd name="T21" fmla="*/ 31 h 31"/>
                <a:gd name="T22" fmla="*/ 14 w 20"/>
                <a:gd name="T23" fmla="*/ 31 h 31"/>
                <a:gd name="T24" fmla="*/ 20 w 20"/>
                <a:gd name="T25" fmla="*/ 27 h 31"/>
                <a:gd name="T26" fmla="*/ 20 w 20"/>
                <a:gd name="T27" fmla="*/ 22 h 31"/>
                <a:gd name="T28" fmla="*/ 16 w 20"/>
                <a:gd name="T29" fmla="*/ 19 h 31"/>
                <a:gd name="T30" fmla="*/ 7 w 20"/>
                <a:gd name="T31" fmla="*/ 18 h 31"/>
                <a:gd name="T32" fmla="*/ 5 w 20"/>
                <a:gd name="T33" fmla="*/ 16 h 31"/>
                <a:gd name="T34" fmla="*/ 6 w 20"/>
                <a:gd name="T35" fmla="*/ 14 h 31"/>
                <a:gd name="T36" fmla="*/ 10 w 20"/>
                <a:gd name="T37" fmla="*/ 15 h 31"/>
                <a:gd name="T38" fmla="*/ 16 w 20"/>
                <a:gd name="T39" fmla="*/ 13 h 31"/>
                <a:gd name="T40" fmla="*/ 18 w 20"/>
                <a:gd name="T41" fmla="*/ 7 h 31"/>
                <a:gd name="T42" fmla="*/ 17 w 20"/>
                <a:gd name="T43" fmla="*/ 3 h 31"/>
                <a:gd name="T44" fmla="*/ 20 w 20"/>
                <a:gd name="T45" fmla="*/ 3 h 31"/>
                <a:gd name="T46" fmla="*/ 20 w 20"/>
                <a:gd name="T47" fmla="*/ 1 h 31"/>
                <a:gd name="T48" fmla="*/ 13 w 20"/>
                <a:gd name="T49" fmla="*/ 11 h 31"/>
                <a:gd name="T50" fmla="*/ 10 w 20"/>
                <a:gd name="T51" fmla="*/ 12 h 31"/>
                <a:gd name="T52" fmla="*/ 5 w 20"/>
                <a:gd name="T53" fmla="*/ 8 h 31"/>
                <a:gd name="T54" fmla="*/ 6 w 20"/>
                <a:gd name="T55" fmla="*/ 4 h 31"/>
                <a:gd name="T56" fmla="*/ 10 w 20"/>
                <a:gd name="T57" fmla="*/ 3 h 31"/>
                <a:gd name="T58" fmla="*/ 14 w 20"/>
                <a:gd name="T59" fmla="*/ 7 h 31"/>
                <a:gd name="T60" fmla="*/ 16 w 20"/>
                <a:gd name="T61" fmla="*/ 26 h 31"/>
                <a:gd name="T62" fmla="*/ 13 w 20"/>
                <a:gd name="T63" fmla="*/ 28 h 31"/>
                <a:gd name="T64" fmla="*/ 6 w 20"/>
                <a:gd name="T65" fmla="*/ 27 h 31"/>
                <a:gd name="T66" fmla="*/ 4 w 20"/>
                <a:gd name="T67" fmla="*/ 24 h 31"/>
                <a:gd name="T68" fmla="*/ 5 w 20"/>
                <a:gd name="T69" fmla="*/ 22 h 31"/>
                <a:gd name="T70" fmla="*/ 12 w 20"/>
                <a:gd name="T71" fmla="*/ 21 h 31"/>
                <a:gd name="T72" fmla="*/ 16 w 20"/>
                <a:gd name="T73"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31">
                  <a:moveTo>
                    <a:pt x="20" y="1"/>
                  </a:moveTo>
                  <a:cubicBezTo>
                    <a:pt x="20" y="0"/>
                    <a:pt x="20" y="0"/>
                    <a:pt x="20" y="0"/>
                  </a:cubicBezTo>
                  <a:cubicBezTo>
                    <a:pt x="13" y="0"/>
                    <a:pt x="13" y="0"/>
                    <a:pt x="13" y="0"/>
                  </a:cubicBezTo>
                  <a:cubicBezTo>
                    <a:pt x="13" y="0"/>
                    <a:pt x="12" y="0"/>
                    <a:pt x="12" y="0"/>
                  </a:cubicBezTo>
                  <a:cubicBezTo>
                    <a:pt x="11" y="0"/>
                    <a:pt x="10" y="0"/>
                    <a:pt x="10" y="0"/>
                  </a:cubicBezTo>
                  <a:cubicBezTo>
                    <a:pt x="9" y="0"/>
                    <a:pt x="8" y="0"/>
                    <a:pt x="7" y="0"/>
                  </a:cubicBezTo>
                  <a:cubicBezTo>
                    <a:pt x="6" y="1"/>
                    <a:pt x="5" y="1"/>
                    <a:pt x="4" y="2"/>
                  </a:cubicBezTo>
                  <a:cubicBezTo>
                    <a:pt x="3" y="3"/>
                    <a:pt x="3" y="3"/>
                    <a:pt x="2" y="4"/>
                  </a:cubicBezTo>
                  <a:cubicBezTo>
                    <a:pt x="2" y="5"/>
                    <a:pt x="2" y="6"/>
                    <a:pt x="2" y="8"/>
                  </a:cubicBezTo>
                  <a:cubicBezTo>
                    <a:pt x="2" y="9"/>
                    <a:pt x="2" y="10"/>
                    <a:pt x="2" y="10"/>
                  </a:cubicBezTo>
                  <a:cubicBezTo>
                    <a:pt x="2" y="11"/>
                    <a:pt x="3" y="12"/>
                    <a:pt x="3" y="12"/>
                  </a:cubicBezTo>
                  <a:cubicBezTo>
                    <a:pt x="3" y="13"/>
                    <a:pt x="2" y="13"/>
                    <a:pt x="2" y="14"/>
                  </a:cubicBezTo>
                  <a:cubicBezTo>
                    <a:pt x="1" y="15"/>
                    <a:pt x="1" y="16"/>
                    <a:pt x="1" y="17"/>
                  </a:cubicBezTo>
                  <a:cubicBezTo>
                    <a:pt x="1" y="17"/>
                    <a:pt x="1" y="18"/>
                    <a:pt x="2" y="19"/>
                  </a:cubicBezTo>
                  <a:cubicBezTo>
                    <a:pt x="2" y="19"/>
                    <a:pt x="3" y="20"/>
                    <a:pt x="3" y="20"/>
                  </a:cubicBezTo>
                  <a:cubicBezTo>
                    <a:pt x="3" y="21"/>
                    <a:pt x="2" y="21"/>
                    <a:pt x="2" y="21"/>
                  </a:cubicBezTo>
                  <a:cubicBezTo>
                    <a:pt x="2" y="22"/>
                    <a:pt x="1" y="22"/>
                    <a:pt x="1" y="23"/>
                  </a:cubicBezTo>
                  <a:cubicBezTo>
                    <a:pt x="1" y="23"/>
                    <a:pt x="1" y="24"/>
                    <a:pt x="1" y="24"/>
                  </a:cubicBezTo>
                  <a:cubicBezTo>
                    <a:pt x="0" y="25"/>
                    <a:pt x="0" y="25"/>
                    <a:pt x="0" y="26"/>
                  </a:cubicBezTo>
                  <a:cubicBezTo>
                    <a:pt x="0" y="26"/>
                    <a:pt x="1" y="27"/>
                    <a:pt x="1" y="28"/>
                  </a:cubicBezTo>
                  <a:cubicBezTo>
                    <a:pt x="1" y="28"/>
                    <a:pt x="2" y="29"/>
                    <a:pt x="3" y="30"/>
                  </a:cubicBezTo>
                  <a:cubicBezTo>
                    <a:pt x="3" y="30"/>
                    <a:pt x="4" y="30"/>
                    <a:pt x="5" y="31"/>
                  </a:cubicBezTo>
                  <a:cubicBezTo>
                    <a:pt x="7" y="31"/>
                    <a:pt x="8" y="31"/>
                    <a:pt x="10" y="31"/>
                  </a:cubicBezTo>
                  <a:cubicBezTo>
                    <a:pt x="12" y="31"/>
                    <a:pt x="13" y="31"/>
                    <a:pt x="14" y="31"/>
                  </a:cubicBezTo>
                  <a:cubicBezTo>
                    <a:pt x="16" y="30"/>
                    <a:pt x="17" y="30"/>
                    <a:pt x="18" y="29"/>
                  </a:cubicBezTo>
                  <a:cubicBezTo>
                    <a:pt x="18" y="28"/>
                    <a:pt x="19" y="28"/>
                    <a:pt x="20" y="27"/>
                  </a:cubicBezTo>
                  <a:cubicBezTo>
                    <a:pt x="20" y="26"/>
                    <a:pt x="20" y="25"/>
                    <a:pt x="20" y="24"/>
                  </a:cubicBezTo>
                  <a:cubicBezTo>
                    <a:pt x="20" y="23"/>
                    <a:pt x="20" y="22"/>
                    <a:pt x="20" y="22"/>
                  </a:cubicBezTo>
                  <a:cubicBezTo>
                    <a:pt x="19" y="21"/>
                    <a:pt x="19" y="20"/>
                    <a:pt x="18" y="20"/>
                  </a:cubicBezTo>
                  <a:cubicBezTo>
                    <a:pt x="17" y="19"/>
                    <a:pt x="17" y="19"/>
                    <a:pt x="16" y="19"/>
                  </a:cubicBezTo>
                  <a:cubicBezTo>
                    <a:pt x="15" y="18"/>
                    <a:pt x="14" y="18"/>
                    <a:pt x="13" y="18"/>
                  </a:cubicBezTo>
                  <a:cubicBezTo>
                    <a:pt x="7" y="18"/>
                    <a:pt x="7" y="18"/>
                    <a:pt x="7" y="18"/>
                  </a:cubicBezTo>
                  <a:cubicBezTo>
                    <a:pt x="7" y="18"/>
                    <a:pt x="6" y="18"/>
                    <a:pt x="5" y="17"/>
                  </a:cubicBezTo>
                  <a:cubicBezTo>
                    <a:pt x="5" y="17"/>
                    <a:pt x="5" y="17"/>
                    <a:pt x="5" y="16"/>
                  </a:cubicBezTo>
                  <a:cubicBezTo>
                    <a:pt x="5" y="16"/>
                    <a:pt x="5" y="15"/>
                    <a:pt x="5" y="15"/>
                  </a:cubicBezTo>
                  <a:cubicBezTo>
                    <a:pt x="5" y="14"/>
                    <a:pt x="5" y="14"/>
                    <a:pt x="6" y="14"/>
                  </a:cubicBezTo>
                  <a:cubicBezTo>
                    <a:pt x="6" y="14"/>
                    <a:pt x="7" y="15"/>
                    <a:pt x="7" y="15"/>
                  </a:cubicBezTo>
                  <a:cubicBezTo>
                    <a:pt x="8" y="15"/>
                    <a:pt x="9" y="15"/>
                    <a:pt x="10" y="15"/>
                  </a:cubicBezTo>
                  <a:cubicBezTo>
                    <a:pt x="11" y="15"/>
                    <a:pt x="12" y="15"/>
                    <a:pt x="13" y="15"/>
                  </a:cubicBezTo>
                  <a:cubicBezTo>
                    <a:pt x="14" y="14"/>
                    <a:pt x="15" y="14"/>
                    <a:pt x="16" y="13"/>
                  </a:cubicBezTo>
                  <a:cubicBezTo>
                    <a:pt x="16" y="12"/>
                    <a:pt x="17" y="12"/>
                    <a:pt x="17" y="11"/>
                  </a:cubicBezTo>
                  <a:cubicBezTo>
                    <a:pt x="18" y="10"/>
                    <a:pt x="18" y="9"/>
                    <a:pt x="18" y="7"/>
                  </a:cubicBezTo>
                  <a:cubicBezTo>
                    <a:pt x="18" y="7"/>
                    <a:pt x="18" y="6"/>
                    <a:pt x="18" y="5"/>
                  </a:cubicBezTo>
                  <a:cubicBezTo>
                    <a:pt x="17" y="5"/>
                    <a:pt x="17" y="4"/>
                    <a:pt x="17" y="3"/>
                  </a:cubicBezTo>
                  <a:cubicBezTo>
                    <a:pt x="20" y="3"/>
                    <a:pt x="20" y="3"/>
                    <a:pt x="20" y="3"/>
                  </a:cubicBezTo>
                  <a:cubicBezTo>
                    <a:pt x="20" y="3"/>
                    <a:pt x="20" y="3"/>
                    <a:pt x="20" y="3"/>
                  </a:cubicBezTo>
                  <a:cubicBezTo>
                    <a:pt x="20" y="3"/>
                    <a:pt x="20" y="2"/>
                    <a:pt x="20" y="2"/>
                  </a:cubicBezTo>
                  <a:cubicBezTo>
                    <a:pt x="20" y="1"/>
                    <a:pt x="20" y="1"/>
                    <a:pt x="20" y="1"/>
                  </a:cubicBezTo>
                  <a:close/>
                  <a:moveTo>
                    <a:pt x="14" y="9"/>
                  </a:moveTo>
                  <a:cubicBezTo>
                    <a:pt x="14" y="10"/>
                    <a:pt x="14" y="10"/>
                    <a:pt x="13" y="11"/>
                  </a:cubicBezTo>
                  <a:cubicBezTo>
                    <a:pt x="13" y="11"/>
                    <a:pt x="12" y="11"/>
                    <a:pt x="12" y="12"/>
                  </a:cubicBezTo>
                  <a:cubicBezTo>
                    <a:pt x="11" y="12"/>
                    <a:pt x="11" y="12"/>
                    <a:pt x="10" y="12"/>
                  </a:cubicBezTo>
                  <a:cubicBezTo>
                    <a:pt x="8" y="12"/>
                    <a:pt x="7" y="12"/>
                    <a:pt x="7" y="11"/>
                  </a:cubicBezTo>
                  <a:cubicBezTo>
                    <a:pt x="6" y="10"/>
                    <a:pt x="5" y="9"/>
                    <a:pt x="5" y="8"/>
                  </a:cubicBezTo>
                  <a:cubicBezTo>
                    <a:pt x="5" y="7"/>
                    <a:pt x="5" y="6"/>
                    <a:pt x="6" y="6"/>
                  </a:cubicBezTo>
                  <a:cubicBezTo>
                    <a:pt x="6" y="5"/>
                    <a:pt x="6" y="5"/>
                    <a:pt x="6" y="4"/>
                  </a:cubicBezTo>
                  <a:cubicBezTo>
                    <a:pt x="7" y="4"/>
                    <a:pt x="7" y="4"/>
                    <a:pt x="8" y="3"/>
                  </a:cubicBezTo>
                  <a:cubicBezTo>
                    <a:pt x="8" y="3"/>
                    <a:pt x="9" y="3"/>
                    <a:pt x="10" y="3"/>
                  </a:cubicBezTo>
                  <a:cubicBezTo>
                    <a:pt x="11" y="3"/>
                    <a:pt x="12" y="3"/>
                    <a:pt x="13" y="4"/>
                  </a:cubicBezTo>
                  <a:cubicBezTo>
                    <a:pt x="14" y="5"/>
                    <a:pt x="14" y="6"/>
                    <a:pt x="14" y="7"/>
                  </a:cubicBezTo>
                  <a:cubicBezTo>
                    <a:pt x="14" y="8"/>
                    <a:pt x="14" y="9"/>
                    <a:pt x="14" y="9"/>
                  </a:cubicBezTo>
                  <a:close/>
                  <a:moveTo>
                    <a:pt x="16" y="26"/>
                  </a:moveTo>
                  <a:cubicBezTo>
                    <a:pt x="16" y="26"/>
                    <a:pt x="15" y="27"/>
                    <a:pt x="15" y="27"/>
                  </a:cubicBezTo>
                  <a:cubicBezTo>
                    <a:pt x="14" y="27"/>
                    <a:pt x="14" y="28"/>
                    <a:pt x="13" y="28"/>
                  </a:cubicBezTo>
                  <a:cubicBezTo>
                    <a:pt x="12" y="28"/>
                    <a:pt x="11" y="28"/>
                    <a:pt x="10" y="28"/>
                  </a:cubicBezTo>
                  <a:cubicBezTo>
                    <a:pt x="8" y="28"/>
                    <a:pt x="7" y="28"/>
                    <a:pt x="6" y="27"/>
                  </a:cubicBezTo>
                  <a:cubicBezTo>
                    <a:pt x="5" y="27"/>
                    <a:pt x="4" y="26"/>
                    <a:pt x="4" y="25"/>
                  </a:cubicBezTo>
                  <a:cubicBezTo>
                    <a:pt x="4" y="25"/>
                    <a:pt x="4" y="24"/>
                    <a:pt x="4" y="24"/>
                  </a:cubicBezTo>
                  <a:cubicBezTo>
                    <a:pt x="4" y="24"/>
                    <a:pt x="4" y="24"/>
                    <a:pt x="5" y="23"/>
                  </a:cubicBezTo>
                  <a:cubicBezTo>
                    <a:pt x="5" y="23"/>
                    <a:pt x="5" y="23"/>
                    <a:pt x="5" y="22"/>
                  </a:cubicBezTo>
                  <a:cubicBezTo>
                    <a:pt x="6" y="22"/>
                    <a:pt x="6" y="22"/>
                    <a:pt x="7" y="21"/>
                  </a:cubicBezTo>
                  <a:cubicBezTo>
                    <a:pt x="12" y="21"/>
                    <a:pt x="12" y="21"/>
                    <a:pt x="12" y="21"/>
                  </a:cubicBezTo>
                  <a:cubicBezTo>
                    <a:pt x="13" y="21"/>
                    <a:pt x="14" y="22"/>
                    <a:pt x="15" y="22"/>
                  </a:cubicBezTo>
                  <a:cubicBezTo>
                    <a:pt x="16" y="23"/>
                    <a:pt x="16" y="23"/>
                    <a:pt x="16" y="24"/>
                  </a:cubicBezTo>
                  <a:cubicBezTo>
                    <a:pt x="16" y="25"/>
                    <a:pt x="16" y="25"/>
                    <a:pt x="16" y="26"/>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55">
              <a:extLst>
                <a:ext uri="{FF2B5EF4-FFF2-40B4-BE49-F238E27FC236}">
                  <a16:creationId xmlns:a16="http://schemas.microsoft.com/office/drawing/2014/main" id="{92D891AE-AA02-4F38-87EE-9DF0B04234C9}"/>
                </a:ext>
              </a:extLst>
            </p:cNvPr>
            <p:cNvSpPr>
              <a:spLocks noEditPoints="1"/>
            </p:cNvSpPr>
            <p:nvPr/>
          </p:nvSpPr>
          <p:spPr bwMode="auto">
            <a:xfrm>
              <a:off x="7804473" y="4110770"/>
              <a:ext cx="17315" cy="106776"/>
            </a:xfrm>
            <a:custGeom>
              <a:avLst/>
              <a:gdLst>
                <a:gd name="T0" fmla="*/ 4 w 5"/>
                <a:gd name="T1" fmla="*/ 9 h 31"/>
                <a:gd name="T2" fmla="*/ 4 w 5"/>
                <a:gd name="T3" fmla="*/ 9 h 31"/>
                <a:gd name="T4" fmla="*/ 4 w 5"/>
                <a:gd name="T5" fmla="*/ 8 h 31"/>
                <a:gd name="T6" fmla="*/ 3 w 5"/>
                <a:gd name="T7" fmla="*/ 8 h 31"/>
                <a:gd name="T8" fmla="*/ 2 w 5"/>
                <a:gd name="T9" fmla="*/ 8 h 31"/>
                <a:gd name="T10" fmla="*/ 1 w 5"/>
                <a:gd name="T11" fmla="*/ 8 h 31"/>
                <a:gd name="T12" fmla="*/ 1 w 5"/>
                <a:gd name="T13" fmla="*/ 8 h 31"/>
                <a:gd name="T14" fmla="*/ 0 w 5"/>
                <a:gd name="T15" fmla="*/ 9 h 31"/>
                <a:gd name="T16" fmla="*/ 0 w 5"/>
                <a:gd name="T17" fmla="*/ 9 h 31"/>
                <a:gd name="T18" fmla="*/ 0 w 5"/>
                <a:gd name="T19" fmla="*/ 30 h 31"/>
                <a:gd name="T20" fmla="*/ 0 w 5"/>
                <a:gd name="T21" fmla="*/ 30 h 31"/>
                <a:gd name="T22" fmla="*/ 1 w 5"/>
                <a:gd name="T23" fmla="*/ 31 h 31"/>
                <a:gd name="T24" fmla="*/ 1 w 5"/>
                <a:gd name="T25" fmla="*/ 31 h 31"/>
                <a:gd name="T26" fmla="*/ 2 w 5"/>
                <a:gd name="T27" fmla="*/ 31 h 31"/>
                <a:gd name="T28" fmla="*/ 3 w 5"/>
                <a:gd name="T29" fmla="*/ 31 h 31"/>
                <a:gd name="T30" fmla="*/ 4 w 5"/>
                <a:gd name="T31" fmla="*/ 31 h 31"/>
                <a:gd name="T32" fmla="*/ 4 w 5"/>
                <a:gd name="T33" fmla="*/ 30 h 31"/>
                <a:gd name="T34" fmla="*/ 4 w 5"/>
                <a:gd name="T35" fmla="*/ 30 h 31"/>
                <a:gd name="T36" fmla="*/ 4 w 5"/>
                <a:gd name="T37" fmla="*/ 9 h 31"/>
                <a:gd name="T38" fmla="*/ 4 w 5"/>
                <a:gd name="T39" fmla="*/ 0 h 31"/>
                <a:gd name="T40" fmla="*/ 2 w 5"/>
                <a:gd name="T41" fmla="*/ 0 h 31"/>
                <a:gd name="T42" fmla="*/ 0 w 5"/>
                <a:gd name="T43" fmla="*/ 0 h 31"/>
                <a:gd name="T44" fmla="*/ 0 w 5"/>
                <a:gd name="T45" fmla="*/ 2 h 31"/>
                <a:gd name="T46" fmla="*/ 0 w 5"/>
                <a:gd name="T47" fmla="*/ 4 h 31"/>
                <a:gd name="T48" fmla="*/ 2 w 5"/>
                <a:gd name="T49" fmla="*/ 4 h 31"/>
                <a:gd name="T50" fmla="*/ 4 w 5"/>
                <a:gd name="T51" fmla="*/ 4 h 31"/>
                <a:gd name="T52" fmla="*/ 5 w 5"/>
                <a:gd name="T53" fmla="*/ 2 h 31"/>
                <a:gd name="T54" fmla="*/ 4 w 5"/>
                <a:gd name="T5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4" y="9"/>
                  </a:moveTo>
                  <a:cubicBezTo>
                    <a:pt x="4" y="9"/>
                    <a:pt x="4" y="9"/>
                    <a:pt x="4" y="9"/>
                  </a:cubicBezTo>
                  <a:cubicBezTo>
                    <a:pt x="4" y="9"/>
                    <a:pt x="4" y="8"/>
                    <a:pt x="4" y="8"/>
                  </a:cubicBezTo>
                  <a:cubicBezTo>
                    <a:pt x="4" y="8"/>
                    <a:pt x="3" y="8"/>
                    <a:pt x="3" y="8"/>
                  </a:cubicBezTo>
                  <a:cubicBezTo>
                    <a:pt x="3" y="8"/>
                    <a:pt x="3" y="8"/>
                    <a:pt x="2" y="8"/>
                  </a:cubicBezTo>
                  <a:cubicBezTo>
                    <a:pt x="2" y="8"/>
                    <a:pt x="2" y="8"/>
                    <a:pt x="1" y="8"/>
                  </a:cubicBezTo>
                  <a:cubicBezTo>
                    <a:pt x="1" y="8"/>
                    <a:pt x="1" y="8"/>
                    <a:pt x="1" y="8"/>
                  </a:cubicBezTo>
                  <a:cubicBezTo>
                    <a:pt x="1" y="8"/>
                    <a:pt x="0" y="9"/>
                    <a:pt x="0" y="9"/>
                  </a:cubicBezTo>
                  <a:cubicBezTo>
                    <a:pt x="0" y="9"/>
                    <a:pt x="0" y="9"/>
                    <a:pt x="0" y="9"/>
                  </a:cubicBezTo>
                  <a:cubicBezTo>
                    <a:pt x="0" y="30"/>
                    <a:pt x="0" y="30"/>
                    <a:pt x="0" y="30"/>
                  </a:cubicBezTo>
                  <a:cubicBezTo>
                    <a:pt x="0" y="30"/>
                    <a:pt x="0" y="30"/>
                    <a:pt x="0" y="30"/>
                  </a:cubicBezTo>
                  <a:cubicBezTo>
                    <a:pt x="0" y="30"/>
                    <a:pt x="1" y="31"/>
                    <a:pt x="1" y="31"/>
                  </a:cubicBezTo>
                  <a:cubicBezTo>
                    <a:pt x="1" y="31"/>
                    <a:pt x="1" y="31"/>
                    <a:pt x="1" y="31"/>
                  </a:cubicBezTo>
                  <a:cubicBezTo>
                    <a:pt x="2" y="31"/>
                    <a:pt x="2" y="31"/>
                    <a:pt x="2" y="31"/>
                  </a:cubicBezTo>
                  <a:cubicBezTo>
                    <a:pt x="3" y="31"/>
                    <a:pt x="3" y="31"/>
                    <a:pt x="3" y="31"/>
                  </a:cubicBezTo>
                  <a:cubicBezTo>
                    <a:pt x="3" y="31"/>
                    <a:pt x="4" y="31"/>
                    <a:pt x="4" y="31"/>
                  </a:cubicBezTo>
                  <a:cubicBezTo>
                    <a:pt x="4" y="31"/>
                    <a:pt x="4" y="30"/>
                    <a:pt x="4" y="30"/>
                  </a:cubicBezTo>
                  <a:cubicBezTo>
                    <a:pt x="4" y="30"/>
                    <a:pt x="4" y="30"/>
                    <a:pt x="4" y="30"/>
                  </a:cubicBezTo>
                  <a:cubicBezTo>
                    <a:pt x="4" y="9"/>
                    <a:pt x="4" y="9"/>
                    <a:pt x="4" y="9"/>
                  </a:cubicBezTo>
                  <a:close/>
                  <a:moveTo>
                    <a:pt x="4" y="0"/>
                  </a:moveTo>
                  <a:cubicBezTo>
                    <a:pt x="4" y="0"/>
                    <a:pt x="3" y="0"/>
                    <a:pt x="2" y="0"/>
                  </a:cubicBezTo>
                  <a:cubicBezTo>
                    <a:pt x="1" y="0"/>
                    <a:pt x="1" y="0"/>
                    <a:pt x="0" y="0"/>
                  </a:cubicBezTo>
                  <a:cubicBezTo>
                    <a:pt x="0" y="0"/>
                    <a:pt x="0" y="1"/>
                    <a:pt x="0" y="2"/>
                  </a:cubicBezTo>
                  <a:cubicBezTo>
                    <a:pt x="0" y="3"/>
                    <a:pt x="0" y="3"/>
                    <a:pt x="0" y="4"/>
                  </a:cubicBezTo>
                  <a:cubicBezTo>
                    <a:pt x="1" y="4"/>
                    <a:pt x="1" y="4"/>
                    <a:pt x="2" y="4"/>
                  </a:cubicBezTo>
                  <a:cubicBezTo>
                    <a:pt x="3" y="4"/>
                    <a:pt x="4" y="4"/>
                    <a:pt x="4" y="4"/>
                  </a:cubicBezTo>
                  <a:cubicBezTo>
                    <a:pt x="4" y="3"/>
                    <a:pt x="5" y="3"/>
                    <a:pt x="5" y="2"/>
                  </a:cubicBezTo>
                  <a:cubicBezTo>
                    <a:pt x="5" y="1"/>
                    <a:pt x="4" y="0"/>
                    <a:pt x="4" y="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56">
              <a:extLst>
                <a:ext uri="{FF2B5EF4-FFF2-40B4-BE49-F238E27FC236}">
                  <a16:creationId xmlns:a16="http://schemas.microsoft.com/office/drawing/2014/main" id="{C64810B6-7B55-48E4-85B2-2772DED8D5C3}"/>
                </a:ext>
              </a:extLst>
            </p:cNvPr>
            <p:cNvSpPr>
              <a:spLocks/>
            </p:cNvSpPr>
            <p:nvPr/>
          </p:nvSpPr>
          <p:spPr bwMode="auto">
            <a:xfrm>
              <a:off x="7841988" y="4138185"/>
              <a:ext cx="62046" cy="79361"/>
            </a:xfrm>
            <a:custGeom>
              <a:avLst/>
              <a:gdLst>
                <a:gd name="T0" fmla="*/ 18 w 18"/>
                <a:gd name="T1" fmla="*/ 9 h 23"/>
                <a:gd name="T2" fmla="*/ 18 w 18"/>
                <a:gd name="T3" fmla="*/ 5 h 23"/>
                <a:gd name="T4" fmla="*/ 17 w 18"/>
                <a:gd name="T5" fmla="*/ 3 h 23"/>
                <a:gd name="T6" fmla="*/ 14 w 18"/>
                <a:gd name="T7" fmla="*/ 1 h 23"/>
                <a:gd name="T8" fmla="*/ 11 w 18"/>
                <a:gd name="T9" fmla="*/ 0 h 23"/>
                <a:gd name="T10" fmla="*/ 7 w 18"/>
                <a:gd name="T11" fmla="*/ 1 h 23"/>
                <a:gd name="T12" fmla="*/ 4 w 18"/>
                <a:gd name="T13" fmla="*/ 4 h 23"/>
                <a:gd name="T14" fmla="*/ 4 w 18"/>
                <a:gd name="T15" fmla="*/ 1 h 23"/>
                <a:gd name="T16" fmla="*/ 4 w 18"/>
                <a:gd name="T17" fmla="*/ 1 h 23"/>
                <a:gd name="T18" fmla="*/ 3 w 18"/>
                <a:gd name="T19" fmla="*/ 0 h 23"/>
                <a:gd name="T20" fmla="*/ 3 w 18"/>
                <a:gd name="T21" fmla="*/ 0 h 23"/>
                <a:gd name="T22" fmla="*/ 2 w 18"/>
                <a:gd name="T23" fmla="*/ 0 h 23"/>
                <a:gd name="T24" fmla="*/ 1 w 18"/>
                <a:gd name="T25" fmla="*/ 0 h 23"/>
                <a:gd name="T26" fmla="*/ 1 w 18"/>
                <a:gd name="T27" fmla="*/ 0 h 23"/>
                <a:gd name="T28" fmla="*/ 0 w 18"/>
                <a:gd name="T29" fmla="*/ 1 h 23"/>
                <a:gd name="T30" fmla="*/ 0 w 18"/>
                <a:gd name="T31" fmla="*/ 1 h 23"/>
                <a:gd name="T32" fmla="*/ 0 w 18"/>
                <a:gd name="T33" fmla="*/ 22 h 23"/>
                <a:gd name="T34" fmla="*/ 0 w 18"/>
                <a:gd name="T35" fmla="*/ 22 h 23"/>
                <a:gd name="T36" fmla="*/ 1 w 18"/>
                <a:gd name="T37" fmla="*/ 23 h 23"/>
                <a:gd name="T38" fmla="*/ 1 w 18"/>
                <a:gd name="T39" fmla="*/ 23 h 23"/>
                <a:gd name="T40" fmla="*/ 2 w 18"/>
                <a:gd name="T41" fmla="*/ 23 h 23"/>
                <a:gd name="T42" fmla="*/ 3 w 18"/>
                <a:gd name="T43" fmla="*/ 23 h 23"/>
                <a:gd name="T44" fmla="*/ 4 w 18"/>
                <a:gd name="T45" fmla="*/ 23 h 23"/>
                <a:gd name="T46" fmla="*/ 4 w 18"/>
                <a:gd name="T47" fmla="*/ 22 h 23"/>
                <a:gd name="T48" fmla="*/ 4 w 18"/>
                <a:gd name="T49" fmla="*/ 22 h 23"/>
                <a:gd name="T50" fmla="*/ 4 w 18"/>
                <a:gd name="T51" fmla="*/ 7 h 23"/>
                <a:gd name="T52" fmla="*/ 7 w 18"/>
                <a:gd name="T53" fmla="*/ 4 h 23"/>
                <a:gd name="T54" fmla="*/ 10 w 18"/>
                <a:gd name="T55" fmla="*/ 3 h 23"/>
                <a:gd name="T56" fmla="*/ 12 w 18"/>
                <a:gd name="T57" fmla="*/ 4 h 23"/>
                <a:gd name="T58" fmla="*/ 14 w 18"/>
                <a:gd name="T59" fmla="*/ 5 h 23"/>
                <a:gd name="T60" fmla="*/ 14 w 18"/>
                <a:gd name="T61" fmla="*/ 7 h 23"/>
                <a:gd name="T62" fmla="*/ 15 w 18"/>
                <a:gd name="T63" fmla="*/ 10 h 23"/>
                <a:gd name="T64" fmla="*/ 15 w 18"/>
                <a:gd name="T65" fmla="*/ 22 h 23"/>
                <a:gd name="T66" fmla="*/ 15 w 18"/>
                <a:gd name="T67" fmla="*/ 22 h 23"/>
                <a:gd name="T68" fmla="*/ 15 w 18"/>
                <a:gd name="T69" fmla="*/ 23 h 23"/>
                <a:gd name="T70" fmla="*/ 16 w 18"/>
                <a:gd name="T71" fmla="*/ 23 h 23"/>
                <a:gd name="T72" fmla="*/ 17 w 18"/>
                <a:gd name="T73" fmla="*/ 23 h 23"/>
                <a:gd name="T74" fmla="*/ 18 w 18"/>
                <a:gd name="T75" fmla="*/ 23 h 23"/>
                <a:gd name="T76" fmla="*/ 18 w 18"/>
                <a:gd name="T77" fmla="*/ 23 h 23"/>
                <a:gd name="T78" fmla="*/ 18 w 18"/>
                <a:gd name="T79" fmla="*/ 22 h 23"/>
                <a:gd name="T80" fmla="*/ 18 w 18"/>
                <a:gd name="T81" fmla="*/ 22 h 23"/>
                <a:gd name="T82" fmla="*/ 18 w 18"/>
                <a:gd name="T83"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9"/>
                  </a:moveTo>
                  <a:cubicBezTo>
                    <a:pt x="18" y="8"/>
                    <a:pt x="18" y="6"/>
                    <a:pt x="18" y="5"/>
                  </a:cubicBezTo>
                  <a:cubicBezTo>
                    <a:pt x="18" y="4"/>
                    <a:pt x="17" y="3"/>
                    <a:pt x="17" y="3"/>
                  </a:cubicBezTo>
                  <a:cubicBezTo>
                    <a:pt x="16" y="2"/>
                    <a:pt x="15" y="1"/>
                    <a:pt x="14" y="1"/>
                  </a:cubicBezTo>
                  <a:cubicBezTo>
                    <a:pt x="14" y="0"/>
                    <a:pt x="12" y="0"/>
                    <a:pt x="11" y="0"/>
                  </a:cubicBezTo>
                  <a:cubicBezTo>
                    <a:pt x="10" y="0"/>
                    <a:pt x="9" y="0"/>
                    <a:pt x="7" y="1"/>
                  </a:cubicBezTo>
                  <a:cubicBezTo>
                    <a:pt x="6" y="1"/>
                    <a:pt x="5" y="2"/>
                    <a:pt x="4" y="4"/>
                  </a:cubicBezTo>
                  <a:cubicBezTo>
                    <a:pt x="4" y="1"/>
                    <a:pt x="4" y="1"/>
                    <a:pt x="4" y="1"/>
                  </a:cubicBezTo>
                  <a:cubicBezTo>
                    <a:pt x="4" y="1"/>
                    <a:pt x="4" y="1"/>
                    <a:pt x="4" y="1"/>
                  </a:cubicBezTo>
                  <a:cubicBezTo>
                    <a:pt x="4" y="1"/>
                    <a:pt x="4" y="0"/>
                    <a:pt x="3" y="0"/>
                  </a:cubicBezTo>
                  <a:cubicBezTo>
                    <a:pt x="3" y="0"/>
                    <a:pt x="3" y="0"/>
                    <a:pt x="3" y="0"/>
                  </a:cubicBezTo>
                  <a:cubicBezTo>
                    <a:pt x="3" y="0"/>
                    <a:pt x="2" y="0"/>
                    <a:pt x="2" y="0"/>
                  </a:cubicBezTo>
                  <a:cubicBezTo>
                    <a:pt x="2" y="0"/>
                    <a:pt x="1" y="0"/>
                    <a:pt x="1" y="0"/>
                  </a:cubicBezTo>
                  <a:cubicBezTo>
                    <a:pt x="1" y="0"/>
                    <a:pt x="1" y="0"/>
                    <a:pt x="1" y="0"/>
                  </a:cubicBezTo>
                  <a:cubicBezTo>
                    <a:pt x="1" y="0"/>
                    <a:pt x="0" y="1"/>
                    <a:pt x="0" y="1"/>
                  </a:cubicBezTo>
                  <a:cubicBezTo>
                    <a:pt x="0" y="1"/>
                    <a:pt x="0" y="1"/>
                    <a:pt x="0" y="1"/>
                  </a:cubicBezTo>
                  <a:cubicBezTo>
                    <a:pt x="0" y="22"/>
                    <a:pt x="0" y="22"/>
                    <a:pt x="0" y="22"/>
                  </a:cubicBezTo>
                  <a:cubicBezTo>
                    <a:pt x="0" y="22"/>
                    <a:pt x="0" y="22"/>
                    <a:pt x="0" y="22"/>
                  </a:cubicBezTo>
                  <a:cubicBezTo>
                    <a:pt x="0" y="22"/>
                    <a:pt x="1" y="23"/>
                    <a:pt x="1" y="23"/>
                  </a:cubicBezTo>
                  <a:cubicBezTo>
                    <a:pt x="1" y="23"/>
                    <a:pt x="1" y="23"/>
                    <a:pt x="1" y="23"/>
                  </a:cubicBezTo>
                  <a:cubicBezTo>
                    <a:pt x="2" y="23"/>
                    <a:pt x="2" y="23"/>
                    <a:pt x="2" y="23"/>
                  </a:cubicBezTo>
                  <a:cubicBezTo>
                    <a:pt x="3" y="23"/>
                    <a:pt x="3" y="23"/>
                    <a:pt x="3" y="23"/>
                  </a:cubicBezTo>
                  <a:cubicBezTo>
                    <a:pt x="3" y="23"/>
                    <a:pt x="4" y="23"/>
                    <a:pt x="4" y="23"/>
                  </a:cubicBezTo>
                  <a:cubicBezTo>
                    <a:pt x="4" y="23"/>
                    <a:pt x="4" y="22"/>
                    <a:pt x="4" y="22"/>
                  </a:cubicBezTo>
                  <a:cubicBezTo>
                    <a:pt x="4" y="22"/>
                    <a:pt x="4" y="22"/>
                    <a:pt x="4" y="22"/>
                  </a:cubicBezTo>
                  <a:cubicBezTo>
                    <a:pt x="4" y="7"/>
                    <a:pt x="4" y="7"/>
                    <a:pt x="4" y="7"/>
                  </a:cubicBezTo>
                  <a:cubicBezTo>
                    <a:pt x="5" y="6"/>
                    <a:pt x="6" y="5"/>
                    <a:pt x="7" y="4"/>
                  </a:cubicBezTo>
                  <a:cubicBezTo>
                    <a:pt x="8" y="4"/>
                    <a:pt x="9" y="3"/>
                    <a:pt x="10" y="3"/>
                  </a:cubicBezTo>
                  <a:cubicBezTo>
                    <a:pt x="11" y="3"/>
                    <a:pt x="12" y="3"/>
                    <a:pt x="12" y="4"/>
                  </a:cubicBezTo>
                  <a:cubicBezTo>
                    <a:pt x="13" y="4"/>
                    <a:pt x="13" y="4"/>
                    <a:pt x="14" y="5"/>
                  </a:cubicBezTo>
                  <a:cubicBezTo>
                    <a:pt x="14" y="5"/>
                    <a:pt x="14" y="6"/>
                    <a:pt x="14" y="7"/>
                  </a:cubicBezTo>
                  <a:cubicBezTo>
                    <a:pt x="15" y="8"/>
                    <a:pt x="15" y="8"/>
                    <a:pt x="15" y="10"/>
                  </a:cubicBezTo>
                  <a:cubicBezTo>
                    <a:pt x="15" y="22"/>
                    <a:pt x="15" y="22"/>
                    <a:pt x="15" y="22"/>
                  </a:cubicBezTo>
                  <a:cubicBezTo>
                    <a:pt x="15" y="22"/>
                    <a:pt x="15" y="22"/>
                    <a:pt x="15" y="22"/>
                  </a:cubicBezTo>
                  <a:cubicBezTo>
                    <a:pt x="15" y="22"/>
                    <a:pt x="15" y="23"/>
                    <a:pt x="15" y="23"/>
                  </a:cubicBezTo>
                  <a:cubicBezTo>
                    <a:pt x="15" y="23"/>
                    <a:pt x="15" y="23"/>
                    <a:pt x="16" y="23"/>
                  </a:cubicBezTo>
                  <a:cubicBezTo>
                    <a:pt x="16" y="23"/>
                    <a:pt x="16" y="23"/>
                    <a:pt x="17" y="23"/>
                  </a:cubicBezTo>
                  <a:cubicBezTo>
                    <a:pt x="17" y="23"/>
                    <a:pt x="17" y="23"/>
                    <a:pt x="18" y="23"/>
                  </a:cubicBezTo>
                  <a:cubicBezTo>
                    <a:pt x="18" y="23"/>
                    <a:pt x="18" y="23"/>
                    <a:pt x="18" y="23"/>
                  </a:cubicBezTo>
                  <a:cubicBezTo>
                    <a:pt x="18" y="23"/>
                    <a:pt x="18" y="22"/>
                    <a:pt x="18" y="22"/>
                  </a:cubicBezTo>
                  <a:cubicBezTo>
                    <a:pt x="18" y="22"/>
                    <a:pt x="18" y="22"/>
                    <a:pt x="18" y="22"/>
                  </a:cubicBezTo>
                  <a:cubicBezTo>
                    <a:pt x="18" y="9"/>
                    <a:pt x="18" y="9"/>
                    <a:pt x="18" y="9"/>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57">
              <a:extLst>
                <a:ext uri="{FF2B5EF4-FFF2-40B4-BE49-F238E27FC236}">
                  <a16:creationId xmlns:a16="http://schemas.microsoft.com/office/drawing/2014/main" id="{D649D71C-C3B0-4BFE-A366-7BCCB59F315F}"/>
                </a:ext>
              </a:extLst>
            </p:cNvPr>
            <p:cNvSpPr>
              <a:spLocks noEditPoints="1"/>
            </p:cNvSpPr>
            <p:nvPr/>
          </p:nvSpPr>
          <p:spPr bwMode="auto">
            <a:xfrm>
              <a:off x="7924234" y="4138185"/>
              <a:ext cx="67817" cy="79361"/>
            </a:xfrm>
            <a:custGeom>
              <a:avLst/>
              <a:gdLst>
                <a:gd name="T0" fmla="*/ 20 w 20"/>
                <a:gd name="T1" fmla="*/ 10 h 23"/>
                <a:gd name="T2" fmla="*/ 19 w 20"/>
                <a:gd name="T3" fmla="*/ 6 h 23"/>
                <a:gd name="T4" fmla="*/ 18 w 20"/>
                <a:gd name="T5" fmla="*/ 3 h 23"/>
                <a:gd name="T6" fmla="*/ 15 w 20"/>
                <a:gd name="T7" fmla="*/ 1 h 23"/>
                <a:gd name="T8" fmla="*/ 10 w 20"/>
                <a:gd name="T9" fmla="*/ 0 h 23"/>
                <a:gd name="T10" fmla="*/ 6 w 20"/>
                <a:gd name="T11" fmla="*/ 1 h 23"/>
                <a:gd name="T12" fmla="*/ 3 w 20"/>
                <a:gd name="T13" fmla="*/ 3 h 23"/>
                <a:gd name="T14" fmla="*/ 1 w 20"/>
                <a:gd name="T15" fmla="*/ 7 h 23"/>
                <a:gd name="T16" fmla="*/ 0 w 20"/>
                <a:gd name="T17" fmla="*/ 12 h 23"/>
                <a:gd name="T18" fmla="*/ 1 w 20"/>
                <a:gd name="T19" fmla="*/ 17 h 23"/>
                <a:gd name="T20" fmla="*/ 3 w 20"/>
                <a:gd name="T21" fmla="*/ 20 h 23"/>
                <a:gd name="T22" fmla="*/ 6 w 20"/>
                <a:gd name="T23" fmla="*/ 22 h 23"/>
                <a:gd name="T24" fmla="*/ 11 w 20"/>
                <a:gd name="T25" fmla="*/ 23 h 23"/>
                <a:gd name="T26" fmla="*/ 14 w 20"/>
                <a:gd name="T27" fmla="*/ 23 h 23"/>
                <a:gd name="T28" fmla="*/ 16 w 20"/>
                <a:gd name="T29" fmla="*/ 22 h 23"/>
                <a:gd name="T30" fmla="*/ 18 w 20"/>
                <a:gd name="T31" fmla="*/ 22 h 23"/>
                <a:gd name="T32" fmla="*/ 18 w 20"/>
                <a:gd name="T33" fmla="*/ 21 h 23"/>
                <a:gd name="T34" fmla="*/ 19 w 20"/>
                <a:gd name="T35" fmla="*/ 21 h 23"/>
                <a:gd name="T36" fmla="*/ 19 w 20"/>
                <a:gd name="T37" fmla="*/ 21 h 23"/>
                <a:gd name="T38" fmla="*/ 19 w 20"/>
                <a:gd name="T39" fmla="*/ 20 h 23"/>
                <a:gd name="T40" fmla="*/ 19 w 20"/>
                <a:gd name="T41" fmla="*/ 20 h 23"/>
                <a:gd name="T42" fmla="*/ 19 w 20"/>
                <a:gd name="T43" fmla="*/ 19 h 23"/>
                <a:gd name="T44" fmla="*/ 19 w 20"/>
                <a:gd name="T45" fmla="*/ 19 h 23"/>
                <a:gd name="T46" fmla="*/ 19 w 20"/>
                <a:gd name="T47" fmla="*/ 18 h 23"/>
                <a:gd name="T48" fmla="*/ 18 w 20"/>
                <a:gd name="T49" fmla="*/ 18 h 23"/>
                <a:gd name="T50" fmla="*/ 17 w 20"/>
                <a:gd name="T51" fmla="*/ 19 h 23"/>
                <a:gd name="T52" fmla="*/ 16 w 20"/>
                <a:gd name="T53" fmla="*/ 19 h 23"/>
                <a:gd name="T54" fmla="*/ 14 w 20"/>
                <a:gd name="T55" fmla="*/ 20 h 23"/>
                <a:gd name="T56" fmla="*/ 11 w 20"/>
                <a:gd name="T57" fmla="*/ 20 h 23"/>
                <a:gd name="T58" fmla="*/ 8 w 20"/>
                <a:gd name="T59" fmla="*/ 19 h 23"/>
                <a:gd name="T60" fmla="*/ 6 w 20"/>
                <a:gd name="T61" fmla="*/ 18 h 23"/>
                <a:gd name="T62" fmla="*/ 5 w 20"/>
                <a:gd name="T63" fmla="*/ 15 h 23"/>
                <a:gd name="T64" fmla="*/ 4 w 20"/>
                <a:gd name="T65" fmla="*/ 12 h 23"/>
                <a:gd name="T66" fmla="*/ 18 w 20"/>
                <a:gd name="T67" fmla="*/ 12 h 23"/>
                <a:gd name="T68" fmla="*/ 19 w 20"/>
                <a:gd name="T69" fmla="*/ 12 h 23"/>
                <a:gd name="T70" fmla="*/ 20 w 20"/>
                <a:gd name="T71" fmla="*/ 11 h 23"/>
                <a:gd name="T72" fmla="*/ 20 w 20"/>
                <a:gd name="T73" fmla="*/ 10 h 23"/>
                <a:gd name="T74" fmla="*/ 4 w 20"/>
                <a:gd name="T75" fmla="*/ 9 h 23"/>
                <a:gd name="T76" fmla="*/ 5 w 20"/>
                <a:gd name="T77" fmla="*/ 7 h 23"/>
                <a:gd name="T78" fmla="*/ 6 w 20"/>
                <a:gd name="T79" fmla="*/ 5 h 23"/>
                <a:gd name="T80" fmla="*/ 8 w 20"/>
                <a:gd name="T81" fmla="*/ 3 h 23"/>
                <a:gd name="T82" fmla="*/ 10 w 20"/>
                <a:gd name="T83" fmla="*/ 3 h 23"/>
                <a:gd name="T84" fmla="*/ 14 w 20"/>
                <a:gd name="T85" fmla="*/ 5 h 23"/>
                <a:gd name="T86" fmla="*/ 16 w 20"/>
                <a:gd name="T87" fmla="*/ 9 h 23"/>
                <a:gd name="T88" fmla="*/ 4 w 20"/>
                <a:gd name="T8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 h="23">
                  <a:moveTo>
                    <a:pt x="20" y="10"/>
                  </a:moveTo>
                  <a:cubicBezTo>
                    <a:pt x="20" y="9"/>
                    <a:pt x="20" y="7"/>
                    <a:pt x="19" y="6"/>
                  </a:cubicBezTo>
                  <a:cubicBezTo>
                    <a:pt x="19" y="5"/>
                    <a:pt x="18" y="4"/>
                    <a:pt x="18" y="3"/>
                  </a:cubicBezTo>
                  <a:cubicBezTo>
                    <a:pt x="17" y="2"/>
                    <a:pt x="16" y="1"/>
                    <a:pt x="15" y="1"/>
                  </a:cubicBezTo>
                  <a:cubicBezTo>
                    <a:pt x="14" y="0"/>
                    <a:pt x="12" y="0"/>
                    <a:pt x="10" y="0"/>
                  </a:cubicBezTo>
                  <a:cubicBezTo>
                    <a:pt x="9" y="0"/>
                    <a:pt x="8" y="0"/>
                    <a:pt x="6" y="1"/>
                  </a:cubicBezTo>
                  <a:cubicBezTo>
                    <a:pt x="5" y="1"/>
                    <a:pt x="4" y="2"/>
                    <a:pt x="3" y="3"/>
                  </a:cubicBezTo>
                  <a:cubicBezTo>
                    <a:pt x="2" y="4"/>
                    <a:pt x="2" y="5"/>
                    <a:pt x="1" y="7"/>
                  </a:cubicBezTo>
                  <a:cubicBezTo>
                    <a:pt x="1" y="8"/>
                    <a:pt x="0" y="10"/>
                    <a:pt x="0" y="12"/>
                  </a:cubicBezTo>
                  <a:cubicBezTo>
                    <a:pt x="0" y="14"/>
                    <a:pt x="1" y="15"/>
                    <a:pt x="1" y="17"/>
                  </a:cubicBezTo>
                  <a:cubicBezTo>
                    <a:pt x="1" y="18"/>
                    <a:pt x="2" y="19"/>
                    <a:pt x="3" y="20"/>
                  </a:cubicBezTo>
                  <a:cubicBezTo>
                    <a:pt x="4" y="21"/>
                    <a:pt x="5" y="22"/>
                    <a:pt x="6" y="22"/>
                  </a:cubicBezTo>
                  <a:cubicBezTo>
                    <a:pt x="8" y="23"/>
                    <a:pt x="9" y="23"/>
                    <a:pt x="11" y="23"/>
                  </a:cubicBezTo>
                  <a:cubicBezTo>
                    <a:pt x="12" y="23"/>
                    <a:pt x="13" y="23"/>
                    <a:pt x="14" y="23"/>
                  </a:cubicBezTo>
                  <a:cubicBezTo>
                    <a:pt x="15" y="23"/>
                    <a:pt x="15" y="23"/>
                    <a:pt x="16" y="22"/>
                  </a:cubicBezTo>
                  <a:cubicBezTo>
                    <a:pt x="17" y="22"/>
                    <a:pt x="17" y="22"/>
                    <a:pt x="18" y="22"/>
                  </a:cubicBezTo>
                  <a:cubicBezTo>
                    <a:pt x="18" y="22"/>
                    <a:pt x="18" y="21"/>
                    <a:pt x="18" y="21"/>
                  </a:cubicBezTo>
                  <a:cubicBezTo>
                    <a:pt x="19" y="21"/>
                    <a:pt x="19" y="21"/>
                    <a:pt x="19" y="21"/>
                  </a:cubicBezTo>
                  <a:cubicBezTo>
                    <a:pt x="19" y="21"/>
                    <a:pt x="19" y="21"/>
                    <a:pt x="19" y="21"/>
                  </a:cubicBezTo>
                  <a:cubicBezTo>
                    <a:pt x="19" y="21"/>
                    <a:pt x="19" y="21"/>
                    <a:pt x="19" y="20"/>
                  </a:cubicBezTo>
                  <a:cubicBezTo>
                    <a:pt x="19" y="20"/>
                    <a:pt x="19" y="20"/>
                    <a:pt x="19" y="20"/>
                  </a:cubicBezTo>
                  <a:cubicBezTo>
                    <a:pt x="19" y="20"/>
                    <a:pt x="19" y="19"/>
                    <a:pt x="19" y="19"/>
                  </a:cubicBezTo>
                  <a:cubicBezTo>
                    <a:pt x="19" y="19"/>
                    <a:pt x="19" y="19"/>
                    <a:pt x="19" y="19"/>
                  </a:cubicBezTo>
                  <a:cubicBezTo>
                    <a:pt x="19" y="19"/>
                    <a:pt x="19" y="18"/>
                    <a:pt x="19" y="18"/>
                  </a:cubicBezTo>
                  <a:cubicBezTo>
                    <a:pt x="18" y="18"/>
                    <a:pt x="18" y="18"/>
                    <a:pt x="18" y="18"/>
                  </a:cubicBezTo>
                  <a:cubicBezTo>
                    <a:pt x="18" y="18"/>
                    <a:pt x="18" y="18"/>
                    <a:pt x="17" y="19"/>
                  </a:cubicBezTo>
                  <a:cubicBezTo>
                    <a:pt x="17" y="19"/>
                    <a:pt x="17" y="19"/>
                    <a:pt x="16" y="19"/>
                  </a:cubicBezTo>
                  <a:cubicBezTo>
                    <a:pt x="15" y="19"/>
                    <a:pt x="15" y="20"/>
                    <a:pt x="14" y="20"/>
                  </a:cubicBezTo>
                  <a:cubicBezTo>
                    <a:pt x="13" y="20"/>
                    <a:pt x="12" y="20"/>
                    <a:pt x="11" y="20"/>
                  </a:cubicBezTo>
                  <a:cubicBezTo>
                    <a:pt x="10" y="20"/>
                    <a:pt x="9" y="20"/>
                    <a:pt x="8" y="19"/>
                  </a:cubicBezTo>
                  <a:cubicBezTo>
                    <a:pt x="7" y="19"/>
                    <a:pt x="6" y="19"/>
                    <a:pt x="6" y="18"/>
                  </a:cubicBezTo>
                  <a:cubicBezTo>
                    <a:pt x="5" y="17"/>
                    <a:pt x="5" y="16"/>
                    <a:pt x="5" y="15"/>
                  </a:cubicBezTo>
                  <a:cubicBezTo>
                    <a:pt x="4" y="15"/>
                    <a:pt x="4" y="13"/>
                    <a:pt x="4" y="12"/>
                  </a:cubicBezTo>
                  <a:cubicBezTo>
                    <a:pt x="18" y="12"/>
                    <a:pt x="18" y="12"/>
                    <a:pt x="18" y="12"/>
                  </a:cubicBezTo>
                  <a:cubicBezTo>
                    <a:pt x="19" y="12"/>
                    <a:pt x="19" y="12"/>
                    <a:pt x="19" y="12"/>
                  </a:cubicBezTo>
                  <a:cubicBezTo>
                    <a:pt x="20" y="12"/>
                    <a:pt x="20" y="11"/>
                    <a:pt x="20" y="11"/>
                  </a:cubicBezTo>
                  <a:cubicBezTo>
                    <a:pt x="20" y="10"/>
                    <a:pt x="20" y="10"/>
                    <a:pt x="20" y="10"/>
                  </a:cubicBezTo>
                  <a:close/>
                  <a:moveTo>
                    <a:pt x="4" y="9"/>
                  </a:moveTo>
                  <a:cubicBezTo>
                    <a:pt x="4" y="9"/>
                    <a:pt x="5" y="8"/>
                    <a:pt x="5" y="7"/>
                  </a:cubicBezTo>
                  <a:cubicBezTo>
                    <a:pt x="5" y="6"/>
                    <a:pt x="5" y="5"/>
                    <a:pt x="6" y="5"/>
                  </a:cubicBezTo>
                  <a:cubicBezTo>
                    <a:pt x="6" y="4"/>
                    <a:pt x="7" y="4"/>
                    <a:pt x="8" y="3"/>
                  </a:cubicBezTo>
                  <a:cubicBezTo>
                    <a:pt x="8" y="3"/>
                    <a:pt x="9" y="3"/>
                    <a:pt x="10" y="3"/>
                  </a:cubicBezTo>
                  <a:cubicBezTo>
                    <a:pt x="12" y="3"/>
                    <a:pt x="14" y="4"/>
                    <a:pt x="14" y="5"/>
                  </a:cubicBezTo>
                  <a:cubicBezTo>
                    <a:pt x="15" y="6"/>
                    <a:pt x="16" y="7"/>
                    <a:pt x="16" y="9"/>
                  </a:cubicBezTo>
                  <a:cubicBezTo>
                    <a:pt x="4" y="9"/>
                    <a:pt x="4" y="9"/>
                    <a:pt x="4" y="9"/>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58">
              <a:extLst>
                <a:ext uri="{FF2B5EF4-FFF2-40B4-BE49-F238E27FC236}">
                  <a16:creationId xmlns:a16="http://schemas.microsoft.com/office/drawing/2014/main" id="{762D5F53-219F-49ED-8AB4-72EE156B6280}"/>
                </a:ext>
              </a:extLst>
            </p:cNvPr>
            <p:cNvSpPr>
              <a:spLocks noEditPoints="1"/>
            </p:cNvSpPr>
            <p:nvPr/>
          </p:nvSpPr>
          <p:spPr bwMode="auto">
            <a:xfrm>
              <a:off x="8006481" y="4138185"/>
              <a:ext cx="67817" cy="79361"/>
            </a:xfrm>
            <a:custGeom>
              <a:avLst/>
              <a:gdLst>
                <a:gd name="T0" fmla="*/ 20 w 20"/>
                <a:gd name="T1" fmla="*/ 10 h 23"/>
                <a:gd name="T2" fmla="*/ 19 w 20"/>
                <a:gd name="T3" fmla="*/ 6 h 23"/>
                <a:gd name="T4" fmla="*/ 18 w 20"/>
                <a:gd name="T5" fmla="*/ 3 h 23"/>
                <a:gd name="T6" fmla="*/ 15 w 20"/>
                <a:gd name="T7" fmla="*/ 1 h 23"/>
                <a:gd name="T8" fmla="*/ 10 w 20"/>
                <a:gd name="T9" fmla="*/ 0 h 23"/>
                <a:gd name="T10" fmla="*/ 6 w 20"/>
                <a:gd name="T11" fmla="*/ 1 h 23"/>
                <a:gd name="T12" fmla="*/ 3 w 20"/>
                <a:gd name="T13" fmla="*/ 3 h 23"/>
                <a:gd name="T14" fmla="*/ 1 w 20"/>
                <a:gd name="T15" fmla="*/ 7 h 23"/>
                <a:gd name="T16" fmla="*/ 0 w 20"/>
                <a:gd name="T17" fmla="*/ 12 h 23"/>
                <a:gd name="T18" fmla="*/ 1 w 20"/>
                <a:gd name="T19" fmla="*/ 17 h 23"/>
                <a:gd name="T20" fmla="*/ 3 w 20"/>
                <a:gd name="T21" fmla="*/ 20 h 23"/>
                <a:gd name="T22" fmla="*/ 6 w 20"/>
                <a:gd name="T23" fmla="*/ 22 h 23"/>
                <a:gd name="T24" fmla="*/ 11 w 20"/>
                <a:gd name="T25" fmla="*/ 23 h 23"/>
                <a:gd name="T26" fmla="*/ 14 w 20"/>
                <a:gd name="T27" fmla="*/ 23 h 23"/>
                <a:gd name="T28" fmla="*/ 16 w 20"/>
                <a:gd name="T29" fmla="*/ 22 h 23"/>
                <a:gd name="T30" fmla="*/ 18 w 20"/>
                <a:gd name="T31" fmla="*/ 22 h 23"/>
                <a:gd name="T32" fmla="*/ 18 w 20"/>
                <a:gd name="T33" fmla="*/ 21 h 23"/>
                <a:gd name="T34" fmla="*/ 19 w 20"/>
                <a:gd name="T35" fmla="*/ 21 h 23"/>
                <a:gd name="T36" fmla="*/ 19 w 20"/>
                <a:gd name="T37" fmla="*/ 21 h 23"/>
                <a:gd name="T38" fmla="*/ 19 w 20"/>
                <a:gd name="T39" fmla="*/ 20 h 23"/>
                <a:gd name="T40" fmla="*/ 19 w 20"/>
                <a:gd name="T41" fmla="*/ 20 h 23"/>
                <a:gd name="T42" fmla="*/ 19 w 20"/>
                <a:gd name="T43" fmla="*/ 19 h 23"/>
                <a:gd name="T44" fmla="*/ 19 w 20"/>
                <a:gd name="T45" fmla="*/ 19 h 23"/>
                <a:gd name="T46" fmla="*/ 18 w 20"/>
                <a:gd name="T47" fmla="*/ 18 h 23"/>
                <a:gd name="T48" fmla="*/ 18 w 20"/>
                <a:gd name="T49" fmla="*/ 18 h 23"/>
                <a:gd name="T50" fmla="*/ 17 w 20"/>
                <a:gd name="T51" fmla="*/ 19 h 23"/>
                <a:gd name="T52" fmla="*/ 16 w 20"/>
                <a:gd name="T53" fmla="*/ 19 h 23"/>
                <a:gd name="T54" fmla="*/ 14 w 20"/>
                <a:gd name="T55" fmla="*/ 20 h 23"/>
                <a:gd name="T56" fmla="*/ 11 w 20"/>
                <a:gd name="T57" fmla="*/ 20 h 23"/>
                <a:gd name="T58" fmla="*/ 8 w 20"/>
                <a:gd name="T59" fmla="*/ 19 h 23"/>
                <a:gd name="T60" fmla="*/ 6 w 20"/>
                <a:gd name="T61" fmla="*/ 18 h 23"/>
                <a:gd name="T62" fmla="*/ 5 w 20"/>
                <a:gd name="T63" fmla="*/ 15 h 23"/>
                <a:gd name="T64" fmla="*/ 4 w 20"/>
                <a:gd name="T65" fmla="*/ 12 h 23"/>
                <a:gd name="T66" fmla="*/ 18 w 20"/>
                <a:gd name="T67" fmla="*/ 12 h 23"/>
                <a:gd name="T68" fmla="*/ 19 w 20"/>
                <a:gd name="T69" fmla="*/ 12 h 23"/>
                <a:gd name="T70" fmla="*/ 20 w 20"/>
                <a:gd name="T71" fmla="*/ 11 h 23"/>
                <a:gd name="T72" fmla="*/ 20 w 20"/>
                <a:gd name="T73" fmla="*/ 10 h 23"/>
                <a:gd name="T74" fmla="*/ 4 w 20"/>
                <a:gd name="T75" fmla="*/ 9 h 23"/>
                <a:gd name="T76" fmla="*/ 5 w 20"/>
                <a:gd name="T77" fmla="*/ 7 h 23"/>
                <a:gd name="T78" fmla="*/ 6 w 20"/>
                <a:gd name="T79" fmla="*/ 5 h 23"/>
                <a:gd name="T80" fmla="*/ 8 w 20"/>
                <a:gd name="T81" fmla="*/ 3 h 23"/>
                <a:gd name="T82" fmla="*/ 10 w 20"/>
                <a:gd name="T83" fmla="*/ 3 h 23"/>
                <a:gd name="T84" fmla="*/ 14 w 20"/>
                <a:gd name="T85" fmla="*/ 5 h 23"/>
                <a:gd name="T86" fmla="*/ 16 w 20"/>
                <a:gd name="T87" fmla="*/ 9 h 23"/>
                <a:gd name="T88" fmla="*/ 4 w 20"/>
                <a:gd name="T8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 h="23">
                  <a:moveTo>
                    <a:pt x="20" y="10"/>
                  </a:moveTo>
                  <a:cubicBezTo>
                    <a:pt x="20" y="9"/>
                    <a:pt x="20" y="7"/>
                    <a:pt x="19" y="6"/>
                  </a:cubicBezTo>
                  <a:cubicBezTo>
                    <a:pt x="19" y="5"/>
                    <a:pt x="18" y="4"/>
                    <a:pt x="18" y="3"/>
                  </a:cubicBezTo>
                  <a:cubicBezTo>
                    <a:pt x="17" y="2"/>
                    <a:pt x="16" y="1"/>
                    <a:pt x="15" y="1"/>
                  </a:cubicBezTo>
                  <a:cubicBezTo>
                    <a:pt x="14" y="0"/>
                    <a:pt x="12" y="0"/>
                    <a:pt x="10" y="0"/>
                  </a:cubicBezTo>
                  <a:cubicBezTo>
                    <a:pt x="9" y="0"/>
                    <a:pt x="7" y="0"/>
                    <a:pt x="6" y="1"/>
                  </a:cubicBezTo>
                  <a:cubicBezTo>
                    <a:pt x="5" y="1"/>
                    <a:pt x="4" y="2"/>
                    <a:pt x="3" y="3"/>
                  </a:cubicBezTo>
                  <a:cubicBezTo>
                    <a:pt x="2" y="4"/>
                    <a:pt x="1" y="5"/>
                    <a:pt x="1" y="7"/>
                  </a:cubicBezTo>
                  <a:cubicBezTo>
                    <a:pt x="1" y="8"/>
                    <a:pt x="0" y="10"/>
                    <a:pt x="0" y="12"/>
                  </a:cubicBezTo>
                  <a:cubicBezTo>
                    <a:pt x="0" y="14"/>
                    <a:pt x="1" y="15"/>
                    <a:pt x="1" y="17"/>
                  </a:cubicBezTo>
                  <a:cubicBezTo>
                    <a:pt x="1" y="18"/>
                    <a:pt x="2" y="19"/>
                    <a:pt x="3" y="20"/>
                  </a:cubicBezTo>
                  <a:cubicBezTo>
                    <a:pt x="4" y="21"/>
                    <a:pt x="5" y="22"/>
                    <a:pt x="6" y="22"/>
                  </a:cubicBezTo>
                  <a:cubicBezTo>
                    <a:pt x="8" y="23"/>
                    <a:pt x="9" y="23"/>
                    <a:pt x="11" y="23"/>
                  </a:cubicBezTo>
                  <a:cubicBezTo>
                    <a:pt x="12" y="23"/>
                    <a:pt x="13" y="23"/>
                    <a:pt x="14" y="23"/>
                  </a:cubicBezTo>
                  <a:cubicBezTo>
                    <a:pt x="15" y="23"/>
                    <a:pt x="15" y="23"/>
                    <a:pt x="16" y="22"/>
                  </a:cubicBezTo>
                  <a:cubicBezTo>
                    <a:pt x="17" y="22"/>
                    <a:pt x="17" y="22"/>
                    <a:pt x="18" y="22"/>
                  </a:cubicBezTo>
                  <a:cubicBezTo>
                    <a:pt x="18" y="22"/>
                    <a:pt x="18" y="21"/>
                    <a:pt x="18" y="21"/>
                  </a:cubicBezTo>
                  <a:cubicBezTo>
                    <a:pt x="19" y="21"/>
                    <a:pt x="19" y="21"/>
                    <a:pt x="19" y="21"/>
                  </a:cubicBezTo>
                  <a:cubicBezTo>
                    <a:pt x="19" y="21"/>
                    <a:pt x="19" y="21"/>
                    <a:pt x="19" y="21"/>
                  </a:cubicBezTo>
                  <a:cubicBezTo>
                    <a:pt x="19" y="21"/>
                    <a:pt x="19" y="21"/>
                    <a:pt x="19" y="20"/>
                  </a:cubicBezTo>
                  <a:cubicBezTo>
                    <a:pt x="19" y="20"/>
                    <a:pt x="19" y="20"/>
                    <a:pt x="19" y="20"/>
                  </a:cubicBezTo>
                  <a:cubicBezTo>
                    <a:pt x="19" y="20"/>
                    <a:pt x="19" y="19"/>
                    <a:pt x="19" y="19"/>
                  </a:cubicBezTo>
                  <a:cubicBezTo>
                    <a:pt x="19" y="19"/>
                    <a:pt x="19" y="19"/>
                    <a:pt x="19" y="19"/>
                  </a:cubicBezTo>
                  <a:cubicBezTo>
                    <a:pt x="19" y="19"/>
                    <a:pt x="19" y="18"/>
                    <a:pt x="18" y="18"/>
                  </a:cubicBezTo>
                  <a:cubicBezTo>
                    <a:pt x="18" y="18"/>
                    <a:pt x="18" y="18"/>
                    <a:pt x="18" y="18"/>
                  </a:cubicBezTo>
                  <a:cubicBezTo>
                    <a:pt x="18" y="18"/>
                    <a:pt x="18" y="18"/>
                    <a:pt x="17" y="19"/>
                  </a:cubicBezTo>
                  <a:cubicBezTo>
                    <a:pt x="17" y="19"/>
                    <a:pt x="17" y="19"/>
                    <a:pt x="16" y="19"/>
                  </a:cubicBezTo>
                  <a:cubicBezTo>
                    <a:pt x="15" y="19"/>
                    <a:pt x="15" y="20"/>
                    <a:pt x="14" y="20"/>
                  </a:cubicBezTo>
                  <a:cubicBezTo>
                    <a:pt x="13" y="20"/>
                    <a:pt x="12" y="20"/>
                    <a:pt x="11" y="20"/>
                  </a:cubicBezTo>
                  <a:cubicBezTo>
                    <a:pt x="10" y="20"/>
                    <a:pt x="9" y="20"/>
                    <a:pt x="8" y="19"/>
                  </a:cubicBezTo>
                  <a:cubicBezTo>
                    <a:pt x="7" y="19"/>
                    <a:pt x="6" y="19"/>
                    <a:pt x="6" y="18"/>
                  </a:cubicBezTo>
                  <a:cubicBezTo>
                    <a:pt x="5" y="17"/>
                    <a:pt x="5" y="16"/>
                    <a:pt x="5" y="15"/>
                  </a:cubicBezTo>
                  <a:cubicBezTo>
                    <a:pt x="4" y="15"/>
                    <a:pt x="4" y="13"/>
                    <a:pt x="4" y="12"/>
                  </a:cubicBezTo>
                  <a:cubicBezTo>
                    <a:pt x="18" y="12"/>
                    <a:pt x="18" y="12"/>
                    <a:pt x="18" y="12"/>
                  </a:cubicBezTo>
                  <a:cubicBezTo>
                    <a:pt x="19" y="12"/>
                    <a:pt x="19" y="12"/>
                    <a:pt x="19" y="12"/>
                  </a:cubicBezTo>
                  <a:cubicBezTo>
                    <a:pt x="20" y="12"/>
                    <a:pt x="20" y="11"/>
                    <a:pt x="20" y="11"/>
                  </a:cubicBezTo>
                  <a:cubicBezTo>
                    <a:pt x="20" y="10"/>
                    <a:pt x="20" y="10"/>
                    <a:pt x="20" y="10"/>
                  </a:cubicBezTo>
                  <a:close/>
                  <a:moveTo>
                    <a:pt x="4" y="9"/>
                  </a:moveTo>
                  <a:cubicBezTo>
                    <a:pt x="4" y="9"/>
                    <a:pt x="5" y="8"/>
                    <a:pt x="5" y="7"/>
                  </a:cubicBezTo>
                  <a:cubicBezTo>
                    <a:pt x="5" y="6"/>
                    <a:pt x="5" y="5"/>
                    <a:pt x="6" y="5"/>
                  </a:cubicBezTo>
                  <a:cubicBezTo>
                    <a:pt x="6" y="4"/>
                    <a:pt x="7" y="4"/>
                    <a:pt x="8" y="3"/>
                  </a:cubicBezTo>
                  <a:cubicBezTo>
                    <a:pt x="8" y="3"/>
                    <a:pt x="9" y="3"/>
                    <a:pt x="10" y="3"/>
                  </a:cubicBezTo>
                  <a:cubicBezTo>
                    <a:pt x="12" y="3"/>
                    <a:pt x="14" y="4"/>
                    <a:pt x="14" y="5"/>
                  </a:cubicBezTo>
                  <a:cubicBezTo>
                    <a:pt x="15" y="6"/>
                    <a:pt x="16" y="7"/>
                    <a:pt x="16" y="9"/>
                  </a:cubicBezTo>
                  <a:cubicBezTo>
                    <a:pt x="4" y="9"/>
                    <a:pt x="4" y="9"/>
                    <a:pt x="4" y="9"/>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59">
              <a:extLst>
                <a:ext uri="{FF2B5EF4-FFF2-40B4-BE49-F238E27FC236}">
                  <a16:creationId xmlns:a16="http://schemas.microsoft.com/office/drawing/2014/main" id="{2D8044A2-DBF7-456E-A205-F5BAA50584EB}"/>
                </a:ext>
              </a:extLst>
            </p:cNvPr>
            <p:cNvSpPr>
              <a:spLocks/>
            </p:cNvSpPr>
            <p:nvPr/>
          </p:nvSpPr>
          <p:spPr bwMode="auto">
            <a:xfrm>
              <a:off x="8095941" y="4138185"/>
              <a:ext cx="40402" cy="79361"/>
            </a:xfrm>
            <a:custGeom>
              <a:avLst/>
              <a:gdLst>
                <a:gd name="T0" fmla="*/ 12 w 12"/>
                <a:gd name="T1" fmla="*/ 1 h 23"/>
                <a:gd name="T2" fmla="*/ 12 w 12"/>
                <a:gd name="T3" fmla="*/ 1 h 23"/>
                <a:gd name="T4" fmla="*/ 12 w 12"/>
                <a:gd name="T5" fmla="*/ 1 h 23"/>
                <a:gd name="T6" fmla="*/ 12 w 12"/>
                <a:gd name="T7" fmla="*/ 1 h 23"/>
                <a:gd name="T8" fmla="*/ 11 w 12"/>
                <a:gd name="T9" fmla="*/ 0 h 23"/>
                <a:gd name="T10" fmla="*/ 10 w 12"/>
                <a:gd name="T11" fmla="*/ 0 h 23"/>
                <a:gd name="T12" fmla="*/ 10 w 12"/>
                <a:gd name="T13" fmla="*/ 0 h 23"/>
                <a:gd name="T14" fmla="*/ 9 w 12"/>
                <a:gd name="T15" fmla="*/ 0 h 23"/>
                <a:gd name="T16" fmla="*/ 8 w 12"/>
                <a:gd name="T17" fmla="*/ 0 h 23"/>
                <a:gd name="T18" fmla="*/ 6 w 12"/>
                <a:gd name="T19" fmla="*/ 1 h 23"/>
                <a:gd name="T20" fmla="*/ 5 w 12"/>
                <a:gd name="T21" fmla="*/ 2 h 23"/>
                <a:gd name="T22" fmla="*/ 3 w 12"/>
                <a:gd name="T23" fmla="*/ 4 h 23"/>
                <a:gd name="T24" fmla="*/ 3 w 12"/>
                <a:gd name="T25" fmla="*/ 1 h 23"/>
                <a:gd name="T26" fmla="*/ 3 w 12"/>
                <a:gd name="T27" fmla="*/ 1 h 23"/>
                <a:gd name="T28" fmla="*/ 3 w 12"/>
                <a:gd name="T29" fmla="*/ 0 h 23"/>
                <a:gd name="T30" fmla="*/ 2 w 12"/>
                <a:gd name="T31" fmla="*/ 0 h 23"/>
                <a:gd name="T32" fmla="*/ 1 w 12"/>
                <a:gd name="T33" fmla="*/ 0 h 23"/>
                <a:gd name="T34" fmla="*/ 1 w 12"/>
                <a:gd name="T35" fmla="*/ 0 h 23"/>
                <a:gd name="T36" fmla="*/ 0 w 12"/>
                <a:gd name="T37" fmla="*/ 0 h 23"/>
                <a:gd name="T38" fmla="*/ 0 w 12"/>
                <a:gd name="T39" fmla="*/ 1 h 23"/>
                <a:gd name="T40" fmla="*/ 0 w 12"/>
                <a:gd name="T41" fmla="*/ 1 h 23"/>
                <a:gd name="T42" fmla="*/ 0 w 12"/>
                <a:gd name="T43" fmla="*/ 22 h 23"/>
                <a:gd name="T44" fmla="*/ 0 w 12"/>
                <a:gd name="T45" fmla="*/ 22 h 23"/>
                <a:gd name="T46" fmla="*/ 0 w 12"/>
                <a:gd name="T47" fmla="*/ 23 h 23"/>
                <a:gd name="T48" fmla="*/ 1 w 12"/>
                <a:gd name="T49" fmla="*/ 23 h 23"/>
                <a:gd name="T50" fmla="*/ 2 w 12"/>
                <a:gd name="T51" fmla="*/ 23 h 23"/>
                <a:gd name="T52" fmla="*/ 3 w 12"/>
                <a:gd name="T53" fmla="*/ 23 h 23"/>
                <a:gd name="T54" fmla="*/ 3 w 12"/>
                <a:gd name="T55" fmla="*/ 23 h 23"/>
                <a:gd name="T56" fmla="*/ 3 w 12"/>
                <a:gd name="T57" fmla="*/ 22 h 23"/>
                <a:gd name="T58" fmla="*/ 4 w 12"/>
                <a:gd name="T59" fmla="*/ 22 h 23"/>
                <a:gd name="T60" fmla="*/ 4 w 12"/>
                <a:gd name="T61" fmla="*/ 8 h 23"/>
                <a:gd name="T62" fmla="*/ 5 w 12"/>
                <a:gd name="T63" fmla="*/ 6 h 23"/>
                <a:gd name="T64" fmla="*/ 6 w 12"/>
                <a:gd name="T65" fmla="*/ 5 h 23"/>
                <a:gd name="T66" fmla="*/ 8 w 12"/>
                <a:gd name="T67" fmla="*/ 4 h 23"/>
                <a:gd name="T68" fmla="*/ 9 w 12"/>
                <a:gd name="T69" fmla="*/ 4 h 23"/>
                <a:gd name="T70" fmla="*/ 10 w 12"/>
                <a:gd name="T71" fmla="*/ 4 h 23"/>
                <a:gd name="T72" fmla="*/ 10 w 12"/>
                <a:gd name="T73" fmla="*/ 4 h 23"/>
                <a:gd name="T74" fmla="*/ 11 w 12"/>
                <a:gd name="T75" fmla="*/ 4 h 23"/>
                <a:gd name="T76" fmla="*/ 11 w 12"/>
                <a:gd name="T77" fmla="*/ 4 h 23"/>
                <a:gd name="T78" fmla="*/ 12 w 12"/>
                <a:gd name="T79" fmla="*/ 4 h 23"/>
                <a:gd name="T80" fmla="*/ 12 w 12"/>
                <a:gd name="T81" fmla="*/ 4 h 23"/>
                <a:gd name="T82" fmla="*/ 12 w 12"/>
                <a:gd name="T83" fmla="*/ 3 h 23"/>
                <a:gd name="T84" fmla="*/ 12 w 12"/>
                <a:gd name="T85" fmla="*/ 2 h 23"/>
                <a:gd name="T86" fmla="*/ 12 w 12"/>
                <a:gd name="T8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1"/>
                  </a:moveTo>
                  <a:cubicBezTo>
                    <a:pt x="12" y="1"/>
                    <a:pt x="12" y="1"/>
                    <a:pt x="12" y="1"/>
                  </a:cubicBezTo>
                  <a:cubicBezTo>
                    <a:pt x="12" y="1"/>
                    <a:pt x="12" y="1"/>
                    <a:pt x="12" y="1"/>
                  </a:cubicBezTo>
                  <a:cubicBezTo>
                    <a:pt x="12" y="1"/>
                    <a:pt x="12" y="1"/>
                    <a:pt x="12" y="1"/>
                  </a:cubicBezTo>
                  <a:cubicBezTo>
                    <a:pt x="12" y="0"/>
                    <a:pt x="11" y="0"/>
                    <a:pt x="11" y="0"/>
                  </a:cubicBezTo>
                  <a:cubicBezTo>
                    <a:pt x="11" y="0"/>
                    <a:pt x="11" y="0"/>
                    <a:pt x="10" y="0"/>
                  </a:cubicBezTo>
                  <a:cubicBezTo>
                    <a:pt x="10" y="0"/>
                    <a:pt x="10" y="0"/>
                    <a:pt x="10" y="0"/>
                  </a:cubicBezTo>
                  <a:cubicBezTo>
                    <a:pt x="9" y="0"/>
                    <a:pt x="9" y="0"/>
                    <a:pt x="9" y="0"/>
                  </a:cubicBezTo>
                  <a:cubicBezTo>
                    <a:pt x="9" y="0"/>
                    <a:pt x="8" y="0"/>
                    <a:pt x="8" y="0"/>
                  </a:cubicBezTo>
                  <a:cubicBezTo>
                    <a:pt x="7" y="0"/>
                    <a:pt x="7" y="0"/>
                    <a:pt x="6" y="1"/>
                  </a:cubicBezTo>
                  <a:cubicBezTo>
                    <a:pt x="6" y="1"/>
                    <a:pt x="5" y="1"/>
                    <a:pt x="5" y="2"/>
                  </a:cubicBezTo>
                  <a:cubicBezTo>
                    <a:pt x="4" y="2"/>
                    <a:pt x="4" y="3"/>
                    <a:pt x="3" y="4"/>
                  </a:cubicBezTo>
                  <a:cubicBezTo>
                    <a:pt x="3" y="1"/>
                    <a:pt x="3" y="1"/>
                    <a:pt x="3" y="1"/>
                  </a:cubicBezTo>
                  <a:cubicBezTo>
                    <a:pt x="3" y="1"/>
                    <a:pt x="3" y="1"/>
                    <a:pt x="3" y="1"/>
                  </a:cubicBezTo>
                  <a:cubicBezTo>
                    <a:pt x="3" y="1"/>
                    <a:pt x="3" y="0"/>
                    <a:pt x="3" y="0"/>
                  </a:cubicBezTo>
                  <a:cubicBezTo>
                    <a:pt x="3" y="0"/>
                    <a:pt x="3" y="0"/>
                    <a:pt x="2" y="0"/>
                  </a:cubicBezTo>
                  <a:cubicBezTo>
                    <a:pt x="2" y="0"/>
                    <a:pt x="2" y="0"/>
                    <a:pt x="1" y="0"/>
                  </a:cubicBezTo>
                  <a:cubicBezTo>
                    <a:pt x="1" y="0"/>
                    <a:pt x="1" y="0"/>
                    <a:pt x="1" y="0"/>
                  </a:cubicBezTo>
                  <a:cubicBezTo>
                    <a:pt x="0" y="0"/>
                    <a:pt x="0" y="0"/>
                    <a:pt x="0" y="0"/>
                  </a:cubicBezTo>
                  <a:cubicBezTo>
                    <a:pt x="0" y="0"/>
                    <a:pt x="0" y="1"/>
                    <a:pt x="0" y="1"/>
                  </a:cubicBezTo>
                  <a:cubicBezTo>
                    <a:pt x="0" y="1"/>
                    <a:pt x="0" y="1"/>
                    <a:pt x="0" y="1"/>
                  </a:cubicBezTo>
                  <a:cubicBezTo>
                    <a:pt x="0" y="22"/>
                    <a:pt x="0" y="22"/>
                    <a:pt x="0" y="22"/>
                  </a:cubicBezTo>
                  <a:cubicBezTo>
                    <a:pt x="0" y="22"/>
                    <a:pt x="0" y="22"/>
                    <a:pt x="0" y="22"/>
                  </a:cubicBezTo>
                  <a:cubicBezTo>
                    <a:pt x="0" y="22"/>
                    <a:pt x="0" y="23"/>
                    <a:pt x="0" y="23"/>
                  </a:cubicBezTo>
                  <a:cubicBezTo>
                    <a:pt x="0" y="23"/>
                    <a:pt x="0" y="23"/>
                    <a:pt x="1" y="23"/>
                  </a:cubicBezTo>
                  <a:cubicBezTo>
                    <a:pt x="1" y="23"/>
                    <a:pt x="1" y="23"/>
                    <a:pt x="2" y="23"/>
                  </a:cubicBezTo>
                  <a:cubicBezTo>
                    <a:pt x="2" y="23"/>
                    <a:pt x="2" y="23"/>
                    <a:pt x="3" y="23"/>
                  </a:cubicBezTo>
                  <a:cubicBezTo>
                    <a:pt x="3" y="23"/>
                    <a:pt x="3" y="23"/>
                    <a:pt x="3" y="23"/>
                  </a:cubicBezTo>
                  <a:cubicBezTo>
                    <a:pt x="3" y="23"/>
                    <a:pt x="3" y="22"/>
                    <a:pt x="3" y="22"/>
                  </a:cubicBezTo>
                  <a:cubicBezTo>
                    <a:pt x="4" y="22"/>
                    <a:pt x="4" y="22"/>
                    <a:pt x="4" y="22"/>
                  </a:cubicBezTo>
                  <a:cubicBezTo>
                    <a:pt x="4" y="8"/>
                    <a:pt x="4" y="8"/>
                    <a:pt x="4" y="8"/>
                  </a:cubicBezTo>
                  <a:cubicBezTo>
                    <a:pt x="4" y="7"/>
                    <a:pt x="5" y="7"/>
                    <a:pt x="5" y="6"/>
                  </a:cubicBezTo>
                  <a:cubicBezTo>
                    <a:pt x="6" y="5"/>
                    <a:pt x="6" y="5"/>
                    <a:pt x="6" y="5"/>
                  </a:cubicBezTo>
                  <a:cubicBezTo>
                    <a:pt x="7" y="4"/>
                    <a:pt x="7" y="4"/>
                    <a:pt x="8" y="4"/>
                  </a:cubicBezTo>
                  <a:cubicBezTo>
                    <a:pt x="8" y="4"/>
                    <a:pt x="8" y="4"/>
                    <a:pt x="9" y="4"/>
                  </a:cubicBezTo>
                  <a:cubicBezTo>
                    <a:pt x="9" y="4"/>
                    <a:pt x="9" y="4"/>
                    <a:pt x="10" y="4"/>
                  </a:cubicBezTo>
                  <a:cubicBezTo>
                    <a:pt x="10" y="4"/>
                    <a:pt x="10" y="4"/>
                    <a:pt x="10" y="4"/>
                  </a:cubicBezTo>
                  <a:cubicBezTo>
                    <a:pt x="11" y="4"/>
                    <a:pt x="11" y="4"/>
                    <a:pt x="11" y="4"/>
                  </a:cubicBezTo>
                  <a:cubicBezTo>
                    <a:pt x="11" y="4"/>
                    <a:pt x="11" y="4"/>
                    <a:pt x="11" y="4"/>
                  </a:cubicBezTo>
                  <a:cubicBezTo>
                    <a:pt x="12" y="4"/>
                    <a:pt x="12" y="4"/>
                    <a:pt x="12" y="4"/>
                  </a:cubicBezTo>
                  <a:cubicBezTo>
                    <a:pt x="12" y="4"/>
                    <a:pt x="12" y="4"/>
                    <a:pt x="12" y="4"/>
                  </a:cubicBezTo>
                  <a:cubicBezTo>
                    <a:pt x="12" y="4"/>
                    <a:pt x="12" y="3"/>
                    <a:pt x="12" y="3"/>
                  </a:cubicBezTo>
                  <a:cubicBezTo>
                    <a:pt x="12" y="3"/>
                    <a:pt x="12" y="3"/>
                    <a:pt x="12" y="2"/>
                  </a:cubicBezTo>
                  <a:cubicBezTo>
                    <a:pt x="12" y="2"/>
                    <a:pt x="12" y="2"/>
                    <a:pt x="12" y="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60">
              <a:extLst>
                <a:ext uri="{FF2B5EF4-FFF2-40B4-BE49-F238E27FC236}">
                  <a16:creationId xmlns:a16="http://schemas.microsoft.com/office/drawing/2014/main" id="{B1C537F0-D284-4C9A-A276-D6CBEE319157}"/>
                </a:ext>
              </a:extLst>
            </p:cNvPr>
            <p:cNvSpPr>
              <a:spLocks noEditPoints="1"/>
            </p:cNvSpPr>
            <p:nvPr/>
          </p:nvSpPr>
          <p:spPr bwMode="auto">
            <a:xfrm>
              <a:off x="8150772" y="4110770"/>
              <a:ext cx="15873" cy="106776"/>
            </a:xfrm>
            <a:custGeom>
              <a:avLst/>
              <a:gdLst>
                <a:gd name="T0" fmla="*/ 4 w 5"/>
                <a:gd name="T1" fmla="*/ 9 h 31"/>
                <a:gd name="T2" fmla="*/ 4 w 5"/>
                <a:gd name="T3" fmla="*/ 9 h 31"/>
                <a:gd name="T4" fmla="*/ 4 w 5"/>
                <a:gd name="T5" fmla="*/ 8 h 31"/>
                <a:gd name="T6" fmla="*/ 3 w 5"/>
                <a:gd name="T7" fmla="*/ 8 h 31"/>
                <a:gd name="T8" fmla="*/ 2 w 5"/>
                <a:gd name="T9" fmla="*/ 8 h 31"/>
                <a:gd name="T10" fmla="*/ 1 w 5"/>
                <a:gd name="T11" fmla="*/ 8 h 31"/>
                <a:gd name="T12" fmla="*/ 1 w 5"/>
                <a:gd name="T13" fmla="*/ 8 h 31"/>
                <a:gd name="T14" fmla="*/ 1 w 5"/>
                <a:gd name="T15" fmla="*/ 9 h 31"/>
                <a:gd name="T16" fmla="*/ 0 w 5"/>
                <a:gd name="T17" fmla="*/ 9 h 31"/>
                <a:gd name="T18" fmla="*/ 0 w 5"/>
                <a:gd name="T19" fmla="*/ 30 h 31"/>
                <a:gd name="T20" fmla="*/ 1 w 5"/>
                <a:gd name="T21" fmla="*/ 30 h 31"/>
                <a:gd name="T22" fmla="*/ 1 w 5"/>
                <a:gd name="T23" fmla="*/ 31 h 31"/>
                <a:gd name="T24" fmla="*/ 1 w 5"/>
                <a:gd name="T25" fmla="*/ 31 h 31"/>
                <a:gd name="T26" fmla="*/ 2 w 5"/>
                <a:gd name="T27" fmla="*/ 31 h 31"/>
                <a:gd name="T28" fmla="*/ 3 w 5"/>
                <a:gd name="T29" fmla="*/ 31 h 31"/>
                <a:gd name="T30" fmla="*/ 4 w 5"/>
                <a:gd name="T31" fmla="*/ 31 h 31"/>
                <a:gd name="T32" fmla="*/ 4 w 5"/>
                <a:gd name="T33" fmla="*/ 30 h 31"/>
                <a:gd name="T34" fmla="*/ 4 w 5"/>
                <a:gd name="T35" fmla="*/ 30 h 31"/>
                <a:gd name="T36" fmla="*/ 4 w 5"/>
                <a:gd name="T37" fmla="*/ 9 h 31"/>
                <a:gd name="T38" fmla="*/ 4 w 5"/>
                <a:gd name="T39" fmla="*/ 0 h 31"/>
                <a:gd name="T40" fmla="*/ 2 w 5"/>
                <a:gd name="T41" fmla="*/ 0 h 31"/>
                <a:gd name="T42" fmla="*/ 1 w 5"/>
                <a:gd name="T43" fmla="*/ 0 h 31"/>
                <a:gd name="T44" fmla="*/ 0 w 5"/>
                <a:gd name="T45" fmla="*/ 2 h 31"/>
                <a:gd name="T46" fmla="*/ 1 w 5"/>
                <a:gd name="T47" fmla="*/ 4 h 31"/>
                <a:gd name="T48" fmla="*/ 2 w 5"/>
                <a:gd name="T49" fmla="*/ 4 h 31"/>
                <a:gd name="T50" fmla="*/ 4 w 5"/>
                <a:gd name="T51" fmla="*/ 4 h 31"/>
                <a:gd name="T52" fmla="*/ 5 w 5"/>
                <a:gd name="T53" fmla="*/ 2 h 31"/>
                <a:gd name="T54" fmla="*/ 4 w 5"/>
                <a:gd name="T5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4" y="9"/>
                  </a:moveTo>
                  <a:cubicBezTo>
                    <a:pt x="4" y="9"/>
                    <a:pt x="4" y="9"/>
                    <a:pt x="4" y="9"/>
                  </a:cubicBezTo>
                  <a:cubicBezTo>
                    <a:pt x="4" y="9"/>
                    <a:pt x="4" y="8"/>
                    <a:pt x="4" y="8"/>
                  </a:cubicBezTo>
                  <a:cubicBezTo>
                    <a:pt x="4" y="8"/>
                    <a:pt x="4" y="8"/>
                    <a:pt x="3" y="8"/>
                  </a:cubicBezTo>
                  <a:cubicBezTo>
                    <a:pt x="3" y="8"/>
                    <a:pt x="3" y="8"/>
                    <a:pt x="2" y="8"/>
                  </a:cubicBezTo>
                  <a:cubicBezTo>
                    <a:pt x="2" y="8"/>
                    <a:pt x="2" y="8"/>
                    <a:pt x="1" y="8"/>
                  </a:cubicBezTo>
                  <a:cubicBezTo>
                    <a:pt x="1" y="8"/>
                    <a:pt x="1" y="8"/>
                    <a:pt x="1" y="8"/>
                  </a:cubicBezTo>
                  <a:cubicBezTo>
                    <a:pt x="1" y="8"/>
                    <a:pt x="1" y="9"/>
                    <a:pt x="1" y="9"/>
                  </a:cubicBezTo>
                  <a:cubicBezTo>
                    <a:pt x="1" y="9"/>
                    <a:pt x="0" y="9"/>
                    <a:pt x="0" y="9"/>
                  </a:cubicBezTo>
                  <a:cubicBezTo>
                    <a:pt x="0" y="30"/>
                    <a:pt x="0" y="30"/>
                    <a:pt x="0" y="30"/>
                  </a:cubicBezTo>
                  <a:cubicBezTo>
                    <a:pt x="0" y="30"/>
                    <a:pt x="1" y="30"/>
                    <a:pt x="1" y="30"/>
                  </a:cubicBezTo>
                  <a:cubicBezTo>
                    <a:pt x="1" y="30"/>
                    <a:pt x="1" y="31"/>
                    <a:pt x="1" y="31"/>
                  </a:cubicBezTo>
                  <a:cubicBezTo>
                    <a:pt x="1" y="31"/>
                    <a:pt x="1" y="31"/>
                    <a:pt x="1" y="31"/>
                  </a:cubicBezTo>
                  <a:cubicBezTo>
                    <a:pt x="2" y="31"/>
                    <a:pt x="2" y="31"/>
                    <a:pt x="2" y="31"/>
                  </a:cubicBezTo>
                  <a:cubicBezTo>
                    <a:pt x="3" y="31"/>
                    <a:pt x="3" y="31"/>
                    <a:pt x="3" y="31"/>
                  </a:cubicBezTo>
                  <a:cubicBezTo>
                    <a:pt x="4" y="31"/>
                    <a:pt x="4" y="31"/>
                    <a:pt x="4" y="31"/>
                  </a:cubicBezTo>
                  <a:cubicBezTo>
                    <a:pt x="4" y="31"/>
                    <a:pt x="4" y="30"/>
                    <a:pt x="4" y="30"/>
                  </a:cubicBezTo>
                  <a:cubicBezTo>
                    <a:pt x="4" y="30"/>
                    <a:pt x="4" y="30"/>
                    <a:pt x="4" y="30"/>
                  </a:cubicBezTo>
                  <a:cubicBezTo>
                    <a:pt x="4" y="9"/>
                    <a:pt x="4" y="9"/>
                    <a:pt x="4" y="9"/>
                  </a:cubicBezTo>
                  <a:close/>
                  <a:moveTo>
                    <a:pt x="4" y="0"/>
                  </a:moveTo>
                  <a:cubicBezTo>
                    <a:pt x="4" y="0"/>
                    <a:pt x="3" y="0"/>
                    <a:pt x="2" y="0"/>
                  </a:cubicBezTo>
                  <a:cubicBezTo>
                    <a:pt x="2" y="0"/>
                    <a:pt x="1" y="0"/>
                    <a:pt x="1" y="0"/>
                  </a:cubicBezTo>
                  <a:cubicBezTo>
                    <a:pt x="0" y="0"/>
                    <a:pt x="0" y="1"/>
                    <a:pt x="0" y="2"/>
                  </a:cubicBezTo>
                  <a:cubicBezTo>
                    <a:pt x="0" y="3"/>
                    <a:pt x="0" y="3"/>
                    <a:pt x="1" y="4"/>
                  </a:cubicBezTo>
                  <a:cubicBezTo>
                    <a:pt x="1" y="4"/>
                    <a:pt x="1" y="4"/>
                    <a:pt x="2" y="4"/>
                  </a:cubicBezTo>
                  <a:cubicBezTo>
                    <a:pt x="3" y="4"/>
                    <a:pt x="4" y="4"/>
                    <a:pt x="4" y="4"/>
                  </a:cubicBezTo>
                  <a:cubicBezTo>
                    <a:pt x="5" y="3"/>
                    <a:pt x="5" y="3"/>
                    <a:pt x="5" y="2"/>
                  </a:cubicBezTo>
                  <a:cubicBezTo>
                    <a:pt x="5" y="1"/>
                    <a:pt x="5" y="0"/>
                    <a:pt x="4" y="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61">
              <a:extLst>
                <a:ext uri="{FF2B5EF4-FFF2-40B4-BE49-F238E27FC236}">
                  <a16:creationId xmlns:a16="http://schemas.microsoft.com/office/drawing/2014/main" id="{806BE99C-785E-46D9-8BFA-17DD0E57723E}"/>
                </a:ext>
              </a:extLst>
            </p:cNvPr>
            <p:cNvSpPr>
              <a:spLocks/>
            </p:cNvSpPr>
            <p:nvPr/>
          </p:nvSpPr>
          <p:spPr bwMode="auto">
            <a:xfrm>
              <a:off x="8188288" y="4138185"/>
              <a:ext cx="64932" cy="79361"/>
            </a:xfrm>
            <a:custGeom>
              <a:avLst/>
              <a:gdLst>
                <a:gd name="T0" fmla="*/ 19 w 19"/>
                <a:gd name="T1" fmla="*/ 9 h 23"/>
                <a:gd name="T2" fmla="*/ 18 w 19"/>
                <a:gd name="T3" fmla="*/ 5 h 23"/>
                <a:gd name="T4" fmla="*/ 17 w 19"/>
                <a:gd name="T5" fmla="*/ 3 h 23"/>
                <a:gd name="T6" fmla="*/ 15 w 19"/>
                <a:gd name="T7" fmla="*/ 1 h 23"/>
                <a:gd name="T8" fmla="*/ 11 w 19"/>
                <a:gd name="T9" fmla="*/ 0 h 23"/>
                <a:gd name="T10" fmla="*/ 8 w 19"/>
                <a:gd name="T11" fmla="*/ 1 h 23"/>
                <a:gd name="T12" fmla="*/ 4 w 19"/>
                <a:gd name="T13" fmla="*/ 4 h 23"/>
                <a:gd name="T14" fmla="*/ 4 w 19"/>
                <a:gd name="T15" fmla="*/ 1 h 23"/>
                <a:gd name="T16" fmla="*/ 4 w 19"/>
                <a:gd name="T17" fmla="*/ 1 h 23"/>
                <a:gd name="T18" fmla="*/ 4 w 19"/>
                <a:gd name="T19" fmla="*/ 0 h 23"/>
                <a:gd name="T20" fmla="*/ 3 w 19"/>
                <a:gd name="T21" fmla="*/ 0 h 23"/>
                <a:gd name="T22" fmla="*/ 2 w 19"/>
                <a:gd name="T23" fmla="*/ 0 h 23"/>
                <a:gd name="T24" fmla="*/ 1 w 19"/>
                <a:gd name="T25" fmla="*/ 0 h 23"/>
                <a:gd name="T26" fmla="*/ 1 w 19"/>
                <a:gd name="T27" fmla="*/ 0 h 23"/>
                <a:gd name="T28" fmla="*/ 1 w 19"/>
                <a:gd name="T29" fmla="*/ 1 h 23"/>
                <a:gd name="T30" fmla="*/ 0 w 19"/>
                <a:gd name="T31" fmla="*/ 1 h 23"/>
                <a:gd name="T32" fmla="*/ 0 w 19"/>
                <a:gd name="T33" fmla="*/ 22 h 23"/>
                <a:gd name="T34" fmla="*/ 1 w 19"/>
                <a:gd name="T35" fmla="*/ 22 h 23"/>
                <a:gd name="T36" fmla="*/ 1 w 19"/>
                <a:gd name="T37" fmla="*/ 23 h 23"/>
                <a:gd name="T38" fmla="*/ 1 w 19"/>
                <a:gd name="T39" fmla="*/ 23 h 23"/>
                <a:gd name="T40" fmla="*/ 2 w 19"/>
                <a:gd name="T41" fmla="*/ 23 h 23"/>
                <a:gd name="T42" fmla="*/ 3 w 19"/>
                <a:gd name="T43" fmla="*/ 23 h 23"/>
                <a:gd name="T44" fmla="*/ 4 w 19"/>
                <a:gd name="T45" fmla="*/ 23 h 23"/>
                <a:gd name="T46" fmla="*/ 4 w 19"/>
                <a:gd name="T47" fmla="*/ 22 h 23"/>
                <a:gd name="T48" fmla="*/ 4 w 19"/>
                <a:gd name="T49" fmla="*/ 22 h 23"/>
                <a:gd name="T50" fmla="*/ 4 w 19"/>
                <a:gd name="T51" fmla="*/ 7 h 23"/>
                <a:gd name="T52" fmla="*/ 7 w 19"/>
                <a:gd name="T53" fmla="*/ 4 h 23"/>
                <a:gd name="T54" fmla="*/ 10 w 19"/>
                <a:gd name="T55" fmla="*/ 3 h 23"/>
                <a:gd name="T56" fmla="*/ 12 w 19"/>
                <a:gd name="T57" fmla="*/ 4 h 23"/>
                <a:gd name="T58" fmla="*/ 14 w 19"/>
                <a:gd name="T59" fmla="*/ 5 h 23"/>
                <a:gd name="T60" fmla="*/ 15 w 19"/>
                <a:gd name="T61" fmla="*/ 7 h 23"/>
                <a:gd name="T62" fmla="*/ 15 w 19"/>
                <a:gd name="T63" fmla="*/ 10 h 23"/>
                <a:gd name="T64" fmla="*/ 15 w 19"/>
                <a:gd name="T65" fmla="*/ 22 h 23"/>
                <a:gd name="T66" fmla="*/ 15 w 19"/>
                <a:gd name="T67" fmla="*/ 22 h 23"/>
                <a:gd name="T68" fmla="*/ 15 w 19"/>
                <a:gd name="T69" fmla="*/ 23 h 23"/>
                <a:gd name="T70" fmla="*/ 16 w 19"/>
                <a:gd name="T71" fmla="*/ 23 h 23"/>
                <a:gd name="T72" fmla="*/ 17 w 19"/>
                <a:gd name="T73" fmla="*/ 23 h 23"/>
                <a:gd name="T74" fmla="*/ 18 w 19"/>
                <a:gd name="T75" fmla="*/ 23 h 23"/>
                <a:gd name="T76" fmla="*/ 18 w 19"/>
                <a:gd name="T77" fmla="*/ 23 h 23"/>
                <a:gd name="T78" fmla="*/ 19 w 19"/>
                <a:gd name="T79" fmla="*/ 22 h 23"/>
                <a:gd name="T80" fmla="*/ 19 w 19"/>
                <a:gd name="T81" fmla="*/ 22 h 23"/>
                <a:gd name="T82" fmla="*/ 19 w 19"/>
                <a:gd name="T83"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 h="23">
                  <a:moveTo>
                    <a:pt x="19" y="9"/>
                  </a:moveTo>
                  <a:cubicBezTo>
                    <a:pt x="19" y="8"/>
                    <a:pt x="19" y="6"/>
                    <a:pt x="18" y="5"/>
                  </a:cubicBezTo>
                  <a:cubicBezTo>
                    <a:pt x="18" y="4"/>
                    <a:pt x="18" y="3"/>
                    <a:pt x="17" y="3"/>
                  </a:cubicBezTo>
                  <a:cubicBezTo>
                    <a:pt x="16" y="2"/>
                    <a:pt x="16" y="1"/>
                    <a:pt x="15" y="1"/>
                  </a:cubicBezTo>
                  <a:cubicBezTo>
                    <a:pt x="14" y="0"/>
                    <a:pt x="13" y="0"/>
                    <a:pt x="11" y="0"/>
                  </a:cubicBezTo>
                  <a:cubicBezTo>
                    <a:pt x="10" y="0"/>
                    <a:pt x="9" y="0"/>
                    <a:pt x="8" y="1"/>
                  </a:cubicBezTo>
                  <a:cubicBezTo>
                    <a:pt x="6" y="1"/>
                    <a:pt x="5" y="2"/>
                    <a:pt x="4" y="4"/>
                  </a:cubicBezTo>
                  <a:cubicBezTo>
                    <a:pt x="4" y="1"/>
                    <a:pt x="4" y="1"/>
                    <a:pt x="4" y="1"/>
                  </a:cubicBezTo>
                  <a:cubicBezTo>
                    <a:pt x="4" y="1"/>
                    <a:pt x="4" y="1"/>
                    <a:pt x="4" y="1"/>
                  </a:cubicBezTo>
                  <a:cubicBezTo>
                    <a:pt x="4" y="1"/>
                    <a:pt x="4" y="0"/>
                    <a:pt x="4" y="0"/>
                  </a:cubicBezTo>
                  <a:cubicBezTo>
                    <a:pt x="4" y="0"/>
                    <a:pt x="3" y="0"/>
                    <a:pt x="3" y="0"/>
                  </a:cubicBezTo>
                  <a:cubicBezTo>
                    <a:pt x="3" y="0"/>
                    <a:pt x="3" y="0"/>
                    <a:pt x="2" y="0"/>
                  </a:cubicBezTo>
                  <a:cubicBezTo>
                    <a:pt x="2" y="0"/>
                    <a:pt x="2" y="0"/>
                    <a:pt x="1" y="0"/>
                  </a:cubicBezTo>
                  <a:cubicBezTo>
                    <a:pt x="1" y="0"/>
                    <a:pt x="1" y="0"/>
                    <a:pt x="1" y="0"/>
                  </a:cubicBezTo>
                  <a:cubicBezTo>
                    <a:pt x="1" y="0"/>
                    <a:pt x="1" y="1"/>
                    <a:pt x="1" y="1"/>
                  </a:cubicBezTo>
                  <a:cubicBezTo>
                    <a:pt x="1" y="1"/>
                    <a:pt x="0" y="1"/>
                    <a:pt x="0" y="1"/>
                  </a:cubicBezTo>
                  <a:cubicBezTo>
                    <a:pt x="0" y="22"/>
                    <a:pt x="0" y="22"/>
                    <a:pt x="0" y="22"/>
                  </a:cubicBezTo>
                  <a:cubicBezTo>
                    <a:pt x="0" y="22"/>
                    <a:pt x="1" y="22"/>
                    <a:pt x="1" y="22"/>
                  </a:cubicBezTo>
                  <a:cubicBezTo>
                    <a:pt x="1" y="22"/>
                    <a:pt x="1" y="23"/>
                    <a:pt x="1" y="23"/>
                  </a:cubicBezTo>
                  <a:cubicBezTo>
                    <a:pt x="1" y="23"/>
                    <a:pt x="1" y="23"/>
                    <a:pt x="1" y="23"/>
                  </a:cubicBezTo>
                  <a:cubicBezTo>
                    <a:pt x="2" y="23"/>
                    <a:pt x="2" y="23"/>
                    <a:pt x="2" y="23"/>
                  </a:cubicBezTo>
                  <a:cubicBezTo>
                    <a:pt x="3" y="23"/>
                    <a:pt x="3" y="23"/>
                    <a:pt x="3" y="23"/>
                  </a:cubicBezTo>
                  <a:cubicBezTo>
                    <a:pt x="4" y="23"/>
                    <a:pt x="4" y="23"/>
                    <a:pt x="4" y="23"/>
                  </a:cubicBezTo>
                  <a:cubicBezTo>
                    <a:pt x="4" y="23"/>
                    <a:pt x="4" y="22"/>
                    <a:pt x="4" y="22"/>
                  </a:cubicBezTo>
                  <a:cubicBezTo>
                    <a:pt x="4" y="22"/>
                    <a:pt x="4" y="22"/>
                    <a:pt x="4" y="22"/>
                  </a:cubicBezTo>
                  <a:cubicBezTo>
                    <a:pt x="4" y="7"/>
                    <a:pt x="4" y="7"/>
                    <a:pt x="4" y="7"/>
                  </a:cubicBezTo>
                  <a:cubicBezTo>
                    <a:pt x="5" y="6"/>
                    <a:pt x="6" y="5"/>
                    <a:pt x="7" y="4"/>
                  </a:cubicBezTo>
                  <a:cubicBezTo>
                    <a:pt x="8" y="4"/>
                    <a:pt x="9" y="3"/>
                    <a:pt x="10" y="3"/>
                  </a:cubicBezTo>
                  <a:cubicBezTo>
                    <a:pt x="11" y="3"/>
                    <a:pt x="12" y="3"/>
                    <a:pt x="12" y="4"/>
                  </a:cubicBezTo>
                  <a:cubicBezTo>
                    <a:pt x="13" y="4"/>
                    <a:pt x="13" y="4"/>
                    <a:pt x="14" y="5"/>
                  </a:cubicBezTo>
                  <a:cubicBezTo>
                    <a:pt x="14" y="5"/>
                    <a:pt x="14" y="6"/>
                    <a:pt x="15" y="7"/>
                  </a:cubicBezTo>
                  <a:cubicBezTo>
                    <a:pt x="15" y="8"/>
                    <a:pt x="15" y="8"/>
                    <a:pt x="15" y="10"/>
                  </a:cubicBezTo>
                  <a:cubicBezTo>
                    <a:pt x="15" y="22"/>
                    <a:pt x="15" y="22"/>
                    <a:pt x="15" y="22"/>
                  </a:cubicBezTo>
                  <a:cubicBezTo>
                    <a:pt x="15" y="22"/>
                    <a:pt x="15" y="22"/>
                    <a:pt x="15" y="22"/>
                  </a:cubicBezTo>
                  <a:cubicBezTo>
                    <a:pt x="15" y="22"/>
                    <a:pt x="15" y="23"/>
                    <a:pt x="15" y="23"/>
                  </a:cubicBezTo>
                  <a:cubicBezTo>
                    <a:pt x="15" y="23"/>
                    <a:pt x="16" y="23"/>
                    <a:pt x="16" y="23"/>
                  </a:cubicBezTo>
                  <a:cubicBezTo>
                    <a:pt x="16" y="23"/>
                    <a:pt x="16" y="23"/>
                    <a:pt x="17" y="23"/>
                  </a:cubicBezTo>
                  <a:cubicBezTo>
                    <a:pt x="17" y="23"/>
                    <a:pt x="17" y="23"/>
                    <a:pt x="18" y="23"/>
                  </a:cubicBezTo>
                  <a:cubicBezTo>
                    <a:pt x="18" y="23"/>
                    <a:pt x="18" y="23"/>
                    <a:pt x="18" y="23"/>
                  </a:cubicBezTo>
                  <a:cubicBezTo>
                    <a:pt x="18" y="23"/>
                    <a:pt x="19" y="22"/>
                    <a:pt x="19" y="22"/>
                  </a:cubicBezTo>
                  <a:cubicBezTo>
                    <a:pt x="19" y="22"/>
                    <a:pt x="19" y="22"/>
                    <a:pt x="19" y="22"/>
                  </a:cubicBezTo>
                  <a:cubicBezTo>
                    <a:pt x="19" y="9"/>
                    <a:pt x="19" y="9"/>
                    <a:pt x="19" y="9"/>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62">
              <a:extLst>
                <a:ext uri="{FF2B5EF4-FFF2-40B4-BE49-F238E27FC236}">
                  <a16:creationId xmlns:a16="http://schemas.microsoft.com/office/drawing/2014/main" id="{15DDDA89-AAA3-463F-9552-3CA14B78CF3C}"/>
                </a:ext>
              </a:extLst>
            </p:cNvPr>
            <p:cNvSpPr>
              <a:spLocks noEditPoints="1"/>
            </p:cNvSpPr>
            <p:nvPr/>
          </p:nvSpPr>
          <p:spPr bwMode="auto">
            <a:xfrm>
              <a:off x="8266205" y="4138185"/>
              <a:ext cx="69260" cy="106776"/>
            </a:xfrm>
            <a:custGeom>
              <a:avLst/>
              <a:gdLst>
                <a:gd name="T0" fmla="*/ 19 w 20"/>
                <a:gd name="T1" fmla="*/ 0 h 31"/>
                <a:gd name="T2" fmla="*/ 11 w 20"/>
                <a:gd name="T3" fmla="*/ 0 h 31"/>
                <a:gd name="T4" fmla="*/ 6 w 20"/>
                <a:gd name="T5" fmla="*/ 0 h 31"/>
                <a:gd name="T6" fmla="*/ 2 w 20"/>
                <a:gd name="T7" fmla="*/ 4 h 31"/>
                <a:gd name="T8" fmla="*/ 2 w 20"/>
                <a:gd name="T9" fmla="*/ 10 h 31"/>
                <a:gd name="T10" fmla="*/ 2 w 20"/>
                <a:gd name="T11" fmla="*/ 14 h 31"/>
                <a:gd name="T12" fmla="*/ 1 w 20"/>
                <a:gd name="T13" fmla="*/ 19 h 31"/>
                <a:gd name="T14" fmla="*/ 2 w 20"/>
                <a:gd name="T15" fmla="*/ 21 h 31"/>
                <a:gd name="T16" fmla="*/ 0 w 20"/>
                <a:gd name="T17" fmla="*/ 24 h 31"/>
                <a:gd name="T18" fmla="*/ 1 w 20"/>
                <a:gd name="T19" fmla="*/ 28 h 31"/>
                <a:gd name="T20" fmla="*/ 5 w 20"/>
                <a:gd name="T21" fmla="*/ 31 h 31"/>
                <a:gd name="T22" fmla="*/ 14 w 20"/>
                <a:gd name="T23" fmla="*/ 31 h 31"/>
                <a:gd name="T24" fmla="*/ 19 w 20"/>
                <a:gd name="T25" fmla="*/ 27 h 31"/>
                <a:gd name="T26" fmla="*/ 19 w 20"/>
                <a:gd name="T27" fmla="*/ 22 h 31"/>
                <a:gd name="T28" fmla="*/ 16 w 20"/>
                <a:gd name="T29" fmla="*/ 19 h 31"/>
                <a:gd name="T30" fmla="*/ 7 w 20"/>
                <a:gd name="T31" fmla="*/ 18 h 31"/>
                <a:gd name="T32" fmla="*/ 4 w 20"/>
                <a:gd name="T33" fmla="*/ 16 h 31"/>
                <a:gd name="T34" fmla="*/ 5 w 20"/>
                <a:gd name="T35" fmla="*/ 14 h 31"/>
                <a:gd name="T36" fmla="*/ 10 w 20"/>
                <a:gd name="T37" fmla="*/ 15 h 31"/>
                <a:gd name="T38" fmla="*/ 15 w 20"/>
                <a:gd name="T39" fmla="*/ 13 h 31"/>
                <a:gd name="T40" fmla="*/ 18 w 20"/>
                <a:gd name="T41" fmla="*/ 7 h 31"/>
                <a:gd name="T42" fmla="*/ 16 w 20"/>
                <a:gd name="T43" fmla="*/ 3 h 31"/>
                <a:gd name="T44" fmla="*/ 20 w 20"/>
                <a:gd name="T45" fmla="*/ 3 h 31"/>
                <a:gd name="T46" fmla="*/ 20 w 20"/>
                <a:gd name="T47" fmla="*/ 1 h 31"/>
                <a:gd name="T48" fmla="*/ 13 w 20"/>
                <a:gd name="T49" fmla="*/ 11 h 31"/>
                <a:gd name="T50" fmla="*/ 10 w 20"/>
                <a:gd name="T51" fmla="*/ 12 h 31"/>
                <a:gd name="T52" fmla="*/ 5 w 20"/>
                <a:gd name="T53" fmla="*/ 8 h 31"/>
                <a:gd name="T54" fmla="*/ 6 w 20"/>
                <a:gd name="T55" fmla="*/ 4 h 31"/>
                <a:gd name="T56" fmla="*/ 10 w 20"/>
                <a:gd name="T57" fmla="*/ 3 h 31"/>
                <a:gd name="T58" fmla="*/ 14 w 20"/>
                <a:gd name="T59" fmla="*/ 7 h 31"/>
                <a:gd name="T60" fmla="*/ 16 w 20"/>
                <a:gd name="T61" fmla="*/ 26 h 31"/>
                <a:gd name="T62" fmla="*/ 13 w 20"/>
                <a:gd name="T63" fmla="*/ 28 h 31"/>
                <a:gd name="T64" fmla="*/ 5 w 20"/>
                <a:gd name="T65" fmla="*/ 27 h 31"/>
                <a:gd name="T66" fmla="*/ 4 w 20"/>
                <a:gd name="T67" fmla="*/ 24 h 31"/>
                <a:gd name="T68" fmla="*/ 5 w 20"/>
                <a:gd name="T69" fmla="*/ 22 h 31"/>
                <a:gd name="T70" fmla="*/ 12 w 20"/>
                <a:gd name="T71" fmla="*/ 21 h 31"/>
                <a:gd name="T72" fmla="*/ 16 w 20"/>
                <a:gd name="T73"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31">
                  <a:moveTo>
                    <a:pt x="20" y="1"/>
                  </a:moveTo>
                  <a:cubicBezTo>
                    <a:pt x="20" y="0"/>
                    <a:pt x="20" y="0"/>
                    <a:pt x="19" y="0"/>
                  </a:cubicBezTo>
                  <a:cubicBezTo>
                    <a:pt x="13" y="0"/>
                    <a:pt x="13" y="0"/>
                    <a:pt x="13" y="0"/>
                  </a:cubicBezTo>
                  <a:cubicBezTo>
                    <a:pt x="12" y="0"/>
                    <a:pt x="12" y="0"/>
                    <a:pt x="11" y="0"/>
                  </a:cubicBezTo>
                  <a:cubicBezTo>
                    <a:pt x="11" y="0"/>
                    <a:pt x="10" y="0"/>
                    <a:pt x="10" y="0"/>
                  </a:cubicBezTo>
                  <a:cubicBezTo>
                    <a:pt x="8" y="0"/>
                    <a:pt x="7" y="0"/>
                    <a:pt x="6" y="0"/>
                  </a:cubicBezTo>
                  <a:cubicBezTo>
                    <a:pt x="5" y="1"/>
                    <a:pt x="4" y="1"/>
                    <a:pt x="4" y="2"/>
                  </a:cubicBezTo>
                  <a:cubicBezTo>
                    <a:pt x="3" y="3"/>
                    <a:pt x="2" y="3"/>
                    <a:pt x="2" y="4"/>
                  </a:cubicBezTo>
                  <a:cubicBezTo>
                    <a:pt x="2" y="5"/>
                    <a:pt x="1" y="6"/>
                    <a:pt x="1" y="8"/>
                  </a:cubicBezTo>
                  <a:cubicBezTo>
                    <a:pt x="1" y="9"/>
                    <a:pt x="2" y="10"/>
                    <a:pt x="2" y="10"/>
                  </a:cubicBezTo>
                  <a:cubicBezTo>
                    <a:pt x="2" y="11"/>
                    <a:pt x="2" y="12"/>
                    <a:pt x="3" y="12"/>
                  </a:cubicBezTo>
                  <a:cubicBezTo>
                    <a:pt x="2" y="13"/>
                    <a:pt x="2" y="13"/>
                    <a:pt x="2" y="14"/>
                  </a:cubicBezTo>
                  <a:cubicBezTo>
                    <a:pt x="1" y="15"/>
                    <a:pt x="1" y="16"/>
                    <a:pt x="1" y="17"/>
                  </a:cubicBezTo>
                  <a:cubicBezTo>
                    <a:pt x="1" y="17"/>
                    <a:pt x="1" y="18"/>
                    <a:pt x="1" y="19"/>
                  </a:cubicBezTo>
                  <a:cubicBezTo>
                    <a:pt x="2" y="19"/>
                    <a:pt x="2" y="20"/>
                    <a:pt x="3" y="20"/>
                  </a:cubicBezTo>
                  <a:cubicBezTo>
                    <a:pt x="3" y="21"/>
                    <a:pt x="2" y="21"/>
                    <a:pt x="2" y="21"/>
                  </a:cubicBezTo>
                  <a:cubicBezTo>
                    <a:pt x="1" y="22"/>
                    <a:pt x="1" y="22"/>
                    <a:pt x="1" y="23"/>
                  </a:cubicBezTo>
                  <a:cubicBezTo>
                    <a:pt x="1" y="23"/>
                    <a:pt x="0" y="24"/>
                    <a:pt x="0" y="24"/>
                  </a:cubicBezTo>
                  <a:cubicBezTo>
                    <a:pt x="0" y="25"/>
                    <a:pt x="0" y="25"/>
                    <a:pt x="0" y="26"/>
                  </a:cubicBezTo>
                  <a:cubicBezTo>
                    <a:pt x="0" y="26"/>
                    <a:pt x="0" y="27"/>
                    <a:pt x="1" y="28"/>
                  </a:cubicBezTo>
                  <a:cubicBezTo>
                    <a:pt x="1" y="28"/>
                    <a:pt x="2" y="29"/>
                    <a:pt x="2" y="30"/>
                  </a:cubicBezTo>
                  <a:cubicBezTo>
                    <a:pt x="3" y="30"/>
                    <a:pt x="4" y="30"/>
                    <a:pt x="5" y="31"/>
                  </a:cubicBezTo>
                  <a:cubicBezTo>
                    <a:pt x="6" y="31"/>
                    <a:pt x="8" y="31"/>
                    <a:pt x="10" y="31"/>
                  </a:cubicBezTo>
                  <a:cubicBezTo>
                    <a:pt x="11" y="31"/>
                    <a:pt x="13" y="31"/>
                    <a:pt x="14" y="31"/>
                  </a:cubicBezTo>
                  <a:cubicBezTo>
                    <a:pt x="15" y="30"/>
                    <a:pt x="17" y="30"/>
                    <a:pt x="17" y="29"/>
                  </a:cubicBezTo>
                  <a:cubicBezTo>
                    <a:pt x="18" y="28"/>
                    <a:pt x="19" y="28"/>
                    <a:pt x="19" y="27"/>
                  </a:cubicBezTo>
                  <a:cubicBezTo>
                    <a:pt x="20" y="26"/>
                    <a:pt x="20" y="25"/>
                    <a:pt x="20" y="24"/>
                  </a:cubicBezTo>
                  <a:cubicBezTo>
                    <a:pt x="20" y="23"/>
                    <a:pt x="20" y="22"/>
                    <a:pt x="19" y="22"/>
                  </a:cubicBezTo>
                  <a:cubicBezTo>
                    <a:pt x="19" y="21"/>
                    <a:pt x="18" y="20"/>
                    <a:pt x="18" y="20"/>
                  </a:cubicBezTo>
                  <a:cubicBezTo>
                    <a:pt x="17" y="19"/>
                    <a:pt x="16" y="19"/>
                    <a:pt x="16" y="19"/>
                  </a:cubicBezTo>
                  <a:cubicBezTo>
                    <a:pt x="15" y="18"/>
                    <a:pt x="14" y="18"/>
                    <a:pt x="13" y="18"/>
                  </a:cubicBezTo>
                  <a:cubicBezTo>
                    <a:pt x="7" y="18"/>
                    <a:pt x="7" y="18"/>
                    <a:pt x="7" y="18"/>
                  </a:cubicBezTo>
                  <a:cubicBezTo>
                    <a:pt x="6" y="18"/>
                    <a:pt x="6" y="18"/>
                    <a:pt x="5" y="17"/>
                  </a:cubicBezTo>
                  <a:cubicBezTo>
                    <a:pt x="5" y="17"/>
                    <a:pt x="4" y="17"/>
                    <a:pt x="4" y="16"/>
                  </a:cubicBezTo>
                  <a:cubicBezTo>
                    <a:pt x="4" y="16"/>
                    <a:pt x="4" y="15"/>
                    <a:pt x="5" y="15"/>
                  </a:cubicBezTo>
                  <a:cubicBezTo>
                    <a:pt x="5" y="14"/>
                    <a:pt x="5" y="14"/>
                    <a:pt x="5" y="14"/>
                  </a:cubicBezTo>
                  <a:cubicBezTo>
                    <a:pt x="6" y="14"/>
                    <a:pt x="6" y="15"/>
                    <a:pt x="7" y="15"/>
                  </a:cubicBezTo>
                  <a:cubicBezTo>
                    <a:pt x="8" y="15"/>
                    <a:pt x="9" y="15"/>
                    <a:pt x="10" y="15"/>
                  </a:cubicBezTo>
                  <a:cubicBezTo>
                    <a:pt x="11" y="15"/>
                    <a:pt x="12" y="15"/>
                    <a:pt x="13" y="15"/>
                  </a:cubicBezTo>
                  <a:cubicBezTo>
                    <a:pt x="14" y="14"/>
                    <a:pt x="15" y="14"/>
                    <a:pt x="15" y="13"/>
                  </a:cubicBezTo>
                  <a:cubicBezTo>
                    <a:pt x="16" y="12"/>
                    <a:pt x="17" y="12"/>
                    <a:pt x="17" y="11"/>
                  </a:cubicBezTo>
                  <a:cubicBezTo>
                    <a:pt x="18" y="10"/>
                    <a:pt x="18" y="9"/>
                    <a:pt x="18" y="7"/>
                  </a:cubicBezTo>
                  <a:cubicBezTo>
                    <a:pt x="18" y="7"/>
                    <a:pt x="18" y="6"/>
                    <a:pt x="17" y="5"/>
                  </a:cubicBezTo>
                  <a:cubicBezTo>
                    <a:pt x="17" y="5"/>
                    <a:pt x="17" y="4"/>
                    <a:pt x="16" y="3"/>
                  </a:cubicBezTo>
                  <a:cubicBezTo>
                    <a:pt x="19" y="3"/>
                    <a:pt x="19" y="3"/>
                    <a:pt x="19" y="3"/>
                  </a:cubicBezTo>
                  <a:cubicBezTo>
                    <a:pt x="20" y="3"/>
                    <a:pt x="20" y="3"/>
                    <a:pt x="20" y="3"/>
                  </a:cubicBezTo>
                  <a:cubicBezTo>
                    <a:pt x="20" y="3"/>
                    <a:pt x="20" y="2"/>
                    <a:pt x="20" y="2"/>
                  </a:cubicBezTo>
                  <a:cubicBezTo>
                    <a:pt x="20" y="1"/>
                    <a:pt x="20" y="1"/>
                    <a:pt x="20" y="1"/>
                  </a:cubicBezTo>
                  <a:close/>
                  <a:moveTo>
                    <a:pt x="14" y="9"/>
                  </a:moveTo>
                  <a:cubicBezTo>
                    <a:pt x="14" y="10"/>
                    <a:pt x="13" y="10"/>
                    <a:pt x="13" y="11"/>
                  </a:cubicBezTo>
                  <a:cubicBezTo>
                    <a:pt x="13" y="11"/>
                    <a:pt x="12" y="11"/>
                    <a:pt x="12" y="12"/>
                  </a:cubicBezTo>
                  <a:cubicBezTo>
                    <a:pt x="11" y="12"/>
                    <a:pt x="10" y="12"/>
                    <a:pt x="10" y="12"/>
                  </a:cubicBezTo>
                  <a:cubicBezTo>
                    <a:pt x="8" y="12"/>
                    <a:pt x="7" y="12"/>
                    <a:pt x="6" y="11"/>
                  </a:cubicBezTo>
                  <a:cubicBezTo>
                    <a:pt x="5" y="10"/>
                    <a:pt x="5" y="9"/>
                    <a:pt x="5" y="8"/>
                  </a:cubicBezTo>
                  <a:cubicBezTo>
                    <a:pt x="5" y="7"/>
                    <a:pt x="5" y="6"/>
                    <a:pt x="5" y="6"/>
                  </a:cubicBezTo>
                  <a:cubicBezTo>
                    <a:pt x="6" y="5"/>
                    <a:pt x="6" y="5"/>
                    <a:pt x="6" y="4"/>
                  </a:cubicBezTo>
                  <a:cubicBezTo>
                    <a:pt x="7" y="4"/>
                    <a:pt x="7" y="4"/>
                    <a:pt x="8" y="3"/>
                  </a:cubicBezTo>
                  <a:cubicBezTo>
                    <a:pt x="8" y="3"/>
                    <a:pt x="9" y="3"/>
                    <a:pt x="10" y="3"/>
                  </a:cubicBezTo>
                  <a:cubicBezTo>
                    <a:pt x="11" y="3"/>
                    <a:pt x="12" y="3"/>
                    <a:pt x="13" y="4"/>
                  </a:cubicBezTo>
                  <a:cubicBezTo>
                    <a:pt x="14" y="5"/>
                    <a:pt x="14" y="6"/>
                    <a:pt x="14" y="7"/>
                  </a:cubicBezTo>
                  <a:cubicBezTo>
                    <a:pt x="14" y="8"/>
                    <a:pt x="14" y="9"/>
                    <a:pt x="14" y="9"/>
                  </a:cubicBezTo>
                  <a:close/>
                  <a:moveTo>
                    <a:pt x="16" y="26"/>
                  </a:moveTo>
                  <a:cubicBezTo>
                    <a:pt x="15" y="26"/>
                    <a:pt x="15" y="27"/>
                    <a:pt x="15" y="27"/>
                  </a:cubicBezTo>
                  <a:cubicBezTo>
                    <a:pt x="14" y="27"/>
                    <a:pt x="14" y="28"/>
                    <a:pt x="13" y="28"/>
                  </a:cubicBezTo>
                  <a:cubicBezTo>
                    <a:pt x="12" y="28"/>
                    <a:pt x="11" y="28"/>
                    <a:pt x="10" y="28"/>
                  </a:cubicBezTo>
                  <a:cubicBezTo>
                    <a:pt x="8" y="28"/>
                    <a:pt x="7" y="28"/>
                    <a:pt x="5" y="27"/>
                  </a:cubicBezTo>
                  <a:cubicBezTo>
                    <a:pt x="4" y="27"/>
                    <a:pt x="4" y="26"/>
                    <a:pt x="4" y="25"/>
                  </a:cubicBezTo>
                  <a:cubicBezTo>
                    <a:pt x="4" y="25"/>
                    <a:pt x="4" y="24"/>
                    <a:pt x="4" y="24"/>
                  </a:cubicBezTo>
                  <a:cubicBezTo>
                    <a:pt x="4" y="24"/>
                    <a:pt x="4" y="24"/>
                    <a:pt x="4" y="23"/>
                  </a:cubicBezTo>
                  <a:cubicBezTo>
                    <a:pt x="5" y="23"/>
                    <a:pt x="5" y="23"/>
                    <a:pt x="5" y="22"/>
                  </a:cubicBezTo>
                  <a:cubicBezTo>
                    <a:pt x="6" y="22"/>
                    <a:pt x="6" y="22"/>
                    <a:pt x="6" y="21"/>
                  </a:cubicBezTo>
                  <a:cubicBezTo>
                    <a:pt x="12" y="21"/>
                    <a:pt x="12" y="21"/>
                    <a:pt x="12" y="21"/>
                  </a:cubicBezTo>
                  <a:cubicBezTo>
                    <a:pt x="13" y="21"/>
                    <a:pt x="14" y="22"/>
                    <a:pt x="15" y="22"/>
                  </a:cubicBezTo>
                  <a:cubicBezTo>
                    <a:pt x="16" y="23"/>
                    <a:pt x="16" y="23"/>
                    <a:pt x="16" y="24"/>
                  </a:cubicBezTo>
                  <a:cubicBezTo>
                    <a:pt x="16" y="25"/>
                    <a:pt x="16" y="25"/>
                    <a:pt x="16" y="26"/>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63">
              <a:extLst>
                <a:ext uri="{FF2B5EF4-FFF2-40B4-BE49-F238E27FC236}">
                  <a16:creationId xmlns:a16="http://schemas.microsoft.com/office/drawing/2014/main" id="{D2938834-A1BB-4CC6-AC9E-9AEAF91D1B9E}"/>
                </a:ext>
              </a:extLst>
            </p:cNvPr>
            <p:cNvSpPr>
              <a:spLocks/>
            </p:cNvSpPr>
            <p:nvPr/>
          </p:nvSpPr>
          <p:spPr bwMode="auto">
            <a:xfrm>
              <a:off x="4720965" y="4402239"/>
              <a:ext cx="5113687" cy="326099"/>
            </a:xfrm>
            <a:custGeom>
              <a:avLst/>
              <a:gdLst>
                <a:gd name="T0" fmla="*/ 3 w 1493"/>
                <a:gd name="T1" fmla="*/ 18 h 95"/>
                <a:gd name="T2" fmla="*/ 6 w 1493"/>
                <a:gd name="T3" fmla="*/ 18 h 95"/>
                <a:gd name="T4" fmla="*/ 18 w 1493"/>
                <a:gd name="T5" fmla="*/ 6 h 95"/>
                <a:gd name="T6" fmla="*/ 1475 w 1493"/>
                <a:gd name="T7" fmla="*/ 6 h 95"/>
                <a:gd name="T8" fmla="*/ 1487 w 1493"/>
                <a:gd name="T9" fmla="*/ 18 h 95"/>
                <a:gd name="T10" fmla="*/ 1487 w 1493"/>
                <a:gd name="T11" fmla="*/ 77 h 95"/>
                <a:gd name="T12" fmla="*/ 1475 w 1493"/>
                <a:gd name="T13" fmla="*/ 89 h 95"/>
                <a:gd name="T14" fmla="*/ 18 w 1493"/>
                <a:gd name="T15" fmla="*/ 89 h 95"/>
                <a:gd name="T16" fmla="*/ 6 w 1493"/>
                <a:gd name="T17" fmla="*/ 77 h 95"/>
                <a:gd name="T18" fmla="*/ 6 w 1493"/>
                <a:gd name="T19" fmla="*/ 18 h 95"/>
                <a:gd name="T20" fmla="*/ 3 w 1493"/>
                <a:gd name="T21" fmla="*/ 18 h 95"/>
                <a:gd name="T22" fmla="*/ 0 w 1493"/>
                <a:gd name="T23" fmla="*/ 18 h 95"/>
                <a:gd name="T24" fmla="*/ 0 w 1493"/>
                <a:gd name="T25" fmla="*/ 77 h 95"/>
                <a:gd name="T26" fmla="*/ 18 w 1493"/>
                <a:gd name="T27" fmla="*/ 95 h 95"/>
                <a:gd name="T28" fmla="*/ 1475 w 1493"/>
                <a:gd name="T29" fmla="*/ 95 h 95"/>
                <a:gd name="T30" fmla="*/ 1493 w 1493"/>
                <a:gd name="T31" fmla="*/ 77 h 95"/>
                <a:gd name="T32" fmla="*/ 1493 w 1493"/>
                <a:gd name="T33" fmla="*/ 18 h 95"/>
                <a:gd name="T34" fmla="*/ 1475 w 1493"/>
                <a:gd name="T35" fmla="*/ 0 h 95"/>
                <a:gd name="T36" fmla="*/ 18 w 1493"/>
                <a:gd name="T37" fmla="*/ 0 h 95"/>
                <a:gd name="T38" fmla="*/ 0 w 1493"/>
                <a:gd name="T39" fmla="*/ 18 h 95"/>
                <a:gd name="T40" fmla="*/ 3 w 1493"/>
                <a:gd name="T4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3" h="95">
                  <a:moveTo>
                    <a:pt x="3" y="18"/>
                  </a:moveTo>
                  <a:cubicBezTo>
                    <a:pt x="6" y="18"/>
                    <a:pt x="6" y="18"/>
                    <a:pt x="6" y="18"/>
                  </a:cubicBezTo>
                  <a:cubicBezTo>
                    <a:pt x="6" y="11"/>
                    <a:pt x="11" y="6"/>
                    <a:pt x="18" y="6"/>
                  </a:cubicBezTo>
                  <a:cubicBezTo>
                    <a:pt x="1475" y="6"/>
                    <a:pt x="1475" y="6"/>
                    <a:pt x="1475" y="6"/>
                  </a:cubicBezTo>
                  <a:cubicBezTo>
                    <a:pt x="1481" y="6"/>
                    <a:pt x="1487" y="11"/>
                    <a:pt x="1487" y="18"/>
                  </a:cubicBezTo>
                  <a:cubicBezTo>
                    <a:pt x="1487" y="77"/>
                    <a:pt x="1487" y="77"/>
                    <a:pt x="1487" y="77"/>
                  </a:cubicBezTo>
                  <a:cubicBezTo>
                    <a:pt x="1487" y="84"/>
                    <a:pt x="1481" y="89"/>
                    <a:pt x="1475" y="89"/>
                  </a:cubicBezTo>
                  <a:cubicBezTo>
                    <a:pt x="18" y="89"/>
                    <a:pt x="18" y="89"/>
                    <a:pt x="18" y="89"/>
                  </a:cubicBezTo>
                  <a:cubicBezTo>
                    <a:pt x="11" y="89"/>
                    <a:pt x="6" y="84"/>
                    <a:pt x="6" y="77"/>
                  </a:cubicBezTo>
                  <a:cubicBezTo>
                    <a:pt x="6" y="18"/>
                    <a:pt x="6" y="18"/>
                    <a:pt x="6" y="18"/>
                  </a:cubicBezTo>
                  <a:cubicBezTo>
                    <a:pt x="3" y="18"/>
                    <a:pt x="3" y="18"/>
                    <a:pt x="3" y="18"/>
                  </a:cubicBezTo>
                  <a:cubicBezTo>
                    <a:pt x="0" y="18"/>
                    <a:pt x="0" y="18"/>
                    <a:pt x="0" y="18"/>
                  </a:cubicBezTo>
                  <a:cubicBezTo>
                    <a:pt x="0" y="77"/>
                    <a:pt x="0" y="77"/>
                    <a:pt x="0" y="77"/>
                  </a:cubicBezTo>
                  <a:cubicBezTo>
                    <a:pt x="0" y="87"/>
                    <a:pt x="8" y="95"/>
                    <a:pt x="18" y="95"/>
                  </a:cubicBezTo>
                  <a:cubicBezTo>
                    <a:pt x="1475" y="95"/>
                    <a:pt x="1475" y="95"/>
                    <a:pt x="1475" y="95"/>
                  </a:cubicBezTo>
                  <a:cubicBezTo>
                    <a:pt x="1485" y="95"/>
                    <a:pt x="1493" y="87"/>
                    <a:pt x="1493" y="77"/>
                  </a:cubicBezTo>
                  <a:cubicBezTo>
                    <a:pt x="1493" y="18"/>
                    <a:pt x="1493" y="18"/>
                    <a:pt x="1493" y="18"/>
                  </a:cubicBezTo>
                  <a:cubicBezTo>
                    <a:pt x="1493" y="8"/>
                    <a:pt x="1485" y="0"/>
                    <a:pt x="1475" y="0"/>
                  </a:cubicBezTo>
                  <a:cubicBezTo>
                    <a:pt x="18" y="0"/>
                    <a:pt x="18" y="0"/>
                    <a:pt x="18" y="0"/>
                  </a:cubicBezTo>
                  <a:cubicBezTo>
                    <a:pt x="8" y="0"/>
                    <a:pt x="0" y="8"/>
                    <a:pt x="0" y="18"/>
                  </a:cubicBezTo>
                  <a:lnTo>
                    <a:pt x="3" y="18"/>
                  </a:ln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4">
              <a:extLst>
                <a:ext uri="{FF2B5EF4-FFF2-40B4-BE49-F238E27FC236}">
                  <a16:creationId xmlns:a16="http://schemas.microsoft.com/office/drawing/2014/main" id="{57BA9772-77F7-4AFC-ABCB-AB9C1272C47B}"/>
                </a:ext>
              </a:extLst>
            </p:cNvPr>
            <p:cNvSpPr>
              <a:spLocks noEditPoints="1"/>
            </p:cNvSpPr>
            <p:nvPr/>
          </p:nvSpPr>
          <p:spPr bwMode="auto">
            <a:xfrm>
              <a:off x="5892611" y="4494585"/>
              <a:ext cx="2764623" cy="141406"/>
            </a:xfrm>
            <a:custGeom>
              <a:avLst/>
              <a:gdLst>
                <a:gd name="T0" fmla="*/ 12 w 807"/>
                <a:gd name="T1" fmla="*/ 2 h 41"/>
                <a:gd name="T2" fmla="*/ 34 w 807"/>
                <a:gd name="T3" fmla="*/ 41 h 41"/>
                <a:gd name="T4" fmla="*/ 46 w 807"/>
                <a:gd name="T5" fmla="*/ 22 h 41"/>
                <a:gd name="T6" fmla="*/ 60 w 807"/>
                <a:gd name="T7" fmla="*/ 30 h 41"/>
                <a:gd name="T8" fmla="*/ 71 w 807"/>
                <a:gd name="T9" fmla="*/ 11 h 41"/>
                <a:gd name="T10" fmla="*/ 83 w 807"/>
                <a:gd name="T11" fmla="*/ 33 h 41"/>
                <a:gd name="T12" fmla="*/ 96 w 807"/>
                <a:gd name="T13" fmla="*/ 32 h 41"/>
                <a:gd name="T14" fmla="*/ 117 w 807"/>
                <a:gd name="T15" fmla="*/ 32 h 41"/>
                <a:gd name="T16" fmla="*/ 114 w 807"/>
                <a:gd name="T17" fmla="*/ 14 h 41"/>
                <a:gd name="T18" fmla="*/ 133 w 807"/>
                <a:gd name="T19" fmla="*/ 32 h 41"/>
                <a:gd name="T20" fmla="*/ 124 w 807"/>
                <a:gd name="T21" fmla="*/ 13 h 41"/>
                <a:gd name="T22" fmla="*/ 166 w 807"/>
                <a:gd name="T23" fmla="*/ 12 h 41"/>
                <a:gd name="T24" fmla="*/ 158 w 807"/>
                <a:gd name="T25" fmla="*/ 32 h 41"/>
                <a:gd name="T26" fmla="*/ 151 w 807"/>
                <a:gd name="T27" fmla="*/ 5 h 41"/>
                <a:gd name="T28" fmla="*/ 172 w 807"/>
                <a:gd name="T29" fmla="*/ 22 h 41"/>
                <a:gd name="T30" fmla="*/ 189 w 807"/>
                <a:gd name="T31" fmla="*/ 25 h 41"/>
                <a:gd name="T32" fmla="*/ 199 w 807"/>
                <a:gd name="T33" fmla="*/ 33 h 41"/>
                <a:gd name="T34" fmla="*/ 255 w 807"/>
                <a:gd name="T35" fmla="*/ 29 h 41"/>
                <a:gd name="T36" fmla="*/ 254 w 807"/>
                <a:gd name="T37" fmla="*/ 23 h 41"/>
                <a:gd name="T38" fmla="*/ 277 w 807"/>
                <a:gd name="T39" fmla="*/ 33 h 41"/>
                <a:gd name="T40" fmla="*/ 306 w 807"/>
                <a:gd name="T41" fmla="*/ 11 h 41"/>
                <a:gd name="T42" fmla="*/ 290 w 807"/>
                <a:gd name="T43" fmla="*/ 11 h 41"/>
                <a:gd name="T44" fmla="*/ 327 w 807"/>
                <a:gd name="T45" fmla="*/ 28 h 41"/>
                <a:gd name="T46" fmla="*/ 328 w 807"/>
                <a:gd name="T47" fmla="*/ 20 h 41"/>
                <a:gd name="T48" fmla="*/ 337 w 807"/>
                <a:gd name="T49" fmla="*/ 0 h 41"/>
                <a:gd name="T50" fmla="*/ 360 w 807"/>
                <a:gd name="T51" fmla="*/ 16 h 41"/>
                <a:gd name="T52" fmla="*/ 375 w 807"/>
                <a:gd name="T53" fmla="*/ 40 h 41"/>
                <a:gd name="T54" fmla="*/ 388 w 807"/>
                <a:gd name="T55" fmla="*/ 13 h 41"/>
                <a:gd name="T56" fmla="*/ 425 w 807"/>
                <a:gd name="T57" fmla="*/ 33 h 41"/>
                <a:gd name="T58" fmla="*/ 406 w 807"/>
                <a:gd name="T59" fmla="*/ 13 h 41"/>
                <a:gd name="T60" fmla="*/ 409 w 807"/>
                <a:gd name="T61" fmla="*/ 10 h 41"/>
                <a:gd name="T62" fmla="*/ 451 w 807"/>
                <a:gd name="T63" fmla="*/ 28 h 41"/>
                <a:gd name="T64" fmla="*/ 452 w 807"/>
                <a:gd name="T65" fmla="*/ 20 h 41"/>
                <a:gd name="T66" fmla="*/ 465 w 807"/>
                <a:gd name="T67" fmla="*/ 14 h 41"/>
                <a:gd name="T68" fmla="*/ 475 w 807"/>
                <a:gd name="T69" fmla="*/ 13 h 41"/>
                <a:gd name="T70" fmla="*/ 485 w 807"/>
                <a:gd name="T71" fmla="*/ 5 h 41"/>
                <a:gd name="T72" fmla="*/ 494 w 807"/>
                <a:gd name="T73" fmla="*/ 29 h 41"/>
                <a:gd name="T74" fmla="*/ 529 w 807"/>
                <a:gd name="T75" fmla="*/ 5 h 41"/>
                <a:gd name="T76" fmla="*/ 535 w 807"/>
                <a:gd name="T77" fmla="*/ 20 h 41"/>
                <a:gd name="T78" fmla="*/ 520 w 807"/>
                <a:gd name="T79" fmla="*/ 33 h 41"/>
                <a:gd name="T80" fmla="*/ 517 w 807"/>
                <a:gd name="T81" fmla="*/ 8 h 41"/>
                <a:gd name="T82" fmla="*/ 585 w 807"/>
                <a:gd name="T83" fmla="*/ 33 h 41"/>
                <a:gd name="T84" fmla="*/ 555 w 807"/>
                <a:gd name="T85" fmla="*/ 32 h 41"/>
                <a:gd name="T86" fmla="*/ 611 w 807"/>
                <a:gd name="T87" fmla="*/ 33 h 41"/>
                <a:gd name="T88" fmla="*/ 598 w 807"/>
                <a:gd name="T89" fmla="*/ 14 h 41"/>
                <a:gd name="T90" fmla="*/ 599 w 807"/>
                <a:gd name="T91" fmla="*/ 29 h 41"/>
                <a:gd name="T92" fmla="*/ 619 w 807"/>
                <a:gd name="T93" fmla="*/ 11 h 41"/>
                <a:gd name="T94" fmla="*/ 633 w 807"/>
                <a:gd name="T95" fmla="*/ 17 h 41"/>
                <a:gd name="T96" fmla="*/ 647 w 807"/>
                <a:gd name="T97" fmla="*/ 15 h 41"/>
                <a:gd name="T98" fmla="*/ 656 w 807"/>
                <a:gd name="T99" fmla="*/ 5 h 41"/>
                <a:gd name="T100" fmla="*/ 666 w 807"/>
                <a:gd name="T101" fmla="*/ 29 h 41"/>
                <a:gd name="T102" fmla="*/ 687 w 807"/>
                <a:gd name="T103" fmla="*/ 32 h 41"/>
                <a:gd name="T104" fmla="*/ 685 w 807"/>
                <a:gd name="T105" fmla="*/ 20 h 41"/>
                <a:gd name="T106" fmla="*/ 695 w 807"/>
                <a:gd name="T107" fmla="*/ 32 h 41"/>
                <a:gd name="T108" fmla="*/ 733 w 807"/>
                <a:gd name="T109" fmla="*/ 33 h 41"/>
                <a:gd name="T110" fmla="*/ 720 w 807"/>
                <a:gd name="T111" fmla="*/ 15 h 41"/>
                <a:gd name="T112" fmla="*/ 732 w 807"/>
                <a:gd name="T113" fmla="*/ 23 h 41"/>
                <a:gd name="T114" fmla="*/ 743 w 807"/>
                <a:gd name="T115" fmla="*/ 32 h 41"/>
                <a:gd name="T116" fmla="*/ 782 w 807"/>
                <a:gd name="T117" fmla="*/ 32 h 41"/>
                <a:gd name="T118" fmla="*/ 779 w 807"/>
                <a:gd name="T119" fmla="*/ 14 h 41"/>
                <a:gd name="T120" fmla="*/ 801 w 807"/>
                <a:gd name="T121" fmla="*/ 30 h 41"/>
                <a:gd name="T122" fmla="*/ 802 w 807"/>
                <a:gd name="T123"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41">
                  <a:moveTo>
                    <a:pt x="26" y="31"/>
                  </a:moveTo>
                  <a:cubicBezTo>
                    <a:pt x="26" y="32"/>
                    <a:pt x="26" y="32"/>
                    <a:pt x="26" y="32"/>
                  </a:cubicBezTo>
                  <a:cubicBezTo>
                    <a:pt x="26" y="32"/>
                    <a:pt x="26" y="32"/>
                    <a:pt x="26" y="33"/>
                  </a:cubicBezTo>
                  <a:cubicBezTo>
                    <a:pt x="26" y="33"/>
                    <a:pt x="26" y="33"/>
                    <a:pt x="26" y="33"/>
                  </a:cubicBezTo>
                  <a:cubicBezTo>
                    <a:pt x="25" y="33"/>
                    <a:pt x="25" y="33"/>
                    <a:pt x="24" y="33"/>
                  </a:cubicBezTo>
                  <a:cubicBezTo>
                    <a:pt x="24" y="33"/>
                    <a:pt x="24" y="33"/>
                    <a:pt x="23" y="33"/>
                  </a:cubicBezTo>
                  <a:cubicBezTo>
                    <a:pt x="23" y="33"/>
                    <a:pt x="23" y="33"/>
                    <a:pt x="23" y="33"/>
                  </a:cubicBezTo>
                  <a:cubicBezTo>
                    <a:pt x="22" y="33"/>
                    <a:pt x="22" y="33"/>
                    <a:pt x="22" y="32"/>
                  </a:cubicBezTo>
                  <a:cubicBezTo>
                    <a:pt x="22" y="32"/>
                    <a:pt x="22" y="32"/>
                    <a:pt x="22" y="32"/>
                  </a:cubicBezTo>
                  <a:cubicBezTo>
                    <a:pt x="20" y="25"/>
                    <a:pt x="20" y="25"/>
                    <a:pt x="20" y="25"/>
                  </a:cubicBezTo>
                  <a:cubicBezTo>
                    <a:pt x="7" y="25"/>
                    <a:pt x="7" y="25"/>
                    <a:pt x="7" y="25"/>
                  </a:cubicBezTo>
                  <a:cubicBezTo>
                    <a:pt x="4" y="32"/>
                    <a:pt x="4" y="32"/>
                    <a:pt x="4" y="32"/>
                  </a:cubicBezTo>
                  <a:cubicBezTo>
                    <a:pt x="4" y="32"/>
                    <a:pt x="4" y="32"/>
                    <a:pt x="4" y="32"/>
                  </a:cubicBezTo>
                  <a:cubicBezTo>
                    <a:pt x="4" y="32"/>
                    <a:pt x="4" y="33"/>
                    <a:pt x="4" y="33"/>
                  </a:cubicBezTo>
                  <a:cubicBezTo>
                    <a:pt x="4" y="33"/>
                    <a:pt x="4" y="33"/>
                    <a:pt x="3" y="33"/>
                  </a:cubicBezTo>
                  <a:cubicBezTo>
                    <a:pt x="3" y="33"/>
                    <a:pt x="3" y="33"/>
                    <a:pt x="2" y="33"/>
                  </a:cubicBezTo>
                  <a:cubicBezTo>
                    <a:pt x="2" y="33"/>
                    <a:pt x="1" y="33"/>
                    <a:pt x="1" y="33"/>
                  </a:cubicBezTo>
                  <a:cubicBezTo>
                    <a:pt x="1" y="33"/>
                    <a:pt x="1" y="33"/>
                    <a:pt x="0" y="33"/>
                  </a:cubicBezTo>
                  <a:cubicBezTo>
                    <a:pt x="0" y="32"/>
                    <a:pt x="0" y="32"/>
                    <a:pt x="0" y="32"/>
                  </a:cubicBezTo>
                  <a:cubicBezTo>
                    <a:pt x="0" y="32"/>
                    <a:pt x="0" y="32"/>
                    <a:pt x="1" y="31"/>
                  </a:cubicBezTo>
                  <a:cubicBezTo>
                    <a:pt x="11" y="3"/>
                    <a:pt x="11" y="3"/>
                    <a:pt x="11" y="3"/>
                  </a:cubicBezTo>
                  <a:cubicBezTo>
                    <a:pt x="11" y="3"/>
                    <a:pt x="11" y="3"/>
                    <a:pt x="11" y="3"/>
                  </a:cubicBezTo>
                  <a:cubicBezTo>
                    <a:pt x="11" y="3"/>
                    <a:pt x="11" y="2"/>
                    <a:pt x="11" y="2"/>
                  </a:cubicBezTo>
                  <a:cubicBezTo>
                    <a:pt x="12" y="2"/>
                    <a:pt x="12" y="2"/>
                    <a:pt x="12" y="2"/>
                  </a:cubicBezTo>
                  <a:cubicBezTo>
                    <a:pt x="12" y="2"/>
                    <a:pt x="13" y="2"/>
                    <a:pt x="13" y="2"/>
                  </a:cubicBezTo>
                  <a:cubicBezTo>
                    <a:pt x="14" y="2"/>
                    <a:pt x="14" y="2"/>
                    <a:pt x="15" y="2"/>
                  </a:cubicBezTo>
                  <a:cubicBezTo>
                    <a:pt x="15" y="2"/>
                    <a:pt x="15" y="2"/>
                    <a:pt x="15" y="2"/>
                  </a:cubicBezTo>
                  <a:cubicBezTo>
                    <a:pt x="16" y="2"/>
                    <a:pt x="16" y="3"/>
                    <a:pt x="16" y="3"/>
                  </a:cubicBezTo>
                  <a:cubicBezTo>
                    <a:pt x="16" y="3"/>
                    <a:pt x="16" y="3"/>
                    <a:pt x="16" y="3"/>
                  </a:cubicBezTo>
                  <a:lnTo>
                    <a:pt x="26" y="31"/>
                  </a:lnTo>
                  <a:close/>
                  <a:moveTo>
                    <a:pt x="13" y="6"/>
                  </a:moveTo>
                  <a:cubicBezTo>
                    <a:pt x="13" y="6"/>
                    <a:pt x="13" y="6"/>
                    <a:pt x="13" y="6"/>
                  </a:cubicBezTo>
                  <a:cubicBezTo>
                    <a:pt x="8" y="22"/>
                    <a:pt x="8" y="22"/>
                    <a:pt x="8" y="22"/>
                  </a:cubicBezTo>
                  <a:cubicBezTo>
                    <a:pt x="18" y="22"/>
                    <a:pt x="18" y="22"/>
                    <a:pt x="18" y="22"/>
                  </a:cubicBezTo>
                  <a:lnTo>
                    <a:pt x="13" y="6"/>
                  </a:lnTo>
                  <a:close/>
                  <a:moveTo>
                    <a:pt x="50" y="21"/>
                  </a:moveTo>
                  <a:cubicBezTo>
                    <a:pt x="50" y="23"/>
                    <a:pt x="50" y="25"/>
                    <a:pt x="50" y="26"/>
                  </a:cubicBezTo>
                  <a:cubicBezTo>
                    <a:pt x="49" y="28"/>
                    <a:pt x="49" y="29"/>
                    <a:pt x="48" y="30"/>
                  </a:cubicBezTo>
                  <a:cubicBezTo>
                    <a:pt x="47" y="31"/>
                    <a:pt x="46" y="32"/>
                    <a:pt x="45" y="32"/>
                  </a:cubicBezTo>
                  <a:cubicBezTo>
                    <a:pt x="44" y="33"/>
                    <a:pt x="43" y="33"/>
                    <a:pt x="41" y="33"/>
                  </a:cubicBezTo>
                  <a:cubicBezTo>
                    <a:pt x="41" y="33"/>
                    <a:pt x="40" y="33"/>
                    <a:pt x="39" y="33"/>
                  </a:cubicBezTo>
                  <a:cubicBezTo>
                    <a:pt x="39" y="33"/>
                    <a:pt x="38" y="33"/>
                    <a:pt x="38" y="32"/>
                  </a:cubicBezTo>
                  <a:cubicBezTo>
                    <a:pt x="37" y="32"/>
                    <a:pt x="37" y="32"/>
                    <a:pt x="36" y="31"/>
                  </a:cubicBezTo>
                  <a:cubicBezTo>
                    <a:pt x="36" y="31"/>
                    <a:pt x="35" y="30"/>
                    <a:pt x="35" y="30"/>
                  </a:cubicBezTo>
                  <a:cubicBezTo>
                    <a:pt x="35" y="40"/>
                    <a:pt x="35" y="40"/>
                    <a:pt x="35" y="40"/>
                  </a:cubicBezTo>
                  <a:cubicBezTo>
                    <a:pt x="35" y="41"/>
                    <a:pt x="35" y="41"/>
                    <a:pt x="35" y="41"/>
                  </a:cubicBezTo>
                  <a:cubicBezTo>
                    <a:pt x="35" y="41"/>
                    <a:pt x="34" y="41"/>
                    <a:pt x="34" y="41"/>
                  </a:cubicBezTo>
                  <a:cubicBezTo>
                    <a:pt x="34" y="41"/>
                    <a:pt x="34" y="41"/>
                    <a:pt x="34" y="41"/>
                  </a:cubicBezTo>
                  <a:cubicBezTo>
                    <a:pt x="34" y="41"/>
                    <a:pt x="33" y="41"/>
                    <a:pt x="33" y="41"/>
                  </a:cubicBezTo>
                  <a:cubicBezTo>
                    <a:pt x="32" y="41"/>
                    <a:pt x="32" y="41"/>
                    <a:pt x="32" y="41"/>
                  </a:cubicBezTo>
                  <a:cubicBezTo>
                    <a:pt x="32" y="41"/>
                    <a:pt x="31" y="41"/>
                    <a:pt x="31" y="41"/>
                  </a:cubicBezTo>
                  <a:cubicBezTo>
                    <a:pt x="31" y="41"/>
                    <a:pt x="31" y="41"/>
                    <a:pt x="31" y="41"/>
                  </a:cubicBezTo>
                  <a:cubicBezTo>
                    <a:pt x="31" y="41"/>
                    <a:pt x="31" y="41"/>
                    <a:pt x="31" y="40"/>
                  </a:cubicBezTo>
                  <a:cubicBezTo>
                    <a:pt x="31" y="11"/>
                    <a:pt x="31" y="11"/>
                    <a:pt x="31" y="11"/>
                  </a:cubicBezTo>
                  <a:cubicBezTo>
                    <a:pt x="31" y="11"/>
                    <a:pt x="31" y="11"/>
                    <a:pt x="31" y="11"/>
                  </a:cubicBezTo>
                  <a:cubicBezTo>
                    <a:pt x="31" y="11"/>
                    <a:pt x="31" y="11"/>
                    <a:pt x="31" y="10"/>
                  </a:cubicBezTo>
                  <a:cubicBezTo>
                    <a:pt x="31" y="10"/>
                    <a:pt x="32" y="10"/>
                    <a:pt x="32" y="10"/>
                  </a:cubicBezTo>
                  <a:cubicBezTo>
                    <a:pt x="32" y="10"/>
                    <a:pt x="32" y="10"/>
                    <a:pt x="33" y="10"/>
                  </a:cubicBezTo>
                  <a:cubicBezTo>
                    <a:pt x="33" y="10"/>
                    <a:pt x="33" y="10"/>
                    <a:pt x="33" y="10"/>
                  </a:cubicBezTo>
                  <a:cubicBezTo>
                    <a:pt x="34" y="10"/>
                    <a:pt x="34" y="10"/>
                    <a:pt x="34" y="10"/>
                  </a:cubicBezTo>
                  <a:cubicBezTo>
                    <a:pt x="34" y="11"/>
                    <a:pt x="34" y="11"/>
                    <a:pt x="34" y="11"/>
                  </a:cubicBezTo>
                  <a:cubicBezTo>
                    <a:pt x="34" y="11"/>
                    <a:pt x="34" y="11"/>
                    <a:pt x="34" y="11"/>
                  </a:cubicBezTo>
                  <a:cubicBezTo>
                    <a:pt x="34" y="14"/>
                    <a:pt x="34" y="14"/>
                    <a:pt x="34" y="14"/>
                  </a:cubicBezTo>
                  <a:cubicBezTo>
                    <a:pt x="35" y="13"/>
                    <a:pt x="36" y="13"/>
                    <a:pt x="36" y="12"/>
                  </a:cubicBezTo>
                  <a:cubicBezTo>
                    <a:pt x="37" y="12"/>
                    <a:pt x="37" y="11"/>
                    <a:pt x="38" y="11"/>
                  </a:cubicBezTo>
                  <a:cubicBezTo>
                    <a:pt x="39" y="11"/>
                    <a:pt x="39" y="10"/>
                    <a:pt x="40" y="10"/>
                  </a:cubicBezTo>
                  <a:cubicBezTo>
                    <a:pt x="40" y="10"/>
                    <a:pt x="41" y="10"/>
                    <a:pt x="42" y="10"/>
                  </a:cubicBezTo>
                  <a:cubicBezTo>
                    <a:pt x="43" y="10"/>
                    <a:pt x="45" y="10"/>
                    <a:pt x="46" y="11"/>
                  </a:cubicBezTo>
                  <a:cubicBezTo>
                    <a:pt x="47" y="11"/>
                    <a:pt x="48" y="12"/>
                    <a:pt x="48" y="13"/>
                  </a:cubicBezTo>
                  <a:cubicBezTo>
                    <a:pt x="49" y="14"/>
                    <a:pt x="50" y="16"/>
                    <a:pt x="50" y="17"/>
                  </a:cubicBezTo>
                  <a:cubicBezTo>
                    <a:pt x="50" y="18"/>
                    <a:pt x="50" y="20"/>
                    <a:pt x="50" y="21"/>
                  </a:cubicBezTo>
                  <a:close/>
                  <a:moveTo>
                    <a:pt x="46" y="22"/>
                  </a:moveTo>
                  <a:cubicBezTo>
                    <a:pt x="46" y="21"/>
                    <a:pt x="46" y="20"/>
                    <a:pt x="46" y="19"/>
                  </a:cubicBezTo>
                  <a:cubicBezTo>
                    <a:pt x="46" y="18"/>
                    <a:pt x="46" y="17"/>
                    <a:pt x="45" y="16"/>
                  </a:cubicBezTo>
                  <a:cubicBezTo>
                    <a:pt x="45" y="15"/>
                    <a:pt x="44" y="14"/>
                    <a:pt x="44" y="14"/>
                  </a:cubicBezTo>
                  <a:cubicBezTo>
                    <a:pt x="43" y="14"/>
                    <a:pt x="42" y="13"/>
                    <a:pt x="41" y="13"/>
                  </a:cubicBezTo>
                  <a:cubicBezTo>
                    <a:pt x="41" y="13"/>
                    <a:pt x="40" y="13"/>
                    <a:pt x="40" y="14"/>
                  </a:cubicBezTo>
                  <a:cubicBezTo>
                    <a:pt x="39" y="14"/>
                    <a:pt x="39" y="14"/>
                    <a:pt x="38" y="14"/>
                  </a:cubicBezTo>
                  <a:cubicBezTo>
                    <a:pt x="38" y="15"/>
                    <a:pt x="37" y="15"/>
                    <a:pt x="36" y="15"/>
                  </a:cubicBezTo>
                  <a:cubicBezTo>
                    <a:pt x="36" y="16"/>
                    <a:pt x="35" y="17"/>
                    <a:pt x="35" y="17"/>
                  </a:cubicBezTo>
                  <a:cubicBezTo>
                    <a:pt x="35" y="26"/>
                    <a:pt x="35" y="26"/>
                    <a:pt x="35" y="26"/>
                  </a:cubicBezTo>
                  <a:cubicBezTo>
                    <a:pt x="36" y="27"/>
                    <a:pt x="37" y="28"/>
                    <a:pt x="38" y="29"/>
                  </a:cubicBezTo>
                  <a:cubicBezTo>
                    <a:pt x="39" y="29"/>
                    <a:pt x="40" y="30"/>
                    <a:pt x="41" y="30"/>
                  </a:cubicBezTo>
                  <a:cubicBezTo>
                    <a:pt x="42" y="30"/>
                    <a:pt x="43" y="30"/>
                    <a:pt x="43" y="29"/>
                  </a:cubicBezTo>
                  <a:cubicBezTo>
                    <a:pt x="44" y="29"/>
                    <a:pt x="45" y="28"/>
                    <a:pt x="45" y="27"/>
                  </a:cubicBezTo>
                  <a:cubicBezTo>
                    <a:pt x="45" y="26"/>
                    <a:pt x="46" y="26"/>
                    <a:pt x="46" y="25"/>
                  </a:cubicBezTo>
                  <a:cubicBezTo>
                    <a:pt x="46" y="24"/>
                    <a:pt x="46" y="23"/>
                    <a:pt x="46" y="22"/>
                  </a:cubicBezTo>
                  <a:close/>
                  <a:moveTo>
                    <a:pt x="76" y="21"/>
                  </a:moveTo>
                  <a:cubicBezTo>
                    <a:pt x="76" y="23"/>
                    <a:pt x="75" y="25"/>
                    <a:pt x="75" y="26"/>
                  </a:cubicBezTo>
                  <a:cubicBezTo>
                    <a:pt x="75" y="28"/>
                    <a:pt x="74" y="29"/>
                    <a:pt x="73" y="30"/>
                  </a:cubicBezTo>
                  <a:cubicBezTo>
                    <a:pt x="72" y="31"/>
                    <a:pt x="71" y="32"/>
                    <a:pt x="70" y="32"/>
                  </a:cubicBezTo>
                  <a:cubicBezTo>
                    <a:pt x="69" y="33"/>
                    <a:pt x="68" y="33"/>
                    <a:pt x="66" y="33"/>
                  </a:cubicBezTo>
                  <a:cubicBezTo>
                    <a:pt x="66" y="33"/>
                    <a:pt x="65" y="33"/>
                    <a:pt x="65" y="33"/>
                  </a:cubicBezTo>
                  <a:cubicBezTo>
                    <a:pt x="64" y="33"/>
                    <a:pt x="64" y="33"/>
                    <a:pt x="63" y="32"/>
                  </a:cubicBezTo>
                  <a:cubicBezTo>
                    <a:pt x="63" y="32"/>
                    <a:pt x="62" y="32"/>
                    <a:pt x="62" y="31"/>
                  </a:cubicBezTo>
                  <a:cubicBezTo>
                    <a:pt x="61" y="31"/>
                    <a:pt x="61" y="30"/>
                    <a:pt x="60" y="30"/>
                  </a:cubicBezTo>
                  <a:cubicBezTo>
                    <a:pt x="60" y="40"/>
                    <a:pt x="60" y="40"/>
                    <a:pt x="60" y="40"/>
                  </a:cubicBezTo>
                  <a:cubicBezTo>
                    <a:pt x="60" y="41"/>
                    <a:pt x="60" y="41"/>
                    <a:pt x="60" y="41"/>
                  </a:cubicBezTo>
                  <a:cubicBezTo>
                    <a:pt x="60" y="41"/>
                    <a:pt x="60" y="41"/>
                    <a:pt x="60" y="41"/>
                  </a:cubicBezTo>
                  <a:cubicBezTo>
                    <a:pt x="59" y="41"/>
                    <a:pt x="59" y="41"/>
                    <a:pt x="59" y="41"/>
                  </a:cubicBezTo>
                  <a:cubicBezTo>
                    <a:pt x="59" y="41"/>
                    <a:pt x="58" y="41"/>
                    <a:pt x="58" y="41"/>
                  </a:cubicBezTo>
                  <a:cubicBezTo>
                    <a:pt x="58" y="41"/>
                    <a:pt x="57" y="41"/>
                    <a:pt x="57" y="41"/>
                  </a:cubicBezTo>
                  <a:cubicBezTo>
                    <a:pt x="57" y="41"/>
                    <a:pt x="57" y="41"/>
                    <a:pt x="57" y="41"/>
                  </a:cubicBezTo>
                  <a:cubicBezTo>
                    <a:pt x="56" y="41"/>
                    <a:pt x="56" y="41"/>
                    <a:pt x="56" y="41"/>
                  </a:cubicBezTo>
                  <a:cubicBezTo>
                    <a:pt x="56" y="41"/>
                    <a:pt x="56" y="41"/>
                    <a:pt x="56" y="40"/>
                  </a:cubicBezTo>
                  <a:cubicBezTo>
                    <a:pt x="56" y="11"/>
                    <a:pt x="56" y="11"/>
                    <a:pt x="56" y="11"/>
                  </a:cubicBezTo>
                  <a:cubicBezTo>
                    <a:pt x="56" y="11"/>
                    <a:pt x="56" y="11"/>
                    <a:pt x="56" y="11"/>
                  </a:cubicBezTo>
                  <a:cubicBezTo>
                    <a:pt x="56" y="11"/>
                    <a:pt x="56" y="11"/>
                    <a:pt x="56" y="10"/>
                  </a:cubicBezTo>
                  <a:cubicBezTo>
                    <a:pt x="57" y="10"/>
                    <a:pt x="57" y="10"/>
                    <a:pt x="57" y="10"/>
                  </a:cubicBezTo>
                  <a:cubicBezTo>
                    <a:pt x="57" y="10"/>
                    <a:pt x="58" y="10"/>
                    <a:pt x="58" y="10"/>
                  </a:cubicBezTo>
                  <a:cubicBezTo>
                    <a:pt x="58" y="10"/>
                    <a:pt x="58" y="10"/>
                    <a:pt x="59" y="10"/>
                  </a:cubicBezTo>
                  <a:cubicBezTo>
                    <a:pt x="59" y="10"/>
                    <a:pt x="59" y="10"/>
                    <a:pt x="59" y="10"/>
                  </a:cubicBezTo>
                  <a:cubicBezTo>
                    <a:pt x="59" y="11"/>
                    <a:pt x="59" y="11"/>
                    <a:pt x="59" y="11"/>
                  </a:cubicBezTo>
                  <a:cubicBezTo>
                    <a:pt x="60" y="11"/>
                    <a:pt x="60" y="11"/>
                    <a:pt x="60" y="11"/>
                  </a:cubicBezTo>
                  <a:cubicBezTo>
                    <a:pt x="60" y="14"/>
                    <a:pt x="60" y="14"/>
                    <a:pt x="60" y="14"/>
                  </a:cubicBezTo>
                  <a:cubicBezTo>
                    <a:pt x="60" y="13"/>
                    <a:pt x="61" y="13"/>
                    <a:pt x="61" y="12"/>
                  </a:cubicBezTo>
                  <a:cubicBezTo>
                    <a:pt x="62" y="12"/>
                    <a:pt x="63" y="11"/>
                    <a:pt x="63" y="11"/>
                  </a:cubicBezTo>
                  <a:cubicBezTo>
                    <a:pt x="64" y="11"/>
                    <a:pt x="64" y="10"/>
                    <a:pt x="65" y="10"/>
                  </a:cubicBezTo>
                  <a:cubicBezTo>
                    <a:pt x="66" y="10"/>
                    <a:pt x="66" y="10"/>
                    <a:pt x="67" y="10"/>
                  </a:cubicBezTo>
                  <a:cubicBezTo>
                    <a:pt x="69" y="10"/>
                    <a:pt x="70" y="10"/>
                    <a:pt x="71" y="11"/>
                  </a:cubicBezTo>
                  <a:cubicBezTo>
                    <a:pt x="72" y="11"/>
                    <a:pt x="73" y="12"/>
                    <a:pt x="74" y="13"/>
                  </a:cubicBezTo>
                  <a:cubicBezTo>
                    <a:pt x="74" y="14"/>
                    <a:pt x="75" y="16"/>
                    <a:pt x="75" y="17"/>
                  </a:cubicBezTo>
                  <a:cubicBezTo>
                    <a:pt x="75" y="18"/>
                    <a:pt x="76" y="20"/>
                    <a:pt x="76" y="21"/>
                  </a:cubicBezTo>
                  <a:close/>
                  <a:moveTo>
                    <a:pt x="72" y="22"/>
                  </a:moveTo>
                  <a:cubicBezTo>
                    <a:pt x="72" y="21"/>
                    <a:pt x="71" y="20"/>
                    <a:pt x="71" y="19"/>
                  </a:cubicBezTo>
                  <a:cubicBezTo>
                    <a:pt x="71" y="18"/>
                    <a:pt x="71" y="17"/>
                    <a:pt x="70" y="16"/>
                  </a:cubicBezTo>
                  <a:cubicBezTo>
                    <a:pt x="70" y="15"/>
                    <a:pt x="70" y="14"/>
                    <a:pt x="69" y="14"/>
                  </a:cubicBezTo>
                  <a:cubicBezTo>
                    <a:pt x="68" y="14"/>
                    <a:pt x="67" y="13"/>
                    <a:pt x="66" y="13"/>
                  </a:cubicBezTo>
                  <a:cubicBezTo>
                    <a:pt x="66" y="13"/>
                    <a:pt x="65" y="13"/>
                    <a:pt x="65" y="14"/>
                  </a:cubicBezTo>
                  <a:cubicBezTo>
                    <a:pt x="64" y="14"/>
                    <a:pt x="64" y="14"/>
                    <a:pt x="63" y="14"/>
                  </a:cubicBezTo>
                  <a:cubicBezTo>
                    <a:pt x="63" y="15"/>
                    <a:pt x="62" y="15"/>
                    <a:pt x="62" y="15"/>
                  </a:cubicBezTo>
                  <a:cubicBezTo>
                    <a:pt x="61" y="16"/>
                    <a:pt x="61" y="17"/>
                    <a:pt x="60" y="17"/>
                  </a:cubicBezTo>
                  <a:cubicBezTo>
                    <a:pt x="60" y="26"/>
                    <a:pt x="60" y="26"/>
                    <a:pt x="60" y="26"/>
                  </a:cubicBezTo>
                  <a:cubicBezTo>
                    <a:pt x="61" y="27"/>
                    <a:pt x="62" y="28"/>
                    <a:pt x="63" y="29"/>
                  </a:cubicBezTo>
                  <a:cubicBezTo>
                    <a:pt x="64" y="29"/>
                    <a:pt x="65" y="30"/>
                    <a:pt x="66" y="30"/>
                  </a:cubicBezTo>
                  <a:cubicBezTo>
                    <a:pt x="67" y="30"/>
                    <a:pt x="68" y="30"/>
                    <a:pt x="69" y="29"/>
                  </a:cubicBezTo>
                  <a:cubicBezTo>
                    <a:pt x="69" y="29"/>
                    <a:pt x="70" y="28"/>
                    <a:pt x="70" y="27"/>
                  </a:cubicBezTo>
                  <a:cubicBezTo>
                    <a:pt x="71" y="26"/>
                    <a:pt x="71" y="26"/>
                    <a:pt x="71" y="25"/>
                  </a:cubicBezTo>
                  <a:cubicBezTo>
                    <a:pt x="71" y="24"/>
                    <a:pt x="72" y="23"/>
                    <a:pt x="72" y="22"/>
                  </a:cubicBezTo>
                  <a:close/>
                  <a:moveTo>
                    <a:pt x="85" y="32"/>
                  </a:moveTo>
                  <a:cubicBezTo>
                    <a:pt x="85" y="32"/>
                    <a:pt x="85" y="32"/>
                    <a:pt x="85" y="32"/>
                  </a:cubicBezTo>
                  <a:cubicBezTo>
                    <a:pt x="85" y="33"/>
                    <a:pt x="85" y="33"/>
                    <a:pt x="85" y="33"/>
                  </a:cubicBezTo>
                  <a:cubicBezTo>
                    <a:pt x="85" y="33"/>
                    <a:pt x="85" y="33"/>
                    <a:pt x="84" y="33"/>
                  </a:cubicBezTo>
                  <a:cubicBezTo>
                    <a:pt x="84" y="33"/>
                    <a:pt x="84" y="33"/>
                    <a:pt x="83" y="33"/>
                  </a:cubicBezTo>
                  <a:cubicBezTo>
                    <a:pt x="83" y="33"/>
                    <a:pt x="83" y="33"/>
                    <a:pt x="82" y="33"/>
                  </a:cubicBezTo>
                  <a:cubicBezTo>
                    <a:pt x="82" y="33"/>
                    <a:pt x="82" y="33"/>
                    <a:pt x="82" y="33"/>
                  </a:cubicBezTo>
                  <a:cubicBezTo>
                    <a:pt x="82" y="33"/>
                    <a:pt x="82" y="33"/>
                    <a:pt x="81" y="32"/>
                  </a:cubicBezTo>
                  <a:cubicBezTo>
                    <a:pt x="81" y="32"/>
                    <a:pt x="81" y="32"/>
                    <a:pt x="81" y="32"/>
                  </a:cubicBezTo>
                  <a:cubicBezTo>
                    <a:pt x="81" y="1"/>
                    <a:pt x="81" y="1"/>
                    <a:pt x="81" y="1"/>
                  </a:cubicBezTo>
                  <a:cubicBezTo>
                    <a:pt x="81" y="1"/>
                    <a:pt x="81" y="1"/>
                    <a:pt x="81" y="0"/>
                  </a:cubicBezTo>
                  <a:cubicBezTo>
                    <a:pt x="82" y="0"/>
                    <a:pt x="82" y="0"/>
                    <a:pt x="82" y="0"/>
                  </a:cubicBezTo>
                  <a:cubicBezTo>
                    <a:pt x="82" y="0"/>
                    <a:pt x="82" y="0"/>
                    <a:pt x="82" y="0"/>
                  </a:cubicBezTo>
                  <a:cubicBezTo>
                    <a:pt x="83" y="0"/>
                    <a:pt x="83" y="0"/>
                    <a:pt x="83" y="0"/>
                  </a:cubicBezTo>
                  <a:cubicBezTo>
                    <a:pt x="84" y="0"/>
                    <a:pt x="84" y="0"/>
                    <a:pt x="84" y="0"/>
                  </a:cubicBezTo>
                  <a:cubicBezTo>
                    <a:pt x="85" y="0"/>
                    <a:pt x="85" y="0"/>
                    <a:pt x="85" y="0"/>
                  </a:cubicBezTo>
                  <a:cubicBezTo>
                    <a:pt x="85" y="0"/>
                    <a:pt x="85" y="0"/>
                    <a:pt x="85" y="0"/>
                  </a:cubicBezTo>
                  <a:cubicBezTo>
                    <a:pt x="85" y="1"/>
                    <a:pt x="85" y="1"/>
                    <a:pt x="85" y="1"/>
                  </a:cubicBezTo>
                  <a:lnTo>
                    <a:pt x="85" y="32"/>
                  </a:lnTo>
                  <a:close/>
                  <a:moveTo>
                    <a:pt x="97" y="4"/>
                  </a:moveTo>
                  <a:cubicBezTo>
                    <a:pt x="97" y="5"/>
                    <a:pt x="97" y="5"/>
                    <a:pt x="96" y="6"/>
                  </a:cubicBezTo>
                  <a:cubicBezTo>
                    <a:pt x="96" y="6"/>
                    <a:pt x="95" y="6"/>
                    <a:pt x="94" y="6"/>
                  </a:cubicBezTo>
                  <a:cubicBezTo>
                    <a:pt x="93" y="6"/>
                    <a:pt x="93" y="6"/>
                    <a:pt x="93" y="6"/>
                  </a:cubicBezTo>
                  <a:cubicBezTo>
                    <a:pt x="92" y="5"/>
                    <a:pt x="92" y="5"/>
                    <a:pt x="92" y="4"/>
                  </a:cubicBezTo>
                  <a:cubicBezTo>
                    <a:pt x="92" y="3"/>
                    <a:pt x="92" y="2"/>
                    <a:pt x="93" y="2"/>
                  </a:cubicBezTo>
                  <a:cubicBezTo>
                    <a:pt x="93" y="2"/>
                    <a:pt x="94" y="2"/>
                    <a:pt x="94" y="2"/>
                  </a:cubicBezTo>
                  <a:cubicBezTo>
                    <a:pt x="95" y="2"/>
                    <a:pt x="96" y="2"/>
                    <a:pt x="96" y="2"/>
                  </a:cubicBezTo>
                  <a:cubicBezTo>
                    <a:pt x="97" y="2"/>
                    <a:pt x="97" y="3"/>
                    <a:pt x="97" y="4"/>
                  </a:cubicBezTo>
                  <a:close/>
                  <a:moveTo>
                    <a:pt x="96" y="32"/>
                  </a:moveTo>
                  <a:cubicBezTo>
                    <a:pt x="96" y="32"/>
                    <a:pt x="96" y="32"/>
                    <a:pt x="96" y="32"/>
                  </a:cubicBezTo>
                  <a:cubicBezTo>
                    <a:pt x="96" y="33"/>
                    <a:pt x="96" y="33"/>
                    <a:pt x="96" y="33"/>
                  </a:cubicBezTo>
                  <a:cubicBezTo>
                    <a:pt x="96" y="33"/>
                    <a:pt x="96" y="33"/>
                    <a:pt x="95" y="33"/>
                  </a:cubicBezTo>
                  <a:cubicBezTo>
                    <a:pt x="95" y="33"/>
                    <a:pt x="95" y="33"/>
                    <a:pt x="94" y="33"/>
                  </a:cubicBezTo>
                  <a:cubicBezTo>
                    <a:pt x="94" y="33"/>
                    <a:pt x="94" y="33"/>
                    <a:pt x="93" y="33"/>
                  </a:cubicBezTo>
                  <a:cubicBezTo>
                    <a:pt x="93" y="33"/>
                    <a:pt x="93" y="33"/>
                    <a:pt x="93" y="33"/>
                  </a:cubicBezTo>
                  <a:cubicBezTo>
                    <a:pt x="93" y="33"/>
                    <a:pt x="93" y="33"/>
                    <a:pt x="93" y="32"/>
                  </a:cubicBezTo>
                  <a:cubicBezTo>
                    <a:pt x="93" y="32"/>
                    <a:pt x="92" y="32"/>
                    <a:pt x="92" y="32"/>
                  </a:cubicBezTo>
                  <a:cubicBezTo>
                    <a:pt x="92" y="11"/>
                    <a:pt x="92" y="11"/>
                    <a:pt x="92" y="11"/>
                  </a:cubicBezTo>
                  <a:cubicBezTo>
                    <a:pt x="92" y="11"/>
                    <a:pt x="93" y="11"/>
                    <a:pt x="93" y="11"/>
                  </a:cubicBezTo>
                  <a:cubicBezTo>
                    <a:pt x="93" y="11"/>
                    <a:pt x="93" y="11"/>
                    <a:pt x="93" y="10"/>
                  </a:cubicBezTo>
                  <a:cubicBezTo>
                    <a:pt x="93" y="10"/>
                    <a:pt x="93" y="10"/>
                    <a:pt x="93" y="10"/>
                  </a:cubicBezTo>
                  <a:cubicBezTo>
                    <a:pt x="94" y="10"/>
                    <a:pt x="94" y="10"/>
                    <a:pt x="94" y="10"/>
                  </a:cubicBezTo>
                  <a:cubicBezTo>
                    <a:pt x="95" y="10"/>
                    <a:pt x="95" y="10"/>
                    <a:pt x="95" y="10"/>
                  </a:cubicBezTo>
                  <a:cubicBezTo>
                    <a:pt x="96" y="10"/>
                    <a:pt x="96" y="10"/>
                    <a:pt x="96" y="10"/>
                  </a:cubicBezTo>
                  <a:cubicBezTo>
                    <a:pt x="96" y="11"/>
                    <a:pt x="96" y="11"/>
                    <a:pt x="96" y="11"/>
                  </a:cubicBezTo>
                  <a:cubicBezTo>
                    <a:pt x="96" y="11"/>
                    <a:pt x="96" y="11"/>
                    <a:pt x="96" y="11"/>
                  </a:cubicBezTo>
                  <a:lnTo>
                    <a:pt x="96" y="32"/>
                  </a:lnTo>
                  <a:close/>
                  <a:moveTo>
                    <a:pt x="119" y="29"/>
                  </a:moveTo>
                  <a:cubicBezTo>
                    <a:pt x="119" y="29"/>
                    <a:pt x="119" y="29"/>
                    <a:pt x="119" y="30"/>
                  </a:cubicBezTo>
                  <a:cubicBezTo>
                    <a:pt x="119" y="30"/>
                    <a:pt x="119" y="30"/>
                    <a:pt x="119" y="30"/>
                  </a:cubicBezTo>
                  <a:cubicBezTo>
                    <a:pt x="119" y="30"/>
                    <a:pt x="119" y="30"/>
                    <a:pt x="118" y="30"/>
                  </a:cubicBezTo>
                  <a:cubicBezTo>
                    <a:pt x="118" y="31"/>
                    <a:pt x="118" y="31"/>
                    <a:pt x="118" y="31"/>
                  </a:cubicBezTo>
                  <a:cubicBezTo>
                    <a:pt x="118" y="31"/>
                    <a:pt x="118" y="31"/>
                    <a:pt x="117" y="32"/>
                  </a:cubicBezTo>
                  <a:cubicBezTo>
                    <a:pt x="117" y="32"/>
                    <a:pt x="116" y="32"/>
                    <a:pt x="116" y="32"/>
                  </a:cubicBezTo>
                  <a:cubicBezTo>
                    <a:pt x="115" y="33"/>
                    <a:pt x="114" y="33"/>
                    <a:pt x="114" y="33"/>
                  </a:cubicBezTo>
                  <a:cubicBezTo>
                    <a:pt x="113" y="33"/>
                    <a:pt x="112" y="33"/>
                    <a:pt x="111" y="33"/>
                  </a:cubicBezTo>
                  <a:cubicBezTo>
                    <a:pt x="110" y="33"/>
                    <a:pt x="109" y="33"/>
                    <a:pt x="107" y="32"/>
                  </a:cubicBezTo>
                  <a:cubicBezTo>
                    <a:pt x="106" y="32"/>
                    <a:pt x="105" y="31"/>
                    <a:pt x="104" y="30"/>
                  </a:cubicBezTo>
                  <a:cubicBezTo>
                    <a:pt x="104" y="29"/>
                    <a:pt x="103" y="28"/>
                    <a:pt x="103" y="27"/>
                  </a:cubicBezTo>
                  <a:cubicBezTo>
                    <a:pt x="102" y="25"/>
                    <a:pt x="102" y="24"/>
                    <a:pt x="102" y="22"/>
                  </a:cubicBezTo>
                  <a:cubicBezTo>
                    <a:pt x="102" y="20"/>
                    <a:pt x="102" y="18"/>
                    <a:pt x="103" y="16"/>
                  </a:cubicBezTo>
                  <a:cubicBezTo>
                    <a:pt x="103" y="15"/>
                    <a:pt x="104" y="14"/>
                    <a:pt x="105" y="13"/>
                  </a:cubicBezTo>
                  <a:cubicBezTo>
                    <a:pt x="106" y="12"/>
                    <a:pt x="107" y="11"/>
                    <a:pt x="108" y="11"/>
                  </a:cubicBezTo>
                  <a:cubicBezTo>
                    <a:pt x="109" y="10"/>
                    <a:pt x="111" y="10"/>
                    <a:pt x="112" y="10"/>
                  </a:cubicBezTo>
                  <a:cubicBezTo>
                    <a:pt x="113" y="10"/>
                    <a:pt x="113" y="10"/>
                    <a:pt x="114" y="10"/>
                  </a:cubicBezTo>
                  <a:cubicBezTo>
                    <a:pt x="114" y="10"/>
                    <a:pt x="115" y="10"/>
                    <a:pt x="116" y="11"/>
                  </a:cubicBezTo>
                  <a:cubicBezTo>
                    <a:pt x="116" y="11"/>
                    <a:pt x="117" y="11"/>
                    <a:pt x="117" y="11"/>
                  </a:cubicBezTo>
                  <a:cubicBezTo>
                    <a:pt x="117" y="12"/>
                    <a:pt x="118" y="12"/>
                    <a:pt x="118" y="12"/>
                  </a:cubicBezTo>
                  <a:cubicBezTo>
                    <a:pt x="118" y="12"/>
                    <a:pt x="118" y="12"/>
                    <a:pt x="118" y="13"/>
                  </a:cubicBezTo>
                  <a:cubicBezTo>
                    <a:pt x="118" y="13"/>
                    <a:pt x="118" y="13"/>
                    <a:pt x="118" y="13"/>
                  </a:cubicBezTo>
                  <a:cubicBezTo>
                    <a:pt x="119" y="13"/>
                    <a:pt x="119" y="13"/>
                    <a:pt x="119" y="13"/>
                  </a:cubicBezTo>
                  <a:cubicBezTo>
                    <a:pt x="119" y="14"/>
                    <a:pt x="119" y="14"/>
                    <a:pt x="119" y="14"/>
                  </a:cubicBezTo>
                  <a:cubicBezTo>
                    <a:pt x="119" y="15"/>
                    <a:pt x="119" y="15"/>
                    <a:pt x="118" y="15"/>
                  </a:cubicBezTo>
                  <a:cubicBezTo>
                    <a:pt x="118" y="16"/>
                    <a:pt x="118" y="16"/>
                    <a:pt x="118" y="16"/>
                  </a:cubicBezTo>
                  <a:cubicBezTo>
                    <a:pt x="118" y="16"/>
                    <a:pt x="117" y="16"/>
                    <a:pt x="117" y="15"/>
                  </a:cubicBezTo>
                  <a:cubicBezTo>
                    <a:pt x="117" y="15"/>
                    <a:pt x="116" y="15"/>
                    <a:pt x="116" y="14"/>
                  </a:cubicBezTo>
                  <a:cubicBezTo>
                    <a:pt x="115" y="14"/>
                    <a:pt x="115" y="14"/>
                    <a:pt x="114" y="14"/>
                  </a:cubicBezTo>
                  <a:cubicBezTo>
                    <a:pt x="114" y="13"/>
                    <a:pt x="113" y="13"/>
                    <a:pt x="112" y="13"/>
                  </a:cubicBezTo>
                  <a:cubicBezTo>
                    <a:pt x="110" y="13"/>
                    <a:pt x="109" y="14"/>
                    <a:pt x="108" y="15"/>
                  </a:cubicBezTo>
                  <a:cubicBezTo>
                    <a:pt x="107" y="17"/>
                    <a:pt x="106" y="19"/>
                    <a:pt x="106" y="22"/>
                  </a:cubicBezTo>
                  <a:cubicBezTo>
                    <a:pt x="106" y="23"/>
                    <a:pt x="106" y="24"/>
                    <a:pt x="106" y="25"/>
                  </a:cubicBezTo>
                  <a:cubicBezTo>
                    <a:pt x="107" y="26"/>
                    <a:pt x="107" y="27"/>
                    <a:pt x="108" y="28"/>
                  </a:cubicBezTo>
                  <a:cubicBezTo>
                    <a:pt x="108" y="28"/>
                    <a:pt x="109" y="29"/>
                    <a:pt x="109" y="29"/>
                  </a:cubicBezTo>
                  <a:cubicBezTo>
                    <a:pt x="110" y="30"/>
                    <a:pt x="111" y="30"/>
                    <a:pt x="112" y="30"/>
                  </a:cubicBezTo>
                  <a:cubicBezTo>
                    <a:pt x="113" y="30"/>
                    <a:pt x="114" y="30"/>
                    <a:pt x="114" y="29"/>
                  </a:cubicBezTo>
                  <a:cubicBezTo>
                    <a:pt x="115" y="29"/>
                    <a:pt x="116" y="29"/>
                    <a:pt x="116" y="28"/>
                  </a:cubicBezTo>
                  <a:cubicBezTo>
                    <a:pt x="117" y="28"/>
                    <a:pt x="117" y="28"/>
                    <a:pt x="117" y="28"/>
                  </a:cubicBezTo>
                  <a:cubicBezTo>
                    <a:pt x="118" y="27"/>
                    <a:pt x="118" y="27"/>
                    <a:pt x="118" y="27"/>
                  </a:cubicBezTo>
                  <a:cubicBezTo>
                    <a:pt x="118" y="27"/>
                    <a:pt x="118" y="27"/>
                    <a:pt x="118" y="27"/>
                  </a:cubicBezTo>
                  <a:cubicBezTo>
                    <a:pt x="118" y="27"/>
                    <a:pt x="118" y="27"/>
                    <a:pt x="119" y="28"/>
                  </a:cubicBezTo>
                  <a:cubicBezTo>
                    <a:pt x="119" y="28"/>
                    <a:pt x="119" y="28"/>
                    <a:pt x="119" y="28"/>
                  </a:cubicBezTo>
                  <a:cubicBezTo>
                    <a:pt x="119" y="28"/>
                    <a:pt x="119" y="29"/>
                    <a:pt x="119" y="29"/>
                  </a:cubicBezTo>
                  <a:close/>
                  <a:moveTo>
                    <a:pt x="140" y="32"/>
                  </a:moveTo>
                  <a:cubicBezTo>
                    <a:pt x="140" y="32"/>
                    <a:pt x="140" y="32"/>
                    <a:pt x="140" y="33"/>
                  </a:cubicBezTo>
                  <a:cubicBezTo>
                    <a:pt x="139" y="33"/>
                    <a:pt x="139" y="33"/>
                    <a:pt x="139" y="33"/>
                  </a:cubicBezTo>
                  <a:cubicBezTo>
                    <a:pt x="139" y="33"/>
                    <a:pt x="139" y="33"/>
                    <a:pt x="138" y="33"/>
                  </a:cubicBezTo>
                  <a:cubicBezTo>
                    <a:pt x="138" y="33"/>
                    <a:pt x="137" y="33"/>
                    <a:pt x="137" y="33"/>
                  </a:cubicBezTo>
                  <a:cubicBezTo>
                    <a:pt x="137" y="33"/>
                    <a:pt x="137" y="33"/>
                    <a:pt x="137" y="33"/>
                  </a:cubicBezTo>
                  <a:cubicBezTo>
                    <a:pt x="137" y="32"/>
                    <a:pt x="136" y="32"/>
                    <a:pt x="136" y="32"/>
                  </a:cubicBezTo>
                  <a:cubicBezTo>
                    <a:pt x="136" y="30"/>
                    <a:pt x="136" y="30"/>
                    <a:pt x="136" y="30"/>
                  </a:cubicBezTo>
                  <a:cubicBezTo>
                    <a:pt x="136" y="31"/>
                    <a:pt x="134" y="32"/>
                    <a:pt x="133" y="32"/>
                  </a:cubicBezTo>
                  <a:cubicBezTo>
                    <a:pt x="132" y="33"/>
                    <a:pt x="131" y="33"/>
                    <a:pt x="130" y="33"/>
                  </a:cubicBezTo>
                  <a:cubicBezTo>
                    <a:pt x="129" y="33"/>
                    <a:pt x="128" y="33"/>
                    <a:pt x="127" y="33"/>
                  </a:cubicBezTo>
                  <a:cubicBezTo>
                    <a:pt x="126" y="32"/>
                    <a:pt x="125" y="32"/>
                    <a:pt x="124" y="31"/>
                  </a:cubicBezTo>
                  <a:cubicBezTo>
                    <a:pt x="124" y="31"/>
                    <a:pt x="123" y="30"/>
                    <a:pt x="123" y="29"/>
                  </a:cubicBezTo>
                  <a:cubicBezTo>
                    <a:pt x="123" y="29"/>
                    <a:pt x="122" y="28"/>
                    <a:pt x="122" y="27"/>
                  </a:cubicBezTo>
                  <a:cubicBezTo>
                    <a:pt x="122" y="26"/>
                    <a:pt x="123" y="25"/>
                    <a:pt x="123" y="24"/>
                  </a:cubicBezTo>
                  <a:cubicBezTo>
                    <a:pt x="124" y="23"/>
                    <a:pt x="124" y="22"/>
                    <a:pt x="125" y="21"/>
                  </a:cubicBezTo>
                  <a:cubicBezTo>
                    <a:pt x="126" y="21"/>
                    <a:pt x="127" y="20"/>
                    <a:pt x="129" y="20"/>
                  </a:cubicBezTo>
                  <a:cubicBezTo>
                    <a:pt x="130" y="20"/>
                    <a:pt x="131" y="20"/>
                    <a:pt x="133" y="20"/>
                  </a:cubicBezTo>
                  <a:cubicBezTo>
                    <a:pt x="136" y="20"/>
                    <a:pt x="136" y="20"/>
                    <a:pt x="136" y="20"/>
                  </a:cubicBezTo>
                  <a:cubicBezTo>
                    <a:pt x="136" y="18"/>
                    <a:pt x="136" y="18"/>
                    <a:pt x="136" y="18"/>
                  </a:cubicBezTo>
                  <a:cubicBezTo>
                    <a:pt x="136" y="17"/>
                    <a:pt x="136" y="17"/>
                    <a:pt x="136" y="16"/>
                  </a:cubicBezTo>
                  <a:cubicBezTo>
                    <a:pt x="136" y="15"/>
                    <a:pt x="135" y="15"/>
                    <a:pt x="135" y="14"/>
                  </a:cubicBezTo>
                  <a:cubicBezTo>
                    <a:pt x="134" y="14"/>
                    <a:pt x="134" y="14"/>
                    <a:pt x="133" y="13"/>
                  </a:cubicBezTo>
                  <a:cubicBezTo>
                    <a:pt x="133" y="13"/>
                    <a:pt x="132" y="13"/>
                    <a:pt x="131" y="13"/>
                  </a:cubicBezTo>
                  <a:cubicBezTo>
                    <a:pt x="130" y="13"/>
                    <a:pt x="129" y="13"/>
                    <a:pt x="129" y="13"/>
                  </a:cubicBezTo>
                  <a:cubicBezTo>
                    <a:pt x="128" y="14"/>
                    <a:pt x="127" y="14"/>
                    <a:pt x="127" y="14"/>
                  </a:cubicBezTo>
                  <a:cubicBezTo>
                    <a:pt x="126" y="14"/>
                    <a:pt x="125" y="15"/>
                    <a:pt x="125" y="15"/>
                  </a:cubicBezTo>
                  <a:cubicBezTo>
                    <a:pt x="125" y="15"/>
                    <a:pt x="124" y="15"/>
                    <a:pt x="124" y="15"/>
                  </a:cubicBezTo>
                  <a:cubicBezTo>
                    <a:pt x="124" y="15"/>
                    <a:pt x="124" y="15"/>
                    <a:pt x="124" y="15"/>
                  </a:cubicBezTo>
                  <a:cubicBezTo>
                    <a:pt x="124" y="15"/>
                    <a:pt x="124" y="15"/>
                    <a:pt x="124" y="15"/>
                  </a:cubicBezTo>
                  <a:cubicBezTo>
                    <a:pt x="124" y="15"/>
                    <a:pt x="124" y="15"/>
                    <a:pt x="124" y="14"/>
                  </a:cubicBezTo>
                  <a:cubicBezTo>
                    <a:pt x="124" y="14"/>
                    <a:pt x="123" y="14"/>
                    <a:pt x="123" y="14"/>
                  </a:cubicBezTo>
                  <a:cubicBezTo>
                    <a:pt x="123" y="13"/>
                    <a:pt x="124" y="13"/>
                    <a:pt x="124" y="13"/>
                  </a:cubicBezTo>
                  <a:cubicBezTo>
                    <a:pt x="124" y="13"/>
                    <a:pt x="124" y="12"/>
                    <a:pt x="124" y="12"/>
                  </a:cubicBezTo>
                  <a:cubicBezTo>
                    <a:pt x="124" y="12"/>
                    <a:pt x="125" y="12"/>
                    <a:pt x="125" y="12"/>
                  </a:cubicBezTo>
                  <a:cubicBezTo>
                    <a:pt x="126" y="11"/>
                    <a:pt x="126" y="11"/>
                    <a:pt x="127" y="11"/>
                  </a:cubicBezTo>
                  <a:cubicBezTo>
                    <a:pt x="128" y="11"/>
                    <a:pt x="128" y="10"/>
                    <a:pt x="129" y="10"/>
                  </a:cubicBezTo>
                  <a:cubicBezTo>
                    <a:pt x="130" y="10"/>
                    <a:pt x="131" y="10"/>
                    <a:pt x="131" y="10"/>
                  </a:cubicBezTo>
                  <a:cubicBezTo>
                    <a:pt x="133" y="10"/>
                    <a:pt x="134" y="10"/>
                    <a:pt x="135" y="10"/>
                  </a:cubicBezTo>
                  <a:cubicBezTo>
                    <a:pt x="136" y="11"/>
                    <a:pt x="137" y="11"/>
                    <a:pt x="138" y="12"/>
                  </a:cubicBezTo>
                  <a:cubicBezTo>
                    <a:pt x="139" y="13"/>
                    <a:pt x="139" y="13"/>
                    <a:pt x="139" y="14"/>
                  </a:cubicBezTo>
                  <a:cubicBezTo>
                    <a:pt x="140" y="15"/>
                    <a:pt x="140" y="17"/>
                    <a:pt x="140" y="18"/>
                  </a:cubicBezTo>
                  <a:lnTo>
                    <a:pt x="140" y="32"/>
                  </a:lnTo>
                  <a:close/>
                  <a:moveTo>
                    <a:pt x="136" y="23"/>
                  </a:moveTo>
                  <a:cubicBezTo>
                    <a:pt x="133" y="23"/>
                    <a:pt x="133" y="23"/>
                    <a:pt x="133" y="23"/>
                  </a:cubicBezTo>
                  <a:cubicBezTo>
                    <a:pt x="132" y="23"/>
                    <a:pt x="131" y="23"/>
                    <a:pt x="130" y="23"/>
                  </a:cubicBezTo>
                  <a:cubicBezTo>
                    <a:pt x="129" y="23"/>
                    <a:pt x="128" y="23"/>
                    <a:pt x="128" y="24"/>
                  </a:cubicBezTo>
                  <a:cubicBezTo>
                    <a:pt x="127" y="24"/>
                    <a:pt x="127" y="24"/>
                    <a:pt x="127" y="25"/>
                  </a:cubicBezTo>
                  <a:cubicBezTo>
                    <a:pt x="127" y="25"/>
                    <a:pt x="126" y="26"/>
                    <a:pt x="126" y="27"/>
                  </a:cubicBezTo>
                  <a:cubicBezTo>
                    <a:pt x="126" y="28"/>
                    <a:pt x="127" y="29"/>
                    <a:pt x="127" y="29"/>
                  </a:cubicBezTo>
                  <a:cubicBezTo>
                    <a:pt x="128" y="30"/>
                    <a:pt x="129" y="30"/>
                    <a:pt x="130" y="30"/>
                  </a:cubicBezTo>
                  <a:cubicBezTo>
                    <a:pt x="131" y="30"/>
                    <a:pt x="132" y="30"/>
                    <a:pt x="133" y="29"/>
                  </a:cubicBezTo>
                  <a:cubicBezTo>
                    <a:pt x="134" y="29"/>
                    <a:pt x="135" y="28"/>
                    <a:pt x="136" y="27"/>
                  </a:cubicBezTo>
                  <a:lnTo>
                    <a:pt x="136" y="23"/>
                  </a:lnTo>
                  <a:close/>
                  <a:moveTo>
                    <a:pt x="165" y="10"/>
                  </a:moveTo>
                  <a:cubicBezTo>
                    <a:pt x="166" y="10"/>
                    <a:pt x="166" y="11"/>
                    <a:pt x="166" y="11"/>
                  </a:cubicBezTo>
                  <a:cubicBezTo>
                    <a:pt x="166" y="11"/>
                    <a:pt x="166" y="11"/>
                    <a:pt x="166" y="12"/>
                  </a:cubicBezTo>
                  <a:cubicBezTo>
                    <a:pt x="166" y="32"/>
                    <a:pt x="166" y="32"/>
                    <a:pt x="166" y="32"/>
                  </a:cubicBezTo>
                  <a:cubicBezTo>
                    <a:pt x="166" y="32"/>
                    <a:pt x="166" y="32"/>
                    <a:pt x="166" y="32"/>
                  </a:cubicBezTo>
                  <a:cubicBezTo>
                    <a:pt x="166" y="33"/>
                    <a:pt x="166" y="33"/>
                    <a:pt x="166" y="33"/>
                  </a:cubicBezTo>
                  <a:cubicBezTo>
                    <a:pt x="166" y="33"/>
                    <a:pt x="166" y="33"/>
                    <a:pt x="165" y="33"/>
                  </a:cubicBezTo>
                  <a:cubicBezTo>
                    <a:pt x="165" y="33"/>
                    <a:pt x="165" y="33"/>
                    <a:pt x="165" y="33"/>
                  </a:cubicBezTo>
                  <a:cubicBezTo>
                    <a:pt x="164" y="33"/>
                    <a:pt x="164" y="33"/>
                    <a:pt x="164" y="33"/>
                  </a:cubicBezTo>
                  <a:cubicBezTo>
                    <a:pt x="163" y="33"/>
                    <a:pt x="163" y="33"/>
                    <a:pt x="163" y="33"/>
                  </a:cubicBezTo>
                  <a:cubicBezTo>
                    <a:pt x="163" y="33"/>
                    <a:pt x="163" y="33"/>
                    <a:pt x="163" y="32"/>
                  </a:cubicBezTo>
                  <a:cubicBezTo>
                    <a:pt x="163" y="32"/>
                    <a:pt x="163" y="32"/>
                    <a:pt x="163" y="32"/>
                  </a:cubicBezTo>
                  <a:cubicBezTo>
                    <a:pt x="163" y="14"/>
                    <a:pt x="163" y="14"/>
                    <a:pt x="163" y="14"/>
                  </a:cubicBezTo>
                  <a:cubicBezTo>
                    <a:pt x="152" y="14"/>
                    <a:pt x="152" y="14"/>
                    <a:pt x="152" y="14"/>
                  </a:cubicBezTo>
                  <a:cubicBezTo>
                    <a:pt x="152" y="25"/>
                    <a:pt x="152" y="25"/>
                    <a:pt x="152" y="25"/>
                  </a:cubicBezTo>
                  <a:cubicBezTo>
                    <a:pt x="152" y="27"/>
                    <a:pt x="152" y="28"/>
                    <a:pt x="152" y="29"/>
                  </a:cubicBezTo>
                  <a:cubicBezTo>
                    <a:pt x="153" y="29"/>
                    <a:pt x="154" y="30"/>
                    <a:pt x="155" y="30"/>
                  </a:cubicBezTo>
                  <a:cubicBezTo>
                    <a:pt x="155" y="30"/>
                    <a:pt x="155" y="30"/>
                    <a:pt x="156" y="30"/>
                  </a:cubicBezTo>
                  <a:cubicBezTo>
                    <a:pt x="156" y="30"/>
                    <a:pt x="156" y="30"/>
                    <a:pt x="156" y="29"/>
                  </a:cubicBezTo>
                  <a:cubicBezTo>
                    <a:pt x="157" y="29"/>
                    <a:pt x="157" y="29"/>
                    <a:pt x="157" y="29"/>
                  </a:cubicBezTo>
                  <a:cubicBezTo>
                    <a:pt x="157" y="29"/>
                    <a:pt x="157" y="29"/>
                    <a:pt x="157" y="29"/>
                  </a:cubicBezTo>
                  <a:cubicBezTo>
                    <a:pt x="157" y="29"/>
                    <a:pt x="158" y="29"/>
                    <a:pt x="158" y="29"/>
                  </a:cubicBezTo>
                  <a:cubicBezTo>
                    <a:pt x="158" y="29"/>
                    <a:pt x="158" y="29"/>
                    <a:pt x="158" y="29"/>
                  </a:cubicBezTo>
                  <a:cubicBezTo>
                    <a:pt x="158" y="30"/>
                    <a:pt x="158" y="30"/>
                    <a:pt x="158" y="30"/>
                  </a:cubicBezTo>
                  <a:cubicBezTo>
                    <a:pt x="158" y="30"/>
                    <a:pt x="158" y="30"/>
                    <a:pt x="158" y="31"/>
                  </a:cubicBezTo>
                  <a:cubicBezTo>
                    <a:pt x="158" y="31"/>
                    <a:pt x="158" y="31"/>
                    <a:pt x="158" y="32"/>
                  </a:cubicBezTo>
                  <a:cubicBezTo>
                    <a:pt x="158" y="32"/>
                    <a:pt x="158" y="32"/>
                    <a:pt x="158" y="32"/>
                  </a:cubicBezTo>
                  <a:cubicBezTo>
                    <a:pt x="157" y="32"/>
                    <a:pt x="157" y="32"/>
                    <a:pt x="157" y="33"/>
                  </a:cubicBezTo>
                  <a:cubicBezTo>
                    <a:pt x="157" y="33"/>
                    <a:pt x="156" y="33"/>
                    <a:pt x="156" y="33"/>
                  </a:cubicBezTo>
                  <a:cubicBezTo>
                    <a:pt x="156" y="33"/>
                    <a:pt x="155" y="33"/>
                    <a:pt x="155" y="33"/>
                  </a:cubicBezTo>
                  <a:cubicBezTo>
                    <a:pt x="155" y="33"/>
                    <a:pt x="154" y="33"/>
                    <a:pt x="154" y="33"/>
                  </a:cubicBezTo>
                  <a:cubicBezTo>
                    <a:pt x="153" y="33"/>
                    <a:pt x="152" y="33"/>
                    <a:pt x="151" y="33"/>
                  </a:cubicBezTo>
                  <a:cubicBezTo>
                    <a:pt x="150" y="32"/>
                    <a:pt x="150" y="32"/>
                    <a:pt x="149" y="31"/>
                  </a:cubicBezTo>
                  <a:cubicBezTo>
                    <a:pt x="149" y="31"/>
                    <a:pt x="148" y="30"/>
                    <a:pt x="148" y="29"/>
                  </a:cubicBezTo>
                  <a:cubicBezTo>
                    <a:pt x="148" y="28"/>
                    <a:pt x="148" y="27"/>
                    <a:pt x="148" y="26"/>
                  </a:cubicBezTo>
                  <a:cubicBezTo>
                    <a:pt x="148" y="14"/>
                    <a:pt x="148" y="14"/>
                    <a:pt x="148" y="14"/>
                  </a:cubicBezTo>
                  <a:cubicBezTo>
                    <a:pt x="145" y="14"/>
                    <a:pt x="145" y="14"/>
                    <a:pt x="145" y="14"/>
                  </a:cubicBezTo>
                  <a:cubicBezTo>
                    <a:pt x="145" y="14"/>
                    <a:pt x="144" y="14"/>
                    <a:pt x="144" y="13"/>
                  </a:cubicBezTo>
                  <a:cubicBezTo>
                    <a:pt x="144" y="13"/>
                    <a:pt x="144" y="13"/>
                    <a:pt x="144" y="12"/>
                  </a:cubicBezTo>
                  <a:cubicBezTo>
                    <a:pt x="144" y="12"/>
                    <a:pt x="144" y="11"/>
                    <a:pt x="144" y="11"/>
                  </a:cubicBezTo>
                  <a:cubicBezTo>
                    <a:pt x="144" y="11"/>
                    <a:pt x="144" y="11"/>
                    <a:pt x="144" y="11"/>
                  </a:cubicBezTo>
                  <a:cubicBezTo>
                    <a:pt x="144" y="11"/>
                    <a:pt x="144" y="11"/>
                    <a:pt x="145" y="11"/>
                  </a:cubicBezTo>
                  <a:cubicBezTo>
                    <a:pt x="145" y="10"/>
                    <a:pt x="145" y="10"/>
                    <a:pt x="145" y="10"/>
                  </a:cubicBezTo>
                  <a:cubicBezTo>
                    <a:pt x="148" y="10"/>
                    <a:pt x="148" y="10"/>
                    <a:pt x="148" y="10"/>
                  </a:cubicBezTo>
                  <a:cubicBezTo>
                    <a:pt x="148" y="5"/>
                    <a:pt x="148" y="5"/>
                    <a:pt x="148" y="5"/>
                  </a:cubicBezTo>
                  <a:cubicBezTo>
                    <a:pt x="148" y="5"/>
                    <a:pt x="148" y="5"/>
                    <a:pt x="148" y="5"/>
                  </a:cubicBezTo>
                  <a:cubicBezTo>
                    <a:pt x="148" y="5"/>
                    <a:pt x="148" y="5"/>
                    <a:pt x="148" y="5"/>
                  </a:cubicBezTo>
                  <a:cubicBezTo>
                    <a:pt x="148" y="5"/>
                    <a:pt x="149" y="5"/>
                    <a:pt x="149" y="5"/>
                  </a:cubicBezTo>
                  <a:cubicBezTo>
                    <a:pt x="149" y="5"/>
                    <a:pt x="149" y="5"/>
                    <a:pt x="150" y="5"/>
                  </a:cubicBezTo>
                  <a:cubicBezTo>
                    <a:pt x="150" y="5"/>
                    <a:pt x="150" y="5"/>
                    <a:pt x="151" y="5"/>
                  </a:cubicBezTo>
                  <a:cubicBezTo>
                    <a:pt x="151" y="5"/>
                    <a:pt x="151" y="5"/>
                    <a:pt x="151" y="5"/>
                  </a:cubicBezTo>
                  <a:cubicBezTo>
                    <a:pt x="151" y="5"/>
                    <a:pt x="152" y="5"/>
                    <a:pt x="152" y="5"/>
                  </a:cubicBezTo>
                  <a:cubicBezTo>
                    <a:pt x="152" y="5"/>
                    <a:pt x="152" y="5"/>
                    <a:pt x="152" y="5"/>
                  </a:cubicBezTo>
                  <a:cubicBezTo>
                    <a:pt x="152" y="10"/>
                    <a:pt x="152" y="10"/>
                    <a:pt x="152" y="10"/>
                  </a:cubicBezTo>
                  <a:lnTo>
                    <a:pt x="165" y="10"/>
                  </a:lnTo>
                  <a:close/>
                  <a:moveTo>
                    <a:pt x="159" y="10"/>
                  </a:moveTo>
                  <a:cubicBezTo>
                    <a:pt x="159" y="10"/>
                    <a:pt x="159" y="10"/>
                    <a:pt x="159" y="10"/>
                  </a:cubicBezTo>
                  <a:moveTo>
                    <a:pt x="167" y="4"/>
                  </a:moveTo>
                  <a:cubicBezTo>
                    <a:pt x="167" y="5"/>
                    <a:pt x="167" y="5"/>
                    <a:pt x="166" y="6"/>
                  </a:cubicBezTo>
                  <a:cubicBezTo>
                    <a:pt x="166" y="6"/>
                    <a:pt x="165" y="6"/>
                    <a:pt x="165" y="6"/>
                  </a:cubicBezTo>
                  <a:cubicBezTo>
                    <a:pt x="164" y="6"/>
                    <a:pt x="163" y="6"/>
                    <a:pt x="163" y="6"/>
                  </a:cubicBezTo>
                  <a:cubicBezTo>
                    <a:pt x="162" y="5"/>
                    <a:pt x="162" y="5"/>
                    <a:pt x="162" y="4"/>
                  </a:cubicBezTo>
                  <a:cubicBezTo>
                    <a:pt x="162" y="3"/>
                    <a:pt x="162" y="2"/>
                    <a:pt x="163" y="2"/>
                  </a:cubicBezTo>
                  <a:cubicBezTo>
                    <a:pt x="163" y="2"/>
                    <a:pt x="164" y="2"/>
                    <a:pt x="165" y="2"/>
                  </a:cubicBezTo>
                  <a:cubicBezTo>
                    <a:pt x="165" y="2"/>
                    <a:pt x="166" y="2"/>
                    <a:pt x="166" y="2"/>
                  </a:cubicBezTo>
                  <a:cubicBezTo>
                    <a:pt x="167" y="2"/>
                    <a:pt x="167" y="3"/>
                    <a:pt x="167" y="4"/>
                  </a:cubicBezTo>
                  <a:close/>
                  <a:moveTo>
                    <a:pt x="193" y="21"/>
                  </a:moveTo>
                  <a:cubicBezTo>
                    <a:pt x="193" y="23"/>
                    <a:pt x="193" y="25"/>
                    <a:pt x="193" y="26"/>
                  </a:cubicBezTo>
                  <a:cubicBezTo>
                    <a:pt x="192" y="28"/>
                    <a:pt x="192" y="29"/>
                    <a:pt x="191" y="30"/>
                  </a:cubicBezTo>
                  <a:cubicBezTo>
                    <a:pt x="190" y="31"/>
                    <a:pt x="189" y="32"/>
                    <a:pt x="187" y="32"/>
                  </a:cubicBezTo>
                  <a:cubicBezTo>
                    <a:pt x="186" y="33"/>
                    <a:pt x="184" y="33"/>
                    <a:pt x="183" y="33"/>
                  </a:cubicBezTo>
                  <a:cubicBezTo>
                    <a:pt x="181" y="33"/>
                    <a:pt x="179" y="33"/>
                    <a:pt x="178" y="32"/>
                  </a:cubicBezTo>
                  <a:cubicBezTo>
                    <a:pt x="177" y="32"/>
                    <a:pt x="176" y="31"/>
                    <a:pt x="175" y="30"/>
                  </a:cubicBezTo>
                  <a:cubicBezTo>
                    <a:pt x="174" y="29"/>
                    <a:pt x="173" y="28"/>
                    <a:pt x="173" y="27"/>
                  </a:cubicBezTo>
                  <a:cubicBezTo>
                    <a:pt x="172" y="25"/>
                    <a:pt x="172" y="24"/>
                    <a:pt x="172" y="22"/>
                  </a:cubicBezTo>
                  <a:cubicBezTo>
                    <a:pt x="172" y="20"/>
                    <a:pt x="172" y="18"/>
                    <a:pt x="173" y="17"/>
                  </a:cubicBezTo>
                  <a:cubicBezTo>
                    <a:pt x="173" y="16"/>
                    <a:pt x="174" y="14"/>
                    <a:pt x="175" y="13"/>
                  </a:cubicBezTo>
                  <a:cubicBezTo>
                    <a:pt x="176" y="12"/>
                    <a:pt x="177" y="11"/>
                    <a:pt x="178" y="11"/>
                  </a:cubicBezTo>
                  <a:cubicBezTo>
                    <a:pt x="180" y="10"/>
                    <a:pt x="181" y="10"/>
                    <a:pt x="183" y="10"/>
                  </a:cubicBezTo>
                  <a:cubicBezTo>
                    <a:pt x="185" y="10"/>
                    <a:pt x="186" y="10"/>
                    <a:pt x="188" y="11"/>
                  </a:cubicBezTo>
                  <a:cubicBezTo>
                    <a:pt x="189" y="11"/>
                    <a:pt x="190" y="12"/>
                    <a:pt x="191" y="13"/>
                  </a:cubicBezTo>
                  <a:cubicBezTo>
                    <a:pt x="192" y="14"/>
                    <a:pt x="192" y="15"/>
                    <a:pt x="193" y="17"/>
                  </a:cubicBezTo>
                  <a:cubicBezTo>
                    <a:pt x="193" y="18"/>
                    <a:pt x="193" y="20"/>
                    <a:pt x="193" y="21"/>
                  </a:cubicBezTo>
                  <a:close/>
                  <a:moveTo>
                    <a:pt x="189" y="22"/>
                  </a:moveTo>
                  <a:cubicBezTo>
                    <a:pt x="189" y="20"/>
                    <a:pt x="189" y="19"/>
                    <a:pt x="189" y="18"/>
                  </a:cubicBezTo>
                  <a:cubicBezTo>
                    <a:pt x="189" y="17"/>
                    <a:pt x="188" y="16"/>
                    <a:pt x="188" y="16"/>
                  </a:cubicBezTo>
                  <a:cubicBezTo>
                    <a:pt x="187" y="15"/>
                    <a:pt x="187" y="14"/>
                    <a:pt x="186" y="14"/>
                  </a:cubicBezTo>
                  <a:cubicBezTo>
                    <a:pt x="185" y="13"/>
                    <a:pt x="184" y="13"/>
                    <a:pt x="183" y="13"/>
                  </a:cubicBezTo>
                  <a:cubicBezTo>
                    <a:pt x="182" y="13"/>
                    <a:pt x="181" y="13"/>
                    <a:pt x="180" y="14"/>
                  </a:cubicBezTo>
                  <a:cubicBezTo>
                    <a:pt x="179" y="14"/>
                    <a:pt x="178" y="15"/>
                    <a:pt x="178" y="16"/>
                  </a:cubicBezTo>
                  <a:cubicBezTo>
                    <a:pt x="177" y="16"/>
                    <a:pt x="177" y="17"/>
                    <a:pt x="177" y="18"/>
                  </a:cubicBezTo>
                  <a:cubicBezTo>
                    <a:pt x="176" y="19"/>
                    <a:pt x="176" y="20"/>
                    <a:pt x="176" y="22"/>
                  </a:cubicBezTo>
                  <a:cubicBezTo>
                    <a:pt x="176" y="23"/>
                    <a:pt x="176" y="24"/>
                    <a:pt x="177" y="25"/>
                  </a:cubicBezTo>
                  <a:cubicBezTo>
                    <a:pt x="177" y="26"/>
                    <a:pt x="177" y="27"/>
                    <a:pt x="178" y="27"/>
                  </a:cubicBezTo>
                  <a:cubicBezTo>
                    <a:pt x="178" y="28"/>
                    <a:pt x="179" y="29"/>
                    <a:pt x="180" y="29"/>
                  </a:cubicBezTo>
                  <a:cubicBezTo>
                    <a:pt x="180" y="30"/>
                    <a:pt x="182" y="30"/>
                    <a:pt x="183" y="30"/>
                  </a:cubicBezTo>
                  <a:cubicBezTo>
                    <a:pt x="184" y="30"/>
                    <a:pt x="185" y="30"/>
                    <a:pt x="186" y="29"/>
                  </a:cubicBezTo>
                  <a:cubicBezTo>
                    <a:pt x="187" y="29"/>
                    <a:pt x="187" y="28"/>
                    <a:pt x="188" y="28"/>
                  </a:cubicBezTo>
                  <a:cubicBezTo>
                    <a:pt x="188" y="27"/>
                    <a:pt x="189" y="26"/>
                    <a:pt x="189" y="25"/>
                  </a:cubicBezTo>
                  <a:cubicBezTo>
                    <a:pt x="189" y="24"/>
                    <a:pt x="189" y="23"/>
                    <a:pt x="189" y="22"/>
                  </a:cubicBezTo>
                  <a:close/>
                  <a:moveTo>
                    <a:pt x="217" y="32"/>
                  </a:moveTo>
                  <a:cubicBezTo>
                    <a:pt x="217" y="32"/>
                    <a:pt x="217" y="32"/>
                    <a:pt x="217" y="32"/>
                  </a:cubicBezTo>
                  <a:cubicBezTo>
                    <a:pt x="217" y="33"/>
                    <a:pt x="217" y="33"/>
                    <a:pt x="217" y="33"/>
                  </a:cubicBezTo>
                  <a:cubicBezTo>
                    <a:pt x="217" y="33"/>
                    <a:pt x="217" y="33"/>
                    <a:pt x="216" y="33"/>
                  </a:cubicBezTo>
                  <a:cubicBezTo>
                    <a:pt x="216" y="33"/>
                    <a:pt x="216" y="33"/>
                    <a:pt x="215" y="33"/>
                  </a:cubicBezTo>
                  <a:cubicBezTo>
                    <a:pt x="215" y="33"/>
                    <a:pt x="215" y="33"/>
                    <a:pt x="214" y="33"/>
                  </a:cubicBezTo>
                  <a:cubicBezTo>
                    <a:pt x="214" y="33"/>
                    <a:pt x="214" y="33"/>
                    <a:pt x="214" y="33"/>
                  </a:cubicBezTo>
                  <a:cubicBezTo>
                    <a:pt x="214" y="33"/>
                    <a:pt x="214" y="33"/>
                    <a:pt x="213" y="32"/>
                  </a:cubicBezTo>
                  <a:cubicBezTo>
                    <a:pt x="213" y="32"/>
                    <a:pt x="213" y="32"/>
                    <a:pt x="213" y="32"/>
                  </a:cubicBezTo>
                  <a:cubicBezTo>
                    <a:pt x="213" y="20"/>
                    <a:pt x="213" y="20"/>
                    <a:pt x="213" y="20"/>
                  </a:cubicBezTo>
                  <a:cubicBezTo>
                    <a:pt x="213" y="19"/>
                    <a:pt x="213" y="18"/>
                    <a:pt x="213" y="17"/>
                  </a:cubicBezTo>
                  <a:cubicBezTo>
                    <a:pt x="213" y="16"/>
                    <a:pt x="213" y="15"/>
                    <a:pt x="212" y="15"/>
                  </a:cubicBezTo>
                  <a:cubicBezTo>
                    <a:pt x="212" y="14"/>
                    <a:pt x="211" y="14"/>
                    <a:pt x="211" y="14"/>
                  </a:cubicBezTo>
                  <a:cubicBezTo>
                    <a:pt x="210" y="13"/>
                    <a:pt x="210" y="13"/>
                    <a:pt x="209" y="13"/>
                  </a:cubicBezTo>
                  <a:cubicBezTo>
                    <a:pt x="208" y="13"/>
                    <a:pt x="207" y="14"/>
                    <a:pt x="206" y="14"/>
                  </a:cubicBezTo>
                  <a:cubicBezTo>
                    <a:pt x="205" y="15"/>
                    <a:pt x="204" y="16"/>
                    <a:pt x="203" y="17"/>
                  </a:cubicBezTo>
                  <a:cubicBezTo>
                    <a:pt x="203" y="32"/>
                    <a:pt x="203" y="32"/>
                    <a:pt x="203" y="32"/>
                  </a:cubicBezTo>
                  <a:cubicBezTo>
                    <a:pt x="203" y="32"/>
                    <a:pt x="203" y="32"/>
                    <a:pt x="203" y="32"/>
                  </a:cubicBezTo>
                  <a:cubicBezTo>
                    <a:pt x="203" y="33"/>
                    <a:pt x="203" y="33"/>
                    <a:pt x="203" y="33"/>
                  </a:cubicBezTo>
                  <a:cubicBezTo>
                    <a:pt x="202" y="33"/>
                    <a:pt x="202" y="33"/>
                    <a:pt x="202" y="33"/>
                  </a:cubicBezTo>
                  <a:cubicBezTo>
                    <a:pt x="202" y="33"/>
                    <a:pt x="201" y="33"/>
                    <a:pt x="201" y="33"/>
                  </a:cubicBezTo>
                  <a:cubicBezTo>
                    <a:pt x="201" y="33"/>
                    <a:pt x="200" y="33"/>
                    <a:pt x="200" y="33"/>
                  </a:cubicBezTo>
                  <a:cubicBezTo>
                    <a:pt x="200" y="33"/>
                    <a:pt x="200" y="33"/>
                    <a:pt x="199" y="33"/>
                  </a:cubicBezTo>
                  <a:cubicBezTo>
                    <a:pt x="199" y="33"/>
                    <a:pt x="199" y="33"/>
                    <a:pt x="199" y="32"/>
                  </a:cubicBezTo>
                  <a:cubicBezTo>
                    <a:pt x="199" y="32"/>
                    <a:pt x="199" y="32"/>
                    <a:pt x="199" y="32"/>
                  </a:cubicBezTo>
                  <a:cubicBezTo>
                    <a:pt x="199" y="11"/>
                    <a:pt x="199" y="11"/>
                    <a:pt x="199" y="11"/>
                  </a:cubicBezTo>
                  <a:cubicBezTo>
                    <a:pt x="199" y="11"/>
                    <a:pt x="199" y="11"/>
                    <a:pt x="199" y="11"/>
                  </a:cubicBezTo>
                  <a:cubicBezTo>
                    <a:pt x="199" y="11"/>
                    <a:pt x="199" y="11"/>
                    <a:pt x="199" y="10"/>
                  </a:cubicBezTo>
                  <a:cubicBezTo>
                    <a:pt x="200" y="10"/>
                    <a:pt x="200" y="10"/>
                    <a:pt x="200" y="10"/>
                  </a:cubicBezTo>
                  <a:cubicBezTo>
                    <a:pt x="200" y="10"/>
                    <a:pt x="200" y="10"/>
                    <a:pt x="201" y="10"/>
                  </a:cubicBezTo>
                  <a:cubicBezTo>
                    <a:pt x="201" y="10"/>
                    <a:pt x="201" y="10"/>
                    <a:pt x="202" y="10"/>
                  </a:cubicBezTo>
                  <a:cubicBezTo>
                    <a:pt x="202" y="10"/>
                    <a:pt x="202" y="10"/>
                    <a:pt x="202" y="10"/>
                  </a:cubicBezTo>
                  <a:cubicBezTo>
                    <a:pt x="202" y="11"/>
                    <a:pt x="202" y="11"/>
                    <a:pt x="202" y="11"/>
                  </a:cubicBezTo>
                  <a:cubicBezTo>
                    <a:pt x="203" y="11"/>
                    <a:pt x="203" y="11"/>
                    <a:pt x="203" y="11"/>
                  </a:cubicBezTo>
                  <a:cubicBezTo>
                    <a:pt x="203" y="14"/>
                    <a:pt x="203" y="14"/>
                    <a:pt x="203" y="14"/>
                  </a:cubicBezTo>
                  <a:cubicBezTo>
                    <a:pt x="204" y="12"/>
                    <a:pt x="205" y="12"/>
                    <a:pt x="206" y="11"/>
                  </a:cubicBezTo>
                  <a:cubicBezTo>
                    <a:pt x="207" y="10"/>
                    <a:pt x="208" y="10"/>
                    <a:pt x="210" y="10"/>
                  </a:cubicBezTo>
                  <a:cubicBezTo>
                    <a:pt x="211" y="10"/>
                    <a:pt x="212" y="10"/>
                    <a:pt x="213" y="11"/>
                  </a:cubicBezTo>
                  <a:cubicBezTo>
                    <a:pt x="214" y="11"/>
                    <a:pt x="215" y="12"/>
                    <a:pt x="216" y="13"/>
                  </a:cubicBezTo>
                  <a:cubicBezTo>
                    <a:pt x="216" y="13"/>
                    <a:pt x="217" y="14"/>
                    <a:pt x="217" y="15"/>
                  </a:cubicBezTo>
                  <a:cubicBezTo>
                    <a:pt x="217" y="16"/>
                    <a:pt x="217" y="18"/>
                    <a:pt x="217" y="19"/>
                  </a:cubicBezTo>
                  <a:lnTo>
                    <a:pt x="217" y="32"/>
                  </a:lnTo>
                  <a:close/>
                  <a:moveTo>
                    <a:pt x="221" y="33"/>
                  </a:moveTo>
                  <a:cubicBezTo>
                    <a:pt x="221" y="33"/>
                    <a:pt x="221" y="33"/>
                    <a:pt x="221" y="33"/>
                  </a:cubicBezTo>
                  <a:moveTo>
                    <a:pt x="259" y="17"/>
                  </a:moveTo>
                  <a:cubicBezTo>
                    <a:pt x="259" y="20"/>
                    <a:pt x="259" y="22"/>
                    <a:pt x="258" y="24"/>
                  </a:cubicBezTo>
                  <a:cubicBezTo>
                    <a:pt x="257" y="26"/>
                    <a:pt x="256" y="28"/>
                    <a:pt x="255" y="29"/>
                  </a:cubicBezTo>
                  <a:cubicBezTo>
                    <a:pt x="254" y="30"/>
                    <a:pt x="252" y="31"/>
                    <a:pt x="250" y="32"/>
                  </a:cubicBezTo>
                  <a:cubicBezTo>
                    <a:pt x="248" y="32"/>
                    <a:pt x="246" y="33"/>
                    <a:pt x="244" y="33"/>
                  </a:cubicBezTo>
                  <a:cubicBezTo>
                    <a:pt x="237" y="33"/>
                    <a:pt x="237" y="33"/>
                    <a:pt x="237" y="33"/>
                  </a:cubicBezTo>
                  <a:cubicBezTo>
                    <a:pt x="237" y="33"/>
                    <a:pt x="236" y="33"/>
                    <a:pt x="236" y="32"/>
                  </a:cubicBezTo>
                  <a:cubicBezTo>
                    <a:pt x="236" y="32"/>
                    <a:pt x="236" y="32"/>
                    <a:pt x="236" y="31"/>
                  </a:cubicBezTo>
                  <a:cubicBezTo>
                    <a:pt x="236" y="4"/>
                    <a:pt x="236" y="4"/>
                    <a:pt x="236" y="4"/>
                  </a:cubicBezTo>
                  <a:cubicBezTo>
                    <a:pt x="236" y="3"/>
                    <a:pt x="236" y="3"/>
                    <a:pt x="236" y="3"/>
                  </a:cubicBezTo>
                  <a:cubicBezTo>
                    <a:pt x="236" y="3"/>
                    <a:pt x="237" y="2"/>
                    <a:pt x="237" y="2"/>
                  </a:cubicBezTo>
                  <a:cubicBezTo>
                    <a:pt x="244" y="2"/>
                    <a:pt x="244" y="2"/>
                    <a:pt x="244" y="2"/>
                  </a:cubicBezTo>
                  <a:cubicBezTo>
                    <a:pt x="247" y="2"/>
                    <a:pt x="249" y="3"/>
                    <a:pt x="251" y="3"/>
                  </a:cubicBezTo>
                  <a:cubicBezTo>
                    <a:pt x="253" y="4"/>
                    <a:pt x="254" y="5"/>
                    <a:pt x="255" y="6"/>
                  </a:cubicBezTo>
                  <a:cubicBezTo>
                    <a:pt x="256" y="8"/>
                    <a:pt x="257" y="9"/>
                    <a:pt x="258" y="11"/>
                  </a:cubicBezTo>
                  <a:cubicBezTo>
                    <a:pt x="259" y="13"/>
                    <a:pt x="259" y="15"/>
                    <a:pt x="259" y="17"/>
                  </a:cubicBezTo>
                  <a:close/>
                  <a:moveTo>
                    <a:pt x="255" y="17"/>
                  </a:moveTo>
                  <a:cubicBezTo>
                    <a:pt x="255" y="16"/>
                    <a:pt x="255" y="14"/>
                    <a:pt x="254" y="13"/>
                  </a:cubicBezTo>
                  <a:cubicBezTo>
                    <a:pt x="254" y="11"/>
                    <a:pt x="253" y="10"/>
                    <a:pt x="252" y="9"/>
                  </a:cubicBezTo>
                  <a:cubicBezTo>
                    <a:pt x="251" y="8"/>
                    <a:pt x="250" y="7"/>
                    <a:pt x="249" y="7"/>
                  </a:cubicBezTo>
                  <a:cubicBezTo>
                    <a:pt x="248" y="6"/>
                    <a:pt x="246" y="6"/>
                    <a:pt x="244" y="6"/>
                  </a:cubicBezTo>
                  <a:cubicBezTo>
                    <a:pt x="240" y="6"/>
                    <a:pt x="240" y="6"/>
                    <a:pt x="240" y="6"/>
                  </a:cubicBezTo>
                  <a:cubicBezTo>
                    <a:pt x="240" y="29"/>
                    <a:pt x="240" y="29"/>
                    <a:pt x="240" y="29"/>
                  </a:cubicBezTo>
                  <a:cubicBezTo>
                    <a:pt x="244" y="29"/>
                    <a:pt x="244" y="29"/>
                    <a:pt x="244" y="29"/>
                  </a:cubicBezTo>
                  <a:cubicBezTo>
                    <a:pt x="246" y="29"/>
                    <a:pt x="247" y="29"/>
                    <a:pt x="249" y="29"/>
                  </a:cubicBezTo>
                  <a:cubicBezTo>
                    <a:pt x="250" y="28"/>
                    <a:pt x="251" y="27"/>
                    <a:pt x="252" y="26"/>
                  </a:cubicBezTo>
                  <a:cubicBezTo>
                    <a:pt x="253" y="25"/>
                    <a:pt x="254" y="24"/>
                    <a:pt x="254" y="23"/>
                  </a:cubicBezTo>
                  <a:cubicBezTo>
                    <a:pt x="255" y="21"/>
                    <a:pt x="255" y="19"/>
                    <a:pt x="255" y="17"/>
                  </a:cubicBezTo>
                  <a:close/>
                  <a:moveTo>
                    <a:pt x="283" y="21"/>
                  </a:moveTo>
                  <a:cubicBezTo>
                    <a:pt x="283" y="21"/>
                    <a:pt x="283" y="22"/>
                    <a:pt x="282" y="22"/>
                  </a:cubicBezTo>
                  <a:cubicBezTo>
                    <a:pt x="282" y="22"/>
                    <a:pt x="282" y="22"/>
                    <a:pt x="281" y="22"/>
                  </a:cubicBezTo>
                  <a:cubicBezTo>
                    <a:pt x="267" y="22"/>
                    <a:pt x="267" y="22"/>
                    <a:pt x="267" y="22"/>
                  </a:cubicBezTo>
                  <a:cubicBezTo>
                    <a:pt x="267" y="24"/>
                    <a:pt x="268" y="25"/>
                    <a:pt x="268" y="26"/>
                  </a:cubicBezTo>
                  <a:cubicBezTo>
                    <a:pt x="268" y="26"/>
                    <a:pt x="268" y="27"/>
                    <a:pt x="269" y="28"/>
                  </a:cubicBezTo>
                  <a:cubicBezTo>
                    <a:pt x="270" y="29"/>
                    <a:pt x="270" y="29"/>
                    <a:pt x="271" y="29"/>
                  </a:cubicBezTo>
                  <a:cubicBezTo>
                    <a:pt x="272" y="30"/>
                    <a:pt x="273" y="30"/>
                    <a:pt x="274" y="30"/>
                  </a:cubicBezTo>
                  <a:cubicBezTo>
                    <a:pt x="275" y="30"/>
                    <a:pt x="276" y="30"/>
                    <a:pt x="277" y="30"/>
                  </a:cubicBezTo>
                  <a:cubicBezTo>
                    <a:pt x="278" y="30"/>
                    <a:pt x="278" y="29"/>
                    <a:pt x="279" y="29"/>
                  </a:cubicBezTo>
                  <a:cubicBezTo>
                    <a:pt x="280" y="29"/>
                    <a:pt x="280" y="29"/>
                    <a:pt x="280" y="29"/>
                  </a:cubicBezTo>
                  <a:cubicBezTo>
                    <a:pt x="281" y="29"/>
                    <a:pt x="281" y="28"/>
                    <a:pt x="281" y="28"/>
                  </a:cubicBezTo>
                  <a:cubicBezTo>
                    <a:pt x="281" y="28"/>
                    <a:pt x="282" y="28"/>
                    <a:pt x="282" y="29"/>
                  </a:cubicBezTo>
                  <a:cubicBezTo>
                    <a:pt x="282" y="29"/>
                    <a:pt x="282" y="29"/>
                    <a:pt x="282" y="29"/>
                  </a:cubicBezTo>
                  <a:cubicBezTo>
                    <a:pt x="282" y="29"/>
                    <a:pt x="282" y="29"/>
                    <a:pt x="282" y="29"/>
                  </a:cubicBezTo>
                  <a:cubicBezTo>
                    <a:pt x="282" y="29"/>
                    <a:pt x="282" y="30"/>
                    <a:pt x="282" y="30"/>
                  </a:cubicBezTo>
                  <a:cubicBezTo>
                    <a:pt x="282" y="30"/>
                    <a:pt x="282" y="30"/>
                    <a:pt x="282" y="30"/>
                  </a:cubicBezTo>
                  <a:cubicBezTo>
                    <a:pt x="282" y="31"/>
                    <a:pt x="282" y="31"/>
                    <a:pt x="282" y="31"/>
                  </a:cubicBezTo>
                  <a:cubicBezTo>
                    <a:pt x="282" y="31"/>
                    <a:pt x="282" y="31"/>
                    <a:pt x="282" y="31"/>
                  </a:cubicBezTo>
                  <a:cubicBezTo>
                    <a:pt x="282" y="31"/>
                    <a:pt x="282" y="31"/>
                    <a:pt x="282" y="31"/>
                  </a:cubicBezTo>
                  <a:cubicBezTo>
                    <a:pt x="281" y="32"/>
                    <a:pt x="281" y="32"/>
                    <a:pt x="281" y="32"/>
                  </a:cubicBezTo>
                  <a:cubicBezTo>
                    <a:pt x="280" y="32"/>
                    <a:pt x="280" y="32"/>
                    <a:pt x="279" y="32"/>
                  </a:cubicBezTo>
                  <a:cubicBezTo>
                    <a:pt x="278" y="33"/>
                    <a:pt x="278" y="33"/>
                    <a:pt x="277" y="33"/>
                  </a:cubicBezTo>
                  <a:cubicBezTo>
                    <a:pt x="276" y="33"/>
                    <a:pt x="275" y="33"/>
                    <a:pt x="274" y="33"/>
                  </a:cubicBezTo>
                  <a:cubicBezTo>
                    <a:pt x="272" y="33"/>
                    <a:pt x="271" y="33"/>
                    <a:pt x="269" y="32"/>
                  </a:cubicBezTo>
                  <a:cubicBezTo>
                    <a:pt x="268" y="32"/>
                    <a:pt x="267" y="31"/>
                    <a:pt x="266" y="30"/>
                  </a:cubicBezTo>
                  <a:cubicBezTo>
                    <a:pt x="265" y="29"/>
                    <a:pt x="265" y="28"/>
                    <a:pt x="264" y="27"/>
                  </a:cubicBezTo>
                  <a:cubicBezTo>
                    <a:pt x="264" y="25"/>
                    <a:pt x="263" y="24"/>
                    <a:pt x="263" y="22"/>
                  </a:cubicBezTo>
                  <a:cubicBezTo>
                    <a:pt x="263" y="20"/>
                    <a:pt x="264" y="18"/>
                    <a:pt x="264" y="17"/>
                  </a:cubicBezTo>
                  <a:cubicBezTo>
                    <a:pt x="265" y="15"/>
                    <a:pt x="265" y="14"/>
                    <a:pt x="266" y="13"/>
                  </a:cubicBezTo>
                  <a:cubicBezTo>
                    <a:pt x="267" y="12"/>
                    <a:pt x="268" y="11"/>
                    <a:pt x="269" y="11"/>
                  </a:cubicBezTo>
                  <a:cubicBezTo>
                    <a:pt x="271" y="10"/>
                    <a:pt x="272" y="10"/>
                    <a:pt x="274" y="10"/>
                  </a:cubicBezTo>
                  <a:cubicBezTo>
                    <a:pt x="275" y="10"/>
                    <a:pt x="277" y="10"/>
                    <a:pt x="278" y="11"/>
                  </a:cubicBezTo>
                  <a:cubicBezTo>
                    <a:pt x="279" y="11"/>
                    <a:pt x="280" y="12"/>
                    <a:pt x="281" y="13"/>
                  </a:cubicBezTo>
                  <a:cubicBezTo>
                    <a:pt x="281" y="14"/>
                    <a:pt x="282" y="15"/>
                    <a:pt x="282" y="16"/>
                  </a:cubicBezTo>
                  <a:cubicBezTo>
                    <a:pt x="283" y="17"/>
                    <a:pt x="283" y="19"/>
                    <a:pt x="283" y="20"/>
                  </a:cubicBezTo>
                  <a:lnTo>
                    <a:pt x="283" y="21"/>
                  </a:lnTo>
                  <a:close/>
                  <a:moveTo>
                    <a:pt x="279" y="20"/>
                  </a:moveTo>
                  <a:cubicBezTo>
                    <a:pt x="279" y="17"/>
                    <a:pt x="279" y="16"/>
                    <a:pt x="278" y="15"/>
                  </a:cubicBezTo>
                  <a:cubicBezTo>
                    <a:pt x="277" y="14"/>
                    <a:pt x="275" y="13"/>
                    <a:pt x="273" y="13"/>
                  </a:cubicBezTo>
                  <a:cubicBezTo>
                    <a:pt x="272" y="13"/>
                    <a:pt x="272" y="13"/>
                    <a:pt x="271" y="14"/>
                  </a:cubicBezTo>
                  <a:cubicBezTo>
                    <a:pt x="270" y="14"/>
                    <a:pt x="269" y="14"/>
                    <a:pt x="269" y="15"/>
                  </a:cubicBezTo>
                  <a:cubicBezTo>
                    <a:pt x="269" y="16"/>
                    <a:pt x="268" y="16"/>
                    <a:pt x="268" y="17"/>
                  </a:cubicBezTo>
                  <a:cubicBezTo>
                    <a:pt x="268" y="18"/>
                    <a:pt x="267" y="19"/>
                    <a:pt x="267" y="20"/>
                  </a:cubicBezTo>
                  <a:lnTo>
                    <a:pt x="279" y="20"/>
                  </a:lnTo>
                  <a:close/>
                  <a:moveTo>
                    <a:pt x="306" y="11"/>
                  </a:moveTo>
                  <a:cubicBezTo>
                    <a:pt x="306" y="11"/>
                    <a:pt x="306" y="11"/>
                    <a:pt x="306" y="11"/>
                  </a:cubicBezTo>
                  <a:cubicBezTo>
                    <a:pt x="306" y="11"/>
                    <a:pt x="306" y="11"/>
                    <a:pt x="306" y="11"/>
                  </a:cubicBezTo>
                  <a:cubicBezTo>
                    <a:pt x="306" y="11"/>
                    <a:pt x="306" y="12"/>
                    <a:pt x="306" y="12"/>
                  </a:cubicBezTo>
                  <a:cubicBezTo>
                    <a:pt x="306" y="12"/>
                    <a:pt x="306" y="12"/>
                    <a:pt x="306" y="12"/>
                  </a:cubicBezTo>
                  <a:cubicBezTo>
                    <a:pt x="299" y="32"/>
                    <a:pt x="299" y="32"/>
                    <a:pt x="299" y="32"/>
                  </a:cubicBezTo>
                  <a:cubicBezTo>
                    <a:pt x="299" y="32"/>
                    <a:pt x="299" y="32"/>
                    <a:pt x="298" y="32"/>
                  </a:cubicBezTo>
                  <a:cubicBezTo>
                    <a:pt x="298" y="33"/>
                    <a:pt x="298" y="33"/>
                    <a:pt x="298" y="33"/>
                  </a:cubicBezTo>
                  <a:cubicBezTo>
                    <a:pt x="298" y="33"/>
                    <a:pt x="298" y="33"/>
                    <a:pt x="297" y="33"/>
                  </a:cubicBezTo>
                  <a:cubicBezTo>
                    <a:pt x="297" y="33"/>
                    <a:pt x="296" y="33"/>
                    <a:pt x="296" y="33"/>
                  </a:cubicBezTo>
                  <a:cubicBezTo>
                    <a:pt x="296" y="33"/>
                    <a:pt x="295" y="33"/>
                    <a:pt x="295" y="33"/>
                  </a:cubicBezTo>
                  <a:cubicBezTo>
                    <a:pt x="295" y="33"/>
                    <a:pt x="294" y="33"/>
                    <a:pt x="294" y="33"/>
                  </a:cubicBezTo>
                  <a:cubicBezTo>
                    <a:pt x="294" y="33"/>
                    <a:pt x="294" y="33"/>
                    <a:pt x="294" y="32"/>
                  </a:cubicBezTo>
                  <a:cubicBezTo>
                    <a:pt x="294" y="32"/>
                    <a:pt x="293" y="32"/>
                    <a:pt x="293" y="32"/>
                  </a:cubicBezTo>
                  <a:cubicBezTo>
                    <a:pt x="286" y="12"/>
                    <a:pt x="286" y="12"/>
                    <a:pt x="286" y="12"/>
                  </a:cubicBezTo>
                  <a:cubicBezTo>
                    <a:pt x="286" y="12"/>
                    <a:pt x="286" y="12"/>
                    <a:pt x="286" y="11"/>
                  </a:cubicBezTo>
                  <a:cubicBezTo>
                    <a:pt x="286" y="11"/>
                    <a:pt x="286" y="11"/>
                    <a:pt x="286" y="11"/>
                  </a:cubicBezTo>
                  <a:cubicBezTo>
                    <a:pt x="286" y="11"/>
                    <a:pt x="286" y="11"/>
                    <a:pt x="286" y="11"/>
                  </a:cubicBezTo>
                  <a:cubicBezTo>
                    <a:pt x="286" y="11"/>
                    <a:pt x="286" y="11"/>
                    <a:pt x="286" y="11"/>
                  </a:cubicBezTo>
                  <a:cubicBezTo>
                    <a:pt x="286" y="11"/>
                    <a:pt x="286" y="10"/>
                    <a:pt x="286" y="10"/>
                  </a:cubicBezTo>
                  <a:cubicBezTo>
                    <a:pt x="287" y="10"/>
                    <a:pt x="287" y="10"/>
                    <a:pt x="287" y="10"/>
                  </a:cubicBezTo>
                  <a:cubicBezTo>
                    <a:pt x="287" y="10"/>
                    <a:pt x="288" y="10"/>
                    <a:pt x="288" y="10"/>
                  </a:cubicBezTo>
                  <a:cubicBezTo>
                    <a:pt x="288" y="10"/>
                    <a:pt x="289" y="10"/>
                    <a:pt x="289" y="10"/>
                  </a:cubicBezTo>
                  <a:cubicBezTo>
                    <a:pt x="289" y="10"/>
                    <a:pt x="289" y="10"/>
                    <a:pt x="290" y="10"/>
                  </a:cubicBezTo>
                  <a:cubicBezTo>
                    <a:pt x="290" y="11"/>
                    <a:pt x="290" y="11"/>
                    <a:pt x="290" y="11"/>
                  </a:cubicBezTo>
                  <a:cubicBezTo>
                    <a:pt x="290" y="11"/>
                    <a:pt x="290" y="11"/>
                    <a:pt x="290" y="11"/>
                  </a:cubicBezTo>
                  <a:cubicBezTo>
                    <a:pt x="296" y="28"/>
                    <a:pt x="296" y="28"/>
                    <a:pt x="296" y="28"/>
                  </a:cubicBezTo>
                  <a:cubicBezTo>
                    <a:pt x="296" y="29"/>
                    <a:pt x="296" y="29"/>
                    <a:pt x="296" y="29"/>
                  </a:cubicBezTo>
                  <a:cubicBezTo>
                    <a:pt x="296" y="28"/>
                    <a:pt x="296" y="28"/>
                    <a:pt x="296" y="28"/>
                  </a:cubicBezTo>
                  <a:cubicBezTo>
                    <a:pt x="302" y="11"/>
                    <a:pt x="302" y="11"/>
                    <a:pt x="302" y="11"/>
                  </a:cubicBezTo>
                  <a:cubicBezTo>
                    <a:pt x="302" y="11"/>
                    <a:pt x="302" y="11"/>
                    <a:pt x="302" y="11"/>
                  </a:cubicBezTo>
                  <a:cubicBezTo>
                    <a:pt x="302" y="11"/>
                    <a:pt x="302" y="11"/>
                    <a:pt x="303" y="10"/>
                  </a:cubicBezTo>
                  <a:cubicBezTo>
                    <a:pt x="303" y="10"/>
                    <a:pt x="303" y="10"/>
                    <a:pt x="303" y="10"/>
                  </a:cubicBezTo>
                  <a:cubicBezTo>
                    <a:pt x="303" y="10"/>
                    <a:pt x="304" y="10"/>
                    <a:pt x="304" y="10"/>
                  </a:cubicBezTo>
                  <a:cubicBezTo>
                    <a:pt x="305" y="10"/>
                    <a:pt x="305" y="10"/>
                    <a:pt x="305" y="10"/>
                  </a:cubicBezTo>
                  <a:cubicBezTo>
                    <a:pt x="305" y="10"/>
                    <a:pt x="306" y="10"/>
                    <a:pt x="306" y="10"/>
                  </a:cubicBezTo>
                  <a:cubicBezTo>
                    <a:pt x="306" y="11"/>
                    <a:pt x="306" y="11"/>
                    <a:pt x="306" y="11"/>
                  </a:cubicBezTo>
                  <a:cubicBezTo>
                    <a:pt x="306" y="11"/>
                    <a:pt x="306" y="11"/>
                    <a:pt x="306" y="11"/>
                  </a:cubicBezTo>
                  <a:close/>
                  <a:moveTo>
                    <a:pt x="328" y="21"/>
                  </a:moveTo>
                  <a:cubicBezTo>
                    <a:pt x="328" y="21"/>
                    <a:pt x="328" y="22"/>
                    <a:pt x="328" y="22"/>
                  </a:cubicBezTo>
                  <a:cubicBezTo>
                    <a:pt x="328" y="22"/>
                    <a:pt x="327" y="22"/>
                    <a:pt x="327" y="22"/>
                  </a:cubicBezTo>
                  <a:cubicBezTo>
                    <a:pt x="313" y="22"/>
                    <a:pt x="313" y="22"/>
                    <a:pt x="313" y="22"/>
                  </a:cubicBezTo>
                  <a:cubicBezTo>
                    <a:pt x="313" y="24"/>
                    <a:pt x="313" y="25"/>
                    <a:pt x="313" y="26"/>
                  </a:cubicBezTo>
                  <a:cubicBezTo>
                    <a:pt x="314" y="26"/>
                    <a:pt x="314" y="27"/>
                    <a:pt x="315" y="28"/>
                  </a:cubicBezTo>
                  <a:cubicBezTo>
                    <a:pt x="315" y="29"/>
                    <a:pt x="316" y="29"/>
                    <a:pt x="317" y="29"/>
                  </a:cubicBezTo>
                  <a:cubicBezTo>
                    <a:pt x="318" y="30"/>
                    <a:pt x="319" y="30"/>
                    <a:pt x="320" y="30"/>
                  </a:cubicBezTo>
                  <a:cubicBezTo>
                    <a:pt x="321" y="30"/>
                    <a:pt x="322" y="30"/>
                    <a:pt x="323" y="30"/>
                  </a:cubicBezTo>
                  <a:cubicBezTo>
                    <a:pt x="323" y="30"/>
                    <a:pt x="324" y="29"/>
                    <a:pt x="325" y="29"/>
                  </a:cubicBezTo>
                  <a:cubicBezTo>
                    <a:pt x="325" y="29"/>
                    <a:pt x="326" y="29"/>
                    <a:pt x="326" y="29"/>
                  </a:cubicBezTo>
                  <a:cubicBezTo>
                    <a:pt x="326" y="29"/>
                    <a:pt x="327" y="28"/>
                    <a:pt x="327" y="28"/>
                  </a:cubicBezTo>
                  <a:cubicBezTo>
                    <a:pt x="327" y="28"/>
                    <a:pt x="327" y="28"/>
                    <a:pt x="327" y="29"/>
                  </a:cubicBezTo>
                  <a:cubicBezTo>
                    <a:pt x="327" y="29"/>
                    <a:pt x="327" y="29"/>
                    <a:pt x="327" y="29"/>
                  </a:cubicBezTo>
                  <a:cubicBezTo>
                    <a:pt x="327" y="29"/>
                    <a:pt x="328" y="29"/>
                    <a:pt x="328" y="29"/>
                  </a:cubicBezTo>
                  <a:cubicBezTo>
                    <a:pt x="328" y="29"/>
                    <a:pt x="328" y="30"/>
                    <a:pt x="328" y="30"/>
                  </a:cubicBezTo>
                  <a:cubicBezTo>
                    <a:pt x="328" y="30"/>
                    <a:pt x="328" y="30"/>
                    <a:pt x="328" y="30"/>
                  </a:cubicBezTo>
                  <a:cubicBezTo>
                    <a:pt x="328" y="31"/>
                    <a:pt x="328" y="31"/>
                    <a:pt x="328" y="31"/>
                  </a:cubicBezTo>
                  <a:cubicBezTo>
                    <a:pt x="327" y="31"/>
                    <a:pt x="327" y="31"/>
                    <a:pt x="327" y="31"/>
                  </a:cubicBezTo>
                  <a:cubicBezTo>
                    <a:pt x="327" y="31"/>
                    <a:pt x="327" y="31"/>
                    <a:pt x="327" y="31"/>
                  </a:cubicBezTo>
                  <a:cubicBezTo>
                    <a:pt x="327" y="32"/>
                    <a:pt x="327" y="32"/>
                    <a:pt x="326" y="32"/>
                  </a:cubicBezTo>
                  <a:cubicBezTo>
                    <a:pt x="326" y="32"/>
                    <a:pt x="325" y="32"/>
                    <a:pt x="325" y="32"/>
                  </a:cubicBezTo>
                  <a:cubicBezTo>
                    <a:pt x="324" y="33"/>
                    <a:pt x="323" y="33"/>
                    <a:pt x="322" y="33"/>
                  </a:cubicBezTo>
                  <a:cubicBezTo>
                    <a:pt x="322" y="33"/>
                    <a:pt x="321" y="33"/>
                    <a:pt x="320" y="33"/>
                  </a:cubicBezTo>
                  <a:cubicBezTo>
                    <a:pt x="318" y="33"/>
                    <a:pt x="316" y="33"/>
                    <a:pt x="315" y="32"/>
                  </a:cubicBezTo>
                  <a:cubicBezTo>
                    <a:pt x="314" y="32"/>
                    <a:pt x="313" y="31"/>
                    <a:pt x="312" y="30"/>
                  </a:cubicBezTo>
                  <a:cubicBezTo>
                    <a:pt x="311" y="29"/>
                    <a:pt x="310" y="28"/>
                    <a:pt x="310" y="27"/>
                  </a:cubicBezTo>
                  <a:cubicBezTo>
                    <a:pt x="309" y="25"/>
                    <a:pt x="309" y="24"/>
                    <a:pt x="309" y="22"/>
                  </a:cubicBezTo>
                  <a:cubicBezTo>
                    <a:pt x="309" y="20"/>
                    <a:pt x="309" y="18"/>
                    <a:pt x="310" y="17"/>
                  </a:cubicBezTo>
                  <a:cubicBezTo>
                    <a:pt x="310" y="15"/>
                    <a:pt x="311" y="14"/>
                    <a:pt x="312" y="13"/>
                  </a:cubicBezTo>
                  <a:cubicBezTo>
                    <a:pt x="313" y="12"/>
                    <a:pt x="314" y="11"/>
                    <a:pt x="315" y="11"/>
                  </a:cubicBezTo>
                  <a:cubicBezTo>
                    <a:pt x="316" y="10"/>
                    <a:pt x="318" y="10"/>
                    <a:pt x="319" y="10"/>
                  </a:cubicBezTo>
                  <a:cubicBezTo>
                    <a:pt x="321" y="10"/>
                    <a:pt x="322" y="10"/>
                    <a:pt x="323" y="11"/>
                  </a:cubicBezTo>
                  <a:cubicBezTo>
                    <a:pt x="325" y="11"/>
                    <a:pt x="326" y="12"/>
                    <a:pt x="326" y="13"/>
                  </a:cubicBezTo>
                  <a:cubicBezTo>
                    <a:pt x="327" y="14"/>
                    <a:pt x="328" y="15"/>
                    <a:pt x="328" y="16"/>
                  </a:cubicBezTo>
                  <a:cubicBezTo>
                    <a:pt x="328" y="17"/>
                    <a:pt x="328" y="19"/>
                    <a:pt x="328" y="20"/>
                  </a:cubicBezTo>
                  <a:lnTo>
                    <a:pt x="328" y="21"/>
                  </a:lnTo>
                  <a:close/>
                  <a:moveTo>
                    <a:pt x="325" y="20"/>
                  </a:moveTo>
                  <a:cubicBezTo>
                    <a:pt x="325" y="17"/>
                    <a:pt x="324" y="16"/>
                    <a:pt x="323" y="15"/>
                  </a:cubicBezTo>
                  <a:cubicBezTo>
                    <a:pt x="322" y="14"/>
                    <a:pt x="321" y="13"/>
                    <a:pt x="319" y="13"/>
                  </a:cubicBezTo>
                  <a:cubicBezTo>
                    <a:pt x="318" y="13"/>
                    <a:pt x="317" y="13"/>
                    <a:pt x="316" y="14"/>
                  </a:cubicBezTo>
                  <a:cubicBezTo>
                    <a:pt x="316" y="14"/>
                    <a:pt x="315" y="14"/>
                    <a:pt x="315" y="15"/>
                  </a:cubicBezTo>
                  <a:cubicBezTo>
                    <a:pt x="314" y="16"/>
                    <a:pt x="314" y="16"/>
                    <a:pt x="314" y="17"/>
                  </a:cubicBezTo>
                  <a:cubicBezTo>
                    <a:pt x="313" y="18"/>
                    <a:pt x="313" y="19"/>
                    <a:pt x="313" y="20"/>
                  </a:cubicBezTo>
                  <a:lnTo>
                    <a:pt x="325" y="20"/>
                  </a:lnTo>
                  <a:close/>
                  <a:moveTo>
                    <a:pt x="338" y="32"/>
                  </a:moveTo>
                  <a:cubicBezTo>
                    <a:pt x="338" y="32"/>
                    <a:pt x="338" y="32"/>
                    <a:pt x="338" y="32"/>
                  </a:cubicBezTo>
                  <a:cubicBezTo>
                    <a:pt x="338" y="33"/>
                    <a:pt x="338" y="33"/>
                    <a:pt x="338" y="33"/>
                  </a:cubicBezTo>
                  <a:cubicBezTo>
                    <a:pt x="338" y="33"/>
                    <a:pt x="338" y="33"/>
                    <a:pt x="337" y="33"/>
                  </a:cubicBezTo>
                  <a:cubicBezTo>
                    <a:pt x="337" y="33"/>
                    <a:pt x="337" y="33"/>
                    <a:pt x="336" y="33"/>
                  </a:cubicBezTo>
                  <a:cubicBezTo>
                    <a:pt x="336" y="33"/>
                    <a:pt x="336" y="33"/>
                    <a:pt x="335" y="33"/>
                  </a:cubicBezTo>
                  <a:cubicBezTo>
                    <a:pt x="335" y="33"/>
                    <a:pt x="335" y="33"/>
                    <a:pt x="335" y="33"/>
                  </a:cubicBezTo>
                  <a:cubicBezTo>
                    <a:pt x="335" y="33"/>
                    <a:pt x="335" y="33"/>
                    <a:pt x="334" y="32"/>
                  </a:cubicBezTo>
                  <a:cubicBezTo>
                    <a:pt x="334" y="32"/>
                    <a:pt x="334" y="32"/>
                    <a:pt x="334" y="32"/>
                  </a:cubicBezTo>
                  <a:cubicBezTo>
                    <a:pt x="334" y="1"/>
                    <a:pt x="334" y="1"/>
                    <a:pt x="334" y="1"/>
                  </a:cubicBezTo>
                  <a:cubicBezTo>
                    <a:pt x="334" y="1"/>
                    <a:pt x="334" y="1"/>
                    <a:pt x="334" y="0"/>
                  </a:cubicBezTo>
                  <a:cubicBezTo>
                    <a:pt x="335" y="0"/>
                    <a:pt x="335" y="0"/>
                    <a:pt x="335" y="0"/>
                  </a:cubicBezTo>
                  <a:cubicBezTo>
                    <a:pt x="335" y="0"/>
                    <a:pt x="335" y="0"/>
                    <a:pt x="335" y="0"/>
                  </a:cubicBezTo>
                  <a:cubicBezTo>
                    <a:pt x="336" y="0"/>
                    <a:pt x="336" y="0"/>
                    <a:pt x="336" y="0"/>
                  </a:cubicBezTo>
                  <a:cubicBezTo>
                    <a:pt x="337" y="0"/>
                    <a:pt x="337" y="0"/>
                    <a:pt x="337" y="0"/>
                  </a:cubicBezTo>
                  <a:cubicBezTo>
                    <a:pt x="338" y="0"/>
                    <a:pt x="338" y="0"/>
                    <a:pt x="338" y="0"/>
                  </a:cubicBezTo>
                  <a:cubicBezTo>
                    <a:pt x="338" y="0"/>
                    <a:pt x="338" y="0"/>
                    <a:pt x="338" y="0"/>
                  </a:cubicBezTo>
                  <a:cubicBezTo>
                    <a:pt x="338" y="1"/>
                    <a:pt x="338" y="1"/>
                    <a:pt x="338" y="1"/>
                  </a:cubicBezTo>
                  <a:lnTo>
                    <a:pt x="338" y="32"/>
                  </a:lnTo>
                  <a:close/>
                  <a:moveTo>
                    <a:pt x="365" y="21"/>
                  </a:moveTo>
                  <a:cubicBezTo>
                    <a:pt x="365" y="23"/>
                    <a:pt x="365" y="25"/>
                    <a:pt x="364" y="26"/>
                  </a:cubicBezTo>
                  <a:cubicBezTo>
                    <a:pt x="364" y="28"/>
                    <a:pt x="363" y="29"/>
                    <a:pt x="362" y="30"/>
                  </a:cubicBezTo>
                  <a:cubicBezTo>
                    <a:pt x="361" y="31"/>
                    <a:pt x="360" y="32"/>
                    <a:pt x="359" y="32"/>
                  </a:cubicBezTo>
                  <a:cubicBezTo>
                    <a:pt x="358" y="33"/>
                    <a:pt x="356" y="33"/>
                    <a:pt x="354" y="33"/>
                  </a:cubicBezTo>
                  <a:cubicBezTo>
                    <a:pt x="353" y="33"/>
                    <a:pt x="351" y="33"/>
                    <a:pt x="350" y="32"/>
                  </a:cubicBezTo>
                  <a:cubicBezTo>
                    <a:pt x="348" y="32"/>
                    <a:pt x="347" y="31"/>
                    <a:pt x="347" y="30"/>
                  </a:cubicBezTo>
                  <a:cubicBezTo>
                    <a:pt x="346" y="29"/>
                    <a:pt x="345" y="28"/>
                    <a:pt x="345" y="27"/>
                  </a:cubicBezTo>
                  <a:cubicBezTo>
                    <a:pt x="344" y="25"/>
                    <a:pt x="344" y="24"/>
                    <a:pt x="344" y="22"/>
                  </a:cubicBezTo>
                  <a:cubicBezTo>
                    <a:pt x="344" y="20"/>
                    <a:pt x="344" y="18"/>
                    <a:pt x="345" y="17"/>
                  </a:cubicBezTo>
                  <a:cubicBezTo>
                    <a:pt x="345" y="16"/>
                    <a:pt x="346" y="14"/>
                    <a:pt x="347" y="13"/>
                  </a:cubicBezTo>
                  <a:cubicBezTo>
                    <a:pt x="348" y="12"/>
                    <a:pt x="349" y="11"/>
                    <a:pt x="350" y="11"/>
                  </a:cubicBezTo>
                  <a:cubicBezTo>
                    <a:pt x="351" y="10"/>
                    <a:pt x="353" y="10"/>
                    <a:pt x="355" y="10"/>
                  </a:cubicBezTo>
                  <a:cubicBezTo>
                    <a:pt x="356" y="10"/>
                    <a:pt x="358" y="10"/>
                    <a:pt x="359" y="11"/>
                  </a:cubicBezTo>
                  <a:cubicBezTo>
                    <a:pt x="361" y="11"/>
                    <a:pt x="362" y="12"/>
                    <a:pt x="363" y="13"/>
                  </a:cubicBezTo>
                  <a:cubicBezTo>
                    <a:pt x="363" y="14"/>
                    <a:pt x="364" y="15"/>
                    <a:pt x="364" y="17"/>
                  </a:cubicBezTo>
                  <a:cubicBezTo>
                    <a:pt x="365" y="18"/>
                    <a:pt x="365" y="20"/>
                    <a:pt x="365" y="21"/>
                  </a:cubicBezTo>
                  <a:close/>
                  <a:moveTo>
                    <a:pt x="361" y="22"/>
                  </a:moveTo>
                  <a:cubicBezTo>
                    <a:pt x="361" y="20"/>
                    <a:pt x="361" y="19"/>
                    <a:pt x="361" y="18"/>
                  </a:cubicBezTo>
                  <a:cubicBezTo>
                    <a:pt x="361" y="17"/>
                    <a:pt x="360" y="16"/>
                    <a:pt x="360" y="16"/>
                  </a:cubicBezTo>
                  <a:cubicBezTo>
                    <a:pt x="359" y="15"/>
                    <a:pt x="359" y="14"/>
                    <a:pt x="358" y="14"/>
                  </a:cubicBezTo>
                  <a:cubicBezTo>
                    <a:pt x="357" y="13"/>
                    <a:pt x="356" y="13"/>
                    <a:pt x="355" y="13"/>
                  </a:cubicBezTo>
                  <a:cubicBezTo>
                    <a:pt x="353" y="13"/>
                    <a:pt x="352" y="13"/>
                    <a:pt x="352" y="14"/>
                  </a:cubicBezTo>
                  <a:cubicBezTo>
                    <a:pt x="351" y="14"/>
                    <a:pt x="350" y="15"/>
                    <a:pt x="350" y="16"/>
                  </a:cubicBezTo>
                  <a:cubicBezTo>
                    <a:pt x="349" y="16"/>
                    <a:pt x="349" y="17"/>
                    <a:pt x="348" y="18"/>
                  </a:cubicBezTo>
                  <a:cubicBezTo>
                    <a:pt x="348" y="19"/>
                    <a:pt x="348" y="20"/>
                    <a:pt x="348" y="22"/>
                  </a:cubicBezTo>
                  <a:cubicBezTo>
                    <a:pt x="348" y="23"/>
                    <a:pt x="348" y="24"/>
                    <a:pt x="348" y="25"/>
                  </a:cubicBezTo>
                  <a:cubicBezTo>
                    <a:pt x="349" y="26"/>
                    <a:pt x="349" y="27"/>
                    <a:pt x="349" y="27"/>
                  </a:cubicBezTo>
                  <a:cubicBezTo>
                    <a:pt x="350" y="28"/>
                    <a:pt x="351" y="29"/>
                    <a:pt x="351" y="29"/>
                  </a:cubicBezTo>
                  <a:cubicBezTo>
                    <a:pt x="352" y="30"/>
                    <a:pt x="353" y="30"/>
                    <a:pt x="355" y="30"/>
                  </a:cubicBezTo>
                  <a:cubicBezTo>
                    <a:pt x="356" y="30"/>
                    <a:pt x="357" y="30"/>
                    <a:pt x="357" y="29"/>
                  </a:cubicBezTo>
                  <a:cubicBezTo>
                    <a:pt x="358" y="29"/>
                    <a:pt x="359" y="28"/>
                    <a:pt x="360" y="28"/>
                  </a:cubicBezTo>
                  <a:cubicBezTo>
                    <a:pt x="360" y="27"/>
                    <a:pt x="360" y="26"/>
                    <a:pt x="361" y="25"/>
                  </a:cubicBezTo>
                  <a:cubicBezTo>
                    <a:pt x="361" y="24"/>
                    <a:pt x="361" y="23"/>
                    <a:pt x="361" y="22"/>
                  </a:cubicBezTo>
                  <a:close/>
                  <a:moveTo>
                    <a:pt x="390" y="21"/>
                  </a:moveTo>
                  <a:cubicBezTo>
                    <a:pt x="390" y="23"/>
                    <a:pt x="390" y="25"/>
                    <a:pt x="390" y="26"/>
                  </a:cubicBezTo>
                  <a:cubicBezTo>
                    <a:pt x="389" y="28"/>
                    <a:pt x="389" y="29"/>
                    <a:pt x="388" y="30"/>
                  </a:cubicBezTo>
                  <a:cubicBezTo>
                    <a:pt x="387" y="31"/>
                    <a:pt x="386" y="32"/>
                    <a:pt x="385" y="32"/>
                  </a:cubicBezTo>
                  <a:cubicBezTo>
                    <a:pt x="384" y="33"/>
                    <a:pt x="383" y="33"/>
                    <a:pt x="381" y="33"/>
                  </a:cubicBezTo>
                  <a:cubicBezTo>
                    <a:pt x="380" y="33"/>
                    <a:pt x="380" y="33"/>
                    <a:pt x="379" y="33"/>
                  </a:cubicBezTo>
                  <a:cubicBezTo>
                    <a:pt x="379" y="33"/>
                    <a:pt x="378" y="33"/>
                    <a:pt x="378" y="32"/>
                  </a:cubicBezTo>
                  <a:cubicBezTo>
                    <a:pt x="377" y="32"/>
                    <a:pt x="377" y="32"/>
                    <a:pt x="376" y="31"/>
                  </a:cubicBezTo>
                  <a:cubicBezTo>
                    <a:pt x="376" y="31"/>
                    <a:pt x="375" y="30"/>
                    <a:pt x="375" y="30"/>
                  </a:cubicBezTo>
                  <a:cubicBezTo>
                    <a:pt x="375" y="40"/>
                    <a:pt x="375" y="40"/>
                    <a:pt x="375" y="40"/>
                  </a:cubicBezTo>
                  <a:cubicBezTo>
                    <a:pt x="375" y="41"/>
                    <a:pt x="375" y="41"/>
                    <a:pt x="375" y="41"/>
                  </a:cubicBezTo>
                  <a:cubicBezTo>
                    <a:pt x="375" y="41"/>
                    <a:pt x="374" y="41"/>
                    <a:pt x="374" y="41"/>
                  </a:cubicBezTo>
                  <a:cubicBezTo>
                    <a:pt x="374" y="41"/>
                    <a:pt x="374" y="41"/>
                    <a:pt x="374" y="41"/>
                  </a:cubicBezTo>
                  <a:cubicBezTo>
                    <a:pt x="373" y="41"/>
                    <a:pt x="373" y="41"/>
                    <a:pt x="373" y="41"/>
                  </a:cubicBezTo>
                  <a:cubicBezTo>
                    <a:pt x="372" y="41"/>
                    <a:pt x="372" y="41"/>
                    <a:pt x="372" y="41"/>
                  </a:cubicBezTo>
                  <a:cubicBezTo>
                    <a:pt x="372" y="41"/>
                    <a:pt x="371" y="41"/>
                    <a:pt x="371" y="41"/>
                  </a:cubicBezTo>
                  <a:cubicBezTo>
                    <a:pt x="371" y="41"/>
                    <a:pt x="371" y="41"/>
                    <a:pt x="371" y="41"/>
                  </a:cubicBezTo>
                  <a:cubicBezTo>
                    <a:pt x="371" y="41"/>
                    <a:pt x="371" y="41"/>
                    <a:pt x="371" y="40"/>
                  </a:cubicBezTo>
                  <a:cubicBezTo>
                    <a:pt x="371" y="11"/>
                    <a:pt x="371" y="11"/>
                    <a:pt x="371" y="11"/>
                  </a:cubicBezTo>
                  <a:cubicBezTo>
                    <a:pt x="371" y="11"/>
                    <a:pt x="371" y="11"/>
                    <a:pt x="371" y="11"/>
                  </a:cubicBezTo>
                  <a:cubicBezTo>
                    <a:pt x="371" y="11"/>
                    <a:pt x="371" y="11"/>
                    <a:pt x="371" y="10"/>
                  </a:cubicBezTo>
                  <a:cubicBezTo>
                    <a:pt x="371" y="10"/>
                    <a:pt x="372" y="10"/>
                    <a:pt x="372" y="10"/>
                  </a:cubicBezTo>
                  <a:cubicBezTo>
                    <a:pt x="372" y="10"/>
                    <a:pt x="372" y="10"/>
                    <a:pt x="373" y="10"/>
                  </a:cubicBezTo>
                  <a:cubicBezTo>
                    <a:pt x="373" y="10"/>
                    <a:pt x="373" y="10"/>
                    <a:pt x="373" y="10"/>
                  </a:cubicBezTo>
                  <a:cubicBezTo>
                    <a:pt x="374" y="10"/>
                    <a:pt x="374" y="10"/>
                    <a:pt x="374" y="10"/>
                  </a:cubicBezTo>
                  <a:cubicBezTo>
                    <a:pt x="374" y="11"/>
                    <a:pt x="374" y="11"/>
                    <a:pt x="374" y="11"/>
                  </a:cubicBezTo>
                  <a:cubicBezTo>
                    <a:pt x="374" y="11"/>
                    <a:pt x="374" y="11"/>
                    <a:pt x="374" y="11"/>
                  </a:cubicBezTo>
                  <a:cubicBezTo>
                    <a:pt x="374" y="14"/>
                    <a:pt x="374" y="14"/>
                    <a:pt x="374" y="14"/>
                  </a:cubicBezTo>
                  <a:cubicBezTo>
                    <a:pt x="375" y="13"/>
                    <a:pt x="375" y="13"/>
                    <a:pt x="376" y="12"/>
                  </a:cubicBezTo>
                  <a:cubicBezTo>
                    <a:pt x="377" y="12"/>
                    <a:pt x="377" y="11"/>
                    <a:pt x="378" y="11"/>
                  </a:cubicBezTo>
                  <a:cubicBezTo>
                    <a:pt x="378" y="11"/>
                    <a:pt x="379" y="10"/>
                    <a:pt x="380" y="10"/>
                  </a:cubicBezTo>
                  <a:cubicBezTo>
                    <a:pt x="380" y="10"/>
                    <a:pt x="381" y="10"/>
                    <a:pt x="382" y="10"/>
                  </a:cubicBezTo>
                  <a:cubicBezTo>
                    <a:pt x="383" y="10"/>
                    <a:pt x="385" y="10"/>
                    <a:pt x="386" y="11"/>
                  </a:cubicBezTo>
                  <a:cubicBezTo>
                    <a:pt x="387" y="11"/>
                    <a:pt x="388" y="12"/>
                    <a:pt x="388" y="13"/>
                  </a:cubicBezTo>
                  <a:cubicBezTo>
                    <a:pt x="389" y="14"/>
                    <a:pt x="389" y="16"/>
                    <a:pt x="390" y="17"/>
                  </a:cubicBezTo>
                  <a:cubicBezTo>
                    <a:pt x="390" y="18"/>
                    <a:pt x="390" y="20"/>
                    <a:pt x="390" y="21"/>
                  </a:cubicBezTo>
                  <a:close/>
                  <a:moveTo>
                    <a:pt x="386" y="22"/>
                  </a:moveTo>
                  <a:cubicBezTo>
                    <a:pt x="386" y="21"/>
                    <a:pt x="386" y="20"/>
                    <a:pt x="386" y="19"/>
                  </a:cubicBezTo>
                  <a:cubicBezTo>
                    <a:pt x="386" y="18"/>
                    <a:pt x="386" y="17"/>
                    <a:pt x="385" y="16"/>
                  </a:cubicBezTo>
                  <a:cubicBezTo>
                    <a:pt x="385" y="15"/>
                    <a:pt x="384" y="14"/>
                    <a:pt x="384" y="14"/>
                  </a:cubicBezTo>
                  <a:cubicBezTo>
                    <a:pt x="383" y="14"/>
                    <a:pt x="382" y="13"/>
                    <a:pt x="381" y="13"/>
                  </a:cubicBezTo>
                  <a:cubicBezTo>
                    <a:pt x="380" y="13"/>
                    <a:pt x="380" y="13"/>
                    <a:pt x="380" y="14"/>
                  </a:cubicBezTo>
                  <a:cubicBezTo>
                    <a:pt x="379" y="14"/>
                    <a:pt x="379" y="14"/>
                    <a:pt x="378" y="14"/>
                  </a:cubicBezTo>
                  <a:cubicBezTo>
                    <a:pt x="378" y="15"/>
                    <a:pt x="377" y="15"/>
                    <a:pt x="376" y="15"/>
                  </a:cubicBezTo>
                  <a:cubicBezTo>
                    <a:pt x="376" y="16"/>
                    <a:pt x="375" y="17"/>
                    <a:pt x="375" y="17"/>
                  </a:cubicBezTo>
                  <a:cubicBezTo>
                    <a:pt x="375" y="26"/>
                    <a:pt x="375" y="26"/>
                    <a:pt x="375" y="26"/>
                  </a:cubicBezTo>
                  <a:cubicBezTo>
                    <a:pt x="376" y="27"/>
                    <a:pt x="377" y="28"/>
                    <a:pt x="378" y="29"/>
                  </a:cubicBezTo>
                  <a:cubicBezTo>
                    <a:pt x="379" y="29"/>
                    <a:pt x="380" y="30"/>
                    <a:pt x="381" y="30"/>
                  </a:cubicBezTo>
                  <a:cubicBezTo>
                    <a:pt x="382" y="30"/>
                    <a:pt x="383" y="30"/>
                    <a:pt x="383" y="29"/>
                  </a:cubicBezTo>
                  <a:cubicBezTo>
                    <a:pt x="384" y="29"/>
                    <a:pt x="385" y="28"/>
                    <a:pt x="385" y="27"/>
                  </a:cubicBezTo>
                  <a:cubicBezTo>
                    <a:pt x="385" y="26"/>
                    <a:pt x="386" y="26"/>
                    <a:pt x="386" y="25"/>
                  </a:cubicBezTo>
                  <a:cubicBezTo>
                    <a:pt x="386" y="24"/>
                    <a:pt x="386" y="23"/>
                    <a:pt x="386" y="22"/>
                  </a:cubicBezTo>
                  <a:close/>
                  <a:moveTo>
                    <a:pt x="427" y="32"/>
                  </a:moveTo>
                  <a:cubicBezTo>
                    <a:pt x="427" y="32"/>
                    <a:pt x="427" y="32"/>
                    <a:pt x="427" y="32"/>
                  </a:cubicBezTo>
                  <a:cubicBezTo>
                    <a:pt x="427" y="33"/>
                    <a:pt x="427" y="33"/>
                    <a:pt x="427" y="33"/>
                  </a:cubicBezTo>
                  <a:cubicBezTo>
                    <a:pt x="427" y="33"/>
                    <a:pt x="427" y="33"/>
                    <a:pt x="426" y="33"/>
                  </a:cubicBezTo>
                  <a:cubicBezTo>
                    <a:pt x="426" y="33"/>
                    <a:pt x="426" y="33"/>
                    <a:pt x="425" y="33"/>
                  </a:cubicBezTo>
                  <a:cubicBezTo>
                    <a:pt x="425" y="33"/>
                    <a:pt x="425" y="33"/>
                    <a:pt x="425" y="33"/>
                  </a:cubicBezTo>
                  <a:cubicBezTo>
                    <a:pt x="424" y="33"/>
                    <a:pt x="424" y="33"/>
                    <a:pt x="424" y="33"/>
                  </a:cubicBezTo>
                  <a:cubicBezTo>
                    <a:pt x="424" y="33"/>
                    <a:pt x="424" y="33"/>
                    <a:pt x="424" y="32"/>
                  </a:cubicBezTo>
                  <a:cubicBezTo>
                    <a:pt x="424" y="32"/>
                    <a:pt x="423" y="32"/>
                    <a:pt x="423" y="32"/>
                  </a:cubicBezTo>
                  <a:cubicBezTo>
                    <a:pt x="423" y="19"/>
                    <a:pt x="423" y="19"/>
                    <a:pt x="423" y="19"/>
                  </a:cubicBezTo>
                  <a:cubicBezTo>
                    <a:pt x="423" y="18"/>
                    <a:pt x="423" y="18"/>
                    <a:pt x="423" y="17"/>
                  </a:cubicBezTo>
                  <a:cubicBezTo>
                    <a:pt x="423" y="16"/>
                    <a:pt x="423" y="15"/>
                    <a:pt x="423" y="15"/>
                  </a:cubicBezTo>
                  <a:cubicBezTo>
                    <a:pt x="422" y="14"/>
                    <a:pt x="422" y="14"/>
                    <a:pt x="421" y="14"/>
                  </a:cubicBezTo>
                  <a:cubicBezTo>
                    <a:pt x="421" y="13"/>
                    <a:pt x="420" y="13"/>
                    <a:pt x="419" y="13"/>
                  </a:cubicBezTo>
                  <a:cubicBezTo>
                    <a:pt x="418" y="13"/>
                    <a:pt x="418" y="14"/>
                    <a:pt x="417" y="14"/>
                  </a:cubicBezTo>
                  <a:cubicBezTo>
                    <a:pt x="416" y="15"/>
                    <a:pt x="415" y="16"/>
                    <a:pt x="414" y="17"/>
                  </a:cubicBezTo>
                  <a:cubicBezTo>
                    <a:pt x="414" y="32"/>
                    <a:pt x="414" y="32"/>
                    <a:pt x="414" y="32"/>
                  </a:cubicBezTo>
                  <a:cubicBezTo>
                    <a:pt x="414" y="32"/>
                    <a:pt x="414" y="32"/>
                    <a:pt x="414" y="32"/>
                  </a:cubicBezTo>
                  <a:cubicBezTo>
                    <a:pt x="414" y="33"/>
                    <a:pt x="413" y="33"/>
                    <a:pt x="413" y="33"/>
                  </a:cubicBezTo>
                  <a:cubicBezTo>
                    <a:pt x="413" y="33"/>
                    <a:pt x="413" y="33"/>
                    <a:pt x="413" y="33"/>
                  </a:cubicBezTo>
                  <a:cubicBezTo>
                    <a:pt x="412" y="33"/>
                    <a:pt x="412" y="33"/>
                    <a:pt x="412" y="33"/>
                  </a:cubicBezTo>
                  <a:cubicBezTo>
                    <a:pt x="411" y="33"/>
                    <a:pt x="411" y="33"/>
                    <a:pt x="411" y="33"/>
                  </a:cubicBezTo>
                  <a:cubicBezTo>
                    <a:pt x="411" y="33"/>
                    <a:pt x="410" y="33"/>
                    <a:pt x="410" y="33"/>
                  </a:cubicBezTo>
                  <a:cubicBezTo>
                    <a:pt x="410" y="33"/>
                    <a:pt x="410" y="33"/>
                    <a:pt x="410" y="32"/>
                  </a:cubicBezTo>
                  <a:cubicBezTo>
                    <a:pt x="410" y="32"/>
                    <a:pt x="410" y="32"/>
                    <a:pt x="410" y="32"/>
                  </a:cubicBezTo>
                  <a:cubicBezTo>
                    <a:pt x="410" y="19"/>
                    <a:pt x="410" y="19"/>
                    <a:pt x="410" y="19"/>
                  </a:cubicBezTo>
                  <a:cubicBezTo>
                    <a:pt x="410" y="18"/>
                    <a:pt x="410" y="18"/>
                    <a:pt x="410" y="17"/>
                  </a:cubicBezTo>
                  <a:cubicBezTo>
                    <a:pt x="409" y="16"/>
                    <a:pt x="409" y="15"/>
                    <a:pt x="409" y="15"/>
                  </a:cubicBezTo>
                  <a:cubicBezTo>
                    <a:pt x="408" y="14"/>
                    <a:pt x="408" y="14"/>
                    <a:pt x="407" y="14"/>
                  </a:cubicBezTo>
                  <a:cubicBezTo>
                    <a:pt x="407" y="13"/>
                    <a:pt x="406" y="13"/>
                    <a:pt x="406" y="13"/>
                  </a:cubicBezTo>
                  <a:cubicBezTo>
                    <a:pt x="405" y="13"/>
                    <a:pt x="404" y="14"/>
                    <a:pt x="403" y="14"/>
                  </a:cubicBezTo>
                  <a:cubicBezTo>
                    <a:pt x="402" y="15"/>
                    <a:pt x="401" y="16"/>
                    <a:pt x="400" y="17"/>
                  </a:cubicBezTo>
                  <a:cubicBezTo>
                    <a:pt x="400" y="32"/>
                    <a:pt x="400" y="32"/>
                    <a:pt x="400" y="32"/>
                  </a:cubicBezTo>
                  <a:cubicBezTo>
                    <a:pt x="400" y="32"/>
                    <a:pt x="400" y="32"/>
                    <a:pt x="400" y="32"/>
                  </a:cubicBezTo>
                  <a:cubicBezTo>
                    <a:pt x="400" y="33"/>
                    <a:pt x="400" y="33"/>
                    <a:pt x="400" y="33"/>
                  </a:cubicBezTo>
                  <a:cubicBezTo>
                    <a:pt x="399" y="33"/>
                    <a:pt x="399" y="33"/>
                    <a:pt x="399" y="33"/>
                  </a:cubicBezTo>
                  <a:cubicBezTo>
                    <a:pt x="399" y="33"/>
                    <a:pt x="398" y="33"/>
                    <a:pt x="398" y="33"/>
                  </a:cubicBezTo>
                  <a:cubicBezTo>
                    <a:pt x="398" y="33"/>
                    <a:pt x="397" y="33"/>
                    <a:pt x="397" y="33"/>
                  </a:cubicBezTo>
                  <a:cubicBezTo>
                    <a:pt x="397" y="33"/>
                    <a:pt x="397" y="33"/>
                    <a:pt x="396" y="33"/>
                  </a:cubicBezTo>
                  <a:cubicBezTo>
                    <a:pt x="396" y="33"/>
                    <a:pt x="396" y="33"/>
                    <a:pt x="396" y="32"/>
                  </a:cubicBezTo>
                  <a:cubicBezTo>
                    <a:pt x="396" y="32"/>
                    <a:pt x="396" y="32"/>
                    <a:pt x="396" y="32"/>
                  </a:cubicBezTo>
                  <a:cubicBezTo>
                    <a:pt x="396" y="11"/>
                    <a:pt x="396" y="11"/>
                    <a:pt x="396" y="11"/>
                  </a:cubicBezTo>
                  <a:cubicBezTo>
                    <a:pt x="396" y="11"/>
                    <a:pt x="396" y="11"/>
                    <a:pt x="396" y="11"/>
                  </a:cubicBezTo>
                  <a:cubicBezTo>
                    <a:pt x="396" y="11"/>
                    <a:pt x="396" y="11"/>
                    <a:pt x="396" y="10"/>
                  </a:cubicBezTo>
                  <a:cubicBezTo>
                    <a:pt x="397" y="10"/>
                    <a:pt x="397" y="10"/>
                    <a:pt x="397" y="10"/>
                  </a:cubicBezTo>
                  <a:cubicBezTo>
                    <a:pt x="397" y="10"/>
                    <a:pt x="397" y="10"/>
                    <a:pt x="398" y="10"/>
                  </a:cubicBezTo>
                  <a:cubicBezTo>
                    <a:pt x="398" y="10"/>
                    <a:pt x="398" y="10"/>
                    <a:pt x="399" y="10"/>
                  </a:cubicBezTo>
                  <a:cubicBezTo>
                    <a:pt x="399" y="10"/>
                    <a:pt x="399" y="10"/>
                    <a:pt x="399" y="10"/>
                  </a:cubicBezTo>
                  <a:cubicBezTo>
                    <a:pt x="399" y="11"/>
                    <a:pt x="399" y="11"/>
                    <a:pt x="400" y="11"/>
                  </a:cubicBezTo>
                  <a:cubicBezTo>
                    <a:pt x="400" y="11"/>
                    <a:pt x="400" y="11"/>
                    <a:pt x="400" y="11"/>
                  </a:cubicBezTo>
                  <a:cubicBezTo>
                    <a:pt x="400" y="14"/>
                    <a:pt x="400" y="14"/>
                    <a:pt x="400" y="14"/>
                  </a:cubicBezTo>
                  <a:cubicBezTo>
                    <a:pt x="401" y="12"/>
                    <a:pt x="402" y="12"/>
                    <a:pt x="403" y="11"/>
                  </a:cubicBezTo>
                  <a:cubicBezTo>
                    <a:pt x="404" y="10"/>
                    <a:pt x="405" y="10"/>
                    <a:pt x="406" y="10"/>
                  </a:cubicBezTo>
                  <a:cubicBezTo>
                    <a:pt x="407" y="10"/>
                    <a:pt x="408" y="10"/>
                    <a:pt x="409" y="10"/>
                  </a:cubicBezTo>
                  <a:cubicBezTo>
                    <a:pt x="409" y="10"/>
                    <a:pt x="410" y="11"/>
                    <a:pt x="411" y="11"/>
                  </a:cubicBezTo>
                  <a:cubicBezTo>
                    <a:pt x="411" y="12"/>
                    <a:pt x="412" y="12"/>
                    <a:pt x="412" y="12"/>
                  </a:cubicBezTo>
                  <a:cubicBezTo>
                    <a:pt x="412" y="13"/>
                    <a:pt x="413" y="14"/>
                    <a:pt x="413" y="14"/>
                  </a:cubicBezTo>
                  <a:cubicBezTo>
                    <a:pt x="414" y="13"/>
                    <a:pt x="414" y="13"/>
                    <a:pt x="415" y="12"/>
                  </a:cubicBezTo>
                  <a:cubicBezTo>
                    <a:pt x="416" y="12"/>
                    <a:pt x="416" y="11"/>
                    <a:pt x="417" y="11"/>
                  </a:cubicBezTo>
                  <a:cubicBezTo>
                    <a:pt x="417" y="11"/>
                    <a:pt x="418" y="10"/>
                    <a:pt x="418" y="10"/>
                  </a:cubicBezTo>
                  <a:cubicBezTo>
                    <a:pt x="419" y="10"/>
                    <a:pt x="420" y="10"/>
                    <a:pt x="420" y="10"/>
                  </a:cubicBezTo>
                  <a:cubicBezTo>
                    <a:pt x="422" y="10"/>
                    <a:pt x="423" y="10"/>
                    <a:pt x="424" y="11"/>
                  </a:cubicBezTo>
                  <a:cubicBezTo>
                    <a:pt x="424" y="11"/>
                    <a:pt x="425" y="12"/>
                    <a:pt x="426" y="13"/>
                  </a:cubicBezTo>
                  <a:cubicBezTo>
                    <a:pt x="426" y="13"/>
                    <a:pt x="427" y="14"/>
                    <a:pt x="427" y="15"/>
                  </a:cubicBezTo>
                  <a:cubicBezTo>
                    <a:pt x="427" y="16"/>
                    <a:pt x="427" y="18"/>
                    <a:pt x="427" y="19"/>
                  </a:cubicBezTo>
                  <a:lnTo>
                    <a:pt x="427" y="32"/>
                  </a:lnTo>
                  <a:close/>
                  <a:moveTo>
                    <a:pt x="452" y="21"/>
                  </a:moveTo>
                  <a:cubicBezTo>
                    <a:pt x="452" y="21"/>
                    <a:pt x="452" y="22"/>
                    <a:pt x="452" y="22"/>
                  </a:cubicBezTo>
                  <a:cubicBezTo>
                    <a:pt x="452" y="22"/>
                    <a:pt x="451" y="22"/>
                    <a:pt x="451" y="22"/>
                  </a:cubicBezTo>
                  <a:cubicBezTo>
                    <a:pt x="437" y="22"/>
                    <a:pt x="437" y="22"/>
                    <a:pt x="437" y="22"/>
                  </a:cubicBezTo>
                  <a:cubicBezTo>
                    <a:pt x="437" y="24"/>
                    <a:pt x="437" y="25"/>
                    <a:pt x="437" y="26"/>
                  </a:cubicBezTo>
                  <a:cubicBezTo>
                    <a:pt x="438" y="26"/>
                    <a:pt x="438" y="27"/>
                    <a:pt x="439" y="28"/>
                  </a:cubicBezTo>
                  <a:cubicBezTo>
                    <a:pt x="439" y="29"/>
                    <a:pt x="440" y="29"/>
                    <a:pt x="441" y="29"/>
                  </a:cubicBezTo>
                  <a:cubicBezTo>
                    <a:pt x="442" y="30"/>
                    <a:pt x="443" y="30"/>
                    <a:pt x="444" y="30"/>
                  </a:cubicBezTo>
                  <a:cubicBezTo>
                    <a:pt x="445" y="30"/>
                    <a:pt x="446" y="30"/>
                    <a:pt x="447" y="30"/>
                  </a:cubicBezTo>
                  <a:cubicBezTo>
                    <a:pt x="447" y="30"/>
                    <a:pt x="448" y="29"/>
                    <a:pt x="449" y="29"/>
                  </a:cubicBezTo>
                  <a:cubicBezTo>
                    <a:pt x="449" y="29"/>
                    <a:pt x="450" y="29"/>
                    <a:pt x="450" y="29"/>
                  </a:cubicBezTo>
                  <a:cubicBezTo>
                    <a:pt x="450" y="29"/>
                    <a:pt x="451" y="28"/>
                    <a:pt x="451" y="28"/>
                  </a:cubicBezTo>
                  <a:cubicBezTo>
                    <a:pt x="451" y="28"/>
                    <a:pt x="451" y="28"/>
                    <a:pt x="451" y="29"/>
                  </a:cubicBezTo>
                  <a:cubicBezTo>
                    <a:pt x="451" y="29"/>
                    <a:pt x="451" y="29"/>
                    <a:pt x="451" y="29"/>
                  </a:cubicBezTo>
                  <a:cubicBezTo>
                    <a:pt x="452" y="29"/>
                    <a:pt x="452" y="29"/>
                    <a:pt x="452" y="29"/>
                  </a:cubicBezTo>
                  <a:cubicBezTo>
                    <a:pt x="452" y="29"/>
                    <a:pt x="452" y="30"/>
                    <a:pt x="452" y="30"/>
                  </a:cubicBezTo>
                  <a:cubicBezTo>
                    <a:pt x="452" y="30"/>
                    <a:pt x="452" y="30"/>
                    <a:pt x="452" y="30"/>
                  </a:cubicBezTo>
                  <a:cubicBezTo>
                    <a:pt x="452" y="31"/>
                    <a:pt x="452" y="31"/>
                    <a:pt x="452" y="31"/>
                  </a:cubicBezTo>
                  <a:cubicBezTo>
                    <a:pt x="451" y="31"/>
                    <a:pt x="451" y="31"/>
                    <a:pt x="451" y="31"/>
                  </a:cubicBezTo>
                  <a:cubicBezTo>
                    <a:pt x="451" y="31"/>
                    <a:pt x="451" y="31"/>
                    <a:pt x="451" y="31"/>
                  </a:cubicBezTo>
                  <a:cubicBezTo>
                    <a:pt x="451" y="32"/>
                    <a:pt x="451" y="32"/>
                    <a:pt x="450" y="32"/>
                  </a:cubicBezTo>
                  <a:cubicBezTo>
                    <a:pt x="450" y="32"/>
                    <a:pt x="449" y="32"/>
                    <a:pt x="449" y="32"/>
                  </a:cubicBezTo>
                  <a:cubicBezTo>
                    <a:pt x="448" y="33"/>
                    <a:pt x="447" y="33"/>
                    <a:pt x="446" y="33"/>
                  </a:cubicBezTo>
                  <a:cubicBezTo>
                    <a:pt x="446" y="33"/>
                    <a:pt x="445" y="33"/>
                    <a:pt x="444" y="33"/>
                  </a:cubicBezTo>
                  <a:cubicBezTo>
                    <a:pt x="442" y="33"/>
                    <a:pt x="440" y="33"/>
                    <a:pt x="439" y="32"/>
                  </a:cubicBezTo>
                  <a:cubicBezTo>
                    <a:pt x="438" y="32"/>
                    <a:pt x="437" y="31"/>
                    <a:pt x="436" y="30"/>
                  </a:cubicBezTo>
                  <a:cubicBezTo>
                    <a:pt x="435" y="29"/>
                    <a:pt x="434" y="28"/>
                    <a:pt x="434" y="27"/>
                  </a:cubicBezTo>
                  <a:cubicBezTo>
                    <a:pt x="433" y="25"/>
                    <a:pt x="433" y="24"/>
                    <a:pt x="433" y="22"/>
                  </a:cubicBezTo>
                  <a:cubicBezTo>
                    <a:pt x="433" y="20"/>
                    <a:pt x="433" y="18"/>
                    <a:pt x="434" y="17"/>
                  </a:cubicBezTo>
                  <a:cubicBezTo>
                    <a:pt x="434" y="15"/>
                    <a:pt x="435" y="14"/>
                    <a:pt x="436" y="13"/>
                  </a:cubicBezTo>
                  <a:cubicBezTo>
                    <a:pt x="437" y="12"/>
                    <a:pt x="438" y="11"/>
                    <a:pt x="439" y="11"/>
                  </a:cubicBezTo>
                  <a:cubicBezTo>
                    <a:pt x="440" y="10"/>
                    <a:pt x="442" y="10"/>
                    <a:pt x="443" y="10"/>
                  </a:cubicBezTo>
                  <a:cubicBezTo>
                    <a:pt x="445" y="10"/>
                    <a:pt x="446" y="10"/>
                    <a:pt x="447" y="11"/>
                  </a:cubicBezTo>
                  <a:cubicBezTo>
                    <a:pt x="449" y="11"/>
                    <a:pt x="450" y="12"/>
                    <a:pt x="450" y="13"/>
                  </a:cubicBezTo>
                  <a:cubicBezTo>
                    <a:pt x="451" y="14"/>
                    <a:pt x="452" y="15"/>
                    <a:pt x="452" y="16"/>
                  </a:cubicBezTo>
                  <a:cubicBezTo>
                    <a:pt x="452" y="17"/>
                    <a:pt x="452" y="19"/>
                    <a:pt x="452" y="20"/>
                  </a:cubicBezTo>
                  <a:lnTo>
                    <a:pt x="452" y="21"/>
                  </a:lnTo>
                  <a:close/>
                  <a:moveTo>
                    <a:pt x="449" y="20"/>
                  </a:moveTo>
                  <a:cubicBezTo>
                    <a:pt x="449" y="17"/>
                    <a:pt x="448" y="16"/>
                    <a:pt x="447" y="15"/>
                  </a:cubicBezTo>
                  <a:cubicBezTo>
                    <a:pt x="446" y="14"/>
                    <a:pt x="445" y="13"/>
                    <a:pt x="443" y="13"/>
                  </a:cubicBezTo>
                  <a:cubicBezTo>
                    <a:pt x="442" y="13"/>
                    <a:pt x="441" y="13"/>
                    <a:pt x="440" y="14"/>
                  </a:cubicBezTo>
                  <a:cubicBezTo>
                    <a:pt x="440" y="14"/>
                    <a:pt x="439" y="14"/>
                    <a:pt x="439" y="15"/>
                  </a:cubicBezTo>
                  <a:cubicBezTo>
                    <a:pt x="438" y="16"/>
                    <a:pt x="438" y="16"/>
                    <a:pt x="438" y="17"/>
                  </a:cubicBezTo>
                  <a:cubicBezTo>
                    <a:pt x="437" y="18"/>
                    <a:pt x="437" y="19"/>
                    <a:pt x="437" y="20"/>
                  </a:cubicBezTo>
                  <a:lnTo>
                    <a:pt x="449" y="20"/>
                  </a:lnTo>
                  <a:close/>
                  <a:moveTo>
                    <a:pt x="477" y="32"/>
                  </a:moveTo>
                  <a:cubicBezTo>
                    <a:pt x="477" y="32"/>
                    <a:pt x="477" y="32"/>
                    <a:pt x="476" y="32"/>
                  </a:cubicBezTo>
                  <a:cubicBezTo>
                    <a:pt x="476" y="33"/>
                    <a:pt x="476" y="33"/>
                    <a:pt x="476" y="33"/>
                  </a:cubicBezTo>
                  <a:cubicBezTo>
                    <a:pt x="476" y="33"/>
                    <a:pt x="476" y="33"/>
                    <a:pt x="476" y="33"/>
                  </a:cubicBezTo>
                  <a:cubicBezTo>
                    <a:pt x="475" y="33"/>
                    <a:pt x="475" y="33"/>
                    <a:pt x="475" y="33"/>
                  </a:cubicBezTo>
                  <a:cubicBezTo>
                    <a:pt x="474" y="33"/>
                    <a:pt x="474" y="33"/>
                    <a:pt x="474" y="33"/>
                  </a:cubicBezTo>
                  <a:cubicBezTo>
                    <a:pt x="473" y="33"/>
                    <a:pt x="473" y="33"/>
                    <a:pt x="473" y="33"/>
                  </a:cubicBezTo>
                  <a:cubicBezTo>
                    <a:pt x="473" y="33"/>
                    <a:pt x="473" y="33"/>
                    <a:pt x="473" y="32"/>
                  </a:cubicBezTo>
                  <a:cubicBezTo>
                    <a:pt x="473" y="32"/>
                    <a:pt x="473" y="32"/>
                    <a:pt x="473" y="32"/>
                  </a:cubicBezTo>
                  <a:cubicBezTo>
                    <a:pt x="473" y="20"/>
                    <a:pt x="473" y="20"/>
                    <a:pt x="473" y="20"/>
                  </a:cubicBezTo>
                  <a:cubicBezTo>
                    <a:pt x="473" y="19"/>
                    <a:pt x="473" y="18"/>
                    <a:pt x="472" y="17"/>
                  </a:cubicBezTo>
                  <a:cubicBezTo>
                    <a:pt x="472" y="16"/>
                    <a:pt x="472" y="15"/>
                    <a:pt x="472" y="15"/>
                  </a:cubicBezTo>
                  <a:cubicBezTo>
                    <a:pt x="471" y="14"/>
                    <a:pt x="471" y="14"/>
                    <a:pt x="470" y="14"/>
                  </a:cubicBezTo>
                  <a:cubicBezTo>
                    <a:pt x="470" y="13"/>
                    <a:pt x="469" y="13"/>
                    <a:pt x="468" y="13"/>
                  </a:cubicBezTo>
                  <a:cubicBezTo>
                    <a:pt x="467" y="13"/>
                    <a:pt x="466" y="14"/>
                    <a:pt x="465" y="14"/>
                  </a:cubicBezTo>
                  <a:cubicBezTo>
                    <a:pt x="464" y="15"/>
                    <a:pt x="463" y="16"/>
                    <a:pt x="462" y="17"/>
                  </a:cubicBezTo>
                  <a:cubicBezTo>
                    <a:pt x="462" y="32"/>
                    <a:pt x="462" y="32"/>
                    <a:pt x="462" y="32"/>
                  </a:cubicBezTo>
                  <a:cubicBezTo>
                    <a:pt x="462" y="32"/>
                    <a:pt x="462" y="32"/>
                    <a:pt x="462" y="32"/>
                  </a:cubicBezTo>
                  <a:cubicBezTo>
                    <a:pt x="462" y="33"/>
                    <a:pt x="462" y="33"/>
                    <a:pt x="462" y="33"/>
                  </a:cubicBezTo>
                  <a:cubicBezTo>
                    <a:pt x="462" y="33"/>
                    <a:pt x="462" y="33"/>
                    <a:pt x="461" y="33"/>
                  </a:cubicBezTo>
                  <a:cubicBezTo>
                    <a:pt x="461" y="33"/>
                    <a:pt x="461" y="33"/>
                    <a:pt x="460" y="33"/>
                  </a:cubicBezTo>
                  <a:cubicBezTo>
                    <a:pt x="460" y="33"/>
                    <a:pt x="460" y="33"/>
                    <a:pt x="459" y="33"/>
                  </a:cubicBezTo>
                  <a:cubicBezTo>
                    <a:pt x="459" y="33"/>
                    <a:pt x="459" y="33"/>
                    <a:pt x="459" y="33"/>
                  </a:cubicBezTo>
                  <a:cubicBezTo>
                    <a:pt x="459" y="33"/>
                    <a:pt x="459" y="33"/>
                    <a:pt x="459" y="32"/>
                  </a:cubicBezTo>
                  <a:cubicBezTo>
                    <a:pt x="458" y="32"/>
                    <a:pt x="458" y="32"/>
                    <a:pt x="458" y="32"/>
                  </a:cubicBezTo>
                  <a:cubicBezTo>
                    <a:pt x="458" y="11"/>
                    <a:pt x="458" y="11"/>
                    <a:pt x="458" y="11"/>
                  </a:cubicBezTo>
                  <a:cubicBezTo>
                    <a:pt x="458" y="11"/>
                    <a:pt x="458" y="11"/>
                    <a:pt x="458" y="11"/>
                  </a:cubicBezTo>
                  <a:cubicBezTo>
                    <a:pt x="459" y="11"/>
                    <a:pt x="459" y="11"/>
                    <a:pt x="459" y="10"/>
                  </a:cubicBezTo>
                  <a:cubicBezTo>
                    <a:pt x="459" y="10"/>
                    <a:pt x="459" y="10"/>
                    <a:pt x="459" y="10"/>
                  </a:cubicBezTo>
                  <a:cubicBezTo>
                    <a:pt x="460" y="10"/>
                    <a:pt x="460" y="10"/>
                    <a:pt x="460" y="10"/>
                  </a:cubicBezTo>
                  <a:cubicBezTo>
                    <a:pt x="461" y="10"/>
                    <a:pt x="461" y="10"/>
                    <a:pt x="461" y="10"/>
                  </a:cubicBezTo>
                  <a:cubicBezTo>
                    <a:pt x="461" y="10"/>
                    <a:pt x="461" y="10"/>
                    <a:pt x="462" y="10"/>
                  </a:cubicBezTo>
                  <a:cubicBezTo>
                    <a:pt x="462" y="11"/>
                    <a:pt x="462" y="11"/>
                    <a:pt x="462" y="11"/>
                  </a:cubicBezTo>
                  <a:cubicBezTo>
                    <a:pt x="462" y="11"/>
                    <a:pt x="462" y="11"/>
                    <a:pt x="462" y="11"/>
                  </a:cubicBezTo>
                  <a:cubicBezTo>
                    <a:pt x="462" y="14"/>
                    <a:pt x="462" y="14"/>
                    <a:pt x="462" y="14"/>
                  </a:cubicBezTo>
                  <a:cubicBezTo>
                    <a:pt x="463" y="12"/>
                    <a:pt x="464" y="12"/>
                    <a:pt x="465" y="11"/>
                  </a:cubicBezTo>
                  <a:cubicBezTo>
                    <a:pt x="467" y="10"/>
                    <a:pt x="468" y="10"/>
                    <a:pt x="469" y="10"/>
                  </a:cubicBezTo>
                  <a:cubicBezTo>
                    <a:pt x="470" y="10"/>
                    <a:pt x="472" y="10"/>
                    <a:pt x="473" y="11"/>
                  </a:cubicBezTo>
                  <a:cubicBezTo>
                    <a:pt x="474" y="11"/>
                    <a:pt x="474" y="12"/>
                    <a:pt x="475" y="13"/>
                  </a:cubicBezTo>
                  <a:cubicBezTo>
                    <a:pt x="476" y="13"/>
                    <a:pt x="476" y="14"/>
                    <a:pt x="476" y="15"/>
                  </a:cubicBezTo>
                  <a:cubicBezTo>
                    <a:pt x="476" y="16"/>
                    <a:pt x="477" y="18"/>
                    <a:pt x="477" y="19"/>
                  </a:cubicBezTo>
                  <a:lnTo>
                    <a:pt x="477" y="32"/>
                  </a:lnTo>
                  <a:close/>
                  <a:moveTo>
                    <a:pt x="495" y="31"/>
                  </a:moveTo>
                  <a:cubicBezTo>
                    <a:pt x="495" y="31"/>
                    <a:pt x="495" y="31"/>
                    <a:pt x="495" y="32"/>
                  </a:cubicBezTo>
                  <a:cubicBezTo>
                    <a:pt x="495" y="32"/>
                    <a:pt x="494" y="32"/>
                    <a:pt x="494" y="32"/>
                  </a:cubicBezTo>
                  <a:cubicBezTo>
                    <a:pt x="494" y="32"/>
                    <a:pt x="494" y="32"/>
                    <a:pt x="494" y="33"/>
                  </a:cubicBezTo>
                  <a:cubicBezTo>
                    <a:pt x="493" y="33"/>
                    <a:pt x="493" y="33"/>
                    <a:pt x="493" y="33"/>
                  </a:cubicBezTo>
                  <a:cubicBezTo>
                    <a:pt x="493" y="33"/>
                    <a:pt x="492" y="33"/>
                    <a:pt x="492" y="33"/>
                  </a:cubicBezTo>
                  <a:cubicBezTo>
                    <a:pt x="491" y="33"/>
                    <a:pt x="491" y="33"/>
                    <a:pt x="491" y="33"/>
                  </a:cubicBezTo>
                  <a:cubicBezTo>
                    <a:pt x="490" y="33"/>
                    <a:pt x="489" y="33"/>
                    <a:pt x="488" y="33"/>
                  </a:cubicBezTo>
                  <a:cubicBezTo>
                    <a:pt x="487" y="32"/>
                    <a:pt x="487" y="32"/>
                    <a:pt x="486" y="31"/>
                  </a:cubicBezTo>
                  <a:cubicBezTo>
                    <a:pt x="486" y="31"/>
                    <a:pt x="485" y="30"/>
                    <a:pt x="485" y="29"/>
                  </a:cubicBezTo>
                  <a:cubicBezTo>
                    <a:pt x="485" y="28"/>
                    <a:pt x="485" y="27"/>
                    <a:pt x="485" y="26"/>
                  </a:cubicBezTo>
                  <a:cubicBezTo>
                    <a:pt x="485" y="14"/>
                    <a:pt x="485" y="14"/>
                    <a:pt x="485" y="14"/>
                  </a:cubicBezTo>
                  <a:cubicBezTo>
                    <a:pt x="482" y="14"/>
                    <a:pt x="482" y="14"/>
                    <a:pt x="482" y="14"/>
                  </a:cubicBezTo>
                  <a:cubicBezTo>
                    <a:pt x="481" y="14"/>
                    <a:pt x="481" y="14"/>
                    <a:pt x="481" y="13"/>
                  </a:cubicBezTo>
                  <a:cubicBezTo>
                    <a:pt x="481" y="13"/>
                    <a:pt x="481" y="13"/>
                    <a:pt x="481" y="12"/>
                  </a:cubicBezTo>
                  <a:cubicBezTo>
                    <a:pt x="481" y="12"/>
                    <a:pt x="481" y="11"/>
                    <a:pt x="481" y="11"/>
                  </a:cubicBezTo>
                  <a:cubicBezTo>
                    <a:pt x="481" y="11"/>
                    <a:pt x="481" y="11"/>
                    <a:pt x="481" y="11"/>
                  </a:cubicBezTo>
                  <a:cubicBezTo>
                    <a:pt x="481" y="11"/>
                    <a:pt x="481" y="11"/>
                    <a:pt x="481" y="11"/>
                  </a:cubicBezTo>
                  <a:cubicBezTo>
                    <a:pt x="481" y="10"/>
                    <a:pt x="482" y="10"/>
                    <a:pt x="482" y="10"/>
                  </a:cubicBezTo>
                  <a:cubicBezTo>
                    <a:pt x="485" y="10"/>
                    <a:pt x="485" y="10"/>
                    <a:pt x="485" y="10"/>
                  </a:cubicBezTo>
                  <a:cubicBezTo>
                    <a:pt x="485" y="5"/>
                    <a:pt x="485" y="5"/>
                    <a:pt x="485" y="5"/>
                  </a:cubicBezTo>
                  <a:cubicBezTo>
                    <a:pt x="485" y="5"/>
                    <a:pt x="485" y="5"/>
                    <a:pt x="485" y="5"/>
                  </a:cubicBezTo>
                  <a:cubicBezTo>
                    <a:pt x="485" y="5"/>
                    <a:pt x="485" y="5"/>
                    <a:pt x="485" y="5"/>
                  </a:cubicBezTo>
                  <a:cubicBezTo>
                    <a:pt x="485" y="5"/>
                    <a:pt x="485" y="5"/>
                    <a:pt x="486" y="5"/>
                  </a:cubicBezTo>
                  <a:cubicBezTo>
                    <a:pt x="486" y="5"/>
                    <a:pt x="486" y="5"/>
                    <a:pt x="487" y="5"/>
                  </a:cubicBezTo>
                  <a:cubicBezTo>
                    <a:pt x="487" y="5"/>
                    <a:pt x="487" y="5"/>
                    <a:pt x="487" y="5"/>
                  </a:cubicBezTo>
                  <a:cubicBezTo>
                    <a:pt x="488" y="5"/>
                    <a:pt x="488" y="5"/>
                    <a:pt x="488" y="5"/>
                  </a:cubicBezTo>
                  <a:cubicBezTo>
                    <a:pt x="488" y="5"/>
                    <a:pt x="488" y="5"/>
                    <a:pt x="488" y="5"/>
                  </a:cubicBezTo>
                  <a:cubicBezTo>
                    <a:pt x="488" y="5"/>
                    <a:pt x="488" y="5"/>
                    <a:pt x="488" y="5"/>
                  </a:cubicBezTo>
                  <a:cubicBezTo>
                    <a:pt x="488" y="10"/>
                    <a:pt x="488" y="10"/>
                    <a:pt x="488" y="10"/>
                  </a:cubicBezTo>
                  <a:cubicBezTo>
                    <a:pt x="494" y="10"/>
                    <a:pt x="494" y="10"/>
                    <a:pt x="494" y="10"/>
                  </a:cubicBezTo>
                  <a:cubicBezTo>
                    <a:pt x="494" y="10"/>
                    <a:pt x="494" y="10"/>
                    <a:pt x="494" y="11"/>
                  </a:cubicBezTo>
                  <a:cubicBezTo>
                    <a:pt x="494" y="11"/>
                    <a:pt x="494" y="11"/>
                    <a:pt x="494" y="11"/>
                  </a:cubicBezTo>
                  <a:cubicBezTo>
                    <a:pt x="495" y="11"/>
                    <a:pt x="495" y="11"/>
                    <a:pt x="495" y="11"/>
                  </a:cubicBezTo>
                  <a:cubicBezTo>
                    <a:pt x="495" y="11"/>
                    <a:pt x="495" y="12"/>
                    <a:pt x="495" y="12"/>
                  </a:cubicBezTo>
                  <a:cubicBezTo>
                    <a:pt x="495" y="13"/>
                    <a:pt x="495" y="13"/>
                    <a:pt x="494" y="13"/>
                  </a:cubicBezTo>
                  <a:cubicBezTo>
                    <a:pt x="494" y="14"/>
                    <a:pt x="494" y="14"/>
                    <a:pt x="494" y="14"/>
                  </a:cubicBezTo>
                  <a:cubicBezTo>
                    <a:pt x="488" y="14"/>
                    <a:pt x="488" y="14"/>
                    <a:pt x="488" y="14"/>
                  </a:cubicBezTo>
                  <a:cubicBezTo>
                    <a:pt x="488" y="25"/>
                    <a:pt x="488" y="25"/>
                    <a:pt x="488" y="25"/>
                  </a:cubicBezTo>
                  <a:cubicBezTo>
                    <a:pt x="488" y="27"/>
                    <a:pt x="489" y="28"/>
                    <a:pt x="489" y="29"/>
                  </a:cubicBezTo>
                  <a:cubicBezTo>
                    <a:pt x="490" y="29"/>
                    <a:pt x="490" y="30"/>
                    <a:pt x="491" y="30"/>
                  </a:cubicBezTo>
                  <a:cubicBezTo>
                    <a:pt x="492" y="30"/>
                    <a:pt x="492" y="30"/>
                    <a:pt x="492" y="30"/>
                  </a:cubicBezTo>
                  <a:cubicBezTo>
                    <a:pt x="493" y="30"/>
                    <a:pt x="493" y="30"/>
                    <a:pt x="493" y="29"/>
                  </a:cubicBezTo>
                  <a:cubicBezTo>
                    <a:pt x="493" y="29"/>
                    <a:pt x="494" y="29"/>
                    <a:pt x="494" y="29"/>
                  </a:cubicBezTo>
                  <a:cubicBezTo>
                    <a:pt x="494" y="29"/>
                    <a:pt x="494" y="29"/>
                    <a:pt x="494" y="29"/>
                  </a:cubicBezTo>
                  <a:cubicBezTo>
                    <a:pt x="494" y="29"/>
                    <a:pt x="494" y="29"/>
                    <a:pt x="494" y="29"/>
                  </a:cubicBezTo>
                  <a:cubicBezTo>
                    <a:pt x="494" y="29"/>
                    <a:pt x="494" y="29"/>
                    <a:pt x="495" y="29"/>
                  </a:cubicBezTo>
                  <a:cubicBezTo>
                    <a:pt x="495" y="30"/>
                    <a:pt x="495" y="30"/>
                    <a:pt x="495" y="30"/>
                  </a:cubicBezTo>
                  <a:cubicBezTo>
                    <a:pt x="495" y="30"/>
                    <a:pt x="495" y="30"/>
                    <a:pt x="495" y="31"/>
                  </a:cubicBezTo>
                  <a:close/>
                  <a:moveTo>
                    <a:pt x="496" y="33"/>
                  </a:moveTo>
                  <a:cubicBezTo>
                    <a:pt x="496" y="33"/>
                    <a:pt x="496" y="33"/>
                    <a:pt x="496" y="33"/>
                  </a:cubicBezTo>
                  <a:moveTo>
                    <a:pt x="507" y="2"/>
                  </a:moveTo>
                  <a:cubicBezTo>
                    <a:pt x="507" y="2"/>
                    <a:pt x="507" y="2"/>
                    <a:pt x="507" y="2"/>
                  </a:cubicBezTo>
                  <a:moveTo>
                    <a:pt x="510" y="25"/>
                  </a:moveTo>
                  <a:cubicBezTo>
                    <a:pt x="510" y="24"/>
                    <a:pt x="510" y="23"/>
                    <a:pt x="510" y="22"/>
                  </a:cubicBezTo>
                  <a:cubicBezTo>
                    <a:pt x="510" y="21"/>
                    <a:pt x="511" y="21"/>
                    <a:pt x="511" y="20"/>
                  </a:cubicBezTo>
                  <a:cubicBezTo>
                    <a:pt x="512" y="19"/>
                    <a:pt x="512" y="19"/>
                    <a:pt x="513" y="18"/>
                  </a:cubicBezTo>
                  <a:cubicBezTo>
                    <a:pt x="514" y="17"/>
                    <a:pt x="515" y="17"/>
                    <a:pt x="516" y="16"/>
                  </a:cubicBezTo>
                  <a:cubicBezTo>
                    <a:pt x="515" y="15"/>
                    <a:pt x="515" y="14"/>
                    <a:pt x="514" y="14"/>
                  </a:cubicBezTo>
                  <a:cubicBezTo>
                    <a:pt x="514" y="13"/>
                    <a:pt x="514" y="12"/>
                    <a:pt x="513" y="12"/>
                  </a:cubicBezTo>
                  <a:cubicBezTo>
                    <a:pt x="513" y="11"/>
                    <a:pt x="513" y="10"/>
                    <a:pt x="513" y="10"/>
                  </a:cubicBezTo>
                  <a:cubicBezTo>
                    <a:pt x="513" y="9"/>
                    <a:pt x="512" y="9"/>
                    <a:pt x="512" y="8"/>
                  </a:cubicBezTo>
                  <a:cubicBezTo>
                    <a:pt x="512" y="7"/>
                    <a:pt x="513" y="6"/>
                    <a:pt x="513" y="6"/>
                  </a:cubicBezTo>
                  <a:cubicBezTo>
                    <a:pt x="513" y="5"/>
                    <a:pt x="514" y="4"/>
                    <a:pt x="515" y="3"/>
                  </a:cubicBezTo>
                  <a:cubicBezTo>
                    <a:pt x="515" y="3"/>
                    <a:pt x="516" y="2"/>
                    <a:pt x="517" y="2"/>
                  </a:cubicBezTo>
                  <a:cubicBezTo>
                    <a:pt x="518" y="1"/>
                    <a:pt x="520" y="1"/>
                    <a:pt x="521" y="1"/>
                  </a:cubicBezTo>
                  <a:cubicBezTo>
                    <a:pt x="523" y="1"/>
                    <a:pt x="524" y="1"/>
                    <a:pt x="525" y="1"/>
                  </a:cubicBezTo>
                  <a:cubicBezTo>
                    <a:pt x="526" y="2"/>
                    <a:pt x="527" y="2"/>
                    <a:pt x="528" y="3"/>
                  </a:cubicBezTo>
                  <a:cubicBezTo>
                    <a:pt x="528" y="3"/>
                    <a:pt x="529" y="4"/>
                    <a:pt x="529" y="5"/>
                  </a:cubicBezTo>
                  <a:cubicBezTo>
                    <a:pt x="529" y="5"/>
                    <a:pt x="530" y="6"/>
                    <a:pt x="530" y="7"/>
                  </a:cubicBezTo>
                  <a:cubicBezTo>
                    <a:pt x="530" y="8"/>
                    <a:pt x="529" y="9"/>
                    <a:pt x="529" y="10"/>
                  </a:cubicBezTo>
                  <a:cubicBezTo>
                    <a:pt x="529" y="11"/>
                    <a:pt x="528" y="11"/>
                    <a:pt x="528" y="12"/>
                  </a:cubicBezTo>
                  <a:cubicBezTo>
                    <a:pt x="527" y="13"/>
                    <a:pt x="526" y="13"/>
                    <a:pt x="525" y="14"/>
                  </a:cubicBezTo>
                  <a:cubicBezTo>
                    <a:pt x="524" y="15"/>
                    <a:pt x="523" y="16"/>
                    <a:pt x="521" y="16"/>
                  </a:cubicBezTo>
                  <a:cubicBezTo>
                    <a:pt x="522" y="17"/>
                    <a:pt x="523" y="18"/>
                    <a:pt x="523" y="18"/>
                  </a:cubicBezTo>
                  <a:cubicBezTo>
                    <a:pt x="524" y="19"/>
                    <a:pt x="524" y="20"/>
                    <a:pt x="525" y="20"/>
                  </a:cubicBezTo>
                  <a:cubicBezTo>
                    <a:pt x="526" y="21"/>
                    <a:pt x="527" y="22"/>
                    <a:pt x="527" y="23"/>
                  </a:cubicBezTo>
                  <a:cubicBezTo>
                    <a:pt x="528" y="23"/>
                    <a:pt x="529" y="24"/>
                    <a:pt x="529" y="25"/>
                  </a:cubicBezTo>
                  <a:cubicBezTo>
                    <a:pt x="530" y="24"/>
                    <a:pt x="530" y="24"/>
                    <a:pt x="530" y="23"/>
                  </a:cubicBezTo>
                  <a:cubicBezTo>
                    <a:pt x="530" y="23"/>
                    <a:pt x="531" y="22"/>
                    <a:pt x="531" y="21"/>
                  </a:cubicBezTo>
                  <a:cubicBezTo>
                    <a:pt x="531" y="21"/>
                    <a:pt x="531" y="20"/>
                    <a:pt x="531" y="20"/>
                  </a:cubicBezTo>
                  <a:cubicBezTo>
                    <a:pt x="531" y="19"/>
                    <a:pt x="531" y="18"/>
                    <a:pt x="531" y="18"/>
                  </a:cubicBezTo>
                  <a:cubicBezTo>
                    <a:pt x="531" y="17"/>
                    <a:pt x="531" y="17"/>
                    <a:pt x="531" y="17"/>
                  </a:cubicBezTo>
                  <a:cubicBezTo>
                    <a:pt x="531" y="17"/>
                    <a:pt x="531" y="17"/>
                    <a:pt x="531" y="16"/>
                  </a:cubicBezTo>
                  <a:cubicBezTo>
                    <a:pt x="532" y="16"/>
                    <a:pt x="532" y="16"/>
                    <a:pt x="532" y="16"/>
                  </a:cubicBezTo>
                  <a:cubicBezTo>
                    <a:pt x="532" y="16"/>
                    <a:pt x="532" y="16"/>
                    <a:pt x="532" y="16"/>
                  </a:cubicBezTo>
                  <a:cubicBezTo>
                    <a:pt x="533" y="16"/>
                    <a:pt x="533" y="16"/>
                    <a:pt x="533" y="16"/>
                  </a:cubicBezTo>
                  <a:cubicBezTo>
                    <a:pt x="534" y="16"/>
                    <a:pt x="534" y="16"/>
                    <a:pt x="534" y="16"/>
                  </a:cubicBezTo>
                  <a:cubicBezTo>
                    <a:pt x="534" y="16"/>
                    <a:pt x="535" y="16"/>
                    <a:pt x="535" y="16"/>
                  </a:cubicBezTo>
                  <a:cubicBezTo>
                    <a:pt x="535" y="16"/>
                    <a:pt x="535" y="16"/>
                    <a:pt x="535" y="16"/>
                  </a:cubicBezTo>
                  <a:cubicBezTo>
                    <a:pt x="535" y="16"/>
                    <a:pt x="535" y="17"/>
                    <a:pt x="535" y="17"/>
                  </a:cubicBezTo>
                  <a:cubicBezTo>
                    <a:pt x="535" y="17"/>
                    <a:pt x="535" y="17"/>
                    <a:pt x="535" y="17"/>
                  </a:cubicBezTo>
                  <a:cubicBezTo>
                    <a:pt x="535" y="18"/>
                    <a:pt x="535" y="19"/>
                    <a:pt x="535" y="20"/>
                  </a:cubicBezTo>
                  <a:cubicBezTo>
                    <a:pt x="535" y="21"/>
                    <a:pt x="535" y="22"/>
                    <a:pt x="534" y="22"/>
                  </a:cubicBezTo>
                  <a:cubicBezTo>
                    <a:pt x="534" y="23"/>
                    <a:pt x="534" y="24"/>
                    <a:pt x="533" y="25"/>
                  </a:cubicBezTo>
                  <a:cubicBezTo>
                    <a:pt x="533" y="25"/>
                    <a:pt x="533" y="26"/>
                    <a:pt x="532" y="27"/>
                  </a:cubicBezTo>
                  <a:cubicBezTo>
                    <a:pt x="533" y="27"/>
                    <a:pt x="533" y="28"/>
                    <a:pt x="534" y="28"/>
                  </a:cubicBezTo>
                  <a:cubicBezTo>
                    <a:pt x="534" y="29"/>
                    <a:pt x="535" y="29"/>
                    <a:pt x="535" y="29"/>
                  </a:cubicBezTo>
                  <a:cubicBezTo>
                    <a:pt x="536" y="29"/>
                    <a:pt x="536" y="30"/>
                    <a:pt x="536" y="30"/>
                  </a:cubicBezTo>
                  <a:cubicBezTo>
                    <a:pt x="536" y="30"/>
                    <a:pt x="537" y="30"/>
                    <a:pt x="537" y="30"/>
                  </a:cubicBezTo>
                  <a:cubicBezTo>
                    <a:pt x="537" y="30"/>
                    <a:pt x="537" y="30"/>
                    <a:pt x="537" y="30"/>
                  </a:cubicBezTo>
                  <a:cubicBezTo>
                    <a:pt x="537" y="30"/>
                    <a:pt x="537" y="30"/>
                    <a:pt x="538" y="30"/>
                  </a:cubicBezTo>
                  <a:cubicBezTo>
                    <a:pt x="538" y="30"/>
                    <a:pt x="538" y="30"/>
                    <a:pt x="538" y="30"/>
                  </a:cubicBezTo>
                  <a:cubicBezTo>
                    <a:pt x="538" y="30"/>
                    <a:pt x="538" y="31"/>
                    <a:pt x="538" y="31"/>
                  </a:cubicBezTo>
                  <a:cubicBezTo>
                    <a:pt x="538" y="31"/>
                    <a:pt x="538" y="32"/>
                    <a:pt x="538" y="32"/>
                  </a:cubicBezTo>
                  <a:cubicBezTo>
                    <a:pt x="538" y="32"/>
                    <a:pt x="538" y="32"/>
                    <a:pt x="538" y="33"/>
                  </a:cubicBezTo>
                  <a:cubicBezTo>
                    <a:pt x="538" y="33"/>
                    <a:pt x="538" y="33"/>
                    <a:pt x="538" y="33"/>
                  </a:cubicBezTo>
                  <a:cubicBezTo>
                    <a:pt x="537" y="33"/>
                    <a:pt x="537" y="33"/>
                    <a:pt x="537" y="33"/>
                  </a:cubicBezTo>
                  <a:cubicBezTo>
                    <a:pt x="537" y="33"/>
                    <a:pt x="536" y="33"/>
                    <a:pt x="536" y="33"/>
                  </a:cubicBezTo>
                  <a:cubicBezTo>
                    <a:pt x="536" y="33"/>
                    <a:pt x="535" y="33"/>
                    <a:pt x="535" y="33"/>
                  </a:cubicBezTo>
                  <a:cubicBezTo>
                    <a:pt x="535" y="33"/>
                    <a:pt x="534" y="33"/>
                    <a:pt x="534" y="32"/>
                  </a:cubicBezTo>
                  <a:cubicBezTo>
                    <a:pt x="533" y="32"/>
                    <a:pt x="533" y="32"/>
                    <a:pt x="532" y="31"/>
                  </a:cubicBezTo>
                  <a:cubicBezTo>
                    <a:pt x="531" y="31"/>
                    <a:pt x="531" y="30"/>
                    <a:pt x="530" y="29"/>
                  </a:cubicBezTo>
                  <a:cubicBezTo>
                    <a:pt x="529" y="30"/>
                    <a:pt x="528" y="30"/>
                    <a:pt x="528" y="31"/>
                  </a:cubicBezTo>
                  <a:cubicBezTo>
                    <a:pt x="527" y="31"/>
                    <a:pt x="526" y="32"/>
                    <a:pt x="525" y="32"/>
                  </a:cubicBezTo>
                  <a:cubicBezTo>
                    <a:pt x="524" y="32"/>
                    <a:pt x="524" y="33"/>
                    <a:pt x="523" y="33"/>
                  </a:cubicBezTo>
                  <a:cubicBezTo>
                    <a:pt x="522" y="33"/>
                    <a:pt x="521" y="33"/>
                    <a:pt x="520" y="33"/>
                  </a:cubicBezTo>
                  <a:cubicBezTo>
                    <a:pt x="519" y="33"/>
                    <a:pt x="518" y="33"/>
                    <a:pt x="517" y="33"/>
                  </a:cubicBezTo>
                  <a:cubicBezTo>
                    <a:pt x="516" y="33"/>
                    <a:pt x="515" y="32"/>
                    <a:pt x="514" y="32"/>
                  </a:cubicBezTo>
                  <a:cubicBezTo>
                    <a:pt x="514" y="32"/>
                    <a:pt x="513" y="31"/>
                    <a:pt x="512" y="31"/>
                  </a:cubicBezTo>
                  <a:cubicBezTo>
                    <a:pt x="512" y="30"/>
                    <a:pt x="511" y="30"/>
                    <a:pt x="511" y="29"/>
                  </a:cubicBezTo>
                  <a:cubicBezTo>
                    <a:pt x="511" y="29"/>
                    <a:pt x="510" y="28"/>
                    <a:pt x="510" y="27"/>
                  </a:cubicBezTo>
                  <a:cubicBezTo>
                    <a:pt x="510" y="26"/>
                    <a:pt x="510" y="26"/>
                    <a:pt x="510" y="25"/>
                  </a:cubicBezTo>
                  <a:close/>
                  <a:moveTo>
                    <a:pt x="514" y="24"/>
                  </a:moveTo>
                  <a:cubicBezTo>
                    <a:pt x="514" y="25"/>
                    <a:pt x="514" y="26"/>
                    <a:pt x="514" y="27"/>
                  </a:cubicBezTo>
                  <a:cubicBezTo>
                    <a:pt x="515" y="27"/>
                    <a:pt x="515" y="28"/>
                    <a:pt x="515" y="28"/>
                  </a:cubicBezTo>
                  <a:cubicBezTo>
                    <a:pt x="516" y="29"/>
                    <a:pt x="517" y="29"/>
                    <a:pt x="517" y="29"/>
                  </a:cubicBezTo>
                  <a:cubicBezTo>
                    <a:pt x="518" y="30"/>
                    <a:pt x="519" y="30"/>
                    <a:pt x="520" y="30"/>
                  </a:cubicBezTo>
                  <a:cubicBezTo>
                    <a:pt x="521" y="30"/>
                    <a:pt x="521" y="30"/>
                    <a:pt x="522" y="30"/>
                  </a:cubicBezTo>
                  <a:cubicBezTo>
                    <a:pt x="523" y="30"/>
                    <a:pt x="523" y="29"/>
                    <a:pt x="524" y="29"/>
                  </a:cubicBezTo>
                  <a:cubicBezTo>
                    <a:pt x="524" y="29"/>
                    <a:pt x="525" y="29"/>
                    <a:pt x="525" y="28"/>
                  </a:cubicBezTo>
                  <a:cubicBezTo>
                    <a:pt x="526" y="28"/>
                    <a:pt x="526" y="28"/>
                    <a:pt x="527" y="27"/>
                  </a:cubicBezTo>
                  <a:cubicBezTo>
                    <a:pt x="526" y="27"/>
                    <a:pt x="525" y="26"/>
                    <a:pt x="524" y="25"/>
                  </a:cubicBezTo>
                  <a:cubicBezTo>
                    <a:pt x="524" y="24"/>
                    <a:pt x="523" y="24"/>
                    <a:pt x="522" y="23"/>
                  </a:cubicBezTo>
                  <a:cubicBezTo>
                    <a:pt x="521" y="22"/>
                    <a:pt x="521" y="21"/>
                    <a:pt x="520" y="21"/>
                  </a:cubicBezTo>
                  <a:cubicBezTo>
                    <a:pt x="519" y="20"/>
                    <a:pt x="519" y="19"/>
                    <a:pt x="518" y="18"/>
                  </a:cubicBezTo>
                  <a:cubicBezTo>
                    <a:pt x="517" y="19"/>
                    <a:pt x="517" y="19"/>
                    <a:pt x="516" y="20"/>
                  </a:cubicBezTo>
                  <a:cubicBezTo>
                    <a:pt x="515" y="20"/>
                    <a:pt x="515" y="21"/>
                    <a:pt x="515" y="21"/>
                  </a:cubicBezTo>
                  <a:cubicBezTo>
                    <a:pt x="514" y="22"/>
                    <a:pt x="514" y="22"/>
                    <a:pt x="514" y="23"/>
                  </a:cubicBezTo>
                  <a:cubicBezTo>
                    <a:pt x="514" y="23"/>
                    <a:pt x="514" y="24"/>
                    <a:pt x="514" y="24"/>
                  </a:cubicBezTo>
                  <a:close/>
                  <a:moveTo>
                    <a:pt x="517" y="8"/>
                  </a:moveTo>
                  <a:cubicBezTo>
                    <a:pt x="517" y="8"/>
                    <a:pt x="517" y="9"/>
                    <a:pt x="517" y="9"/>
                  </a:cubicBezTo>
                  <a:cubicBezTo>
                    <a:pt x="517" y="10"/>
                    <a:pt x="517" y="10"/>
                    <a:pt x="517" y="11"/>
                  </a:cubicBezTo>
                  <a:cubicBezTo>
                    <a:pt x="518" y="11"/>
                    <a:pt x="518" y="12"/>
                    <a:pt x="518" y="12"/>
                  </a:cubicBezTo>
                  <a:cubicBezTo>
                    <a:pt x="519" y="13"/>
                    <a:pt x="519" y="13"/>
                    <a:pt x="519" y="14"/>
                  </a:cubicBezTo>
                  <a:cubicBezTo>
                    <a:pt x="521" y="13"/>
                    <a:pt x="522" y="13"/>
                    <a:pt x="522" y="12"/>
                  </a:cubicBezTo>
                  <a:cubicBezTo>
                    <a:pt x="523" y="12"/>
                    <a:pt x="524" y="11"/>
                    <a:pt x="524" y="11"/>
                  </a:cubicBezTo>
                  <a:cubicBezTo>
                    <a:pt x="525" y="10"/>
                    <a:pt x="525" y="10"/>
                    <a:pt x="525" y="9"/>
                  </a:cubicBezTo>
                  <a:cubicBezTo>
                    <a:pt x="525" y="9"/>
                    <a:pt x="526" y="8"/>
                    <a:pt x="526" y="8"/>
                  </a:cubicBezTo>
                  <a:cubicBezTo>
                    <a:pt x="526" y="7"/>
                    <a:pt x="525" y="7"/>
                    <a:pt x="525" y="6"/>
                  </a:cubicBezTo>
                  <a:cubicBezTo>
                    <a:pt x="525" y="6"/>
                    <a:pt x="525" y="6"/>
                    <a:pt x="524" y="5"/>
                  </a:cubicBezTo>
                  <a:cubicBezTo>
                    <a:pt x="524" y="5"/>
                    <a:pt x="524" y="5"/>
                    <a:pt x="523" y="4"/>
                  </a:cubicBezTo>
                  <a:cubicBezTo>
                    <a:pt x="523" y="4"/>
                    <a:pt x="522" y="4"/>
                    <a:pt x="521" y="4"/>
                  </a:cubicBezTo>
                  <a:cubicBezTo>
                    <a:pt x="520" y="4"/>
                    <a:pt x="520" y="4"/>
                    <a:pt x="519" y="4"/>
                  </a:cubicBezTo>
                  <a:cubicBezTo>
                    <a:pt x="518" y="5"/>
                    <a:pt x="518" y="5"/>
                    <a:pt x="518" y="5"/>
                  </a:cubicBezTo>
                  <a:cubicBezTo>
                    <a:pt x="517" y="6"/>
                    <a:pt x="517" y="6"/>
                    <a:pt x="517" y="7"/>
                  </a:cubicBezTo>
                  <a:cubicBezTo>
                    <a:pt x="517" y="7"/>
                    <a:pt x="517" y="8"/>
                    <a:pt x="517" y="8"/>
                  </a:cubicBezTo>
                  <a:close/>
                  <a:moveTo>
                    <a:pt x="540" y="33"/>
                  </a:moveTo>
                  <a:cubicBezTo>
                    <a:pt x="540" y="33"/>
                    <a:pt x="540" y="33"/>
                    <a:pt x="540" y="33"/>
                  </a:cubicBezTo>
                  <a:moveTo>
                    <a:pt x="588" y="32"/>
                  </a:moveTo>
                  <a:cubicBezTo>
                    <a:pt x="588" y="32"/>
                    <a:pt x="588" y="32"/>
                    <a:pt x="588" y="32"/>
                  </a:cubicBezTo>
                  <a:cubicBezTo>
                    <a:pt x="588" y="33"/>
                    <a:pt x="588" y="33"/>
                    <a:pt x="587" y="33"/>
                  </a:cubicBezTo>
                  <a:cubicBezTo>
                    <a:pt x="587" y="33"/>
                    <a:pt x="587" y="33"/>
                    <a:pt x="587" y="33"/>
                  </a:cubicBezTo>
                  <a:cubicBezTo>
                    <a:pt x="587" y="33"/>
                    <a:pt x="586" y="33"/>
                    <a:pt x="586" y="33"/>
                  </a:cubicBezTo>
                  <a:cubicBezTo>
                    <a:pt x="585" y="33"/>
                    <a:pt x="585" y="33"/>
                    <a:pt x="585" y="33"/>
                  </a:cubicBezTo>
                  <a:cubicBezTo>
                    <a:pt x="585" y="33"/>
                    <a:pt x="584" y="33"/>
                    <a:pt x="584" y="33"/>
                  </a:cubicBezTo>
                  <a:cubicBezTo>
                    <a:pt x="584" y="33"/>
                    <a:pt x="584" y="33"/>
                    <a:pt x="584" y="32"/>
                  </a:cubicBezTo>
                  <a:cubicBezTo>
                    <a:pt x="584" y="32"/>
                    <a:pt x="584" y="32"/>
                    <a:pt x="584" y="32"/>
                  </a:cubicBezTo>
                  <a:cubicBezTo>
                    <a:pt x="584" y="6"/>
                    <a:pt x="584" y="6"/>
                    <a:pt x="584" y="6"/>
                  </a:cubicBezTo>
                  <a:cubicBezTo>
                    <a:pt x="584" y="6"/>
                    <a:pt x="584" y="6"/>
                    <a:pt x="584" y="6"/>
                  </a:cubicBezTo>
                  <a:cubicBezTo>
                    <a:pt x="573" y="32"/>
                    <a:pt x="573" y="32"/>
                    <a:pt x="573" y="32"/>
                  </a:cubicBezTo>
                  <a:cubicBezTo>
                    <a:pt x="573" y="32"/>
                    <a:pt x="573" y="32"/>
                    <a:pt x="573" y="32"/>
                  </a:cubicBezTo>
                  <a:cubicBezTo>
                    <a:pt x="573" y="33"/>
                    <a:pt x="573" y="33"/>
                    <a:pt x="572" y="33"/>
                  </a:cubicBezTo>
                  <a:cubicBezTo>
                    <a:pt x="572" y="33"/>
                    <a:pt x="572" y="33"/>
                    <a:pt x="572" y="33"/>
                  </a:cubicBezTo>
                  <a:cubicBezTo>
                    <a:pt x="572" y="33"/>
                    <a:pt x="571" y="33"/>
                    <a:pt x="571" y="33"/>
                  </a:cubicBezTo>
                  <a:cubicBezTo>
                    <a:pt x="571" y="33"/>
                    <a:pt x="570" y="33"/>
                    <a:pt x="570" y="33"/>
                  </a:cubicBezTo>
                  <a:cubicBezTo>
                    <a:pt x="570" y="33"/>
                    <a:pt x="570" y="33"/>
                    <a:pt x="570" y="33"/>
                  </a:cubicBezTo>
                  <a:cubicBezTo>
                    <a:pt x="570" y="33"/>
                    <a:pt x="569" y="33"/>
                    <a:pt x="569" y="32"/>
                  </a:cubicBezTo>
                  <a:cubicBezTo>
                    <a:pt x="569" y="32"/>
                    <a:pt x="569" y="32"/>
                    <a:pt x="569" y="32"/>
                  </a:cubicBezTo>
                  <a:cubicBezTo>
                    <a:pt x="559" y="6"/>
                    <a:pt x="559" y="6"/>
                    <a:pt x="559" y="6"/>
                  </a:cubicBezTo>
                  <a:cubicBezTo>
                    <a:pt x="559" y="6"/>
                    <a:pt x="559" y="6"/>
                    <a:pt x="559" y="6"/>
                  </a:cubicBezTo>
                  <a:cubicBezTo>
                    <a:pt x="559" y="32"/>
                    <a:pt x="559" y="32"/>
                    <a:pt x="559" y="32"/>
                  </a:cubicBezTo>
                  <a:cubicBezTo>
                    <a:pt x="559" y="32"/>
                    <a:pt x="559" y="32"/>
                    <a:pt x="559" y="32"/>
                  </a:cubicBezTo>
                  <a:cubicBezTo>
                    <a:pt x="559" y="33"/>
                    <a:pt x="559" y="33"/>
                    <a:pt x="558" y="33"/>
                  </a:cubicBezTo>
                  <a:cubicBezTo>
                    <a:pt x="558" y="33"/>
                    <a:pt x="558" y="33"/>
                    <a:pt x="558" y="33"/>
                  </a:cubicBezTo>
                  <a:cubicBezTo>
                    <a:pt x="558" y="33"/>
                    <a:pt x="557" y="33"/>
                    <a:pt x="557" y="33"/>
                  </a:cubicBezTo>
                  <a:cubicBezTo>
                    <a:pt x="556" y="33"/>
                    <a:pt x="556" y="33"/>
                    <a:pt x="556" y="33"/>
                  </a:cubicBezTo>
                  <a:cubicBezTo>
                    <a:pt x="556" y="33"/>
                    <a:pt x="555" y="33"/>
                    <a:pt x="555" y="33"/>
                  </a:cubicBezTo>
                  <a:cubicBezTo>
                    <a:pt x="555" y="33"/>
                    <a:pt x="555" y="33"/>
                    <a:pt x="555" y="32"/>
                  </a:cubicBezTo>
                  <a:cubicBezTo>
                    <a:pt x="555" y="32"/>
                    <a:pt x="555" y="32"/>
                    <a:pt x="555" y="32"/>
                  </a:cubicBezTo>
                  <a:cubicBezTo>
                    <a:pt x="555" y="4"/>
                    <a:pt x="555" y="4"/>
                    <a:pt x="555" y="4"/>
                  </a:cubicBezTo>
                  <a:cubicBezTo>
                    <a:pt x="555" y="4"/>
                    <a:pt x="555" y="3"/>
                    <a:pt x="555" y="3"/>
                  </a:cubicBezTo>
                  <a:cubicBezTo>
                    <a:pt x="556" y="3"/>
                    <a:pt x="556" y="2"/>
                    <a:pt x="557" y="2"/>
                  </a:cubicBezTo>
                  <a:cubicBezTo>
                    <a:pt x="559" y="2"/>
                    <a:pt x="559" y="2"/>
                    <a:pt x="559" y="2"/>
                  </a:cubicBezTo>
                  <a:cubicBezTo>
                    <a:pt x="560" y="2"/>
                    <a:pt x="560" y="2"/>
                    <a:pt x="560" y="3"/>
                  </a:cubicBezTo>
                  <a:cubicBezTo>
                    <a:pt x="561" y="3"/>
                    <a:pt x="561" y="3"/>
                    <a:pt x="561" y="3"/>
                  </a:cubicBezTo>
                  <a:cubicBezTo>
                    <a:pt x="562" y="3"/>
                    <a:pt x="562" y="3"/>
                    <a:pt x="562" y="4"/>
                  </a:cubicBezTo>
                  <a:cubicBezTo>
                    <a:pt x="562" y="4"/>
                    <a:pt x="562" y="4"/>
                    <a:pt x="563" y="5"/>
                  </a:cubicBezTo>
                  <a:cubicBezTo>
                    <a:pt x="571" y="27"/>
                    <a:pt x="571" y="27"/>
                    <a:pt x="571" y="27"/>
                  </a:cubicBezTo>
                  <a:cubicBezTo>
                    <a:pt x="571" y="27"/>
                    <a:pt x="571" y="27"/>
                    <a:pt x="571" y="27"/>
                  </a:cubicBezTo>
                  <a:cubicBezTo>
                    <a:pt x="580" y="5"/>
                    <a:pt x="580" y="5"/>
                    <a:pt x="580" y="5"/>
                  </a:cubicBezTo>
                  <a:cubicBezTo>
                    <a:pt x="581" y="4"/>
                    <a:pt x="581" y="4"/>
                    <a:pt x="581" y="4"/>
                  </a:cubicBezTo>
                  <a:cubicBezTo>
                    <a:pt x="581" y="3"/>
                    <a:pt x="581" y="3"/>
                    <a:pt x="582" y="3"/>
                  </a:cubicBezTo>
                  <a:cubicBezTo>
                    <a:pt x="582" y="3"/>
                    <a:pt x="582" y="3"/>
                    <a:pt x="582" y="3"/>
                  </a:cubicBezTo>
                  <a:cubicBezTo>
                    <a:pt x="583" y="2"/>
                    <a:pt x="583" y="2"/>
                    <a:pt x="583" y="2"/>
                  </a:cubicBezTo>
                  <a:cubicBezTo>
                    <a:pt x="586" y="2"/>
                    <a:pt x="586" y="2"/>
                    <a:pt x="586" y="2"/>
                  </a:cubicBezTo>
                  <a:cubicBezTo>
                    <a:pt x="586" y="2"/>
                    <a:pt x="587" y="2"/>
                    <a:pt x="587" y="2"/>
                  </a:cubicBezTo>
                  <a:cubicBezTo>
                    <a:pt x="587" y="3"/>
                    <a:pt x="587" y="3"/>
                    <a:pt x="587" y="3"/>
                  </a:cubicBezTo>
                  <a:cubicBezTo>
                    <a:pt x="587" y="3"/>
                    <a:pt x="588" y="3"/>
                    <a:pt x="588" y="3"/>
                  </a:cubicBezTo>
                  <a:cubicBezTo>
                    <a:pt x="588" y="4"/>
                    <a:pt x="588" y="4"/>
                    <a:pt x="588" y="4"/>
                  </a:cubicBezTo>
                  <a:lnTo>
                    <a:pt x="588" y="32"/>
                  </a:lnTo>
                  <a:close/>
                  <a:moveTo>
                    <a:pt x="611" y="32"/>
                  </a:moveTo>
                  <a:cubicBezTo>
                    <a:pt x="611" y="32"/>
                    <a:pt x="611" y="32"/>
                    <a:pt x="611" y="33"/>
                  </a:cubicBezTo>
                  <a:cubicBezTo>
                    <a:pt x="611" y="33"/>
                    <a:pt x="611" y="33"/>
                    <a:pt x="611" y="33"/>
                  </a:cubicBezTo>
                  <a:cubicBezTo>
                    <a:pt x="610" y="33"/>
                    <a:pt x="610" y="33"/>
                    <a:pt x="610" y="33"/>
                  </a:cubicBezTo>
                  <a:cubicBezTo>
                    <a:pt x="609" y="33"/>
                    <a:pt x="609" y="33"/>
                    <a:pt x="609" y="33"/>
                  </a:cubicBezTo>
                  <a:cubicBezTo>
                    <a:pt x="609" y="33"/>
                    <a:pt x="608" y="33"/>
                    <a:pt x="608" y="33"/>
                  </a:cubicBezTo>
                  <a:cubicBezTo>
                    <a:pt x="608" y="32"/>
                    <a:pt x="608" y="32"/>
                    <a:pt x="608" y="32"/>
                  </a:cubicBezTo>
                  <a:cubicBezTo>
                    <a:pt x="608" y="30"/>
                    <a:pt x="608" y="30"/>
                    <a:pt x="608" y="30"/>
                  </a:cubicBezTo>
                  <a:cubicBezTo>
                    <a:pt x="607" y="31"/>
                    <a:pt x="606" y="32"/>
                    <a:pt x="605" y="32"/>
                  </a:cubicBezTo>
                  <a:cubicBezTo>
                    <a:pt x="604" y="33"/>
                    <a:pt x="603" y="33"/>
                    <a:pt x="601" y="33"/>
                  </a:cubicBezTo>
                  <a:cubicBezTo>
                    <a:pt x="600" y="33"/>
                    <a:pt x="599" y="33"/>
                    <a:pt x="598" y="33"/>
                  </a:cubicBezTo>
                  <a:cubicBezTo>
                    <a:pt x="597" y="32"/>
                    <a:pt x="597" y="32"/>
                    <a:pt x="596" y="31"/>
                  </a:cubicBezTo>
                  <a:cubicBezTo>
                    <a:pt x="595" y="31"/>
                    <a:pt x="595" y="30"/>
                    <a:pt x="595" y="29"/>
                  </a:cubicBezTo>
                  <a:cubicBezTo>
                    <a:pt x="594" y="29"/>
                    <a:pt x="594" y="28"/>
                    <a:pt x="594" y="27"/>
                  </a:cubicBezTo>
                  <a:cubicBezTo>
                    <a:pt x="594" y="26"/>
                    <a:pt x="594" y="25"/>
                    <a:pt x="595" y="24"/>
                  </a:cubicBezTo>
                  <a:cubicBezTo>
                    <a:pt x="595" y="23"/>
                    <a:pt x="596" y="22"/>
                    <a:pt x="597" y="21"/>
                  </a:cubicBezTo>
                  <a:cubicBezTo>
                    <a:pt x="598" y="21"/>
                    <a:pt x="599" y="20"/>
                    <a:pt x="600" y="20"/>
                  </a:cubicBezTo>
                  <a:cubicBezTo>
                    <a:pt x="602" y="20"/>
                    <a:pt x="603" y="20"/>
                    <a:pt x="605" y="20"/>
                  </a:cubicBezTo>
                  <a:cubicBezTo>
                    <a:pt x="608" y="20"/>
                    <a:pt x="608" y="20"/>
                    <a:pt x="608" y="20"/>
                  </a:cubicBezTo>
                  <a:cubicBezTo>
                    <a:pt x="608" y="18"/>
                    <a:pt x="608" y="18"/>
                    <a:pt x="608" y="18"/>
                  </a:cubicBezTo>
                  <a:cubicBezTo>
                    <a:pt x="608" y="17"/>
                    <a:pt x="607" y="17"/>
                    <a:pt x="607" y="16"/>
                  </a:cubicBezTo>
                  <a:cubicBezTo>
                    <a:pt x="607" y="15"/>
                    <a:pt x="607" y="15"/>
                    <a:pt x="606" y="14"/>
                  </a:cubicBezTo>
                  <a:cubicBezTo>
                    <a:pt x="606" y="14"/>
                    <a:pt x="606" y="14"/>
                    <a:pt x="605" y="13"/>
                  </a:cubicBezTo>
                  <a:cubicBezTo>
                    <a:pt x="604" y="13"/>
                    <a:pt x="604" y="13"/>
                    <a:pt x="603" y="13"/>
                  </a:cubicBezTo>
                  <a:cubicBezTo>
                    <a:pt x="602" y="13"/>
                    <a:pt x="601" y="13"/>
                    <a:pt x="600" y="13"/>
                  </a:cubicBezTo>
                  <a:cubicBezTo>
                    <a:pt x="599" y="14"/>
                    <a:pt x="599" y="14"/>
                    <a:pt x="598" y="14"/>
                  </a:cubicBezTo>
                  <a:cubicBezTo>
                    <a:pt x="598" y="14"/>
                    <a:pt x="597" y="15"/>
                    <a:pt x="597" y="15"/>
                  </a:cubicBezTo>
                  <a:cubicBezTo>
                    <a:pt x="596" y="15"/>
                    <a:pt x="596" y="15"/>
                    <a:pt x="596" y="15"/>
                  </a:cubicBezTo>
                  <a:cubicBezTo>
                    <a:pt x="596" y="15"/>
                    <a:pt x="596" y="15"/>
                    <a:pt x="596" y="15"/>
                  </a:cubicBezTo>
                  <a:cubicBezTo>
                    <a:pt x="595" y="15"/>
                    <a:pt x="595" y="15"/>
                    <a:pt x="595" y="15"/>
                  </a:cubicBezTo>
                  <a:cubicBezTo>
                    <a:pt x="595" y="15"/>
                    <a:pt x="595" y="15"/>
                    <a:pt x="595" y="14"/>
                  </a:cubicBezTo>
                  <a:cubicBezTo>
                    <a:pt x="595" y="14"/>
                    <a:pt x="595" y="14"/>
                    <a:pt x="595" y="14"/>
                  </a:cubicBezTo>
                  <a:cubicBezTo>
                    <a:pt x="595" y="13"/>
                    <a:pt x="595" y="13"/>
                    <a:pt x="595" y="13"/>
                  </a:cubicBezTo>
                  <a:cubicBezTo>
                    <a:pt x="595" y="13"/>
                    <a:pt x="595" y="12"/>
                    <a:pt x="596" y="12"/>
                  </a:cubicBezTo>
                  <a:cubicBezTo>
                    <a:pt x="596" y="12"/>
                    <a:pt x="596" y="12"/>
                    <a:pt x="597" y="12"/>
                  </a:cubicBezTo>
                  <a:cubicBezTo>
                    <a:pt x="597" y="11"/>
                    <a:pt x="598" y="11"/>
                    <a:pt x="598" y="11"/>
                  </a:cubicBezTo>
                  <a:cubicBezTo>
                    <a:pt x="599" y="11"/>
                    <a:pt x="600" y="10"/>
                    <a:pt x="601" y="10"/>
                  </a:cubicBezTo>
                  <a:cubicBezTo>
                    <a:pt x="601" y="10"/>
                    <a:pt x="602" y="10"/>
                    <a:pt x="603" y="10"/>
                  </a:cubicBezTo>
                  <a:cubicBezTo>
                    <a:pt x="605" y="10"/>
                    <a:pt x="606" y="10"/>
                    <a:pt x="607" y="10"/>
                  </a:cubicBezTo>
                  <a:cubicBezTo>
                    <a:pt x="608" y="11"/>
                    <a:pt x="609" y="11"/>
                    <a:pt x="610" y="12"/>
                  </a:cubicBezTo>
                  <a:cubicBezTo>
                    <a:pt x="610" y="13"/>
                    <a:pt x="611" y="13"/>
                    <a:pt x="611" y="14"/>
                  </a:cubicBezTo>
                  <a:cubicBezTo>
                    <a:pt x="611" y="15"/>
                    <a:pt x="611" y="17"/>
                    <a:pt x="611" y="18"/>
                  </a:cubicBezTo>
                  <a:lnTo>
                    <a:pt x="611" y="32"/>
                  </a:lnTo>
                  <a:close/>
                  <a:moveTo>
                    <a:pt x="608" y="23"/>
                  </a:moveTo>
                  <a:cubicBezTo>
                    <a:pt x="604" y="23"/>
                    <a:pt x="604" y="23"/>
                    <a:pt x="604" y="23"/>
                  </a:cubicBezTo>
                  <a:cubicBezTo>
                    <a:pt x="603" y="23"/>
                    <a:pt x="602" y="23"/>
                    <a:pt x="601" y="23"/>
                  </a:cubicBezTo>
                  <a:cubicBezTo>
                    <a:pt x="601" y="23"/>
                    <a:pt x="600" y="23"/>
                    <a:pt x="600" y="24"/>
                  </a:cubicBezTo>
                  <a:cubicBezTo>
                    <a:pt x="599" y="24"/>
                    <a:pt x="599" y="24"/>
                    <a:pt x="598" y="25"/>
                  </a:cubicBezTo>
                  <a:cubicBezTo>
                    <a:pt x="598" y="25"/>
                    <a:pt x="598" y="26"/>
                    <a:pt x="598" y="27"/>
                  </a:cubicBezTo>
                  <a:cubicBezTo>
                    <a:pt x="598" y="28"/>
                    <a:pt x="598" y="29"/>
                    <a:pt x="599" y="29"/>
                  </a:cubicBezTo>
                  <a:cubicBezTo>
                    <a:pt x="600" y="30"/>
                    <a:pt x="601" y="30"/>
                    <a:pt x="602" y="30"/>
                  </a:cubicBezTo>
                  <a:cubicBezTo>
                    <a:pt x="603" y="30"/>
                    <a:pt x="604" y="30"/>
                    <a:pt x="605" y="29"/>
                  </a:cubicBezTo>
                  <a:cubicBezTo>
                    <a:pt x="606" y="29"/>
                    <a:pt x="607" y="28"/>
                    <a:pt x="608" y="27"/>
                  </a:cubicBezTo>
                  <a:lnTo>
                    <a:pt x="608" y="23"/>
                  </a:lnTo>
                  <a:close/>
                  <a:moveTo>
                    <a:pt x="623" y="4"/>
                  </a:moveTo>
                  <a:cubicBezTo>
                    <a:pt x="623" y="5"/>
                    <a:pt x="623" y="5"/>
                    <a:pt x="622" y="6"/>
                  </a:cubicBezTo>
                  <a:cubicBezTo>
                    <a:pt x="622" y="6"/>
                    <a:pt x="621" y="6"/>
                    <a:pt x="620" y="6"/>
                  </a:cubicBezTo>
                  <a:cubicBezTo>
                    <a:pt x="620" y="6"/>
                    <a:pt x="619" y="6"/>
                    <a:pt x="619" y="6"/>
                  </a:cubicBezTo>
                  <a:cubicBezTo>
                    <a:pt x="618" y="5"/>
                    <a:pt x="618" y="5"/>
                    <a:pt x="618" y="4"/>
                  </a:cubicBezTo>
                  <a:cubicBezTo>
                    <a:pt x="618" y="3"/>
                    <a:pt x="618" y="2"/>
                    <a:pt x="619" y="2"/>
                  </a:cubicBezTo>
                  <a:cubicBezTo>
                    <a:pt x="619" y="2"/>
                    <a:pt x="620" y="2"/>
                    <a:pt x="620" y="2"/>
                  </a:cubicBezTo>
                  <a:cubicBezTo>
                    <a:pt x="621" y="2"/>
                    <a:pt x="622" y="2"/>
                    <a:pt x="622" y="2"/>
                  </a:cubicBezTo>
                  <a:cubicBezTo>
                    <a:pt x="623" y="2"/>
                    <a:pt x="623" y="3"/>
                    <a:pt x="623" y="4"/>
                  </a:cubicBezTo>
                  <a:close/>
                  <a:moveTo>
                    <a:pt x="622" y="32"/>
                  </a:moveTo>
                  <a:cubicBezTo>
                    <a:pt x="622" y="32"/>
                    <a:pt x="622" y="32"/>
                    <a:pt x="622" y="32"/>
                  </a:cubicBezTo>
                  <a:cubicBezTo>
                    <a:pt x="622" y="33"/>
                    <a:pt x="622" y="33"/>
                    <a:pt x="622" y="33"/>
                  </a:cubicBezTo>
                  <a:cubicBezTo>
                    <a:pt x="622" y="33"/>
                    <a:pt x="622" y="33"/>
                    <a:pt x="621" y="33"/>
                  </a:cubicBezTo>
                  <a:cubicBezTo>
                    <a:pt x="621" y="33"/>
                    <a:pt x="621" y="33"/>
                    <a:pt x="620" y="33"/>
                  </a:cubicBezTo>
                  <a:cubicBezTo>
                    <a:pt x="620" y="33"/>
                    <a:pt x="620" y="33"/>
                    <a:pt x="620" y="33"/>
                  </a:cubicBezTo>
                  <a:cubicBezTo>
                    <a:pt x="619" y="33"/>
                    <a:pt x="619" y="33"/>
                    <a:pt x="619" y="33"/>
                  </a:cubicBezTo>
                  <a:cubicBezTo>
                    <a:pt x="619" y="33"/>
                    <a:pt x="619" y="33"/>
                    <a:pt x="619" y="32"/>
                  </a:cubicBezTo>
                  <a:cubicBezTo>
                    <a:pt x="619" y="32"/>
                    <a:pt x="619" y="32"/>
                    <a:pt x="619" y="32"/>
                  </a:cubicBezTo>
                  <a:cubicBezTo>
                    <a:pt x="619" y="11"/>
                    <a:pt x="619" y="11"/>
                    <a:pt x="619" y="11"/>
                  </a:cubicBezTo>
                  <a:cubicBezTo>
                    <a:pt x="619" y="11"/>
                    <a:pt x="619" y="11"/>
                    <a:pt x="619" y="11"/>
                  </a:cubicBezTo>
                  <a:cubicBezTo>
                    <a:pt x="619" y="11"/>
                    <a:pt x="619" y="11"/>
                    <a:pt x="619" y="10"/>
                  </a:cubicBezTo>
                  <a:cubicBezTo>
                    <a:pt x="619" y="10"/>
                    <a:pt x="619" y="10"/>
                    <a:pt x="620" y="10"/>
                  </a:cubicBezTo>
                  <a:cubicBezTo>
                    <a:pt x="620" y="10"/>
                    <a:pt x="620" y="10"/>
                    <a:pt x="620" y="10"/>
                  </a:cubicBezTo>
                  <a:cubicBezTo>
                    <a:pt x="621" y="10"/>
                    <a:pt x="621" y="10"/>
                    <a:pt x="621" y="10"/>
                  </a:cubicBezTo>
                  <a:cubicBezTo>
                    <a:pt x="622" y="10"/>
                    <a:pt x="622" y="10"/>
                    <a:pt x="622" y="10"/>
                  </a:cubicBezTo>
                  <a:cubicBezTo>
                    <a:pt x="622" y="11"/>
                    <a:pt x="622" y="11"/>
                    <a:pt x="622" y="11"/>
                  </a:cubicBezTo>
                  <a:cubicBezTo>
                    <a:pt x="622" y="11"/>
                    <a:pt x="622" y="11"/>
                    <a:pt x="622" y="11"/>
                  </a:cubicBezTo>
                  <a:lnTo>
                    <a:pt x="622" y="32"/>
                  </a:lnTo>
                  <a:close/>
                  <a:moveTo>
                    <a:pt x="648" y="32"/>
                  </a:moveTo>
                  <a:cubicBezTo>
                    <a:pt x="648" y="32"/>
                    <a:pt x="648" y="32"/>
                    <a:pt x="648" y="32"/>
                  </a:cubicBezTo>
                  <a:cubicBezTo>
                    <a:pt x="648" y="33"/>
                    <a:pt x="647" y="33"/>
                    <a:pt x="647" y="33"/>
                  </a:cubicBezTo>
                  <a:cubicBezTo>
                    <a:pt x="647" y="33"/>
                    <a:pt x="647" y="33"/>
                    <a:pt x="647" y="33"/>
                  </a:cubicBezTo>
                  <a:cubicBezTo>
                    <a:pt x="647" y="33"/>
                    <a:pt x="646" y="33"/>
                    <a:pt x="646" y="33"/>
                  </a:cubicBezTo>
                  <a:cubicBezTo>
                    <a:pt x="645" y="33"/>
                    <a:pt x="645" y="33"/>
                    <a:pt x="645" y="33"/>
                  </a:cubicBezTo>
                  <a:cubicBezTo>
                    <a:pt x="645" y="33"/>
                    <a:pt x="644" y="33"/>
                    <a:pt x="644" y="33"/>
                  </a:cubicBezTo>
                  <a:cubicBezTo>
                    <a:pt x="644" y="33"/>
                    <a:pt x="644" y="33"/>
                    <a:pt x="644" y="32"/>
                  </a:cubicBezTo>
                  <a:cubicBezTo>
                    <a:pt x="644" y="32"/>
                    <a:pt x="644" y="32"/>
                    <a:pt x="644" y="32"/>
                  </a:cubicBezTo>
                  <a:cubicBezTo>
                    <a:pt x="644" y="20"/>
                    <a:pt x="644" y="20"/>
                    <a:pt x="644" y="20"/>
                  </a:cubicBezTo>
                  <a:cubicBezTo>
                    <a:pt x="644" y="19"/>
                    <a:pt x="644" y="18"/>
                    <a:pt x="644" y="17"/>
                  </a:cubicBezTo>
                  <a:cubicBezTo>
                    <a:pt x="643" y="16"/>
                    <a:pt x="643" y="15"/>
                    <a:pt x="643" y="15"/>
                  </a:cubicBezTo>
                  <a:cubicBezTo>
                    <a:pt x="642" y="14"/>
                    <a:pt x="642" y="14"/>
                    <a:pt x="641" y="14"/>
                  </a:cubicBezTo>
                  <a:cubicBezTo>
                    <a:pt x="641" y="13"/>
                    <a:pt x="640" y="13"/>
                    <a:pt x="639" y="13"/>
                  </a:cubicBezTo>
                  <a:cubicBezTo>
                    <a:pt x="638" y="13"/>
                    <a:pt x="637" y="14"/>
                    <a:pt x="637" y="14"/>
                  </a:cubicBezTo>
                  <a:cubicBezTo>
                    <a:pt x="636" y="15"/>
                    <a:pt x="635" y="16"/>
                    <a:pt x="633" y="17"/>
                  </a:cubicBezTo>
                  <a:cubicBezTo>
                    <a:pt x="633" y="32"/>
                    <a:pt x="633" y="32"/>
                    <a:pt x="633" y="32"/>
                  </a:cubicBezTo>
                  <a:cubicBezTo>
                    <a:pt x="633" y="32"/>
                    <a:pt x="633" y="32"/>
                    <a:pt x="633" y="32"/>
                  </a:cubicBezTo>
                  <a:cubicBezTo>
                    <a:pt x="633" y="33"/>
                    <a:pt x="633" y="33"/>
                    <a:pt x="633" y="33"/>
                  </a:cubicBezTo>
                  <a:cubicBezTo>
                    <a:pt x="633" y="33"/>
                    <a:pt x="633" y="33"/>
                    <a:pt x="632" y="33"/>
                  </a:cubicBezTo>
                  <a:cubicBezTo>
                    <a:pt x="632" y="33"/>
                    <a:pt x="632" y="33"/>
                    <a:pt x="632" y="33"/>
                  </a:cubicBezTo>
                  <a:cubicBezTo>
                    <a:pt x="631" y="33"/>
                    <a:pt x="631" y="33"/>
                    <a:pt x="631" y="33"/>
                  </a:cubicBezTo>
                  <a:cubicBezTo>
                    <a:pt x="630" y="33"/>
                    <a:pt x="630" y="33"/>
                    <a:pt x="630" y="33"/>
                  </a:cubicBezTo>
                  <a:cubicBezTo>
                    <a:pt x="630" y="33"/>
                    <a:pt x="630" y="33"/>
                    <a:pt x="630" y="32"/>
                  </a:cubicBezTo>
                  <a:cubicBezTo>
                    <a:pt x="630" y="32"/>
                    <a:pt x="630" y="32"/>
                    <a:pt x="630" y="32"/>
                  </a:cubicBezTo>
                  <a:cubicBezTo>
                    <a:pt x="630" y="11"/>
                    <a:pt x="630" y="11"/>
                    <a:pt x="630" y="11"/>
                  </a:cubicBezTo>
                  <a:cubicBezTo>
                    <a:pt x="630" y="11"/>
                    <a:pt x="630" y="11"/>
                    <a:pt x="630" y="11"/>
                  </a:cubicBezTo>
                  <a:cubicBezTo>
                    <a:pt x="630" y="11"/>
                    <a:pt x="630" y="11"/>
                    <a:pt x="630" y="10"/>
                  </a:cubicBezTo>
                  <a:cubicBezTo>
                    <a:pt x="630" y="10"/>
                    <a:pt x="630" y="10"/>
                    <a:pt x="630" y="10"/>
                  </a:cubicBezTo>
                  <a:cubicBezTo>
                    <a:pt x="631" y="10"/>
                    <a:pt x="631" y="10"/>
                    <a:pt x="631" y="10"/>
                  </a:cubicBezTo>
                  <a:cubicBezTo>
                    <a:pt x="632" y="10"/>
                    <a:pt x="632" y="10"/>
                    <a:pt x="632" y="10"/>
                  </a:cubicBezTo>
                  <a:cubicBezTo>
                    <a:pt x="632" y="10"/>
                    <a:pt x="633" y="10"/>
                    <a:pt x="633" y="10"/>
                  </a:cubicBezTo>
                  <a:cubicBezTo>
                    <a:pt x="633" y="11"/>
                    <a:pt x="633" y="11"/>
                    <a:pt x="633" y="11"/>
                  </a:cubicBezTo>
                  <a:cubicBezTo>
                    <a:pt x="633" y="11"/>
                    <a:pt x="633" y="11"/>
                    <a:pt x="633" y="11"/>
                  </a:cubicBezTo>
                  <a:cubicBezTo>
                    <a:pt x="633" y="14"/>
                    <a:pt x="633" y="14"/>
                    <a:pt x="633" y="14"/>
                  </a:cubicBezTo>
                  <a:cubicBezTo>
                    <a:pt x="634" y="12"/>
                    <a:pt x="635" y="12"/>
                    <a:pt x="637" y="11"/>
                  </a:cubicBezTo>
                  <a:cubicBezTo>
                    <a:pt x="638" y="10"/>
                    <a:pt x="639" y="10"/>
                    <a:pt x="640" y="10"/>
                  </a:cubicBezTo>
                  <a:cubicBezTo>
                    <a:pt x="642" y="10"/>
                    <a:pt x="643" y="10"/>
                    <a:pt x="644" y="11"/>
                  </a:cubicBezTo>
                  <a:cubicBezTo>
                    <a:pt x="645" y="11"/>
                    <a:pt x="645" y="12"/>
                    <a:pt x="646" y="13"/>
                  </a:cubicBezTo>
                  <a:cubicBezTo>
                    <a:pt x="647" y="13"/>
                    <a:pt x="647" y="14"/>
                    <a:pt x="647" y="15"/>
                  </a:cubicBezTo>
                  <a:cubicBezTo>
                    <a:pt x="648" y="16"/>
                    <a:pt x="648" y="18"/>
                    <a:pt x="648" y="19"/>
                  </a:cubicBezTo>
                  <a:lnTo>
                    <a:pt x="648" y="32"/>
                  </a:lnTo>
                  <a:close/>
                  <a:moveTo>
                    <a:pt x="666" y="31"/>
                  </a:moveTo>
                  <a:cubicBezTo>
                    <a:pt x="666" y="31"/>
                    <a:pt x="666" y="31"/>
                    <a:pt x="666" y="32"/>
                  </a:cubicBezTo>
                  <a:cubicBezTo>
                    <a:pt x="666" y="32"/>
                    <a:pt x="666" y="32"/>
                    <a:pt x="665" y="32"/>
                  </a:cubicBezTo>
                  <a:cubicBezTo>
                    <a:pt x="665" y="32"/>
                    <a:pt x="665" y="32"/>
                    <a:pt x="665" y="33"/>
                  </a:cubicBezTo>
                  <a:cubicBezTo>
                    <a:pt x="665" y="33"/>
                    <a:pt x="664" y="33"/>
                    <a:pt x="664" y="33"/>
                  </a:cubicBezTo>
                  <a:cubicBezTo>
                    <a:pt x="664" y="33"/>
                    <a:pt x="663" y="33"/>
                    <a:pt x="663" y="33"/>
                  </a:cubicBezTo>
                  <a:cubicBezTo>
                    <a:pt x="663" y="33"/>
                    <a:pt x="662" y="33"/>
                    <a:pt x="662" y="33"/>
                  </a:cubicBezTo>
                  <a:cubicBezTo>
                    <a:pt x="661" y="33"/>
                    <a:pt x="660" y="33"/>
                    <a:pt x="659" y="33"/>
                  </a:cubicBezTo>
                  <a:cubicBezTo>
                    <a:pt x="658" y="32"/>
                    <a:pt x="658" y="32"/>
                    <a:pt x="657" y="31"/>
                  </a:cubicBezTo>
                  <a:cubicBezTo>
                    <a:pt x="657" y="31"/>
                    <a:pt x="656" y="30"/>
                    <a:pt x="656" y="29"/>
                  </a:cubicBezTo>
                  <a:cubicBezTo>
                    <a:pt x="656" y="28"/>
                    <a:pt x="656" y="27"/>
                    <a:pt x="656" y="26"/>
                  </a:cubicBezTo>
                  <a:cubicBezTo>
                    <a:pt x="656" y="14"/>
                    <a:pt x="656" y="14"/>
                    <a:pt x="656" y="14"/>
                  </a:cubicBezTo>
                  <a:cubicBezTo>
                    <a:pt x="653" y="14"/>
                    <a:pt x="653" y="14"/>
                    <a:pt x="653" y="14"/>
                  </a:cubicBezTo>
                  <a:cubicBezTo>
                    <a:pt x="653" y="14"/>
                    <a:pt x="652" y="14"/>
                    <a:pt x="652" y="13"/>
                  </a:cubicBezTo>
                  <a:cubicBezTo>
                    <a:pt x="652" y="13"/>
                    <a:pt x="652" y="13"/>
                    <a:pt x="652" y="12"/>
                  </a:cubicBezTo>
                  <a:cubicBezTo>
                    <a:pt x="652" y="12"/>
                    <a:pt x="652" y="11"/>
                    <a:pt x="652" y="11"/>
                  </a:cubicBezTo>
                  <a:cubicBezTo>
                    <a:pt x="652" y="11"/>
                    <a:pt x="652" y="11"/>
                    <a:pt x="652" y="11"/>
                  </a:cubicBezTo>
                  <a:cubicBezTo>
                    <a:pt x="652" y="11"/>
                    <a:pt x="652" y="11"/>
                    <a:pt x="653" y="11"/>
                  </a:cubicBezTo>
                  <a:cubicBezTo>
                    <a:pt x="653" y="10"/>
                    <a:pt x="653" y="10"/>
                    <a:pt x="653" y="10"/>
                  </a:cubicBezTo>
                  <a:cubicBezTo>
                    <a:pt x="656" y="10"/>
                    <a:pt x="656" y="10"/>
                    <a:pt x="656" y="10"/>
                  </a:cubicBezTo>
                  <a:cubicBezTo>
                    <a:pt x="656" y="5"/>
                    <a:pt x="656" y="5"/>
                    <a:pt x="656" y="5"/>
                  </a:cubicBezTo>
                  <a:cubicBezTo>
                    <a:pt x="656" y="5"/>
                    <a:pt x="656" y="5"/>
                    <a:pt x="656" y="5"/>
                  </a:cubicBezTo>
                  <a:cubicBezTo>
                    <a:pt x="656" y="5"/>
                    <a:pt x="656" y="5"/>
                    <a:pt x="656" y="5"/>
                  </a:cubicBezTo>
                  <a:cubicBezTo>
                    <a:pt x="656" y="5"/>
                    <a:pt x="657" y="5"/>
                    <a:pt x="657" y="5"/>
                  </a:cubicBezTo>
                  <a:cubicBezTo>
                    <a:pt x="657" y="5"/>
                    <a:pt x="657" y="5"/>
                    <a:pt x="658" y="5"/>
                  </a:cubicBezTo>
                  <a:cubicBezTo>
                    <a:pt x="658" y="5"/>
                    <a:pt x="658" y="5"/>
                    <a:pt x="659" y="5"/>
                  </a:cubicBezTo>
                  <a:cubicBezTo>
                    <a:pt x="659" y="5"/>
                    <a:pt x="659" y="5"/>
                    <a:pt x="659" y="5"/>
                  </a:cubicBezTo>
                  <a:cubicBezTo>
                    <a:pt x="659" y="5"/>
                    <a:pt x="659" y="5"/>
                    <a:pt x="660" y="5"/>
                  </a:cubicBezTo>
                  <a:cubicBezTo>
                    <a:pt x="660" y="5"/>
                    <a:pt x="660" y="5"/>
                    <a:pt x="660" y="5"/>
                  </a:cubicBezTo>
                  <a:cubicBezTo>
                    <a:pt x="660" y="10"/>
                    <a:pt x="660" y="10"/>
                    <a:pt x="660" y="10"/>
                  </a:cubicBezTo>
                  <a:cubicBezTo>
                    <a:pt x="665" y="10"/>
                    <a:pt x="665" y="10"/>
                    <a:pt x="665" y="10"/>
                  </a:cubicBezTo>
                  <a:cubicBezTo>
                    <a:pt x="665" y="10"/>
                    <a:pt x="665" y="10"/>
                    <a:pt x="665" y="11"/>
                  </a:cubicBezTo>
                  <a:cubicBezTo>
                    <a:pt x="665" y="11"/>
                    <a:pt x="666" y="11"/>
                    <a:pt x="666" y="11"/>
                  </a:cubicBezTo>
                  <a:cubicBezTo>
                    <a:pt x="666" y="11"/>
                    <a:pt x="666" y="11"/>
                    <a:pt x="666" y="11"/>
                  </a:cubicBezTo>
                  <a:cubicBezTo>
                    <a:pt x="666" y="11"/>
                    <a:pt x="666" y="12"/>
                    <a:pt x="666" y="12"/>
                  </a:cubicBezTo>
                  <a:cubicBezTo>
                    <a:pt x="666" y="13"/>
                    <a:pt x="666" y="13"/>
                    <a:pt x="666" y="13"/>
                  </a:cubicBezTo>
                  <a:cubicBezTo>
                    <a:pt x="665" y="14"/>
                    <a:pt x="665" y="14"/>
                    <a:pt x="665" y="14"/>
                  </a:cubicBezTo>
                  <a:cubicBezTo>
                    <a:pt x="660" y="14"/>
                    <a:pt x="660" y="14"/>
                    <a:pt x="660" y="14"/>
                  </a:cubicBezTo>
                  <a:cubicBezTo>
                    <a:pt x="660" y="25"/>
                    <a:pt x="660" y="25"/>
                    <a:pt x="660" y="25"/>
                  </a:cubicBezTo>
                  <a:cubicBezTo>
                    <a:pt x="660" y="27"/>
                    <a:pt x="660" y="28"/>
                    <a:pt x="660" y="29"/>
                  </a:cubicBezTo>
                  <a:cubicBezTo>
                    <a:pt x="661" y="29"/>
                    <a:pt x="661" y="30"/>
                    <a:pt x="663" y="30"/>
                  </a:cubicBezTo>
                  <a:cubicBezTo>
                    <a:pt x="663" y="30"/>
                    <a:pt x="663" y="30"/>
                    <a:pt x="664" y="30"/>
                  </a:cubicBezTo>
                  <a:cubicBezTo>
                    <a:pt x="664" y="30"/>
                    <a:pt x="664" y="30"/>
                    <a:pt x="664" y="29"/>
                  </a:cubicBezTo>
                  <a:cubicBezTo>
                    <a:pt x="665" y="29"/>
                    <a:pt x="665" y="29"/>
                    <a:pt x="665" y="29"/>
                  </a:cubicBezTo>
                  <a:cubicBezTo>
                    <a:pt x="665" y="29"/>
                    <a:pt x="665" y="29"/>
                    <a:pt x="665" y="29"/>
                  </a:cubicBezTo>
                  <a:cubicBezTo>
                    <a:pt x="665" y="29"/>
                    <a:pt x="665" y="29"/>
                    <a:pt x="666" y="29"/>
                  </a:cubicBezTo>
                  <a:cubicBezTo>
                    <a:pt x="666" y="29"/>
                    <a:pt x="666" y="29"/>
                    <a:pt x="666" y="29"/>
                  </a:cubicBezTo>
                  <a:cubicBezTo>
                    <a:pt x="666" y="30"/>
                    <a:pt x="666" y="30"/>
                    <a:pt x="666" y="30"/>
                  </a:cubicBezTo>
                  <a:cubicBezTo>
                    <a:pt x="666" y="30"/>
                    <a:pt x="666" y="30"/>
                    <a:pt x="666" y="31"/>
                  </a:cubicBezTo>
                  <a:close/>
                  <a:moveTo>
                    <a:pt x="689" y="21"/>
                  </a:moveTo>
                  <a:cubicBezTo>
                    <a:pt x="689" y="21"/>
                    <a:pt x="689" y="22"/>
                    <a:pt x="689" y="22"/>
                  </a:cubicBezTo>
                  <a:cubicBezTo>
                    <a:pt x="688" y="22"/>
                    <a:pt x="688" y="22"/>
                    <a:pt x="687" y="22"/>
                  </a:cubicBezTo>
                  <a:cubicBezTo>
                    <a:pt x="674" y="22"/>
                    <a:pt x="674" y="22"/>
                    <a:pt x="674" y="22"/>
                  </a:cubicBezTo>
                  <a:cubicBezTo>
                    <a:pt x="674" y="24"/>
                    <a:pt x="674" y="25"/>
                    <a:pt x="674" y="26"/>
                  </a:cubicBezTo>
                  <a:cubicBezTo>
                    <a:pt x="674" y="26"/>
                    <a:pt x="675" y="27"/>
                    <a:pt x="675" y="28"/>
                  </a:cubicBezTo>
                  <a:cubicBezTo>
                    <a:pt x="676" y="29"/>
                    <a:pt x="676" y="29"/>
                    <a:pt x="677" y="29"/>
                  </a:cubicBezTo>
                  <a:cubicBezTo>
                    <a:pt x="678" y="30"/>
                    <a:pt x="679" y="30"/>
                    <a:pt x="680" y="30"/>
                  </a:cubicBezTo>
                  <a:cubicBezTo>
                    <a:pt x="681" y="30"/>
                    <a:pt x="682" y="30"/>
                    <a:pt x="683" y="30"/>
                  </a:cubicBezTo>
                  <a:cubicBezTo>
                    <a:pt x="684" y="30"/>
                    <a:pt x="685" y="29"/>
                    <a:pt x="685" y="29"/>
                  </a:cubicBezTo>
                  <a:cubicBezTo>
                    <a:pt x="686" y="29"/>
                    <a:pt x="686" y="29"/>
                    <a:pt x="687" y="29"/>
                  </a:cubicBezTo>
                  <a:cubicBezTo>
                    <a:pt x="687" y="29"/>
                    <a:pt x="687" y="28"/>
                    <a:pt x="687" y="28"/>
                  </a:cubicBezTo>
                  <a:cubicBezTo>
                    <a:pt x="688" y="28"/>
                    <a:pt x="688" y="28"/>
                    <a:pt x="688" y="29"/>
                  </a:cubicBezTo>
                  <a:cubicBezTo>
                    <a:pt x="688" y="29"/>
                    <a:pt x="688" y="29"/>
                    <a:pt x="688" y="29"/>
                  </a:cubicBezTo>
                  <a:cubicBezTo>
                    <a:pt x="688" y="29"/>
                    <a:pt x="688" y="29"/>
                    <a:pt x="688" y="29"/>
                  </a:cubicBezTo>
                  <a:cubicBezTo>
                    <a:pt x="688" y="29"/>
                    <a:pt x="688" y="30"/>
                    <a:pt x="688" y="30"/>
                  </a:cubicBezTo>
                  <a:cubicBezTo>
                    <a:pt x="688" y="30"/>
                    <a:pt x="688" y="30"/>
                    <a:pt x="688" y="30"/>
                  </a:cubicBezTo>
                  <a:cubicBezTo>
                    <a:pt x="688" y="31"/>
                    <a:pt x="688" y="31"/>
                    <a:pt x="688" y="31"/>
                  </a:cubicBezTo>
                  <a:cubicBezTo>
                    <a:pt x="688" y="31"/>
                    <a:pt x="688" y="31"/>
                    <a:pt x="688" y="31"/>
                  </a:cubicBezTo>
                  <a:cubicBezTo>
                    <a:pt x="688" y="31"/>
                    <a:pt x="688" y="31"/>
                    <a:pt x="688" y="31"/>
                  </a:cubicBezTo>
                  <a:cubicBezTo>
                    <a:pt x="688" y="32"/>
                    <a:pt x="687" y="32"/>
                    <a:pt x="687" y="32"/>
                  </a:cubicBezTo>
                  <a:cubicBezTo>
                    <a:pt x="687" y="32"/>
                    <a:pt x="686" y="32"/>
                    <a:pt x="685" y="32"/>
                  </a:cubicBezTo>
                  <a:cubicBezTo>
                    <a:pt x="685" y="33"/>
                    <a:pt x="684" y="33"/>
                    <a:pt x="683" y="33"/>
                  </a:cubicBezTo>
                  <a:cubicBezTo>
                    <a:pt x="682" y="33"/>
                    <a:pt x="681" y="33"/>
                    <a:pt x="680" y="33"/>
                  </a:cubicBezTo>
                  <a:cubicBezTo>
                    <a:pt x="678" y="33"/>
                    <a:pt x="677" y="33"/>
                    <a:pt x="676" y="32"/>
                  </a:cubicBezTo>
                  <a:cubicBezTo>
                    <a:pt x="674" y="32"/>
                    <a:pt x="673" y="31"/>
                    <a:pt x="672" y="30"/>
                  </a:cubicBezTo>
                  <a:cubicBezTo>
                    <a:pt x="671" y="29"/>
                    <a:pt x="671" y="28"/>
                    <a:pt x="670" y="27"/>
                  </a:cubicBezTo>
                  <a:cubicBezTo>
                    <a:pt x="670" y="25"/>
                    <a:pt x="670" y="24"/>
                    <a:pt x="670" y="22"/>
                  </a:cubicBezTo>
                  <a:cubicBezTo>
                    <a:pt x="670" y="20"/>
                    <a:pt x="670" y="18"/>
                    <a:pt x="670" y="17"/>
                  </a:cubicBezTo>
                  <a:cubicBezTo>
                    <a:pt x="671" y="15"/>
                    <a:pt x="671" y="14"/>
                    <a:pt x="672" y="13"/>
                  </a:cubicBezTo>
                  <a:cubicBezTo>
                    <a:pt x="673" y="12"/>
                    <a:pt x="674" y="11"/>
                    <a:pt x="676" y="11"/>
                  </a:cubicBezTo>
                  <a:cubicBezTo>
                    <a:pt x="677" y="10"/>
                    <a:pt x="678" y="10"/>
                    <a:pt x="680" y="10"/>
                  </a:cubicBezTo>
                  <a:cubicBezTo>
                    <a:pt x="681" y="10"/>
                    <a:pt x="683" y="10"/>
                    <a:pt x="684" y="11"/>
                  </a:cubicBezTo>
                  <a:cubicBezTo>
                    <a:pt x="685" y="11"/>
                    <a:pt x="686" y="12"/>
                    <a:pt x="687" y="13"/>
                  </a:cubicBezTo>
                  <a:cubicBezTo>
                    <a:pt x="688" y="14"/>
                    <a:pt x="688" y="15"/>
                    <a:pt x="688" y="16"/>
                  </a:cubicBezTo>
                  <a:cubicBezTo>
                    <a:pt x="689" y="17"/>
                    <a:pt x="689" y="19"/>
                    <a:pt x="689" y="20"/>
                  </a:cubicBezTo>
                  <a:lnTo>
                    <a:pt x="689" y="21"/>
                  </a:lnTo>
                  <a:close/>
                  <a:moveTo>
                    <a:pt x="685" y="20"/>
                  </a:moveTo>
                  <a:cubicBezTo>
                    <a:pt x="685" y="17"/>
                    <a:pt x="685" y="16"/>
                    <a:pt x="684" y="15"/>
                  </a:cubicBezTo>
                  <a:cubicBezTo>
                    <a:pt x="683" y="14"/>
                    <a:pt x="681" y="13"/>
                    <a:pt x="680" y="13"/>
                  </a:cubicBezTo>
                  <a:cubicBezTo>
                    <a:pt x="679" y="13"/>
                    <a:pt x="678" y="13"/>
                    <a:pt x="677" y="14"/>
                  </a:cubicBezTo>
                  <a:cubicBezTo>
                    <a:pt x="676" y="14"/>
                    <a:pt x="676" y="14"/>
                    <a:pt x="675" y="15"/>
                  </a:cubicBezTo>
                  <a:cubicBezTo>
                    <a:pt x="675" y="16"/>
                    <a:pt x="674" y="16"/>
                    <a:pt x="674" y="17"/>
                  </a:cubicBezTo>
                  <a:cubicBezTo>
                    <a:pt x="674" y="18"/>
                    <a:pt x="674" y="19"/>
                    <a:pt x="674" y="20"/>
                  </a:cubicBezTo>
                  <a:lnTo>
                    <a:pt x="685" y="20"/>
                  </a:lnTo>
                  <a:close/>
                  <a:moveTo>
                    <a:pt x="713" y="32"/>
                  </a:moveTo>
                  <a:cubicBezTo>
                    <a:pt x="713" y="32"/>
                    <a:pt x="713" y="32"/>
                    <a:pt x="713" y="32"/>
                  </a:cubicBezTo>
                  <a:cubicBezTo>
                    <a:pt x="713" y="33"/>
                    <a:pt x="713" y="33"/>
                    <a:pt x="713" y="33"/>
                  </a:cubicBezTo>
                  <a:cubicBezTo>
                    <a:pt x="713" y="33"/>
                    <a:pt x="712" y="33"/>
                    <a:pt x="712" y="33"/>
                  </a:cubicBezTo>
                  <a:cubicBezTo>
                    <a:pt x="712" y="33"/>
                    <a:pt x="712" y="33"/>
                    <a:pt x="711" y="33"/>
                  </a:cubicBezTo>
                  <a:cubicBezTo>
                    <a:pt x="711" y="33"/>
                    <a:pt x="710" y="33"/>
                    <a:pt x="710" y="33"/>
                  </a:cubicBezTo>
                  <a:cubicBezTo>
                    <a:pt x="710" y="33"/>
                    <a:pt x="710" y="33"/>
                    <a:pt x="710" y="33"/>
                  </a:cubicBezTo>
                  <a:cubicBezTo>
                    <a:pt x="709" y="33"/>
                    <a:pt x="709" y="33"/>
                    <a:pt x="709" y="32"/>
                  </a:cubicBezTo>
                  <a:cubicBezTo>
                    <a:pt x="709" y="32"/>
                    <a:pt x="709" y="32"/>
                    <a:pt x="709" y="32"/>
                  </a:cubicBezTo>
                  <a:cubicBezTo>
                    <a:pt x="709" y="20"/>
                    <a:pt x="709" y="20"/>
                    <a:pt x="709" y="20"/>
                  </a:cubicBezTo>
                  <a:cubicBezTo>
                    <a:pt x="709" y="19"/>
                    <a:pt x="709" y="18"/>
                    <a:pt x="709" y="17"/>
                  </a:cubicBezTo>
                  <a:cubicBezTo>
                    <a:pt x="709" y="16"/>
                    <a:pt x="708" y="15"/>
                    <a:pt x="708" y="15"/>
                  </a:cubicBezTo>
                  <a:cubicBezTo>
                    <a:pt x="708" y="14"/>
                    <a:pt x="707" y="14"/>
                    <a:pt x="707" y="14"/>
                  </a:cubicBezTo>
                  <a:cubicBezTo>
                    <a:pt x="706" y="13"/>
                    <a:pt x="705" y="13"/>
                    <a:pt x="705" y="13"/>
                  </a:cubicBezTo>
                  <a:cubicBezTo>
                    <a:pt x="704" y="13"/>
                    <a:pt x="703" y="14"/>
                    <a:pt x="702" y="14"/>
                  </a:cubicBezTo>
                  <a:cubicBezTo>
                    <a:pt x="701" y="15"/>
                    <a:pt x="700" y="16"/>
                    <a:pt x="699" y="17"/>
                  </a:cubicBezTo>
                  <a:cubicBezTo>
                    <a:pt x="699" y="32"/>
                    <a:pt x="699" y="32"/>
                    <a:pt x="699" y="32"/>
                  </a:cubicBezTo>
                  <a:cubicBezTo>
                    <a:pt x="699" y="32"/>
                    <a:pt x="699" y="32"/>
                    <a:pt x="699" y="32"/>
                  </a:cubicBezTo>
                  <a:cubicBezTo>
                    <a:pt x="699" y="33"/>
                    <a:pt x="699" y="33"/>
                    <a:pt x="698" y="33"/>
                  </a:cubicBezTo>
                  <a:cubicBezTo>
                    <a:pt x="698" y="33"/>
                    <a:pt x="698" y="33"/>
                    <a:pt x="698" y="33"/>
                  </a:cubicBezTo>
                  <a:cubicBezTo>
                    <a:pt x="698" y="33"/>
                    <a:pt x="697" y="33"/>
                    <a:pt x="697" y="33"/>
                  </a:cubicBezTo>
                  <a:cubicBezTo>
                    <a:pt x="696" y="33"/>
                    <a:pt x="696" y="33"/>
                    <a:pt x="696" y="33"/>
                  </a:cubicBezTo>
                  <a:cubicBezTo>
                    <a:pt x="696" y="33"/>
                    <a:pt x="695" y="33"/>
                    <a:pt x="695" y="33"/>
                  </a:cubicBezTo>
                  <a:cubicBezTo>
                    <a:pt x="695" y="33"/>
                    <a:pt x="695" y="33"/>
                    <a:pt x="695" y="32"/>
                  </a:cubicBezTo>
                  <a:cubicBezTo>
                    <a:pt x="695" y="32"/>
                    <a:pt x="695" y="32"/>
                    <a:pt x="695" y="32"/>
                  </a:cubicBezTo>
                  <a:cubicBezTo>
                    <a:pt x="695" y="11"/>
                    <a:pt x="695" y="11"/>
                    <a:pt x="695" y="11"/>
                  </a:cubicBezTo>
                  <a:cubicBezTo>
                    <a:pt x="695" y="11"/>
                    <a:pt x="695" y="11"/>
                    <a:pt x="695" y="11"/>
                  </a:cubicBezTo>
                  <a:cubicBezTo>
                    <a:pt x="695" y="11"/>
                    <a:pt x="695" y="11"/>
                    <a:pt x="695" y="10"/>
                  </a:cubicBezTo>
                  <a:cubicBezTo>
                    <a:pt x="695" y="10"/>
                    <a:pt x="696" y="10"/>
                    <a:pt x="696" y="10"/>
                  </a:cubicBezTo>
                  <a:cubicBezTo>
                    <a:pt x="696" y="10"/>
                    <a:pt x="696" y="10"/>
                    <a:pt x="697" y="10"/>
                  </a:cubicBezTo>
                  <a:cubicBezTo>
                    <a:pt x="697" y="10"/>
                    <a:pt x="697" y="10"/>
                    <a:pt x="698" y="10"/>
                  </a:cubicBezTo>
                  <a:cubicBezTo>
                    <a:pt x="698" y="10"/>
                    <a:pt x="698" y="10"/>
                    <a:pt x="698" y="10"/>
                  </a:cubicBezTo>
                  <a:cubicBezTo>
                    <a:pt x="698" y="11"/>
                    <a:pt x="698" y="11"/>
                    <a:pt x="698" y="11"/>
                  </a:cubicBezTo>
                  <a:cubicBezTo>
                    <a:pt x="698" y="11"/>
                    <a:pt x="698" y="11"/>
                    <a:pt x="698" y="11"/>
                  </a:cubicBezTo>
                  <a:cubicBezTo>
                    <a:pt x="698" y="14"/>
                    <a:pt x="698" y="14"/>
                    <a:pt x="698" y="14"/>
                  </a:cubicBezTo>
                  <a:cubicBezTo>
                    <a:pt x="700" y="12"/>
                    <a:pt x="701" y="12"/>
                    <a:pt x="702" y="11"/>
                  </a:cubicBezTo>
                  <a:cubicBezTo>
                    <a:pt x="703" y="10"/>
                    <a:pt x="704" y="10"/>
                    <a:pt x="706" y="10"/>
                  </a:cubicBezTo>
                  <a:cubicBezTo>
                    <a:pt x="707" y="10"/>
                    <a:pt x="708" y="10"/>
                    <a:pt x="709" y="11"/>
                  </a:cubicBezTo>
                  <a:cubicBezTo>
                    <a:pt x="710" y="11"/>
                    <a:pt x="711" y="12"/>
                    <a:pt x="711" y="13"/>
                  </a:cubicBezTo>
                  <a:cubicBezTo>
                    <a:pt x="712" y="13"/>
                    <a:pt x="712" y="14"/>
                    <a:pt x="713" y="15"/>
                  </a:cubicBezTo>
                  <a:cubicBezTo>
                    <a:pt x="713" y="16"/>
                    <a:pt x="713" y="18"/>
                    <a:pt x="713" y="19"/>
                  </a:cubicBezTo>
                  <a:lnTo>
                    <a:pt x="713" y="32"/>
                  </a:lnTo>
                  <a:close/>
                  <a:moveTo>
                    <a:pt x="736" y="32"/>
                  </a:moveTo>
                  <a:cubicBezTo>
                    <a:pt x="736" y="32"/>
                    <a:pt x="736" y="32"/>
                    <a:pt x="736" y="33"/>
                  </a:cubicBezTo>
                  <a:cubicBezTo>
                    <a:pt x="736" y="33"/>
                    <a:pt x="736" y="33"/>
                    <a:pt x="735" y="33"/>
                  </a:cubicBezTo>
                  <a:cubicBezTo>
                    <a:pt x="735" y="33"/>
                    <a:pt x="735" y="33"/>
                    <a:pt x="734" y="33"/>
                  </a:cubicBezTo>
                  <a:cubicBezTo>
                    <a:pt x="734" y="33"/>
                    <a:pt x="734" y="33"/>
                    <a:pt x="733" y="33"/>
                  </a:cubicBezTo>
                  <a:cubicBezTo>
                    <a:pt x="733" y="33"/>
                    <a:pt x="733" y="33"/>
                    <a:pt x="733" y="33"/>
                  </a:cubicBezTo>
                  <a:cubicBezTo>
                    <a:pt x="733" y="32"/>
                    <a:pt x="733" y="32"/>
                    <a:pt x="733" y="32"/>
                  </a:cubicBezTo>
                  <a:cubicBezTo>
                    <a:pt x="733" y="30"/>
                    <a:pt x="733" y="30"/>
                    <a:pt x="733" y="30"/>
                  </a:cubicBezTo>
                  <a:cubicBezTo>
                    <a:pt x="732" y="31"/>
                    <a:pt x="731" y="32"/>
                    <a:pt x="730" y="32"/>
                  </a:cubicBezTo>
                  <a:cubicBezTo>
                    <a:pt x="729" y="33"/>
                    <a:pt x="727" y="33"/>
                    <a:pt x="726" y="33"/>
                  </a:cubicBezTo>
                  <a:cubicBezTo>
                    <a:pt x="725" y="33"/>
                    <a:pt x="724" y="33"/>
                    <a:pt x="723" y="33"/>
                  </a:cubicBezTo>
                  <a:cubicBezTo>
                    <a:pt x="722" y="32"/>
                    <a:pt x="721" y="32"/>
                    <a:pt x="721" y="31"/>
                  </a:cubicBezTo>
                  <a:cubicBezTo>
                    <a:pt x="720" y="31"/>
                    <a:pt x="720" y="30"/>
                    <a:pt x="719" y="29"/>
                  </a:cubicBezTo>
                  <a:cubicBezTo>
                    <a:pt x="719" y="29"/>
                    <a:pt x="719" y="28"/>
                    <a:pt x="719" y="27"/>
                  </a:cubicBezTo>
                  <a:cubicBezTo>
                    <a:pt x="719" y="26"/>
                    <a:pt x="719" y="25"/>
                    <a:pt x="719" y="24"/>
                  </a:cubicBezTo>
                  <a:cubicBezTo>
                    <a:pt x="720" y="23"/>
                    <a:pt x="721" y="22"/>
                    <a:pt x="722" y="21"/>
                  </a:cubicBezTo>
                  <a:cubicBezTo>
                    <a:pt x="722" y="21"/>
                    <a:pt x="724" y="20"/>
                    <a:pt x="725" y="20"/>
                  </a:cubicBezTo>
                  <a:cubicBezTo>
                    <a:pt x="726" y="20"/>
                    <a:pt x="728" y="20"/>
                    <a:pt x="729" y="20"/>
                  </a:cubicBezTo>
                  <a:cubicBezTo>
                    <a:pt x="732" y="20"/>
                    <a:pt x="732" y="20"/>
                    <a:pt x="732" y="20"/>
                  </a:cubicBezTo>
                  <a:cubicBezTo>
                    <a:pt x="732" y="18"/>
                    <a:pt x="732" y="18"/>
                    <a:pt x="732" y="18"/>
                  </a:cubicBezTo>
                  <a:cubicBezTo>
                    <a:pt x="732" y="17"/>
                    <a:pt x="732" y="17"/>
                    <a:pt x="732" y="16"/>
                  </a:cubicBezTo>
                  <a:cubicBezTo>
                    <a:pt x="732" y="15"/>
                    <a:pt x="732" y="15"/>
                    <a:pt x="731" y="14"/>
                  </a:cubicBezTo>
                  <a:cubicBezTo>
                    <a:pt x="731" y="14"/>
                    <a:pt x="730" y="14"/>
                    <a:pt x="730" y="13"/>
                  </a:cubicBezTo>
                  <a:cubicBezTo>
                    <a:pt x="729" y="13"/>
                    <a:pt x="728" y="13"/>
                    <a:pt x="727" y="13"/>
                  </a:cubicBezTo>
                  <a:cubicBezTo>
                    <a:pt x="726" y="13"/>
                    <a:pt x="726" y="13"/>
                    <a:pt x="725" y="13"/>
                  </a:cubicBezTo>
                  <a:cubicBezTo>
                    <a:pt x="724" y="14"/>
                    <a:pt x="723" y="14"/>
                    <a:pt x="723" y="14"/>
                  </a:cubicBezTo>
                  <a:cubicBezTo>
                    <a:pt x="722" y="14"/>
                    <a:pt x="722" y="15"/>
                    <a:pt x="721" y="15"/>
                  </a:cubicBezTo>
                  <a:cubicBezTo>
                    <a:pt x="721" y="15"/>
                    <a:pt x="721" y="15"/>
                    <a:pt x="721" y="15"/>
                  </a:cubicBezTo>
                  <a:cubicBezTo>
                    <a:pt x="720" y="15"/>
                    <a:pt x="720" y="15"/>
                    <a:pt x="720" y="15"/>
                  </a:cubicBezTo>
                  <a:cubicBezTo>
                    <a:pt x="720" y="15"/>
                    <a:pt x="720" y="15"/>
                    <a:pt x="720" y="15"/>
                  </a:cubicBezTo>
                  <a:cubicBezTo>
                    <a:pt x="720" y="15"/>
                    <a:pt x="720" y="15"/>
                    <a:pt x="720" y="14"/>
                  </a:cubicBezTo>
                  <a:cubicBezTo>
                    <a:pt x="720" y="14"/>
                    <a:pt x="720" y="14"/>
                    <a:pt x="720" y="14"/>
                  </a:cubicBezTo>
                  <a:cubicBezTo>
                    <a:pt x="720" y="13"/>
                    <a:pt x="720" y="13"/>
                    <a:pt x="720" y="13"/>
                  </a:cubicBezTo>
                  <a:cubicBezTo>
                    <a:pt x="720" y="13"/>
                    <a:pt x="720" y="12"/>
                    <a:pt x="720" y="12"/>
                  </a:cubicBezTo>
                  <a:cubicBezTo>
                    <a:pt x="720" y="12"/>
                    <a:pt x="721" y="12"/>
                    <a:pt x="721" y="12"/>
                  </a:cubicBezTo>
                  <a:cubicBezTo>
                    <a:pt x="722" y="11"/>
                    <a:pt x="722" y="11"/>
                    <a:pt x="723" y="11"/>
                  </a:cubicBezTo>
                  <a:cubicBezTo>
                    <a:pt x="724" y="11"/>
                    <a:pt x="725" y="10"/>
                    <a:pt x="725" y="10"/>
                  </a:cubicBezTo>
                  <a:cubicBezTo>
                    <a:pt x="726" y="10"/>
                    <a:pt x="727" y="10"/>
                    <a:pt x="728" y="10"/>
                  </a:cubicBezTo>
                  <a:cubicBezTo>
                    <a:pt x="729" y="10"/>
                    <a:pt x="731" y="10"/>
                    <a:pt x="732" y="10"/>
                  </a:cubicBezTo>
                  <a:cubicBezTo>
                    <a:pt x="733" y="11"/>
                    <a:pt x="734" y="11"/>
                    <a:pt x="734" y="12"/>
                  </a:cubicBezTo>
                  <a:cubicBezTo>
                    <a:pt x="735" y="13"/>
                    <a:pt x="735" y="13"/>
                    <a:pt x="736" y="14"/>
                  </a:cubicBezTo>
                  <a:cubicBezTo>
                    <a:pt x="736" y="15"/>
                    <a:pt x="736" y="17"/>
                    <a:pt x="736" y="18"/>
                  </a:cubicBezTo>
                  <a:lnTo>
                    <a:pt x="736" y="32"/>
                  </a:lnTo>
                  <a:close/>
                  <a:moveTo>
                    <a:pt x="732" y="23"/>
                  </a:moveTo>
                  <a:cubicBezTo>
                    <a:pt x="729" y="23"/>
                    <a:pt x="729" y="23"/>
                    <a:pt x="729" y="23"/>
                  </a:cubicBezTo>
                  <a:cubicBezTo>
                    <a:pt x="728" y="23"/>
                    <a:pt x="727" y="23"/>
                    <a:pt x="726" y="23"/>
                  </a:cubicBezTo>
                  <a:cubicBezTo>
                    <a:pt x="725" y="23"/>
                    <a:pt x="725" y="23"/>
                    <a:pt x="724" y="24"/>
                  </a:cubicBezTo>
                  <a:cubicBezTo>
                    <a:pt x="724" y="24"/>
                    <a:pt x="723" y="24"/>
                    <a:pt x="723" y="25"/>
                  </a:cubicBezTo>
                  <a:cubicBezTo>
                    <a:pt x="723" y="25"/>
                    <a:pt x="723" y="26"/>
                    <a:pt x="723" y="27"/>
                  </a:cubicBezTo>
                  <a:cubicBezTo>
                    <a:pt x="723" y="28"/>
                    <a:pt x="723" y="29"/>
                    <a:pt x="724" y="29"/>
                  </a:cubicBezTo>
                  <a:cubicBezTo>
                    <a:pt x="724" y="30"/>
                    <a:pt x="725" y="30"/>
                    <a:pt x="727" y="30"/>
                  </a:cubicBezTo>
                  <a:cubicBezTo>
                    <a:pt x="728" y="30"/>
                    <a:pt x="729" y="30"/>
                    <a:pt x="729" y="29"/>
                  </a:cubicBezTo>
                  <a:cubicBezTo>
                    <a:pt x="730" y="29"/>
                    <a:pt x="731" y="28"/>
                    <a:pt x="732" y="27"/>
                  </a:cubicBezTo>
                  <a:lnTo>
                    <a:pt x="732" y="23"/>
                  </a:lnTo>
                  <a:close/>
                  <a:moveTo>
                    <a:pt x="761" y="32"/>
                  </a:moveTo>
                  <a:cubicBezTo>
                    <a:pt x="761" y="32"/>
                    <a:pt x="761" y="32"/>
                    <a:pt x="761" y="32"/>
                  </a:cubicBezTo>
                  <a:cubicBezTo>
                    <a:pt x="761" y="33"/>
                    <a:pt x="761" y="33"/>
                    <a:pt x="761" y="33"/>
                  </a:cubicBezTo>
                  <a:cubicBezTo>
                    <a:pt x="761" y="33"/>
                    <a:pt x="761" y="33"/>
                    <a:pt x="760" y="33"/>
                  </a:cubicBezTo>
                  <a:cubicBezTo>
                    <a:pt x="760" y="33"/>
                    <a:pt x="760" y="33"/>
                    <a:pt x="759" y="33"/>
                  </a:cubicBezTo>
                  <a:cubicBezTo>
                    <a:pt x="759" y="33"/>
                    <a:pt x="759" y="33"/>
                    <a:pt x="759" y="33"/>
                  </a:cubicBezTo>
                  <a:cubicBezTo>
                    <a:pt x="758" y="33"/>
                    <a:pt x="758" y="33"/>
                    <a:pt x="758" y="33"/>
                  </a:cubicBezTo>
                  <a:cubicBezTo>
                    <a:pt x="758" y="33"/>
                    <a:pt x="758" y="33"/>
                    <a:pt x="758" y="32"/>
                  </a:cubicBezTo>
                  <a:cubicBezTo>
                    <a:pt x="758" y="32"/>
                    <a:pt x="758" y="32"/>
                    <a:pt x="758" y="32"/>
                  </a:cubicBezTo>
                  <a:cubicBezTo>
                    <a:pt x="758" y="20"/>
                    <a:pt x="758" y="20"/>
                    <a:pt x="758" y="20"/>
                  </a:cubicBezTo>
                  <a:cubicBezTo>
                    <a:pt x="758" y="19"/>
                    <a:pt x="757" y="18"/>
                    <a:pt x="757" y="17"/>
                  </a:cubicBezTo>
                  <a:cubicBezTo>
                    <a:pt x="757" y="16"/>
                    <a:pt x="757" y="15"/>
                    <a:pt x="756" y="15"/>
                  </a:cubicBezTo>
                  <a:cubicBezTo>
                    <a:pt x="756" y="14"/>
                    <a:pt x="756" y="14"/>
                    <a:pt x="755" y="14"/>
                  </a:cubicBezTo>
                  <a:cubicBezTo>
                    <a:pt x="754" y="13"/>
                    <a:pt x="754" y="13"/>
                    <a:pt x="753" y="13"/>
                  </a:cubicBezTo>
                  <a:cubicBezTo>
                    <a:pt x="752" y="13"/>
                    <a:pt x="751" y="14"/>
                    <a:pt x="750" y="14"/>
                  </a:cubicBezTo>
                  <a:cubicBezTo>
                    <a:pt x="749" y="15"/>
                    <a:pt x="748" y="16"/>
                    <a:pt x="747" y="17"/>
                  </a:cubicBezTo>
                  <a:cubicBezTo>
                    <a:pt x="747" y="32"/>
                    <a:pt x="747" y="32"/>
                    <a:pt x="747" y="32"/>
                  </a:cubicBezTo>
                  <a:cubicBezTo>
                    <a:pt x="747" y="32"/>
                    <a:pt x="747" y="32"/>
                    <a:pt x="747" y="32"/>
                  </a:cubicBezTo>
                  <a:cubicBezTo>
                    <a:pt x="747" y="33"/>
                    <a:pt x="747" y="33"/>
                    <a:pt x="747" y="33"/>
                  </a:cubicBezTo>
                  <a:cubicBezTo>
                    <a:pt x="747" y="33"/>
                    <a:pt x="746" y="33"/>
                    <a:pt x="746" y="33"/>
                  </a:cubicBezTo>
                  <a:cubicBezTo>
                    <a:pt x="746" y="33"/>
                    <a:pt x="746" y="33"/>
                    <a:pt x="745" y="33"/>
                  </a:cubicBezTo>
                  <a:cubicBezTo>
                    <a:pt x="745" y="33"/>
                    <a:pt x="744" y="33"/>
                    <a:pt x="744" y="33"/>
                  </a:cubicBezTo>
                  <a:cubicBezTo>
                    <a:pt x="744" y="33"/>
                    <a:pt x="744" y="33"/>
                    <a:pt x="744" y="33"/>
                  </a:cubicBezTo>
                  <a:cubicBezTo>
                    <a:pt x="743" y="33"/>
                    <a:pt x="743" y="33"/>
                    <a:pt x="743" y="32"/>
                  </a:cubicBezTo>
                  <a:cubicBezTo>
                    <a:pt x="743" y="32"/>
                    <a:pt x="743" y="32"/>
                    <a:pt x="743" y="32"/>
                  </a:cubicBezTo>
                  <a:cubicBezTo>
                    <a:pt x="743" y="11"/>
                    <a:pt x="743" y="11"/>
                    <a:pt x="743" y="11"/>
                  </a:cubicBezTo>
                  <a:cubicBezTo>
                    <a:pt x="743" y="11"/>
                    <a:pt x="743" y="11"/>
                    <a:pt x="743" y="11"/>
                  </a:cubicBezTo>
                  <a:cubicBezTo>
                    <a:pt x="743" y="11"/>
                    <a:pt x="743" y="11"/>
                    <a:pt x="744" y="10"/>
                  </a:cubicBezTo>
                  <a:cubicBezTo>
                    <a:pt x="744" y="10"/>
                    <a:pt x="744" y="10"/>
                    <a:pt x="744" y="10"/>
                  </a:cubicBezTo>
                  <a:cubicBezTo>
                    <a:pt x="744" y="10"/>
                    <a:pt x="745" y="10"/>
                    <a:pt x="745" y="10"/>
                  </a:cubicBezTo>
                  <a:cubicBezTo>
                    <a:pt x="745" y="10"/>
                    <a:pt x="746" y="10"/>
                    <a:pt x="746" y="10"/>
                  </a:cubicBezTo>
                  <a:cubicBezTo>
                    <a:pt x="746" y="10"/>
                    <a:pt x="746" y="10"/>
                    <a:pt x="746" y="10"/>
                  </a:cubicBezTo>
                  <a:cubicBezTo>
                    <a:pt x="746" y="11"/>
                    <a:pt x="747" y="11"/>
                    <a:pt x="747" y="11"/>
                  </a:cubicBezTo>
                  <a:cubicBezTo>
                    <a:pt x="747" y="11"/>
                    <a:pt x="747" y="11"/>
                    <a:pt x="747" y="11"/>
                  </a:cubicBezTo>
                  <a:cubicBezTo>
                    <a:pt x="747" y="14"/>
                    <a:pt x="747" y="14"/>
                    <a:pt x="747" y="14"/>
                  </a:cubicBezTo>
                  <a:cubicBezTo>
                    <a:pt x="748" y="12"/>
                    <a:pt x="749" y="12"/>
                    <a:pt x="750" y="11"/>
                  </a:cubicBezTo>
                  <a:cubicBezTo>
                    <a:pt x="751" y="10"/>
                    <a:pt x="753" y="10"/>
                    <a:pt x="754" y="10"/>
                  </a:cubicBezTo>
                  <a:cubicBezTo>
                    <a:pt x="755" y="10"/>
                    <a:pt x="756" y="10"/>
                    <a:pt x="757" y="11"/>
                  </a:cubicBezTo>
                  <a:cubicBezTo>
                    <a:pt x="758" y="11"/>
                    <a:pt x="759" y="12"/>
                    <a:pt x="760" y="13"/>
                  </a:cubicBezTo>
                  <a:cubicBezTo>
                    <a:pt x="760" y="13"/>
                    <a:pt x="761" y="14"/>
                    <a:pt x="761" y="15"/>
                  </a:cubicBezTo>
                  <a:cubicBezTo>
                    <a:pt x="761" y="16"/>
                    <a:pt x="761" y="18"/>
                    <a:pt x="761" y="19"/>
                  </a:cubicBezTo>
                  <a:lnTo>
                    <a:pt x="761" y="32"/>
                  </a:lnTo>
                  <a:close/>
                  <a:moveTo>
                    <a:pt x="784" y="29"/>
                  </a:moveTo>
                  <a:cubicBezTo>
                    <a:pt x="784" y="29"/>
                    <a:pt x="784" y="29"/>
                    <a:pt x="784" y="30"/>
                  </a:cubicBezTo>
                  <a:cubicBezTo>
                    <a:pt x="784" y="30"/>
                    <a:pt x="784" y="30"/>
                    <a:pt x="784" y="30"/>
                  </a:cubicBezTo>
                  <a:cubicBezTo>
                    <a:pt x="784" y="30"/>
                    <a:pt x="783" y="30"/>
                    <a:pt x="783" y="30"/>
                  </a:cubicBezTo>
                  <a:cubicBezTo>
                    <a:pt x="783" y="31"/>
                    <a:pt x="783" y="31"/>
                    <a:pt x="783" y="31"/>
                  </a:cubicBezTo>
                  <a:cubicBezTo>
                    <a:pt x="783" y="31"/>
                    <a:pt x="783" y="31"/>
                    <a:pt x="782" y="32"/>
                  </a:cubicBezTo>
                  <a:cubicBezTo>
                    <a:pt x="782" y="32"/>
                    <a:pt x="781" y="32"/>
                    <a:pt x="780" y="32"/>
                  </a:cubicBezTo>
                  <a:cubicBezTo>
                    <a:pt x="780" y="33"/>
                    <a:pt x="779" y="33"/>
                    <a:pt x="779" y="33"/>
                  </a:cubicBezTo>
                  <a:cubicBezTo>
                    <a:pt x="778" y="33"/>
                    <a:pt x="777" y="33"/>
                    <a:pt x="776" y="33"/>
                  </a:cubicBezTo>
                  <a:cubicBezTo>
                    <a:pt x="775" y="33"/>
                    <a:pt x="774" y="33"/>
                    <a:pt x="772" y="32"/>
                  </a:cubicBezTo>
                  <a:cubicBezTo>
                    <a:pt x="771" y="32"/>
                    <a:pt x="770" y="31"/>
                    <a:pt x="769" y="30"/>
                  </a:cubicBezTo>
                  <a:cubicBezTo>
                    <a:pt x="769" y="29"/>
                    <a:pt x="768" y="28"/>
                    <a:pt x="768" y="27"/>
                  </a:cubicBezTo>
                  <a:cubicBezTo>
                    <a:pt x="767" y="25"/>
                    <a:pt x="767" y="24"/>
                    <a:pt x="767" y="22"/>
                  </a:cubicBezTo>
                  <a:cubicBezTo>
                    <a:pt x="767" y="20"/>
                    <a:pt x="767" y="18"/>
                    <a:pt x="768" y="16"/>
                  </a:cubicBezTo>
                  <a:cubicBezTo>
                    <a:pt x="768" y="15"/>
                    <a:pt x="769" y="14"/>
                    <a:pt x="770" y="13"/>
                  </a:cubicBezTo>
                  <a:cubicBezTo>
                    <a:pt x="771" y="12"/>
                    <a:pt x="772" y="11"/>
                    <a:pt x="773" y="11"/>
                  </a:cubicBezTo>
                  <a:cubicBezTo>
                    <a:pt x="774" y="10"/>
                    <a:pt x="775" y="10"/>
                    <a:pt x="777" y="10"/>
                  </a:cubicBezTo>
                  <a:cubicBezTo>
                    <a:pt x="778" y="10"/>
                    <a:pt x="778" y="10"/>
                    <a:pt x="779" y="10"/>
                  </a:cubicBezTo>
                  <a:cubicBezTo>
                    <a:pt x="779" y="10"/>
                    <a:pt x="780" y="10"/>
                    <a:pt x="781" y="11"/>
                  </a:cubicBezTo>
                  <a:cubicBezTo>
                    <a:pt x="781" y="11"/>
                    <a:pt x="782" y="11"/>
                    <a:pt x="782" y="11"/>
                  </a:cubicBezTo>
                  <a:cubicBezTo>
                    <a:pt x="782" y="12"/>
                    <a:pt x="783" y="12"/>
                    <a:pt x="783" y="12"/>
                  </a:cubicBezTo>
                  <a:cubicBezTo>
                    <a:pt x="783" y="12"/>
                    <a:pt x="783" y="12"/>
                    <a:pt x="783" y="13"/>
                  </a:cubicBezTo>
                  <a:cubicBezTo>
                    <a:pt x="783" y="13"/>
                    <a:pt x="783" y="13"/>
                    <a:pt x="783" y="13"/>
                  </a:cubicBezTo>
                  <a:cubicBezTo>
                    <a:pt x="783" y="13"/>
                    <a:pt x="784" y="13"/>
                    <a:pt x="784" y="13"/>
                  </a:cubicBezTo>
                  <a:cubicBezTo>
                    <a:pt x="784" y="14"/>
                    <a:pt x="784" y="14"/>
                    <a:pt x="784" y="14"/>
                  </a:cubicBezTo>
                  <a:cubicBezTo>
                    <a:pt x="784" y="15"/>
                    <a:pt x="783" y="15"/>
                    <a:pt x="783" y="15"/>
                  </a:cubicBezTo>
                  <a:cubicBezTo>
                    <a:pt x="783" y="16"/>
                    <a:pt x="783" y="16"/>
                    <a:pt x="783" y="16"/>
                  </a:cubicBezTo>
                  <a:cubicBezTo>
                    <a:pt x="783" y="16"/>
                    <a:pt x="782" y="16"/>
                    <a:pt x="782" y="15"/>
                  </a:cubicBezTo>
                  <a:cubicBezTo>
                    <a:pt x="782" y="15"/>
                    <a:pt x="781" y="15"/>
                    <a:pt x="781" y="14"/>
                  </a:cubicBezTo>
                  <a:cubicBezTo>
                    <a:pt x="780" y="14"/>
                    <a:pt x="780" y="14"/>
                    <a:pt x="779" y="14"/>
                  </a:cubicBezTo>
                  <a:cubicBezTo>
                    <a:pt x="779" y="13"/>
                    <a:pt x="778" y="13"/>
                    <a:pt x="777" y="13"/>
                  </a:cubicBezTo>
                  <a:cubicBezTo>
                    <a:pt x="775" y="13"/>
                    <a:pt x="774" y="14"/>
                    <a:pt x="773" y="15"/>
                  </a:cubicBezTo>
                  <a:cubicBezTo>
                    <a:pt x="772" y="17"/>
                    <a:pt x="771" y="19"/>
                    <a:pt x="771" y="22"/>
                  </a:cubicBezTo>
                  <a:cubicBezTo>
                    <a:pt x="771" y="23"/>
                    <a:pt x="771" y="24"/>
                    <a:pt x="771" y="25"/>
                  </a:cubicBezTo>
                  <a:cubicBezTo>
                    <a:pt x="772" y="26"/>
                    <a:pt x="772" y="27"/>
                    <a:pt x="773" y="28"/>
                  </a:cubicBezTo>
                  <a:cubicBezTo>
                    <a:pt x="773" y="28"/>
                    <a:pt x="774" y="29"/>
                    <a:pt x="774" y="29"/>
                  </a:cubicBezTo>
                  <a:cubicBezTo>
                    <a:pt x="775" y="30"/>
                    <a:pt x="776" y="30"/>
                    <a:pt x="777" y="30"/>
                  </a:cubicBezTo>
                  <a:cubicBezTo>
                    <a:pt x="778" y="30"/>
                    <a:pt x="779" y="30"/>
                    <a:pt x="779" y="29"/>
                  </a:cubicBezTo>
                  <a:cubicBezTo>
                    <a:pt x="780" y="29"/>
                    <a:pt x="781" y="29"/>
                    <a:pt x="781" y="28"/>
                  </a:cubicBezTo>
                  <a:cubicBezTo>
                    <a:pt x="781" y="28"/>
                    <a:pt x="782" y="28"/>
                    <a:pt x="782" y="28"/>
                  </a:cubicBezTo>
                  <a:cubicBezTo>
                    <a:pt x="783" y="27"/>
                    <a:pt x="783" y="27"/>
                    <a:pt x="783" y="27"/>
                  </a:cubicBezTo>
                  <a:cubicBezTo>
                    <a:pt x="783" y="27"/>
                    <a:pt x="783" y="27"/>
                    <a:pt x="783" y="27"/>
                  </a:cubicBezTo>
                  <a:cubicBezTo>
                    <a:pt x="783" y="27"/>
                    <a:pt x="783" y="27"/>
                    <a:pt x="784" y="28"/>
                  </a:cubicBezTo>
                  <a:cubicBezTo>
                    <a:pt x="784" y="28"/>
                    <a:pt x="784" y="28"/>
                    <a:pt x="784" y="28"/>
                  </a:cubicBezTo>
                  <a:cubicBezTo>
                    <a:pt x="784" y="28"/>
                    <a:pt x="784" y="29"/>
                    <a:pt x="784" y="29"/>
                  </a:cubicBezTo>
                  <a:close/>
                  <a:moveTo>
                    <a:pt x="807" y="21"/>
                  </a:moveTo>
                  <a:cubicBezTo>
                    <a:pt x="807" y="21"/>
                    <a:pt x="807" y="22"/>
                    <a:pt x="806" y="22"/>
                  </a:cubicBezTo>
                  <a:cubicBezTo>
                    <a:pt x="806" y="22"/>
                    <a:pt x="806" y="22"/>
                    <a:pt x="805" y="22"/>
                  </a:cubicBezTo>
                  <a:cubicBezTo>
                    <a:pt x="791" y="22"/>
                    <a:pt x="791" y="22"/>
                    <a:pt x="791" y="22"/>
                  </a:cubicBezTo>
                  <a:cubicBezTo>
                    <a:pt x="791" y="24"/>
                    <a:pt x="792" y="25"/>
                    <a:pt x="792" y="26"/>
                  </a:cubicBezTo>
                  <a:cubicBezTo>
                    <a:pt x="792" y="26"/>
                    <a:pt x="792" y="27"/>
                    <a:pt x="793" y="28"/>
                  </a:cubicBezTo>
                  <a:cubicBezTo>
                    <a:pt x="794" y="29"/>
                    <a:pt x="794" y="29"/>
                    <a:pt x="795" y="29"/>
                  </a:cubicBezTo>
                  <a:cubicBezTo>
                    <a:pt x="796" y="30"/>
                    <a:pt x="797" y="30"/>
                    <a:pt x="798" y="30"/>
                  </a:cubicBezTo>
                  <a:cubicBezTo>
                    <a:pt x="799" y="30"/>
                    <a:pt x="800" y="30"/>
                    <a:pt x="801" y="30"/>
                  </a:cubicBezTo>
                  <a:cubicBezTo>
                    <a:pt x="802" y="30"/>
                    <a:pt x="802" y="29"/>
                    <a:pt x="803" y="29"/>
                  </a:cubicBezTo>
                  <a:cubicBezTo>
                    <a:pt x="804" y="29"/>
                    <a:pt x="804" y="29"/>
                    <a:pt x="804" y="29"/>
                  </a:cubicBezTo>
                  <a:cubicBezTo>
                    <a:pt x="805" y="29"/>
                    <a:pt x="805" y="28"/>
                    <a:pt x="805" y="28"/>
                  </a:cubicBezTo>
                  <a:cubicBezTo>
                    <a:pt x="805" y="28"/>
                    <a:pt x="806" y="28"/>
                    <a:pt x="806" y="29"/>
                  </a:cubicBezTo>
                  <a:cubicBezTo>
                    <a:pt x="806" y="29"/>
                    <a:pt x="806" y="29"/>
                    <a:pt x="806" y="29"/>
                  </a:cubicBezTo>
                  <a:cubicBezTo>
                    <a:pt x="806" y="29"/>
                    <a:pt x="806" y="29"/>
                    <a:pt x="806" y="29"/>
                  </a:cubicBezTo>
                  <a:cubicBezTo>
                    <a:pt x="806" y="29"/>
                    <a:pt x="806" y="30"/>
                    <a:pt x="806" y="30"/>
                  </a:cubicBezTo>
                  <a:cubicBezTo>
                    <a:pt x="806" y="30"/>
                    <a:pt x="806" y="30"/>
                    <a:pt x="806" y="30"/>
                  </a:cubicBezTo>
                  <a:cubicBezTo>
                    <a:pt x="806" y="31"/>
                    <a:pt x="806" y="31"/>
                    <a:pt x="806" y="31"/>
                  </a:cubicBezTo>
                  <a:cubicBezTo>
                    <a:pt x="806" y="31"/>
                    <a:pt x="806" y="31"/>
                    <a:pt x="806" y="31"/>
                  </a:cubicBezTo>
                  <a:cubicBezTo>
                    <a:pt x="806" y="31"/>
                    <a:pt x="806" y="31"/>
                    <a:pt x="806" y="31"/>
                  </a:cubicBezTo>
                  <a:cubicBezTo>
                    <a:pt x="805" y="32"/>
                    <a:pt x="805" y="32"/>
                    <a:pt x="805" y="32"/>
                  </a:cubicBezTo>
                  <a:cubicBezTo>
                    <a:pt x="804" y="32"/>
                    <a:pt x="804" y="32"/>
                    <a:pt x="803" y="32"/>
                  </a:cubicBezTo>
                  <a:cubicBezTo>
                    <a:pt x="802" y="33"/>
                    <a:pt x="802" y="33"/>
                    <a:pt x="801" y="33"/>
                  </a:cubicBezTo>
                  <a:cubicBezTo>
                    <a:pt x="800" y="33"/>
                    <a:pt x="799" y="33"/>
                    <a:pt x="798" y="33"/>
                  </a:cubicBezTo>
                  <a:cubicBezTo>
                    <a:pt x="796" y="33"/>
                    <a:pt x="795" y="33"/>
                    <a:pt x="793" y="32"/>
                  </a:cubicBezTo>
                  <a:cubicBezTo>
                    <a:pt x="792" y="32"/>
                    <a:pt x="791" y="31"/>
                    <a:pt x="790" y="30"/>
                  </a:cubicBezTo>
                  <a:cubicBezTo>
                    <a:pt x="789" y="29"/>
                    <a:pt x="789" y="28"/>
                    <a:pt x="788" y="27"/>
                  </a:cubicBezTo>
                  <a:cubicBezTo>
                    <a:pt x="788" y="25"/>
                    <a:pt x="787" y="24"/>
                    <a:pt x="787" y="22"/>
                  </a:cubicBezTo>
                  <a:cubicBezTo>
                    <a:pt x="787" y="20"/>
                    <a:pt x="788" y="18"/>
                    <a:pt x="788" y="17"/>
                  </a:cubicBezTo>
                  <a:cubicBezTo>
                    <a:pt x="789" y="15"/>
                    <a:pt x="789" y="14"/>
                    <a:pt x="790" y="13"/>
                  </a:cubicBezTo>
                  <a:cubicBezTo>
                    <a:pt x="791" y="12"/>
                    <a:pt x="792" y="11"/>
                    <a:pt x="793" y="11"/>
                  </a:cubicBezTo>
                  <a:cubicBezTo>
                    <a:pt x="795" y="10"/>
                    <a:pt x="796" y="10"/>
                    <a:pt x="798" y="10"/>
                  </a:cubicBezTo>
                  <a:cubicBezTo>
                    <a:pt x="799" y="10"/>
                    <a:pt x="801" y="10"/>
                    <a:pt x="802" y="11"/>
                  </a:cubicBezTo>
                  <a:cubicBezTo>
                    <a:pt x="803" y="11"/>
                    <a:pt x="804" y="12"/>
                    <a:pt x="805" y="13"/>
                  </a:cubicBezTo>
                  <a:cubicBezTo>
                    <a:pt x="805" y="14"/>
                    <a:pt x="806" y="15"/>
                    <a:pt x="806" y="16"/>
                  </a:cubicBezTo>
                  <a:cubicBezTo>
                    <a:pt x="807" y="17"/>
                    <a:pt x="807" y="19"/>
                    <a:pt x="807" y="20"/>
                  </a:cubicBezTo>
                  <a:lnTo>
                    <a:pt x="807" y="21"/>
                  </a:lnTo>
                  <a:close/>
                  <a:moveTo>
                    <a:pt x="803" y="20"/>
                  </a:moveTo>
                  <a:cubicBezTo>
                    <a:pt x="803" y="17"/>
                    <a:pt x="803" y="16"/>
                    <a:pt x="802" y="15"/>
                  </a:cubicBezTo>
                  <a:cubicBezTo>
                    <a:pt x="801" y="14"/>
                    <a:pt x="799" y="13"/>
                    <a:pt x="797" y="13"/>
                  </a:cubicBezTo>
                  <a:cubicBezTo>
                    <a:pt x="796" y="13"/>
                    <a:pt x="796" y="13"/>
                    <a:pt x="795" y="14"/>
                  </a:cubicBezTo>
                  <a:cubicBezTo>
                    <a:pt x="794" y="14"/>
                    <a:pt x="794" y="14"/>
                    <a:pt x="793" y="15"/>
                  </a:cubicBezTo>
                  <a:cubicBezTo>
                    <a:pt x="793" y="16"/>
                    <a:pt x="792" y="16"/>
                    <a:pt x="792" y="17"/>
                  </a:cubicBezTo>
                  <a:cubicBezTo>
                    <a:pt x="792" y="18"/>
                    <a:pt x="791" y="19"/>
                    <a:pt x="791" y="20"/>
                  </a:cubicBezTo>
                  <a:lnTo>
                    <a:pt x="803" y="20"/>
                  </a:ln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5">
              <a:extLst>
                <a:ext uri="{FF2B5EF4-FFF2-40B4-BE49-F238E27FC236}">
                  <a16:creationId xmlns:a16="http://schemas.microsoft.com/office/drawing/2014/main" id="{24D62ADA-D8F2-4299-A51A-68B4BCB9AA1A}"/>
                </a:ext>
              </a:extLst>
            </p:cNvPr>
            <p:cNvSpPr>
              <a:spLocks/>
            </p:cNvSpPr>
            <p:nvPr/>
          </p:nvSpPr>
          <p:spPr bwMode="auto">
            <a:xfrm>
              <a:off x="6515950" y="2633226"/>
              <a:ext cx="1525160" cy="328984"/>
            </a:xfrm>
            <a:custGeom>
              <a:avLst/>
              <a:gdLst>
                <a:gd name="T0" fmla="*/ 3 w 445"/>
                <a:gd name="T1" fmla="*/ 18 h 96"/>
                <a:gd name="T2" fmla="*/ 6 w 445"/>
                <a:gd name="T3" fmla="*/ 18 h 96"/>
                <a:gd name="T4" fmla="*/ 18 w 445"/>
                <a:gd name="T5" fmla="*/ 6 h 96"/>
                <a:gd name="T6" fmla="*/ 427 w 445"/>
                <a:gd name="T7" fmla="*/ 6 h 96"/>
                <a:gd name="T8" fmla="*/ 439 w 445"/>
                <a:gd name="T9" fmla="*/ 18 h 96"/>
                <a:gd name="T10" fmla="*/ 439 w 445"/>
                <a:gd name="T11" fmla="*/ 78 h 96"/>
                <a:gd name="T12" fmla="*/ 427 w 445"/>
                <a:gd name="T13" fmla="*/ 90 h 96"/>
                <a:gd name="T14" fmla="*/ 18 w 445"/>
                <a:gd name="T15" fmla="*/ 90 h 96"/>
                <a:gd name="T16" fmla="*/ 6 w 445"/>
                <a:gd name="T17" fmla="*/ 78 h 96"/>
                <a:gd name="T18" fmla="*/ 6 w 445"/>
                <a:gd name="T19" fmla="*/ 18 h 96"/>
                <a:gd name="T20" fmla="*/ 3 w 445"/>
                <a:gd name="T21" fmla="*/ 18 h 96"/>
                <a:gd name="T22" fmla="*/ 0 w 445"/>
                <a:gd name="T23" fmla="*/ 18 h 96"/>
                <a:gd name="T24" fmla="*/ 0 w 445"/>
                <a:gd name="T25" fmla="*/ 78 h 96"/>
                <a:gd name="T26" fmla="*/ 18 w 445"/>
                <a:gd name="T27" fmla="*/ 96 h 96"/>
                <a:gd name="T28" fmla="*/ 427 w 445"/>
                <a:gd name="T29" fmla="*/ 96 h 96"/>
                <a:gd name="T30" fmla="*/ 445 w 445"/>
                <a:gd name="T31" fmla="*/ 78 h 96"/>
                <a:gd name="T32" fmla="*/ 445 w 445"/>
                <a:gd name="T33" fmla="*/ 18 h 96"/>
                <a:gd name="T34" fmla="*/ 427 w 445"/>
                <a:gd name="T35" fmla="*/ 0 h 96"/>
                <a:gd name="T36" fmla="*/ 18 w 445"/>
                <a:gd name="T37" fmla="*/ 0 h 96"/>
                <a:gd name="T38" fmla="*/ 0 w 445"/>
                <a:gd name="T39" fmla="*/ 18 h 96"/>
                <a:gd name="T40" fmla="*/ 3 w 445"/>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5" h="96">
                  <a:moveTo>
                    <a:pt x="3" y="18"/>
                  </a:moveTo>
                  <a:cubicBezTo>
                    <a:pt x="6" y="18"/>
                    <a:pt x="6" y="18"/>
                    <a:pt x="6" y="18"/>
                  </a:cubicBezTo>
                  <a:cubicBezTo>
                    <a:pt x="6" y="12"/>
                    <a:pt x="11" y="6"/>
                    <a:pt x="18" y="6"/>
                  </a:cubicBezTo>
                  <a:cubicBezTo>
                    <a:pt x="427" y="6"/>
                    <a:pt x="427" y="6"/>
                    <a:pt x="427" y="6"/>
                  </a:cubicBezTo>
                  <a:cubicBezTo>
                    <a:pt x="434" y="6"/>
                    <a:pt x="439" y="12"/>
                    <a:pt x="439" y="18"/>
                  </a:cubicBezTo>
                  <a:cubicBezTo>
                    <a:pt x="439" y="78"/>
                    <a:pt x="439" y="78"/>
                    <a:pt x="439" y="78"/>
                  </a:cubicBezTo>
                  <a:cubicBezTo>
                    <a:pt x="439" y="84"/>
                    <a:pt x="434" y="90"/>
                    <a:pt x="427" y="90"/>
                  </a:cubicBezTo>
                  <a:cubicBezTo>
                    <a:pt x="18" y="90"/>
                    <a:pt x="18" y="90"/>
                    <a:pt x="18" y="90"/>
                  </a:cubicBezTo>
                  <a:cubicBezTo>
                    <a:pt x="11"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427" y="96"/>
                    <a:pt x="427" y="96"/>
                    <a:pt x="427" y="96"/>
                  </a:cubicBezTo>
                  <a:cubicBezTo>
                    <a:pt x="437" y="96"/>
                    <a:pt x="445" y="88"/>
                    <a:pt x="445" y="78"/>
                  </a:cubicBezTo>
                  <a:cubicBezTo>
                    <a:pt x="445" y="18"/>
                    <a:pt x="445" y="18"/>
                    <a:pt x="445" y="18"/>
                  </a:cubicBezTo>
                  <a:cubicBezTo>
                    <a:pt x="445" y="8"/>
                    <a:pt x="437" y="0"/>
                    <a:pt x="427" y="0"/>
                  </a:cubicBezTo>
                  <a:cubicBezTo>
                    <a:pt x="18" y="0"/>
                    <a:pt x="18" y="0"/>
                    <a:pt x="18" y="0"/>
                  </a:cubicBezTo>
                  <a:cubicBezTo>
                    <a:pt x="8" y="0"/>
                    <a:pt x="0" y="8"/>
                    <a:pt x="0" y="18"/>
                  </a:cubicBezTo>
                  <a:lnTo>
                    <a:pt x="3" y="18"/>
                  </a:ln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6">
              <a:extLst>
                <a:ext uri="{FF2B5EF4-FFF2-40B4-BE49-F238E27FC236}">
                  <a16:creationId xmlns:a16="http://schemas.microsoft.com/office/drawing/2014/main" id="{5A8790F8-13E1-4201-8DA4-B975E5B63138}"/>
                </a:ext>
              </a:extLst>
            </p:cNvPr>
            <p:cNvSpPr>
              <a:spLocks/>
            </p:cNvSpPr>
            <p:nvPr/>
          </p:nvSpPr>
          <p:spPr bwMode="auto">
            <a:xfrm>
              <a:off x="7176805" y="2735672"/>
              <a:ext cx="14429" cy="103890"/>
            </a:xfrm>
            <a:custGeom>
              <a:avLst/>
              <a:gdLst>
                <a:gd name="T0" fmla="*/ 4 w 4"/>
                <a:gd name="T1" fmla="*/ 0 h 30"/>
                <a:gd name="T2" fmla="*/ 4 w 4"/>
                <a:gd name="T3" fmla="*/ 0 h 30"/>
                <a:gd name="T4" fmla="*/ 4 w 4"/>
                <a:gd name="T5" fmla="*/ 0 h 30"/>
                <a:gd name="T6" fmla="*/ 3 w 4"/>
                <a:gd name="T7" fmla="*/ 0 h 30"/>
                <a:gd name="T8" fmla="*/ 2 w 4"/>
                <a:gd name="T9" fmla="*/ 0 h 30"/>
                <a:gd name="T10" fmla="*/ 1 w 4"/>
                <a:gd name="T11" fmla="*/ 0 h 30"/>
                <a:gd name="T12" fmla="*/ 0 w 4"/>
                <a:gd name="T13" fmla="*/ 0 h 30"/>
                <a:gd name="T14" fmla="*/ 0 w 4"/>
                <a:gd name="T15" fmla="*/ 0 h 30"/>
                <a:gd name="T16" fmla="*/ 0 w 4"/>
                <a:gd name="T17" fmla="*/ 0 h 30"/>
                <a:gd name="T18" fmla="*/ 0 w 4"/>
                <a:gd name="T19" fmla="*/ 30 h 30"/>
                <a:gd name="T20" fmla="*/ 0 w 4"/>
                <a:gd name="T21" fmla="*/ 30 h 30"/>
                <a:gd name="T22" fmla="*/ 0 w 4"/>
                <a:gd name="T23" fmla="*/ 30 h 30"/>
                <a:gd name="T24" fmla="*/ 1 w 4"/>
                <a:gd name="T25" fmla="*/ 30 h 30"/>
                <a:gd name="T26" fmla="*/ 2 w 4"/>
                <a:gd name="T27" fmla="*/ 30 h 30"/>
                <a:gd name="T28" fmla="*/ 3 w 4"/>
                <a:gd name="T29" fmla="*/ 30 h 30"/>
                <a:gd name="T30" fmla="*/ 4 w 4"/>
                <a:gd name="T31" fmla="*/ 30 h 30"/>
                <a:gd name="T32" fmla="*/ 4 w 4"/>
                <a:gd name="T33" fmla="*/ 30 h 30"/>
                <a:gd name="T34" fmla="*/ 4 w 4"/>
                <a:gd name="T35" fmla="*/ 30 h 30"/>
                <a:gd name="T36" fmla="*/ 4 w 4"/>
                <a:gd name="T3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0">
                  <a:moveTo>
                    <a:pt x="4" y="0"/>
                  </a:moveTo>
                  <a:cubicBezTo>
                    <a:pt x="4" y="0"/>
                    <a:pt x="4" y="0"/>
                    <a:pt x="4" y="0"/>
                  </a:cubicBezTo>
                  <a:cubicBezTo>
                    <a:pt x="4" y="0"/>
                    <a:pt x="4" y="0"/>
                    <a:pt x="4" y="0"/>
                  </a:cubicBezTo>
                  <a:cubicBezTo>
                    <a:pt x="3" y="0"/>
                    <a:pt x="3" y="0"/>
                    <a:pt x="3" y="0"/>
                  </a:cubicBezTo>
                  <a:cubicBezTo>
                    <a:pt x="3" y="0"/>
                    <a:pt x="2" y="0"/>
                    <a:pt x="2" y="0"/>
                  </a:cubicBezTo>
                  <a:cubicBezTo>
                    <a:pt x="2" y="0"/>
                    <a:pt x="1" y="0"/>
                    <a:pt x="1" y="0"/>
                  </a:cubicBezTo>
                  <a:cubicBezTo>
                    <a:pt x="1" y="0"/>
                    <a:pt x="1" y="0"/>
                    <a:pt x="0" y="0"/>
                  </a:cubicBezTo>
                  <a:cubicBezTo>
                    <a:pt x="0" y="0"/>
                    <a:pt x="0" y="0"/>
                    <a:pt x="0" y="0"/>
                  </a:cubicBezTo>
                  <a:cubicBezTo>
                    <a:pt x="0" y="0"/>
                    <a:pt x="0" y="0"/>
                    <a:pt x="0" y="0"/>
                  </a:cubicBezTo>
                  <a:cubicBezTo>
                    <a:pt x="0" y="30"/>
                    <a:pt x="0" y="30"/>
                    <a:pt x="0" y="30"/>
                  </a:cubicBezTo>
                  <a:cubicBezTo>
                    <a:pt x="0" y="30"/>
                    <a:pt x="0" y="30"/>
                    <a:pt x="0" y="30"/>
                  </a:cubicBezTo>
                  <a:cubicBezTo>
                    <a:pt x="0" y="30"/>
                    <a:pt x="0" y="30"/>
                    <a:pt x="0" y="30"/>
                  </a:cubicBezTo>
                  <a:cubicBezTo>
                    <a:pt x="1" y="30"/>
                    <a:pt x="1" y="30"/>
                    <a:pt x="1" y="30"/>
                  </a:cubicBezTo>
                  <a:cubicBezTo>
                    <a:pt x="1" y="30"/>
                    <a:pt x="2" y="30"/>
                    <a:pt x="2" y="30"/>
                  </a:cubicBezTo>
                  <a:cubicBezTo>
                    <a:pt x="2" y="30"/>
                    <a:pt x="3" y="30"/>
                    <a:pt x="3" y="30"/>
                  </a:cubicBezTo>
                  <a:cubicBezTo>
                    <a:pt x="3" y="30"/>
                    <a:pt x="3" y="30"/>
                    <a:pt x="4" y="30"/>
                  </a:cubicBezTo>
                  <a:cubicBezTo>
                    <a:pt x="4" y="30"/>
                    <a:pt x="4" y="30"/>
                    <a:pt x="4" y="30"/>
                  </a:cubicBezTo>
                  <a:cubicBezTo>
                    <a:pt x="4" y="30"/>
                    <a:pt x="4" y="30"/>
                    <a:pt x="4" y="30"/>
                  </a:cubicBezTo>
                  <a:cubicBezTo>
                    <a:pt x="4" y="0"/>
                    <a:pt x="4" y="0"/>
                    <a:pt x="4"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7">
              <a:extLst>
                <a:ext uri="{FF2B5EF4-FFF2-40B4-BE49-F238E27FC236}">
                  <a16:creationId xmlns:a16="http://schemas.microsoft.com/office/drawing/2014/main" id="{312DCEB3-DABD-4257-BFDD-C013FF740670}"/>
                </a:ext>
              </a:extLst>
            </p:cNvPr>
            <p:cNvSpPr>
              <a:spLocks noEditPoints="1"/>
            </p:cNvSpPr>
            <p:nvPr/>
          </p:nvSpPr>
          <p:spPr bwMode="auto">
            <a:xfrm>
              <a:off x="7211435" y="2732786"/>
              <a:ext cx="92346" cy="109661"/>
            </a:xfrm>
            <a:custGeom>
              <a:avLst/>
              <a:gdLst>
                <a:gd name="T0" fmla="*/ 27 w 27"/>
                <a:gd name="T1" fmla="*/ 9 h 32"/>
                <a:gd name="T2" fmla="*/ 24 w 27"/>
                <a:gd name="T3" fmla="*/ 4 h 32"/>
                <a:gd name="T4" fmla="*/ 20 w 27"/>
                <a:gd name="T5" fmla="*/ 1 h 32"/>
                <a:gd name="T6" fmla="*/ 14 w 27"/>
                <a:gd name="T7" fmla="*/ 0 h 32"/>
                <a:gd name="T8" fmla="*/ 8 w 27"/>
                <a:gd name="T9" fmla="*/ 1 h 32"/>
                <a:gd name="T10" fmla="*/ 4 w 27"/>
                <a:gd name="T11" fmla="*/ 5 h 32"/>
                <a:gd name="T12" fmla="*/ 1 w 27"/>
                <a:gd name="T13" fmla="*/ 10 h 32"/>
                <a:gd name="T14" fmla="*/ 0 w 27"/>
                <a:gd name="T15" fmla="*/ 16 h 32"/>
                <a:gd name="T16" fmla="*/ 1 w 27"/>
                <a:gd name="T17" fmla="*/ 23 h 32"/>
                <a:gd name="T18" fmla="*/ 4 w 27"/>
                <a:gd name="T19" fmla="*/ 28 h 32"/>
                <a:gd name="T20" fmla="*/ 8 w 27"/>
                <a:gd name="T21" fmla="*/ 31 h 32"/>
                <a:gd name="T22" fmla="*/ 14 w 27"/>
                <a:gd name="T23" fmla="*/ 32 h 32"/>
                <a:gd name="T24" fmla="*/ 20 w 27"/>
                <a:gd name="T25" fmla="*/ 30 h 32"/>
                <a:gd name="T26" fmla="*/ 24 w 27"/>
                <a:gd name="T27" fmla="*/ 27 h 32"/>
                <a:gd name="T28" fmla="*/ 27 w 27"/>
                <a:gd name="T29" fmla="*/ 22 h 32"/>
                <a:gd name="T30" fmla="*/ 27 w 27"/>
                <a:gd name="T31" fmla="*/ 16 h 32"/>
                <a:gd name="T32" fmla="*/ 27 w 27"/>
                <a:gd name="T33" fmla="*/ 9 h 32"/>
                <a:gd name="T34" fmla="*/ 23 w 27"/>
                <a:gd name="T35" fmla="*/ 21 h 32"/>
                <a:gd name="T36" fmla="*/ 21 w 27"/>
                <a:gd name="T37" fmla="*/ 24 h 32"/>
                <a:gd name="T38" fmla="*/ 18 w 27"/>
                <a:gd name="T39" fmla="*/ 27 h 32"/>
                <a:gd name="T40" fmla="*/ 14 w 27"/>
                <a:gd name="T41" fmla="*/ 28 h 32"/>
                <a:gd name="T42" fmla="*/ 9 w 27"/>
                <a:gd name="T43" fmla="*/ 27 h 32"/>
                <a:gd name="T44" fmla="*/ 7 w 27"/>
                <a:gd name="T45" fmla="*/ 25 h 32"/>
                <a:gd name="T46" fmla="*/ 5 w 27"/>
                <a:gd name="T47" fmla="*/ 21 h 32"/>
                <a:gd name="T48" fmla="*/ 5 w 27"/>
                <a:gd name="T49" fmla="*/ 16 h 32"/>
                <a:gd name="T50" fmla="*/ 5 w 27"/>
                <a:gd name="T51" fmla="*/ 11 h 32"/>
                <a:gd name="T52" fmla="*/ 7 w 27"/>
                <a:gd name="T53" fmla="*/ 7 h 32"/>
                <a:gd name="T54" fmla="*/ 10 w 27"/>
                <a:gd name="T55" fmla="*/ 5 h 32"/>
                <a:gd name="T56" fmla="*/ 14 w 27"/>
                <a:gd name="T57" fmla="*/ 4 h 32"/>
                <a:gd name="T58" fmla="*/ 18 w 27"/>
                <a:gd name="T59" fmla="*/ 5 h 32"/>
                <a:gd name="T60" fmla="*/ 21 w 27"/>
                <a:gd name="T61" fmla="*/ 7 h 32"/>
                <a:gd name="T62" fmla="*/ 23 w 27"/>
                <a:gd name="T63" fmla="*/ 11 h 32"/>
                <a:gd name="T64" fmla="*/ 23 w 27"/>
                <a:gd name="T65" fmla="*/ 16 h 32"/>
                <a:gd name="T66" fmla="*/ 23 w 27"/>
                <a:gd name="T6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32">
                  <a:moveTo>
                    <a:pt x="27" y="9"/>
                  </a:moveTo>
                  <a:cubicBezTo>
                    <a:pt x="26" y="7"/>
                    <a:pt x="25" y="6"/>
                    <a:pt x="24" y="4"/>
                  </a:cubicBezTo>
                  <a:cubicBezTo>
                    <a:pt x="23" y="3"/>
                    <a:pt x="22" y="2"/>
                    <a:pt x="20" y="1"/>
                  </a:cubicBezTo>
                  <a:cubicBezTo>
                    <a:pt x="18" y="1"/>
                    <a:pt x="16" y="0"/>
                    <a:pt x="14" y="0"/>
                  </a:cubicBezTo>
                  <a:cubicBezTo>
                    <a:pt x="12" y="0"/>
                    <a:pt x="10" y="1"/>
                    <a:pt x="8" y="1"/>
                  </a:cubicBezTo>
                  <a:cubicBezTo>
                    <a:pt x="6" y="2"/>
                    <a:pt x="5" y="3"/>
                    <a:pt x="4" y="5"/>
                  </a:cubicBezTo>
                  <a:cubicBezTo>
                    <a:pt x="3" y="6"/>
                    <a:pt x="2" y="8"/>
                    <a:pt x="1" y="10"/>
                  </a:cubicBezTo>
                  <a:cubicBezTo>
                    <a:pt x="1" y="12"/>
                    <a:pt x="0" y="14"/>
                    <a:pt x="0" y="16"/>
                  </a:cubicBezTo>
                  <a:cubicBezTo>
                    <a:pt x="0" y="19"/>
                    <a:pt x="1" y="21"/>
                    <a:pt x="1" y="23"/>
                  </a:cubicBezTo>
                  <a:cubicBezTo>
                    <a:pt x="2" y="25"/>
                    <a:pt x="3" y="26"/>
                    <a:pt x="4" y="28"/>
                  </a:cubicBezTo>
                  <a:cubicBezTo>
                    <a:pt x="5" y="29"/>
                    <a:pt x="6" y="30"/>
                    <a:pt x="8" y="31"/>
                  </a:cubicBezTo>
                  <a:cubicBezTo>
                    <a:pt x="9" y="31"/>
                    <a:pt x="11" y="32"/>
                    <a:pt x="14" y="32"/>
                  </a:cubicBezTo>
                  <a:cubicBezTo>
                    <a:pt x="16" y="32"/>
                    <a:pt x="18" y="31"/>
                    <a:pt x="20" y="30"/>
                  </a:cubicBezTo>
                  <a:cubicBezTo>
                    <a:pt x="21" y="30"/>
                    <a:pt x="23" y="29"/>
                    <a:pt x="24" y="27"/>
                  </a:cubicBezTo>
                  <a:cubicBezTo>
                    <a:pt x="25" y="26"/>
                    <a:pt x="26" y="24"/>
                    <a:pt x="27" y="22"/>
                  </a:cubicBezTo>
                  <a:cubicBezTo>
                    <a:pt x="27" y="20"/>
                    <a:pt x="27" y="18"/>
                    <a:pt x="27" y="16"/>
                  </a:cubicBezTo>
                  <a:cubicBezTo>
                    <a:pt x="27" y="13"/>
                    <a:pt x="27" y="11"/>
                    <a:pt x="27" y="9"/>
                  </a:cubicBezTo>
                  <a:close/>
                  <a:moveTo>
                    <a:pt x="23" y="21"/>
                  </a:moveTo>
                  <a:cubicBezTo>
                    <a:pt x="22" y="22"/>
                    <a:pt x="22" y="23"/>
                    <a:pt x="21" y="24"/>
                  </a:cubicBezTo>
                  <a:cubicBezTo>
                    <a:pt x="20" y="26"/>
                    <a:pt x="19" y="26"/>
                    <a:pt x="18" y="27"/>
                  </a:cubicBezTo>
                  <a:cubicBezTo>
                    <a:pt x="17" y="28"/>
                    <a:pt x="16" y="28"/>
                    <a:pt x="14" y="28"/>
                  </a:cubicBezTo>
                  <a:cubicBezTo>
                    <a:pt x="12" y="28"/>
                    <a:pt x="11" y="28"/>
                    <a:pt x="9" y="27"/>
                  </a:cubicBezTo>
                  <a:cubicBezTo>
                    <a:pt x="8" y="27"/>
                    <a:pt x="7" y="26"/>
                    <a:pt x="7" y="25"/>
                  </a:cubicBezTo>
                  <a:cubicBezTo>
                    <a:pt x="6" y="24"/>
                    <a:pt x="5" y="22"/>
                    <a:pt x="5" y="21"/>
                  </a:cubicBezTo>
                  <a:cubicBezTo>
                    <a:pt x="5" y="19"/>
                    <a:pt x="5" y="18"/>
                    <a:pt x="5" y="16"/>
                  </a:cubicBezTo>
                  <a:cubicBezTo>
                    <a:pt x="5" y="14"/>
                    <a:pt x="5" y="13"/>
                    <a:pt x="5" y="11"/>
                  </a:cubicBezTo>
                  <a:cubicBezTo>
                    <a:pt x="5" y="10"/>
                    <a:pt x="6" y="9"/>
                    <a:pt x="7" y="7"/>
                  </a:cubicBezTo>
                  <a:cubicBezTo>
                    <a:pt x="7" y="6"/>
                    <a:pt x="8" y="5"/>
                    <a:pt x="10" y="5"/>
                  </a:cubicBezTo>
                  <a:cubicBezTo>
                    <a:pt x="11" y="4"/>
                    <a:pt x="12" y="4"/>
                    <a:pt x="14" y="4"/>
                  </a:cubicBezTo>
                  <a:cubicBezTo>
                    <a:pt x="16" y="4"/>
                    <a:pt x="17" y="4"/>
                    <a:pt x="18" y="5"/>
                  </a:cubicBezTo>
                  <a:cubicBezTo>
                    <a:pt x="20" y="5"/>
                    <a:pt x="21" y="6"/>
                    <a:pt x="21" y="7"/>
                  </a:cubicBezTo>
                  <a:cubicBezTo>
                    <a:pt x="22" y="8"/>
                    <a:pt x="22" y="10"/>
                    <a:pt x="23" y="11"/>
                  </a:cubicBezTo>
                  <a:cubicBezTo>
                    <a:pt x="23" y="13"/>
                    <a:pt x="23" y="14"/>
                    <a:pt x="23" y="16"/>
                  </a:cubicBezTo>
                  <a:cubicBezTo>
                    <a:pt x="23" y="18"/>
                    <a:pt x="23" y="19"/>
                    <a:pt x="23" y="2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68">
              <a:extLst>
                <a:ext uri="{FF2B5EF4-FFF2-40B4-BE49-F238E27FC236}">
                  <a16:creationId xmlns:a16="http://schemas.microsoft.com/office/drawing/2014/main" id="{6A5EFF33-4891-4A07-BF16-6E66731151A9}"/>
                </a:ext>
              </a:extLst>
            </p:cNvPr>
            <p:cNvSpPr>
              <a:spLocks/>
            </p:cNvSpPr>
            <p:nvPr/>
          </p:nvSpPr>
          <p:spPr bwMode="auto">
            <a:xfrm>
              <a:off x="7313882" y="2735672"/>
              <a:ext cx="79361" cy="103890"/>
            </a:xfrm>
            <a:custGeom>
              <a:avLst/>
              <a:gdLst>
                <a:gd name="T0" fmla="*/ 23 w 23"/>
                <a:gd name="T1" fmla="*/ 1 h 30"/>
                <a:gd name="T2" fmla="*/ 23 w 23"/>
                <a:gd name="T3" fmla="*/ 0 h 30"/>
                <a:gd name="T4" fmla="*/ 22 w 23"/>
                <a:gd name="T5" fmla="*/ 0 h 30"/>
                <a:gd name="T6" fmla="*/ 22 w 23"/>
                <a:gd name="T7" fmla="*/ 0 h 30"/>
                <a:gd name="T8" fmla="*/ 1 w 23"/>
                <a:gd name="T9" fmla="*/ 0 h 30"/>
                <a:gd name="T10" fmla="*/ 1 w 23"/>
                <a:gd name="T11" fmla="*/ 0 h 30"/>
                <a:gd name="T12" fmla="*/ 0 w 23"/>
                <a:gd name="T13" fmla="*/ 0 h 30"/>
                <a:gd name="T14" fmla="*/ 0 w 23"/>
                <a:gd name="T15" fmla="*/ 1 h 30"/>
                <a:gd name="T16" fmla="*/ 0 w 23"/>
                <a:gd name="T17" fmla="*/ 2 h 30"/>
                <a:gd name="T18" fmla="*/ 0 w 23"/>
                <a:gd name="T19" fmla="*/ 2 h 30"/>
                <a:gd name="T20" fmla="*/ 0 w 23"/>
                <a:gd name="T21" fmla="*/ 3 h 30"/>
                <a:gd name="T22" fmla="*/ 1 w 23"/>
                <a:gd name="T23" fmla="*/ 3 h 30"/>
                <a:gd name="T24" fmla="*/ 1 w 23"/>
                <a:gd name="T25" fmla="*/ 3 h 30"/>
                <a:gd name="T26" fmla="*/ 9 w 23"/>
                <a:gd name="T27" fmla="*/ 3 h 30"/>
                <a:gd name="T28" fmla="*/ 9 w 23"/>
                <a:gd name="T29" fmla="*/ 30 h 30"/>
                <a:gd name="T30" fmla="*/ 10 w 23"/>
                <a:gd name="T31" fmla="*/ 30 h 30"/>
                <a:gd name="T32" fmla="*/ 10 w 23"/>
                <a:gd name="T33" fmla="*/ 30 h 30"/>
                <a:gd name="T34" fmla="*/ 11 w 23"/>
                <a:gd name="T35" fmla="*/ 30 h 30"/>
                <a:gd name="T36" fmla="*/ 11 w 23"/>
                <a:gd name="T37" fmla="*/ 30 h 30"/>
                <a:gd name="T38" fmla="*/ 12 w 23"/>
                <a:gd name="T39" fmla="*/ 30 h 30"/>
                <a:gd name="T40" fmla="*/ 13 w 23"/>
                <a:gd name="T41" fmla="*/ 30 h 30"/>
                <a:gd name="T42" fmla="*/ 13 w 23"/>
                <a:gd name="T43" fmla="*/ 30 h 30"/>
                <a:gd name="T44" fmla="*/ 13 w 23"/>
                <a:gd name="T45" fmla="*/ 30 h 30"/>
                <a:gd name="T46" fmla="*/ 13 w 23"/>
                <a:gd name="T47" fmla="*/ 3 h 30"/>
                <a:gd name="T48" fmla="*/ 22 w 23"/>
                <a:gd name="T49" fmla="*/ 3 h 30"/>
                <a:gd name="T50" fmla="*/ 22 w 23"/>
                <a:gd name="T51" fmla="*/ 3 h 30"/>
                <a:gd name="T52" fmla="*/ 23 w 23"/>
                <a:gd name="T53" fmla="*/ 3 h 30"/>
                <a:gd name="T54" fmla="*/ 23 w 23"/>
                <a:gd name="T55" fmla="*/ 2 h 30"/>
                <a:gd name="T56" fmla="*/ 23 w 23"/>
                <a:gd name="T57" fmla="*/ 2 h 30"/>
                <a:gd name="T58" fmla="*/ 23 w 23"/>
                <a:gd name="T59"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 h="30">
                  <a:moveTo>
                    <a:pt x="23" y="1"/>
                  </a:moveTo>
                  <a:cubicBezTo>
                    <a:pt x="23" y="1"/>
                    <a:pt x="23" y="0"/>
                    <a:pt x="23" y="0"/>
                  </a:cubicBezTo>
                  <a:cubicBezTo>
                    <a:pt x="23" y="0"/>
                    <a:pt x="22" y="0"/>
                    <a:pt x="22" y="0"/>
                  </a:cubicBezTo>
                  <a:cubicBezTo>
                    <a:pt x="22" y="0"/>
                    <a:pt x="22" y="0"/>
                    <a:pt x="22" y="0"/>
                  </a:cubicBezTo>
                  <a:cubicBezTo>
                    <a:pt x="1" y="0"/>
                    <a:pt x="1" y="0"/>
                    <a:pt x="1" y="0"/>
                  </a:cubicBezTo>
                  <a:cubicBezTo>
                    <a:pt x="1" y="0"/>
                    <a:pt x="1" y="0"/>
                    <a:pt x="1" y="0"/>
                  </a:cubicBezTo>
                  <a:cubicBezTo>
                    <a:pt x="0" y="0"/>
                    <a:pt x="0" y="0"/>
                    <a:pt x="0" y="0"/>
                  </a:cubicBezTo>
                  <a:cubicBezTo>
                    <a:pt x="0" y="0"/>
                    <a:pt x="0" y="1"/>
                    <a:pt x="0" y="1"/>
                  </a:cubicBezTo>
                  <a:cubicBezTo>
                    <a:pt x="0" y="1"/>
                    <a:pt x="0" y="1"/>
                    <a:pt x="0" y="2"/>
                  </a:cubicBezTo>
                  <a:cubicBezTo>
                    <a:pt x="0" y="2"/>
                    <a:pt x="0" y="2"/>
                    <a:pt x="0" y="2"/>
                  </a:cubicBezTo>
                  <a:cubicBezTo>
                    <a:pt x="0" y="3"/>
                    <a:pt x="0" y="3"/>
                    <a:pt x="0" y="3"/>
                  </a:cubicBezTo>
                  <a:cubicBezTo>
                    <a:pt x="0" y="3"/>
                    <a:pt x="0" y="3"/>
                    <a:pt x="1" y="3"/>
                  </a:cubicBezTo>
                  <a:cubicBezTo>
                    <a:pt x="1" y="3"/>
                    <a:pt x="1" y="3"/>
                    <a:pt x="1" y="3"/>
                  </a:cubicBezTo>
                  <a:cubicBezTo>
                    <a:pt x="9" y="3"/>
                    <a:pt x="9" y="3"/>
                    <a:pt x="9" y="3"/>
                  </a:cubicBezTo>
                  <a:cubicBezTo>
                    <a:pt x="9" y="30"/>
                    <a:pt x="9" y="30"/>
                    <a:pt x="9" y="30"/>
                  </a:cubicBezTo>
                  <a:cubicBezTo>
                    <a:pt x="9" y="30"/>
                    <a:pt x="9" y="30"/>
                    <a:pt x="10" y="30"/>
                  </a:cubicBezTo>
                  <a:cubicBezTo>
                    <a:pt x="10" y="30"/>
                    <a:pt x="10" y="30"/>
                    <a:pt x="10" y="30"/>
                  </a:cubicBezTo>
                  <a:cubicBezTo>
                    <a:pt x="10" y="30"/>
                    <a:pt x="10" y="30"/>
                    <a:pt x="11" y="30"/>
                  </a:cubicBezTo>
                  <a:cubicBezTo>
                    <a:pt x="11" y="30"/>
                    <a:pt x="11" y="30"/>
                    <a:pt x="11" y="30"/>
                  </a:cubicBezTo>
                  <a:cubicBezTo>
                    <a:pt x="12" y="30"/>
                    <a:pt x="12" y="30"/>
                    <a:pt x="12" y="30"/>
                  </a:cubicBezTo>
                  <a:cubicBezTo>
                    <a:pt x="13" y="30"/>
                    <a:pt x="13" y="30"/>
                    <a:pt x="13" y="30"/>
                  </a:cubicBezTo>
                  <a:cubicBezTo>
                    <a:pt x="13" y="30"/>
                    <a:pt x="13" y="30"/>
                    <a:pt x="13" y="30"/>
                  </a:cubicBezTo>
                  <a:cubicBezTo>
                    <a:pt x="13" y="30"/>
                    <a:pt x="13" y="30"/>
                    <a:pt x="13" y="30"/>
                  </a:cubicBezTo>
                  <a:cubicBezTo>
                    <a:pt x="13" y="3"/>
                    <a:pt x="13" y="3"/>
                    <a:pt x="13" y="3"/>
                  </a:cubicBezTo>
                  <a:cubicBezTo>
                    <a:pt x="22" y="3"/>
                    <a:pt x="22" y="3"/>
                    <a:pt x="22" y="3"/>
                  </a:cubicBezTo>
                  <a:cubicBezTo>
                    <a:pt x="22" y="3"/>
                    <a:pt x="22" y="3"/>
                    <a:pt x="22" y="3"/>
                  </a:cubicBezTo>
                  <a:cubicBezTo>
                    <a:pt x="22" y="3"/>
                    <a:pt x="23" y="3"/>
                    <a:pt x="23" y="3"/>
                  </a:cubicBezTo>
                  <a:cubicBezTo>
                    <a:pt x="23" y="3"/>
                    <a:pt x="23" y="3"/>
                    <a:pt x="23" y="2"/>
                  </a:cubicBezTo>
                  <a:cubicBezTo>
                    <a:pt x="23" y="2"/>
                    <a:pt x="23" y="2"/>
                    <a:pt x="23" y="2"/>
                  </a:cubicBezTo>
                  <a:cubicBezTo>
                    <a:pt x="23" y="1"/>
                    <a:pt x="23" y="1"/>
                    <a:pt x="23"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9">
              <a:extLst>
                <a:ext uri="{FF2B5EF4-FFF2-40B4-BE49-F238E27FC236}">
                  <a16:creationId xmlns:a16="http://schemas.microsoft.com/office/drawing/2014/main" id="{AF28E785-C104-428D-959C-0460BFDFB8F2}"/>
                </a:ext>
              </a:extLst>
            </p:cNvPr>
            <p:cNvSpPr>
              <a:spLocks/>
            </p:cNvSpPr>
            <p:nvPr/>
          </p:nvSpPr>
          <p:spPr bwMode="auto">
            <a:xfrm>
              <a:off x="8293620" y="2633226"/>
              <a:ext cx="1528046" cy="328984"/>
            </a:xfrm>
            <a:custGeom>
              <a:avLst/>
              <a:gdLst>
                <a:gd name="T0" fmla="*/ 3 w 446"/>
                <a:gd name="T1" fmla="*/ 18 h 96"/>
                <a:gd name="T2" fmla="*/ 6 w 446"/>
                <a:gd name="T3" fmla="*/ 18 h 96"/>
                <a:gd name="T4" fmla="*/ 18 w 446"/>
                <a:gd name="T5" fmla="*/ 6 h 96"/>
                <a:gd name="T6" fmla="*/ 428 w 446"/>
                <a:gd name="T7" fmla="*/ 6 h 96"/>
                <a:gd name="T8" fmla="*/ 440 w 446"/>
                <a:gd name="T9" fmla="*/ 18 h 96"/>
                <a:gd name="T10" fmla="*/ 440 w 446"/>
                <a:gd name="T11" fmla="*/ 78 h 96"/>
                <a:gd name="T12" fmla="*/ 428 w 446"/>
                <a:gd name="T13" fmla="*/ 90 h 96"/>
                <a:gd name="T14" fmla="*/ 18 w 446"/>
                <a:gd name="T15" fmla="*/ 90 h 96"/>
                <a:gd name="T16" fmla="*/ 6 w 446"/>
                <a:gd name="T17" fmla="*/ 78 h 96"/>
                <a:gd name="T18" fmla="*/ 6 w 446"/>
                <a:gd name="T19" fmla="*/ 18 h 96"/>
                <a:gd name="T20" fmla="*/ 3 w 446"/>
                <a:gd name="T21" fmla="*/ 18 h 96"/>
                <a:gd name="T22" fmla="*/ 0 w 446"/>
                <a:gd name="T23" fmla="*/ 18 h 96"/>
                <a:gd name="T24" fmla="*/ 0 w 446"/>
                <a:gd name="T25" fmla="*/ 78 h 96"/>
                <a:gd name="T26" fmla="*/ 18 w 446"/>
                <a:gd name="T27" fmla="*/ 96 h 96"/>
                <a:gd name="T28" fmla="*/ 428 w 446"/>
                <a:gd name="T29" fmla="*/ 96 h 96"/>
                <a:gd name="T30" fmla="*/ 446 w 446"/>
                <a:gd name="T31" fmla="*/ 78 h 96"/>
                <a:gd name="T32" fmla="*/ 446 w 446"/>
                <a:gd name="T33" fmla="*/ 18 h 96"/>
                <a:gd name="T34" fmla="*/ 428 w 446"/>
                <a:gd name="T35" fmla="*/ 0 h 96"/>
                <a:gd name="T36" fmla="*/ 18 w 446"/>
                <a:gd name="T37" fmla="*/ 0 h 96"/>
                <a:gd name="T38" fmla="*/ 0 w 446"/>
                <a:gd name="T39" fmla="*/ 18 h 96"/>
                <a:gd name="T40" fmla="*/ 3 w 446"/>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6" h="96">
                  <a:moveTo>
                    <a:pt x="3" y="18"/>
                  </a:moveTo>
                  <a:cubicBezTo>
                    <a:pt x="6" y="18"/>
                    <a:pt x="6" y="18"/>
                    <a:pt x="6" y="18"/>
                  </a:cubicBezTo>
                  <a:cubicBezTo>
                    <a:pt x="6" y="12"/>
                    <a:pt x="12" y="6"/>
                    <a:pt x="18" y="6"/>
                  </a:cubicBezTo>
                  <a:cubicBezTo>
                    <a:pt x="428" y="6"/>
                    <a:pt x="428" y="6"/>
                    <a:pt x="428" y="6"/>
                  </a:cubicBezTo>
                  <a:cubicBezTo>
                    <a:pt x="435" y="6"/>
                    <a:pt x="440" y="12"/>
                    <a:pt x="440" y="18"/>
                  </a:cubicBezTo>
                  <a:cubicBezTo>
                    <a:pt x="440" y="78"/>
                    <a:pt x="440" y="78"/>
                    <a:pt x="440" y="78"/>
                  </a:cubicBezTo>
                  <a:cubicBezTo>
                    <a:pt x="440" y="84"/>
                    <a:pt x="435" y="90"/>
                    <a:pt x="428" y="90"/>
                  </a:cubicBezTo>
                  <a:cubicBezTo>
                    <a:pt x="18" y="90"/>
                    <a:pt x="18" y="90"/>
                    <a:pt x="18" y="90"/>
                  </a:cubicBezTo>
                  <a:cubicBezTo>
                    <a:pt x="12"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428" y="96"/>
                    <a:pt x="428" y="96"/>
                    <a:pt x="428" y="96"/>
                  </a:cubicBezTo>
                  <a:cubicBezTo>
                    <a:pt x="438" y="96"/>
                    <a:pt x="446" y="88"/>
                    <a:pt x="446" y="78"/>
                  </a:cubicBezTo>
                  <a:cubicBezTo>
                    <a:pt x="446" y="18"/>
                    <a:pt x="446" y="18"/>
                    <a:pt x="446" y="18"/>
                  </a:cubicBezTo>
                  <a:cubicBezTo>
                    <a:pt x="446" y="8"/>
                    <a:pt x="438" y="0"/>
                    <a:pt x="428" y="0"/>
                  </a:cubicBezTo>
                  <a:cubicBezTo>
                    <a:pt x="18" y="0"/>
                    <a:pt x="18" y="0"/>
                    <a:pt x="18" y="0"/>
                  </a:cubicBezTo>
                  <a:cubicBezTo>
                    <a:pt x="8" y="0"/>
                    <a:pt x="0" y="8"/>
                    <a:pt x="0" y="18"/>
                  </a:cubicBezTo>
                  <a:lnTo>
                    <a:pt x="3" y="18"/>
                  </a:ln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70">
              <a:extLst>
                <a:ext uri="{FF2B5EF4-FFF2-40B4-BE49-F238E27FC236}">
                  <a16:creationId xmlns:a16="http://schemas.microsoft.com/office/drawing/2014/main" id="{F3E754D9-7F1E-45BD-BB5D-415B6B7D3C7D}"/>
                </a:ext>
              </a:extLst>
            </p:cNvPr>
            <p:cNvSpPr>
              <a:spLocks noEditPoints="1"/>
            </p:cNvSpPr>
            <p:nvPr/>
          </p:nvSpPr>
          <p:spPr bwMode="auto">
            <a:xfrm>
              <a:off x="8544687" y="2735672"/>
              <a:ext cx="77917" cy="103890"/>
            </a:xfrm>
            <a:custGeom>
              <a:avLst/>
              <a:gdLst>
                <a:gd name="T0" fmla="*/ 23 w 23"/>
                <a:gd name="T1" fmla="*/ 8 h 30"/>
                <a:gd name="T2" fmla="*/ 20 w 23"/>
                <a:gd name="T3" fmla="*/ 4 h 30"/>
                <a:gd name="T4" fmla="*/ 15 w 23"/>
                <a:gd name="T5" fmla="*/ 1 h 30"/>
                <a:gd name="T6" fmla="*/ 9 w 23"/>
                <a:gd name="T7" fmla="*/ 0 h 30"/>
                <a:gd name="T8" fmla="*/ 2 w 23"/>
                <a:gd name="T9" fmla="*/ 0 h 30"/>
                <a:gd name="T10" fmla="*/ 1 w 23"/>
                <a:gd name="T11" fmla="*/ 0 h 30"/>
                <a:gd name="T12" fmla="*/ 0 w 23"/>
                <a:gd name="T13" fmla="*/ 1 h 30"/>
                <a:gd name="T14" fmla="*/ 0 w 23"/>
                <a:gd name="T15" fmla="*/ 29 h 30"/>
                <a:gd name="T16" fmla="*/ 1 w 23"/>
                <a:gd name="T17" fmla="*/ 30 h 30"/>
                <a:gd name="T18" fmla="*/ 2 w 23"/>
                <a:gd name="T19" fmla="*/ 30 h 30"/>
                <a:gd name="T20" fmla="*/ 8 w 23"/>
                <a:gd name="T21" fmla="*/ 30 h 30"/>
                <a:gd name="T22" fmla="*/ 15 w 23"/>
                <a:gd name="T23" fmla="*/ 29 h 30"/>
                <a:gd name="T24" fmla="*/ 20 w 23"/>
                <a:gd name="T25" fmla="*/ 26 h 30"/>
                <a:gd name="T26" fmla="*/ 22 w 23"/>
                <a:gd name="T27" fmla="*/ 21 h 30"/>
                <a:gd name="T28" fmla="*/ 23 w 23"/>
                <a:gd name="T29" fmla="*/ 15 h 30"/>
                <a:gd name="T30" fmla="*/ 23 w 23"/>
                <a:gd name="T31" fmla="*/ 8 h 30"/>
                <a:gd name="T32" fmla="*/ 19 w 23"/>
                <a:gd name="T33" fmla="*/ 20 h 30"/>
                <a:gd name="T34" fmla="*/ 17 w 23"/>
                <a:gd name="T35" fmla="*/ 24 h 30"/>
                <a:gd name="T36" fmla="*/ 13 w 23"/>
                <a:gd name="T37" fmla="*/ 26 h 30"/>
                <a:gd name="T38" fmla="*/ 8 w 23"/>
                <a:gd name="T39" fmla="*/ 27 h 30"/>
                <a:gd name="T40" fmla="*/ 4 w 23"/>
                <a:gd name="T41" fmla="*/ 27 h 30"/>
                <a:gd name="T42" fmla="*/ 4 w 23"/>
                <a:gd name="T43" fmla="*/ 3 h 30"/>
                <a:gd name="T44" fmla="*/ 8 w 23"/>
                <a:gd name="T45" fmla="*/ 3 h 30"/>
                <a:gd name="T46" fmla="*/ 13 w 23"/>
                <a:gd name="T47" fmla="*/ 4 h 30"/>
                <a:gd name="T48" fmla="*/ 17 w 23"/>
                <a:gd name="T49" fmla="*/ 6 h 30"/>
                <a:gd name="T50" fmla="*/ 19 w 23"/>
                <a:gd name="T51" fmla="*/ 10 h 30"/>
                <a:gd name="T52" fmla="*/ 19 w 23"/>
                <a:gd name="T53" fmla="*/ 15 h 30"/>
                <a:gd name="T54" fmla="*/ 19 w 23"/>
                <a:gd name="T55"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30">
                  <a:moveTo>
                    <a:pt x="23" y="8"/>
                  </a:moveTo>
                  <a:cubicBezTo>
                    <a:pt x="22" y="7"/>
                    <a:pt x="21" y="5"/>
                    <a:pt x="20" y="4"/>
                  </a:cubicBezTo>
                  <a:cubicBezTo>
                    <a:pt x="19" y="3"/>
                    <a:pt x="17" y="2"/>
                    <a:pt x="15" y="1"/>
                  </a:cubicBezTo>
                  <a:cubicBezTo>
                    <a:pt x="13" y="0"/>
                    <a:pt x="11" y="0"/>
                    <a:pt x="9" y="0"/>
                  </a:cubicBezTo>
                  <a:cubicBezTo>
                    <a:pt x="2" y="0"/>
                    <a:pt x="2" y="0"/>
                    <a:pt x="2" y="0"/>
                  </a:cubicBezTo>
                  <a:cubicBezTo>
                    <a:pt x="1" y="0"/>
                    <a:pt x="1" y="0"/>
                    <a:pt x="1" y="0"/>
                  </a:cubicBezTo>
                  <a:cubicBezTo>
                    <a:pt x="0" y="0"/>
                    <a:pt x="0" y="1"/>
                    <a:pt x="0" y="1"/>
                  </a:cubicBezTo>
                  <a:cubicBezTo>
                    <a:pt x="0" y="29"/>
                    <a:pt x="0" y="29"/>
                    <a:pt x="0" y="29"/>
                  </a:cubicBezTo>
                  <a:cubicBezTo>
                    <a:pt x="0" y="29"/>
                    <a:pt x="0" y="30"/>
                    <a:pt x="1" y="30"/>
                  </a:cubicBezTo>
                  <a:cubicBezTo>
                    <a:pt x="1" y="30"/>
                    <a:pt x="1" y="30"/>
                    <a:pt x="2" y="30"/>
                  </a:cubicBezTo>
                  <a:cubicBezTo>
                    <a:pt x="8" y="30"/>
                    <a:pt x="8" y="30"/>
                    <a:pt x="8" y="30"/>
                  </a:cubicBezTo>
                  <a:cubicBezTo>
                    <a:pt x="11" y="30"/>
                    <a:pt x="13" y="30"/>
                    <a:pt x="15" y="29"/>
                  </a:cubicBezTo>
                  <a:cubicBezTo>
                    <a:pt x="17" y="29"/>
                    <a:pt x="18" y="28"/>
                    <a:pt x="20" y="26"/>
                  </a:cubicBezTo>
                  <a:cubicBezTo>
                    <a:pt x="21" y="25"/>
                    <a:pt x="22" y="23"/>
                    <a:pt x="22" y="21"/>
                  </a:cubicBezTo>
                  <a:cubicBezTo>
                    <a:pt x="23" y="19"/>
                    <a:pt x="23" y="17"/>
                    <a:pt x="23" y="15"/>
                  </a:cubicBezTo>
                  <a:cubicBezTo>
                    <a:pt x="23" y="12"/>
                    <a:pt x="23" y="10"/>
                    <a:pt x="23" y="8"/>
                  </a:cubicBezTo>
                  <a:close/>
                  <a:moveTo>
                    <a:pt x="19" y="20"/>
                  </a:moveTo>
                  <a:cubicBezTo>
                    <a:pt x="18" y="22"/>
                    <a:pt x="17" y="23"/>
                    <a:pt x="17" y="24"/>
                  </a:cubicBezTo>
                  <a:cubicBezTo>
                    <a:pt x="16" y="25"/>
                    <a:pt x="15" y="26"/>
                    <a:pt x="13" y="26"/>
                  </a:cubicBezTo>
                  <a:cubicBezTo>
                    <a:pt x="12" y="27"/>
                    <a:pt x="10" y="27"/>
                    <a:pt x="8" y="27"/>
                  </a:cubicBezTo>
                  <a:cubicBezTo>
                    <a:pt x="4" y="27"/>
                    <a:pt x="4" y="27"/>
                    <a:pt x="4" y="27"/>
                  </a:cubicBezTo>
                  <a:cubicBezTo>
                    <a:pt x="4" y="3"/>
                    <a:pt x="4" y="3"/>
                    <a:pt x="4" y="3"/>
                  </a:cubicBezTo>
                  <a:cubicBezTo>
                    <a:pt x="8" y="3"/>
                    <a:pt x="8" y="3"/>
                    <a:pt x="8" y="3"/>
                  </a:cubicBezTo>
                  <a:cubicBezTo>
                    <a:pt x="10" y="3"/>
                    <a:pt x="12" y="3"/>
                    <a:pt x="13" y="4"/>
                  </a:cubicBezTo>
                  <a:cubicBezTo>
                    <a:pt x="15" y="5"/>
                    <a:pt x="16" y="5"/>
                    <a:pt x="17" y="6"/>
                  </a:cubicBezTo>
                  <a:cubicBezTo>
                    <a:pt x="18" y="7"/>
                    <a:pt x="18" y="9"/>
                    <a:pt x="19" y="10"/>
                  </a:cubicBezTo>
                  <a:cubicBezTo>
                    <a:pt x="19" y="12"/>
                    <a:pt x="19" y="13"/>
                    <a:pt x="19" y="15"/>
                  </a:cubicBezTo>
                  <a:cubicBezTo>
                    <a:pt x="19" y="17"/>
                    <a:pt x="19" y="19"/>
                    <a:pt x="19" y="2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71">
              <a:extLst>
                <a:ext uri="{FF2B5EF4-FFF2-40B4-BE49-F238E27FC236}">
                  <a16:creationId xmlns:a16="http://schemas.microsoft.com/office/drawing/2014/main" id="{F092FA4F-7A99-434E-BCFD-0F85CEFE678E}"/>
                </a:ext>
              </a:extLst>
            </p:cNvPr>
            <p:cNvSpPr>
              <a:spLocks noEditPoints="1"/>
            </p:cNvSpPr>
            <p:nvPr/>
          </p:nvSpPr>
          <p:spPr bwMode="auto">
            <a:xfrm>
              <a:off x="8639919" y="2760202"/>
              <a:ext cx="64932" cy="82247"/>
            </a:xfrm>
            <a:custGeom>
              <a:avLst/>
              <a:gdLst>
                <a:gd name="T0" fmla="*/ 19 w 19"/>
                <a:gd name="T1" fmla="*/ 10 h 24"/>
                <a:gd name="T2" fmla="*/ 19 w 19"/>
                <a:gd name="T3" fmla="*/ 7 h 24"/>
                <a:gd name="T4" fmla="*/ 17 w 19"/>
                <a:gd name="T5" fmla="*/ 3 h 24"/>
                <a:gd name="T6" fmla="*/ 14 w 19"/>
                <a:gd name="T7" fmla="*/ 1 h 24"/>
                <a:gd name="T8" fmla="*/ 10 w 19"/>
                <a:gd name="T9" fmla="*/ 0 h 24"/>
                <a:gd name="T10" fmla="*/ 6 w 19"/>
                <a:gd name="T11" fmla="*/ 1 h 24"/>
                <a:gd name="T12" fmla="*/ 3 w 19"/>
                <a:gd name="T13" fmla="*/ 4 h 24"/>
                <a:gd name="T14" fmla="*/ 1 w 19"/>
                <a:gd name="T15" fmla="*/ 7 h 24"/>
                <a:gd name="T16" fmla="*/ 0 w 19"/>
                <a:gd name="T17" fmla="*/ 12 h 24"/>
                <a:gd name="T18" fmla="*/ 1 w 19"/>
                <a:gd name="T19" fmla="*/ 17 h 24"/>
                <a:gd name="T20" fmla="*/ 3 w 19"/>
                <a:gd name="T21" fmla="*/ 21 h 24"/>
                <a:gd name="T22" fmla="*/ 6 w 19"/>
                <a:gd name="T23" fmla="*/ 23 h 24"/>
                <a:gd name="T24" fmla="*/ 11 w 19"/>
                <a:gd name="T25" fmla="*/ 24 h 24"/>
                <a:gd name="T26" fmla="*/ 13 w 19"/>
                <a:gd name="T27" fmla="*/ 23 h 24"/>
                <a:gd name="T28" fmla="*/ 16 w 19"/>
                <a:gd name="T29" fmla="*/ 23 h 24"/>
                <a:gd name="T30" fmla="*/ 17 w 19"/>
                <a:gd name="T31" fmla="*/ 22 h 24"/>
                <a:gd name="T32" fmla="*/ 18 w 19"/>
                <a:gd name="T33" fmla="*/ 22 h 24"/>
                <a:gd name="T34" fmla="*/ 18 w 19"/>
                <a:gd name="T35" fmla="*/ 22 h 24"/>
                <a:gd name="T36" fmla="*/ 18 w 19"/>
                <a:gd name="T37" fmla="*/ 21 h 24"/>
                <a:gd name="T38" fmla="*/ 19 w 19"/>
                <a:gd name="T39" fmla="*/ 21 h 24"/>
                <a:gd name="T40" fmla="*/ 19 w 19"/>
                <a:gd name="T41" fmla="*/ 20 h 24"/>
                <a:gd name="T42" fmla="*/ 19 w 19"/>
                <a:gd name="T43" fmla="*/ 20 h 24"/>
                <a:gd name="T44" fmla="*/ 18 w 19"/>
                <a:gd name="T45" fmla="*/ 19 h 24"/>
                <a:gd name="T46" fmla="*/ 18 w 19"/>
                <a:gd name="T47" fmla="*/ 19 h 24"/>
                <a:gd name="T48" fmla="*/ 18 w 19"/>
                <a:gd name="T49" fmla="*/ 19 h 24"/>
                <a:gd name="T50" fmla="*/ 17 w 19"/>
                <a:gd name="T51" fmla="*/ 19 h 24"/>
                <a:gd name="T52" fmla="*/ 16 w 19"/>
                <a:gd name="T53" fmla="*/ 20 h 24"/>
                <a:gd name="T54" fmla="*/ 14 w 19"/>
                <a:gd name="T55" fmla="*/ 20 h 24"/>
                <a:gd name="T56" fmla="*/ 11 w 19"/>
                <a:gd name="T57" fmla="*/ 20 h 24"/>
                <a:gd name="T58" fmla="*/ 8 w 19"/>
                <a:gd name="T59" fmla="*/ 20 h 24"/>
                <a:gd name="T60" fmla="*/ 6 w 19"/>
                <a:gd name="T61" fmla="*/ 18 h 24"/>
                <a:gd name="T62" fmla="*/ 4 w 19"/>
                <a:gd name="T63" fmla="*/ 16 h 24"/>
                <a:gd name="T64" fmla="*/ 4 w 19"/>
                <a:gd name="T65" fmla="*/ 13 h 24"/>
                <a:gd name="T66" fmla="*/ 18 w 19"/>
                <a:gd name="T67" fmla="*/ 13 h 24"/>
                <a:gd name="T68" fmla="*/ 19 w 19"/>
                <a:gd name="T69" fmla="*/ 12 h 24"/>
                <a:gd name="T70" fmla="*/ 19 w 19"/>
                <a:gd name="T71" fmla="*/ 11 h 24"/>
                <a:gd name="T72" fmla="*/ 19 w 19"/>
                <a:gd name="T73" fmla="*/ 10 h 24"/>
                <a:gd name="T74" fmla="*/ 4 w 19"/>
                <a:gd name="T75" fmla="*/ 10 h 24"/>
                <a:gd name="T76" fmla="*/ 4 w 19"/>
                <a:gd name="T77" fmla="*/ 7 h 24"/>
                <a:gd name="T78" fmla="*/ 6 w 19"/>
                <a:gd name="T79" fmla="*/ 5 h 24"/>
                <a:gd name="T80" fmla="*/ 7 w 19"/>
                <a:gd name="T81" fmla="*/ 4 h 24"/>
                <a:gd name="T82" fmla="*/ 10 w 19"/>
                <a:gd name="T83" fmla="*/ 3 h 24"/>
                <a:gd name="T84" fmla="*/ 14 w 19"/>
                <a:gd name="T85" fmla="*/ 5 h 24"/>
                <a:gd name="T86" fmla="*/ 16 w 19"/>
                <a:gd name="T87" fmla="*/ 10 h 24"/>
                <a:gd name="T88" fmla="*/ 4 w 19"/>
                <a:gd name="T89"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4">
                  <a:moveTo>
                    <a:pt x="19" y="10"/>
                  </a:moveTo>
                  <a:cubicBezTo>
                    <a:pt x="19" y="9"/>
                    <a:pt x="19" y="8"/>
                    <a:pt x="19" y="7"/>
                  </a:cubicBezTo>
                  <a:cubicBezTo>
                    <a:pt x="19" y="5"/>
                    <a:pt x="18" y="4"/>
                    <a:pt x="17" y="3"/>
                  </a:cubicBezTo>
                  <a:cubicBezTo>
                    <a:pt x="17" y="2"/>
                    <a:pt x="16" y="2"/>
                    <a:pt x="14" y="1"/>
                  </a:cubicBezTo>
                  <a:cubicBezTo>
                    <a:pt x="13" y="1"/>
                    <a:pt x="12" y="0"/>
                    <a:pt x="10" y="0"/>
                  </a:cubicBezTo>
                  <a:cubicBezTo>
                    <a:pt x="9" y="0"/>
                    <a:pt x="7" y="1"/>
                    <a:pt x="6" y="1"/>
                  </a:cubicBezTo>
                  <a:cubicBezTo>
                    <a:pt x="5" y="2"/>
                    <a:pt x="4" y="3"/>
                    <a:pt x="3" y="4"/>
                  </a:cubicBezTo>
                  <a:cubicBezTo>
                    <a:pt x="2" y="5"/>
                    <a:pt x="1" y="6"/>
                    <a:pt x="1" y="7"/>
                  </a:cubicBezTo>
                  <a:cubicBezTo>
                    <a:pt x="0" y="9"/>
                    <a:pt x="0" y="10"/>
                    <a:pt x="0" y="12"/>
                  </a:cubicBezTo>
                  <a:cubicBezTo>
                    <a:pt x="0" y="14"/>
                    <a:pt x="0" y="16"/>
                    <a:pt x="1" y="17"/>
                  </a:cubicBezTo>
                  <a:cubicBezTo>
                    <a:pt x="1" y="19"/>
                    <a:pt x="2" y="20"/>
                    <a:pt x="3" y="21"/>
                  </a:cubicBezTo>
                  <a:cubicBezTo>
                    <a:pt x="4" y="22"/>
                    <a:pt x="5" y="22"/>
                    <a:pt x="6" y="23"/>
                  </a:cubicBezTo>
                  <a:cubicBezTo>
                    <a:pt x="7" y="23"/>
                    <a:pt x="9" y="24"/>
                    <a:pt x="11" y="24"/>
                  </a:cubicBezTo>
                  <a:cubicBezTo>
                    <a:pt x="12" y="24"/>
                    <a:pt x="13" y="24"/>
                    <a:pt x="13" y="23"/>
                  </a:cubicBezTo>
                  <a:cubicBezTo>
                    <a:pt x="14" y="23"/>
                    <a:pt x="15" y="23"/>
                    <a:pt x="16" y="23"/>
                  </a:cubicBezTo>
                  <a:cubicBezTo>
                    <a:pt x="16" y="23"/>
                    <a:pt x="17" y="23"/>
                    <a:pt x="17" y="22"/>
                  </a:cubicBezTo>
                  <a:cubicBezTo>
                    <a:pt x="18" y="22"/>
                    <a:pt x="18" y="22"/>
                    <a:pt x="18" y="22"/>
                  </a:cubicBezTo>
                  <a:cubicBezTo>
                    <a:pt x="18" y="22"/>
                    <a:pt x="18" y="22"/>
                    <a:pt x="18" y="22"/>
                  </a:cubicBezTo>
                  <a:cubicBezTo>
                    <a:pt x="18" y="22"/>
                    <a:pt x="18" y="21"/>
                    <a:pt x="18" y="21"/>
                  </a:cubicBezTo>
                  <a:cubicBezTo>
                    <a:pt x="18" y="21"/>
                    <a:pt x="19" y="21"/>
                    <a:pt x="19" y="21"/>
                  </a:cubicBezTo>
                  <a:cubicBezTo>
                    <a:pt x="19" y="21"/>
                    <a:pt x="19" y="21"/>
                    <a:pt x="19" y="20"/>
                  </a:cubicBezTo>
                  <a:cubicBezTo>
                    <a:pt x="19" y="20"/>
                    <a:pt x="19" y="20"/>
                    <a:pt x="19" y="20"/>
                  </a:cubicBezTo>
                  <a:cubicBezTo>
                    <a:pt x="18" y="19"/>
                    <a:pt x="18" y="19"/>
                    <a:pt x="18" y="19"/>
                  </a:cubicBezTo>
                  <a:cubicBezTo>
                    <a:pt x="18" y="19"/>
                    <a:pt x="18" y="19"/>
                    <a:pt x="18" y="19"/>
                  </a:cubicBezTo>
                  <a:cubicBezTo>
                    <a:pt x="18" y="19"/>
                    <a:pt x="18" y="19"/>
                    <a:pt x="18" y="19"/>
                  </a:cubicBezTo>
                  <a:cubicBezTo>
                    <a:pt x="18" y="19"/>
                    <a:pt x="17" y="19"/>
                    <a:pt x="17" y="19"/>
                  </a:cubicBezTo>
                  <a:cubicBezTo>
                    <a:pt x="17" y="19"/>
                    <a:pt x="16" y="19"/>
                    <a:pt x="16" y="20"/>
                  </a:cubicBezTo>
                  <a:cubicBezTo>
                    <a:pt x="15" y="20"/>
                    <a:pt x="14" y="20"/>
                    <a:pt x="14" y="20"/>
                  </a:cubicBezTo>
                  <a:cubicBezTo>
                    <a:pt x="13" y="20"/>
                    <a:pt x="12" y="20"/>
                    <a:pt x="11" y="20"/>
                  </a:cubicBezTo>
                  <a:cubicBezTo>
                    <a:pt x="10" y="20"/>
                    <a:pt x="9" y="20"/>
                    <a:pt x="8" y="20"/>
                  </a:cubicBezTo>
                  <a:cubicBezTo>
                    <a:pt x="7" y="20"/>
                    <a:pt x="6" y="19"/>
                    <a:pt x="6" y="18"/>
                  </a:cubicBezTo>
                  <a:cubicBezTo>
                    <a:pt x="5" y="18"/>
                    <a:pt x="5" y="17"/>
                    <a:pt x="4" y="16"/>
                  </a:cubicBezTo>
                  <a:cubicBezTo>
                    <a:pt x="4" y="15"/>
                    <a:pt x="4" y="14"/>
                    <a:pt x="4" y="13"/>
                  </a:cubicBezTo>
                  <a:cubicBezTo>
                    <a:pt x="18" y="13"/>
                    <a:pt x="18" y="13"/>
                    <a:pt x="18" y="13"/>
                  </a:cubicBezTo>
                  <a:cubicBezTo>
                    <a:pt x="18" y="13"/>
                    <a:pt x="19" y="13"/>
                    <a:pt x="19" y="12"/>
                  </a:cubicBezTo>
                  <a:cubicBezTo>
                    <a:pt x="19" y="12"/>
                    <a:pt x="19" y="12"/>
                    <a:pt x="19" y="11"/>
                  </a:cubicBezTo>
                  <a:cubicBezTo>
                    <a:pt x="19" y="10"/>
                    <a:pt x="19" y="10"/>
                    <a:pt x="19" y="10"/>
                  </a:cubicBezTo>
                  <a:close/>
                  <a:moveTo>
                    <a:pt x="4" y="10"/>
                  </a:moveTo>
                  <a:cubicBezTo>
                    <a:pt x="4" y="9"/>
                    <a:pt x="4" y="8"/>
                    <a:pt x="4" y="7"/>
                  </a:cubicBezTo>
                  <a:cubicBezTo>
                    <a:pt x="5" y="7"/>
                    <a:pt x="5" y="6"/>
                    <a:pt x="6" y="5"/>
                  </a:cubicBezTo>
                  <a:cubicBezTo>
                    <a:pt x="6" y="5"/>
                    <a:pt x="7" y="4"/>
                    <a:pt x="7" y="4"/>
                  </a:cubicBezTo>
                  <a:cubicBezTo>
                    <a:pt x="8" y="4"/>
                    <a:pt x="9" y="3"/>
                    <a:pt x="10" y="3"/>
                  </a:cubicBezTo>
                  <a:cubicBezTo>
                    <a:pt x="12" y="3"/>
                    <a:pt x="13" y="4"/>
                    <a:pt x="14" y="5"/>
                  </a:cubicBezTo>
                  <a:cubicBezTo>
                    <a:pt x="15" y="6"/>
                    <a:pt x="16" y="8"/>
                    <a:pt x="16" y="10"/>
                  </a:cubicBezTo>
                  <a:cubicBezTo>
                    <a:pt x="4" y="10"/>
                    <a:pt x="4" y="10"/>
                    <a:pt x="4"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72">
              <a:extLst>
                <a:ext uri="{FF2B5EF4-FFF2-40B4-BE49-F238E27FC236}">
                  <a16:creationId xmlns:a16="http://schemas.microsoft.com/office/drawing/2014/main" id="{696908BB-49C7-4781-9B6E-60D9E6F495E9}"/>
                </a:ext>
              </a:extLst>
            </p:cNvPr>
            <p:cNvSpPr>
              <a:spLocks/>
            </p:cNvSpPr>
            <p:nvPr/>
          </p:nvSpPr>
          <p:spPr bwMode="auto">
            <a:xfrm>
              <a:off x="8722166" y="2760202"/>
              <a:ext cx="51945" cy="82247"/>
            </a:xfrm>
            <a:custGeom>
              <a:avLst/>
              <a:gdLst>
                <a:gd name="T0" fmla="*/ 14 w 15"/>
                <a:gd name="T1" fmla="*/ 14 h 24"/>
                <a:gd name="T2" fmla="*/ 13 w 15"/>
                <a:gd name="T3" fmla="*/ 13 h 24"/>
                <a:gd name="T4" fmla="*/ 11 w 15"/>
                <a:gd name="T5" fmla="*/ 12 h 24"/>
                <a:gd name="T6" fmla="*/ 9 w 15"/>
                <a:gd name="T7" fmla="*/ 11 h 24"/>
                <a:gd name="T8" fmla="*/ 7 w 15"/>
                <a:gd name="T9" fmla="*/ 10 h 24"/>
                <a:gd name="T10" fmla="*/ 6 w 15"/>
                <a:gd name="T11" fmla="*/ 9 h 24"/>
                <a:gd name="T12" fmla="*/ 4 w 15"/>
                <a:gd name="T13" fmla="*/ 8 h 24"/>
                <a:gd name="T14" fmla="*/ 4 w 15"/>
                <a:gd name="T15" fmla="*/ 6 h 24"/>
                <a:gd name="T16" fmla="*/ 4 w 15"/>
                <a:gd name="T17" fmla="*/ 5 h 24"/>
                <a:gd name="T18" fmla="*/ 5 w 15"/>
                <a:gd name="T19" fmla="*/ 4 h 24"/>
                <a:gd name="T20" fmla="*/ 6 w 15"/>
                <a:gd name="T21" fmla="*/ 4 h 24"/>
                <a:gd name="T22" fmla="*/ 8 w 15"/>
                <a:gd name="T23" fmla="*/ 3 h 24"/>
                <a:gd name="T24" fmla="*/ 10 w 15"/>
                <a:gd name="T25" fmla="*/ 4 h 24"/>
                <a:gd name="T26" fmla="*/ 11 w 15"/>
                <a:gd name="T27" fmla="*/ 4 h 24"/>
                <a:gd name="T28" fmla="*/ 12 w 15"/>
                <a:gd name="T29" fmla="*/ 5 h 24"/>
                <a:gd name="T30" fmla="*/ 13 w 15"/>
                <a:gd name="T31" fmla="*/ 5 h 24"/>
                <a:gd name="T32" fmla="*/ 13 w 15"/>
                <a:gd name="T33" fmla="*/ 5 h 24"/>
                <a:gd name="T34" fmla="*/ 13 w 15"/>
                <a:gd name="T35" fmla="*/ 5 h 24"/>
                <a:gd name="T36" fmla="*/ 14 w 15"/>
                <a:gd name="T37" fmla="*/ 4 h 24"/>
                <a:gd name="T38" fmla="*/ 14 w 15"/>
                <a:gd name="T39" fmla="*/ 4 h 24"/>
                <a:gd name="T40" fmla="*/ 14 w 15"/>
                <a:gd name="T41" fmla="*/ 3 h 24"/>
                <a:gd name="T42" fmla="*/ 13 w 15"/>
                <a:gd name="T43" fmla="*/ 2 h 24"/>
                <a:gd name="T44" fmla="*/ 13 w 15"/>
                <a:gd name="T45" fmla="*/ 2 h 24"/>
                <a:gd name="T46" fmla="*/ 13 w 15"/>
                <a:gd name="T47" fmla="*/ 2 h 24"/>
                <a:gd name="T48" fmla="*/ 12 w 15"/>
                <a:gd name="T49" fmla="*/ 1 h 24"/>
                <a:gd name="T50" fmla="*/ 11 w 15"/>
                <a:gd name="T51" fmla="*/ 1 h 24"/>
                <a:gd name="T52" fmla="*/ 10 w 15"/>
                <a:gd name="T53" fmla="*/ 1 h 24"/>
                <a:gd name="T54" fmla="*/ 8 w 15"/>
                <a:gd name="T55" fmla="*/ 0 h 24"/>
                <a:gd name="T56" fmla="*/ 5 w 15"/>
                <a:gd name="T57" fmla="*/ 1 h 24"/>
                <a:gd name="T58" fmla="*/ 2 w 15"/>
                <a:gd name="T59" fmla="*/ 2 h 24"/>
                <a:gd name="T60" fmla="*/ 1 w 15"/>
                <a:gd name="T61" fmla="*/ 4 h 24"/>
                <a:gd name="T62" fmla="*/ 0 w 15"/>
                <a:gd name="T63" fmla="*/ 7 h 24"/>
                <a:gd name="T64" fmla="*/ 1 w 15"/>
                <a:gd name="T65" fmla="*/ 9 h 24"/>
                <a:gd name="T66" fmla="*/ 2 w 15"/>
                <a:gd name="T67" fmla="*/ 11 h 24"/>
                <a:gd name="T68" fmla="*/ 4 w 15"/>
                <a:gd name="T69" fmla="*/ 12 h 24"/>
                <a:gd name="T70" fmla="*/ 6 w 15"/>
                <a:gd name="T71" fmla="*/ 13 h 24"/>
                <a:gd name="T72" fmla="*/ 7 w 15"/>
                <a:gd name="T73" fmla="*/ 14 h 24"/>
                <a:gd name="T74" fmla="*/ 9 w 15"/>
                <a:gd name="T75" fmla="*/ 15 h 24"/>
                <a:gd name="T76" fmla="*/ 10 w 15"/>
                <a:gd name="T77" fmla="*/ 16 h 24"/>
                <a:gd name="T78" fmla="*/ 11 w 15"/>
                <a:gd name="T79" fmla="*/ 17 h 24"/>
                <a:gd name="T80" fmla="*/ 11 w 15"/>
                <a:gd name="T81" fmla="*/ 19 h 24"/>
                <a:gd name="T82" fmla="*/ 10 w 15"/>
                <a:gd name="T83" fmla="*/ 20 h 24"/>
                <a:gd name="T84" fmla="*/ 8 w 15"/>
                <a:gd name="T85" fmla="*/ 20 h 24"/>
                <a:gd name="T86" fmla="*/ 6 w 15"/>
                <a:gd name="T87" fmla="*/ 21 h 24"/>
                <a:gd name="T88" fmla="*/ 4 w 15"/>
                <a:gd name="T89" fmla="*/ 20 h 24"/>
                <a:gd name="T90" fmla="*/ 2 w 15"/>
                <a:gd name="T91" fmla="*/ 20 h 24"/>
                <a:gd name="T92" fmla="*/ 1 w 15"/>
                <a:gd name="T93" fmla="*/ 19 h 24"/>
                <a:gd name="T94" fmla="*/ 0 w 15"/>
                <a:gd name="T95" fmla="*/ 18 h 24"/>
                <a:gd name="T96" fmla="*/ 0 w 15"/>
                <a:gd name="T97" fmla="*/ 19 h 24"/>
                <a:gd name="T98" fmla="*/ 0 w 15"/>
                <a:gd name="T99" fmla="*/ 19 h 24"/>
                <a:gd name="T100" fmla="*/ 0 w 15"/>
                <a:gd name="T101" fmla="*/ 19 h 24"/>
                <a:gd name="T102" fmla="*/ 0 w 15"/>
                <a:gd name="T103" fmla="*/ 20 h 24"/>
                <a:gd name="T104" fmla="*/ 0 w 15"/>
                <a:gd name="T105" fmla="*/ 21 h 24"/>
                <a:gd name="T106" fmla="*/ 0 w 15"/>
                <a:gd name="T107" fmla="*/ 22 h 24"/>
                <a:gd name="T108" fmla="*/ 1 w 15"/>
                <a:gd name="T109" fmla="*/ 22 h 24"/>
                <a:gd name="T110" fmla="*/ 2 w 15"/>
                <a:gd name="T111" fmla="*/ 23 h 24"/>
                <a:gd name="T112" fmla="*/ 4 w 15"/>
                <a:gd name="T113" fmla="*/ 23 h 24"/>
                <a:gd name="T114" fmla="*/ 6 w 15"/>
                <a:gd name="T115" fmla="*/ 24 h 24"/>
                <a:gd name="T116" fmla="*/ 10 w 15"/>
                <a:gd name="T117" fmla="*/ 23 h 24"/>
                <a:gd name="T118" fmla="*/ 12 w 15"/>
                <a:gd name="T119" fmla="*/ 22 h 24"/>
                <a:gd name="T120" fmla="*/ 14 w 15"/>
                <a:gd name="T121" fmla="*/ 20 h 24"/>
                <a:gd name="T122" fmla="*/ 15 w 15"/>
                <a:gd name="T123" fmla="*/ 17 h 24"/>
                <a:gd name="T124" fmla="*/ 14 w 15"/>
                <a:gd name="T125"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4">
                  <a:moveTo>
                    <a:pt x="14" y="14"/>
                  </a:moveTo>
                  <a:cubicBezTo>
                    <a:pt x="14" y="14"/>
                    <a:pt x="13" y="13"/>
                    <a:pt x="13" y="13"/>
                  </a:cubicBezTo>
                  <a:cubicBezTo>
                    <a:pt x="12" y="12"/>
                    <a:pt x="12" y="12"/>
                    <a:pt x="11" y="12"/>
                  </a:cubicBezTo>
                  <a:cubicBezTo>
                    <a:pt x="11" y="11"/>
                    <a:pt x="10" y="11"/>
                    <a:pt x="9" y="11"/>
                  </a:cubicBezTo>
                  <a:cubicBezTo>
                    <a:pt x="9" y="10"/>
                    <a:pt x="8" y="10"/>
                    <a:pt x="7" y="10"/>
                  </a:cubicBezTo>
                  <a:cubicBezTo>
                    <a:pt x="7" y="10"/>
                    <a:pt x="6" y="9"/>
                    <a:pt x="6" y="9"/>
                  </a:cubicBezTo>
                  <a:cubicBezTo>
                    <a:pt x="5" y="9"/>
                    <a:pt x="5" y="8"/>
                    <a:pt x="4" y="8"/>
                  </a:cubicBezTo>
                  <a:cubicBezTo>
                    <a:pt x="4" y="8"/>
                    <a:pt x="4" y="7"/>
                    <a:pt x="4" y="6"/>
                  </a:cubicBezTo>
                  <a:cubicBezTo>
                    <a:pt x="4" y="6"/>
                    <a:pt x="4" y="6"/>
                    <a:pt x="4" y="5"/>
                  </a:cubicBezTo>
                  <a:cubicBezTo>
                    <a:pt x="4" y="5"/>
                    <a:pt x="5" y="5"/>
                    <a:pt x="5" y="4"/>
                  </a:cubicBezTo>
                  <a:cubicBezTo>
                    <a:pt x="5" y="4"/>
                    <a:pt x="6" y="4"/>
                    <a:pt x="6" y="4"/>
                  </a:cubicBezTo>
                  <a:cubicBezTo>
                    <a:pt x="7" y="3"/>
                    <a:pt x="7" y="3"/>
                    <a:pt x="8" y="3"/>
                  </a:cubicBezTo>
                  <a:cubicBezTo>
                    <a:pt x="9" y="3"/>
                    <a:pt x="9" y="4"/>
                    <a:pt x="10" y="4"/>
                  </a:cubicBezTo>
                  <a:cubicBezTo>
                    <a:pt x="10" y="4"/>
                    <a:pt x="11" y="4"/>
                    <a:pt x="11" y="4"/>
                  </a:cubicBezTo>
                  <a:cubicBezTo>
                    <a:pt x="12" y="4"/>
                    <a:pt x="12" y="5"/>
                    <a:pt x="12" y="5"/>
                  </a:cubicBezTo>
                  <a:cubicBezTo>
                    <a:pt x="13" y="5"/>
                    <a:pt x="13" y="5"/>
                    <a:pt x="13" y="5"/>
                  </a:cubicBezTo>
                  <a:cubicBezTo>
                    <a:pt x="13" y="5"/>
                    <a:pt x="13" y="5"/>
                    <a:pt x="13" y="5"/>
                  </a:cubicBezTo>
                  <a:cubicBezTo>
                    <a:pt x="13" y="5"/>
                    <a:pt x="13" y="5"/>
                    <a:pt x="13" y="5"/>
                  </a:cubicBezTo>
                  <a:cubicBezTo>
                    <a:pt x="13" y="5"/>
                    <a:pt x="14" y="4"/>
                    <a:pt x="14" y="4"/>
                  </a:cubicBezTo>
                  <a:cubicBezTo>
                    <a:pt x="14" y="4"/>
                    <a:pt x="14" y="4"/>
                    <a:pt x="14" y="4"/>
                  </a:cubicBezTo>
                  <a:cubicBezTo>
                    <a:pt x="14" y="3"/>
                    <a:pt x="14" y="3"/>
                    <a:pt x="14" y="3"/>
                  </a:cubicBezTo>
                  <a:cubicBezTo>
                    <a:pt x="14" y="3"/>
                    <a:pt x="13" y="3"/>
                    <a:pt x="13" y="2"/>
                  </a:cubicBezTo>
                  <a:cubicBezTo>
                    <a:pt x="13" y="2"/>
                    <a:pt x="13" y="2"/>
                    <a:pt x="13" y="2"/>
                  </a:cubicBezTo>
                  <a:cubicBezTo>
                    <a:pt x="13" y="2"/>
                    <a:pt x="13" y="2"/>
                    <a:pt x="13" y="2"/>
                  </a:cubicBezTo>
                  <a:cubicBezTo>
                    <a:pt x="13" y="2"/>
                    <a:pt x="13" y="2"/>
                    <a:pt x="12" y="1"/>
                  </a:cubicBezTo>
                  <a:cubicBezTo>
                    <a:pt x="12" y="1"/>
                    <a:pt x="12" y="1"/>
                    <a:pt x="11" y="1"/>
                  </a:cubicBezTo>
                  <a:cubicBezTo>
                    <a:pt x="11" y="1"/>
                    <a:pt x="10" y="1"/>
                    <a:pt x="10" y="1"/>
                  </a:cubicBezTo>
                  <a:cubicBezTo>
                    <a:pt x="9" y="0"/>
                    <a:pt x="8" y="0"/>
                    <a:pt x="8" y="0"/>
                  </a:cubicBezTo>
                  <a:cubicBezTo>
                    <a:pt x="7" y="0"/>
                    <a:pt x="6" y="1"/>
                    <a:pt x="5" y="1"/>
                  </a:cubicBezTo>
                  <a:cubicBezTo>
                    <a:pt x="4" y="1"/>
                    <a:pt x="3" y="2"/>
                    <a:pt x="2" y="2"/>
                  </a:cubicBezTo>
                  <a:cubicBezTo>
                    <a:pt x="2" y="3"/>
                    <a:pt x="1" y="4"/>
                    <a:pt x="1" y="4"/>
                  </a:cubicBezTo>
                  <a:cubicBezTo>
                    <a:pt x="0" y="5"/>
                    <a:pt x="0" y="6"/>
                    <a:pt x="0" y="7"/>
                  </a:cubicBezTo>
                  <a:cubicBezTo>
                    <a:pt x="0" y="8"/>
                    <a:pt x="0" y="8"/>
                    <a:pt x="1" y="9"/>
                  </a:cubicBezTo>
                  <a:cubicBezTo>
                    <a:pt x="1" y="10"/>
                    <a:pt x="1" y="10"/>
                    <a:pt x="2" y="11"/>
                  </a:cubicBezTo>
                  <a:cubicBezTo>
                    <a:pt x="2" y="11"/>
                    <a:pt x="3" y="12"/>
                    <a:pt x="4" y="12"/>
                  </a:cubicBezTo>
                  <a:cubicBezTo>
                    <a:pt x="4" y="12"/>
                    <a:pt x="5" y="13"/>
                    <a:pt x="6" y="13"/>
                  </a:cubicBezTo>
                  <a:cubicBezTo>
                    <a:pt x="6" y="13"/>
                    <a:pt x="7" y="13"/>
                    <a:pt x="7" y="14"/>
                  </a:cubicBezTo>
                  <a:cubicBezTo>
                    <a:pt x="8" y="14"/>
                    <a:pt x="9" y="14"/>
                    <a:pt x="9" y="15"/>
                  </a:cubicBezTo>
                  <a:cubicBezTo>
                    <a:pt x="10" y="15"/>
                    <a:pt x="10" y="15"/>
                    <a:pt x="10" y="16"/>
                  </a:cubicBezTo>
                  <a:cubicBezTo>
                    <a:pt x="11" y="16"/>
                    <a:pt x="11" y="17"/>
                    <a:pt x="11" y="17"/>
                  </a:cubicBezTo>
                  <a:cubicBezTo>
                    <a:pt x="11" y="18"/>
                    <a:pt x="11" y="18"/>
                    <a:pt x="11" y="19"/>
                  </a:cubicBezTo>
                  <a:cubicBezTo>
                    <a:pt x="10" y="19"/>
                    <a:pt x="10" y="19"/>
                    <a:pt x="10" y="20"/>
                  </a:cubicBezTo>
                  <a:cubicBezTo>
                    <a:pt x="9" y="20"/>
                    <a:pt x="9" y="20"/>
                    <a:pt x="8" y="20"/>
                  </a:cubicBezTo>
                  <a:cubicBezTo>
                    <a:pt x="8" y="20"/>
                    <a:pt x="7" y="21"/>
                    <a:pt x="6" y="21"/>
                  </a:cubicBezTo>
                  <a:cubicBezTo>
                    <a:pt x="6" y="21"/>
                    <a:pt x="5" y="20"/>
                    <a:pt x="4" y="20"/>
                  </a:cubicBezTo>
                  <a:cubicBezTo>
                    <a:pt x="3" y="20"/>
                    <a:pt x="3" y="20"/>
                    <a:pt x="2" y="20"/>
                  </a:cubicBezTo>
                  <a:cubicBezTo>
                    <a:pt x="2" y="19"/>
                    <a:pt x="1" y="19"/>
                    <a:pt x="1" y="19"/>
                  </a:cubicBezTo>
                  <a:cubicBezTo>
                    <a:pt x="1" y="19"/>
                    <a:pt x="1" y="18"/>
                    <a:pt x="0" y="18"/>
                  </a:cubicBezTo>
                  <a:cubicBezTo>
                    <a:pt x="0" y="18"/>
                    <a:pt x="0" y="19"/>
                    <a:pt x="0" y="19"/>
                  </a:cubicBezTo>
                  <a:cubicBezTo>
                    <a:pt x="0" y="19"/>
                    <a:pt x="0" y="19"/>
                    <a:pt x="0" y="19"/>
                  </a:cubicBezTo>
                  <a:cubicBezTo>
                    <a:pt x="0" y="19"/>
                    <a:pt x="0" y="19"/>
                    <a:pt x="0" y="19"/>
                  </a:cubicBezTo>
                  <a:cubicBezTo>
                    <a:pt x="0" y="20"/>
                    <a:pt x="0" y="20"/>
                    <a:pt x="0" y="20"/>
                  </a:cubicBezTo>
                  <a:cubicBezTo>
                    <a:pt x="0" y="21"/>
                    <a:pt x="0" y="21"/>
                    <a:pt x="0" y="21"/>
                  </a:cubicBezTo>
                  <a:cubicBezTo>
                    <a:pt x="0" y="22"/>
                    <a:pt x="0" y="22"/>
                    <a:pt x="0" y="22"/>
                  </a:cubicBezTo>
                  <a:cubicBezTo>
                    <a:pt x="0" y="22"/>
                    <a:pt x="1" y="22"/>
                    <a:pt x="1" y="22"/>
                  </a:cubicBezTo>
                  <a:cubicBezTo>
                    <a:pt x="1" y="23"/>
                    <a:pt x="2" y="23"/>
                    <a:pt x="2" y="23"/>
                  </a:cubicBezTo>
                  <a:cubicBezTo>
                    <a:pt x="3" y="23"/>
                    <a:pt x="4" y="23"/>
                    <a:pt x="4" y="23"/>
                  </a:cubicBezTo>
                  <a:cubicBezTo>
                    <a:pt x="5" y="24"/>
                    <a:pt x="6" y="24"/>
                    <a:pt x="6" y="24"/>
                  </a:cubicBezTo>
                  <a:cubicBezTo>
                    <a:pt x="8" y="24"/>
                    <a:pt x="9" y="23"/>
                    <a:pt x="10" y="23"/>
                  </a:cubicBezTo>
                  <a:cubicBezTo>
                    <a:pt x="11" y="23"/>
                    <a:pt x="12" y="22"/>
                    <a:pt x="12" y="22"/>
                  </a:cubicBezTo>
                  <a:cubicBezTo>
                    <a:pt x="13" y="21"/>
                    <a:pt x="14" y="21"/>
                    <a:pt x="14" y="20"/>
                  </a:cubicBezTo>
                  <a:cubicBezTo>
                    <a:pt x="14" y="19"/>
                    <a:pt x="15" y="18"/>
                    <a:pt x="15" y="17"/>
                  </a:cubicBezTo>
                  <a:cubicBezTo>
                    <a:pt x="15" y="16"/>
                    <a:pt x="15" y="15"/>
                    <a:pt x="14"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73">
              <a:extLst>
                <a:ext uri="{FF2B5EF4-FFF2-40B4-BE49-F238E27FC236}">
                  <a16:creationId xmlns:a16="http://schemas.microsoft.com/office/drawing/2014/main" id="{CA995CD0-BC8E-4AE8-936A-98971AB8304C}"/>
                </a:ext>
              </a:extLst>
            </p:cNvPr>
            <p:cNvSpPr>
              <a:spLocks noEditPoints="1"/>
            </p:cNvSpPr>
            <p:nvPr/>
          </p:nvSpPr>
          <p:spPr bwMode="auto">
            <a:xfrm>
              <a:off x="8789982" y="2732786"/>
              <a:ext cx="14429" cy="106776"/>
            </a:xfrm>
            <a:custGeom>
              <a:avLst/>
              <a:gdLst>
                <a:gd name="T0" fmla="*/ 4 w 4"/>
                <a:gd name="T1" fmla="*/ 9 h 31"/>
                <a:gd name="T2" fmla="*/ 4 w 4"/>
                <a:gd name="T3" fmla="*/ 9 h 31"/>
                <a:gd name="T4" fmla="*/ 4 w 4"/>
                <a:gd name="T5" fmla="*/ 9 h 31"/>
                <a:gd name="T6" fmla="*/ 3 w 4"/>
                <a:gd name="T7" fmla="*/ 9 h 31"/>
                <a:gd name="T8" fmla="*/ 2 w 4"/>
                <a:gd name="T9" fmla="*/ 9 h 31"/>
                <a:gd name="T10" fmla="*/ 1 w 4"/>
                <a:gd name="T11" fmla="*/ 9 h 31"/>
                <a:gd name="T12" fmla="*/ 1 w 4"/>
                <a:gd name="T13" fmla="*/ 9 h 31"/>
                <a:gd name="T14" fmla="*/ 0 w 4"/>
                <a:gd name="T15" fmla="*/ 9 h 31"/>
                <a:gd name="T16" fmla="*/ 0 w 4"/>
                <a:gd name="T17" fmla="*/ 9 h 31"/>
                <a:gd name="T18" fmla="*/ 0 w 4"/>
                <a:gd name="T19" fmla="*/ 31 h 31"/>
                <a:gd name="T20" fmla="*/ 0 w 4"/>
                <a:gd name="T21" fmla="*/ 31 h 31"/>
                <a:gd name="T22" fmla="*/ 1 w 4"/>
                <a:gd name="T23" fmla="*/ 31 h 31"/>
                <a:gd name="T24" fmla="*/ 1 w 4"/>
                <a:gd name="T25" fmla="*/ 31 h 31"/>
                <a:gd name="T26" fmla="*/ 2 w 4"/>
                <a:gd name="T27" fmla="*/ 31 h 31"/>
                <a:gd name="T28" fmla="*/ 3 w 4"/>
                <a:gd name="T29" fmla="*/ 31 h 31"/>
                <a:gd name="T30" fmla="*/ 4 w 4"/>
                <a:gd name="T31" fmla="*/ 31 h 31"/>
                <a:gd name="T32" fmla="*/ 4 w 4"/>
                <a:gd name="T33" fmla="*/ 31 h 31"/>
                <a:gd name="T34" fmla="*/ 4 w 4"/>
                <a:gd name="T35" fmla="*/ 31 h 31"/>
                <a:gd name="T36" fmla="*/ 4 w 4"/>
                <a:gd name="T37" fmla="*/ 9 h 31"/>
                <a:gd name="T38" fmla="*/ 4 w 4"/>
                <a:gd name="T39" fmla="*/ 1 h 31"/>
                <a:gd name="T40" fmla="*/ 2 w 4"/>
                <a:gd name="T41" fmla="*/ 0 h 31"/>
                <a:gd name="T42" fmla="*/ 0 w 4"/>
                <a:gd name="T43" fmla="*/ 1 h 31"/>
                <a:gd name="T44" fmla="*/ 0 w 4"/>
                <a:gd name="T45" fmla="*/ 2 h 31"/>
                <a:gd name="T46" fmla="*/ 0 w 4"/>
                <a:gd name="T47" fmla="*/ 4 h 31"/>
                <a:gd name="T48" fmla="*/ 2 w 4"/>
                <a:gd name="T49" fmla="*/ 5 h 31"/>
                <a:gd name="T50" fmla="*/ 4 w 4"/>
                <a:gd name="T51" fmla="*/ 4 h 31"/>
                <a:gd name="T52" fmla="*/ 4 w 4"/>
                <a:gd name="T53" fmla="*/ 2 h 31"/>
                <a:gd name="T54" fmla="*/ 4 w 4"/>
                <a:gd name="T5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31">
                  <a:moveTo>
                    <a:pt x="4" y="9"/>
                  </a:moveTo>
                  <a:cubicBezTo>
                    <a:pt x="4" y="9"/>
                    <a:pt x="4" y="9"/>
                    <a:pt x="4" y="9"/>
                  </a:cubicBezTo>
                  <a:cubicBezTo>
                    <a:pt x="4" y="9"/>
                    <a:pt x="4" y="9"/>
                    <a:pt x="4" y="9"/>
                  </a:cubicBezTo>
                  <a:cubicBezTo>
                    <a:pt x="3" y="9"/>
                    <a:pt x="3" y="9"/>
                    <a:pt x="3" y="9"/>
                  </a:cubicBezTo>
                  <a:cubicBezTo>
                    <a:pt x="3" y="9"/>
                    <a:pt x="2" y="9"/>
                    <a:pt x="2" y="9"/>
                  </a:cubicBezTo>
                  <a:cubicBezTo>
                    <a:pt x="2" y="9"/>
                    <a:pt x="1" y="9"/>
                    <a:pt x="1" y="9"/>
                  </a:cubicBezTo>
                  <a:cubicBezTo>
                    <a:pt x="1" y="9"/>
                    <a:pt x="1" y="9"/>
                    <a:pt x="1" y="9"/>
                  </a:cubicBezTo>
                  <a:cubicBezTo>
                    <a:pt x="0" y="9"/>
                    <a:pt x="0" y="9"/>
                    <a:pt x="0" y="9"/>
                  </a:cubicBezTo>
                  <a:cubicBezTo>
                    <a:pt x="0" y="9"/>
                    <a:pt x="0" y="9"/>
                    <a:pt x="0" y="9"/>
                  </a:cubicBezTo>
                  <a:cubicBezTo>
                    <a:pt x="0" y="31"/>
                    <a:pt x="0" y="31"/>
                    <a:pt x="0" y="31"/>
                  </a:cubicBezTo>
                  <a:cubicBezTo>
                    <a:pt x="0" y="31"/>
                    <a:pt x="0" y="31"/>
                    <a:pt x="0" y="31"/>
                  </a:cubicBezTo>
                  <a:cubicBezTo>
                    <a:pt x="0" y="31"/>
                    <a:pt x="0" y="31"/>
                    <a:pt x="1" y="31"/>
                  </a:cubicBezTo>
                  <a:cubicBezTo>
                    <a:pt x="1" y="31"/>
                    <a:pt x="1" y="31"/>
                    <a:pt x="1" y="31"/>
                  </a:cubicBezTo>
                  <a:cubicBezTo>
                    <a:pt x="1" y="31"/>
                    <a:pt x="2" y="31"/>
                    <a:pt x="2" y="31"/>
                  </a:cubicBezTo>
                  <a:cubicBezTo>
                    <a:pt x="2" y="31"/>
                    <a:pt x="3" y="31"/>
                    <a:pt x="3" y="31"/>
                  </a:cubicBezTo>
                  <a:cubicBezTo>
                    <a:pt x="3" y="31"/>
                    <a:pt x="3" y="31"/>
                    <a:pt x="4" y="31"/>
                  </a:cubicBezTo>
                  <a:cubicBezTo>
                    <a:pt x="4" y="31"/>
                    <a:pt x="4" y="31"/>
                    <a:pt x="4" y="31"/>
                  </a:cubicBezTo>
                  <a:cubicBezTo>
                    <a:pt x="4" y="31"/>
                    <a:pt x="4" y="31"/>
                    <a:pt x="4" y="31"/>
                  </a:cubicBezTo>
                  <a:cubicBezTo>
                    <a:pt x="4" y="9"/>
                    <a:pt x="4" y="9"/>
                    <a:pt x="4" y="9"/>
                  </a:cubicBezTo>
                  <a:close/>
                  <a:moveTo>
                    <a:pt x="4" y="1"/>
                  </a:moveTo>
                  <a:cubicBezTo>
                    <a:pt x="4" y="0"/>
                    <a:pt x="3" y="0"/>
                    <a:pt x="2" y="0"/>
                  </a:cubicBezTo>
                  <a:cubicBezTo>
                    <a:pt x="1" y="0"/>
                    <a:pt x="1" y="0"/>
                    <a:pt x="0" y="1"/>
                  </a:cubicBezTo>
                  <a:cubicBezTo>
                    <a:pt x="0" y="1"/>
                    <a:pt x="0" y="1"/>
                    <a:pt x="0" y="2"/>
                  </a:cubicBezTo>
                  <a:cubicBezTo>
                    <a:pt x="0" y="3"/>
                    <a:pt x="0" y="4"/>
                    <a:pt x="0" y="4"/>
                  </a:cubicBezTo>
                  <a:cubicBezTo>
                    <a:pt x="1" y="5"/>
                    <a:pt x="1" y="5"/>
                    <a:pt x="2" y="5"/>
                  </a:cubicBezTo>
                  <a:cubicBezTo>
                    <a:pt x="3" y="5"/>
                    <a:pt x="4" y="5"/>
                    <a:pt x="4" y="4"/>
                  </a:cubicBezTo>
                  <a:cubicBezTo>
                    <a:pt x="4" y="4"/>
                    <a:pt x="4" y="3"/>
                    <a:pt x="4" y="2"/>
                  </a:cubicBezTo>
                  <a:cubicBezTo>
                    <a:pt x="4" y="1"/>
                    <a:pt x="4"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74">
              <a:extLst>
                <a:ext uri="{FF2B5EF4-FFF2-40B4-BE49-F238E27FC236}">
                  <a16:creationId xmlns:a16="http://schemas.microsoft.com/office/drawing/2014/main" id="{79BFCA8F-D893-4CC3-BF21-AB38FCAEFDFD}"/>
                </a:ext>
              </a:extLst>
            </p:cNvPr>
            <p:cNvSpPr>
              <a:spLocks noEditPoints="1"/>
            </p:cNvSpPr>
            <p:nvPr/>
          </p:nvSpPr>
          <p:spPr bwMode="auto">
            <a:xfrm>
              <a:off x="8821726" y="2760202"/>
              <a:ext cx="67817" cy="109661"/>
            </a:xfrm>
            <a:custGeom>
              <a:avLst/>
              <a:gdLst>
                <a:gd name="T0" fmla="*/ 19 w 20"/>
                <a:gd name="T1" fmla="*/ 1 h 32"/>
                <a:gd name="T2" fmla="*/ 11 w 20"/>
                <a:gd name="T3" fmla="*/ 1 h 32"/>
                <a:gd name="T4" fmla="*/ 6 w 20"/>
                <a:gd name="T5" fmla="*/ 1 h 32"/>
                <a:gd name="T6" fmla="*/ 2 w 20"/>
                <a:gd name="T7" fmla="*/ 5 h 32"/>
                <a:gd name="T8" fmla="*/ 1 w 20"/>
                <a:gd name="T9" fmla="*/ 11 h 32"/>
                <a:gd name="T10" fmla="*/ 1 w 20"/>
                <a:gd name="T11" fmla="*/ 15 h 32"/>
                <a:gd name="T12" fmla="*/ 1 w 20"/>
                <a:gd name="T13" fmla="*/ 19 h 32"/>
                <a:gd name="T14" fmla="*/ 2 w 20"/>
                <a:gd name="T15" fmla="*/ 22 h 32"/>
                <a:gd name="T16" fmla="*/ 0 w 20"/>
                <a:gd name="T17" fmla="*/ 25 h 32"/>
                <a:gd name="T18" fmla="*/ 0 w 20"/>
                <a:gd name="T19" fmla="*/ 28 h 32"/>
                <a:gd name="T20" fmla="*/ 5 w 20"/>
                <a:gd name="T21" fmla="*/ 31 h 32"/>
                <a:gd name="T22" fmla="*/ 14 w 20"/>
                <a:gd name="T23" fmla="*/ 31 h 32"/>
                <a:gd name="T24" fmla="*/ 19 w 20"/>
                <a:gd name="T25" fmla="*/ 27 h 32"/>
                <a:gd name="T26" fmla="*/ 19 w 20"/>
                <a:gd name="T27" fmla="*/ 22 h 32"/>
                <a:gd name="T28" fmla="*/ 15 w 20"/>
                <a:gd name="T29" fmla="*/ 19 h 32"/>
                <a:gd name="T30" fmla="*/ 7 w 20"/>
                <a:gd name="T31" fmla="*/ 19 h 32"/>
                <a:gd name="T32" fmla="*/ 4 w 20"/>
                <a:gd name="T33" fmla="*/ 17 h 32"/>
                <a:gd name="T34" fmla="*/ 5 w 20"/>
                <a:gd name="T35" fmla="*/ 14 h 32"/>
                <a:gd name="T36" fmla="*/ 9 w 20"/>
                <a:gd name="T37" fmla="*/ 16 h 32"/>
                <a:gd name="T38" fmla="*/ 15 w 20"/>
                <a:gd name="T39" fmla="*/ 14 h 32"/>
                <a:gd name="T40" fmla="*/ 17 w 20"/>
                <a:gd name="T41" fmla="*/ 8 h 32"/>
                <a:gd name="T42" fmla="*/ 16 w 20"/>
                <a:gd name="T43" fmla="*/ 4 h 32"/>
                <a:gd name="T44" fmla="*/ 20 w 20"/>
                <a:gd name="T45" fmla="*/ 4 h 32"/>
                <a:gd name="T46" fmla="*/ 20 w 20"/>
                <a:gd name="T47" fmla="*/ 1 h 32"/>
                <a:gd name="T48" fmla="*/ 13 w 20"/>
                <a:gd name="T49" fmla="*/ 11 h 32"/>
                <a:gd name="T50" fmla="*/ 9 w 20"/>
                <a:gd name="T51" fmla="*/ 13 h 32"/>
                <a:gd name="T52" fmla="*/ 5 w 20"/>
                <a:gd name="T53" fmla="*/ 8 h 32"/>
                <a:gd name="T54" fmla="*/ 6 w 20"/>
                <a:gd name="T55" fmla="*/ 5 h 32"/>
                <a:gd name="T56" fmla="*/ 9 w 20"/>
                <a:gd name="T57" fmla="*/ 3 h 32"/>
                <a:gd name="T58" fmla="*/ 14 w 20"/>
                <a:gd name="T59" fmla="*/ 8 h 32"/>
                <a:gd name="T60" fmla="*/ 15 w 20"/>
                <a:gd name="T61" fmla="*/ 26 h 32"/>
                <a:gd name="T62" fmla="*/ 12 w 20"/>
                <a:gd name="T63" fmla="*/ 28 h 32"/>
                <a:gd name="T64" fmla="*/ 5 w 20"/>
                <a:gd name="T65" fmla="*/ 28 h 32"/>
                <a:gd name="T66" fmla="*/ 4 w 20"/>
                <a:gd name="T67" fmla="*/ 25 h 32"/>
                <a:gd name="T68" fmla="*/ 5 w 20"/>
                <a:gd name="T69" fmla="*/ 23 h 32"/>
                <a:gd name="T70" fmla="*/ 12 w 20"/>
                <a:gd name="T71" fmla="*/ 22 h 32"/>
                <a:gd name="T72" fmla="*/ 16 w 20"/>
                <a:gd name="T73"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32">
                  <a:moveTo>
                    <a:pt x="20" y="1"/>
                  </a:moveTo>
                  <a:cubicBezTo>
                    <a:pt x="19" y="1"/>
                    <a:pt x="19" y="1"/>
                    <a:pt x="19" y="1"/>
                  </a:cubicBezTo>
                  <a:cubicBezTo>
                    <a:pt x="13" y="1"/>
                    <a:pt x="13" y="1"/>
                    <a:pt x="13" y="1"/>
                  </a:cubicBezTo>
                  <a:cubicBezTo>
                    <a:pt x="12" y="1"/>
                    <a:pt x="12" y="1"/>
                    <a:pt x="11" y="1"/>
                  </a:cubicBezTo>
                  <a:cubicBezTo>
                    <a:pt x="10" y="1"/>
                    <a:pt x="10" y="0"/>
                    <a:pt x="9" y="0"/>
                  </a:cubicBezTo>
                  <a:cubicBezTo>
                    <a:pt x="8" y="0"/>
                    <a:pt x="7" y="1"/>
                    <a:pt x="6" y="1"/>
                  </a:cubicBezTo>
                  <a:cubicBezTo>
                    <a:pt x="5" y="1"/>
                    <a:pt x="4" y="2"/>
                    <a:pt x="3" y="3"/>
                  </a:cubicBezTo>
                  <a:cubicBezTo>
                    <a:pt x="3" y="3"/>
                    <a:pt x="2" y="4"/>
                    <a:pt x="2" y="5"/>
                  </a:cubicBezTo>
                  <a:cubicBezTo>
                    <a:pt x="1" y="6"/>
                    <a:pt x="1" y="7"/>
                    <a:pt x="1" y="8"/>
                  </a:cubicBezTo>
                  <a:cubicBezTo>
                    <a:pt x="1" y="9"/>
                    <a:pt x="1" y="10"/>
                    <a:pt x="1" y="11"/>
                  </a:cubicBezTo>
                  <a:cubicBezTo>
                    <a:pt x="2" y="12"/>
                    <a:pt x="2" y="12"/>
                    <a:pt x="3" y="13"/>
                  </a:cubicBezTo>
                  <a:cubicBezTo>
                    <a:pt x="2" y="13"/>
                    <a:pt x="2" y="14"/>
                    <a:pt x="1" y="15"/>
                  </a:cubicBezTo>
                  <a:cubicBezTo>
                    <a:pt x="1" y="16"/>
                    <a:pt x="1" y="16"/>
                    <a:pt x="1" y="17"/>
                  </a:cubicBezTo>
                  <a:cubicBezTo>
                    <a:pt x="1" y="18"/>
                    <a:pt x="1" y="19"/>
                    <a:pt x="1" y="19"/>
                  </a:cubicBezTo>
                  <a:cubicBezTo>
                    <a:pt x="2" y="20"/>
                    <a:pt x="2" y="20"/>
                    <a:pt x="3" y="21"/>
                  </a:cubicBezTo>
                  <a:cubicBezTo>
                    <a:pt x="2" y="21"/>
                    <a:pt x="2" y="22"/>
                    <a:pt x="2" y="22"/>
                  </a:cubicBezTo>
                  <a:cubicBezTo>
                    <a:pt x="1" y="22"/>
                    <a:pt x="1" y="23"/>
                    <a:pt x="1" y="23"/>
                  </a:cubicBezTo>
                  <a:cubicBezTo>
                    <a:pt x="0" y="24"/>
                    <a:pt x="0" y="24"/>
                    <a:pt x="0" y="25"/>
                  </a:cubicBezTo>
                  <a:cubicBezTo>
                    <a:pt x="0" y="25"/>
                    <a:pt x="0" y="26"/>
                    <a:pt x="0" y="26"/>
                  </a:cubicBezTo>
                  <a:cubicBezTo>
                    <a:pt x="0" y="27"/>
                    <a:pt x="0" y="28"/>
                    <a:pt x="0" y="28"/>
                  </a:cubicBezTo>
                  <a:cubicBezTo>
                    <a:pt x="1" y="29"/>
                    <a:pt x="1" y="30"/>
                    <a:pt x="2" y="30"/>
                  </a:cubicBezTo>
                  <a:cubicBezTo>
                    <a:pt x="3" y="31"/>
                    <a:pt x="4" y="31"/>
                    <a:pt x="5" y="31"/>
                  </a:cubicBezTo>
                  <a:cubicBezTo>
                    <a:pt x="6" y="32"/>
                    <a:pt x="8" y="32"/>
                    <a:pt x="9" y="32"/>
                  </a:cubicBezTo>
                  <a:cubicBezTo>
                    <a:pt x="11" y="32"/>
                    <a:pt x="13" y="32"/>
                    <a:pt x="14" y="31"/>
                  </a:cubicBezTo>
                  <a:cubicBezTo>
                    <a:pt x="15" y="31"/>
                    <a:pt x="16" y="30"/>
                    <a:pt x="17" y="30"/>
                  </a:cubicBezTo>
                  <a:cubicBezTo>
                    <a:pt x="18" y="29"/>
                    <a:pt x="19" y="28"/>
                    <a:pt x="19" y="27"/>
                  </a:cubicBezTo>
                  <a:cubicBezTo>
                    <a:pt x="19" y="26"/>
                    <a:pt x="20" y="25"/>
                    <a:pt x="20" y="24"/>
                  </a:cubicBezTo>
                  <a:cubicBezTo>
                    <a:pt x="20" y="24"/>
                    <a:pt x="19" y="23"/>
                    <a:pt x="19" y="22"/>
                  </a:cubicBezTo>
                  <a:cubicBezTo>
                    <a:pt x="19" y="21"/>
                    <a:pt x="18" y="21"/>
                    <a:pt x="18" y="20"/>
                  </a:cubicBezTo>
                  <a:cubicBezTo>
                    <a:pt x="17" y="20"/>
                    <a:pt x="16" y="19"/>
                    <a:pt x="15" y="19"/>
                  </a:cubicBezTo>
                  <a:cubicBezTo>
                    <a:pt x="14" y="19"/>
                    <a:pt x="13" y="19"/>
                    <a:pt x="12" y="19"/>
                  </a:cubicBezTo>
                  <a:cubicBezTo>
                    <a:pt x="7" y="19"/>
                    <a:pt x="7" y="19"/>
                    <a:pt x="7" y="19"/>
                  </a:cubicBezTo>
                  <a:cubicBezTo>
                    <a:pt x="6" y="19"/>
                    <a:pt x="5" y="18"/>
                    <a:pt x="5" y="18"/>
                  </a:cubicBezTo>
                  <a:cubicBezTo>
                    <a:pt x="4" y="18"/>
                    <a:pt x="4" y="17"/>
                    <a:pt x="4" y="17"/>
                  </a:cubicBezTo>
                  <a:cubicBezTo>
                    <a:pt x="4" y="16"/>
                    <a:pt x="4" y="16"/>
                    <a:pt x="4" y="15"/>
                  </a:cubicBezTo>
                  <a:cubicBezTo>
                    <a:pt x="4" y="15"/>
                    <a:pt x="5" y="15"/>
                    <a:pt x="5" y="14"/>
                  </a:cubicBezTo>
                  <a:cubicBezTo>
                    <a:pt x="5" y="15"/>
                    <a:pt x="6" y="15"/>
                    <a:pt x="7" y="15"/>
                  </a:cubicBezTo>
                  <a:cubicBezTo>
                    <a:pt x="8" y="15"/>
                    <a:pt x="8" y="16"/>
                    <a:pt x="9" y="16"/>
                  </a:cubicBezTo>
                  <a:cubicBezTo>
                    <a:pt x="10" y="16"/>
                    <a:pt x="12" y="15"/>
                    <a:pt x="13" y="15"/>
                  </a:cubicBezTo>
                  <a:cubicBezTo>
                    <a:pt x="14" y="15"/>
                    <a:pt x="14" y="14"/>
                    <a:pt x="15" y="14"/>
                  </a:cubicBezTo>
                  <a:cubicBezTo>
                    <a:pt x="16" y="13"/>
                    <a:pt x="16" y="12"/>
                    <a:pt x="17" y="11"/>
                  </a:cubicBezTo>
                  <a:cubicBezTo>
                    <a:pt x="17" y="10"/>
                    <a:pt x="17" y="9"/>
                    <a:pt x="17" y="8"/>
                  </a:cubicBezTo>
                  <a:cubicBezTo>
                    <a:pt x="17" y="7"/>
                    <a:pt x="17" y="7"/>
                    <a:pt x="17" y="6"/>
                  </a:cubicBezTo>
                  <a:cubicBezTo>
                    <a:pt x="17" y="5"/>
                    <a:pt x="17" y="5"/>
                    <a:pt x="16" y="4"/>
                  </a:cubicBezTo>
                  <a:cubicBezTo>
                    <a:pt x="19" y="4"/>
                    <a:pt x="19" y="4"/>
                    <a:pt x="19" y="4"/>
                  </a:cubicBezTo>
                  <a:cubicBezTo>
                    <a:pt x="19" y="4"/>
                    <a:pt x="19" y="4"/>
                    <a:pt x="20" y="4"/>
                  </a:cubicBezTo>
                  <a:cubicBezTo>
                    <a:pt x="20" y="3"/>
                    <a:pt x="20" y="3"/>
                    <a:pt x="20" y="2"/>
                  </a:cubicBezTo>
                  <a:cubicBezTo>
                    <a:pt x="20" y="2"/>
                    <a:pt x="20" y="2"/>
                    <a:pt x="20" y="1"/>
                  </a:cubicBezTo>
                  <a:close/>
                  <a:moveTo>
                    <a:pt x="13" y="10"/>
                  </a:moveTo>
                  <a:cubicBezTo>
                    <a:pt x="13" y="10"/>
                    <a:pt x="13" y="11"/>
                    <a:pt x="13" y="11"/>
                  </a:cubicBezTo>
                  <a:cubicBezTo>
                    <a:pt x="12" y="12"/>
                    <a:pt x="12" y="12"/>
                    <a:pt x="11" y="12"/>
                  </a:cubicBezTo>
                  <a:cubicBezTo>
                    <a:pt x="11" y="12"/>
                    <a:pt x="10" y="13"/>
                    <a:pt x="9" y="13"/>
                  </a:cubicBezTo>
                  <a:cubicBezTo>
                    <a:pt x="8" y="13"/>
                    <a:pt x="7" y="12"/>
                    <a:pt x="6" y="11"/>
                  </a:cubicBezTo>
                  <a:cubicBezTo>
                    <a:pt x="5" y="11"/>
                    <a:pt x="5" y="10"/>
                    <a:pt x="5" y="8"/>
                  </a:cubicBezTo>
                  <a:cubicBezTo>
                    <a:pt x="5" y="8"/>
                    <a:pt x="5" y="7"/>
                    <a:pt x="5" y="6"/>
                  </a:cubicBezTo>
                  <a:cubicBezTo>
                    <a:pt x="5" y="6"/>
                    <a:pt x="5" y="5"/>
                    <a:pt x="6" y="5"/>
                  </a:cubicBezTo>
                  <a:cubicBezTo>
                    <a:pt x="6" y="4"/>
                    <a:pt x="7" y="4"/>
                    <a:pt x="7" y="4"/>
                  </a:cubicBezTo>
                  <a:cubicBezTo>
                    <a:pt x="8" y="4"/>
                    <a:pt x="8" y="3"/>
                    <a:pt x="9" y="3"/>
                  </a:cubicBezTo>
                  <a:cubicBezTo>
                    <a:pt x="11" y="3"/>
                    <a:pt x="12" y="4"/>
                    <a:pt x="13" y="5"/>
                  </a:cubicBezTo>
                  <a:cubicBezTo>
                    <a:pt x="13" y="5"/>
                    <a:pt x="14" y="7"/>
                    <a:pt x="14" y="8"/>
                  </a:cubicBezTo>
                  <a:cubicBezTo>
                    <a:pt x="14" y="9"/>
                    <a:pt x="14" y="9"/>
                    <a:pt x="13" y="10"/>
                  </a:cubicBezTo>
                  <a:close/>
                  <a:moveTo>
                    <a:pt x="15" y="26"/>
                  </a:moveTo>
                  <a:cubicBezTo>
                    <a:pt x="15" y="27"/>
                    <a:pt x="15" y="27"/>
                    <a:pt x="14" y="28"/>
                  </a:cubicBezTo>
                  <a:cubicBezTo>
                    <a:pt x="14" y="28"/>
                    <a:pt x="13" y="28"/>
                    <a:pt x="12" y="28"/>
                  </a:cubicBezTo>
                  <a:cubicBezTo>
                    <a:pt x="12" y="29"/>
                    <a:pt x="11" y="29"/>
                    <a:pt x="9" y="29"/>
                  </a:cubicBezTo>
                  <a:cubicBezTo>
                    <a:pt x="8" y="29"/>
                    <a:pt x="6" y="28"/>
                    <a:pt x="5" y="28"/>
                  </a:cubicBezTo>
                  <a:cubicBezTo>
                    <a:pt x="4" y="27"/>
                    <a:pt x="4" y="27"/>
                    <a:pt x="4" y="26"/>
                  </a:cubicBezTo>
                  <a:cubicBezTo>
                    <a:pt x="4" y="25"/>
                    <a:pt x="4" y="25"/>
                    <a:pt x="4" y="25"/>
                  </a:cubicBezTo>
                  <a:cubicBezTo>
                    <a:pt x="4" y="24"/>
                    <a:pt x="4" y="24"/>
                    <a:pt x="4" y="24"/>
                  </a:cubicBezTo>
                  <a:cubicBezTo>
                    <a:pt x="4" y="23"/>
                    <a:pt x="5" y="23"/>
                    <a:pt x="5" y="23"/>
                  </a:cubicBezTo>
                  <a:cubicBezTo>
                    <a:pt x="5" y="22"/>
                    <a:pt x="6" y="22"/>
                    <a:pt x="6" y="22"/>
                  </a:cubicBezTo>
                  <a:cubicBezTo>
                    <a:pt x="12" y="22"/>
                    <a:pt x="12" y="22"/>
                    <a:pt x="12" y="22"/>
                  </a:cubicBezTo>
                  <a:cubicBezTo>
                    <a:pt x="13" y="22"/>
                    <a:pt x="14" y="22"/>
                    <a:pt x="15" y="23"/>
                  </a:cubicBezTo>
                  <a:cubicBezTo>
                    <a:pt x="15" y="23"/>
                    <a:pt x="16" y="24"/>
                    <a:pt x="16" y="25"/>
                  </a:cubicBezTo>
                  <a:cubicBezTo>
                    <a:pt x="16" y="25"/>
                    <a:pt x="16" y="26"/>
                    <a:pt x="15" y="26"/>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75">
              <a:extLst>
                <a:ext uri="{FF2B5EF4-FFF2-40B4-BE49-F238E27FC236}">
                  <a16:creationId xmlns:a16="http://schemas.microsoft.com/office/drawing/2014/main" id="{1301290A-E273-4D59-B7D6-02B339254E78}"/>
                </a:ext>
              </a:extLst>
            </p:cNvPr>
            <p:cNvSpPr>
              <a:spLocks/>
            </p:cNvSpPr>
            <p:nvPr/>
          </p:nvSpPr>
          <p:spPr bwMode="auto">
            <a:xfrm>
              <a:off x="8906859" y="2760202"/>
              <a:ext cx="62046" cy="79361"/>
            </a:xfrm>
            <a:custGeom>
              <a:avLst/>
              <a:gdLst>
                <a:gd name="T0" fmla="*/ 18 w 18"/>
                <a:gd name="T1" fmla="*/ 10 h 23"/>
                <a:gd name="T2" fmla="*/ 18 w 18"/>
                <a:gd name="T3" fmla="*/ 6 h 23"/>
                <a:gd name="T4" fmla="*/ 16 w 18"/>
                <a:gd name="T5" fmla="*/ 3 h 23"/>
                <a:gd name="T6" fmla="*/ 14 w 18"/>
                <a:gd name="T7" fmla="*/ 1 h 23"/>
                <a:gd name="T8" fmla="*/ 10 w 18"/>
                <a:gd name="T9" fmla="*/ 0 h 23"/>
                <a:gd name="T10" fmla="*/ 7 w 18"/>
                <a:gd name="T11" fmla="*/ 1 h 23"/>
                <a:gd name="T12" fmla="*/ 3 w 18"/>
                <a:gd name="T13" fmla="*/ 4 h 23"/>
                <a:gd name="T14" fmla="*/ 3 w 18"/>
                <a:gd name="T15" fmla="*/ 1 h 23"/>
                <a:gd name="T16" fmla="*/ 3 w 18"/>
                <a:gd name="T17" fmla="*/ 1 h 23"/>
                <a:gd name="T18" fmla="*/ 3 w 18"/>
                <a:gd name="T19" fmla="*/ 1 h 23"/>
                <a:gd name="T20" fmla="*/ 2 w 18"/>
                <a:gd name="T21" fmla="*/ 1 h 23"/>
                <a:gd name="T22" fmla="*/ 2 w 18"/>
                <a:gd name="T23" fmla="*/ 1 h 23"/>
                <a:gd name="T24" fmla="*/ 1 w 18"/>
                <a:gd name="T25" fmla="*/ 1 h 23"/>
                <a:gd name="T26" fmla="*/ 0 w 18"/>
                <a:gd name="T27" fmla="*/ 1 h 23"/>
                <a:gd name="T28" fmla="*/ 0 w 18"/>
                <a:gd name="T29" fmla="*/ 1 h 23"/>
                <a:gd name="T30" fmla="*/ 0 w 18"/>
                <a:gd name="T31" fmla="*/ 1 h 23"/>
                <a:gd name="T32" fmla="*/ 0 w 18"/>
                <a:gd name="T33" fmla="*/ 23 h 23"/>
                <a:gd name="T34" fmla="*/ 0 w 18"/>
                <a:gd name="T35" fmla="*/ 23 h 23"/>
                <a:gd name="T36" fmla="*/ 0 w 18"/>
                <a:gd name="T37" fmla="*/ 23 h 23"/>
                <a:gd name="T38" fmla="*/ 1 w 18"/>
                <a:gd name="T39" fmla="*/ 23 h 23"/>
                <a:gd name="T40" fmla="*/ 2 w 18"/>
                <a:gd name="T41" fmla="*/ 23 h 23"/>
                <a:gd name="T42" fmla="*/ 3 w 18"/>
                <a:gd name="T43" fmla="*/ 23 h 23"/>
                <a:gd name="T44" fmla="*/ 3 w 18"/>
                <a:gd name="T45" fmla="*/ 23 h 23"/>
                <a:gd name="T46" fmla="*/ 4 w 18"/>
                <a:gd name="T47" fmla="*/ 23 h 23"/>
                <a:gd name="T48" fmla="*/ 4 w 18"/>
                <a:gd name="T49" fmla="*/ 23 h 23"/>
                <a:gd name="T50" fmla="*/ 4 w 18"/>
                <a:gd name="T51" fmla="*/ 8 h 23"/>
                <a:gd name="T52" fmla="*/ 7 w 18"/>
                <a:gd name="T53" fmla="*/ 5 h 23"/>
                <a:gd name="T54" fmla="*/ 10 w 18"/>
                <a:gd name="T55" fmla="*/ 4 h 23"/>
                <a:gd name="T56" fmla="*/ 12 w 18"/>
                <a:gd name="T57" fmla="*/ 4 h 23"/>
                <a:gd name="T58" fmla="*/ 13 w 18"/>
                <a:gd name="T59" fmla="*/ 5 h 23"/>
                <a:gd name="T60" fmla="*/ 14 w 18"/>
                <a:gd name="T61" fmla="*/ 7 h 23"/>
                <a:gd name="T62" fmla="*/ 14 w 18"/>
                <a:gd name="T63" fmla="*/ 10 h 23"/>
                <a:gd name="T64" fmla="*/ 14 w 18"/>
                <a:gd name="T65" fmla="*/ 23 h 23"/>
                <a:gd name="T66" fmla="*/ 14 w 18"/>
                <a:gd name="T67" fmla="*/ 23 h 23"/>
                <a:gd name="T68" fmla="*/ 14 w 18"/>
                <a:gd name="T69" fmla="*/ 23 h 23"/>
                <a:gd name="T70" fmla="*/ 15 w 18"/>
                <a:gd name="T71" fmla="*/ 23 h 23"/>
                <a:gd name="T72" fmla="*/ 16 w 18"/>
                <a:gd name="T73" fmla="*/ 23 h 23"/>
                <a:gd name="T74" fmla="*/ 17 w 18"/>
                <a:gd name="T75" fmla="*/ 23 h 23"/>
                <a:gd name="T76" fmla="*/ 18 w 18"/>
                <a:gd name="T77" fmla="*/ 23 h 23"/>
                <a:gd name="T78" fmla="*/ 18 w 18"/>
                <a:gd name="T79" fmla="*/ 23 h 23"/>
                <a:gd name="T80" fmla="*/ 18 w 18"/>
                <a:gd name="T81" fmla="*/ 23 h 23"/>
                <a:gd name="T82" fmla="*/ 18 w 18"/>
                <a:gd name="T83"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0"/>
                  </a:moveTo>
                  <a:cubicBezTo>
                    <a:pt x="18" y="8"/>
                    <a:pt x="18" y="7"/>
                    <a:pt x="18" y="6"/>
                  </a:cubicBezTo>
                  <a:cubicBezTo>
                    <a:pt x="17" y="5"/>
                    <a:pt x="17" y="4"/>
                    <a:pt x="16" y="3"/>
                  </a:cubicBezTo>
                  <a:cubicBezTo>
                    <a:pt x="16" y="2"/>
                    <a:pt x="15" y="2"/>
                    <a:pt x="14" y="1"/>
                  </a:cubicBezTo>
                  <a:cubicBezTo>
                    <a:pt x="13" y="1"/>
                    <a:pt x="12" y="0"/>
                    <a:pt x="10" y="0"/>
                  </a:cubicBezTo>
                  <a:cubicBezTo>
                    <a:pt x="9" y="0"/>
                    <a:pt x="8" y="1"/>
                    <a:pt x="7" y="1"/>
                  </a:cubicBezTo>
                  <a:cubicBezTo>
                    <a:pt x="6" y="2"/>
                    <a:pt x="4" y="3"/>
                    <a:pt x="3" y="4"/>
                  </a:cubicBezTo>
                  <a:cubicBezTo>
                    <a:pt x="3" y="1"/>
                    <a:pt x="3" y="1"/>
                    <a:pt x="3" y="1"/>
                  </a:cubicBezTo>
                  <a:cubicBezTo>
                    <a:pt x="3" y="1"/>
                    <a:pt x="3" y="1"/>
                    <a:pt x="3" y="1"/>
                  </a:cubicBezTo>
                  <a:cubicBezTo>
                    <a:pt x="3" y="1"/>
                    <a:pt x="3" y="1"/>
                    <a:pt x="3" y="1"/>
                  </a:cubicBezTo>
                  <a:cubicBezTo>
                    <a:pt x="3" y="1"/>
                    <a:pt x="3" y="1"/>
                    <a:pt x="2" y="1"/>
                  </a:cubicBezTo>
                  <a:cubicBezTo>
                    <a:pt x="2" y="1"/>
                    <a:pt x="2" y="1"/>
                    <a:pt x="2" y="1"/>
                  </a:cubicBezTo>
                  <a:cubicBezTo>
                    <a:pt x="1" y="1"/>
                    <a:pt x="1" y="1"/>
                    <a:pt x="1" y="1"/>
                  </a:cubicBezTo>
                  <a:cubicBezTo>
                    <a:pt x="0" y="1"/>
                    <a:pt x="0" y="1"/>
                    <a:pt x="0" y="1"/>
                  </a:cubicBezTo>
                  <a:cubicBezTo>
                    <a:pt x="0" y="1"/>
                    <a:pt x="0" y="1"/>
                    <a:pt x="0" y="1"/>
                  </a:cubicBezTo>
                  <a:cubicBezTo>
                    <a:pt x="0" y="1"/>
                    <a:pt x="0" y="1"/>
                    <a:pt x="0" y="1"/>
                  </a:cubicBezTo>
                  <a:cubicBezTo>
                    <a:pt x="0" y="23"/>
                    <a:pt x="0" y="23"/>
                    <a:pt x="0" y="23"/>
                  </a:cubicBezTo>
                  <a:cubicBezTo>
                    <a:pt x="0" y="23"/>
                    <a:pt x="0" y="23"/>
                    <a:pt x="0" y="23"/>
                  </a:cubicBezTo>
                  <a:cubicBezTo>
                    <a:pt x="0" y="23"/>
                    <a:pt x="0" y="23"/>
                    <a:pt x="0" y="23"/>
                  </a:cubicBezTo>
                  <a:cubicBezTo>
                    <a:pt x="0" y="23"/>
                    <a:pt x="0" y="23"/>
                    <a:pt x="1" y="23"/>
                  </a:cubicBezTo>
                  <a:cubicBezTo>
                    <a:pt x="1" y="23"/>
                    <a:pt x="1" y="23"/>
                    <a:pt x="2" y="23"/>
                  </a:cubicBezTo>
                  <a:cubicBezTo>
                    <a:pt x="2" y="23"/>
                    <a:pt x="2" y="23"/>
                    <a:pt x="3" y="23"/>
                  </a:cubicBezTo>
                  <a:cubicBezTo>
                    <a:pt x="3" y="23"/>
                    <a:pt x="3" y="23"/>
                    <a:pt x="3" y="23"/>
                  </a:cubicBezTo>
                  <a:cubicBezTo>
                    <a:pt x="3" y="23"/>
                    <a:pt x="3" y="23"/>
                    <a:pt x="4" y="23"/>
                  </a:cubicBezTo>
                  <a:cubicBezTo>
                    <a:pt x="4" y="23"/>
                    <a:pt x="4" y="23"/>
                    <a:pt x="4" y="23"/>
                  </a:cubicBezTo>
                  <a:cubicBezTo>
                    <a:pt x="4" y="8"/>
                    <a:pt x="4" y="8"/>
                    <a:pt x="4" y="8"/>
                  </a:cubicBezTo>
                  <a:cubicBezTo>
                    <a:pt x="5" y="7"/>
                    <a:pt x="6" y="5"/>
                    <a:pt x="7" y="5"/>
                  </a:cubicBezTo>
                  <a:cubicBezTo>
                    <a:pt x="8" y="4"/>
                    <a:pt x="9" y="4"/>
                    <a:pt x="10" y="4"/>
                  </a:cubicBezTo>
                  <a:cubicBezTo>
                    <a:pt x="10" y="4"/>
                    <a:pt x="11" y="4"/>
                    <a:pt x="12" y="4"/>
                  </a:cubicBezTo>
                  <a:cubicBezTo>
                    <a:pt x="12" y="4"/>
                    <a:pt x="13" y="5"/>
                    <a:pt x="13" y="5"/>
                  </a:cubicBezTo>
                  <a:cubicBezTo>
                    <a:pt x="13" y="6"/>
                    <a:pt x="14" y="7"/>
                    <a:pt x="14" y="7"/>
                  </a:cubicBezTo>
                  <a:cubicBezTo>
                    <a:pt x="14" y="8"/>
                    <a:pt x="14" y="9"/>
                    <a:pt x="14" y="10"/>
                  </a:cubicBezTo>
                  <a:cubicBezTo>
                    <a:pt x="14" y="23"/>
                    <a:pt x="14" y="23"/>
                    <a:pt x="14" y="23"/>
                  </a:cubicBezTo>
                  <a:cubicBezTo>
                    <a:pt x="14" y="23"/>
                    <a:pt x="14" y="23"/>
                    <a:pt x="14" y="23"/>
                  </a:cubicBezTo>
                  <a:cubicBezTo>
                    <a:pt x="14" y="23"/>
                    <a:pt x="14" y="23"/>
                    <a:pt x="14" y="23"/>
                  </a:cubicBezTo>
                  <a:cubicBezTo>
                    <a:pt x="15" y="23"/>
                    <a:pt x="15" y="23"/>
                    <a:pt x="15" y="23"/>
                  </a:cubicBezTo>
                  <a:cubicBezTo>
                    <a:pt x="15" y="23"/>
                    <a:pt x="16" y="23"/>
                    <a:pt x="16" y="23"/>
                  </a:cubicBezTo>
                  <a:cubicBezTo>
                    <a:pt x="16" y="23"/>
                    <a:pt x="17" y="23"/>
                    <a:pt x="17" y="23"/>
                  </a:cubicBezTo>
                  <a:cubicBezTo>
                    <a:pt x="17" y="23"/>
                    <a:pt x="17" y="23"/>
                    <a:pt x="18" y="23"/>
                  </a:cubicBezTo>
                  <a:cubicBezTo>
                    <a:pt x="18" y="23"/>
                    <a:pt x="18" y="23"/>
                    <a:pt x="18" y="23"/>
                  </a:cubicBezTo>
                  <a:cubicBezTo>
                    <a:pt x="18" y="23"/>
                    <a:pt x="18" y="23"/>
                    <a:pt x="18" y="23"/>
                  </a:cubicBezTo>
                  <a:cubicBezTo>
                    <a:pt x="18" y="10"/>
                    <a:pt x="18" y="10"/>
                    <a:pt x="18"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76">
              <a:extLst>
                <a:ext uri="{FF2B5EF4-FFF2-40B4-BE49-F238E27FC236}">
                  <a16:creationId xmlns:a16="http://schemas.microsoft.com/office/drawing/2014/main" id="{3E22C144-E7B5-4831-B4EB-9967AABA32D6}"/>
                </a:ext>
              </a:extLst>
            </p:cNvPr>
            <p:cNvSpPr>
              <a:spLocks/>
            </p:cNvSpPr>
            <p:nvPr/>
          </p:nvSpPr>
          <p:spPr bwMode="auto">
            <a:xfrm>
              <a:off x="9016520" y="2735672"/>
              <a:ext cx="79361" cy="103890"/>
            </a:xfrm>
            <a:custGeom>
              <a:avLst/>
              <a:gdLst>
                <a:gd name="T0" fmla="*/ 23 w 23"/>
                <a:gd name="T1" fmla="*/ 1 h 30"/>
                <a:gd name="T2" fmla="*/ 23 w 23"/>
                <a:gd name="T3" fmla="*/ 0 h 30"/>
                <a:gd name="T4" fmla="*/ 23 w 23"/>
                <a:gd name="T5" fmla="*/ 0 h 30"/>
                <a:gd name="T6" fmla="*/ 22 w 23"/>
                <a:gd name="T7" fmla="*/ 0 h 30"/>
                <a:gd name="T8" fmla="*/ 1 w 23"/>
                <a:gd name="T9" fmla="*/ 0 h 30"/>
                <a:gd name="T10" fmla="*/ 1 w 23"/>
                <a:gd name="T11" fmla="*/ 0 h 30"/>
                <a:gd name="T12" fmla="*/ 1 w 23"/>
                <a:gd name="T13" fmla="*/ 0 h 30"/>
                <a:gd name="T14" fmla="*/ 1 w 23"/>
                <a:gd name="T15" fmla="*/ 1 h 30"/>
                <a:gd name="T16" fmla="*/ 0 w 23"/>
                <a:gd name="T17" fmla="*/ 2 h 30"/>
                <a:gd name="T18" fmla="*/ 1 w 23"/>
                <a:gd name="T19" fmla="*/ 2 h 30"/>
                <a:gd name="T20" fmla="*/ 1 w 23"/>
                <a:gd name="T21" fmla="*/ 3 h 30"/>
                <a:gd name="T22" fmla="*/ 1 w 23"/>
                <a:gd name="T23" fmla="*/ 3 h 30"/>
                <a:gd name="T24" fmla="*/ 1 w 23"/>
                <a:gd name="T25" fmla="*/ 3 h 30"/>
                <a:gd name="T26" fmla="*/ 10 w 23"/>
                <a:gd name="T27" fmla="*/ 3 h 30"/>
                <a:gd name="T28" fmla="*/ 10 w 23"/>
                <a:gd name="T29" fmla="*/ 30 h 30"/>
                <a:gd name="T30" fmla="*/ 10 w 23"/>
                <a:gd name="T31" fmla="*/ 30 h 30"/>
                <a:gd name="T32" fmla="*/ 10 w 23"/>
                <a:gd name="T33" fmla="*/ 30 h 30"/>
                <a:gd name="T34" fmla="*/ 11 w 23"/>
                <a:gd name="T35" fmla="*/ 30 h 30"/>
                <a:gd name="T36" fmla="*/ 12 w 23"/>
                <a:gd name="T37" fmla="*/ 30 h 30"/>
                <a:gd name="T38" fmla="*/ 13 w 23"/>
                <a:gd name="T39" fmla="*/ 30 h 30"/>
                <a:gd name="T40" fmla="*/ 13 w 23"/>
                <a:gd name="T41" fmla="*/ 30 h 30"/>
                <a:gd name="T42" fmla="*/ 14 w 23"/>
                <a:gd name="T43" fmla="*/ 30 h 30"/>
                <a:gd name="T44" fmla="*/ 14 w 23"/>
                <a:gd name="T45" fmla="*/ 30 h 30"/>
                <a:gd name="T46" fmla="*/ 14 w 23"/>
                <a:gd name="T47" fmla="*/ 3 h 30"/>
                <a:gd name="T48" fmla="*/ 22 w 23"/>
                <a:gd name="T49" fmla="*/ 3 h 30"/>
                <a:gd name="T50" fmla="*/ 23 w 23"/>
                <a:gd name="T51" fmla="*/ 3 h 30"/>
                <a:gd name="T52" fmla="*/ 23 w 23"/>
                <a:gd name="T53" fmla="*/ 3 h 30"/>
                <a:gd name="T54" fmla="*/ 23 w 23"/>
                <a:gd name="T55" fmla="*/ 2 h 30"/>
                <a:gd name="T56" fmla="*/ 23 w 23"/>
                <a:gd name="T57" fmla="*/ 2 h 30"/>
                <a:gd name="T58" fmla="*/ 23 w 23"/>
                <a:gd name="T59"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 h="30">
                  <a:moveTo>
                    <a:pt x="23" y="1"/>
                  </a:moveTo>
                  <a:cubicBezTo>
                    <a:pt x="23" y="1"/>
                    <a:pt x="23" y="0"/>
                    <a:pt x="23" y="0"/>
                  </a:cubicBezTo>
                  <a:cubicBezTo>
                    <a:pt x="23" y="0"/>
                    <a:pt x="23" y="0"/>
                    <a:pt x="23" y="0"/>
                  </a:cubicBezTo>
                  <a:cubicBezTo>
                    <a:pt x="23" y="0"/>
                    <a:pt x="22" y="0"/>
                    <a:pt x="22" y="0"/>
                  </a:cubicBezTo>
                  <a:cubicBezTo>
                    <a:pt x="1" y="0"/>
                    <a:pt x="1" y="0"/>
                    <a:pt x="1" y="0"/>
                  </a:cubicBezTo>
                  <a:cubicBezTo>
                    <a:pt x="1" y="0"/>
                    <a:pt x="1" y="0"/>
                    <a:pt x="1" y="0"/>
                  </a:cubicBezTo>
                  <a:cubicBezTo>
                    <a:pt x="1" y="0"/>
                    <a:pt x="1" y="0"/>
                    <a:pt x="1" y="0"/>
                  </a:cubicBezTo>
                  <a:cubicBezTo>
                    <a:pt x="1" y="0"/>
                    <a:pt x="1" y="1"/>
                    <a:pt x="1" y="1"/>
                  </a:cubicBezTo>
                  <a:cubicBezTo>
                    <a:pt x="0" y="1"/>
                    <a:pt x="0" y="1"/>
                    <a:pt x="0" y="2"/>
                  </a:cubicBezTo>
                  <a:cubicBezTo>
                    <a:pt x="0" y="2"/>
                    <a:pt x="0" y="2"/>
                    <a:pt x="1" y="2"/>
                  </a:cubicBezTo>
                  <a:cubicBezTo>
                    <a:pt x="1" y="3"/>
                    <a:pt x="1" y="3"/>
                    <a:pt x="1" y="3"/>
                  </a:cubicBezTo>
                  <a:cubicBezTo>
                    <a:pt x="1" y="3"/>
                    <a:pt x="1" y="3"/>
                    <a:pt x="1" y="3"/>
                  </a:cubicBezTo>
                  <a:cubicBezTo>
                    <a:pt x="1" y="3"/>
                    <a:pt x="1" y="3"/>
                    <a:pt x="1" y="3"/>
                  </a:cubicBezTo>
                  <a:cubicBezTo>
                    <a:pt x="10" y="3"/>
                    <a:pt x="10" y="3"/>
                    <a:pt x="10" y="3"/>
                  </a:cubicBezTo>
                  <a:cubicBezTo>
                    <a:pt x="10" y="30"/>
                    <a:pt x="10" y="30"/>
                    <a:pt x="10" y="30"/>
                  </a:cubicBezTo>
                  <a:cubicBezTo>
                    <a:pt x="10" y="30"/>
                    <a:pt x="10" y="30"/>
                    <a:pt x="10" y="30"/>
                  </a:cubicBezTo>
                  <a:cubicBezTo>
                    <a:pt x="10" y="30"/>
                    <a:pt x="10" y="30"/>
                    <a:pt x="10" y="30"/>
                  </a:cubicBezTo>
                  <a:cubicBezTo>
                    <a:pt x="10" y="30"/>
                    <a:pt x="11" y="30"/>
                    <a:pt x="11" y="30"/>
                  </a:cubicBezTo>
                  <a:cubicBezTo>
                    <a:pt x="11" y="30"/>
                    <a:pt x="11" y="30"/>
                    <a:pt x="12" y="30"/>
                  </a:cubicBezTo>
                  <a:cubicBezTo>
                    <a:pt x="12" y="30"/>
                    <a:pt x="13" y="30"/>
                    <a:pt x="13" y="30"/>
                  </a:cubicBezTo>
                  <a:cubicBezTo>
                    <a:pt x="13" y="30"/>
                    <a:pt x="13" y="30"/>
                    <a:pt x="13" y="30"/>
                  </a:cubicBezTo>
                  <a:cubicBezTo>
                    <a:pt x="14" y="30"/>
                    <a:pt x="14" y="30"/>
                    <a:pt x="14" y="30"/>
                  </a:cubicBezTo>
                  <a:cubicBezTo>
                    <a:pt x="14" y="30"/>
                    <a:pt x="14" y="30"/>
                    <a:pt x="14" y="30"/>
                  </a:cubicBezTo>
                  <a:cubicBezTo>
                    <a:pt x="14" y="3"/>
                    <a:pt x="14" y="3"/>
                    <a:pt x="14" y="3"/>
                  </a:cubicBezTo>
                  <a:cubicBezTo>
                    <a:pt x="22" y="3"/>
                    <a:pt x="22" y="3"/>
                    <a:pt x="22" y="3"/>
                  </a:cubicBezTo>
                  <a:cubicBezTo>
                    <a:pt x="22" y="3"/>
                    <a:pt x="23" y="3"/>
                    <a:pt x="23" y="3"/>
                  </a:cubicBezTo>
                  <a:cubicBezTo>
                    <a:pt x="23" y="3"/>
                    <a:pt x="23" y="3"/>
                    <a:pt x="23" y="3"/>
                  </a:cubicBezTo>
                  <a:cubicBezTo>
                    <a:pt x="23" y="3"/>
                    <a:pt x="23" y="3"/>
                    <a:pt x="23" y="2"/>
                  </a:cubicBezTo>
                  <a:cubicBezTo>
                    <a:pt x="23" y="2"/>
                    <a:pt x="23" y="2"/>
                    <a:pt x="23" y="2"/>
                  </a:cubicBezTo>
                  <a:cubicBezTo>
                    <a:pt x="23" y="1"/>
                    <a:pt x="23" y="1"/>
                    <a:pt x="23"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77">
              <a:extLst>
                <a:ext uri="{FF2B5EF4-FFF2-40B4-BE49-F238E27FC236}">
                  <a16:creationId xmlns:a16="http://schemas.microsoft.com/office/drawing/2014/main" id="{52CC2DDC-A737-40E2-830C-CD34FB6B2369}"/>
                </a:ext>
              </a:extLst>
            </p:cNvPr>
            <p:cNvSpPr>
              <a:spLocks/>
            </p:cNvSpPr>
            <p:nvPr/>
          </p:nvSpPr>
          <p:spPr bwMode="auto">
            <a:xfrm>
              <a:off x="9108867" y="2729901"/>
              <a:ext cx="62046" cy="109661"/>
            </a:xfrm>
            <a:custGeom>
              <a:avLst/>
              <a:gdLst>
                <a:gd name="T0" fmla="*/ 18 w 18"/>
                <a:gd name="T1" fmla="*/ 19 h 32"/>
                <a:gd name="T2" fmla="*/ 18 w 18"/>
                <a:gd name="T3" fmla="*/ 15 h 32"/>
                <a:gd name="T4" fmla="*/ 17 w 18"/>
                <a:gd name="T5" fmla="*/ 12 h 32"/>
                <a:gd name="T6" fmla="*/ 14 w 18"/>
                <a:gd name="T7" fmla="*/ 10 h 32"/>
                <a:gd name="T8" fmla="*/ 11 w 18"/>
                <a:gd name="T9" fmla="*/ 9 h 32"/>
                <a:gd name="T10" fmla="*/ 7 w 18"/>
                <a:gd name="T11" fmla="*/ 10 h 32"/>
                <a:gd name="T12" fmla="*/ 4 w 18"/>
                <a:gd name="T13" fmla="*/ 13 h 32"/>
                <a:gd name="T14" fmla="*/ 4 w 18"/>
                <a:gd name="T15" fmla="*/ 0 h 32"/>
                <a:gd name="T16" fmla="*/ 4 w 18"/>
                <a:gd name="T17" fmla="*/ 0 h 32"/>
                <a:gd name="T18" fmla="*/ 4 w 18"/>
                <a:gd name="T19" fmla="*/ 0 h 32"/>
                <a:gd name="T20" fmla="*/ 3 w 18"/>
                <a:gd name="T21" fmla="*/ 0 h 32"/>
                <a:gd name="T22" fmla="*/ 2 w 18"/>
                <a:gd name="T23" fmla="*/ 0 h 32"/>
                <a:gd name="T24" fmla="*/ 1 w 18"/>
                <a:gd name="T25" fmla="*/ 0 h 32"/>
                <a:gd name="T26" fmla="*/ 1 w 18"/>
                <a:gd name="T27" fmla="*/ 0 h 32"/>
                <a:gd name="T28" fmla="*/ 0 w 18"/>
                <a:gd name="T29" fmla="*/ 0 h 32"/>
                <a:gd name="T30" fmla="*/ 0 w 18"/>
                <a:gd name="T31" fmla="*/ 0 h 32"/>
                <a:gd name="T32" fmla="*/ 0 w 18"/>
                <a:gd name="T33" fmla="*/ 32 h 32"/>
                <a:gd name="T34" fmla="*/ 0 w 18"/>
                <a:gd name="T35" fmla="*/ 32 h 32"/>
                <a:gd name="T36" fmla="*/ 1 w 18"/>
                <a:gd name="T37" fmla="*/ 32 h 32"/>
                <a:gd name="T38" fmla="*/ 1 w 18"/>
                <a:gd name="T39" fmla="*/ 32 h 32"/>
                <a:gd name="T40" fmla="*/ 2 w 18"/>
                <a:gd name="T41" fmla="*/ 32 h 32"/>
                <a:gd name="T42" fmla="*/ 3 w 18"/>
                <a:gd name="T43" fmla="*/ 32 h 32"/>
                <a:gd name="T44" fmla="*/ 4 w 18"/>
                <a:gd name="T45" fmla="*/ 32 h 32"/>
                <a:gd name="T46" fmla="*/ 4 w 18"/>
                <a:gd name="T47" fmla="*/ 32 h 32"/>
                <a:gd name="T48" fmla="*/ 4 w 18"/>
                <a:gd name="T49" fmla="*/ 32 h 32"/>
                <a:gd name="T50" fmla="*/ 4 w 18"/>
                <a:gd name="T51" fmla="*/ 17 h 32"/>
                <a:gd name="T52" fmla="*/ 7 w 18"/>
                <a:gd name="T53" fmla="*/ 14 h 32"/>
                <a:gd name="T54" fmla="*/ 10 w 18"/>
                <a:gd name="T55" fmla="*/ 13 h 32"/>
                <a:gd name="T56" fmla="*/ 12 w 18"/>
                <a:gd name="T57" fmla="*/ 13 h 32"/>
                <a:gd name="T58" fmla="*/ 13 w 18"/>
                <a:gd name="T59" fmla="*/ 14 h 32"/>
                <a:gd name="T60" fmla="*/ 14 w 18"/>
                <a:gd name="T61" fmla="*/ 16 h 32"/>
                <a:gd name="T62" fmla="*/ 15 w 18"/>
                <a:gd name="T63" fmla="*/ 19 h 32"/>
                <a:gd name="T64" fmla="*/ 15 w 18"/>
                <a:gd name="T65" fmla="*/ 32 h 32"/>
                <a:gd name="T66" fmla="*/ 15 w 18"/>
                <a:gd name="T67" fmla="*/ 32 h 32"/>
                <a:gd name="T68" fmla="*/ 15 w 18"/>
                <a:gd name="T69" fmla="*/ 32 h 32"/>
                <a:gd name="T70" fmla="*/ 15 w 18"/>
                <a:gd name="T71" fmla="*/ 32 h 32"/>
                <a:gd name="T72" fmla="*/ 16 w 18"/>
                <a:gd name="T73" fmla="*/ 32 h 32"/>
                <a:gd name="T74" fmla="*/ 17 w 18"/>
                <a:gd name="T75" fmla="*/ 32 h 32"/>
                <a:gd name="T76" fmla="*/ 18 w 18"/>
                <a:gd name="T77" fmla="*/ 32 h 32"/>
                <a:gd name="T78" fmla="*/ 18 w 18"/>
                <a:gd name="T79" fmla="*/ 32 h 32"/>
                <a:gd name="T80" fmla="*/ 18 w 18"/>
                <a:gd name="T81" fmla="*/ 32 h 32"/>
                <a:gd name="T82" fmla="*/ 18 w 18"/>
                <a:gd name="T8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32">
                  <a:moveTo>
                    <a:pt x="18" y="19"/>
                  </a:moveTo>
                  <a:cubicBezTo>
                    <a:pt x="18" y="17"/>
                    <a:pt x="18" y="16"/>
                    <a:pt x="18" y="15"/>
                  </a:cubicBezTo>
                  <a:cubicBezTo>
                    <a:pt x="18" y="14"/>
                    <a:pt x="17" y="13"/>
                    <a:pt x="17" y="12"/>
                  </a:cubicBezTo>
                  <a:cubicBezTo>
                    <a:pt x="16" y="11"/>
                    <a:pt x="15" y="11"/>
                    <a:pt x="14" y="10"/>
                  </a:cubicBezTo>
                  <a:cubicBezTo>
                    <a:pt x="13" y="10"/>
                    <a:pt x="12" y="9"/>
                    <a:pt x="11" y="9"/>
                  </a:cubicBezTo>
                  <a:cubicBezTo>
                    <a:pt x="10" y="9"/>
                    <a:pt x="9" y="10"/>
                    <a:pt x="7" y="10"/>
                  </a:cubicBezTo>
                  <a:cubicBezTo>
                    <a:pt x="6" y="11"/>
                    <a:pt x="5" y="12"/>
                    <a:pt x="4" y="13"/>
                  </a:cubicBezTo>
                  <a:cubicBezTo>
                    <a:pt x="4" y="0"/>
                    <a:pt x="4" y="0"/>
                    <a:pt x="4" y="0"/>
                  </a:cubicBezTo>
                  <a:cubicBezTo>
                    <a:pt x="4" y="0"/>
                    <a:pt x="4" y="0"/>
                    <a:pt x="4" y="0"/>
                  </a:cubicBezTo>
                  <a:cubicBezTo>
                    <a:pt x="4" y="0"/>
                    <a:pt x="4" y="0"/>
                    <a:pt x="4" y="0"/>
                  </a:cubicBezTo>
                  <a:cubicBezTo>
                    <a:pt x="4" y="0"/>
                    <a:pt x="3" y="0"/>
                    <a:pt x="3" y="0"/>
                  </a:cubicBezTo>
                  <a:cubicBezTo>
                    <a:pt x="3" y="0"/>
                    <a:pt x="3" y="0"/>
                    <a:pt x="2" y="0"/>
                  </a:cubicBezTo>
                  <a:cubicBezTo>
                    <a:pt x="2" y="0"/>
                    <a:pt x="1" y="0"/>
                    <a:pt x="1" y="0"/>
                  </a:cubicBezTo>
                  <a:cubicBezTo>
                    <a:pt x="1" y="0"/>
                    <a:pt x="1" y="0"/>
                    <a:pt x="1" y="0"/>
                  </a:cubicBezTo>
                  <a:cubicBezTo>
                    <a:pt x="0" y="0"/>
                    <a:pt x="0" y="0"/>
                    <a:pt x="0" y="0"/>
                  </a:cubicBezTo>
                  <a:cubicBezTo>
                    <a:pt x="0" y="0"/>
                    <a:pt x="0" y="0"/>
                    <a:pt x="0" y="0"/>
                  </a:cubicBezTo>
                  <a:cubicBezTo>
                    <a:pt x="0" y="32"/>
                    <a:pt x="0" y="32"/>
                    <a:pt x="0" y="32"/>
                  </a:cubicBezTo>
                  <a:cubicBezTo>
                    <a:pt x="0" y="32"/>
                    <a:pt x="0" y="32"/>
                    <a:pt x="0" y="32"/>
                  </a:cubicBezTo>
                  <a:cubicBezTo>
                    <a:pt x="0" y="32"/>
                    <a:pt x="0" y="32"/>
                    <a:pt x="1" y="32"/>
                  </a:cubicBezTo>
                  <a:cubicBezTo>
                    <a:pt x="1" y="32"/>
                    <a:pt x="1" y="32"/>
                    <a:pt x="1" y="32"/>
                  </a:cubicBezTo>
                  <a:cubicBezTo>
                    <a:pt x="1" y="32"/>
                    <a:pt x="2" y="32"/>
                    <a:pt x="2" y="32"/>
                  </a:cubicBezTo>
                  <a:cubicBezTo>
                    <a:pt x="3" y="32"/>
                    <a:pt x="3" y="32"/>
                    <a:pt x="3" y="32"/>
                  </a:cubicBezTo>
                  <a:cubicBezTo>
                    <a:pt x="3" y="32"/>
                    <a:pt x="4" y="32"/>
                    <a:pt x="4" y="32"/>
                  </a:cubicBezTo>
                  <a:cubicBezTo>
                    <a:pt x="4" y="32"/>
                    <a:pt x="4" y="32"/>
                    <a:pt x="4" y="32"/>
                  </a:cubicBezTo>
                  <a:cubicBezTo>
                    <a:pt x="4" y="32"/>
                    <a:pt x="4" y="32"/>
                    <a:pt x="4" y="32"/>
                  </a:cubicBezTo>
                  <a:cubicBezTo>
                    <a:pt x="4" y="17"/>
                    <a:pt x="4" y="17"/>
                    <a:pt x="4" y="17"/>
                  </a:cubicBezTo>
                  <a:cubicBezTo>
                    <a:pt x="5" y="16"/>
                    <a:pt x="6" y="14"/>
                    <a:pt x="7" y="14"/>
                  </a:cubicBezTo>
                  <a:cubicBezTo>
                    <a:pt x="8" y="13"/>
                    <a:pt x="9" y="13"/>
                    <a:pt x="10" y="13"/>
                  </a:cubicBezTo>
                  <a:cubicBezTo>
                    <a:pt x="11" y="13"/>
                    <a:pt x="11" y="13"/>
                    <a:pt x="12" y="13"/>
                  </a:cubicBezTo>
                  <a:cubicBezTo>
                    <a:pt x="13" y="13"/>
                    <a:pt x="13" y="14"/>
                    <a:pt x="13" y="14"/>
                  </a:cubicBezTo>
                  <a:cubicBezTo>
                    <a:pt x="14" y="15"/>
                    <a:pt x="14" y="16"/>
                    <a:pt x="14" y="16"/>
                  </a:cubicBezTo>
                  <a:cubicBezTo>
                    <a:pt x="14" y="17"/>
                    <a:pt x="15" y="18"/>
                    <a:pt x="15" y="19"/>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7" y="32"/>
                    <a:pt x="17" y="32"/>
                    <a:pt x="17" y="32"/>
                  </a:cubicBezTo>
                  <a:cubicBezTo>
                    <a:pt x="18" y="32"/>
                    <a:pt x="18" y="32"/>
                    <a:pt x="18" y="32"/>
                  </a:cubicBezTo>
                  <a:cubicBezTo>
                    <a:pt x="18" y="32"/>
                    <a:pt x="18" y="32"/>
                    <a:pt x="18" y="32"/>
                  </a:cubicBezTo>
                  <a:cubicBezTo>
                    <a:pt x="18" y="32"/>
                    <a:pt x="18" y="32"/>
                    <a:pt x="18" y="32"/>
                  </a:cubicBezTo>
                  <a:cubicBezTo>
                    <a:pt x="18" y="19"/>
                    <a:pt x="18" y="19"/>
                    <a:pt x="18" y="1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78">
              <a:extLst>
                <a:ext uri="{FF2B5EF4-FFF2-40B4-BE49-F238E27FC236}">
                  <a16:creationId xmlns:a16="http://schemas.microsoft.com/office/drawing/2014/main" id="{3F84584F-5C95-4128-A9D5-B3B5F12C034C}"/>
                </a:ext>
              </a:extLst>
            </p:cNvPr>
            <p:cNvSpPr>
              <a:spLocks noEditPoints="1"/>
            </p:cNvSpPr>
            <p:nvPr/>
          </p:nvSpPr>
          <p:spPr bwMode="auto">
            <a:xfrm>
              <a:off x="9195442" y="2732786"/>
              <a:ext cx="15873" cy="106776"/>
            </a:xfrm>
            <a:custGeom>
              <a:avLst/>
              <a:gdLst>
                <a:gd name="T0" fmla="*/ 4 w 5"/>
                <a:gd name="T1" fmla="*/ 9 h 31"/>
                <a:gd name="T2" fmla="*/ 4 w 5"/>
                <a:gd name="T3" fmla="*/ 9 h 31"/>
                <a:gd name="T4" fmla="*/ 4 w 5"/>
                <a:gd name="T5" fmla="*/ 9 h 31"/>
                <a:gd name="T6" fmla="*/ 4 w 5"/>
                <a:gd name="T7" fmla="*/ 9 h 31"/>
                <a:gd name="T8" fmla="*/ 3 w 5"/>
                <a:gd name="T9" fmla="*/ 9 h 31"/>
                <a:gd name="T10" fmla="*/ 2 w 5"/>
                <a:gd name="T11" fmla="*/ 9 h 31"/>
                <a:gd name="T12" fmla="*/ 1 w 5"/>
                <a:gd name="T13" fmla="*/ 9 h 31"/>
                <a:gd name="T14" fmla="*/ 1 w 5"/>
                <a:gd name="T15" fmla="*/ 9 h 31"/>
                <a:gd name="T16" fmla="*/ 1 w 5"/>
                <a:gd name="T17" fmla="*/ 9 h 31"/>
                <a:gd name="T18" fmla="*/ 1 w 5"/>
                <a:gd name="T19" fmla="*/ 31 h 31"/>
                <a:gd name="T20" fmla="*/ 1 w 5"/>
                <a:gd name="T21" fmla="*/ 31 h 31"/>
                <a:gd name="T22" fmla="*/ 1 w 5"/>
                <a:gd name="T23" fmla="*/ 31 h 31"/>
                <a:gd name="T24" fmla="*/ 2 w 5"/>
                <a:gd name="T25" fmla="*/ 31 h 31"/>
                <a:gd name="T26" fmla="*/ 3 w 5"/>
                <a:gd name="T27" fmla="*/ 31 h 31"/>
                <a:gd name="T28" fmla="*/ 4 w 5"/>
                <a:gd name="T29" fmla="*/ 31 h 31"/>
                <a:gd name="T30" fmla="*/ 4 w 5"/>
                <a:gd name="T31" fmla="*/ 31 h 31"/>
                <a:gd name="T32" fmla="*/ 4 w 5"/>
                <a:gd name="T33" fmla="*/ 31 h 31"/>
                <a:gd name="T34" fmla="*/ 4 w 5"/>
                <a:gd name="T35" fmla="*/ 31 h 31"/>
                <a:gd name="T36" fmla="*/ 4 w 5"/>
                <a:gd name="T37" fmla="*/ 9 h 31"/>
                <a:gd name="T38" fmla="*/ 4 w 5"/>
                <a:gd name="T39" fmla="*/ 1 h 31"/>
                <a:gd name="T40" fmla="*/ 3 w 5"/>
                <a:gd name="T41" fmla="*/ 0 h 31"/>
                <a:gd name="T42" fmla="*/ 1 w 5"/>
                <a:gd name="T43" fmla="*/ 1 h 31"/>
                <a:gd name="T44" fmla="*/ 0 w 5"/>
                <a:gd name="T45" fmla="*/ 2 h 31"/>
                <a:gd name="T46" fmla="*/ 1 w 5"/>
                <a:gd name="T47" fmla="*/ 4 h 31"/>
                <a:gd name="T48" fmla="*/ 3 w 5"/>
                <a:gd name="T49" fmla="*/ 5 h 31"/>
                <a:gd name="T50" fmla="*/ 4 w 5"/>
                <a:gd name="T51" fmla="*/ 4 h 31"/>
                <a:gd name="T52" fmla="*/ 5 w 5"/>
                <a:gd name="T53" fmla="*/ 2 h 31"/>
                <a:gd name="T54" fmla="*/ 4 w 5"/>
                <a:gd name="T5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4" y="9"/>
                  </a:moveTo>
                  <a:cubicBezTo>
                    <a:pt x="4" y="9"/>
                    <a:pt x="4" y="9"/>
                    <a:pt x="4" y="9"/>
                  </a:cubicBezTo>
                  <a:cubicBezTo>
                    <a:pt x="4" y="9"/>
                    <a:pt x="4" y="9"/>
                    <a:pt x="4" y="9"/>
                  </a:cubicBezTo>
                  <a:cubicBezTo>
                    <a:pt x="4" y="9"/>
                    <a:pt x="4" y="9"/>
                    <a:pt x="4" y="9"/>
                  </a:cubicBezTo>
                  <a:cubicBezTo>
                    <a:pt x="3" y="9"/>
                    <a:pt x="3" y="9"/>
                    <a:pt x="3" y="9"/>
                  </a:cubicBezTo>
                  <a:cubicBezTo>
                    <a:pt x="2" y="9"/>
                    <a:pt x="2" y="9"/>
                    <a:pt x="2" y="9"/>
                  </a:cubicBezTo>
                  <a:cubicBezTo>
                    <a:pt x="1" y="9"/>
                    <a:pt x="1" y="9"/>
                    <a:pt x="1" y="9"/>
                  </a:cubicBezTo>
                  <a:cubicBezTo>
                    <a:pt x="1" y="9"/>
                    <a:pt x="1" y="9"/>
                    <a:pt x="1" y="9"/>
                  </a:cubicBezTo>
                  <a:cubicBezTo>
                    <a:pt x="1" y="9"/>
                    <a:pt x="1" y="9"/>
                    <a:pt x="1" y="9"/>
                  </a:cubicBezTo>
                  <a:cubicBezTo>
                    <a:pt x="1" y="31"/>
                    <a:pt x="1" y="31"/>
                    <a:pt x="1" y="31"/>
                  </a:cubicBezTo>
                  <a:cubicBezTo>
                    <a:pt x="1" y="31"/>
                    <a:pt x="1" y="31"/>
                    <a:pt x="1" y="31"/>
                  </a:cubicBezTo>
                  <a:cubicBezTo>
                    <a:pt x="1" y="31"/>
                    <a:pt x="1" y="31"/>
                    <a:pt x="1" y="31"/>
                  </a:cubicBezTo>
                  <a:cubicBezTo>
                    <a:pt x="1" y="31"/>
                    <a:pt x="1" y="31"/>
                    <a:pt x="2" y="31"/>
                  </a:cubicBezTo>
                  <a:cubicBezTo>
                    <a:pt x="2" y="31"/>
                    <a:pt x="2" y="31"/>
                    <a:pt x="3" y="31"/>
                  </a:cubicBezTo>
                  <a:cubicBezTo>
                    <a:pt x="3" y="31"/>
                    <a:pt x="3" y="31"/>
                    <a:pt x="4" y="31"/>
                  </a:cubicBezTo>
                  <a:cubicBezTo>
                    <a:pt x="4" y="31"/>
                    <a:pt x="4" y="31"/>
                    <a:pt x="4" y="31"/>
                  </a:cubicBezTo>
                  <a:cubicBezTo>
                    <a:pt x="4" y="31"/>
                    <a:pt x="4" y="31"/>
                    <a:pt x="4" y="31"/>
                  </a:cubicBezTo>
                  <a:cubicBezTo>
                    <a:pt x="4" y="31"/>
                    <a:pt x="4" y="31"/>
                    <a:pt x="4" y="31"/>
                  </a:cubicBezTo>
                  <a:cubicBezTo>
                    <a:pt x="4" y="9"/>
                    <a:pt x="4" y="9"/>
                    <a:pt x="4" y="9"/>
                  </a:cubicBezTo>
                  <a:close/>
                  <a:moveTo>
                    <a:pt x="4" y="1"/>
                  </a:moveTo>
                  <a:cubicBezTo>
                    <a:pt x="4" y="0"/>
                    <a:pt x="3" y="0"/>
                    <a:pt x="3" y="0"/>
                  </a:cubicBezTo>
                  <a:cubicBezTo>
                    <a:pt x="2" y="0"/>
                    <a:pt x="1" y="0"/>
                    <a:pt x="1" y="1"/>
                  </a:cubicBezTo>
                  <a:cubicBezTo>
                    <a:pt x="0" y="1"/>
                    <a:pt x="0" y="1"/>
                    <a:pt x="0" y="2"/>
                  </a:cubicBezTo>
                  <a:cubicBezTo>
                    <a:pt x="0" y="3"/>
                    <a:pt x="0" y="4"/>
                    <a:pt x="1" y="4"/>
                  </a:cubicBezTo>
                  <a:cubicBezTo>
                    <a:pt x="1" y="5"/>
                    <a:pt x="2" y="5"/>
                    <a:pt x="3" y="5"/>
                  </a:cubicBezTo>
                  <a:cubicBezTo>
                    <a:pt x="3" y="5"/>
                    <a:pt x="4" y="5"/>
                    <a:pt x="4" y="4"/>
                  </a:cubicBezTo>
                  <a:cubicBezTo>
                    <a:pt x="5" y="4"/>
                    <a:pt x="5" y="3"/>
                    <a:pt x="5" y="2"/>
                  </a:cubicBezTo>
                  <a:cubicBezTo>
                    <a:pt x="5" y="1"/>
                    <a:pt x="5"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79">
              <a:extLst>
                <a:ext uri="{FF2B5EF4-FFF2-40B4-BE49-F238E27FC236}">
                  <a16:creationId xmlns:a16="http://schemas.microsoft.com/office/drawing/2014/main" id="{C9A6F5E8-AF62-4929-A92F-123328A3BAF7}"/>
                </a:ext>
              </a:extLst>
            </p:cNvPr>
            <p:cNvSpPr>
              <a:spLocks/>
            </p:cNvSpPr>
            <p:nvPr/>
          </p:nvSpPr>
          <p:spPr bwMode="auto">
            <a:xfrm>
              <a:off x="9235843" y="2760202"/>
              <a:ext cx="62046" cy="79361"/>
            </a:xfrm>
            <a:custGeom>
              <a:avLst/>
              <a:gdLst>
                <a:gd name="T0" fmla="*/ 18 w 18"/>
                <a:gd name="T1" fmla="*/ 10 h 23"/>
                <a:gd name="T2" fmla="*/ 17 w 18"/>
                <a:gd name="T3" fmla="*/ 6 h 23"/>
                <a:gd name="T4" fmla="*/ 16 w 18"/>
                <a:gd name="T5" fmla="*/ 3 h 23"/>
                <a:gd name="T6" fmla="*/ 14 w 18"/>
                <a:gd name="T7" fmla="*/ 1 h 23"/>
                <a:gd name="T8" fmla="*/ 10 w 18"/>
                <a:gd name="T9" fmla="*/ 0 h 23"/>
                <a:gd name="T10" fmla="*/ 7 w 18"/>
                <a:gd name="T11" fmla="*/ 1 h 23"/>
                <a:gd name="T12" fmla="*/ 3 w 18"/>
                <a:gd name="T13" fmla="*/ 4 h 23"/>
                <a:gd name="T14" fmla="*/ 3 w 18"/>
                <a:gd name="T15" fmla="*/ 1 h 23"/>
                <a:gd name="T16" fmla="*/ 3 w 18"/>
                <a:gd name="T17" fmla="*/ 1 h 23"/>
                <a:gd name="T18" fmla="*/ 3 w 18"/>
                <a:gd name="T19" fmla="*/ 1 h 23"/>
                <a:gd name="T20" fmla="*/ 2 w 18"/>
                <a:gd name="T21" fmla="*/ 1 h 23"/>
                <a:gd name="T22" fmla="*/ 1 w 18"/>
                <a:gd name="T23" fmla="*/ 1 h 23"/>
                <a:gd name="T24" fmla="*/ 1 w 18"/>
                <a:gd name="T25" fmla="*/ 1 h 23"/>
                <a:gd name="T26" fmla="*/ 0 w 18"/>
                <a:gd name="T27" fmla="*/ 1 h 23"/>
                <a:gd name="T28" fmla="*/ 0 w 18"/>
                <a:gd name="T29" fmla="*/ 1 h 23"/>
                <a:gd name="T30" fmla="*/ 0 w 18"/>
                <a:gd name="T31" fmla="*/ 1 h 23"/>
                <a:gd name="T32" fmla="*/ 0 w 18"/>
                <a:gd name="T33" fmla="*/ 23 h 23"/>
                <a:gd name="T34" fmla="*/ 0 w 18"/>
                <a:gd name="T35" fmla="*/ 23 h 23"/>
                <a:gd name="T36" fmla="*/ 0 w 18"/>
                <a:gd name="T37" fmla="*/ 23 h 23"/>
                <a:gd name="T38" fmla="*/ 1 w 18"/>
                <a:gd name="T39" fmla="*/ 23 h 23"/>
                <a:gd name="T40" fmla="*/ 2 w 18"/>
                <a:gd name="T41" fmla="*/ 23 h 23"/>
                <a:gd name="T42" fmla="*/ 3 w 18"/>
                <a:gd name="T43" fmla="*/ 23 h 23"/>
                <a:gd name="T44" fmla="*/ 3 w 18"/>
                <a:gd name="T45" fmla="*/ 23 h 23"/>
                <a:gd name="T46" fmla="*/ 3 w 18"/>
                <a:gd name="T47" fmla="*/ 23 h 23"/>
                <a:gd name="T48" fmla="*/ 4 w 18"/>
                <a:gd name="T49" fmla="*/ 23 h 23"/>
                <a:gd name="T50" fmla="*/ 4 w 18"/>
                <a:gd name="T51" fmla="*/ 8 h 23"/>
                <a:gd name="T52" fmla="*/ 7 w 18"/>
                <a:gd name="T53" fmla="*/ 5 h 23"/>
                <a:gd name="T54" fmla="*/ 9 w 18"/>
                <a:gd name="T55" fmla="*/ 4 h 23"/>
                <a:gd name="T56" fmla="*/ 11 w 18"/>
                <a:gd name="T57" fmla="*/ 4 h 23"/>
                <a:gd name="T58" fmla="*/ 13 w 18"/>
                <a:gd name="T59" fmla="*/ 5 h 23"/>
                <a:gd name="T60" fmla="*/ 14 w 18"/>
                <a:gd name="T61" fmla="*/ 7 h 23"/>
                <a:gd name="T62" fmla="*/ 14 w 18"/>
                <a:gd name="T63" fmla="*/ 10 h 23"/>
                <a:gd name="T64" fmla="*/ 14 w 18"/>
                <a:gd name="T65" fmla="*/ 23 h 23"/>
                <a:gd name="T66" fmla="*/ 14 w 18"/>
                <a:gd name="T67" fmla="*/ 23 h 23"/>
                <a:gd name="T68" fmla="*/ 14 w 18"/>
                <a:gd name="T69" fmla="*/ 23 h 23"/>
                <a:gd name="T70" fmla="*/ 15 w 18"/>
                <a:gd name="T71" fmla="*/ 23 h 23"/>
                <a:gd name="T72" fmla="*/ 16 w 18"/>
                <a:gd name="T73" fmla="*/ 23 h 23"/>
                <a:gd name="T74" fmla="*/ 17 w 18"/>
                <a:gd name="T75" fmla="*/ 23 h 23"/>
                <a:gd name="T76" fmla="*/ 17 w 18"/>
                <a:gd name="T77" fmla="*/ 23 h 23"/>
                <a:gd name="T78" fmla="*/ 18 w 18"/>
                <a:gd name="T79" fmla="*/ 23 h 23"/>
                <a:gd name="T80" fmla="*/ 18 w 18"/>
                <a:gd name="T81" fmla="*/ 23 h 23"/>
                <a:gd name="T82" fmla="*/ 18 w 18"/>
                <a:gd name="T83"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0"/>
                  </a:moveTo>
                  <a:cubicBezTo>
                    <a:pt x="18" y="8"/>
                    <a:pt x="18" y="7"/>
                    <a:pt x="17" y="6"/>
                  </a:cubicBezTo>
                  <a:cubicBezTo>
                    <a:pt x="17" y="5"/>
                    <a:pt x="17" y="4"/>
                    <a:pt x="16" y="3"/>
                  </a:cubicBezTo>
                  <a:cubicBezTo>
                    <a:pt x="16" y="2"/>
                    <a:pt x="15" y="2"/>
                    <a:pt x="14" y="1"/>
                  </a:cubicBezTo>
                  <a:cubicBezTo>
                    <a:pt x="13" y="1"/>
                    <a:pt x="12" y="0"/>
                    <a:pt x="10" y="0"/>
                  </a:cubicBezTo>
                  <a:cubicBezTo>
                    <a:pt x="9" y="0"/>
                    <a:pt x="8" y="1"/>
                    <a:pt x="7" y="1"/>
                  </a:cubicBezTo>
                  <a:cubicBezTo>
                    <a:pt x="5" y="2"/>
                    <a:pt x="4" y="3"/>
                    <a:pt x="3" y="4"/>
                  </a:cubicBezTo>
                  <a:cubicBezTo>
                    <a:pt x="3" y="1"/>
                    <a:pt x="3" y="1"/>
                    <a:pt x="3" y="1"/>
                  </a:cubicBezTo>
                  <a:cubicBezTo>
                    <a:pt x="3" y="1"/>
                    <a:pt x="3" y="1"/>
                    <a:pt x="3" y="1"/>
                  </a:cubicBezTo>
                  <a:cubicBezTo>
                    <a:pt x="3" y="1"/>
                    <a:pt x="3" y="1"/>
                    <a:pt x="3" y="1"/>
                  </a:cubicBezTo>
                  <a:cubicBezTo>
                    <a:pt x="3" y="1"/>
                    <a:pt x="2" y="1"/>
                    <a:pt x="2" y="1"/>
                  </a:cubicBezTo>
                  <a:cubicBezTo>
                    <a:pt x="2" y="1"/>
                    <a:pt x="2" y="1"/>
                    <a:pt x="1" y="1"/>
                  </a:cubicBezTo>
                  <a:cubicBezTo>
                    <a:pt x="1" y="1"/>
                    <a:pt x="1" y="1"/>
                    <a:pt x="1" y="1"/>
                  </a:cubicBezTo>
                  <a:cubicBezTo>
                    <a:pt x="0" y="1"/>
                    <a:pt x="0" y="1"/>
                    <a:pt x="0" y="1"/>
                  </a:cubicBezTo>
                  <a:cubicBezTo>
                    <a:pt x="0" y="1"/>
                    <a:pt x="0" y="1"/>
                    <a:pt x="0" y="1"/>
                  </a:cubicBezTo>
                  <a:cubicBezTo>
                    <a:pt x="0" y="1"/>
                    <a:pt x="0" y="1"/>
                    <a:pt x="0" y="1"/>
                  </a:cubicBezTo>
                  <a:cubicBezTo>
                    <a:pt x="0" y="23"/>
                    <a:pt x="0" y="23"/>
                    <a:pt x="0" y="23"/>
                  </a:cubicBezTo>
                  <a:cubicBezTo>
                    <a:pt x="0" y="23"/>
                    <a:pt x="0" y="23"/>
                    <a:pt x="0" y="23"/>
                  </a:cubicBezTo>
                  <a:cubicBezTo>
                    <a:pt x="0" y="23"/>
                    <a:pt x="0" y="23"/>
                    <a:pt x="0" y="23"/>
                  </a:cubicBezTo>
                  <a:cubicBezTo>
                    <a:pt x="0" y="23"/>
                    <a:pt x="0" y="23"/>
                    <a:pt x="1" y="23"/>
                  </a:cubicBezTo>
                  <a:cubicBezTo>
                    <a:pt x="1" y="23"/>
                    <a:pt x="1" y="23"/>
                    <a:pt x="2" y="23"/>
                  </a:cubicBezTo>
                  <a:cubicBezTo>
                    <a:pt x="2" y="23"/>
                    <a:pt x="2" y="23"/>
                    <a:pt x="3" y="23"/>
                  </a:cubicBezTo>
                  <a:cubicBezTo>
                    <a:pt x="3" y="23"/>
                    <a:pt x="3" y="23"/>
                    <a:pt x="3" y="23"/>
                  </a:cubicBezTo>
                  <a:cubicBezTo>
                    <a:pt x="3" y="23"/>
                    <a:pt x="3" y="23"/>
                    <a:pt x="3" y="23"/>
                  </a:cubicBezTo>
                  <a:cubicBezTo>
                    <a:pt x="3" y="23"/>
                    <a:pt x="4" y="23"/>
                    <a:pt x="4" y="23"/>
                  </a:cubicBezTo>
                  <a:cubicBezTo>
                    <a:pt x="4" y="8"/>
                    <a:pt x="4" y="8"/>
                    <a:pt x="4" y="8"/>
                  </a:cubicBezTo>
                  <a:cubicBezTo>
                    <a:pt x="5" y="7"/>
                    <a:pt x="6" y="5"/>
                    <a:pt x="7" y="5"/>
                  </a:cubicBezTo>
                  <a:cubicBezTo>
                    <a:pt x="8" y="4"/>
                    <a:pt x="8" y="4"/>
                    <a:pt x="9" y="4"/>
                  </a:cubicBezTo>
                  <a:cubicBezTo>
                    <a:pt x="10" y="4"/>
                    <a:pt x="11" y="4"/>
                    <a:pt x="11" y="4"/>
                  </a:cubicBezTo>
                  <a:cubicBezTo>
                    <a:pt x="12" y="4"/>
                    <a:pt x="12" y="5"/>
                    <a:pt x="13" y="5"/>
                  </a:cubicBezTo>
                  <a:cubicBezTo>
                    <a:pt x="13" y="6"/>
                    <a:pt x="13" y="7"/>
                    <a:pt x="14" y="7"/>
                  </a:cubicBezTo>
                  <a:cubicBezTo>
                    <a:pt x="14" y="8"/>
                    <a:pt x="14" y="9"/>
                    <a:pt x="14" y="10"/>
                  </a:cubicBezTo>
                  <a:cubicBezTo>
                    <a:pt x="14" y="23"/>
                    <a:pt x="14" y="23"/>
                    <a:pt x="14" y="23"/>
                  </a:cubicBezTo>
                  <a:cubicBezTo>
                    <a:pt x="14" y="23"/>
                    <a:pt x="14" y="23"/>
                    <a:pt x="14" y="23"/>
                  </a:cubicBezTo>
                  <a:cubicBezTo>
                    <a:pt x="14" y="23"/>
                    <a:pt x="14" y="23"/>
                    <a:pt x="14" y="23"/>
                  </a:cubicBezTo>
                  <a:cubicBezTo>
                    <a:pt x="14" y="23"/>
                    <a:pt x="15" y="23"/>
                    <a:pt x="15" y="23"/>
                  </a:cubicBezTo>
                  <a:cubicBezTo>
                    <a:pt x="15" y="23"/>
                    <a:pt x="15" y="23"/>
                    <a:pt x="16" y="23"/>
                  </a:cubicBezTo>
                  <a:cubicBezTo>
                    <a:pt x="16" y="23"/>
                    <a:pt x="17" y="23"/>
                    <a:pt x="17" y="23"/>
                  </a:cubicBezTo>
                  <a:cubicBezTo>
                    <a:pt x="17" y="23"/>
                    <a:pt x="17" y="23"/>
                    <a:pt x="17" y="23"/>
                  </a:cubicBezTo>
                  <a:cubicBezTo>
                    <a:pt x="18" y="23"/>
                    <a:pt x="18" y="23"/>
                    <a:pt x="18" y="23"/>
                  </a:cubicBezTo>
                  <a:cubicBezTo>
                    <a:pt x="18" y="23"/>
                    <a:pt x="18" y="23"/>
                    <a:pt x="18" y="23"/>
                  </a:cubicBezTo>
                  <a:cubicBezTo>
                    <a:pt x="18" y="10"/>
                    <a:pt x="18" y="10"/>
                    <a:pt x="18"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80">
              <a:extLst>
                <a:ext uri="{FF2B5EF4-FFF2-40B4-BE49-F238E27FC236}">
                  <a16:creationId xmlns:a16="http://schemas.microsoft.com/office/drawing/2014/main" id="{DB212F48-5DEC-451E-B2FD-209CB2974AE5}"/>
                </a:ext>
              </a:extLst>
            </p:cNvPr>
            <p:cNvSpPr>
              <a:spLocks/>
            </p:cNvSpPr>
            <p:nvPr/>
          </p:nvSpPr>
          <p:spPr bwMode="auto">
            <a:xfrm>
              <a:off x="9320975" y="2729901"/>
              <a:ext cx="59160" cy="109661"/>
            </a:xfrm>
            <a:custGeom>
              <a:avLst/>
              <a:gdLst>
                <a:gd name="T0" fmla="*/ 17 w 17"/>
                <a:gd name="T1" fmla="*/ 31 h 32"/>
                <a:gd name="T2" fmla="*/ 17 w 17"/>
                <a:gd name="T3" fmla="*/ 30 h 32"/>
                <a:gd name="T4" fmla="*/ 8 w 17"/>
                <a:gd name="T5" fmla="*/ 19 h 32"/>
                <a:gd name="T6" fmla="*/ 16 w 17"/>
                <a:gd name="T7" fmla="*/ 12 h 32"/>
                <a:gd name="T8" fmla="*/ 16 w 17"/>
                <a:gd name="T9" fmla="*/ 11 h 32"/>
                <a:gd name="T10" fmla="*/ 17 w 17"/>
                <a:gd name="T11" fmla="*/ 10 h 32"/>
                <a:gd name="T12" fmla="*/ 16 w 17"/>
                <a:gd name="T13" fmla="*/ 10 h 32"/>
                <a:gd name="T14" fmla="*/ 16 w 17"/>
                <a:gd name="T15" fmla="*/ 10 h 32"/>
                <a:gd name="T16" fmla="*/ 15 w 17"/>
                <a:gd name="T17" fmla="*/ 10 h 32"/>
                <a:gd name="T18" fmla="*/ 14 w 17"/>
                <a:gd name="T19" fmla="*/ 10 h 32"/>
                <a:gd name="T20" fmla="*/ 13 w 17"/>
                <a:gd name="T21" fmla="*/ 10 h 32"/>
                <a:gd name="T22" fmla="*/ 13 w 17"/>
                <a:gd name="T23" fmla="*/ 10 h 32"/>
                <a:gd name="T24" fmla="*/ 12 w 17"/>
                <a:gd name="T25" fmla="*/ 10 h 32"/>
                <a:gd name="T26" fmla="*/ 12 w 17"/>
                <a:gd name="T27" fmla="*/ 11 h 32"/>
                <a:gd name="T28" fmla="*/ 4 w 17"/>
                <a:gd name="T29" fmla="*/ 19 h 32"/>
                <a:gd name="T30" fmla="*/ 4 w 17"/>
                <a:gd name="T31" fmla="*/ 0 h 32"/>
                <a:gd name="T32" fmla="*/ 4 w 17"/>
                <a:gd name="T33" fmla="*/ 0 h 32"/>
                <a:gd name="T34" fmla="*/ 4 w 17"/>
                <a:gd name="T35" fmla="*/ 0 h 32"/>
                <a:gd name="T36" fmla="*/ 3 w 17"/>
                <a:gd name="T37" fmla="*/ 0 h 32"/>
                <a:gd name="T38" fmla="*/ 2 w 17"/>
                <a:gd name="T39" fmla="*/ 0 h 32"/>
                <a:gd name="T40" fmla="*/ 1 w 17"/>
                <a:gd name="T41" fmla="*/ 0 h 32"/>
                <a:gd name="T42" fmla="*/ 0 w 17"/>
                <a:gd name="T43" fmla="*/ 0 h 32"/>
                <a:gd name="T44" fmla="*/ 0 w 17"/>
                <a:gd name="T45" fmla="*/ 0 h 32"/>
                <a:gd name="T46" fmla="*/ 0 w 17"/>
                <a:gd name="T47" fmla="*/ 0 h 32"/>
                <a:gd name="T48" fmla="*/ 0 w 17"/>
                <a:gd name="T49" fmla="*/ 32 h 32"/>
                <a:gd name="T50" fmla="*/ 0 w 17"/>
                <a:gd name="T51" fmla="*/ 32 h 32"/>
                <a:gd name="T52" fmla="*/ 0 w 17"/>
                <a:gd name="T53" fmla="*/ 32 h 32"/>
                <a:gd name="T54" fmla="*/ 1 w 17"/>
                <a:gd name="T55" fmla="*/ 32 h 32"/>
                <a:gd name="T56" fmla="*/ 2 w 17"/>
                <a:gd name="T57" fmla="*/ 32 h 32"/>
                <a:gd name="T58" fmla="*/ 3 w 17"/>
                <a:gd name="T59" fmla="*/ 32 h 32"/>
                <a:gd name="T60" fmla="*/ 4 w 17"/>
                <a:gd name="T61" fmla="*/ 32 h 32"/>
                <a:gd name="T62" fmla="*/ 4 w 17"/>
                <a:gd name="T63" fmla="*/ 32 h 32"/>
                <a:gd name="T64" fmla="*/ 4 w 17"/>
                <a:gd name="T65" fmla="*/ 32 h 32"/>
                <a:gd name="T66" fmla="*/ 4 w 17"/>
                <a:gd name="T67" fmla="*/ 20 h 32"/>
                <a:gd name="T68" fmla="*/ 13 w 17"/>
                <a:gd name="T69" fmla="*/ 32 h 32"/>
                <a:gd name="T70" fmla="*/ 13 w 17"/>
                <a:gd name="T71" fmla="*/ 32 h 32"/>
                <a:gd name="T72" fmla="*/ 14 w 17"/>
                <a:gd name="T73" fmla="*/ 32 h 32"/>
                <a:gd name="T74" fmla="*/ 14 w 17"/>
                <a:gd name="T75" fmla="*/ 32 h 32"/>
                <a:gd name="T76" fmla="*/ 15 w 17"/>
                <a:gd name="T77" fmla="*/ 32 h 32"/>
                <a:gd name="T78" fmla="*/ 16 w 17"/>
                <a:gd name="T79" fmla="*/ 32 h 32"/>
                <a:gd name="T80" fmla="*/ 17 w 17"/>
                <a:gd name="T81" fmla="*/ 32 h 32"/>
                <a:gd name="T82" fmla="*/ 17 w 17"/>
                <a:gd name="T83" fmla="*/ 32 h 32"/>
                <a:gd name="T84" fmla="*/ 17 w 17"/>
                <a:gd name="T85" fmla="*/ 32 h 32"/>
                <a:gd name="T86" fmla="*/ 17 w 17"/>
                <a:gd name="T8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32">
                  <a:moveTo>
                    <a:pt x="17" y="31"/>
                  </a:moveTo>
                  <a:cubicBezTo>
                    <a:pt x="17" y="31"/>
                    <a:pt x="17" y="31"/>
                    <a:pt x="17" y="30"/>
                  </a:cubicBezTo>
                  <a:cubicBezTo>
                    <a:pt x="8" y="19"/>
                    <a:pt x="8" y="19"/>
                    <a:pt x="8" y="19"/>
                  </a:cubicBezTo>
                  <a:cubicBezTo>
                    <a:pt x="16" y="12"/>
                    <a:pt x="16" y="12"/>
                    <a:pt x="16" y="12"/>
                  </a:cubicBezTo>
                  <a:cubicBezTo>
                    <a:pt x="16" y="11"/>
                    <a:pt x="16" y="11"/>
                    <a:pt x="16" y="11"/>
                  </a:cubicBezTo>
                  <a:cubicBezTo>
                    <a:pt x="16" y="11"/>
                    <a:pt x="17" y="11"/>
                    <a:pt x="17" y="10"/>
                  </a:cubicBezTo>
                  <a:cubicBezTo>
                    <a:pt x="17" y="10"/>
                    <a:pt x="16" y="10"/>
                    <a:pt x="16" y="10"/>
                  </a:cubicBezTo>
                  <a:cubicBezTo>
                    <a:pt x="16" y="10"/>
                    <a:pt x="16" y="10"/>
                    <a:pt x="16" y="10"/>
                  </a:cubicBezTo>
                  <a:cubicBezTo>
                    <a:pt x="16" y="10"/>
                    <a:pt x="16" y="10"/>
                    <a:pt x="15" y="10"/>
                  </a:cubicBezTo>
                  <a:cubicBezTo>
                    <a:pt x="15" y="10"/>
                    <a:pt x="15" y="10"/>
                    <a:pt x="14" y="10"/>
                  </a:cubicBezTo>
                  <a:cubicBezTo>
                    <a:pt x="14" y="10"/>
                    <a:pt x="14" y="10"/>
                    <a:pt x="13" y="10"/>
                  </a:cubicBezTo>
                  <a:cubicBezTo>
                    <a:pt x="13" y="10"/>
                    <a:pt x="13" y="10"/>
                    <a:pt x="13" y="10"/>
                  </a:cubicBezTo>
                  <a:cubicBezTo>
                    <a:pt x="13" y="10"/>
                    <a:pt x="12" y="10"/>
                    <a:pt x="12" y="10"/>
                  </a:cubicBezTo>
                  <a:cubicBezTo>
                    <a:pt x="12" y="10"/>
                    <a:pt x="12" y="10"/>
                    <a:pt x="12" y="11"/>
                  </a:cubicBezTo>
                  <a:cubicBezTo>
                    <a:pt x="4" y="19"/>
                    <a:pt x="4" y="19"/>
                    <a:pt x="4" y="19"/>
                  </a:cubicBezTo>
                  <a:cubicBezTo>
                    <a:pt x="4" y="0"/>
                    <a:pt x="4" y="0"/>
                    <a:pt x="4" y="0"/>
                  </a:cubicBezTo>
                  <a:cubicBezTo>
                    <a:pt x="4" y="0"/>
                    <a:pt x="4" y="0"/>
                    <a:pt x="4" y="0"/>
                  </a:cubicBezTo>
                  <a:cubicBezTo>
                    <a:pt x="4" y="0"/>
                    <a:pt x="4" y="0"/>
                    <a:pt x="4" y="0"/>
                  </a:cubicBezTo>
                  <a:cubicBezTo>
                    <a:pt x="3" y="0"/>
                    <a:pt x="3" y="0"/>
                    <a:pt x="3" y="0"/>
                  </a:cubicBezTo>
                  <a:cubicBezTo>
                    <a:pt x="3" y="0"/>
                    <a:pt x="2" y="0"/>
                    <a:pt x="2" y="0"/>
                  </a:cubicBezTo>
                  <a:cubicBezTo>
                    <a:pt x="2" y="0"/>
                    <a:pt x="1" y="0"/>
                    <a:pt x="1" y="0"/>
                  </a:cubicBezTo>
                  <a:cubicBezTo>
                    <a:pt x="1" y="0"/>
                    <a:pt x="1" y="0"/>
                    <a:pt x="0" y="0"/>
                  </a:cubicBezTo>
                  <a:cubicBezTo>
                    <a:pt x="0" y="0"/>
                    <a:pt x="0" y="0"/>
                    <a:pt x="0" y="0"/>
                  </a:cubicBezTo>
                  <a:cubicBezTo>
                    <a:pt x="0" y="0"/>
                    <a:pt x="0" y="0"/>
                    <a:pt x="0" y="0"/>
                  </a:cubicBezTo>
                  <a:cubicBezTo>
                    <a:pt x="0" y="32"/>
                    <a:pt x="0" y="32"/>
                    <a:pt x="0" y="32"/>
                  </a:cubicBezTo>
                  <a:cubicBezTo>
                    <a:pt x="0" y="32"/>
                    <a:pt x="0" y="32"/>
                    <a:pt x="0" y="32"/>
                  </a:cubicBezTo>
                  <a:cubicBezTo>
                    <a:pt x="0" y="32"/>
                    <a:pt x="0" y="32"/>
                    <a:pt x="0" y="32"/>
                  </a:cubicBezTo>
                  <a:cubicBezTo>
                    <a:pt x="1" y="32"/>
                    <a:pt x="1" y="32"/>
                    <a:pt x="1" y="32"/>
                  </a:cubicBezTo>
                  <a:cubicBezTo>
                    <a:pt x="1" y="32"/>
                    <a:pt x="2" y="32"/>
                    <a:pt x="2" y="32"/>
                  </a:cubicBezTo>
                  <a:cubicBezTo>
                    <a:pt x="2" y="32"/>
                    <a:pt x="3" y="32"/>
                    <a:pt x="3" y="32"/>
                  </a:cubicBezTo>
                  <a:cubicBezTo>
                    <a:pt x="3" y="32"/>
                    <a:pt x="3" y="32"/>
                    <a:pt x="4" y="32"/>
                  </a:cubicBezTo>
                  <a:cubicBezTo>
                    <a:pt x="4" y="32"/>
                    <a:pt x="4" y="32"/>
                    <a:pt x="4" y="32"/>
                  </a:cubicBezTo>
                  <a:cubicBezTo>
                    <a:pt x="4" y="32"/>
                    <a:pt x="4" y="32"/>
                    <a:pt x="4" y="32"/>
                  </a:cubicBezTo>
                  <a:cubicBezTo>
                    <a:pt x="4" y="20"/>
                    <a:pt x="4" y="20"/>
                    <a:pt x="4" y="20"/>
                  </a:cubicBezTo>
                  <a:cubicBezTo>
                    <a:pt x="13" y="32"/>
                    <a:pt x="13" y="32"/>
                    <a:pt x="13" y="32"/>
                  </a:cubicBezTo>
                  <a:cubicBezTo>
                    <a:pt x="13" y="32"/>
                    <a:pt x="13" y="32"/>
                    <a:pt x="13" y="32"/>
                  </a:cubicBezTo>
                  <a:cubicBezTo>
                    <a:pt x="13" y="32"/>
                    <a:pt x="13" y="32"/>
                    <a:pt x="14" y="32"/>
                  </a:cubicBezTo>
                  <a:cubicBezTo>
                    <a:pt x="14" y="32"/>
                    <a:pt x="14" y="32"/>
                    <a:pt x="14" y="32"/>
                  </a:cubicBezTo>
                  <a:cubicBezTo>
                    <a:pt x="15" y="32"/>
                    <a:pt x="15" y="32"/>
                    <a:pt x="15" y="32"/>
                  </a:cubicBezTo>
                  <a:cubicBezTo>
                    <a:pt x="16" y="32"/>
                    <a:pt x="16" y="32"/>
                    <a:pt x="16" y="32"/>
                  </a:cubicBezTo>
                  <a:cubicBezTo>
                    <a:pt x="17" y="32"/>
                    <a:pt x="17" y="32"/>
                    <a:pt x="17" y="32"/>
                  </a:cubicBezTo>
                  <a:cubicBezTo>
                    <a:pt x="17" y="32"/>
                    <a:pt x="17" y="32"/>
                    <a:pt x="17" y="32"/>
                  </a:cubicBezTo>
                  <a:cubicBezTo>
                    <a:pt x="17" y="32"/>
                    <a:pt x="17" y="32"/>
                    <a:pt x="17" y="32"/>
                  </a:cubicBezTo>
                  <a:cubicBezTo>
                    <a:pt x="17" y="31"/>
                    <a:pt x="17" y="31"/>
                    <a:pt x="17" y="3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81">
              <a:extLst>
                <a:ext uri="{FF2B5EF4-FFF2-40B4-BE49-F238E27FC236}">
                  <a16:creationId xmlns:a16="http://schemas.microsoft.com/office/drawing/2014/main" id="{166C2D05-AF63-4FC7-AFF6-8A356C74A72E}"/>
                </a:ext>
              </a:extLst>
            </p:cNvPr>
            <p:cNvSpPr>
              <a:spLocks noEditPoints="1"/>
            </p:cNvSpPr>
            <p:nvPr/>
          </p:nvSpPr>
          <p:spPr bwMode="auto">
            <a:xfrm>
              <a:off x="9393120" y="2732786"/>
              <a:ext cx="17315" cy="106776"/>
            </a:xfrm>
            <a:custGeom>
              <a:avLst/>
              <a:gdLst>
                <a:gd name="T0" fmla="*/ 5 w 5"/>
                <a:gd name="T1" fmla="*/ 9 h 31"/>
                <a:gd name="T2" fmla="*/ 4 w 5"/>
                <a:gd name="T3" fmla="*/ 9 h 31"/>
                <a:gd name="T4" fmla="*/ 4 w 5"/>
                <a:gd name="T5" fmla="*/ 9 h 31"/>
                <a:gd name="T6" fmla="*/ 4 w 5"/>
                <a:gd name="T7" fmla="*/ 9 h 31"/>
                <a:gd name="T8" fmla="*/ 3 w 5"/>
                <a:gd name="T9" fmla="*/ 9 h 31"/>
                <a:gd name="T10" fmla="*/ 2 w 5"/>
                <a:gd name="T11" fmla="*/ 9 h 31"/>
                <a:gd name="T12" fmla="*/ 1 w 5"/>
                <a:gd name="T13" fmla="*/ 9 h 31"/>
                <a:gd name="T14" fmla="*/ 1 w 5"/>
                <a:gd name="T15" fmla="*/ 9 h 31"/>
                <a:gd name="T16" fmla="*/ 1 w 5"/>
                <a:gd name="T17" fmla="*/ 9 h 31"/>
                <a:gd name="T18" fmla="*/ 1 w 5"/>
                <a:gd name="T19" fmla="*/ 31 h 31"/>
                <a:gd name="T20" fmla="*/ 1 w 5"/>
                <a:gd name="T21" fmla="*/ 31 h 31"/>
                <a:gd name="T22" fmla="*/ 1 w 5"/>
                <a:gd name="T23" fmla="*/ 31 h 31"/>
                <a:gd name="T24" fmla="*/ 2 w 5"/>
                <a:gd name="T25" fmla="*/ 31 h 31"/>
                <a:gd name="T26" fmla="*/ 3 w 5"/>
                <a:gd name="T27" fmla="*/ 31 h 31"/>
                <a:gd name="T28" fmla="*/ 4 w 5"/>
                <a:gd name="T29" fmla="*/ 31 h 31"/>
                <a:gd name="T30" fmla="*/ 4 w 5"/>
                <a:gd name="T31" fmla="*/ 31 h 31"/>
                <a:gd name="T32" fmla="*/ 4 w 5"/>
                <a:gd name="T33" fmla="*/ 31 h 31"/>
                <a:gd name="T34" fmla="*/ 5 w 5"/>
                <a:gd name="T35" fmla="*/ 31 h 31"/>
                <a:gd name="T36" fmla="*/ 5 w 5"/>
                <a:gd name="T37" fmla="*/ 9 h 31"/>
                <a:gd name="T38" fmla="*/ 4 w 5"/>
                <a:gd name="T39" fmla="*/ 1 h 31"/>
                <a:gd name="T40" fmla="*/ 3 w 5"/>
                <a:gd name="T41" fmla="*/ 0 h 31"/>
                <a:gd name="T42" fmla="*/ 1 w 5"/>
                <a:gd name="T43" fmla="*/ 1 h 31"/>
                <a:gd name="T44" fmla="*/ 0 w 5"/>
                <a:gd name="T45" fmla="*/ 2 h 31"/>
                <a:gd name="T46" fmla="*/ 1 w 5"/>
                <a:gd name="T47" fmla="*/ 4 h 31"/>
                <a:gd name="T48" fmla="*/ 3 w 5"/>
                <a:gd name="T49" fmla="*/ 5 h 31"/>
                <a:gd name="T50" fmla="*/ 4 w 5"/>
                <a:gd name="T51" fmla="*/ 4 h 31"/>
                <a:gd name="T52" fmla="*/ 5 w 5"/>
                <a:gd name="T53" fmla="*/ 2 h 31"/>
                <a:gd name="T54" fmla="*/ 4 w 5"/>
                <a:gd name="T5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5" y="9"/>
                  </a:moveTo>
                  <a:cubicBezTo>
                    <a:pt x="5" y="9"/>
                    <a:pt x="5" y="9"/>
                    <a:pt x="4" y="9"/>
                  </a:cubicBezTo>
                  <a:cubicBezTo>
                    <a:pt x="4" y="9"/>
                    <a:pt x="4" y="9"/>
                    <a:pt x="4" y="9"/>
                  </a:cubicBezTo>
                  <a:cubicBezTo>
                    <a:pt x="4" y="9"/>
                    <a:pt x="4" y="9"/>
                    <a:pt x="4" y="9"/>
                  </a:cubicBezTo>
                  <a:cubicBezTo>
                    <a:pt x="3" y="9"/>
                    <a:pt x="3" y="9"/>
                    <a:pt x="3" y="9"/>
                  </a:cubicBezTo>
                  <a:cubicBezTo>
                    <a:pt x="2" y="9"/>
                    <a:pt x="2" y="9"/>
                    <a:pt x="2" y="9"/>
                  </a:cubicBezTo>
                  <a:cubicBezTo>
                    <a:pt x="1" y="9"/>
                    <a:pt x="1" y="9"/>
                    <a:pt x="1" y="9"/>
                  </a:cubicBezTo>
                  <a:cubicBezTo>
                    <a:pt x="1" y="9"/>
                    <a:pt x="1" y="9"/>
                    <a:pt x="1" y="9"/>
                  </a:cubicBezTo>
                  <a:cubicBezTo>
                    <a:pt x="1" y="9"/>
                    <a:pt x="1" y="9"/>
                    <a:pt x="1" y="9"/>
                  </a:cubicBezTo>
                  <a:cubicBezTo>
                    <a:pt x="1" y="31"/>
                    <a:pt x="1" y="31"/>
                    <a:pt x="1" y="31"/>
                  </a:cubicBezTo>
                  <a:cubicBezTo>
                    <a:pt x="1" y="31"/>
                    <a:pt x="1" y="31"/>
                    <a:pt x="1" y="31"/>
                  </a:cubicBezTo>
                  <a:cubicBezTo>
                    <a:pt x="1" y="31"/>
                    <a:pt x="1" y="31"/>
                    <a:pt x="1" y="31"/>
                  </a:cubicBezTo>
                  <a:cubicBezTo>
                    <a:pt x="1" y="31"/>
                    <a:pt x="1" y="31"/>
                    <a:pt x="2" y="31"/>
                  </a:cubicBezTo>
                  <a:cubicBezTo>
                    <a:pt x="2" y="31"/>
                    <a:pt x="2" y="31"/>
                    <a:pt x="3" y="31"/>
                  </a:cubicBezTo>
                  <a:cubicBezTo>
                    <a:pt x="3" y="31"/>
                    <a:pt x="3" y="31"/>
                    <a:pt x="4" y="31"/>
                  </a:cubicBezTo>
                  <a:cubicBezTo>
                    <a:pt x="4" y="31"/>
                    <a:pt x="4" y="31"/>
                    <a:pt x="4" y="31"/>
                  </a:cubicBezTo>
                  <a:cubicBezTo>
                    <a:pt x="4" y="31"/>
                    <a:pt x="4" y="31"/>
                    <a:pt x="4" y="31"/>
                  </a:cubicBezTo>
                  <a:cubicBezTo>
                    <a:pt x="5" y="31"/>
                    <a:pt x="5" y="31"/>
                    <a:pt x="5" y="31"/>
                  </a:cubicBezTo>
                  <a:cubicBezTo>
                    <a:pt x="5" y="9"/>
                    <a:pt x="5" y="9"/>
                    <a:pt x="5" y="9"/>
                  </a:cubicBezTo>
                  <a:close/>
                  <a:moveTo>
                    <a:pt x="4" y="1"/>
                  </a:moveTo>
                  <a:cubicBezTo>
                    <a:pt x="4" y="0"/>
                    <a:pt x="4" y="0"/>
                    <a:pt x="3" y="0"/>
                  </a:cubicBezTo>
                  <a:cubicBezTo>
                    <a:pt x="2" y="0"/>
                    <a:pt x="1" y="0"/>
                    <a:pt x="1" y="1"/>
                  </a:cubicBezTo>
                  <a:cubicBezTo>
                    <a:pt x="0" y="1"/>
                    <a:pt x="0" y="1"/>
                    <a:pt x="0" y="2"/>
                  </a:cubicBezTo>
                  <a:cubicBezTo>
                    <a:pt x="0" y="3"/>
                    <a:pt x="0" y="4"/>
                    <a:pt x="1" y="4"/>
                  </a:cubicBezTo>
                  <a:cubicBezTo>
                    <a:pt x="1" y="5"/>
                    <a:pt x="2" y="5"/>
                    <a:pt x="3" y="5"/>
                  </a:cubicBezTo>
                  <a:cubicBezTo>
                    <a:pt x="3" y="5"/>
                    <a:pt x="4" y="5"/>
                    <a:pt x="4" y="4"/>
                  </a:cubicBezTo>
                  <a:cubicBezTo>
                    <a:pt x="5" y="4"/>
                    <a:pt x="5" y="3"/>
                    <a:pt x="5" y="2"/>
                  </a:cubicBezTo>
                  <a:cubicBezTo>
                    <a:pt x="5" y="1"/>
                    <a:pt x="5"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82">
              <a:extLst>
                <a:ext uri="{FF2B5EF4-FFF2-40B4-BE49-F238E27FC236}">
                  <a16:creationId xmlns:a16="http://schemas.microsoft.com/office/drawing/2014/main" id="{42041080-3CE8-44DF-B01A-765BBF3D8EBC}"/>
                </a:ext>
              </a:extLst>
            </p:cNvPr>
            <p:cNvSpPr>
              <a:spLocks/>
            </p:cNvSpPr>
            <p:nvPr/>
          </p:nvSpPr>
          <p:spPr bwMode="auto">
            <a:xfrm>
              <a:off x="9434965" y="2760202"/>
              <a:ext cx="60602" cy="79361"/>
            </a:xfrm>
            <a:custGeom>
              <a:avLst/>
              <a:gdLst>
                <a:gd name="T0" fmla="*/ 18 w 18"/>
                <a:gd name="T1" fmla="*/ 10 h 23"/>
                <a:gd name="T2" fmla="*/ 17 w 18"/>
                <a:gd name="T3" fmla="*/ 6 h 23"/>
                <a:gd name="T4" fmla="*/ 16 w 18"/>
                <a:gd name="T5" fmla="*/ 3 h 23"/>
                <a:gd name="T6" fmla="*/ 14 w 18"/>
                <a:gd name="T7" fmla="*/ 1 h 23"/>
                <a:gd name="T8" fmla="*/ 10 w 18"/>
                <a:gd name="T9" fmla="*/ 0 h 23"/>
                <a:gd name="T10" fmla="*/ 7 w 18"/>
                <a:gd name="T11" fmla="*/ 1 h 23"/>
                <a:gd name="T12" fmla="*/ 3 w 18"/>
                <a:gd name="T13" fmla="*/ 4 h 23"/>
                <a:gd name="T14" fmla="*/ 3 w 18"/>
                <a:gd name="T15" fmla="*/ 1 h 23"/>
                <a:gd name="T16" fmla="*/ 3 w 18"/>
                <a:gd name="T17" fmla="*/ 1 h 23"/>
                <a:gd name="T18" fmla="*/ 3 w 18"/>
                <a:gd name="T19" fmla="*/ 1 h 23"/>
                <a:gd name="T20" fmla="*/ 2 w 18"/>
                <a:gd name="T21" fmla="*/ 1 h 23"/>
                <a:gd name="T22" fmla="*/ 1 w 18"/>
                <a:gd name="T23" fmla="*/ 1 h 23"/>
                <a:gd name="T24" fmla="*/ 1 w 18"/>
                <a:gd name="T25" fmla="*/ 1 h 23"/>
                <a:gd name="T26" fmla="*/ 0 w 18"/>
                <a:gd name="T27" fmla="*/ 1 h 23"/>
                <a:gd name="T28" fmla="*/ 0 w 18"/>
                <a:gd name="T29" fmla="*/ 1 h 23"/>
                <a:gd name="T30" fmla="*/ 0 w 18"/>
                <a:gd name="T31" fmla="*/ 1 h 23"/>
                <a:gd name="T32" fmla="*/ 0 w 18"/>
                <a:gd name="T33" fmla="*/ 23 h 23"/>
                <a:gd name="T34" fmla="*/ 0 w 18"/>
                <a:gd name="T35" fmla="*/ 23 h 23"/>
                <a:gd name="T36" fmla="*/ 0 w 18"/>
                <a:gd name="T37" fmla="*/ 23 h 23"/>
                <a:gd name="T38" fmla="*/ 1 w 18"/>
                <a:gd name="T39" fmla="*/ 23 h 23"/>
                <a:gd name="T40" fmla="*/ 2 w 18"/>
                <a:gd name="T41" fmla="*/ 23 h 23"/>
                <a:gd name="T42" fmla="*/ 3 w 18"/>
                <a:gd name="T43" fmla="*/ 23 h 23"/>
                <a:gd name="T44" fmla="*/ 3 w 18"/>
                <a:gd name="T45" fmla="*/ 23 h 23"/>
                <a:gd name="T46" fmla="*/ 3 w 18"/>
                <a:gd name="T47" fmla="*/ 23 h 23"/>
                <a:gd name="T48" fmla="*/ 4 w 18"/>
                <a:gd name="T49" fmla="*/ 23 h 23"/>
                <a:gd name="T50" fmla="*/ 4 w 18"/>
                <a:gd name="T51" fmla="*/ 8 h 23"/>
                <a:gd name="T52" fmla="*/ 7 w 18"/>
                <a:gd name="T53" fmla="*/ 5 h 23"/>
                <a:gd name="T54" fmla="*/ 10 w 18"/>
                <a:gd name="T55" fmla="*/ 4 h 23"/>
                <a:gd name="T56" fmla="*/ 11 w 18"/>
                <a:gd name="T57" fmla="*/ 4 h 23"/>
                <a:gd name="T58" fmla="*/ 13 w 18"/>
                <a:gd name="T59" fmla="*/ 5 h 23"/>
                <a:gd name="T60" fmla="*/ 14 w 18"/>
                <a:gd name="T61" fmla="*/ 7 h 23"/>
                <a:gd name="T62" fmla="*/ 14 w 18"/>
                <a:gd name="T63" fmla="*/ 10 h 23"/>
                <a:gd name="T64" fmla="*/ 14 w 18"/>
                <a:gd name="T65" fmla="*/ 23 h 23"/>
                <a:gd name="T66" fmla="*/ 14 w 18"/>
                <a:gd name="T67" fmla="*/ 23 h 23"/>
                <a:gd name="T68" fmla="*/ 14 w 18"/>
                <a:gd name="T69" fmla="*/ 23 h 23"/>
                <a:gd name="T70" fmla="*/ 15 w 18"/>
                <a:gd name="T71" fmla="*/ 23 h 23"/>
                <a:gd name="T72" fmla="*/ 16 w 18"/>
                <a:gd name="T73" fmla="*/ 23 h 23"/>
                <a:gd name="T74" fmla="*/ 17 w 18"/>
                <a:gd name="T75" fmla="*/ 23 h 23"/>
                <a:gd name="T76" fmla="*/ 17 w 18"/>
                <a:gd name="T77" fmla="*/ 23 h 23"/>
                <a:gd name="T78" fmla="*/ 18 w 18"/>
                <a:gd name="T79" fmla="*/ 23 h 23"/>
                <a:gd name="T80" fmla="*/ 18 w 18"/>
                <a:gd name="T81" fmla="*/ 23 h 23"/>
                <a:gd name="T82" fmla="*/ 18 w 18"/>
                <a:gd name="T83"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0"/>
                  </a:moveTo>
                  <a:cubicBezTo>
                    <a:pt x="18" y="8"/>
                    <a:pt x="18" y="7"/>
                    <a:pt x="17" y="6"/>
                  </a:cubicBezTo>
                  <a:cubicBezTo>
                    <a:pt x="17" y="5"/>
                    <a:pt x="17" y="4"/>
                    <a:pt x="16" y="3"/>
                  </a:cubicBezTo>
                  <a:cubicBezTo>
                    <a:pt x="16" y="2"/>
                    <a:pt x="15" y="2"/>
                    <a:pt x="14" y="1"/>
                  </a:cubicBezTo>
                  <a:cubicBezTo>
                    <a:pt x="13" y="1"/>
                    <a:pt x="12" y="0"/>
                    <a:pt x="10" y="0"/>
                  </a:cubicBezTo>
                  <a:cubicBezTo>
                    <a:pt x="9" y="0"/>
                    <a:pt x="8" y="1"/>
                    <a:pt x="7" y="1"/>
                  </a:cubicBezTo>
                  <a:cubicBezTo>
                    <a:pt x="6" y="2"/>
                    <a:pt x="4" y="3"/>
                    <a:pt x="3" y="4"/>
                  </a:cubicBezTo>
                  <a:cubicBezTo>
                    <a:pt x="3" y="1"/>
                    <a:pt x="3" y="1"/>
                    <a:pt x="3" y="1"/>
                  </a:cubicBezTo>
                  <a:cubicBezTo>
                    <a:pt x="3" y="1"/>
                    <a:pt x="3" y="1"/>
                    <a:pt x="3" y="1"/>
                  </a:cubicBezTo>
                  <a:cubicBezTo>
                    <a:pt x="3" y="1"/>
                    <a:pt x="3" y="1"/>
                    <a:pt x="3" y="1"/>
                  </a:cubicBezTo>
                  <a:cubicBezTo>
                    <a:pt x="3" y="1"/>
                    <a:pt x="3" y="1"/>
                    <a:pt x="2" y="1"/>
                  </a:cubicBezTo>
                  <a:cubicBezTo>
                    <a:pt x="2" y="1"/>
                    <a:pt x="2" y="1"/>
                    <a:pt x="1" y="1"/>
                  </a:cubicBezTo>
                  <a:cubicBezTo>
                    <a:pt x="1" y="1"/>
                    <a:pt x="1" y="1"/>
                    <a:pt x="1" y="1"/>
                  </a:cubicBezTo>
                  <a:cubicBezTo>
                    <a:pt x="0" y="1"/>
                    <a:pt x="0" y="1"/>
                    <a:pt x="0" y="1"/>
                  </a:cubicBezTo>
                  <a:cubicBezTo>
                    <a:pt x="0" y="1"/>
                    <a:pt x="0" y="1"/>
                    <a:pt x="0" y="1"/>
                  </a:cubicBezTo>
                  <a:cubicBezTo>
                    <a:pt x="0" y="1"/>
                    <a:pt x="0" y="1"/>
                    <a:pt x="0" y="1"/>
                  </a:cubicBezTo>
                  <a:cubicBezTo>
                    <a:pt x="0" y="23"/>
                    <a:pt x="0" y="23"/>
                    <a:pt x="0" y="23"/>
                  </a:cubicBezTo>
                  <a:cubicBezTo>
                    <a:pt x="0" y="23"/>
                    <a:pt x="0" y="23"/>
                    <a:pt x="0" y="23"/>
                  </a:cubicBezTo>
                  <a:cubicBezTo>
                    <a:pt x="0" y="23"/>
                    <a:pt x="0" y="23"/>
                    <a:pt x="0" y="23"/>
                  </a:cubicBezTo>
                  <a:cubicBezTo>
                    <a:pt x="0" y="23"/>
                    <a:pt x="0" y="23"/>
                    <a:pt x="1" y="23"/>
                  </a:cubicBezTo>
                  <a:cubicBezTo>
                    <a:pt x="1" y="23"/>
                    <a:pt x="1" y="23"/>
                    <a:pt x="2" y="23"/>
                  </a:cubicBezTo>
                  <a:cubicBezTo>
                    <a:pt x="2" y="23"/>
                    <a:pt x="2" y="23"/>
                    <a:pt x="3" y="23"/>
                  </a:cubicBezTo>
                  <a:cubicBezTo>
                    <a:pt x="3" y="23"/>
                    <a:pt x="3" y="23"/>
                    <a:pt x="3" y="23"/>
                  </a:cubicBezTo>
                  <a:cubicBezTo>
                    <a:pt x="3" y="23"/>
                    <a:pt x="3" y="23"/>
                    <a:pt x="3" y="23"/>
                  </a:cubicBezTo>
                  <a:cubicBezTo>
                    <a:pt x="4" y="23"/>
                    <a:pt x="4" y="23"/>
                    <a:pt x="4" y="23"/>
                  </a:cubicBezTo>
                  <a:cubicBezTo>
                    <a:pt x="4" y="8"/>
                    <a:pt x="4" y="8"/>
                    <a:pt x="4" y="8"/>
                  </a:cubicBezTo>
                  <a:cubicBezTo>
                    <a:pt x="5" y="7"/>
                    <a:pt x="6" y="5"/>
                    <a:pt x="7" y="5"/>
                  </a:cubicBezTo>
                  <a:cubicBezTo>
                    <a:pt x="8" y="4"/>
                    <a:pt x="9" y="4"/>
                    <a:pt x="10" y="4"/>
                  </a:cubicBezTo>
                  <a:cubicBezTo>
                    <a:pt x="10" y="4"/>
                    <a:pt x="11" y="4"/>
                    <a:pt x="11" y="4"/>
                  </a:cubicBezTo>
                  <a:cubicBezTo>
                    <a:pt x="12" y="4"/>
                    <a:pt x="13" y="5"/>
                    <a:pt x="13" y="5"/>
                  </a:cubicBezTo>
                  <a:cubicBezTo>
                    <a:pt x="13" y="6"/>
                    <a:pt x="14" y="7"/>
                    <a:pt x="14" y="7"/>
                  </a:cubicBezTo>
                  <a:cubicBezTo>
                    <a:pt x="14" y="8"/>
                    <a:pt x="14" y="9"/>
                    <a:pt x="14" y="10"/>
                  </a:cubicBezTo>
                  <a:cubicBezTo>
                    <a:pt x="14" y="23"/>
                    <a:pt x="14" y="23"/>
                    <a:pt x="14" y="23"/>
                  </a:cubicBezTo>
                  <a:cubicBezTo>
                    <a:pt x="14" y="23"/>
                    <a:pt x="14" y="23"/>
                    <a:pt x="14" y="23"/>
                  </a:cubicBezTo>
                  <a:cubicBezTo>
                    <a:pt x="14" y="23"/>
                    <a:pt x="14" y="23"/>
                    <a:pt x="14" y="23"/>
                  </a:cubicBezTo>
                  <a:cubicBezTo>
                    <a:pt x="15" y="23"/>
                    <a:pt x="15" y="23"/>
                    <a:pt x="15" y="23"/>
                  </a:cubicBezTo>
                  <a:cubicBezTo>
                    <a:pt x="15" y="23"/>
                    <a:pt x="16" y="23"/>
                    <a:pt x="16" y="23"/>
                  </a:cubicBezTo>
                  <a:cubicBezTo>
                    <a:pt x="16" y="23"/>
                    <a:pt x="17" y="23"/>
                    <a:pt x="17" y="23"/>
                  </a:cubicBezTo>
                  <a:cubicBezTo>
                    <a:pt x="17" y="23"/>
                    <a:pt x="17" y="23"/>
                    <a:pt x="17" y="23"/>
                  </a:cubicBezTo>
                  <a:cubicBezTo>
                    <a:pt x="18" y="23"/>
                    <a:pt x="18" y="23"/>
                    <a:pt x="18" y="23"/>
                  </a:cubicBezTo>
                  <a:cubicBezTo>
                    <a:pt x="18" y="23"/>
                    <a:pt x="18" y="23"/>
                    <a:pt x="18" y="23"/>
                  </a:cubicBezTo>
                  <a:cubicBezTo>
                    <a:pt x="18" y="10"/>
                    <a:pt x="18" y="10"/>
                    <a:pt x="18"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83">
              <a:extLst>
                <a:ext uri="{FF2B5EF4-FFF2-40B4-BE49-F238E27FC236}">
                  <a16:creationId xmlns:a16="http://schemas.microsoft.com/office/drawing/2014/main" id="{EB51B2CB-DE45-489A-A623-0431281C2BB2}"/>
                </a:ext>
              </a:extLst>
            </p:cNvPr>
            <p:cNvSpPr>
              <a:spLocks noEditPoints="1"/>
            </p:cNvSpPr>
            <p:nvPr/>
          </p:nvSpPr>
          <p:spPr bwMode="auto">
            <a:xfrm>
              <a:off x="9512883" y="2760202"/>
              <a:ext cx="69260" cy="109661"/>
            </a:xfrm>
            <a:custGeom>
              <a:avLst/>
              <a:gdLst>
                <a:gd name="T0" fmla="*/ 19 w 20"/>
                <a:gd name="T1" fmla="*/ 1 h 32"/>
                <a:gd name="T2" fmla="*/ 11 w 20"/>
                <a:gd name="T3" fmla="*/ 1 h 32"/>
                <a:gd name="T4" fmla="*/ 6 w 20"/>
                <a:gd name="T5" fmla="*/ 1 h 32"/>
                <a:gd name="T6" fmla="*/ 2 w 20"/>
                <a:gd name="T7" fmla="*/ 5 h 32"/>
                <a:gd name="T8" fmla="*/ 1 w 20"/>
                <a:gd name="T9" fmla="*/ 11 h 32"/>
                <a:gd name="T10" fmla="*/ 1 w 20"/>
                <a:gd name="T11" fmla="*/ 15 h 32"/>
                <a:gd name="T12" fmla="*/ 1 w 20"/>
                <a:gd name="T13" fmla="*/ 19 h 32"/>
                <a:gd name="T14" fmla="*/ 1 w 20"/>
                <a:gd name="T15" fmla="*/ 22 h 32"/>
                <a:gd name="T16" fmla="*/ 0 w 20"/>
                <a:gd name="T17" fmla="*/ 25 h 32"/>
                <a:gd name="T18" fmla="*/ 0 w 20"/>
                <a:gd name="T19" fmla="*/ 28 h 32"/>
                <a:gd name="T20" fmla="*/ 5 w 20"/>
                <a:gd name="T21" fmla="*/ 31 h 32"/>
                <a:gd name="T22" fmla="*/ 14 w 20"/>
                <a:gd name="T23" fmla="*/ 31 h 32"/>
                <a:gd name="T24" fmla="*/ 19 w 20"/>
                <a:gd name="T25" fmla="*/ 27 h 32"/>
                <a:gd name="T26" fmla="*/ 19 w 20"/>
                <a:gd name="T27" fmla="*/ 22 h 32"/>
                <a:gd name="T28" fmla="*/ 15 w 20"/>
                <a:gd name="T29" fmla="*/ 19 h 32"/>
                <a:gd name="T30" fmla="*/ 7 w 20"/>
                <a:gd name="T31" fmla="*/ 19 h 32"/>
                <a:gd name="T32" fmla="*/ 4 w 20"/>
                <a:gd name="T33" fmla="*/ 17 h 32"/>
                <a:gd name="T34" fmla="*/ 5 w 20"/>
                <a:gd name="T35" fmla="*/ 14 h 32"/>
                <a:gd name="T36" fmla="*/ 9 w 20"/>
                <a:gd name="T37" fmla="*/ 16 h 32"/>
                <a:gd name="T38" fmla="*/ 15 w 20"/>
                <a:gd name="T39" fmla="*/ 14 h 32"/>
                <a:gd name="T40" fmla="*/ 17 w 20"/>
                <a:gd name="T41" fmla="*/ 8 h 32"/>
                <a:gd name="T42" fmla="*/ 16 w 20"/>
                <a:gd name="T43" fmla="*/ 4 h 32"/>
                <a:gd name="T44" fmla="*/ 19 w 20"/>
                <a:gd name="T45" fmla="*/ 4 h 32"/>
                <a:gd name="T46" fmla="*/ 20 w 20"/>
                <a:gd name="T47" fmla="*/ 1 h 32"/>
                <a:gd name="T48" fmla="*/ 13 w 20"/>
                <a:gd name="T49" fmla="*/ 11 h 32"/>
                <a:gd name="T50" fmla="*/ 9 w 20"/>
                <a:gd name="T51" fmla="*/ 13 h 32"/>
                <a:gd name="T52" fmla="*/ 5 w 20"/>
                <a:gd name="T53" fmla="*/ 8 h 32"/>
                <a:gd name="T54" fmla="*/ 6 w 20"/>
                <a:gd name="T55" fmla="*/ 5 h 32"/>
                <a:gd name="T56" fmla="*/ 9 w 20"/>
                <a:gd name="T57" fmla="*/ 3 h 32"/>
                <a:gd name="T58" fmla="*/ 14 w 20"/>
                <a:gd name="T59" fmla="*/ 8 h 32"/>
                <a:gd name="T60" fmla="*/ 15 w 20"/>
                <a:gd name="T61" fmla="*/ 26 h 32"/>
                <a:gd name="T62" fmla="*/ 12 w 20"/>
                <a:gd name="T63" fmla="*/ 28 h 32"/>
                <a:gd name="T64" fmla="*/ 5 w 20"/>
                <a:gd name="T65" fmla="*/ 28 h 32"/>
                <a:gd name="T66" fmla="*/ 4 w 20"/>
                <a:gd name="T67" fmla="*/ 25 h 32"/>
                <a:gd name="T68" fmla="*/ 5 w 20"/>
                <a:gd name="T69" fmla="*/ 23 h 32"/>
                <a:gd name="T70" fmla="*/ 11 w 20"/>
                <a:gd name="T71" fmla="*/ 22 h 32"/>
                <a:gd name="T72" fmla="*/ 16 w 20"/>
                <a:gd name="T73"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32">
                  <a:moveTo>
                    <a:pt x="20" y="1"/>
                  </a:moveTo>
                  <a:cubicBezTo>
                    <a:pt x="19" y="1"/>
                    <a:pt x="19" y="1"/>
                    <a:pt x="19" y="1"/>
                  </a:cubicBezTo>
                  <a:cubicBezTo>
                    <a:pt x="13" y="1"/>
                    <a:pt x="13" y="1"/>
                    <a:pt x="13" y="1"/>
                  </a:cubicBezTo>
                  <a:cubicBezTo>
                    <a:pt x="12" y="1"/>
                    <a:pt x="12" y="1"/>
                    <a:pt x="11" y="1"/>
                  </a:cubicBezTo>
                  <a:cubicBezTo>
                    <a:pt x="10" y="1"/>
                    <a:pt x="10" y="0"/>
                    <a:pt x="9" y="0"/>
                  </a:cubicBezTo>
                  <a:cubicBezTo>
                    <a:pt x="8" y="0"/>
                    <a:pt x="7" y="1"/>
                    <a:pt x="6" y="1"/>
                  </a:cubicBezTo>
                  <a:cubicBezTo>
                    <a:pt x="5" y="1"/>
                    <a:pt x="4" y="2"/>
                    <a:pt x="3" y="3"/>
                  </a:cubicBezTo>
                  <a:cubicBezTo>
                    <a:pt x="3" y="3"/>
                    <a:pt x="2" y="4"/>
                    <a:pt x="2" y="5"/>
                  </a:cubicBezTo>
                  <a:cubicBezTo>
                    <a:pt x="1" y="6"/>
                    <a:pt x="1" y="7"/>
                    <a:pt x="1" y="8"/>
                  </a:cubicBezTo>
                  <a:cubicBezTo>
                    <a:pt x="1" y="9"/>
                    <a:pt x="1" y="10"/>
                    <a:pt x="1" y="11"/>
                  </a:cubicBezTo>
                  <a:cubicBezTo>
                    <a:pt x="2" y="12"/>
                    <a:pt x="2" y="12"/>
                    <a:pt x="3" y="13"/>
                  </a:cubicBezTo>
                  <a:cubicBezTo>
                    <a:pt x="2" y="13"/>
                    <a:pt x="2" y="14"/>
                    <a:pt x="1" y="15"/>
                  </a:cubicBezTo>
                  <a:cubicBezTo>
                    <a:pt x="1" y="16"/>
                    <a:pt x="1" y="16"/>
                    <a:pt x="1" y="17"/>
                  </a:cubicBezTo>
                  <a:cubicBezTo>
                    <a:pt x="1" y="18"/>
                    <a:pt x="1" y="19"/>
                    <a:pt x="1" y="19"/>
                  </a:cubicBezTo>
                  <a:cubicBezTo>
                    <a:pt x="1" y="20"/>
                    <a:pt x="2" y="20"/>
                    <a:pt x="3" y="21"/>
                  </a:cubicBezTo>
                  <a:cubicBezTo>
                    <a:pt x="2" y="21"/>
                    <a:pt x="2" y="22"/>
                    <a:pt x="1" y="22"/>
                  </a:cubicBezTo>
                  <a:cubicBezTo>
                    <a:pt x="1" y="22"/>
                    <a:pt x="1" y="23"/>
                    <a:pt x="1" y="23"/>
                  </a:cubicBezTo>
                  <a:cubicBezTo>
                    <a:pt x="0" y="24"/>
                    <a:pt x="0" y="24"/>
                    <a:pt x="0" y="25"/>
                  </a:cubicBezTo>
                  <a:cubicBezTo>
                    <a:pt x="0" y="25"/>
                    <a:pt x="0" y="26"/>
                    <a:pt x="0" y="26"/>
                  </a:cubicBezTo>
                  <a:cubicBezTo>
                    <a:pt x="0" y="27"/>
                    <a:pt x="0" y="28"/>
                    <a:pt x="0" y="28"/>
                  </a:cubicBezTo>
                  <a:cubicBezTo>
                    <a:pt x="1" y="29"/>
                    <a:pt x="1" y="30"/>
                    <a:pt x="2" y="30"/>
                  </a:cubicBezTo>
                  <a:cubicBezTo>
                    <a:pt x="3" y="31"/>
                    <a:pt x="4" y="31"/>
                    <a:pt x="5" y="31"/>
                  </a:cubicBezTo>
                  <a:cubicBezTo>
                    <a:pt x="6" y="32"/>
                    <a:pt x="8" y="32"/>
                    <a:pt x="9" y="32"/>
                  </a:cubicBezTo>
                  <a:cubicBezTo>
                    <a:pt x="11" y="32"/>
                    <a:pt x="13" y="32"/>
                    <a:pt x="14" y="31"/>
                  </a:cubicBezTo>
                  <a:cubicBezTo>
                    <a:pt x="15" y="31"/>
                    <a:pt x="16" y="30"/>
                    <a:pt x="17" y="30"/>
                  </a:cubicBezTo>
                  <a:cubicBezTo>
                    <a:pt x="18" y="29"/>
                    <a:pt x="18" y="28"/>
                    <a:pt x="19" y="27"/>
                  </a:cubicBezTo>
                  <a:cubicBezTo>
                    <a:pt x="19" y="26"/>
                    <a:pt x="19" y="25"/>
                    <a:pt x="19" y="24"/>
                  </a:cubicBezTo>
                  <a:cubicBezTo>
                    <a:pt x="19" y="24"/>
                    <a:pt x="19" y="23"/>
                    <a:pt x="19" y="22"/>
                  </a:cubicBezTo>
                  <a:cubicBezTo>
                    <a:pt x="19" y="21"/>
                    <a:pt x="18" y="21"/>
                    <a:pt x="17" y="20"/>
                  </a:cubicBezTo>
                  <a:cubicBezTo>
                    <a:pt x="17" y="20"/>
                    <a:pt x="16" y="19"/>
                    <a:pt x="15" y="19"/>
                  </a:cubicBezTo>
                  <a:cubicBezTo>
                    <a:pt x="14" y="19"/>
                    <a:pt x="13" y="19"/>
                    <a:pt x="12" y="19"/>
                  </a:cubicBezTo>
                  <a:cubicBezTo>
                    <a:pt x="7" y="19"/>
                    <a:pt x="7" y="19"/>
                    <a:pt x="7" y="19"/>
                  </a:cubicBezTo>
                  <a:cubicBezTo>
                    <a:pt x="6" y="19"/>
                    <a:pt x="5" y="18"/>
                    <a:pt x="5" y="18"/>
                  </a:cubicBezTo>
                  <a:cubicBezTo>
                    <a:pt x="4" y="18"/>
                    <a:pt x="4" y="17"/>
                    <a:pt x="4" y="17"/>
                  </a:cubicBezTo>
                  <a:cubicBezTo>
                    <a:pt x="4" y="16"/>
                    <a:pt x="4" y="16"/>
                    <a:pt x="4" y="15"/>
                  </a:cubicBezTo>
                  <a:cubicBezTo>
                    <a:pt x="4" y="15"/>
                    <a:pt x="5" y="15"/>
                    <a:pt x="5" y="14"/>
                  </a:cubicBezTo>
                  <a:cubicBezTo>
                    <a:pt x="5" y="15"/>
                    <a:pt x="6" y="15"/>
                    <a:pt x="7" y="15"/>
                  </a:cubicBezTo>
                  <a:cubicBezTo>
                    <a:pt x="8" y="15"/>
                    <a:pt x="8" y="16"/>
                    <a:pt x="9" y="16"/>
                  </a:cubicBezTo>
                  <a:cubicBezTo>
                    <a:pt x="10" y="16"/>
                    <a:pt x="12" y="15"/>
                    <a:pt x="13" y="15"/>
                  </a:cubicBezTo>
                  <a:cubicBezTo>
                    <a:pt x="14" y="15"/>
                    <a:pt x="14" y="14"/>
                    <a:pt x="15" y="14"/>
                  </a:cubicBezTo>
                  <a:cubicBezTo>
                    <a:pt x="16" y="13"/>
                    <a:pt x="16" y="12"/>
                    <a:pt x="17" y="11"/>
                  </a:cubicBezTo>
                  <a:cubicBezTo>
                    <a:pt x="17" y="10"/>
                    <a:pt x="17" y="9"/>
                    <a:pt x="17" y="8"/>
                  </a:cubicBezTo>
                  <a:cubicBezTo>
                    <a:pt x="17" y="7"/>
                    <a:pt x="17" y="7"/>
                    <a:pt x="17" y="6"/>
                  </a:cubicBezTo>
                  <a:cubicBezTo>
                    <a:pt x="17" y="5"/>
                    <a:pt x="16" y="5"/>
                    <a:pt x="16" y="4"/>
                  </a:cubicBezTo>
                  <a:cubicBezTo>
                    <a:pt x="19" y="4"/>
                    <a:pt x="19" y="4"/>
                    <a:pt x="19" y="4"/>
                  </a:cubicBezTo>
                  <a:cubicBezTo>
                    <a:pt x="19" y="4"/>
                    <a:pt x="19" y="4"/>
                    <a:pt x="19" y="4"/>
                  </a:cubicBezTo>
                  <a:cubicBezTo>
                    <a:pt x="20" y="3"/>
                    <a:pt x="20" y="3"/>
                    <a:pt x="20" y="2"/>
                  </a:cubicBezTo>
                  <a:cubicBezTo>
                    <a:pt x="20" y="2"/>
                    <a:pt x="20" y="2"/>
                    <a:pt x="20" y="1"/>
                  </a:cubicBezTo>
                  <a:close/>
                  <a:moveTo>
                    <a:pt x="13" y="10"/>
                  </a:moveTo>
                  <a:cubicBezTo>
                    <a:pt x="13" y="10"/>
                    <a:pt x="13" y="11"/>
                    <a:pt x="13" y="11"/>
                  </a:cubicBezTo>
                  <a:cubicBezTo>
                    <a:pt x="12" y="12"/>
                    <a:pt x="12" y="12"/>
                    <a:pt x="11" y="12"/>
                  </a:cubicBezTo>
                  <a:cubicBezTo>
                    <a:pt x="11" y="12"/>
                    <a:pt x="10" y="13"/>
                    <a:pt x="9" y="13"/>
                  </a:cubicBezTo>
                  <a:cubicBezTo>
                    <a:pt x="8" y="13"/>
                    <a:pt x="7" y="12"/>
                    <a:pt x="6" y="11"/>
                  </a:cubicBezTo>
                  <a:cubicBezTo>
                    <a:pt x="5" y="11"/>
                    <a:pt x="5" y="10"/>
                    <a:pt x="5" y="8"/>
                  </a:cubicBezTo>
                  <a:cubicBezTo>
                    <a:pt x="5" y="8"/>
                    <a:pt x="5" y="7"/>
                    <a:pt x="5" y="6"/>
                  </a:cubicBezTo>
                  <a:cubicBezTo>
                    <a:pt x="5" y="6"/>
                    <a:pt x="5" y="5"/>
                    <a:pt x="6" y="5"/>
                  </a:cubicBezTo>
                  <a:cubicBezTo>
                    <a:pt x="6" y="4"/>
                    <a:pt x="7" y="4"/>
                    <a:pt x="7" y="4"/>
                  </a:cubicBezTo>
                  <a:cubicBezTo>
                    <a:pt x="8" y="4"/>
                    <a:pt x="8" y="3"/>
                    <a:pt x="9" y="3"/>
                  </a:cubicBezTo>
                  <a:cubicBezTo>
                    <a:pt x="11" y="3"/>
                    <a:pt x="12" y="4"/>
                    <a:pt x="12" y="5"/>
                  </a:cubicBezTo>
                  <a:cubicBezTo>
                    <a:pt x="13" y="5"/>
                    <a:pt x="14" y="7"/>
                    <a:pt x="14" y="8"/>
                  </a:cubicBezTo>
                  <a:cubicBezTo>
                    <a:pt x="14" y="9"/>
                    <a:pt x="14" y="9"/>
                    <a:pt x="13" y="10"/>
                  </a:cubicBezTo>
                  <a:close/>
                  <a:moveTo>
                    <a:pt x="15" y="26"/>
                  </a:moveTo>
                  <a:cubicBezTo>
                    <a:pt x="15" y="27"/>
                    <a:pt x="15" y="27"/>
                    <a:pt x="14" y="28"/>
                  </a:cubicBezTo>
                  <a:cubicBezTo>
                    <a:pt x="14" y="28"/>
                    <a:pt x="13" y="28"/>
                    <a:pt x="12" y="28"/>
                  </a:cubicBezTo>
                  <a:cubicBezTo>
                    <a:pt x="12" y="29"/>
                    <a:pt x="11" y="29"/>
                    <a:pt x="9" y="29"/>
                  </a:cubicBezTo>
                  <a:cubicBezTo>
                    <a:pt x="8" y="29"/>
                    <a:pt x="6" y="28"/>
                    <a:pt x="5" y="28"/>
                  </a:cubicBezTo>
                  <a:cubicBezTo>
                    <a:pt x="4" y="27"/>
                    <a:pt x="4" y="27"/>
                    <a:pt x="4" y="26"/>
                  </a:cubicBezTo>
                  <a:cubicBezTo>
                    <a:pt x="4" y="25"/>
                    <a:pt x="4" y="25"/>
                    <a:pt x="4" y="25"/>
                  </a:cubicBezTo>
                  <a:cubicBezTo>
                    <a:pt x="4" y="24"/>
                    <a:pt x="4" y="24"/>
                    <a:pt x="4" y="24"/>
                  </a:cubicBezTo>
                  <a:cubicBezTo>
                    <a:pt x="4" y="23"/>
                    <a:pt x="4" y="23"/>
                    <a:pt x="5" y="23"/>
                  </a:cubicBezTo>
                  <a:cubicBezTo>
                    <a:pt x="5" y="22"/>
                    <a:pt x="6" y="22"/>
                    <a:pt x="6" y="22"/>
                  </a:cubicBezTo>
                  <a:cubicBezTo>
                    <a:pt x="11" y="22"/>
                    <a:pt x="11" y="22"/>
                    <a:pt x="11" y="22"/>
                  </a:cubicBezTo>
                  <a:cubicBezTo>
                    <a:pt x="13" y="22"/>
                    <a:pt x="14" y="22"/>
                    <a:pt x="15" y="23"/>
                  </a:cubicBezTo>
                  <a:cubicBezTo>
                    <a:pt x="15" y="23"/>
                    <a:pt x="16" y="24"/>
                    <a:pt x="16" y="25"/>
                  </a:cubicBezTo>
                  <a:cubicBezTo>
                    <a:pt x="16" y="25"/>
                    <a:pt x="16" y="26"/>
                    <a:pt x="15" y="26"/>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84">
              <a:extLst>
                <a:ext uri="{FF2B5EF4-FFF2-40B4-BE49-F238E27FC236}">
                  <a16:creationId xmlns:a16="http://schemas.microsoft.com/office/drawing/2014/main" id="{FDEA09BB-00A0-47F8-8EC0-D1593CF25A64}"/>
                </a:ext>
              </a:extLst>
            </p:cNvPr>
            <p:cNvSpPr>
              <a:spLocks/>
            </p:cNvSpPr>
            <p:nvPr/>
          </p:nvSpPr>
          <p:spPr bwMode="auto">
            <a:xfrm>
              <a:off x="4707980" y="2633226"/>
              <a:ext cx="1528046" cy="328984"/>
            </a:xfrm>
            <a:custGeom>
              <a:avLst/>
              <a:gdLst>
                <a:gd name="T0" fmla="*/ 3 w 446"/>
                <a:gd name="T1" fmla="*/ 18 h 96"/>
                <a:gd name="T2" fmla="*/ 6 w 446"/>
                <a:gd name="T3" fmla="*/ 18 h 96"/>
                <a:gd name="T4" fmla="*/ 18 w 446"/>
                <a:gd name="T5" fmla="*/ 6 h 96"/>
                <a:gd name="T6" fmla="*/ 428 w 446"/>
                <a:gd name="T7" fmla="*/ 6 h 96"/>
                <a:gd name="T8" fmla="*/ 440 w 446"/>
                <a:gd name="T9" fmla="*/ 18 h 96"/>
                <a:gd name="T10" fmla="*/ 440 w 446"/>
                <a:gd name="T11" fmla="*/ 78 h 96"/>
                <a:gd name="T12" fmla="*/ 428 w 446"/>
                <a:gd name="T13" fmla="*/ 90 h 96"/>
                <a:gd name="T14" fmla="*/ 18 w 446"/>
                <a:gd name="T15" fmla="*/ 90 h 96"/>
                <a:gd name="T16" fmla="*/ 6 w 446"/>
                <a:gd name="T17" fmla="*/ 78 h 96"/>
                <a:gd name="T18" fmla="*/ 6 w 446"/>
                <a:gd name="T19" fmla="*/ 18 h 96"/>
                <a:gd name="T20" fmla="*/ 3 w 446"/>
                <a:gd name="T21" fmla="*/ 18 h 96"/>
                <a:gd name="T22" fmla="*/ 0 w 446"/>
                <a:gd name="T23" fmla="*/ 18 h 96"/>
                <a:gd name="T24" fmla="*/ 0 w 446"/>
                <a:gd name="T25" fmla="*/ 78 h 96"/>
                <a:gd name="T26" fmla="*/ 18 w 446"/>
                <a:gd name="T27" fmla="*/ 96 h 96"/>
                <a:gd name="T28" fmla="*/ 428 w 446"/>
                <a:gd name="T29" fmla="*/ 96 h 96"/>
                <a:gd name="T30" fmla="*/ 446 w 446"/>
                <a:gd name="T31" fmla="*/ 78 h 96"/>
                <a:gd name="T32" fmla="*/ 446 w 446"/>
                <a:gd name="T33" fmla="*/ 18 h 96"/>
                <a:gd name="T34" fmla="*/ 428 w 446"/>
                <a:gd name="T35" fmla="*/ 0 h 96"/>
                <a:gd name="T36" fmla="*/ 18 w 446"/>
                <a:gd name="T37" fmla="*/ 0 h 96"/>
                <a:gd name="T38" fmla="*/ 0 w 446"/>
                <a:gd name="T39" fmla="*/ 18 h 96"/>
                <a:gd name="T40" fmla="*/ 3 w 446"/>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6" h="96">
                  <a:moveTo>
                    <a:pt x="3" y="18"/>
                  </a:moveTo>
                  <a:cubicBezTo>
                    <a:pt x="6" y="18"/>
                    <a:pt x="6" y="18"/>
                    <a:pt x="6" y="18"/>
                  </a:cubicBezTo>
                  <a:cubicBezTo>
                    <a:pt x="6" y="12"/>
                    <a:pt x="12" y="6"/>
                    <a:pt x="18" y="6"/>
                  </a:cubicBezTo>
                  <a:cubicBezTo>
                    <a:pt x="428" y="6"/>
                    <a:pt x="428" y="6"/>
                    <a:pt x="428" y="6"/>
                  </a:cubicBezTo>
                  <a:cubicBezTo>
                    <a:pt x="435" y="6"/>
                    <a:pt x="440" y="12"/>
                    <a:pt x="440" y="18"/>
                  </a:cubicBezTo>
                  <a:cubicBezTo>
                    <a:pt x="440" y="78"/>
                    <a:pt x="440" y="78"/>
                    <a:pt x="440" y="78"/>
                  </a:cubicBezTo>
                  <a:cubicBezTo>
                    <a:pt x="440" y="84"/>
                    <a:pt x="435" y="90"/>
                    <a:pt x="428" y="90"/>
                  </a:cubicBezTo>
                  <a:cubicBezTo>
                    <a:pt x="18" y="90"/>
                    <a:pt x="18" y="90"/>
                    <a:pt x="18" y="90"/>
                  </a:cubicBezTo>
                  <a:cubicBezTo>
                    <a:pt x="12"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428" y="96"/>
                    <a:pt x="428" y="96"/>
                    <a:pt x="428" y="96"/>
                  </a:cubicBezTo>
                  <a:cubicBezTo>
                    <a:pt x="438" y="96"/>
                    <a:pt x="446" y="88"/>
                    <a:pt x="446" y="78"/>
                  </a:cubicBezTo>
                  <a:cubicBezTo>
                    <a:pt x="446" y="18"/>
                    <a:pt x="446" y="18"/>
                    <a:pt x="446" y="18"/>
                  </a:cubicBezTo>
                  <a:cubicBezTo>
                    <a:pt x="446" y="8"/>
                    <a:pt x="438" y="0"/>
                    <a:pt x="428" y="0"/>
                  </a:cubicBezTo>
                  <a:cubicBezTo>
                    <a:pt x="18" y="0"/>
                    <a:pt x="18" y="0"/>
                    <a:pt x="18" y="0"/>
                  </a:cubicBezTo>
                  <a:cubicBezTo>
                    <a:pt x="8" y="0"/>
                    <a:pt x="0" y="8"/>
                    <a:pt x="0" y="18"/>
                  </a:cubicBezTo>
                  <a:lnTo>
                    <a:pt x="3" y="18"/>
                  </a:ln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85">
              <a:extLst>
                <a:ext uri="{FF2B5EF4-FFF2-40B4-BE49-F238E27FC236}">
                  <a16:creationId xmlns:a16="http://schemas.microsoft.com/office/drawing/2014/main" id="{C37A2F65-A97D-40E8-9185-C5C6937DFFBB}"/>
                </a:ext>
              </a:extLst>
            </p:cNvPr>
            <p:cNvSpPr>
              <a:spLocks noEditPoints="1"/>
            </p:cNvSpPr>
            <p:nvPr/>
          </p:nvSpPr>
          <p:spPr bwMode="auto">
            <a:xfrm>
              <a:off x="5176926" y="2735672"/>
              <a:ext cx="89461" cy="103890"/>
            </a:xfrm>
            <a:custGeom>
              <a:avLst/>
              <a:gdLst>
                <a:gd name="T0" fmla="*/ 15 w 26"/>
                <a:gd name="T1" fmla="*/ 1 h 30"/>
                <a:gd name="T2" fmla="*/ 15 w 26"/>
                <a:gd name="T3" fmla="*/ 0 h 30"/>
                <a:gd name="T4" fmla="*/ 15 w 26"/>
                <a:gd name="T5" fmla="*/ 0 h 30"/>
                <a:gd name="T6" fmla="*/ 14 w 26"/>
                <a:gd name="T7" fmla="*/ 0 h 30"/>
                <a:gd name="T8" fmla="*/ 13 w 26"/>
                <a:gd name="T9" fmla="*/ 0 h 30"/>
                <a:gd name="T10" fmla="*/ 12 w 26"/>
                <a:gd name="T11" fmla="*/ 0 h 30"/>
                <a:gd name="T12" fmla="*/ 11 w 26"/>
                <a:gd name="T13" fmla="*/ 0 h 30"/>
                <a:gd name="T14" fmla="*/ 10 w 26"/>
                <a:gd name="T15" fmla="*/ 0 h 30"/>
                <a:gd name="T16" fmla="*/ 10 w 26"/>
                <a:gd name="T17" fmla="*/ 1 h 30"/>
                <a:gd name="T18" fmla="*/ 0 w 26"/>
                <a:gd name="T19" fmla="*/ 29 h 30"/>
                <a:gd name="T20" fmla="*/ 0 w 26"/>
                <a:gd name="T21" fmla="*/ 30 h 30"/>
                <a:gd name="T22" fmla="*/ 0 w 26"/>
                <a:gd name="T23" fmla="*/ 30 h 30"/>
                <a:gd name="T24" fmla="*/ 0 w 26"/>
                <a:gd name="T25" fmla="*/ 30 h 30"/>
                <a:gd name="T26" fmla="*/ 2 w 26"/>
                <a:gd name="T27" fmla="*/ 30 h 30"/>
                <a:gd name="T28" fmla="*/ 3 w 26"/>
                <a:gd name="T29" fmla="*/ 30 h 30"/>
                <a:gd name="T30" fmla="*/ 3 w 26"/>
                <a:gd name="T31" fmla="*/ 30 h 30"/>
                <a:gd name="T32" fmla="*/ 4 w 26"/>
                <a:gd name="T33" fmla="*/ 30 h 30"/>
                <a:gd name="T34" fmla="*/ 4 w 26"/>
                <a:gd name="T35" fmla="*/ 29 h 30"/>
                <a:gd name="T36" fmla="*/ 6 w 26"/>
                <a:gd name="T37" fmla="*/ 22 h 30"/>
                <a:gd name="T38" fmla="*/ 19 w 26"/>
                <a:gd name="T39" fmla="*/ 22 h 30"/>
                <a:gd name="T40" fmla="*/ 22 w 26"/>
                <a:gd name="T41" fmla="*/ 30 h 30"/>
                <a:gd name="T42" fmla="*/ 22 w 26"/>
                <a:gd name="T43" fmla="*/ 30 h 30"/>
                <a:gd name="T44" fmla="*/ 22 w 26"/>
                <a:gd name="T45" fmla="*/ 30 h 30"/>
                <a:gd name="T46" fmla="*/ 23 w 26"/>
                <a:gd name="T47" fmla="*/ 30 h 30"/>
                <a:gd name="T48" fmla="*/ 24 w 26"/>
                <a:gd name="T49" fmla="*/ 30 h 30"/>
                <a:gd name="T50" fmla="*/ 25 w 26"/>
                <a:gd name="T51" fmla="*/ 30 h 30"/>
                <a:gd name="T52" fmla="*/ 26 w 26"/>
                <a:gd name="T53" fmla="*/ 30 h 30"/>
                <a:gd name="T54" fmla="*/ 26 w 26"/>
                <a:gd name="T55" fmla="*/ 30 h 30"/>
                <a:gd name="T56" fmla="*/ 26 w 26"/>
                <a:gd name="T57" fmla="*/ 29 h 30"/>
                <a:gd name="T58" fmla="*/ 15 w 26"/>
                <a:gd name="T59" fmla="*/ 1 h 30"/>
                <a:gd name="T60" fmla="*/ 18 w 26"/>
                <a:gd name="T61" fmla="*/ 19 h 30"/>
                <a:gd name="T62" fmla="*/ 7 w 26"/>
                <a:gd name="T63" fmla="*/ 19 h 30"/>
                <a:gd name="T64" fmla="*/ 13 w 26"/>
                <a:gd name="T65" fmla="*/ 4 h 30"/>
                <a:gd name="T66" fmla="*/ 13 w 26"/>
                <a:gd name="T67" fmla="*/ 4 h 30"/>
                <a:gd name="T68" fmla="*/ 18 w 26"/>
                <a:gd name="T6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5" y="1"/>
                  </a:moveTo>
                  <a:cubicBezTo>
                    <a:pt x="15" y="0"/>
                    <a:pt x="15" y="0"/>
                    <a:pt x="15" y="0"/>
                  </a:cubicBezTo>
                  <a:cubicBezTo>
                    <a:pt x="15" y="0"/>
                    <a:pt x="15" y="0"/>
                    <a:pt x="15" y="0"/>
                  </a:cubicBezTo>
                  <a:cubicBezTo>
                    <a:pt x="15" y="0"/>
                    <a:pt x="14" y="0"/>
                    <a:pt x="14" y="0"/>
                  </a:cubicBezTo>
                  <a:cubicBezTo>
                    <a:pt x="14" y="0"/>
                    <a:pt x="13" y="0"/>
                    <a:pt x="13" y="0"/>
                  </a:cubicBezTo>
                  <a:cubicBezTo>
                    <a:pt x="12" y="0"/>
                    <a:pt x="12" y="0"/>
                    <a:pt x="12" y="0"/>
                  </a:cubicBezTo>
                  <a:cubicBezTo>
                    <a:pt x="11" y="0"/>
                    <a:pt x="11" y="0"/>
                    <a:pt x="11" y="0"/>
                  </a:cubicBezTo>
                  <a:cubicBezTo>
                    <a:pt x="11" y="0"/>
                    <a:pt x="10" y="0"/>
                    <a:pt x="10" y="0"/>
                  </a:cubicBezTo>
                  <a:cubicBezTo>
                    <a:pt x="10" y="0"/>
                    <a:pt x="10" y="0"/>
                    <a:pt x="10" y="1"/>
                  </a:cubicBezTo>
                  <a:cubicBezTo>
                    <a:pt x="0" y="29"/>
                    <a:pt x="0" y="29"/>
                    <a:pt x="0" y="29"/>
                  </a:cubicBezTo>
                  <a:cubicBezTo>
                    <a:pt x="0" y="29"/>
                    <a:pt x="0" y="29"/>
                    <a:pt x="0" y="30"/>
                  </a:cubicBezTo>
                  <a:cubicBezTo>
                    <a:pt x="0" y="30"/>
                    <a:pt x="0" y="30"/>
                    <a:pt x="0" y="30"/>
                  </a:cubicBezTo>
                  <a:cubicBezTo>
                    <a:pt x="0" y="30"/>
                    <a:pt x="0" y="30"/>
                    <a:pt x="0" y="30"/>
                  </a:cubicBezTo>
                  <a:cubicBezTo>
                    <a:pt x="1" y="30"/>
                    <a:pt x="1" y="30"/>
                    <a:pt x="2" y="30"/>
                  </a:cubicBezTo>
                  <a:cubicBezTo>
                    <a:pt x="2" y="30"/>
                    <a:pt x="2" y="30"/>
                    <a:pt x="3" y="30"/>
                  </a:cubicBezTo>
                  <a:cubicBezTo>
                    <a:pt x="3" y="30"/>
                    <a:pt x="3" y="30"/>
                    <a:pt x="3" y="30"/>
                  </a:cubicBezTo>
                  <a:cubicBezTo>
                    <a:pt x="3" y="30"/>
                    <a:pt x="4" y="30"/>
                    <a:pt x="4" y="30"/>
                  </a:cubicBezTo>
                  <a:cubicBezTo>
                    <a:pt x="4" y="30"/>
                    <a:pt x="4" y="30"/>
                    <a:pt x="4" y="29"/>
                  </a:cubicBezTo>
                  <a:cubicBezTo>
                    <a:pt x="6" y="22"/>
                    <a:pt x="6" y="22"/>
                    <a:pt x="6" y="22"/>
                  </a:cubicBezTo>
                  <a:cubicBezTo>
                    <a:pt x="19" y="22"/>
                    <a:pt x="19" y="22"/>
                    <a:pt x="19" y="22"/>
                  </a:cubicBezTo>
                  <a:cubicBezTo>
                    <a:pt x="22" y="30"/>
                    <a:pt x="22" y="30"/>
                    <a:pt x="22" y="30"/>
                  </a:cubicBezTo>
                  <a:cubicBezTo>
                    <a:pt x="22" y="30"/>
                    <a:pt x="22" y="30"/>
                    <a:pt x="22" y="30"/>
                  </a:cubicBezTo>
                  <a:cubicBezTo>
                    <a:pt x="22" y="30"/>
                    <a:pt x="22" y="30"/>
                    <a:pt x="22" y="30"/>
                  </a:cubicBezTo>
                  <a:cubicBezTo>
                    <a:pt x="22" y="30"/>
                    <a:pt x="22" y="30"/>
                    <a:pt x="23" y="30"/>
                  </a:cubicBezTo>
                  <a:cubicBezTo>
                    <a:pt x="23" y="30"/>
                    <a:pt x="23" y="30"/>
                    <a:pt x="24" y="30"/>
                  </a:cubicBezTo>
                  <a:cubicBezTo>
                    <a:pt x="24" y="30"/>
                    <a:pt x="25" y="30"/>
                    <a:pt x="25" y="30"/>
                  </a:cubicBezTo>
                  <a:cubicBezTo>
                    <a:pt x="25" y="30"/>
                    <a:pt x="26" y="30"/>
                    <a:pt x="26" y="30"/>
                  </a:cubicBezTo>
                  <a:cubicBezTo>
                    <a:pt x="26" y="30"/>
                    <a:pt x="26" y="30"/>
                    <a:pt x="26" y="30"/>
                  </a:cubicBezTo>
                  <a:cubicBezTo>
                    <a:pt x="26" y="29"/>
                    <a:pt x="26" y="29"/>
                    <a:pt x="26" y="29"/>
                  </a:cubicBezTo>
                  <a:cubicBezTo>
                    <a:pt x="15" y="1"/>
                    <a:pt x="15" y="1"/>
                    <a:pt x="15" y="1"/>
                  </a:cubicBezTo>
                  <a:close/>
                  <a:moveTo>
                    <a:pt x="18" y="19"/>
                  </a:moveTo>
                  <a:cubicBezTo>
                    <a:pt x="7" y="19"/>
                    <a:pt x="7" y="19"/>
                    <a:pt x="7" y="19"/>
                  </a:cubicBezTo>
                  <a:cubicBezTo>
                    <a:pt x="13" y="4"/>
                    <a:pt x="13" y="4"/>
                    <a:pt x="13" y="4"/>
                  </a:cubicBezTo>
                  <a:cubicBezTo>
                    <a:pt x="13" y="4"/>
                    <a:pt x="13" y="4"/>
                    <a:pt x="13" y="4"/>
                  </a:cubicBezTo>
                  <a:cubicBezTo>
                    <a:pt x="18" y="19"/>
                    <a:pt x="18" y="19"/>
                    <a:pt x="18" y="1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86">
              <a:extLst>
                <a:ext uri="{FF2B5EF4-FFF2-40B4-BE49-F238E27FC236}">
                  <a16:creationId xmlns:a16="http://schemas.microsoft.com/office/drawing/2014/main" id="{5F446452-B6C8-43C1-9798-F5AA2BA51A59}"/>
                </a:ext>
              </a:extLst>
            </p:cNvPr>
            <p:cNvSpPr>
              <a:spLocks/>
            </p:cNvSpPr>
            <p:nvPr/>
          </p:nvSpPr>
          <p:spPr bwMode="auto">
            <a:xfrm>
              <a:off x="5279373" y="2760202"/>
              <a:ext cx="62046" cy="79361"/>
            </a:xfrm>
            <a:custGeom>
              <a:avLst/>
              <a:gdLst>
                <a:gd name="T0" fmla="*/ 18 w 18"/>
                <a:gd name="T1" fmla="*/ 10 h 23"/>
                <a:gd name="T2" fmla="*/ 18 w 18"/>
                <a:gd name="T3" fmla="*/ 6 h 23"/>
                <a:gd name="T4" fmla="*/ 17 w 18"/>
                <a:gd name="T5" fmla="*/ 3 h 23"/>
                <a:gd name="T6" fmla="*/ 14 w 18"/>
                <a:gd name="T7" fmla="*/ 1 h 23"/>
                <a:gd name="T8" fmla="*/ 11 w 18"/>
                <a:gd name="T9" fmla="*/ 0 h 23"/>
                <a:gd name="T10" fmla="*/ 7 w 18"/>
                <a:gd name="T11" fmla="*/ 1 h 23"/>
                <a:gd name="T12" fmla="*/ 4 w 18"/>
                <a:gd name="T13" fmla="*/ 4 h 23"/>
                <a:gd name="T14" fmla="*/ 4 w 18"/>
                <a:gd name="T15" fmla="*/ 1 h 23"/>
                <a:gd name="T16" fmla="*/ 4 w 18"/>
                <a:gd name="T17" fmla="*/ 1 h 23"/>
                <a:gd name="T18" fmla="*/ 3 w 18"/>
                <a:gd name="T19" fmla="*/ 1 h 23"/>
                <a:gd name="T20" fmla="*/ 3 w 18"/>
                <a:gd name="T21" fmla="*/ 1 h 23"/>
                <a:gd name="T22" fmla="*/ 2 w 18"/>
                <a:gd name="T23" fmla="*/ 1 h 23"/>
                <a:gd name="T24" fmla="*/ 1 w 18"/>
                <a:gd name="T25" fmla="*/ 1 h 23"/>
                <a:gd name="T26" fmla="*/ 1 w 18"/>
                <a:gd name="T27" fmla="*/ 1 h 23"/>
                <a:gd name="T28" fmla="*/ 0 w 18"/>
                <a:gd name="T29" fmla="*/ 1 h 23"/>
                <a:gd name="T30" fmla="*/ 0 w 18"/>
                <a:gd name="T31" fmla="*/ 1 h 23"/>
                <a:gd name="T32" fmla="*/ 0 w 18"/>
                <a:gd name="T33" fmla="*/ 23 h 23"/>
                <a:gd name="T34" fmla="*/ 0 w 18"/>
                <a:gd name="T35" fmla="*/ 23 h 23"/>
                <a:gd name="T36" fmla="*/ 1 w 18"/>
                <a:gd name="T37" fmla="*/ 23 h 23"/>
                <a:gd name="T38" fmla="*/ 1 w 18"/>
                <a:gd name="T39" fmla="*/ 23 h 23"/>
                <a:gd name="T40" fmla="*/ 2 w 18"/>
                <a:gd name="T41" fmla="*/ 23 h 23"/>
                <a:gd name="T42" fmla="*/ 3 w 18"/>
                <a:gd name="T43" fmla="*/ 23 h 23"/>
                <a:gd name="T44" fmla="*/ 4 w 18"/>
                <a:gd name="T45" fmla="*/ 23 h 23"/>
                <a:gd name="T46" fmla="*/ 4 w 18"/>
                <a:gd name="T47" fmla="*/ 23 h 23"/>
                <a:gd name="T48" fmla="*/ 4 w 18"/>
                <a:gd name="T49" fmla="*/ 23 h 23"/>
                <a:gd name="T50" fmla="*/ 4 w 18"/>
                <a:gd name="T51" fmla="*/ 8 h 23"/>
                <a:gd name="T52" fmla="*/ 7 w 18"/>
                <a:gd name="T53" fmla="*/ 5 h 23"/>
                <a:gd name="T54" fmla="*/ 10 w 18"/>
                <a:gd name="T55" fmla="*/ 4 h 23"/>
                <a:gd name="T56" fmla="*/ 12 w 18"/>
                <a:gd name="T57" fmla="*/ 4 h 23"/>
                <a:gd name="T58" fmla="*/ 13 w 18"/>
                <a:gd name="T59" fmla="*/ 5 h 23"/>
                <a:gd name="T60" fmla="*/ 14 w 18"/>
                <a:gd name="T61" fmla="*/ 7 h 23"/>
                <a:gd name="T62" fmla="*/ 15 w 18"/>
                <a:gd name="T63" fmla="*/ 10 h 23"/>
                <a:gd name="T64" fmla="*/ 15 w 18"/>
                <a:gd name="T65" fmla="*/ 23 h 23"/>
                <a:gd name="T66" fmla="*/ 15 w 18"/>
                <a:gd name="T67" fmla="*/ 23 h 23"/>
                <a:gd name="T68" fmla="*/ 15 w 18"/>
                <a:gd name="T69" fmla="*/ 23 h 23"/>
                <a:gd name="T70" fmla="*/ 16 w 18"/>
                <a:gd name="T71" fmla="*/ 23 h 23"/>
                <a:gd name="T72" fmla="*/ 17 w 18"/>
                <a:gd name="T73" fmla="*/ 23 h 23"/>
                <a:gd name="T74" fmla="*/ 17 w 18"/>
                <a:gd name="T75" fmla="*/ 23 h 23"/>
                <a:gd name="T76" fmla="*/ 18 w 18"/>
                <a:gd name="T77" fmla="*/ 23 h 23"/>
                <a:gd name="T78" fmla="*/ 18 w 18"/>
                <a:gd name="T79" fmla="*/ 23 h 23"/>
                <a:gd name="T80" fmla="*/ 18 w 18"/>
                <a:gd name="T81" fmla="*/ 23 h 23"/>
                <a:gd name="T82" fmla="*/ 18 w 18"/>
                <a:gd name="T83"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0"/>
                  </a:moveTo>
                  <a:cubicBezTo>
                    <a:pt x="18" y="8"/>
                    <a:pt x="18" y="7"/>
                    <a:pt x="18" y="6"/>
                  </a:cubicBezTo>
                  <a:cubicBezTo>
                    <a:pt x="18" y="5"/>
                    <a:pt x="17" y="4"/>
                    <a:pt x="17" y="3"/>
                  </a:cubicBezTo>
                  <a:cubicBezTo>
                    <a:pt x="16" y="2"/>
                    <a:pt x="15" y="2"/>
                    <a:pt x="14" y="1"/>
                  </a:cubicBezTo>
                  <a:cubicBezTo>
                    <a:pt x="14" y="1"/>
                    <a:pt x="12" y="0"/>
                    <a:pt x="11" y="0"/>
                  </a:cubicBezTo>
                  <a:cubicBezTo>
                    <a:pt x="10" y="0"/>
                    <a:pt x="9" y="1"/>
                    <a:pt x="7" y="1"/>
                  </a:cubicBezTo>
                  <a:cubicBezTo>
                    <a:pt x="6" y="2"/>
                    <a:pt x="5" y="3"/>
                    <a:pt x="4" y="4"/>
                  </a:cubicBezTo>
                  <a:cubicBezTo>
                    <a:pt x="4" y="1"/>
                    <a:pt x="4" y="1"/>
                    <a:pt x="4" y="1"/>
                  </a:cubicBezTo>
                  <a:cubicBezTo>
                    <a:pt x="4" y="1"/>
                    <a:pt x="4" y="1"/>
                    <a:pt x="4" y="1"/>
                  </a:cubicBezTo>
                  <a:cubicBezTo>
                    <a:pt x="4" y="1"/>
                    <a:pt x="4" y="1"/>
                    <a:pt x="3" y="1"/>
                  </a:cubicBezTo>
                  <a:cubicBezTo>
                    <a:pt x="3" y="1"/>
                    <a:pt x="3" y="1"/>
                    <a:pt x="3" y="1"/>
                  </a:cubicBezTo>
                  <a:cubicBezTo>
                    <a:pt x="3" y="1"/>
                    <a:pt x="2" y="1"/>
                    <a:pt x="2" y="1"/>
                  </a:cubicBezTo>
                  <a:cubicBezTo>
                    <a:pt x="2" y="1"/>
                    <a:pt x="1" y="1"/>
                    <a:pt x="1" y="1"/>
                  </a:cubicBezTo>
                  <a:cubicBezTo>
                    <a:pt x="1" y="1"/>
                    <a:pt x="1" y="1"/>
                    <a:pt x="1" y="1"/>
                  </a:cubicBezTo>
                  <a:cubicBezTo>
                    <a:pt x="1" y="1"/>
                    <a:pt x="0" y="1"/>
                    <a:pt x="0" y="1"/>
                  </a:cubicBezTo>
                  <a:cubicBezTo>
                    <a:pt x="0" y="1"/>
                    <a:pt x="0" y="1"/>
                    <a:pt x="0" y="1"/>
                  </a:cubicBezTo>
                  <a:cubicBezTo>
                    <a:pt x="0" y="23"/>
                    <a:pt x="0" y="23"/>
                    <a:pt x="0" y="23"/>
                  </a:cubicBezTo>
                  <a:cubicBezTo>
                    <a:pt x="0" y="23"/>
                    <a:pt x="0" y="23"/>
                    <a:pt x="0" y="23"/>
                  </a:cubicBezTo>
                  <a:cubicBezTo>
                    <a:pt x="0" y="23"/>
                    <a:pt x="1" y="23"/>
                    <a:pt x="1" y="23"/>
                  </a:cubicBezTo>
                  <a:cubicBezTo>
                    <a:pt x="1" y="23"/>
                    <a:pt x="1" y="23"/>
                    <a:pt x="1" y="23"/>
                  </a:cubicBezTo>
                  <a:cubicBezTo>
                    <a:pt x="2" y="23"/>
                    <a:pt x="2" y="23"/>
                    <a:pt x="2" y="23"/>
                  </a:cubicBezTo>
                  <a:cubicBezTo>
                    <a:pt x="3" y="23"/>
                    <a:pt x="3" y="23"/>
                    <a:pt x="3" y="23"/>
                  </a:cubicBezTo>
                  <a:cubicBezTo>
                    <a:pt x="3" y="23"/>
                    <a:pt x="4" y="23"/>
                    <a:pt x="4" y="23"/>
                  </a:cubicBezTo>
                  <a:cubicBezTo>
                    <a:pt x="4" y="23"/>
                    <a:pt x="4" y="23"/>
                    <a:pt x="4" y="23"/>
                  </a:cubicBezTo>
                  <a:cubicBezTo>
                    <a:pt x="4" y="23"/>
                    <a:pt x="4" y="23"/>
                    <a:pt x="4" y="23"/>
                  </a:cubicBezTo>
                  <a:cubicBezTo>
                    <a:pt x="4" y="8"/>
                    <a:pt x="4" y="8"/>
                    <a:pt x="4" y="8"/>
                  </a:cubicBezTo>
                  <a:cubicBezTo>
                    <a:pt x="5" y="7"/>
                    <a:pt x="6" y="5"/>
                    <a:pt x="7" y="5"/>
                  </a:cubicBezTo>
                  <a:cubicBezTo>
                    <a:pt x="8" y="4"/>
                    <a:pt x="9" y="4"/>
                    <a:pt x="10" y="4"/>
                  </a:cubicBezTo>
                  <a:cubicBezTo>
                    <a:pt x="11" y="4"/>
                    <a:pt x="12" y="4"/>
                    <a:pt x="12" y="4"/>
                  </a:cubicBezTo>
                  <a:cubicBezTo>
                    <a:pt x="13" y="4"/>
                    <a:pt x="13" y="5"/>
                    <a:pt x="13" y="5"/>
                  </a:cubicBezTo>
                  <a:cubicBezTo>
                    <a:pt x="14" y="6"/>
                    <a:pt x="14" y="7"/>
                    <a:pt x="14" y="7"/>
                  </a:cubicBezTo>
                  <a:cubicBezTo>
                    <a:pt x="15" y="8"/>
                    <a:pt x="15" y="9"/>
                    <a:pt x="15" y="10"/>
                  </a:cubicBezTo>
                  <a:cubicBezTo>
                    <a:pt x="15" y="23"/>
                    <a:pt x="15" y="23"/>
                    <a:pt x="15" y="23"/>
                  </a:cubicBezTo>
                  <a:cubicBezTo>
                    <a:pt x="15" y="23"/>
                    <a:pt x="15" y="23"/>
                    <a:pt x="15" y="23"/>
                  </a:cubicBezTo>
                  <a:cubicBezTo>
                    <a:pt x="15" y="23"/>
                    <a:pt x="15" y="23"/>
                    <a:pt x="15" y="23"/>
                  </a:cubicBezTo>
                  <a:cubicBezTo>
                    <a:pt x="15" y="23"/>
                    <a:pt x="15" y="23"/>
                    <a:pt x="16" y="23"/>
                  </a:cubicBezTo>
                  <a:cubicBezTo>
                    <a:pt x="16" y="23"/>
                    <a:pt x="16" y="23"/>
                    <a:pt x="17" y="23"/>
                  </a:cubicBezTo>
                  <a:cubicBezTo>
                    <a:pt x="17" y="23"/>
                    <a:pt x="17" y="23"/>
                    <a:pt x="17" y="23"/>
                  </a:cubicBezTo>
                  <a:cubicBezTo>
                    <a:pt x="18" y="23"/>
                    <a:pt x="18" y="23"/>
                    <a:pt x="18" y="23"/>
                  </a:cubicBezTo>
                  <a:cubicBezTo>
                    <a:pt x="18" y="23"/>
                    <a:pt x="18" y="23"/>
                    <a:pt x="18" y="23"/>
                  </a:cubicBezTo>
                  <a:cubicBezTo>
                    <a:pt x="18" y="23"/>
                    <a:pt x="18" y="23"/>
                    <a:pt x="18" y="23"/>
                  </a:cubicBezTo>
                  <a:cubicBezTo>
                    <a:pt x="18" y="10"/>
                    <a:pt x="18" y="10"/>
                    <a:pt x="18"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87">
              <a:extLst>
                <a:ext uri="{FF2B5EF4-FFF2-40B4-BE49-F238E27FC236}">
                  <a16:creationId xmlns:a16="http://schemas.microsoft.com/office/drawing/2014/main" id="{C0579C3E-F8FE-4DA7-816A-B226FA1FD094}"/>
                </a:ext>
              </a:extLst>
            </p:cNvPr>
            <p:cNvSpPr>
              <a:spLocks noEditPoints="1"/>
            </p:cNvSpPr>
            <p:nvPr/>
          </p:nvSpPr>
          <p:spPr bwMode="auto">
            <a:xfrm>
              <a:off x="5361619" y="2760202"/>
              <a:ext cx="62046" cy="82247"/>
            </a:xfrm>
            <a:custGeom>
              <a:avLst/>
              <a:gdLst>
                <a:gd name="T0" fmla="*/ 18 w 18"/>
                <a:gd name="T1" fmla="*/ 8 h 24"/>
                <a:gd name="T2" fmla="*/ 17 w 18"/>
                <a:gd name="T3" fmla="*/ 5 h 24"/>
                <a:gd name="T4" fmla="*/ 16 w 18"/>
                <a:gd name="T5" fmla="*/ 2 h 24"/>
                <a:gd name="T6" fmla="*/ 13 w 18"/>
                <a:gd name="T7" fmla="*/ 1 h 24"/>
                <a:gd name="T8" fmla="*/ 9 w 18"/>
                <a:gd name="T9" fmla="*/ 0 h 24"/>
                <a:gd name="T10" fmla="*/ 7 w 18"/>
                <a:gd name="T11" fmla="*/ 1 h 24"/>
                <a:gd name="T12" fmla="*/ 5 w 18"/>
                <a:gd name="T13" fmla="*/ 1 h 24"/>
                <a:gd name="T14" fmla="*/ 3 w 18"/>
                <a:gd name="T15" fmla="*/ 2 h 24"/>
                <a:gd name="T16" fmla="*/ 2 w 18"/>
                <a:gd name="T17" fmla="*/ 3 h 24"/>
                <a:gd name="T18" fmla="*/ 1 w 18"/>
                <a:gd name="T19" fmla="*/ 3 h 24"/>
                <a:gd name="T20" fmla="*/ 1 w 18"/>
                <a:gd name="T21" fmla="*/ 4 h 24"/>
                <a:gd name="T22" fmla="*/ 1 w 18"/>
                <a:gd name="T23" fmla="*/ 5 h 24"/>
                <a:gd name="T24" fmla="*/ 2 w 18"/>
                <a:gd name="T25" fmla="*/ 5 h 24"/>
                <a:gd name="T26" fmla="*/ 2 w 18"/>
                <a:gd name="T27" fmla="*/ 6 h 24"/>
                <a:gd name="T28" fmla="*/ 2 w 18"/>
                <a:gd name="T29" fmla="*/ 6 h 24"/>
                <a:gd name="T30" fmla="*/ 3 w 18"/>
                <a:gd name="T31" fmla="*/ 5 h 24"/>
                <a:gd name="T32" fmla="*/ 4 w 18"/>
                <a:gd name="T33" fmla="*/ 5 h 24"/>
                <a:gd name="T34" fmla="*/ 6 w 18"/>
                <a:gd name="T35" fmla="*/ 4 h 24"/>
                <a:gd name="T36" fmla="*/ 9 w 18"/>
                <a:gd name="T37" fmla="*/ 4 h 24"/>
                <a:gd name="T38" fmla="*/ 11 w 18"/>
                <a:gd name="T39" fmla="*/ 4 h 24"/>
                <a:gd name="T40" fmla="*/ 13 w 18"/>
                <a:gd name="T41" fmla="*/ 5 h 24"/>
                <a:gd name="T42" fmla="*/ 13 w 18"/>
                <a:gd name="T43" fmla="*/ 6 h 24"/>
                <a:gd name="T44" fmla="*/ 14 w 18"/>
                <a:gd name="T45" fmla="*/ 9 h 24"/>
                <a:gd name="T46" fmla="*/ 14 w 18"/>
                <a:gd name="T47" fmla="*/ 10 h 24"/>
                <a:gd name="T48" fmla="*/ 11 w 18"/>
                <a:gd name="T49" fmla="*/ 10 h 24"/>
                <a:gd name="T50" fmla="*/ 6 w 18"/>
                <a:gd name="T51" fmla="*/ 11 h 24"/>
                <a:gd name="T52" fmla="*/ 3 w 18"/>
                <a:gd name="T53" fmla="*/ 12 h 24"/>
                <a:gd name="T54" fmla="*/ 1 w 18"/>
                <a:gd name="T55" fmla="*/ 14 h 24"/>
                <a:gd name="T56" fmla="*/ 0 w 18"/>
                <a:gd name="T57" fmla="*/ 17 h 24"/>
                <a:gd name="T58" fmla="*/ 1 w 18"/>
                <a:gd name="T59" fmla="*/ 20 h 24"/>
                <a:gd name="T60" fmla="*/ 2 w 18"/>
                <a:gd name="T61" fmla="*/ 22 h 24"/>
                <a:gd name="T62" fmla="*/ 5 w 18"/>
                <a:gd name="T63" fmla="*/ 23 h 24"/>
                <a:gd name="T64" fmla="*/ 8 w 18"/>
                <a:gd name="T65" fmla="*/ 24 h 24"/>
                <a:gd name="T66" fmla="*/ 11 w 18"/>
                <a:gd name="T67" fmla="*/ 23 h 24"/>
                <a:gd name="T68" fmla="*/ 14 w 18"/>
                <a:gd name="T69" fmla="*/ 20 h 24"/>
                <a:gd name="T70" fmla="*/ 14 w 18"/>
                <a:gd name="T71" fmla="*/ 23 h 24"/>
                <a:gd name="T72" fmla="*/ 14 w 18"/>
                <a:gd name="T73" fmla="*/ 23 h 24"/>
                <a:gd name="T74" fmla="*/ 15 w 18"/>
                <a:gd name="T75" fmla="*/ 23 h 24"/>
                <a:gd name="T76" fmla="*/ 16 w 18"/>
                <a:gd name="T77" fmla="*/ 23 h 24"/>
                <a:gd name="T78" fmla="*/ 17 w 18"/>
                <a:gd name="T79" fmla="*/ 23 h 24"/>
                <a:gd name="T80" fmla="*/ 17 w 18"/>
                <a:gd name="T81" fmla="*/ 23 h 24"/>
                <a:gd name="T82" fmla="*/ 18 w 18"/>
                <a:gd name="T83" fmla="*/ 23 h 24"/>
                <a:gd name="T84" fmla="*/ 18 w 18"/>
                <a:gd name="T85" fmla="*/ 8 h 24"/>
                <a:gd name="T86" fmla="*/ 14 w 18"/>
                <a:gd name="T87" fmla="*/ 17 h 24"/>
                <a:gd name="T88" fmla="*/ 11 w 18"/>
                <a:gd name="T89" fmla="*/ 20 h 24"/>
                <a:gd name="T90" fmla="*/ 8 w 18"/>
                <a:gd name="T91" fmla="*/ 21 h 24"/>
                <a:gd name="T92" fmla="*/ 5 w 18"/>
                <a:gd name="T93" fmla="*/ 20 h 24"/>
                <a:gd name="T94" fmla="*/ 4 w 18"/>
                <a:gd name="T95" fmla="*/ 17 h 24"/>
                <a:gd name="T96" fmla="*/ 5 w 18"/>
                <a:gd name="T97" fmla="*/ 15 h 24"/>
                <a:gd name="T98" fmla="*/ 6 w 18"/>
                <a:gd name="T99" fmla="*/ 14 h 24"/>
                <a:gd name="T100" fmla="*/ 8 w 18"/>
                <a:gd name="T101" fmla="*/ 13 h 24"/>
                <a:gd name="T102" fmla="*/ 10 w 18"/>
                <a:gd name="T103" fmla="*/ 13 h 24"/>
                <a:gd name="T104" fmla="*/ 14 w 18"/>
                <a:gd name="T105" fmla="*/ 13 h 24"/>
                <a:gd name="T106" fmla="*/ 14 w 18"/>
                <a:gd name="T107"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 h="24">
                  <a:moveTo>
                    <a:pt x="18" y="8"/>
                  </a:moveTo>
                  <a:cubicBezTo>
                    <a:pt x="18" y="7"/>
                    <a:pt x="17" y="6"/>
                    <a:pt x="17" y="5"/>
                  </a:cubicBezTo>
                  <a:cubicBezTo>
                    <a:pt x="17" y="4"/>
                    <a:pt x="16" y="3"/>
                    <a:pt x="16" y="2"/>
                  </a:cubicBezTo>
                  <a:cubicBezTo>
                    <a:pt x="15" y="2"/>
                    <a:pt x="14" y="1"/>
                    <a:pt x="13" y="1"/>
                  </a:cubicBezTo>
                  <a:cubicBezTo>
                    <a:pt x="12" y="1"/>
                    <a:pt x="11" y="0"/>
                    <a:pt x="9" y="0"/>
                  </a:cubicBezTo>
                  <a:cubicBezTo>
                    <a:pt x="8" y="0"/>
                    <a:pt x="8" y="0"/>
                    <a:pt x="7" y="1"/>
                  </a:cubicBezTo>
                  <a:cubicBezTo>
                    <a:pt x="6" y="1"/>
                    <a:pt x="5" y="1"/>
                    <a:pt x="5" y="1"/>
                  </a:cubicBezTo>
                  <a:cubicBezTo>
                    <a:pt x="4" y="1"/>
                    <a:pt x="3" y="2"/>
                    <a:pt x="3" y="2"/>
                  </a:cubicBezTo>
                  <a:cubicBezTo>
                    <a:pt x="2" y="2"/>
                    <a:pt x="2" y="2"/>
                    <a:pt x="2" y="3"/>
                  </a:cubicBezTo>
                  <a:cubicBezTo>
                    <a:pt x="2" y="3"/>
                    <a:pt x="1" y="3"/>
                    <a:pt x="1" y="3"/>
                  </a:cubicBezTo>
                  <a:cubicBezTo>
                    <a:pt x="1" y="4"/>
                    <a:pt x="1" y="4"/>
                    <a:pt x="1" y="4"/>
                  </a:cubicBezTo>
                  <a:cubicBezTo>
                    <a:pt x="1" y="4"/>
                    <a:pt x="1" y="5"/>
                    <a:pt x="1" y="5"/>
                  </a:cubicBezTo>
                  <a:cubicBezTo>
                    <a:pt x="1" y="5"/>
                    <a:pt x="1" y="5"/>
                    <a:pt x="2" y="5"/>
                  </a:cubicBezTo>
                  <a:cubicBezTo>
                    <a:pt x="2" y="5"/>
                    <a:pt x="2" y="6"/>
                    <a:pt x="2" y="6"/>
                  </a:cubicBezTo>
                  <a:cubicBezTo>
                    <a:pt x="2" y="6"/>
                    <a:pt x="2" y="6"/>
                    <a:pt x="2" y="6"/>
                  </a:cubicBezTo>
                  <a:cubicBezTo>
                    <a:pt x="2" y="6"/>
                    <a:pt x="3" y="6"/>
                    <a:pt x="3" y="5"/>
                  </a:cubicBezTo>
                  <a:cubicBezTo>
                    <a:pt x="3" y="5"/>
                    <a:pt x="4" y="5"/>
                    <a:pt x="4" y="5"/>
                  </a:cubicBezTo>
                  <a:cubicBezTo>
                    <a:pt x="5" y="4"/>
                    <a:pt x="6" y="4"/>
                    <a:pt x="6" y="4"/>
                  </a:cubicBezTo>
                  <a:cubicBezTo>
                    <a:pt x="7" y="4"/>
                    <a:pt x="8" y="4"/>
                    <a:pt x="9" y="4"/>
                  </a:cubicBezTo>
                  <a:cubicBezTo>
                    <a:pt x="10" y="4"/>
                    <a:pt x="11" y="4"/>
                    <a:pt x="11" y="4"/>
                  </a:cubicBezTo>
                  <a:cubicBezTo>
                    <a:pt x="12" y="4"/>
                    <a:pt x="12" y="4"/>
                    <a:pt x="13" y="5"/>
                  </a:cubicBezTo>
                  <a:cubicBezTo>
                    <a:pt x="13" y="5"/>
                    <a:pt x="13" y="6"/>
                    <a:pt x="13" y="6"/>
                  </a:cubicBezTo>
                  <a:cubicBezTo>
                    <a:pt x="14" y="7"/>
                    <a:pt x="14" y="8"/>
                    <a:pt x="14" y="9"/>
                  </a:cubicBezTo>
                  <a:cubicBezTo>
                    <a:pt x="14" y="10"/>
                    <a:pt x="14" y="10"/>
                    <a:pt x="14" y="10"/>
                  </a:cubicBezTo>
                  <a:cubicBezTo>
                    <a:pt x="11" y="10"/>
                    <a:pt x="11" y="10"/>
                    <a:pt x="11" y="10"/>
                  </a:cubicBezTo>
                  <a:cubicBezTo>
                    <a:pt x="9" y="10"/>
                    <a:pt x="8" y="10"/>
                    <a:pt x="6" y="11"/>
                  </a:cubicBezTo>
                  <a:cubicBezTo>
                    <a:pt x="5" y="11"/>
                    <a:pt x="4" y="11"/>
                    <a:pt x="3" y="12"/>
                  </a:cubicBezTo>
                  <a:cubicBezTo>
                    <a:pt x="2" y="12"/>
                    <a:pt x="1" y="13"/>
                    <a:pt x="1" y="14"/>
                  </a:cubicBezTo>
                  <a:cubicBezTo>
                    <a:pt x="1" y="15"/>
                    <a:pt x="0" y="16"/>
                    <a:pt x="0" y="17"/>
                  </a:cubicBezTo>
                  <a:cubicBezTo>
                    <a:pt x="0" y="18"/>
                    <a:pt x="0" y="19"/>
                    <a:pt x="1" y="20"/>
                  </a:cubicBezTo>
                  <a:cubicBezTo>
                    <a:pt x="1" y="21"/>
                    <a:pt x="2" y="21"/>
                    <a:pt x="2" y="22"/>
                  </a:cubicBezTo>
                  <a:cubicBezTo>
                    <a:pt x="3" y="22"/>
                    <a:pt x="4" y="23"/>
                    <a:pt x="5" y="23"/>
                  </a:cubicBezTo>
                  <a:cubicBezTo>
                    <a:pt x="5" y="23"/>
                    <a:pt x="6" y="24"/>
                    <a:pt x="8" y="24"/>
                  </a:cubicBezTo>
                  <a:cubicBezTo>
                    <a:pt x="9" y="24"/>
                    <a:pt x="10" y="23"/>
                    <a:pt x="11" y="23"/>
                  </a:cubicBezTo>
                  <a:cubicBezTo>
                    <a:pt x="12" y="22"/>
                    <a:pt x="13" y="21"/>
                    <a:pt x="14" y="20"/>
                  </a:cubicBezTo>
                  <a:cubicBezTo>
                    <a:pt x="14" y="23"/>
                    <a:pt x="14" y="23"/>
                    <a:pt x="14" y="23"/>
                  </a:cubicBezTo>
                  <a:cubicBezTo>
                    <a:pt x="14" y="23"/>
                    <a:pt x="14" y="23"/>
                    <a:pt x="14" y="23"/>
                  </a:cubicBezTo>
                  <a:cubicBezTo>
                    <a:pt x="15" y="23"/>
                    <a:pt x="15" y="23"/>
                    <a:pt x="15" y="23"/>
                  </a:cubicBezTo>
                  <a:cubicBezTo>
                    <a:pt x="15" y="23"/>
                    <a:pt x="16" y="23"/>
                    <a:pt x="16" y="23"/>
                  </a:cubicBezTo>
                  <a:cubicBezTo>
                    <a:pt x="16" y="23"/>
                    <a:pt x="17" y="23"/>
                    <a:pt x="17" y="23"/>
                  </a:cubicBezTo>
                  <a:cubicBezTo>
                    <a:pt x="17" y="23"/>
                    <a:pt x="17" y="23"/>
                    <a:pt x="17" y="23"/>
                  </a:cubicBezTo>
                  <a:cubicBezTo>
                    <a:pt x="18" y="23"/>
                    <a:pt x="18" y="23"/>
                    <a:pt x="18" y="23"/>
                  </a:cubicBezTo>
                  <a:cubicBezTo>
                    <a:pt x="18" y="8"/>
                    <a:pt x="18" y="8"/>
                    <a:pt x="18" y="8"/>
                  </a:cubicBezTo>
                  <a:close/>
                  <a:moveTo>
                    <a:pt x="14" y="17"/>
                  </a:moveTo>
                  <a:cubicBezTo>
                    <a:pt x="13" y="19"/>
                    <a:pt x="12" y="19"/>
                    <a:pt x="11" y="20"/>
                  </a:cubicBezTo>
                  <a:cubicBezTo>
                    <a:pt x="10" y="20"/>
                    <a:pt x="9" y="21"/>
                    <a:pt x="8" y="21"/>
                  </a:cubicBezTo>
                  <a:cubicBezTo>
                    <a:pt x="7" y="21"/>
                    <a:pt x="6" y="20"/>
                    <a:pt x="5" y="20"/>
                  </a:cubicBezTo>
                  <a:cubicBezTo>
                    <a:pt x="5" y="19"/>
                    <a:pt x="4" y="18"/>
                    <a:pt x="4" y="17"/>
                  </a:cubicBezTo>
                  <a:cubicBezTo>
                    <a:pt x="4" y="16"/>
                    <a:pt x="4" y="16"/>
                    <a:pt x="5" y="15"/>
                  </a:cubicBezTo>
                  <a:cubicBezTo>
                    <a:pt x="5" y="15"/>
                    <a:pt x="5" y="14"/>
                    <a:pt x="6" y="14"/>
                  </a:cubicBezTo>
                  <a:cubicBezTo>
                    <a:pt x="6" y="14"/>
                    <a:pt x="7" y="13"/>
                    <a:pt x="8" y="13"/>
                  </a:cubicBezTo>
                  <a:cubicBezTo>
                    <a:pt x="8" y="13"/>
                    <a:pt x="9" y="13"/>
                    <a:pt x="10" y="13"/>
                  </a:cubicBezTo>
                  <a:cubicBezTo>
                    <a:pt x="14" y="13"/>
                    <a:pt x="14" y="13"/>
                    <a:pt x="14" y="13"/>
                  </a:cubicBezTo>
                  <a:cubicBezTo>
                    <a:pt x="14" y="17"/>
                    <a:pt x="14" y="17"/>
                    <a:pt x="14" y="17"/>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88">
              <a:extLst>
                <a:ext uri="{FF2B5EF4-FFF2-40B4-BE49-F238E27FC236}">
                  <a16:creationId xmlns:a16="http://schemas.microsoft.com/office/drawing/2014/main" id="{75D3B379-369F-4142-AD48-6E06C7D60387}"/>
                </a:ext>
              </a:extLst>
            </p:cNvPr>
            <p:cNvSpPr>
              <a:spLocks/>
            </p:cNvSpPr>
            <p:nvPr/>
          </p:nvSpPr>
          <p:spPr bwMode="auto">
            <a:xfrm>
              <a:off x="5448194" y="2729901"/>
              <a:ext cx="12987" cy="109661"/>
            </a:xfrm>
            <a:custGeom>
              <a:avLst/>
              <a:gdLst>
                <a:gd name="T0" fmla="*/ 4 w 4"/>
                <a:gd name="T1" fmla="*/ 0 h 32"/>
                <a:gd name="T2" fmla="*/ 3 w 4"/>
                <a:gd name="T3" fmla="*/ 0 h 32"/>
                <a:gd name="T4" fmla="*/ 3 w 4"/>
                <a:gd name="T5" fmla="*/ 0 h 32"/>
                <a:gd name="T6" fmla="*/ 3 w 4"/>
                <a:gd name="T7" fmla="*/ 0 h 32"/>
                <a:gd name="T8" fmla="*/ 2 w 4"/>
                <a:gd name="T9" fmla="*/ 0 h 32"/>
                <a:gd name="T10" fmla="*/ 1 w 4"/>
                <a:gd name="T11" fmla="*/ 0 h 32"/>
                <a:gd name="T12" fmla="*/ 0 w 4"/>
                <a:gd name="T13" fmla="*/ 0 h 32"/>
                <a:gd name="T14" fmla="*/ 0 w 4"/>
                <a:gd name="T15" fmla="*/ 0 h 32"/>
                <a:gd name="T16" fmla="*/ 0 w 4"/>
                <a:gd name="T17" fmla="*/ 0 h 32"/>
                <a:gd name="T18" fmla="*/ 0 w 4"/>
                <a:gd name="T19" fmla="*/ 32 h 32"/>
                <a:gd name="T20" fmla="*/ 0 w 4"/>
                <a:gd name="T21" fmla="*/ 32 h 32"/>
                <a:gd name="T22" fmla="*/ 0 w 4"/>
                <a:gd name="T23" fmla="*/ 32 h 32"/>
                <a:gd name="T24" fmla="*/ 1 w 4"/>
                <a:gd name="T25" fmla="*/ 32 h 32"/>
                <a:gd name="T26" fmla="*/ 2 w 4"/>
                <a:gd name="T27" fmla="*/ 32 h 32"/>
                <a:gd name="T28" fmla="*/ 3 w 4"/>
                <a:gd name="T29" fmla="*/ 32 h 32"/>
                <a:gd name="T30" fmla="*/ 3 w 4"/>
                <a:gd name="T31" fmla="*/ 32 h 32"/>
                <a:gd name="T32" fmla="*/ 3 w 4"/>
                <a:gd name="T33" fmla="*/ 32 h 32"/>
                <a:gd name="T34" fmla="*/ 4 w 4"/>
                <a:gd name="T35" fmla="*/ 32 h 32"/>
                <a:gd name="T36" fmla="*/ 4 w 4"/>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2">
                  <a:moveTo>
                    <a:pt x="4" y="0"/>
                  </a:moveTo>
                  <a:cubicBezTo>
                    <a:pt x="4" y="0"/>
                    <a:pt x="4" y="0"/>
                    <a:pt x="3" y="0"/>
                  </a:cubicBez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0" y="0"/>
                    <a:pt x="0" y="0"/>
                    <a:pt x="0" y="0"/>
                  </a:cubicBezTo>
                  <a:cubicBezTo>
                    <a:pt x="0" y="0"/>
                    <a:pt x="0" y="0"/>
                    <a:pt x="0" y="0"/>
                  </a:cubicBezTo>
                  <a:cubicBezTo>
                    <a:pt x="0" y="32"/>
                    <a:pt x="0" y="32"/>
                    <a:pt x="0" y="32"/>
                  </a:cubicBezTo>
                  <a:cubicBezTo>
                    <a:pt x="0" y="32"/>
                    <a:pt x="0" y="32"/>
                    <a:pt x="0" y="32"/>
                  </a:cubicBezTo>
                  <a:cubicBezTo>
                    <a:pt x="0" y="32"/>
                    <a:pt x="0" y="32"/>
                    <a:pt x="0" y="32"/>
                  </a:cubicBezTo>
                  <a:cubicBezTo>
                    <a:pt x="0" y="32"/>
                    <a:pt x="0" y="32"/>
                    <a:pt x="1" y="32"/>
                  </a:cubicBezTo>
                  <a:cubicBezTo>
                    <a:pt x="1" y="32"/>
                    <a:pt x="1" y="32"/>
                    <a:pt x="2" y="32"/>
                  </a:cubicBezTo>
                  <a:cubicBezTo>
                    <a:pt x="2" y="32"/>
                    <a:pt x="2" y="32"/>
                    <a:pt x="3" y="32"/>
                  </a:cubicBezTo>
                  <a:cubicBezTo>
                    <a:pt x="3" y="32"/>
                    <a:pt x="3" y="32"/>
                    <a:pt x="3" y="32"/>
                  </a:cubicBezTo>
                  <a:cubicBezTo>
                    <a:pt x="3" y="32"/>
                    <a:pt x="3" y="32"/>
                    <a:pt x="3" y="32"/>
                  </a:cubicBezTo>
                  <a:cubicBezTo>
                    <a:pt x="4" y="32"/>
                    <a:pt x="4" y="32"/>
                    <a:pt x="4" y="32"/>
                  </a:cubicBezTo>
                  <a:cubicBezTo>
                    <a:pt x="4" y="0"/>
                    <a:pt x="4" y="0"/>
                    <a:pt x="4"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89">
              <a:extLst>
                <a:ext uri="{FF2B5EF4-FFF2-40B4-BE49-F238E27FC236}">
                  <a16:creationId xmlns:a16="http://schemas.microsoft.com/office/drawing/2014/main" id="{C2A2A80F-E90C-4CDB-8E5E-57DAD789A17A}"/>
                </a:ext>
              </a:extLst>
            </p:cNvPr>
            <p:cNvSpPr>
              <a:spLocks/>
            </p:cNvSpPr>
            <p:nvPr/>
          </p:nvSpPr>
          <p:spPr bwMode="auto">
            <a:xfrm>
              <a:off x="5475610" y="2763088"/>
              <a:ext cx="67817" cy="106776"/>
            </a:xfrm>
            <a:custGeom>
              <a:avLst/>
              <a:gdLst>
                <a:gd name="T0" fmla="*/ 20 w 20"/>
                <a:gd name="T1" fmla="*/ 1 h 31"/>
                <a:gd name="T2" fmla="*/ 20 w 20"/>
                <a:gd name="T3" fmla="*/ 0 h 31"/>
                <a:gd name="T4" fmla="*/ 20 w 20"/>
                <a:gd name="T5" fmla="*/ 0 h 31"/>
                <a:gd name="T6" fmla="*/ 19 w 20"/>
                <a:gd name="T7" fmla="*/ 0 h 31"/>
                <a:gd name="T8" fmla="*/ 18 w 20"/>
                <a:gd name="T9" fmla="*/ 0 h 31"/>
                <a:gd name="T10" fmla="*/ 17 w 20"/>
                <a:gd name="T11" fmla="*/ 0 h 31"/>
                <a:gd name="T12" fmla="*/ 16 w 20"/>
                <a:gd name="T13" fmla="*/ 0 h 31"/>
                <a:gd name="T14" fmla="*/ 16 w 20"/>
                <a:gd name="T15" fmla="*/ 1 h 31"/>
                <a:gd name="T16" fmla="*/ 10 w 20"/>
                <a:gd name="T17" fmla="*/ 18 h 31"/>
                <a:gd name="T18" fmla="*/ 10 w 20"/>
                <a:gd name="T19" fmla="*/ 18 h 31"/>
                <a:gd name="T20" fmla="*/ 4 w 20"/>
                <a:gd name="T21" fmla="*/ 1 h 31"/>
                <a:gd name="T22" fmla="*/ 4 w 20"/>
                <a:gd name="T23" fmla="*/ 0 h 31"/>
                <a:gd name="T24" fmla="*/ 4 w 20"/>
                <a:gd name="T25" fmla="*/ 0 h 31"/>
                <a:gd name="T26" fmla="*/ 3 w 20"/>
                <a:gd name="T27" fmla="*/ 0 h 31"/>
                <a:gd name="T28" fmla="*/ 2 w 20"/>
                <a:gd name="T29" fmla="*/ 0 h 31"/>
                <a:gd name="T30" fmla="*/ 1 w 20"/>
                <a:gd name="T31" fmla="*/ 0 h 31"/>
                <a:gd name="T32" fmla="*/ 0 w 20"/>
                <a:gd name="T33" fmla="*/ 0 h 31"/>
                <a:gd name="T34" fmla="*/ 0 w 20"/>
                <a:gd name="T35" fmla="*/ 0 h 31"/>
                <a:gd name="T36" fmla="*/ 0 w 20"/>
                <a:gd name="T37" fmla="*/ 1 h 31"/>
                <a:gd name="T38" fmla="*/ 8 w 20"/>
                <a:gd name="T39" fmla="*/ 21 h 31"/>
                <a:gd name="T40" fmla="*/ 8 w 20"/>
                <a:gd name="T41" fmla="*/ 22 h 31"/>
                <a:gd name="T42" fmla="*/ 8 w 20"/>
                <a:gd name="T43" fmla="*/ 22 h 31"/>
                <a:gd name="T44" fmla="*/ 5 w 20"/>
                <a:gd name="T45" fmla="*/ 29 h 31"/>
                <a:gd name="T46" fmla="*/ 5 w 20"/>
                <a:gd name="T47" fmla="*/ 30 h 31"/>
                <a:gd name="T48" fmla="*/ 5 w 20"/>
                <a:gd name="T49" fmla="*/ 30 h 31"/>
                <a:gd name="T50" fmla="*/ 6 w 20"/>
                <a:gd name="T51" fmla="*/ 31 h 31"/>
                <a:gd name="T52" fmla="*/ 7 w 20"/>
                <a:gd name="T53" fmla="*/ 31 h 31"/>
                <a:gd name="T54" fmla="*/ 9 w 20"/>
                <a:gd name="T55" fmla="*/ 30 h 31"/>
                <a:gd name="T56" fmla="*/ 10 w 20"/>
                <a:gd name="T57" fmla="*/ 30 h 31"/>
                <a:gd name="T58" fmla="*/ 12 w 20"/>
                <a:gd name="T59" fmla="*/ 22 h 31"/>
                <a:gd name="T60" fmla="*/ 20 w 20"/>
                <a:gd name="T61"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31">
                  <a:moveTo>
                    <a:pt x="20" y="1"/>
                  </a:moveTo>
                  <a:cubicBezTo>
                    <a:pt x="20" y="1"/>
                    <a:pt x="20" y="1"/>
                    <a:pt x="20" y="0"/>
                  </a:cubicBezTo>
                  <a:cubicBezTo>
                    <a:pt x="20" y="0"/>
                    <a:pt x="20" y="0"/>
                    <a:pt x="20" y="0"/>
                  </a:cubicBezTo>
                  <a:cubicBezTo>
                    <a:pt x="20" y="0"/>
                    <a:pt x="20" y="0"/>
                    <a:pt x="19" y="0"/>
                  </a:cubicBezTo>
                  <a:cubicBezTo>
                    <a:pt x="19" y="0"/>
                    <a:pt x="19" y="0"/>
                    <a:pt x="18" y="0"/>
                  </a:cubicBezTo>
                  <a:cubicBezTo>
                    <a:pt x="18" y="0"/>
                    <a:pt x="17" y="0"/>
                    <a:pt x="17" y="0"/>
                  </a:cubicBezTo>
                  <a:cubicBezTo>
                    <a:pt x="17" y="0"/>
                    <a:pt x="17" y="0"/>
                    <a:pt x="16" y="0"/>
                  </a:cubicBezTo>
                  <a:cubicBezTo>
                    <a:pt x="16" y="0"/>
                    <a:pt x="16" y="0"/>
                    <a:pt x="16" y="1"/>
                  </a:cubicBezTo>
                  <a:cubicBezTo>
                    <a:pt x="10" y="18"/>
                    <a:pt x="10" y="18"/>
                    <a:pt x="10" y="18"/>
                  </a:cubicBezTo>
                  <a:cubicBezTo>
                    <a:pt x="10" y="18"/>
                    <a:pt x="10" y="18"/>
                    <a:pt x="10" y="18"/>
                  </a:cubicBezTo>
                  <a:cubicBezTo>
                    <a:pt x="4" y="1"/>
                    <a:pt x="4" y="1"/>
                    <a:pt x="4" y="1"/>
                  </a:cubicBezTo>
                  <a:cubicBezTo>
                    <a:pt x="4" y="0"/>
                    <a:pt x="4" y="0"/>
                    <a:pt x="4" y="0"/>
                  </a:cubicBezTo>
                  <a:cubicBezTo>
                    <a:pt x="4" y="0"/>
                    <a:pt x="4" y="0"/>
                    <a:pt x="4" y="0"/>
                  </a:cubicBezTo>
                  <a:cubicBezTo>
                    <a:pt x="3" y="0"/>
                    <a:pt x="3" y="0"/>
                    <a:pt x="3" y="0"/>
                  </a:cubicBezTo>
                  <a:cubicBezTo>
                    <a:pt x="3" y="0"/>
                    <a:pt x="2" y="0"/>
                    <a:pt x="2" y="0"/>
                  </a:cubicBezTo>
                  <a:cubicBezTo>
                    <a:pt x="1" y="0"/>
                    <a:pt x="1" y="0"/>
                    <a:pt x="1" y="0"/>
                  </a:cubicBezTo>
                  <a:cubicBezTo>
                    <a:pt x="0" y="0"/>
                    <a:pt x="0" y="0"/>
                    <a:pt x="0" y="0"/>
                  </a:cubicBezTo>
                  <a:cubicBezTo>
                    <a:pt x="0" y="0"/>
                    <a:pt x="0" y="0"/>
                    <a:pt x="0" y="0"/>
                  </a:cubicBezTo>
                  <a:cubicBezTo>
                    <a:pt x="0" y="1"/>
                    <a:pt x="0" y="1"/>
                    <a:pt x="0" y="1"/>
                  </a:cubicBezTo>
                  <a:cubicBezTo>
                    <a:pt x="8" y="21"/>
                    <a:pt x="8" y="21"/>
                    <a:pt x="8" y="21"/>
                  </a:cubicBezTo>
                  <a:cubicBezTo>
                    <a:pt x="8" y="22"/>
                    <a:pt x="8" y="22"/>
                    <a:pt x="8" y="22"/>
                  </a:cubicBezTo>
                  <a:cubicBezTo>
                    <a:pt x="8" y="22"/>
                    <a:pt x="8" y="22"/>
                    <a:pt x="8" y="22"/>
                  </a:cubicBezTo>
                  <a:cubicBezTo>
                    <a:pt x="5" y="29"/>
                    <a:pt x="5" y="29"/>
                    <a:pt x="5" y="29"/>
                  </a:cubicBezTo>
                  <a:cubicBezTo>
                    <a:pt x="5" y="30"/>
                    <a:pt x="5" y="30"/>
                    <a:pt x="5" y="30"/>
                  </a:cubicBezTo>
                  <a:cubicBezTo>
                    <a:pt x="5" y="30"/>
                    <a:pt x="5" y="30"/>
                    <a:pt x="5" y="30"/>
                  </a:cubicBezTo>
                  <a:cubicBezTo>
                    <a:pt x="6" y="31"/>
                    <a:pt x="6" y="31"/>
                    <a:pt x="6" y="31"/>
                  </a:cubicBezTo>
                  <a:cubicBezTo>
                    <a:pt x="6" y="31"/>
                    <a:pt x="7" y="31"/>
                    <a:pt x="7" y="31"/>
                  </a:cubicBezTo>
                  <a:cubicBezTo>
                    <a:pt x="8" y="31"/>
                    <a:pt x="8" y="31"/>
                    <a:pt x="9" y="30"/>
                  </a:cubicBezTo>
                  <a:cubicBezTo>
                    <a:pt x="9" y="30"/>
                    <a:pt x="9" y="30"/>
                    <a:pt x="10" y="30"/>
                  </a:cubicBezTo>
                  <a:cubicBezTo>
                    <a:pt x="12" y="22"/>
                    <a:pt x="12" y="22"/>
                    <a:pt x="12" y="22"/>
                  </a:cubicBezTo>
                  <a:cubicBezTo>
                    <a:pt x="20" y="1"/>
                    <a:pt x="20" y="1"/>
                    <a:pt x="20"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90">
              <a:extLst>
                <a:ext uri="{FF2B5EF4-FFF2-40B4-BE49-F238E27FC236}">
                  <a16:creationId xmlns:a16="http://schemas.microsoft.com/office/drawing/2014/main" id="{4F7B77A7-B5D3-4453-BB6D-27D6A414F759}"/>
                </a:ext>
              </a:extLst>
            </p:cNvPr>
            <p:cNvSpPr>
              <a:spLocks noEditPoints="1"/>
            </p:cNvSpPr>
            <p:nvPr/>
          </p:nvSpPr>
          <p:spPr bwMode="auto">
            <a:xfrm>
              <a:off x="5550641" y="2732786"/>
              <a:ext cx="75032" cy="109661"/>
            </a:xfrm>
            <a:custGeom>
              <a:avLst/>
              <a:gdLst>
                <a:gd name="T0" fmla="*/ 22 w 22"/>
                <a:gd name="T1" fmla="*/ 9 h 32"/>
                <a:gd name="T2" fmla="*/ 22 w 22"/>
                <a:gd name="T3" fmla="*/ 31 h 32"/>
                <a:gd name="T4" fmla="*/ 22 w 22"/>
                <a:gd name="T5" fmla="*/ 31 h 32"/>
                <a:gd name="T6" fmla="*/ 20 w 22"/>
                <a:gd name="T7" fmla="*/ 31 h 32"/>
                <a:gd name="T8" fmla="*/ 18 w 22"/>
                <a:gd name="T9" fmla="*/ 31 h 32"/>
                <a:gd name="T10" fmla="*/ 18 w 22"/>
                <a:gd name="T11" fmla="*/ 31 h 32"/>
                <a:gd name="T12" fmla="*/ 7 w 22"/>
                <a:gd name="T13" fmla="*/ 12 h 32"/>
                <a:gd name="T14" fmla="*/ 8 w 22"/>
                <a:gd name="T15" fmla="*/ 27 h 32"/>
                <a:gd name="T16" fmla="*/ 11 w 22"/>
                <a:gd name="T17" fmla="*/ 28 h 32"/>
                <a:gd name="T18" fmla="*/ 12 w 22"/>
                <a:gd name="T19" fmla="*/ 28 h 32"/>
                <a:gd name="T20" fmla="*/ 13 w 22"/>
                <a:gd name="T21" fmla="*/ 28 h 32"/>
                <a:gd name="T22" fmla="*/ 13 w 22"/>
                <a:gd name="T23" fmla="*/ 28 h 32"/>
                <a:gd name="T24" fmla="*/ 13 w 22"/>
                <a:gd name="T25" fmla="*/ 30 h 32"/>
                <a:gd name="T26" fmla="*/ 12 w 22"/>
                <a:gd name="T27" fmla="*/ 31 h 32"/>
                <a:gd name="T28" fmla="*/ 11 w 22"/>
                <a:gd name="T29" fmla="*/ 31 h 32"/>
                <a:gd name="T30" fmla="*/ 7 w 22"/>
                <a:gd name="T31" fmla="*/ 31 h 32"/>
                <a:gd name="T32" fmla="*/ 4 w 22"/>
                <a:gd name="T33" fmla="*/ 28 h 32"/>
                <a:gd name="T34" fmla="*/ 3 w 22"/>
                <a:gd name="T35" fmla="*/ 12 h 32"/>
                <a:gd name="T36" fmla="*/ 0 w 22"/>
                <a:gd name="T37" fmla="*/ 12 h 32"/>
                <a:gd name="T38" fmla="*/ 0 w 22"/>
                <a:gd name="T39" fmla="*/ 10 h 32"/>
                <a:gd name="T40" fmla="*/ 0 w 22"/>
                <a:gd name="T41" fmla="*/ 9 h 32"/>
                <a:gd name="T42" fmla="*/ 3 w 22"/>
                <a:gd name="T43" fmla="*/ 9 h 32"/>
                <a:gd name="T44" fmla="*/ 3 w 22"/>
                <a:gd name="T45" fmla="*/ 4 h 32"/>
                <a:gd name="T46" fmla="*/ 4 w 22"/>
                <a:gd name="T47" fmla="*/ 3 h 32"/>
                <a:gd name="T48" fmla="*/ 6 w 22"/>
                <a:gd name="T49" fmla="*/ 3 h 32"/>
                <a:gd name="T50" fmla="*/ 7 w 22"/>
                <a:gd name="T51" fmla="*/ 4 h 32"/>
                <a:gd name="T52" fmla="*/ 7 w 22"/>
                <a:gd name="T53" fmla="*/ 9 h 32"/>
                <a:gd name="T54" fmla="*/ 14 w 22"/>
                <a:gd name="T55" fmla="*/ 9 h 32"/>
                <a:gd name="T56" fmla="*/ 22 w 22"/>
                <a:gd name="T57" fmla="*/ 2 h 32"/>
                <a:gd name="T58" fmla="*/ 20 w 22"/>
                <a:gd name="T59" fmla="*/ 5 h 32"/>
                <a:gd name="T60" fmla="*/ 18 w 22"/>
                <a:gd name="T61" fmla="*/ 2 h 32"/>
                <a:gd name="T62" fmla="*/ 20 w 22"/>
                <a:gd name="T63" fmla="*/ 0 h 32"/>
                <a:gd name="T64" fmla="*/ 22 w 22"/>
                <a:gd name="T65"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32">
                  <a:moveTo>
                    <a:pt x="21" y="9"/>
                  </a:moveTo>
                  <a:cubicBezTo>
                    <a:pt x="21" y="9"/>
                    <a:pt x="21" y="9"/>
                    <a:pt x="22" y="9"/>
                  </a:cubicBezTo>
                  <a:cubicBezTo>
                    <a:pt x="22" y="9"/>
                    <a:pt x="22" y="10"/>
                    <a:pt x="22" y="10"/>
                  </a:cubicBezTo>
                  <a:cubicBezTo>
                    <a:pt x="22" y="31"/>
                    <a:pt x="22" y="31"/>
                    <a:pt x="22" y="31"/>
                  </a:cubicBezTo>
                  <a:cubicBezTo>
                    <a:pt x="22" y="31"/>
                    <a:pt x="22" y="31"/>
                    <a:pt x="22" y="31"/>
                  </a:cubicBezTo>
                  <a:cubicBezTo>
                    <a:pt x="22" y="31"/>
                    <a:pt x="22" y="31"/>
                    <a:pt x="22" y="31"/>
                  </a:cubicBezTo>
                  <a:cubicBezTo>
                    <a:pt x="21" y="31"/>
                    <a:pt x="21" y="31"/>
                    <a:pt x="21" y="31"/>
                  </a:cubicBezTo>
                  <a:cubicBezTo>
                    <a:pt x="21" y="31"/>
                    <a:pt x="20" y="31"/>
                    <a:pt x="20" y="31"/>
                  </a:cubicBezTo>
                  <a:cubicBezTo>
                    <a:pt x="20" y="31"/>
                    <a:pt x="19" y="31"/>
                    <a:pt x="19" y="31"/>
                  </a:cubicBezTo>
                  <a:cubicBezTo>
                    <a:pt x="19" y="31"/>
                    <a:pt x="19" y="31"/>
                    <a:pt x="18" y="31"/>
                  </a:cubicBezTo>
                  <a:cubicBezTo>
                    <a:pt x="18" y="31"/>
                    <a:pt x="18" y="31"/>
                    <a:pt x="18" y="31"/>
                  </a:cubicBezTo>
                  <a:cubicBezTo>
                    <a:pt x="18" y="31"/>
                    <a:pt x="18" y="31"/>
                    <a:pt x="18" y="31"/>
                  </a:cubicBezTo>
                  <a:cubicBezTo>
                    <a:pt x="18" y="12"/>
                    <a:pt x="18" y="12"/>
                    <a:pt x="18" y="12"/>
                  </a:cubicBezTo>
                  <a:cubicBezTo>
                    <a:pt x="7" y="12"/>
                    <a:pt x="7" y="12"/>
                    <a:pt x="7" y="12"/>
                  </a:cubicBezTo>
                  <a:cubicBezTo>
                    <a:pt x="7" y="24"/>
                    <a:pt x="7" y="24"/>
                    <a:pt x="7" y="24"/>
                  </a:cubicBezTo>
                  <a:cubicBezTo>
                    <a:pt x="7" y="25"/>
                    <a:pt x="7" y="26"/>
                    <a:pt x="8" y="27"/>
                  </a:cubicBezTo>
                  <a:cubicBezTo>
                    <a:pt x="8" y="28"/>
                    <a:pt x="9" y="28"/>
                    <a:pt x="10" y="28"/>
                  </a:cubicBezTo>
                  <a:cubicBezTo>
                    <a:pt x="10" y="28"/>
                    <a:pt x="11" y="28"/>
                    <a:pt x="11" y="28"/>
                  </a:cubicBezTo>
                  <a:cubicBezTo>
                    <a:pt x="11" y="28"/>
                    <a:pt x="12" y="28"/>
                    <a:pt x="12" y="28"/>
                  </a:cubicBezTo>
                  <a:cubicBezTo>
                    <a:pt x="12" y="28"/>
                    <a:pt x="12" y="28"/>
                    <a:pt x="12" y="28"/>
                  </a:cubicBezTo>
                  <a:cubicBezTo>
                    <a:pt x="13" y="28"/>
                    <a:pt x="13" y="28"/>
                    <a:pt x="13" y="28"/>
                  </a:cubicBezTo>
                  <a:cubicBezTo>
                    <a:pt x="13" y="28"/>
                    <a:pt x="13" y="28"/>
                    <a:pt x="13" y="28"/>
                  </a:cubicBezTo>
                  <a:cubicBezTo>
                    <a:pt x="13" y="28"/>
                    <a:pt x="13" y="28"/>
                    <a:pt x="13" y="28"/>
                  </a:cubicBezTo>
                  <a:cubicBezTo>
                    <a:pt x="13" y="28"/>
                    <a:pt x="13" y="28"/>
                    <a:pt x="13" y="28"/>
                  </a:cubicBezTo>
                  <a:cubicBezTo>
                    <a:pt x="13" y="29"/>
                    <a:pt x="13" y="29"/>
                    <a:pt x="13" y="29"/>
                  </a:cubicBezTo>
                  <a:cubicBezTo>
                    <a:pt x="13" y="29"/>
                    <a:pt x="13" y="30"/>
                    <a:pt x="13" y="30"/>
                  </a:cubicBezTo>
                  <a:cubicBezTo>
                    <a:pt x="13" y="30"/>
                    <a:pt x="13" y="31"/>
                    <a:pt x="13" y="31"/>
                  </a:cubicBezTo>
                  <a:cubicBezTo>
                    <a:pt x="13" y="31"/>
                    <a:pt x="13" y="31"/>
                    <a:pt x="12" y="31"/>
                  </a:cubicBezTo>
                  <a:cubicBezTo>
                    <a:pt x="12" y="31"/>
                    <a:pt x="12" y="31"/>
                    <a:pt x="12" y="31"/>
                  </a:cubicBezTo>
                  <a:cubicBezTo>
                    <a:pt x="11" y="31"/>
                    <a:pt x="11" y="31"/>
                    <a:pt x="11" y="31"/>
                  </a:cubicBezTo>
                  <a:cubicBezTo>
                    <a:pt x="10" y="32"/>
                    <a:pt x="10" y="32"/>
                    <a:pt x="9" y="32"/>
                  </a:cubicBezTo>
                  <a:cubicBezTo>
                    <a:pt x="8" y="32"/>
                    <a:pt x="7" y="31"/>
                    <a:pt x="7" y="31"/>
                  </a:cubicBezTo>
                  <a:cubicBezTo>
                    <a:pt x="6" y="31"/>
                    <a:pt x="5" y="30"/>
                    <a:pt x="5" y="30"/>
                  </a:cubicBezTo>
                  <a:cubicBezTo>
                    <a:pt x="4" y="29"/>
                    <a:pt x="4" y="28"/>
                    <a:pt x="4" y="28"/>
                  </a:cubicBezTo>
                  <a:cubicBezTo>
                    <a:pt x="3" y="27"/>
                    <a:pt x="3" y="26"/>
                    <a:pt x="3" y="24"/>
                  </a:cubicBezTo>
                  <a:cubicBezTo>
                    <a:pt x="3" y="12"/>
                    <a:pt x="3" y="12"/>
                    <a:pt x="3" y="12"/>
                  </a:cubicBezTo>
                  <a:cubicBezTo>
                    <a:pt x="0" y="12"/>
                    <a:pt x="0" y="12"/>
                    <a:pt x="0" y="12"/>
                  </a:cubicBezTo>
                  <a:cubicBezTo>
                    <a:pt x="0" y="12"/>
                    <a:pt x="0" y="12"/>
                    <a:pt x="0" y="12"/>
                  </a:cubicBezTo>
                  <a:cubicBezTo>
                    <a:pt x="0" y="11"/>
                    <a:pt x="0" y="11"/>
                    <a:pt x="0" y="10"/>
                  </a:cubicBezTo>
                  <a:cubicBezTo>
                    <a:pt x="0" y="10"/>
                    <a:pt x="0" y="10"/>
                    <a:pt x="0" y="10"/>
                  </a:cubicBezTo>
                  <a:cubicBezTo>
                    <a:pt x="0" y="10"/>
                    <a:pt x="0" y="9"/>
                    <a:pt x="0" y="9"/>
                  </a:cubicBezTo>
                  <a:cubicBezTo>
                    <a:pt x="0" y="9"/>
                    <a:pt x="0" y="9"/>
                    <a:pt x="0" y="9"/>
                  </a:cubicBezTo>
                  <a:cubicBezTo>
                    <a:pt x="0" y="9"/>
                    <a:pt x="0" y="9"/>
                    <a:pt x="0" y="9"/>
                  </a:cubicBezTo>
                  <a:cubicBezTo>
                    <a:pt x="3" y="9"/>
                    <a:pt x="3" y="9"/>
                    <a:pt x="3" y="9"/>
                  </a:cubicBezTo>
                  <a:cubicBezTo>
                    <a:pt x="3" y="4"/>
                    <a:pt x="3" y="4"/>
                    <a:pt x="3" y="4"/>
                  </a:cubicBezTo>
                  <a:cubicBezTo>
                    <a:pt x="3" y="4"/>
                    <a:pt x="3" y="4"/>
                    <a:pt x="3" y="4"/>
                  </a:cubicBezTo>
                  <a:cubicBezTo>
                    <a:pt x="3" y="3"/>
                    <a:pt x="4" y="3"/>
                    <a:pt x="4" y="3"/>
                  </a:cubicBezTo>
                  <a:cubicBezTo>
                    <a:pt x="4" y="3"/>
                    <a:pt x="4" y="3"/>
                    <a:pt x="4" y="3"/>
                  </a:cubicBezTo>
                  <a:cubicBezTo>
                    <a:pt x="4" y="3"/>
                    <a:pt x="5" y="3"/>
                    <a:pt x="5" y="3"/>
                  </a:cubicBezTo>
                  <a:cubicBezTo>
                    <a:pt x="6" y="3"/>
                    <a:pt x="6" y="3"/>
                    <a:pt x="6" y="3"/>
                  </a:cubicBezTo>
                  <a:cubicBezTo>
                    <a:pt x="6" y="3"/>
                    <a:pt x="7" y="3"/>
                    <a:pt x="7" y="3"/>
                  </a:cubicBezTo>
                  <a:cubicBezTo>
                    <a:pt x="7" y="3"/>
                    <a:pt x="7" y="3"/>
                    <a:pt x="7" y="4"/>
                  </a:cubicBezTo>
                  <a:cubicBezTo>
                    <a:pt x="7" y="4"/>
                    <a:pt x="7" y="4"/>
                    <a:pt x="7" y="4"/>
                  </a:cubicBezTo>
                  <a:cubicBezTo>
                    <a:pt x="7" y="9"/>
                    <a:pt x="7" y="9"/>
                    <a:pt x="7" y="9"/>
                  </a:cubicBezTo>
                  <a:lnTo>
                    <a:pt x="21" y="9"/>
                  </a:lnTo>
                  <a:close/>
                  <a:moveTo>
                    <a:pt x="14" y="9"/>
                  </a:moveTo>
                  <a:cubicBezTo>
                    <a:pt x="14" y="9"/>
                    <a:pt x="14" y="9"/>
                    <a:pt x="14" y="9"/>
                  </a:cubicBezTo>
                  <a:moveTo>
                    <a:pt x="22" y="2"/>
                  </a:moveTo>
                  <a:cubicBezTo>
                    <a:pt x="22" y="3"/>
                    <a:pt x="22" y="4"/>
                    <a:pt x="22" y="4"/>
                  </a:cubicBezTo>
                  <a:cubicBezTo>
                    <a:pt x="22" y="5"/>
                    <a:pt x="21" y="5"/>
                    <a:pt x="20" y="5"/>
                  </a:cubicBezTo>
                  <a:cubicBezTo>
                    <a:pt x="19" y="5"/>
                    <a:pt x="18" y="5"/>
                    <a:pt x="18" y="4"/>
                  </a:cubicBezTo>
                  <a:cubicBezTo>
                    <a:pt x="18" y="4"/>
                    <a:pt x="18" y="3"/>
                    <a:pt x="18" y="2"/>
                  </a:cubicBezTo>
                  <a:cubicBezTo>
                    <a:pt x="18" y="1"/>
                    <a:pt x="18" y="1"/>
                    <a:pt x="18" y="1"/>
                  </a:cubicBezTo>
                  <a:cubicBezTo>
                    <a:pt x="18" y="0"/>
                    <a:pt x="19" y="0"/>
                    <a:pt x="20" y="0"/>
                  </a:cubicBezTo>
                  <a:cubicBezTo>
                    <a:pt x="21" y="0"/>
                    <a:pt x="22" y="0"/>
                    <a:pt x="22" y="1"/>
                  </a:cubicBezTo>
                  <a:cubicBezTo>
                    <a:pt x="22" y="1"/>
                    <a:pt x="22" y="1"/>
                    <a:pt x="22" y="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91">
              <a:extLst>
                <a:ext uri="{FF2B5EF4-FFF2-40B4-BE49-F238E27FC236}">
                  <a16:creationId xmlns:a16="http://schemas.microsoft.com/office/drawing/2014/main" id="{257E5929-03A2-45DD-A33D-FF1D1D85D006}"/>
                </a:ext>
              </a:extLst>
            </p:cNvPr>
            <p:cNvSpPr>
              <a:spLocks/>
            </p:cNvSpPr>
            <p:nvPr/>
          </p:nvSpPr>
          <p:spPr bwMode="auto">
            <a:xfrm>
              <a:off x="5645874" y="2760202"/>
              <a:ext cx="54831" cy="82247"/>
            </a:xfrm>
            <a:custGeom>
              <a:avLst/>
              <a:gdLst>
                <a:gd name="T0" fmla="*/ 16 w 16"/>
                <a:gd name="T1" fmla="*/ 19 h 24"/>
                <a:gd name="T2" fmla="*/ 16 w 16"/>
                <a:gd name="T3" fmla="*/ 18 h 24"/>
                <a:gd name="T4" fmla="*/ 16 w 16"/>
                <a:gd name="T5" fmla="*/ 18 h 24"/>
                <a:gd name="T6" fmla="*/ 16 w 16"/>
                <a:gd name="T7" fmla="*/ 18 h 24"/>
                <a:gd name="T8" fmla="*/ 15 w 16"/>
                <a:gd name="T9" fmla="*/ 18 h 24"/>
                <a:gd name="T10" fmla="*/ 14 w 16"/>
                <a:gd name="T11" fmla="*/ 19 h 24"/>
                <a:gd name="T12" fmla="*/ 12 w 16"/>
                <a:gd name="T13" fmla="*/ 20 h 24"/>
                <a:gd name="T14" fmla="*/ 10 w 16"/>
                <a:gd name="T15" fmla="*/ 20 h 24"/>
                <a:gd name="T16" fmla="*/ 7 w 16"/>
                <a:gd name="T17" fmla="*/ 20 h 24"/>
                <a:gd name="T18" fmla="*/ 5 w 16"/>
                <a:gd name="T19" fmla="*/ 18 h 24"/>
                <a:gd name="T20" fmla="*/ 4 w 16"/>
                <a:gd name="T21" fmla="*/ 16 h 24"/>
                <a:gd name="T22" fmla="*/ 4 w 16"/>
                <a:gd name="T23" fmla="*/ 12 h 24"/>
                <a:gd name="T24" fmla="*/ 5 w 16"/>
                <a:gd name="T25" fmla="*/ 6 h 24"/>
                <a:gd name="T26" fmla="*/ 9 w 16"/>
                <a:gd name="T27" fmla="*/ 4 h 24"/>
                <a:gd name="T28" fmla="*/ 12 w 16"/>
                <a:gd name="T29" fmla="*/ 4 h 24"/>
                <a:gd name="T30" fmla="*/ 13 w 16"/>
                <a:gd name="T31" fmla="*/ 5 h 24"/>
                <a:gd name="T32" fmla="*/ 15 w 16"/>
                <a:gd name="T33" fmla="*/ 6 h 24"/>
                <a:gd name="T34" fmla="*/ 15 w 16"/>
                <a:gd name="T35" fmla="*/ 6 h 24"/>
                <a:gd name="T36" fmla="*/ 16 w 16"/>
                <a:gd name="T37" fmla="*/ 6 h 24"/>
                <a:gd name="T38" fmla="*/ 16 w 16"/>
                <a:gd name="T39" fmla="*/ 5 h 24"/>
                <a:gd name="T40" fmla="*/ 16 w 16"/>
                <a:gd name="T41" fmla="*/ 4 h 24"/>
                <a:gd name="T42" fmla="*/ 16 w 16"/>
                <a:gd name="T43" fmla="*/ 3 h 24"/>
                <a:gd name="T44" fmla="*/ 16 w 16"/>
                <a:gd name="T45" fmla="*/ 3 h 24"/>
                <a:gd name="T46" fmla="*/ 15 w 16"/>
                <a:gd name="T47" fmla="*/ 3 h 24"/>
                <a:gd name="T48" fmla="*/ 15 w 16"/>
                <a:gd name="T49" fmla="*/ 2 h 24"/>
                <a:gd name="T50" fmla="*/ 13 w 16"/>
                <a:gd name="T51" fmla="*/ 1 h 24"/>
                <a:gd name="T52" fmla="*/ 11 w 16"/>
                <a:gd name="T53" fmla="*/ 1 h 24"/>
                <a:gd name="T54" fmla="*/ 9 w 16"/>
                <a:gd name="T55" fmla="*/ 0 h 24"/>
                <a:gd name="T56" fmla="*/ 6 w 16"/>
                <a:gd name="T57" fmla="*/ 1 h 24"/>
                <a:gd name="T58" fmla="*/ 2 w 16"/>
                <a:gd name="T59" fmla="*/ 3 h 24"/>
                <a:gd name="T60" fmla="*/ 0 w 16"/>
                <a:gd name="T61" fmla="*/ 7 h 24"/>
                <a:gd name="T62" fmla="*/ 0 w 16"/>
                <a:gd name="T63" fmla="*/ 12 h 24"/>
                <a:gd name="T64" fmla="*/ 0 w 16"/>
                <a:gd name="T65" fmla="*/ 17 h 24"/>
                <a:gd name="T66" fmla="*/ 2 w 16"/>
                <a:gd name="T67" fmla="*/ 21 h 24"/>
                <a:gd name="T68" fmla="*/ 5 w 16"/>
                <a:gd name="T69" fmla="*/ 23 h 24"/>
                <a:gd name="T70" fmla="*/ 9 w 16"/>
                <a:gd name="T71" fmla="*/ 24 h 24"/>
                <a:gd name="T72" fmla="*/ 11 w 16"/>
                <a:gd name="T73" fmla="*/ 23 h 24"/>
                <a:gd name="T74" fmla="*/ 13 w 16"/>
                <a:gd name="T75" fmla="*/ 23 h 24"/>
                <a:gd name="T76" fmla="*/ 15 w 16"/>
                <a:gd name="T77" fmla="*/ 22 h 24"/>
                <a:gd name="T78" fmla="*/ 16 w 16"/>
                <a:gd name="T79" fmla="*/ 21 h 24"/>
                <a:gd name="T80" fmla="*/ 16 w 16"/>
                <a:gd name="T81" fmla="*/ 21 h 24"/>
                <a:gd name="T82" fmla="*/ 16 w 16"/>
                <a:gd name="T83" fmla="*/ 21 h 24"/>
                <a:gd name="T84" fmla="*/ 16 w 16"/>
                <a:gd name="T85" fmla="*/ 20 h 24"/>
                <a:gd name="T86" fmla="*/ 16 w 16"/>
                <a:gd name="T87" fmla="*/ 19 h 24"/>
                <a:gd name="T88" fmla="*/ 16 w 16"/>
                <a:gd name="T8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24">
                  <a:moveTo>
                    <a:pt x="16" y="19"/>
                  </a:moveTo>
                  <a:cubicBezTo>
                    <a:pt x="16" y="18"/>
                    <a:pt x="16" y="18"/>
                    <a:pt x="16" y="18"/>
                  </a:cubicBezTo>
                  <a:cubicBezTo>
                    <a:pt x="16" y="18"/>
                    <a:pt x="16" y="18"/>
                    <a:pt x="16" y="18"/>
                  </a:cubicBezTo>
                  <a:cubicBezTo>
                    <a:pt x="16" y="18"/>
                    <a:pt x="16" y="18"/>
                    <a:pt x="16" y="18"/>
                  </a:cubicBezTo>
                  <a:cubicBezTo>
                    <a:pt x="15" y="18"/>
                    <a:pt x="15" y="18"/>
                    <a:pt x="15" y="18"/>
                  </a:cubicBezTo>
                  <a:cubicBezTo>
                    <a:pt x="14" y="18"/>
                    <a:pt x="14" y="19"/>
                    <a:pt x="14" y="19"/>
                  </a:cubicBezTo>
                  <a:cubicBezTo>
                    <a:pt x="13" y="19"/>
                    <a:pt x="13" y="20"/>
                    <a:pt x="12" y="20"/>
                  </a:cubicBezTo>
                  <a:cubicBezTo>
                    <a:pt x="11" y="20"/>
                    <a:pt x="10" y="20"/>
                    <a:pt x="10" y="20"/>
                  </a:cubicBezTo>
                  <a:cubicBezTo>
                    <a:pt x="9" y="20"/>
                    <a:pt x="8" y="20"/>
                    <a:pt x="7" y="20"/>
                  </a:cubicBezTo>
                  <a:cubicBezTo>
                    <a:pt x="6" y="19"/>
                    <a:pt x="6" y="19"/>
                    <a:pt x="5" y="18"/>
                  </a:cubicBezTo>
                  <a:cubicBezTo>
                    <a:pt x="5" y="18"/>
                    <a:pt x="4" y="17"/>
                    <a:pt x="4" y="16"/>
                  </a:cubicBezTo>
                  <a:cubicBezTo>
                    <a:pt x="4" y="15"/>
                    <a:pt x="4" y="13"/>
                    <a:pt x="4" y="12"/>
                  </a:cubicBezTo>
                  <a:cubicBezTo>
                    <a:pt x="4" y="9"/>
                    <a:pt x="4" y="7"/>
                    <a:pt x="5" y="6"/>
                  </a:cubicBezTo>
                  <a:cubicBezTo>
                    <a:pt x="6" y="4"/>
                    <a:pt x="8" y="4"/>
                    <a:pt x="9" y="4"/>
                  </a:cubicBezTo>
                  <a:cubicBezTo>
                    <a:pt x="10" y="4"/>
                    <a:pt x="11" y="4"/>
                    <a:pt x="12" y="4"/>
                  </a:cubicBezTo>
                  <a:cubicBezTo>
                    <a:pt x="12" y="4"/>
                    <a:pt x="13" y="5"/>
                    <a:pt x="13" y="5"/>
                  </a:cubicBezTo>
                  <a:cubicBezTo>
                    <a:pt x="14" y="5"/>
                    <a:pt x="14" y="6"/>
                    <a:pt x="15" y="6"/>
                  </a:cubicBezTo>
                  <a:cubicBezTo>
                    <a:pt x="15" y="6"/>
                    <a:pt x="15" y="6"/>
                    <a:pt x="15" y="6"/>
                  </a:cubicBezTo>
                  <a:cubicBezTo>
                    <a:pt x="16" y="6"/>
                    <a:pt x="16" y="6"/>
                    <a:pt x="16" y="6"/>
                  </a:cubicBezTo>
                  <a:cubicBezTo>
                    <a:pt x="16" y="6"/>
                    <a:pt x="16" y="5"/>
                    <a:pt x="16" y="5"/>
                  </a:cubicBezTo>
                  <a:cubicBezTo>
                    <a:pt x="16" y="4"/>
                    <a:pt x="16" y="4"/>
                    <a:pt x="16" y="4"/>
                  </a:cubicBezTo>
                  <a:cubicBezTo>
                    <a:pt x="16" y="4"/>
                    <a:pt x="16" y="3"/>
                    <a:pt x="16" y="3"/>
                  </a:cubicBezTo>
                  <a:cubicBezTo>
                    <a:pt x="16" y="3"/>
                    <a:pt x="16" y="3"/>
                    <a:pt x="16" y="3"/>
                  </a:cubicBezTo>
                  <a:cubicBezTo>
                    <a:pt x="16" y="3"/>
                    <a:pt x="16" y="3"/>
                    <a:pt x="15" y="3"/>
                  </a:cubicBezTo>
                  <a:cubicBezTo>
                    <a:pt x="15" y="2"/>
                    <a:pt x="15" y="2"/>
                    <a:pt x="15" y="2"/>
                  </a:cubicBezTo>
                  <a:cubicBezTo>
                    <a:pt x="14" y="2"/>
                    <a:pt x="14" y="1"/>
                    <a:pt x="13" y="1"/>
                  </a:cubicBezTo>
                  <a:cubicBezTo>
                    <a:pt x="13" y="1"/>
                    <a:pt x="12" y="1"/>
                    <a:pt x="11" y="1"/>
                  </a:cubicBezTo>
                  <a:cubicBezTo>
                    <a:pt x="11" y="1"/>
                    <a:pt x="10" y="0"/>
                    <a:pt x="9" y="0"/>
                  </a:cubicBezTo>
                  <a:cubicBezTo>
                    <a:pt x="8" y="0"/>
                    <a:pt x="7" y="1"/>
                    <a:pt x="6" y="1"/>
                  </a:cubicBezTo>
                  <a:cubicBezTo>
                    <a:pt x="4" y="2"/>
                    <a:pt x="3" y="2"/>
                    <a:pt x="2" y="3"/>
                  </a:cubicBezTo>
                  <a:cubicBezTo>
                    <a:pt x="2" y="4"/>
                    <a:pt x="1" y="5"/>
                    <a:pt x="0" y="7"/>
                  </a:cubicBezTo>
                  <a:cubicBezTo>
                    <a:pt x="0" y="8"/>
                    <a:pt x="0" y="10"/>
                    <a:pt x="0" y="12"/>
                  </a:cubicBezTo>
                  <a:cubicBezTo>
                    <a:pt x="0" y="14"/>
                    <a:pt x="0" y="16"/>
                    <a:pt x="0" y="17"/>
                  </a:cubicBezTo>
                  <a:cubicBezTo>
                    <a:pt x="1" y="19"/>
                    <a:pt x="1" y="20"/>
                    <a:pt x="2" y="21"/>
                  </a:cubicBezTo>
                  <a:cubicBezTo>
                    <a:pt x="3" y="22"/>
                    <a:pt x="4" y="22"/>
                    <a:pt x="5" y="23"/>
                  </a:cubicBezTo>
                  <a:cubicBezTo>
                    <a:pt x="6" y="23"/>
                    <a:pt x="7" y="24"/>
                    <a:pt x="9" y="24"/>
                  </a:cubicBezTo>
                  <a:cubicBezTo>
                    <a:pt x="10" y="24"/>
                    <a:pt x="10" y="24"/>
                    <a:pt x="11" y="23"/>
                  </a:cubicBezTo>
                  <a:cubicBezTo>
                    <a:pt x="12" y="23"/>
                    <a:pt x="12" y="23"/>
                    <a:pt x="13" y="23"/>
                  </a:cubicBezTo>
                  <a:cubicBezTo>
                    <a:pt x="14" y="23"/>
                    <a:pt x="14" y="22"/>
                    <a:pt x="15" y="22"/>
                  </a:cubicBezTo>
                  <a:cubicBezTo>
                    <a:pt x="15" y="22"/>
                    <a:pt x="15" y="22"/>
                    <a:pt x="16" y="21"/>
                  </a:cubicBezTo>
                  <a:cubicBezTo>
                    <a:pt x="16" y="21"/>
                    <a:pt x="16" y="21"/>
                    <a:pt x="16" y="21"/>
                  </a:cubicBezTo>
                  <a:cubicBezTo>
                    <a:pt x="16" y="21"/>
                    <a:pt x="16" y="21"/>
                    <a:pt x="16" y="21"/>
                  </a:cubicBezTo>
                  <a:cubicBezTo>
                    <a:pt x="16" y="20"/>
                    <a:pt x="16" y="20"/>
                    <a:pt x="16" y="20"/>
                  </a:cubicBezTo>
                  <a:cubicBezTo>
                    <a:pt x="16" y="20"/>
                    <a:pt x="16" y="20"/>
                    <a:pt x="16" y="19"/>
                  </a:cubicBezTo>
                  <a:cubicBezTo>
                    <a:pt x="16" y="19"/>
                    <a:pt x="16" y="19"/>
                    <a:pt x="16" y="1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92">
              <a:extLst>
                <a:ext uri="{FF2B5EF4-FFF2-40B4-BE49-F238E27FC236}">
                  <a16:creationId xmlns:a16="http://schemas.microsoft.com/office/drawing/2014/main" id="{4483A5A3-C349-4634-BD96-CD9BAC908AE4}"/>
                </a:ext>
              </a:extLst>
            </p:cNvPr>
            <p:cNvSpPr>
              <a:spLocks/>
            </p:cNvSpPr>
            <p:nvPr/>
          </p:nvSpPr>
          <p:spPr bwMode="auto">
            <a:xfrm>
              <a:off x="5715133" y="2760202"/>
              <a:ext cx="50502" cy="82247"/>
            </a:xfrm>
            <a:custGeom>
              <a:avLst/>
              <a:gdLst>
                <a:gd name="T0" fmla="*/ 14 w 15"/>
                <a:gd name="T1" fmla="*/ 14 h 24"/>
                <a:gd name="T2" fmla="*/ 13 w 15"/>
                <a:gd name="T3" fmla="*/ 13 h 24"/>
                <a:gd name="T4" fmla="*/ 11 w 15"/>
                <a:gd name="T5" fmla="*/ 12 h 24"/>
                <a:gd name="T6" fmla="*/ 9 w 15"/>
                <a:gd name="T7" fmla="*/ 11 h 24"/>
                <a:gd name="T8" fmla="*/ 7 w 15"/>
                <a:gd name="T9" fmla="*/ 10 h 24"/>
                <a:gd name="T10" fmla="*/ 6 w 15"/>
                <a:gd name="T11" fmla="*/ 9 h 24"/>
                <a:gd name="T12" fmla="*/ 4 w 15"/>
                <a:gd name="T13" fmla="*/ 8 h 24"/>
                <a:gd name="T14" fmla="*/ 4 w 15"/>
                <a:gd name="T15" fmla="*/ 6 h 24"/>
                <a:gd name="T16" fmla="*/ 4 w 15"/>
                <a:gd name="T17" fmla="*/ 5 h 24"/>
                <a:gd name="T18" fmla="*/ 5 w 15"/>
                <a:gd name="T19" fmla="*/ 4 h 24"/>
                <a:gd name="T20" fmla="*/ 6 w 15"/>
                <a:gd name="T21" fmla="*/ 4 h 24"/>
                <a:gd name="T22" fmla="*/ 8 w 15"/>
                <a:gd name="T23" fmla="*/ 3 h 24"/>
                <a:gd name="T24" fmla="*/ 10 w 15"/>
                <a:gd name="T25" fmla="*/ 4 h 24"/>
                <a:gd name="T26" fmla="*/ 11 w 15"/>
                <a:gd name="T27" fmla="*/ 4 h 24"/>
                <a:gd name="T28" fmla="*/ 12 w 15"/>
                <a:gd name="T29" fmla="*/ 5 h 24"/>
                <a:gd name="T30" fmla="*/ 13 w 15"/>
                <a:gd name="T31" fmla="*/ 5 h 24"/>
                <a:gd name="T32" fmla="*/ 13 w 15"/>
                <a:gd name="T33" fmla="*/ 5 h 24"/>
                <a:gd name="T34" fmla="*/ 13 w 15"/>
                <a:gd name="T35" fmla="*/ 5 h 24"/>
                <a:gd name="T36" fmla="*/ 13 w 15"/>
                <a:gd name="T37" fmla="*/ 4 h 24"/>
                <a:gd name="T38" fmla="*/ 13 w 15"/>
                <a:gd name="T39" fmla="*/ 4 h 24"/>
                <a:gd name="T40" fmla="*/ 13 w 15"/>
                <a:gd name="T41" fmla="*/ 3 h 24"/>
                <a:gd name="T42" fmla="*/ 13 w 15"/>
                <a:gd name="T43" fmla="*/ 2 h 24"/>
                <a:gd name="T44" fmla="*/ 13 w 15"/>
                <a:gd name="T45" fmla="*/ 2 h 24"/>
                <a:gd name="T46" fmla="*/ 13 w 15"/>
                <a:gd name="T47" fmla="*/ 2 h 24"/>
                <a:gd name="T48" fmla="*/ 12 w 15"/>
                <a:gd name="T49" fmla="*/ 1 h 24"/>
                <a:gd name="T50" fmla="*/ 11 w 15"/>
                <a:gd name="T51" fmla="*/ 1 h 24"/>
                <a:gd name="T52" fmla="*/ 9 w 15"/>
                <a:gd name="T53" fmla="*/ 1 h 24"/>
                <a:gd name="T54" fmla="*/ 8 w 15"/>
                <a:gd name="T55" fmla="*/ 0 h 24"/>
                <a:gd name="T56" fmla="*/ 4 w 15"/>
                <a:gd name="T57" fmla="*/ 1 h 24"/>
                <a:gd name="T58" fmla="*/ 2 w 15"/>
                <a:gd name="T59" fmla="*/ 2 h 24"/>
                <a:gd name="T60" fmla="*/ 1 w 15"/>
                <a:gd name="T61" fmla="*/ 4 h 24"/>
                <a:gd name="T62" fmla="*/ 0 w 15"/>
                <a:gd name="T63" fmla="*/ 7 h 24"/>
                <a:gd name="T64" fmla="*/ 1 w 15"/>
                <a:gd name="T65" fmla="*/ 9 h 24"/>
                <a:gd name="T66" fmla="*/ 2 w 15"/>
                <a:gd name="T67" fmla="*/ 11 h 24"/>
                <a:gd name="T68" fmla="*/ 3 w 15"/>
                <a:gd name="T69" fmla="*/ 12 h 24"/>
                <a:gd name="T70" fmla="*/ 5 w 15"/>
                <a:gd name="T71" fmla="*/ 13 h 24"/>
                <a:gd name="T72" fmla="*/ 7 w 15"/>
                <a:gd name="T73" fmla="*/ 14 h 24"/>
                <a:gd name="T74" fmla="*/ 9 w 15"/>
                <a:gd name="T75" fmla="*/ 15 h 24"/>
                <a:gd name="T76" fmla="*/ 10 w 15"/>
                <a:gd name="T77" fmla="*/ 16 h 24"/>
                <a:gd name="T78" fmla="*/ 11 w 15"/>
                <a:gd name="T79" fmla="*/ 17 h 24"/>
                <a:gd name="T80" fmla="*/ 10 w 15"/>
                <a:gd name="T81" fmla="*/ 19 h 24"/>
                <a:gd name="T82" fmla="*/ 9 w 15"/>
                <a:gd name="T83" fmla="*/ 20 h 24"/>
                <a:gd name="T84" fmla="*/ 8 w 15"/>
                <a:gd name="T85" fmla="*/ 20 h 24"/>
                <a:gd name="T86" fmla="*/ 6 w 15"/>
                <a:gd name="T87" fmla="*/ 21 h 24"/>
                <a:gd name="T88" fmla="*/ 4 w 15"/>
                <a:gd name="T89" fmla="*/ 20 h 24"/>
                <a:gd name="T90" fmla="*/ 2 w 15"/>
                <a:gd name="T91" fmla="*/ 20 h 24"/>
                <a:gd name="T92" fmla="*/ 1 w 15"/>
                <a:gd name="T93" fmla="*/ 19 h 24"/>
                <a:gd name="T94" fmla="*/ 0 w 15"/>
                <a:gd name="T95" fmla="*/ 18 h 24"/>
                <a:gd name="T96" fmla="*/ 0 w 15"/>
                <a:gd name="T97" fmla="*/ 19 h 24"/>
                <a:gd name="T98" fmla="*/ 0 w 15"/>
                <a:gd name="T99" fmla="*/ 19 h 24"/>
                <a:gd name="T100" fmla="*/ 0 w 15"/>
                <a:gd name="T101" fmla="*/ 19 h 24"/>
                <a:gd name="T102" fmla="*/ 0 w 15"/>
                <a:gd name="T103" fmla="*/ 20 h 24"/>
                <a:gd name="T104" fmla="*/ 0 w 15"/>
                <a:gd name="T105" fmla="*/ 21 h 24"/>
                <a:gd name="T106" fmla="*/ 0 w 15"/>
                <a:gd name="T107" fmla="*/ 22 h 24"/>
                <a:gd name="T108" fmla="*/ 1 w 15"/>
                <a:gd name="T109" fmla="*/ 22 h 24"/>
                <a:gd name="T110" fmla="*/ 2 w 15"/>
                <a:gd name="T111" fmla="*/ 23 h 24"/>
                <a:gd name="T112" fmla="*/ 4 w 15"/>
                <a:gd name="T113" fmla="*/ 23 h 24"/>
                <a:gd name="T114" fmla="*/ 6 w 15"/>
                <a:gd name="T115" fmla="*/ 24 h 24"/>
                <a:gd name="T116" fmla="*/ 10 w 15"/>
                <a:gd name="T117" fmla="*/ 23 h 24"/>
                <a:gd name="T118" fmla="*/ 12 w 15"/>
                <a:gd name="T119" fmla="*/ 22 h 24"/>
                <a:gd name="T120" fmla="*/ 14 w 15"/>
                <a:gd name="T121" fmla="*/ 20 h 24"/>
                <a:gd name="T122" fmla="*/ 15 w 15"/>
                <a:gd name="T123" fmla="*/ 17 h 24"/>
                <a:gd name="T124" fmla="*/ 14 w 15"/>
                <a:gd name="T125"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4">
                  <a:moveTo>
                    <a:pt x="14" y="14"/>
                  </a:moveTo>
                  <a:cubicBezTo>
                    <a:pt x="14" y="14"/>
                    <a:pt x="13" y="13"/>
                    <a:pt x="13" y="13"/>
                  </a:cubicBezTo>
                  <a:cubicBezTo>
                    <a:pt x="12" y="12"/>
                    <a:pt x="12" y="12"/>
                    <a:pt x="11" y="12"/>
                  </a:cubicBezTo>
                  <a:cubicBezTo>
                    <a:pt x="10" y="11"/>
                    <a:pt x="10" y="11"/>
                    <a:pt x="9" y="11"/>
                  </a:cubicBezTo>
                  <a:cubicBezTo>
                    <a:pt x="9" y="10"/>
                    <a:pt x="8" y="10"/>
                    <a:pt x="7" y="10"/>
                  </a:cubicBezTo>
                  <a:cubicBezTo>
                    <a:pt x="7" y="10"/>
                    <a:pt x="6" y="9"/>
                    <a:pt x="6" y="9"/>
                  </a:cubicBezTo>
                  <a:cubicBezTo>
                    <a:pt x="5" y="9"/>
                    <a:pt x="5" y="8"/>
                    <a:pt x="4" y="8"/>
                  </a:cubicBezTo>
                  <a:cubicBezTo>
                    <a:pt x="4" y="8"/>
                    <a:pt x="4" y="7"/>
                    <a:pt x="4" y="6"/>
                  </a:cubicBezTo>
                  <a:cubicBezTo>
                    <a:pt x="4" y="6"/>
                    <a:pt x="4" y="6"/>
                    <a:pt x="4" y="5"/>
                  </a:cubicBezTo>
                  <a:cubicBezTo>
                    <a:pt x="4" y="5"/>
                    <a:pt x="4" y="5"/>
                    <a:pt x="5" y="4"/>
                  </a:cubicBezTo>
                  <a:cubicBezTo>
                    <a:pt x="5" y="4"/>
                    <a:pt x="6" y="4"/>
                    <a:pt x="6" y="4"/>
                  </a:cubicBezTo>
                  <a:cubicBezTo>
                    <a:pt x="7" y="3"/>
                    <a:pt x="7" y="3"/>
                    <a:pt x="8" y="3"/>
                  </a:cubicBezTo>
                  <a:cubicBezTo>
                    <a:pt x="8" y="3"/>
                    <a:pt x="9" y="4"/>
                    <a:pt x="10" y="4"/>
                  </a:cubicBezTo>
                  <a:cubicBezTo>
                    <a:pt x="10" y="4"/>
                    <a:pt x="11" y="4"/>
                    <a:pt x="11" y="4"/>
                  </a:cubicBezTo>
                  <a:cubicBezTo>
                    <a:pt x="12" y="4"/>
                    <a:pt x="12" y="5"/>
                    <a:pt x="12" y="5"/>
                  </a:cubicBezTo>
                  <a:cubicBezTo>
                    <a:pt x="13" y="5"/>
                    <a:pt x="13" y="5"/>
                    <a:pt x="13" y="5"/>
                  </a:cubicBezTo>
                  <a:cubicBezTo>
                    <a:pt x="13" y="5"/>
                    <a:pt x="13" y="5"/>
                    <a:pt x="13" y="5"/>
                  </a:cubicBezTo>
                  <a:cubicBezTo>
                    <a:pt x="13" y="5"/>
                    <a:pt x="13" y="5"/>
                    <a:pt x="13" y="5"/>
                  </a:cubicBezTo>
                  <a:cubicBezTo>
                    <a:pt x="13" y="5"/>
                    <a:pt x="13" y="4"/>
                    <a:pt x="13" y="4"/>
                  </a:cubicBezTo>
                  <a:cubicBezTo>
                    <a:pt x="13" y="4"/>
                    <a:pt x="13" y="4"/>
                    <a:pt x="13" y="4"/>
                  </a:cubicBezTo>
                  <a:cubicBezTo>
                    <a:pt x="13" y="3"/>
                    <a:pt x="13" y="3"/>
                    <a:pt x="13" y="3"/>
                  </a:cubicBezTo>
                  <a:cubicBezTo>
                    <a:pt x="13" y="3"/>
                    <a:pt x="13" y="3"/>
                    <a:pt x="13" y="2"/>
                  </a:cubicBezTo>
                  <a:cubicBezTo>
                    <a:pt x="13" y="2"/>
                    <a:pt x="13" y="2"/>
                    <a:pt x="13" y="2"/>
                  </a:cubicBezTo>
                  <a:cubicBezTo>
                    <a:pt x="13" y="2"/>
                    <a:pt x="13" y="2"/>
                    <a:pt x="13" y="2"/>
                  </a:cubicBezTo>
                  <a:cubicBezTo>
                    <a:pt x="13" y="2"/>
                    <a:pt x="12" y="2"/>
                    <a:pt x="12" y="1"/>
                  </a:cubicBezTo>
                  <a:cubicBezTo>
                    <a:pt x="12" y="1"/>
                    <a:pt x="11" y="1"/>
                    <a:pt x="11" y="1"/>
                  </a:cubicBezTo>
                  <a:cubicBezTo>
                    <a:pt x="11" y="1"/>
                    <a:pt x="10" y="1"/>
                    <a:pt x="9" y="1"/>
                  </a:cubicBezTo>
                  <a:cubicBezTo>
                    <a:pt x="9" y="0"/>
                    <a:pt x="8" y="0"/>
                    <a:pt x="8" y="0"/>
                  </a:cubicBezTo>
                  <a:cubicBezTo>
                    <a:pt x="7" y="0"/>
                    <a:pt x="5" y="1"/>
                    <a:pt x="4" y="1"/>
                  </a:cubicBezTo>
                  <a:cubicBezTo>
                    <a:pt x="3" y="1"/>
                    <a:pt x="3" y="2"/>
                    <a:pt x="2" y="2"/>
                  </a:cubicBezTo>
                  <a:cubicBezTo>
                    <a:pt x="1" y="3"/>
                    <a:pt x="1" y="4"/>
                    <a:pt x="1" y="4"/>
                  </a:cubicBezTo>
                  <a:cubicBezTo>
                    <a:pt x="0" y="5"/>
                    <a:pt x="0" y="6"/>
                    <a:pt x="0" y="7"/>
                  </a:cubicBezTo>
                  <a:cubicBezTo>
                    <a:pt x="0" y="8"/>
                    <a:pt x="0" y="8"/>
                    <a:pt x="1" y="9"/>
                  </a:cubicBezTo>
                  <a:cubicBezTo>
                    <a:pt x="1" y="10"/>
                    <a:pt x="1" y="10"/>
                    <a:pt x="2" y="11"/>
                  </a:cubicBezTo>
                  <a:cubicBezTo>
                    <a:pt x="2" y="11"/>
                    <a:pt x="3" y="12"/>
                    <a:pt x="3" y="12"/>
                  </a:cubicBezTo>
                  <a:cubicBezTo>
                    <a:pt x="4" y="12"/>
                    <a:pt x="5" y="13"/>
                    <a:pt x="5" y="13"/>
                  </a:cubicBezTo>
                  <a:cubicBezTo>
                    <a:pt x="6" y="13"/>
                    <a:pt x="7" y="13"/>
                    <a:pt x="7" y="14"/>
                  </a:cubicBezTo>
                  <a:cubicBezTo>
                    <a:pt x="8" y="14"/>
                    <a:pt x="9" y="14"/>
                    <a:pt x="9" y="15"/>
                  </a:cubicBezTo>
                  <a:cubicBezTo>
                    <a:pt x="10" y="15"/>
                    <a:pt x="10" y="15"/>
                    <a:pt x="10" y="16"/>
                  </a:cubicBezTo>
                  <a:cubicBezTo>
                    <a:pt x="11" y="16"/>
                    <a:pt x="11" y="17"/>
                    <a:pt x="11" y="17"/>
                  </a:cubicBezTo>
                  <a:cubicBezTo>
                    <a:pt x="11" y="18"/>
                    <a:pt x="11" y="18"/>
                    <a:pt x="10" y="19"/>
                  </a:cubicBezTo>
                  <a:cubicBezTo>
                    <a:pt x="10" y="19"/>
                    <a:pt x="10" y="19"/>
                    <a:pt x="9" y="20"/>
                  </a:cubicBezTo>
                  <a:cubicBezTo>
                    <a:pt x="9" y="20"/>
                    <a:pt x="9" y="20"/>
                    <a:pt x="8" y="20"/>
                  </a:cubicBezTo>
                  <a:cubicBezTo>
                    <a:pt x="8" y="20"/>
                    <a:pt x="7" y="21"/>
                    <a:pt x="6" y="21"/>
                  </a:cubicBezTo>
                  <a:cubicBezTo>
                    <a:pt x="5" y="21"/>
                    <a:pt x="5" y="20"/>
                    <a:pt x="4" y="20"/>
                  </a:cubicBezTo>
                  <a:cubicBezTo>
                    <a:pt x="3" y="20"/>
                    <a:pt x="3" y="20"/>
                    <a:pt x="2" y="20"/>
                  </a:cubicBezTo>
                  <a:cubicBezTo>
                    <a:pt x="2" y="19"/>
                    <a:pt x="1" y="19"/>
                    <a:pt x="1" y="19"/>
                  </a:cubicBezTo>
                  <a:cubicBezTo>
                    <a:pt x="1" y="19"/>
                    <a:pt x="0" y="18"/>
                    <a:pt x="0" y="18"/>
                  </a:cubicBezTo>
                  <a:cubicBezTo>
                    <a:pt x="0" y="18"/>
                    <a:pt x="0" y="19"/>
                    <a:pt x="0" y="19"/>
                  </a:cubicBezTo>
                  <a:cubicBezTo>
                    <a:pt x="0" y="19"/>
                    <a:pt x="0" y="19"/>
                    <a:pt x="0" y="19"/>
                  </a:cubicBezTo>
                  <a:cubicBezTo>
                    <a:pt x="0" y="19"/>
                    <a:pt x="0" y="19"/>
                    <a:pt x="0" y="19"/>
                  </a:cubicBezTo>
                  <a:cubicBezTo>
                    <a:pt x="0" y="20"/>
                    <a:pt x="0" y="20"/>
                    <a:pt x="0" y="20"/>
                  </a:cubicBezTo>
                  <a:cubicBezTo>
                    <a:pt x="0" y="21"/>
                    <a:pt x="0" y="21"/>
                    <a:pt x="0" y="21"/>
                  </a:cubicBezTo>
                  <a:cubicBezTo>
                    <a:pt x="0" y="22"/>
                    <a:pt x="0" y="22"/>
                    <a:pt x="0" y="22"/>
                  </a:cubicBezTo>
                  <a:cubicBezTo>
                    <a:pt x="0" y="22"/>
                    <a:pt x="1" y="22"/>
                    <a:pt x="1" y="22"/>
                  </a:cubicBezTo>
                  <a:cubicBezTo>
                    <a:pt x="1" y="23"/>
                    <a:pt x="2" y="23"/>
                    <a:pt x="2" y="23"/>
                  </a:cubicBezTo>
                  <a:cubicBezTo>
                    <a:pt x="3" y="23"/>
                    <a:pt x="3" y="23"/>
                    <a:pt x="4" y="23"/>
                  </a:cubicBezTo>
                  <a:cubicBezTo>
                    <a:pt x="5" y="24"/>
                    <a:pt x="6" y="24"/>
                    <a:pt x="6" y="24"/>
                  </a:cubicBezTo>
                  <a:cubicBezTo>
                    <a:pt x="7" y="24"/>
                    <a:pt x="9" y="23"/>
                    <a:pt x="10" y="23"/>
                  </a:cubicBezTo>
                  <a:cubicBezTo>
                    <a:pt x="11" y="23"/>
                    <a:pt x="12" y="22"/>
                    <a:pt x="12" y="22"/>
                  </a:cubicBezTo>
                  <a:cubicBezTo>
                    <a:pt x="13" y="21"/>
                    <a:pt x="14" y="21"/>
                    <a:pt x="14" y="20"/>
                  </a:cubicBezTo>
                  <a:cubicBezTo>
                    <a:pt x="14" y="19"/>
                    <a:pt x="15" y="18"/>
                    <a:pt x="15" y="17"/>
                  </a:cubicBezTo>
                  <a:cubicBezTo>
                    <a:pt x="15" y="16"/>
                    <a:pt x="14" y="15"/>
                    <a:pt x="14"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93">
              <a:extLst>
                <a:ext uri="{FF2B5EF4-FFF2-40B4-BE49-F238E27FC236}">
                  <a16:creationId xmlns:a16="http://schemas.microsoft.com/office/drawing/2014/main" id="{415BF401-FFF4-4166-8667-C25BF63EA9EB}"/>
                </a:ext>
              </a:extLst>
            </p:cNvPr>
            <p:cNvSpPr>
              <a:spLocks noEditPoints="1"/>
            </p:cNvSpPr>
            <p:nvPr/>
          </p:nvSpPr>
          <p:spPr bwMode="auto">
            <a:xfrm>
              <a:off x="5111995" y="4892829"/>
              <a:ext cx="1630493" cy="134191"/>
            </a:xfrm>
            <a:custGeom>
              <a:avLst/>
              <a:gdLst>
                <a:gd name="T0" fmla="*/ 3 w 476"/>
                <a:gd name="T1" fmla="*/ 31 h 39"/>
                <a:gd name="T2" fmla="*/ 26 w 476"/>
                <a:gd name="T3" fmla="*/ 30 h 39"/>
                <a:gd name="T4" fmla="*/ 45 w 476"/>
                <a:gd name="T5" fmla="*/ 28 h 39"/>
                <a:gd name="T6" fmla="*/ 35 w 476"/>
                <a:gd name="T7" fmla="*/ 9 h 39"/>
                <a:gd name="T8" fmla="*/ 49 w 476"/>
                <a:gd name="T9" fmla="*/ 9 h 39"/>
                <a:gd name="T10" fmla="*/ 54 w 476"/>
                <a:gd name="T11" fmla="*/ 12 h 39"/>
                <a:gd name="T12" fmla="*/ 61 w 476"/>
                <a:gd name="T13" fmla="*/ 3 h 39"/>
                <a:gd name="T14" fmla="*/ 66 w 476"/>
                <a:gd name="T15" fmla="*/ 28 h 39"/>
                <a:gd name="T16" fmla="*/ 71 w 476"/>
                <a:gd name="T17" fmla="*/ 20 h 39"/>
                <a:gd name="T18" fmla="*/ 77 w 476"/>
                <a:gd name="T19" fmla="*/ 14 h 39"/>
                <a:gd name="T20" fmla="*/ 127 w 476"/>
                <a:gd name="T21" fmla="*/ 31 h 39"/>
                <a:gd name="T22" fmla="*/ 115 w 476"/>
                <a:gd name="T23" fmla="*/ 31 h 39"/>
                <a:gd name="T24" fmla="*/ 101 w 476"/>
                <a:gd name="T25" fmla="*/ 31 h 39"/>
                <a:gd name="T26" fmla="*/ 101 w 476"/>
                <a:gd name="T27" fmla="*/ 9 h 39"/>
                <a:gd name="T28" fmla="*/ 129 w 476"/>
                <a:gd name="T29" fmla="*/ 17 h 39"/>
                <a:gd name="T30" fmla="*/ 135 w 476"/>
                <a:gd name="T31" fmla="*/ 25 h 39"/>
                <a:gd name="T32" fmla="*/ 137 w 476"/>
                <a:gd name="T33" fmla="*/ 13 h 39"/>
                <a:gd name="T34" fmla="*/ 149 w 476"/>
                <a:gd name="T35" fmla="*/ 21 h 39"/>
                <a:gd name="T36" fmla="*/ 179 w 476"/>
                <a:gd name="T37" fmla="*/ 31 h 39"/>
                <a:gd name="T38" fmla="*/ 170 w 476"/>
                <a:gd name="T39" fmla="*/ 27 h 39"/>
                <a:gd name="T40" fmla="*/ 161 w 476"/>
                <a:gd name="T41" fmla="*/ 24 h 39"/>
                <a:gd name="T42" fmla="*/ 163 w 476"/>
                <a:gd name="T43" fmla="*/ 3 h 39"/>
                <a:gd name="T44" fmla="*/ 179 w 476"/>
                <a:gd name="T45" fmla="*/ 0 h 39"/>
                <a:gd name="T46" fmla="*/ 200 w 476"/>
                <a:gd name="T47" fmla="*/ 9 h 39"/>
                <a:gd name="T48" fmla="*/ 193 w 476"/>
                <a:gd name="T49" fmla="*/ 27 h 39"/>
                <a:gd name="T50" fmla="*/ 226 w 476"/>
                <a:gd name="T51" fmla="*/ 18 h 39"/>
                <a:gd name="T52" fmla="*/ 212 w 476"/>
                <a:gd name="T53" fmla="*/ 30 h 39"/>
                <a:gd name="T54" fmla="*/ 230 w 476"/>
                <a:gd name="T55" fmla="*/ 14 h 39"/>
                <a:gd name="T56" fmla="*/ 251 w 476"/>
                <a:gd name="T57" fmla="*/ 1 h 39"/>
                <a:gd name="T58" fmla="*/ 264 w 476"/>
                <a:gd name="T59" fmla="*/ 14 h 39"/>
                <a:gd name="T60" fmla="*/ 290 w 476"/>
                <a:gd name="T61" fmla="*/ 31 h 39"/>
                <a:gd name="T62" fmla="*/ 276 w 476"/>
                <a:gd name="T63" fmla="*/ 31 h 39"/>
                <a:gd name="T64" fmla="*/ 276 w 476"/>
                <a:gd name="T65" fmla="*/ 9 h 39"/>
                <a:gd name="T66" fmla="*/ 313 w 476"/>
                <a:gd name="T67" fmla="*/ 16 h 39"/>
                <a:gd name="T68" fmla="*/ 315 w 476"/>
                <a:gd name="T69" fmla="*/ 32 h 39"/>
                <a:gd name="T70" fmla="*/ 297 w 476"/>
                <a:gd name="T71" fmla="*/ 23 h 39"/>
                <a:gd name="T72" fmla="*/ 307 w 476"/>
                <a:gd name="T73" fmla="*/ 30 h 39"/>
                <a:gd name="T74" fmla="*/ 303 w 476"/>
                <a:gd name="T75" fmla="*/ 12 h 39"/>
                <a:gd name="T76" fmla="*/ 320 w 476"/>
                <a:gd name="T77" fmla="*/ 0 h 39"/>
                <a:gd name="T78" fmla="*/ 321 w 476"/>
                <a:gd name="T79" fmla="*/ 9 h 39"/>
                <a:gd name="T80" fmla="*/ 346 w 476"/>
                <a:gd name="T81" fmla="*/ 31 h 39"/>
                <a:gd name="T82" fmla="*/ 332 w 476"/>
                <a:gd name="T83" fmla="*/ 31 h 39"/>
                <a:gd name="T84" fmla="*/ 346 w 476"/>
                <a:gd name="T85" fmla="*/ 9 h 39"/>
                <a:gd name="T86" fmla="*/ 373 w 476"/>
                <a:gd name="T87" fmla="*/ 27 h 39"/>
                <a:gd name="T88" fmla="*/ 358 w 476"/>
                <a:gd name="T89" fmla="*/ 28 h 39"/>
                <a:gd name="T90" fmla="*/ 363 w 476"/>
                <a:gd name="T91" fmla="*/ 12 h 39"/>
                <a:gd name="T92" fmla="*/ 397 w 476"/>
                <a:gd name="T93" fmla="*/ 27 h 39"/>
                <a:gd name="T94" fmla="*/ 382 w 476"/>
                <a:gd name="T95" fmla="*/ 28 h 39"/>
                <a:gd name="T96" fmla="*/ 387 w 476"/>
                <a:gd name="T97" fmla="*/ 12 h 39"/>
                <a:gd name="T98" fmla="*/ 412 w 476"/>
                <a:gd name="T99" fmla="*/ 13 h 39"/>
                <a:gd name="T100" fmla="*/ 406 w 476"/>
                <a:gd name="T101" fmla="*/ 9 h 39"/>
                <a:gd name="T102" fmla="*/ 417 w 476"/>
                <a:gd name="T103" fmla="*/ 9 h 39"/>
                <a:gd name="T104" fmla="*/ 426 w 476"/>
                <a:gd name="T105" fmla="*/ 31 h 39"/>
                <a:gd name="T106" fmla="*/ 426 w 476"/>
                <a:gd name="T107" fmla="*/ 9 h 39"/>
                <a:gd name="T108" fmla="*/ 443 w 476"/>
                <a:gd name="T109" fmla="*/ 12 h 39"/>
                <a:gd name="T110" fmla="*/ 434 w 476"/>
                <a:gd name="T111" fmla="*/ 9 h 39"/>
                <a:gd name="T112" fmla="*/ 476 w 476"/>
                <a:gd name="T113" fmla="*/ 11 h 39"/>
                <a:gd name="T114" fmla="*/ 469 w 476"/>
                <a:gd name="T115" fmla="*/ 27 h 39"/>
                <a:gd name="T116" fmla="*/ 458 w 476"/>
                <a:gd name="T117" fmla="*/ 30 h 39"/>
                <a:gd name="T118" fmla="*/ 476 w 476"/>
                <a:gd name="T119" fmla="*/ 9 h 39"/>
                <a:gd name="T120" fmla="*/ 472 w 476"/>
                <a:gd name="T121" fmla="*/ 3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6" h="39">
                  <a:moveTo>
                    <a:pt x="26" y="30"/>
                  </a:moveTo>
                  <a:cubicBezTo>
                    <a:pt x="26" y="30"/>
                    <a:pt x="26" y="30"/>
                    <a:pt x="26" y="30"/>
                  </a:cubicBezTo>
                  <a:cubicBezTo>
                    <a:pt x="26" y="31"/>
                    <a:pt x="26" y="31"/>
                    <a:pt x="26" y="31"/>
                  </a:cubicBezTo>
                  <a:cubicBezTo>
                    <a:pt x="26" y="31"/>
                    <a:pt x="26" y="31"/>
                    <a:pt x="25" y="31"/>
                  </a:cubicBezTo>
                  <a:cubicBezTo>
                    <a:pt x="25" y="31"/>
                    <a:pt x="25" y="31"/>
                    <a:pt x="24" y="31"/>
                  </a:cubicBezTo>
                  <a:cubicBezTo>
                    <a:pt x="24" y="31"/>
                    <a:pt x="23" y="31"/>
                    <a:pt x="23" y="31"/>
                  </a:cubicBezTo>
                  <a:cubicBezTo>
                    <a:pt x="23" y="31"/>
                    <a:pt x="23" y="31"/>
                    <a:pt x="22" y="31"/>
                  </a:cubicBezTo>
                  <a:cubicBezTo>
                    <a:pt x="22" y="31"/>
                    <a:pt x="22" y="31"/>
                    <a:pt x="22" y="31"/>
                  </a:cubicBezTo>
                  <a:cubicBezTo>
                    <a:pt x="22" y="31"/>
                    <a:pt x="22" y="30"/>
                    <a:pt x="22" y="30"/>
                  </a:cubicBezTo>
                  <a:cubicBezTo>
                    <a:pt x="19" y="23"/>
                    <a:pt x="19" y="23"/>
                    <a:pt x="19" y="23"/>
                  </a:cubicBezTo>
                  <a:cubicBezTo>
                    <a:pt x="7" y="23"/>
                    <a:pt x="7" y="23"/>
                    <a:pt x="7" y="23"/>
                  </a:cubicBezTo>
                  <a:cubicBezTo>
                    <a:pt x="4" y="30"/>
                    <a:pt x="4" y="30"/>
                    <a:pt x="4" y="30"/>
                  </a:cubicBezTo>
                  <a:cubicBezTo>
                    <a:pt x="4" y="30"/>
                    <a:pt x="4" y="31"/>
                    <a:pt x="4" y="31"/>
                  </a:cubicBezTo>
                  <a:cubicBezTo>
                    <a:pt x="4" y="31"/>
                    <a:pt x="4" y="31"/>
                    <a:pt x="4" y="31"/>
                  </a:cubicBezTo>
                  <a:cubicBezTo>
                    <a:pt x="4" y="31"/>
                    <a:pt x="3" y="31"/>
                    <a:pt x="3" y="31"/>
                  </a:cubicBezTo>
                  <a:cubicBezTo>
                    <a:pt x="3" y="31"/>
                    <a:pt x="2" y="31"/>
                    <a:pt x="2" y="31"/>
                  </a:cubicBezTo>
                  <a:cubicBezTo>
                    <a:pt x="1" y="31"/>
                    <a:pt x="1" y="31"/>
                    <a:pt x="1" y="31"/>
                  </a:cubicBezTo>
                  <a:cubicBezTo>
                    <a:pt x="1" y="31"/>
                    <a:pt x="0" y="31"/>
                    <a:pt x="0" y="31"/>
                  </a:cubicBezTo>
                  <a:cubicBezTo>
                    <a:pt x="0" y="31"/>
                    <a:pt x="0" y="31"/>
                    <a:pt x="0" y="30"/>
                  </a:cubicBezTo>
                  <a:cubicBezTo>
                    <a:pt x="0" y="30"/>
                    <a:pt x="0" y="30"/>
                    <a:pt x="0" y="29"/>
                  </a:cubicBezTo>
                  <a:cubicBezTo>
                    <a:pt x="10" y="1"/>
                    <a:pt x="10" y="1"/>
                    <a:pt x="10" y="1"/>
                  </a:cubicBezTo>
                  <a:cubicBezTo>
                    <a:pt x="10" y="1"/>
                    <a:pt x="11" y="1"/>
                    <a:pt x="11" y="1"/>
                  </a:cubicBezTo>
                  <a:cubicBezTo>
                    <a:pt x="11" y="1"/>
                    <a:pt x="11" y="1"/>
                    <a:pt x="11" y="1"/>
                  </a:cubicBezTo>
                  <a:cubicBezTo>
                    <a:pt x="11" y="1"/>
                    <a:pt x="12" y="1"/>
                    <a:pt x="12" y="0"/>
                  </a:cubicBezTo>
                  <a:cubicBezTo>
                    <a:pt x="12" y="0"/>
                    <a:pt x="13" y="0"/>
                    <a:pt x="13" y="0"/>
                  </a:cubicBezTo>
                  <a:cubicBezTo>
                    <a:pt x="14" y="0"/>
                    <a:pt x="14" y="0"/>
                    <a:pt x="14" y="0"/>
                  </a:cubicBezTo>
                  <a:cubicBezTo>
                    <a:pt x="15" y="1"/>
                    <a:pt x="15" y="1"/>
                    <a:pt x="15" y="1"/>
                  </a:cubicBezTo>
                  <a:cubicBezTo>
                    <a:pt x="15" y="1"/>
                    <a:pt x="15" y="1"/>
                    <a:pt x="16" y="1"/>
                  </a:cubicBezTo>
                  <a:cubicBezTo>
                    <a:pt x="16" y="1"/>
                    <a:pt x="16" y="1"/>
                    <a:pt x="16" y="1"/>
                  </a:cubicBezTo>
                  <a:lnTo>
                    <a:pt x="26" y="30"/>
                  </a:lnTo>
                  <a:close/>
                  <a:moveTo>
                    <a:pt x="13" y="5"/>
                  </a:moveTo>
                  <a:cubicBezTo>
                    <a:pt x="13" y="5"/>
                    <a:pt x="13" y="5"/>
                    <a:pt x="13" y="5"/>
                  </a:cubicBezTo>
                  <a:cubicBezTo>
                    <a:pt x="8" y="20"/>
                    <a:pt x="8" y="20"/>
                    <a:pt x="8" y="20"/>
                  </a:cubicBezTo>
                  <a:cubicBezTo>
                    <a:pt x="18" y="20"/>
                    <a:pt x="18" y="20"/>
                    <a:pt x="18" y="20"/>
                  </a:cubicBezTo>
                  <a:lnTo>
                    <a:pt x="13" y="5"/>
                  </a:lnTo>
                  <a:close/>
                  <a:moveTo>
                    <a:pt x="49" y="30"/>
                  </a:moveTo>
                  <a:cubicBezTo>
                    <a:pt x="49" y="30"/>
                    <a:pt x="49" y="31"/>
                    <a:pt x="49" y="31"/>
                  </a:cubicBezTo>
                  <a:cubicBezTo>
                    <a:pt x="49" y="31"/>
                    <a:pt x="49" y="31"/>
                    <a:pt x="48" y="31"/>
                  </a:cubicBezTo>
                  <a:cubicBezTo>
                    <a:pt x="48" y="31"/>
                    <a:pt x="48" y="31"/>
                    <a:pt x="48" y="31"/>
                  </a:cubicBezTo>
                  <a:cubicBezTo>
                    <a:pt x="48" y="31"/>
                    <a:pt x="47" y="31"/>
                    <a:pt x="47" y="31"/>
                  </a:cubicBezTo>
                  <a:cubicBezTo>
                    <a:pt x="47" y="31"/>
                    <a:pt x="46" y="31"/>
                    <a:pt x="46" y="31"/>
                  </a:cubicBezTo>
                  <a:cubicBezTo>
                    <a:pt x="46" y="31"/>
                    <a:pt x="46" y="31"/>
                    <a:pt x="46" y="31"/>
                  </a:cubicBezTo>
                  <a:cubicBezTo>
                    <a:pt x="46" y="31"/>
                    <a:pt x="45" y="31"/>
                    <a:pt x="45" y="31"/>
                  </a:cubicBezTo>
                  <a:cubicBezTo>
                    <a:pt x="45" y="31"/>
                    <a:pt x="45" y="30"/>
                    <a:pt x="45" y="30"/>
                  </a:cubicBezTo>
                  <a:cubicBezTo>
                    <a:pt x="45" y="28"/>
                    <a:pt x="45" y="28"/>
                    <a:pt x="45" y="28"/>
                  </a:cubicBezTo>
                  <a:cubicBezTo>
                    <a:pt x="44" y="29"/>
                    <a:pt x="43" y="30"/>
                    <a:pt x="42" y="30"/>
                  </a:cubicBezTo>
                  <a:cubicBezTo>
                    <a:pt x="41" y="31"/>
                    <a:pt x="39" y="31"/>
                    <a:pt x="38" y="31"/>
                  </a:cubicBezTo>
                  <a:cubicBezTo>
                    <a:pt x="37" y="31"/>
                    <a:pt x="36" y="31"/>
                    <a:pt x="35" y="31"/>
                  </a:cubicBezTo>
                  <a:cubicBezTo>
                    <a:pt x="34" y="30"/>
                    <a:pt x="33" y="30"/>
                    <a:pt x="32" y="29"/>
                  </a:cubicBezTo>
                  <a:cubicBezTo>
                    <a:pt x="32" y="28"/>
                    <a:pt x="31" y="27"/>
                    <a:pt x="31" y="26"/>
                  </a:cubicBezTo>
                  <a:cubicBezTo>
                    <a:pt x="31" y="25"/>
                    <a:pt x="31" y="24"/>
                    <a:pt x="31" y="22"/>
                  </a:cubicBezTo>
                  <a:cubicBezTo>
                    <a:pt x="31" y="9"/>
                    <a:pt x="31" y="9"/>
                    <a:pt x="31" y="9"/>
                  </a:cubicBezTo>
                  <a:cubicBezTo>
                    <a:pt x="31" y="9"/>
                    <a:pt x="31" y="9"/>
                    <a:pt x="31" y="9"/>
                  </a:cubicBezTo>
                  <a:cubicBezTo>
                    <a:pt x="31" y="9"/>
                    <a:pt x="31" y="9"/>
                    <a:pt x="31" y="9"/>
                  </a:cubicBezTo>
                  <a:cubicBezTo>
                    <a:pt x="31" y="9"/>
                    <a:pt x="31" y="9"/>
                    <a:pt x="32" y="9"/>
                  </a:cubicBezTo>
                  <a:cubicBezTo>
                    <a:pt x="32" y="9"/>
                    <a:pt x="32" y="9"/>
                    <a:pt x="33" y="9"/>
                  </a:cubicBezTo>
                  <a:cubicBezTo>
                    <a:pt x="33" y="9"/>
                    <a:pt x="33" y="9"/>
                    <a:pt x="34" y="9"/>
                  </a:cubicBezTo>
                  <a:cubicBezTo>
                    <a:pt x="34" y="9"/>
                    <a:pt x="34" y="9"/>
                    <a:pt x="34" y="9"/>
                  </a:cubicBezTo>
                  <a:cubicBezTo>
                    <a:pt x="34" y="9"/>
                    <a:pt x="34" y="9"/>
                    <a:pt x="34" y="9"/>
                  </a:cubicBezTo>
                  <a:cubicBezTo>
                    <a:pt x="35" y="9"/>
                    <a:pt x="35" y="9"/>
                    <a:pt x="35" y="9"/>
                  </a:cubicBezTo>
                  <a:cubicBezTo>
                    <a:pt x="35" y="22"/>
                    <a:pt x="35" y="22"/>
                    <a:pt x="35" y="22"/>
                  </a:cubicBezTo>
                  <a:cubicBezTo>
                    <a:pt x="35" y="23"/>
                    <a:pt x="35" y="24"/>
                    <a:pt x="35" y="24"/>
                  </a:cubicBezTo>
                  <a:cubicBezTo>
                    <a:pt x="35" y="25"/>
                    <a:pt x="35" y="26"/>
                    <a:pt x="36" y="26"/>
                  </a:cubicBezTo>
                  <a:cubicBezTo>
                    <a:pt x="36" y="27"/>
                    <a:pt x="36" y="27"/>
                    <a:pt x="37" y="28"/>
                  </a:cubicBezTo>
                  <a:cubicBezTo>
                    <a:pt x="38" y="28"/>
                    <a:pt x="38" y="28"/>
                    <a:pt x="39" y="28"/>
                  </a:cubicBezTo>
                  <a:cubicBezTo>
                    <a:pt x="40" y="28"/>
                    <a:pt x="41" y="28"/>
                    <a:pt x="42" y="27"/>
                  </a:cubicBezTo>
                  <a:cubicBezTo>
                    <a:pt x="43" y="26"/>
                    <a:pt x="44" y="25"/>
                    <a:pt x="45" y="24"/>
                  </a:cubicBezTo>
                  <a:cubicBezTo>
                    <a:pt x="45" y="9"/>
                    <a:pt x="45" y="9"/>
                    <a:pt x="45" y="9"/>
                  </a:cubicBezTo>
                  <a:cubicBezTo>
                    <a:pt x="45" y="9"/>
                    <a:pt x="45" y="9"/>
                    <a:pt x="45" y="9"/>
                  </a:cubicBezTo>
                  <a:cubicBezTo>
                    <a:pt x="45" y="9"/>
                    <a:pt x="45" y="9"/>
                    <a:pt x="45" y="9"/>
                  </a:cubicBezTo>
                  <a:cubicBezTo>
                    <a:pt x="46" y="9"/>
                    <a:pt x="46" y="9"/>
                    <a:pt x="46" y="9"/>
                  </a:cubicBezTo>
                  <a:cubicBezTo>
                    <a:pt x="46" y="9"/>
                    <a:pt x="47" y="9"/>
                    <a:pt x="47" y="9"/>
                  </a:cubicBezTo>
                  <a:cubicBezTo>
                    <a:pt x="47" y="9"/>
                    <a:pt x="48" y="9"/>
                    <a:pt x="48" y="9"/>
                  </a:cubicBezTo>
                  <a:cubicBezTo>
                    <a:pt x="48" y="9"/>
                    <a:pt x="48" y="9"/>
                    <a:pt x="48" y="9"/>
                  </a:cubicBezTo>
                  <a:cubicBezTo>
                    <a:pt x="49" y="9"/>
                    <a:pt x="49" y="9"/>
                    <a:pt x="49" y="9"/>
                  </a:cubicBezTo>
                  <a:cubicBezTo>
                    <a:pt x="49" y="9"/>
                    <a:pt x="49" y="9"/>
                    <a:pt x="49" y="9"/>
                  </a:cubicBezTo>
                  <a:lnTo>
                    <a:pt x="49" y="30"/>
                  </a:lnTo>
                  <a:close/>
                  <a:moveTo>
                    <a:pt x="67" y="29"/>
                  </a:moveTo>
                  <a:cubicBezTo>
                    <a:pt x="67" y="29"/>
                    <a:pt x="67" y="30"/>
                    <a:pt x="67" y="30"/>
                  </a:cubicBezTo>
                  <a:cubicBezTo>
                    <a:pt x="67" y="30"/>
                    <a:pt x="67" y="30"/>
                    <a:pt x="67" y="30"/>
                  </a:cubicBezTo>
                  <a:cubicBezTo>
                    <a:pt x="67" y="31"/>
                    <a:pt x="66" y="31"/>
                    <a:pt x="66" y="31"/>
                  </a:cubicBezTo>
                  <a:cubicBezTo>
                    <a:pt x="66" y="31"/>
                    <a:pt x="66" y="31"/>
                    <a:pt x="65" y="31"/>
                  </a:cubicBezTo>
                  <a:cubicBezTo>
                    <a:pt x="65" y="31"/>
                    <a:pt x="65" y="31"/>
                    <a:pt x="64" y="31"/>
                  </a:cubicBezTo>
                  <a:cubicBezTo>
                    <a:pt x="64" y="31"/>
                    <a:pt x="64" y="31"/>
                    <a:pt x="63" y="31"/>
                  </a:cubicBezTo>
                  <a:cubicBezTo>
                    <a:pt x="62" y="31"/>
                    <a:pt x="61" y="31"/>
                    <a:pt x="60" y="31"/>
                  </a:cubicBezTo>
                  <a:cubicBezTo>
                    <a:pt x="60" y="31"/>
                    <a:pt x="59" y="30"/>
                    <a:pt x="59" y="30"/>
                  </a:cubicBezTo>
                  <a:cubicBezTo>
                    <a:pt x="58" y="29"/>
                    <a:pt x="58" y="28"/>
                    <a:pt x="57" y="27"/>
                  </a:cubicBezTo>
                  <a:cubicBezTo>
                    <a:pt x="57" y="26"/>
                    <a:pt x="57" y="25"/>
                    <a:pt x="57" y="24"/>
                  </a:cubicBezTo>
                  <a:cubicBezTo>
                    <a:pt x="57" y="12"/>
                    <a:pt x="57" y="12"/>
                    <a:pt x="57" y="12"/>
                  </a:cubicBezTo>
                  <a:cubicBezTo>
                    <a:pt x="54" y="12"/>
                    <a:pt x="54" y="12"/>
                    <a:pt x="54" y="12"/>
                  </a:cubicBezTo>
                  <a:cubicBezTo>
                    <a:pt x="54" y="12"/>
                    <a:pt x="54" y="12"/>
                    <a:pt x="54" y="11"/>
                  </a:cubicBezTo>
                  <a:cubicBezTo>
                    <a:pt x="53" y="11"/>
                    <a:pt x="53" y="11"/>
                    <a:pt x="53" y="10"/>
                  </a:cubicBezTo>
                  <a:cubicBezTo>
                    <a:pt x="53" y="10"/>
                    <a:pt x="53" y="10"/>
                    <a:pt x="53" y="10"/>
                  </a:cubicBezTo>
                  <a:cubicBezTo>
                    <a:pt x="53" y="9"/>
                    <a:pt x="54" y="9"/>
                    <a:pt x="54" y="9"/>
                  </a:cubicBezTo>
                  <a:cubicBezTo>
                    <a:pt x="54" y="9"/>
                    <a:pt x="54" y="9"/>
                    <a:pt x="54" y="9"/>
                  </a:cubicBezTo>
                  <a:cubicBezTo>
                    <a:pt x="54" y="9"/>
                    <a:pt x="54" y="9"/>
                    <a:pt x="54" y="9"/>
                  </a:cubicBezTo>
                  <a:cubicBezTo>
                    <a:pt x="57" y="9"/>
                    <a:pt x="57" y="9"/>
                    <a:pt x="57" y="9"/>
                  </a:cubicBezTo>
                  <a:cubicBezTo>
                    <a:pt x="57" y="4"/>
                    <a:pt x="57" y="4"/>
                    <a:pt x="57" y="4"/>
                  </a:cubicBezTo>
                  <a:cubicBezTo>
                    <a:pt x="57" y="4"/>
                    <a:pt x="57" y="3"/>
                    <a:pt x="57" y="3"/>
                  </a:cubicBezTo>
                  <a:cubicBezTo>
                    <a:pt x="57" y="3"/>
                    <a:pt x="57" y="3"/>
                    <a:pt x="57" y="3"/>
                  </a:cubicBezTo>
                  <a:cubicBezTo>
                    <a:pt x="58" y="3"/>
                    <a:pt x="58" y="3"/>
                    <a:pt x="58" y="3"/>
                  </a:cubicBezTo>
                  <a:cubicBezTo>
                    <a:pt x="58" y="3"/>
                    <a:pt x="59" y="3"/>
                    <a:pt x="59" y="3"/>
                  </a:cubicBezTo>
                  <a:cubicBezTo>
                    <a:pt x="59" y="3"/>
                    <a:pt x="60" y="3"/>
                    <a:pt x="60" y="3"/>
                  </a:cubicBezTo>
                  <a:cubicBezTo>
                    <a:pt x="60" y="3"/>
                    <a:pt x="60" y="3"/>
                    <a:pt x="61" y="3"/>
                  </a:cubicBezTo>
                  <a:cubicBezTo>
                    <a:pt x="61" y="3"/>
                    <a:pt x="61" y="3"/>
                    <a:pt x="61" y="3"/>
                  </a:cubicBezTo>
                  <a:cubicBezTo>
                    <a:pt x="61" y="3"/>
                    <a:pt x="61" y="4"/>
                    <a:pt x="61" y="4"/>
                  </a:cubicBezTo>
                  <a:cubicBezTo>
                    <a:pt x="61" y="9"/>
                    <a:pt x="61" y="9"/>
                    <a:pt x="61" y="9"/>
                  </a:cubicBezTo>
                  <a:cubicBezTo>
                    <a:pt x="66" y="9"/>
                    <a:pt x="66" y="9"/>
                    <a:pt x="66" y="9"/>
                  </a:cubicBezTo>
                  <a:cubicBezTo>
                    <a:pt x="67" y="9"/>
                    <a:pt x="67" y="9"/>
                    <a:pt x="67" y="9"/>
                  </a:cubicBezTo>
                  <a:cubicBezTo>
                    <a:pt x="67" y="9"/>
                    <a:pt x="67" y="9"/>
                    <a:pt x="67" y="9"/>
                  </a:cubicBezTo>
                  <a:cubicBezTo>
                    <a:pt x="67" y="9"/>
                    <a:pt x="67" y="9"/>
                    <a:pt x="67" y="10"/>
                  </a:cubicBezTo>
                  <a:cubicBezTo>
                    <a:pt x="67" y="10"/>
                    <a:pt x="67" y="10"/>
                    <a:pt x="67" y="10"/>
                  </a:cubicBezTo>
                  <a:cubicBezTo>
                    <a:pt x="67" y="11"/>
                    <a:pt x="67" y="11"/>
                    <a:pt x="67" y="11"/>
                  </a:cubicBezTo>
                  <a:cubicBezTo>
                    <a:pt x="67" y="12"/>
                    <a:pt x="67" y="12"/>
                    <a:pt x="66" y="12"/>
                  </a:cubicBezTo>
                  <a:cubicBezTo>
                    <a:pt x="61" y="12"/>
                    <a:pt x="61" y="12"/>
                    <a:pt x="61" y="12"/>
                  </a:cubicBezTo>
                  <a:cubicBezTo>
                    <a:pt x="61" y="24"/>
                    <a:pt x="61" y="24"/>
                    <a:pt x="61" y="24"/>
                  </a:cubicBezTo>
                  <a:cubicBezTo>
                    <a:pt x="61" y="25"/>
                    <a:pt x="61" y="26"/>
                    <a:pt x="62" y="27"/>
                  </a:cubicBezTo>
                  <a:cubicBezTo>
                    <a:pt x="62" y="28"/>
                    <a:pt x="63" y="28"/>
                    <a:pt x="64" y="28"/>
                  </a:cubicBezTo>
                  <a:cubicBezTo>
                    <a:pt x="64" y="28"/>
                    <a:pt x="65" y="28"/>
                    <a:pt x="65" y="28"/>
                  </a:cubicBezTo>
                  <a:cubicBezTo>
                    <a:pt x="65" y="28"/>
                    <a:pt x="65" y="28"/>
                    <a:pt x="66" y="28"/>
                  </a:cubicBezTo>
                  <a:cubicBezTo>
                    <a:pt x="66" y="28"/>
                    <a:pt x="66" y="28"/>
                    <a:pt x="66" y="27"/>
                  </a:cubicBezTo>
                  <a:cubicBezTo>
                    <a:pt x="66" y="27"/>
                    <a:pt x="66" y="27"/>
                    <a:pt x="67" y="27"/>
                  </a:cubicBezTo>
                  <a:cubicBezTo>
                    <a:pt x="67" y="27"/>
                    <a:pt x="67" y="27"/>
                    <a:pt x="67" y="27"/>
                  </a:cubicBezTo>
                  <a:cubicBezTo>
                    <a:pt x="67" y="27"/>
                    <a:pt x="67" y="28"/>
                    <a:pt x="67" y="28"/>
                  </a:cubicBezTo>
                  <a:cubicBezTo>
                    <a:pt x="67" y="28"/>
                    <a:pt x="67" y="28"/>
                    <a:pt x="67" y="28"/>
                  </a:cubicBezTo>
                  <a:cubicBezTo>
                    <a:pt x="67" y="28"/>
                    <a:pt x="67" y="29"/>
                    <a:pt x="67" y="29"/>
                  </a:cubicBezTo>
                  <a:close/>
                  <a:moveTo>
                    <a:pt x="92" y="20"/>
                  </a:moveTo>
                  <a:cubicBezTo>
                    <a:pt x="92" y="21"/>
                    <a:pt x="92" y="23"/>
                    <a:pt x="91" y="24"/>
                  </a:cubicBezTo>
                  <a:cubicBezTo>
                    <a:pt x="91" y="26"/>
                    <a:pt x="90" y="27"/>
                    <a:pt x="89" y="28"/>
                  </a:cubicBezTo>
                  <a:cubicBezTo>
                    <a:pt x="88" y="29"/>
                    <a:pt x="87" y="30"/>
                    <a:pt x="86" y="30"/>
                  </a:cubicBezTo>
                  <a:cubicBezTo>
                    <a:pt x="85" y="31"/>
                    <a:pt x="83" y="31"/>
                    <a:pt x="81" y="31"/>
                  </a:cubicBezTo>
                  <a:cubicBezTo>
                    <a:pt x="80" y="31"/>
                    <a:pt x="78" y="31"/>
                    <a:pt x="77" y="31"/>
                  </a:cubicBezTo>
                  <a:cubicBezTo>
                    <a:pt x="75" y="30"/>
                    <a:pt x="74" y="29"/>
                    <a:pt x="74" y="28"/>
                  </a:cubicBezTo>
                  <a:cubicBezTo>
                    <a:pt x="73" y="27"/>
                    <a:pt x="72" y="26"/>
                    <a:pt x="72" y="25"/>
                  </a:cubicBezTo>
                  <a:cubicBezTo>
                    <a:pt x="71" y="23"/>
                    <a:pt x="71" y="22"/>
                    <a:pt x="71" y="20"/>
                  </a:cubicBezTo>
                  <a:cubicBezTo>
                    <a:pt x="71" y="18"/>
                    <a:pt x="71" y="17"/>
                    <a:pt x="72" y="15"/>
                  </a:cubicBezTo>
                  <a:cubicBezTo>
                    <a:pt x="72" y="14"/>
                    <a:pt x="73" y="13"/>
                    <a:pt x="74" y="12"/>
                  </a:cubicBezTo>
                  <a:cubicBezTo>
                    <a:pt x="75" y="10"/>
                    <a:pt x="76" y="10"/>
                    <a:pt x="77" y="9"/>
                  </a:cubicBezTo>
                  <a:cubicBezTo>
                    <a:pt x="78" y="8"/>
                    <a:pt x="80" y="8"/>
                    <a:pt x="82" y="8"/>
                  </a:cubicBezTo>
                  <a:cubicBezTo>
                    <a:pt x="83" y="8"/>
                    <a:pt x="85" y="8"/>
                    <a:pt x="86" y="9"/>
                  </a:cubicBezTo>
                  <a:cubicBezTo>
                    <a:pt x="88" y="9"/>
                    <a:pt x="89" y="10"/>
                    <a:pt x="90" y="11"/>
                  </a:cubicBezTo>
                  <a:cubicBezTo>
                    <a:pt x="90" y="12"/>
                    <a:pt x="91" y="13"/>
                    <a:pt x="91" y="15"/>
                  </a:cubicBezTo>
                  <a:cubicBezTo>
                    <a:pt x="92" y="16"/>
                    <a:pt x="92" y="18"/>
                    <a:pt x="92" y="20"/>
                  </a:cubicBezTo>
                  <a:close/>
                  <a:moveTo>
                    <a:pt x="88" y="20"/>
                  </a:moveTo>
                  <a:cubicBezTo>
                    <a:pt x="88" y="19"/>
                    <a:pt x="88" y="18"/>
                    <a:pt x="88" y="17"/>
                  </a:cubicBezTo>
                  <a:cubicBezTo>
                    <a:pt x="88" y="16"/>
                    <a:pt x="87" y="15"/>
                    <a:pt x="87" y="14"/>
                  </a:cubicBezTo>
                  <a:cubicBezTo>
                    <a:pt x="86" y="13"/>
                    <a:pt x="86" y="13"/>
                    <a:pt x="85" y="12"/>
                  </a:cubicBezTo>
                  <a:cubicBezTo>
                    <a:pt x="84" y="12"/>
                    <a:pt x="83" y="11"/>
                    <a:pt x="82" y="11"/>
                  </a:cubicBezTo>
                  <a:cubicBezTo>
                    <a:pt x="80" y="11"/>
                    <a:pt x="79" y="12"/>
                    <a:pt x="79" y="12"/>
                  </a:cubicBezTo>
                  <a:cubicBezTo>
                    <a:pt x="78" y="12"/>
                    <a:pt x="77" y="13"/>
                    <a:pt x="77" y="14"/>
                  </a:cubicBezTo>
                  <a:cubicBezTo>
                    <a:pt x="76" y="15"/>
                    <a:pt x="76" y="15"/>
                    <a:pt x="75" y="16"/>
                  </a:cubicBezTo>
                  <a:cubicBezTo>
                    <a:pt x="75" y="17"/>
                    <a:pt x="75" y="19"/>
                    <a:pt x="75" y="20"/>
                  </a:cubicBezTo>
                  <a:cubicBezTo>
                    <a:pt x="75" y="21"/>
                    <a:pt x="75" y="22"/>
                    <a:pt x="75" y="23"/>
                  </a:cubicBezTo>
                  <a:cubicBezTo>
                    <a:pt x="76" y="24"/>
                    <a:pt x="76" y="25"/>
                    <a:pt x="76" y="26"/>
                  </a:cubicBezTo>
                  <a:cubicBezTo>
                    <a:pt x="77" y="26"/>
                    <a:pt x="78" y="27"/>
                    <a:pt x="78" y="27"/>
                  </a:cubicBezTo>
                  <a:cubicBezTo>
                    <a:pt x="79" y="28"/>
                    <a:pt x="80" y="28"/>
                    <a:pt x="81" y="28"/>
                  </a:cubicBezTo>
                  <a:cubicBezTo>
                    <a:pt x="83" y="28"/>
                    <a:pt x="84" y="28"/>
                    <a:pt x="84" y="28"/>
                  </a:cubicBezTo>
                  <a:cubicBezTo>
                    <a:pt x="85" y="27"/>
                    <a:pt x="86" y="27"/>
                    <a:pt x="87" y="26"/>
                  </a:cubicBezTo>
                  <a:cubicBezTo>
                    <a:pt x="87" y="25"/>
                    <a:pt x="87" y="24"/>
                    <a:pt x="88" y="23"/>
                  </a:cubicBezTo>
                  <a:cubicBezTo>
                    <a:pt x="88" y="22"/>
                    <a:pt x="88" y="21"/>
                    <a:pt x="88" y="20"/>
                  </a:cubicBezTo>
                  <a:close/>
                  <a:moveTo>
                    <a:pt x="129" y="30"/>
                  </a:moveTo>
                  <a:cubicBezTo>
                    <a:pt x="129" y="30"/>
                    <a:pt x="129" y="31"/>
                    <a:pt x="129" y="31"/>
                  </a:cubicBezTo>
                  <a:cubicBezTo>
                    <a:pt x="129" y="31"/>
                    <a:pt x="129" y="31"/>
                    <a:pt x="129" y="31"/>
                  </a:cubicBezTo>
                  <a:cubicBezTo>
                    <a:pt x="129" y="31"/>
                    <a:pt x="129" y="31"/>
                    <a:pt x="128" y="31"/>
                  </a:cubicBezTo>
                  <a:cubicBezTo>
                    <a:pt x="128" y="31"/>
                    <a:pt x="128" y="31"/>
                    <a:pt x="127" y="31"/>
                  </a:cubicBezTo>
                  <a:cubicBezTo>
                    <a:pt x="127" y="31"/>
                    <a:pt x="127" y="31"/>
                    <a:pt x="126" y="31"/>
                  </a:cubicBezTo>
                  <a:cubicBezTo>
                    <a:pt x="126" y="31"/>
                    <a:pt x="126" y="31"/>
                    <a:pt x="126" y="31"/>
                  </a:cubicBezTo>
                  <a:cubicBezTo>
                    <a:pt x="126" y="31"/>
                    <a:pt x="126" y="31"/>
                    <a:pt x="125" y="31"/>
                  </a:cubicBezTo>
                  <a:cubicBezTo>
                    <a:pt x="125" y="31"/>
                    <a:pt x="125" y="30"/>
                    <a:pt x="125" y="30"/>
                  </a:cubicBezTo>
                  <a:cubicBezTo>
                    <a:pt x="125" y="18"/>
                    <a:pt x="125" y="18"/>
                    <a:pt x="125" y="18"/>
                  </a:cubicBezTo>
                  <a:cubicBezTo>
                    <a:pt x="125" y="17"/>
                    <a:pt x="125" y="16"/>
                    <a:pt x="125" y="15"/>
                  </a:cubicBezTo>
                  <a:cubicBezTo>
                    <a:pt x="125" y="14"/>
                    <a:pt x="125" y="14"/>
                    <a:pt x="124" y="13"/>
                  </a:cubicBezTo>
                  <a:cubicBezTo>
                    <a:pt x="124" y="13"/>
                    <a:pt x="124" y="12"/>
                    <a:pt x="123" y="12"/>
                  </a:cubicBezTo>
                  <a:cubicBezTo>
                    <a:pt x="123" y="12"/>
                    <a:pt x="122" y="12"/>
                    <a:pt x="121" y="12"/>
                  </a:cubicBezTo>
                  <a:cubicBezTo>
                    <a:pt x="120" y="12"/>
                    <a:pt x="119" y="12"/>
                    <a:pt x="119" y="13"/>
                  </a:cubicBezTo>
                  <a:cubicBezTo>
                    <a:pt x="118" y="13"/>
                    <a:pt x="117" y="14"/>
                    <a:pt x="116" y="16"/>
                  </a:cubicBezTo>
                  <a:cubicBezTo>
                    <a:pt x="116" y="30"/>
                    <a:pt x="116" y="30"/>
                    <a:pt x="116" y="30"/>
                  </a:cubicBezTo>
                  <a:cubicBezTo>
                    <a:pt x="116" y="30"/>
                    <a:pt x="116" y="31"/>
                    <a:pt x="115" y="31"/>
                  </a:cubicBezTo>
                  <a:cubicBezTo>
                    <a:pt x="115" y="31"/>
                    <a:pt x="115" y="31"/>
                    <a:pt x="115" y="31"/>
                  </a:cubicBezTo>
                  <a:cubicBezTo>
                    <a:pt x="115" y="31"/>
                    <a:pt x="115" y="31"/>
                    <a:pt x="115" y="31"/>
                  </a:cubicBezTo>
                  <a:cubicBezTo>
                    <a:pt x="114" y="31"/>
                    <a:pt x="114" y="31"/>
                    <a:pt x="114" y="31"/>
                  </a:cubicBezTo>
                  <a:cubicBezTo>
                    <a:pt x="113" y="31"/>
                    <a:pt x="113" y="31"/>
                    <a:pt x="113" y="31"/>
                  </a:cubicBezTo>
                  <a:cubicBezTo>
                    <a:pt x="112" y="31"/>
                    <a:pt x="112" y="31"/>
                    <a:pt x="112" y="31"/>
                  </a:cubicBezTo>
                  <a:cubicBezTo>
                    <a:pt x="112" y="31"/>
                    <a:pt x="112" y="31"/>
                    <a:pt x="112" y="31"/>
                  </a:cubicBezTo>
                  <a:cubicBezTo>
                    <a:pt x="112" y="31"/>
                    <a:pt x="112" y="30"/>
                    <a:pt x="112" y="30"/>
                  </a:cubicBezTo>
                  <a:cubicBezTo>
                    <a:pt x="112" y="18"/>
                    <a:pt x="112" y="18"/>
                    <a:pt x="112" y="18"/>
                  </a:cubicBezTo>
                  <a:cubicBezTo>
                    <a:pt x="112" y="17"/>
                    <a:pt x="112" y="16"/>
                    <a:pt x="111" y="15"/>
                  </a:cubicBezTo>
                  <a:cubicBezTo>
                    <a:pt x="111" y="14"/>
                    <a:pt x="111" y="14"/>
                    <a:pt x="111" y="13"/>
                  </a:cubicBezTo>
                  <a:cubicBezTo>
                    <a:pt x="110" y="13"/>
                    <a:pt x="110" y="12"/>
                    <a:pt x="109" y="12"/>
                  </a:cubicBezTo>
                  <a:cubicBezTo>
                    <a:pt x="109" y="12"/>
                    <a:pt x="108" y="12"/>
                    <a:pt x="107" y="12"/>
                  </a:cubicBezTo>
                  <a:cubicBezTo>
                    <a:pt x="107" y="12"/>
                    <a:pt x="106" y="12"/>
                    <a:pt x="105" y="13"/>
                  </a:cubicBezTo>
                  <a:cubicBezTo>
                    <a:pt x="104" y="13"/>
                    <a:pt x="103" y="14"/>
                    <a:pt x="102" y="16"/>
                  </a:cubicBezTo>
                  <a:cubicBezTo>
                    <a:pt x="102" y="30"/>
                    <a:pt x="102" y="30"/>
                    <a:pt x="102" y="30"/>
                  </a:cubicBezTo>
                  <a:cubicBezTo>
                    <a:pt x="102" y="30"/>
                    <a:pt x="102" y="31"/>
                    <a:pt x="102" y="31"/>
                  </a:cubicBezTo>
                  <a:cubicBezTo>
                    <a:pt x="102" y="31"/>
                    <a:pt x="102" y="31"/>
                    <a:pt x="101" y="31"/>
                  </a:cubicBezTo>
                  <a:cubicBezTo>
                    <a:pt x="101" y="31"/>
                    <a:pt x="101" y="31"/>
                    <a:pt x="101" y="31"/>
                  </a:cubicBezTo>
                  <a:cubicBezTo>
                    <a:pt x="101" y="31"/>
                    <a:pt x="100" y="31"/>
                    <a:pt x="100" y="31"/>
                  </a:cubicBezTo>
                  <a:cubicBezTo>
                    <a:pt x="100" y="31"/>
                    <a:pt x="99" y="31"/>
                    <a:pt x="99" y="31"/>
                  </a:cubicBezTo>
                  <a:cubicBezTo>
                    <a:pt x="99" y="31"/>
                    <a:pt x="99" y="31"/>
                    <a:pt x="98" y="31"/>
                  </a:cubicBezTo>
                  <a:cubicBezTo>
                    <a:pt x="98" y="31"/>
                    <a:pt x="98" y="31"/>
                    <a:pt x="98" y="31"/>
                  </a:cubicBezTo>
                  <a:cubicBezTo>
                    <a:pt x="98" y="31"/>
                    <a:pt x="98" y="30"/>
                    <a:pt x="98" y="30"/>
                  </a:cubicBezTo>
                  <a:cubicBezTo>
                    <a:pt x="98" y="9"/>
                    <a:pt x="98" y="9"/>
                    <a:pt x="98" y="9"/>
                  </a:cubicBezTo>
                  <a:cubicBezTo>
                    <a:pt x="98" y="9"/>
                    <a:pt x="98" y="9"/>
                    <a:pt x="98" y="9"/>
                  </a:cubicBezTo>
                  <a:cubicBezTo>
                    <a:pt x="98" y="9"/>
                    <a:pt x="98" y="9"/>
                    <a:pt x="98" y="9"/>
                  </a:cubicBezTo>
                  <a:cubicBezTo>
                    <a:pt x="98" y="9"/>
                    <a:pt x="99" y="9"/>
                    <a:pt x="99" y="9"/>
                  </a:cubicBezTo>
                  <a:cubicBezTo>
                    <a:pt x="99" y="9"/>
                    <a:pt x="99" y="9"/>
                    <a:pt x="100" y="9"/>
                  </a:cubicBezTo>
                  <a:cubicBezTo>
                    <a:pt x="100" y="9"/>
                    <a:pt x="100" y="9"/>
                    <a:pt x="101" y="9"/>
                  </a:cubicBezTo>
                  <a:cubicBezTo>
                    <a:pt x="101" y="9"/>
                    <a:pt x="101" y="9"/>
                    <a:pt x="101" y="9"/>
                  </a:cubicBezTo>
                  <a:cubicBezTo>
                    <a:pt x="101" y="9"/>
                    <a:pt x="101" y="9"/>
                    <a:pt x="101" y="9"/>
                  </a:cubicBezTo>
                  <a:cubicBezTo>
                    <a:pt x="101" y="9"/>
                    <a:pt x="101" y="9"/>
                    <a:pt x="101" y="9"/>
                  </a:cubicBezTo>
                  <a:cubicBezTo>
                    <a:pt x="101" y="12"/>
                    <a:pt x="101" y="12"/>
                    <a:pt x="101" y="12"/>
                  </a:cubicBezTo>
                  <a:cubicBezTo>
                    <a:pt x="103" y="11"/>
                    <a:pt x="104" y="10"/>
                    <a:pt x="105" y="9"/>
                  </a:cubicBezTo>
                  <a:cubicBezTo>
                    <a:pt x="106" y="9"/>
                    <a:pt x="107" y="8"/>
                    <a:pt x="108" y="8"/>
                  </a:cubicBezTo>
                  <a:cubicBezTo>
                    <a:pt x="109" y="8"/>
                    <a:pt x="110" y="8"/>
                    <a:pt x="111" y="9"/>
                  </a:cubicBezTo>
                  <a:cubicBezTo>
                    <a:pt x="111" y="9"/>
                    <a:pt x="112" y="9"/>
                    <a:pt x="112" y="9"/>
                  </a:cubicBezTo>
                  <a:cubicBezTo>
                    <a:pt x="113" y="10"/>
                    <a:pt x="113" y="10"/>
                    <a:pt x="114" y="11"/>
                  </a:cubicBezTo>
                  <a:cubicBezTo>
                    <a:pt x="114" y="11"/>
                    <a:pt x="115" y="12"/>
                    <a:pt x="115" y="12"/>
                  </a:cubicBezTo>
                  <a:cubicBezTo>
                    <a:pt x="115" y="12"/>
                    <a:pt x="116" y="11"/>
                    <a:pt x="117" y="10"/>
                  </a:cubicBezTo>
                  <a:cubicBezTo>
                    <a:pt x="117" y="10"/>
                    <a:pt x="118" y="9"/>
                    <a:pt x="119" y="9"/>
                  </a:cubicBezTo>
                  <a:cubicBezTo>
                    <a:pt x="119" y="9"/>
                    <a:pt x="120" y="9"/>
                    <a:pt x="120" y="8"/>
                  </a:cubicBezTo>
                  <a:cubicBezTo>
                    <a:pt x="121" y="8"/>
                    <a:pt x="121" y="8"/>
                    <a:pt x="122" y="8"/>
                  </a:cubicBezTo>
                  <a:cubicBezTo>
                    <a:pt x="123" y="8"/>
                    <a:pt x="125" y="8"/>
                    <a:pt x="125" y="9"/>
                  </a:cubicBezTo>
                  <a:cubicBezTo>
                    <a:pt x="126" y="9"/>
                    <a:pt x="127" y="10"/>
                    <a:pt x="128" y="11"/>
                  </a:cubicBezTo>
                  <a:cubicBezTo>
                    <a:pt x="128" y="12"/>
                    <a:pt x="129" y="13"/>
                    <a:pt x="129" y="14"/>
                  </a:cubicBezTo>
                  <a:cubicBezTo>
                    <a:pt x="129" y="15"/>
                    <a:pt x="129" y="16"/>
                    <a:pt x="129" y="17"/>
                  </a:cubicBezTo>
                  <a:lnTo>
                    <a:pt x="129" y="30"/>
                  </a:lnTo>
                  <a:close/>
                  <a:moveTo>
                    <a:pt x="152" y="30"/>
                  </a:moveTo>
                  <a:cubicBezTo>
                    <a:pt x="152" y="31"/>
                    <a:pt x="152" y="31"/>
                    <a:pt x="152" y="31"/>
                  </a:cubicBezTo>
                  <a:cubicBezTo>
                    <a:pt x="152" y="31"/>
                    <a:pt x="152" y="31"/>
                    <a:pt x="152" y="31"/>
                  </a:cubicBezTo>
                  <a:cubicBezTo>
                    <a:pt x="151" y="31"/>
                    <a:pt x="151" y="31"/>
                    <a:pt x="151" y="31"/>
                  </a:cubicBezTo>
                  <a:cubicBezTo>
                    <a:pt x="150" y="31"/>
                    <a:pt x="150" y="31"/>
                    <a:pt x="150" y="31"/>
                  </a:cubicBezTo>
                  <a:cubicBezTo>
                    <a:pt x="150" y="31"/>
                    <a:pt x="149" y="31"/>
                    <a:pt x="149" y="31"/>
                  </a:cubicBezTo>
                  <a:cubicBezTo>
                    <a:pt x="149" y="31"/>
                    <a:pt x="149" y="31"/>
                    <a:pt x="149" y="30"/>
                  </a:cubicBezTo>
                  <a:cubicBezTo>
                    <a:pt x="149" y="28"/>
                    <a:pt x="149" y="28"/>
                    <a:pt x="149" y="28"/>
                  </a:cubicBezTo>
                  <a:cubicBezTo>
                    <a:pt x="148" y="29"/>
                    <a:pt x="147" y="30"/>
                    <a:pt x="146" y="31"/>
                  </a:cubicBezTo>
                  <a:cubicBezTo>
                    <a:pt x="145" y="31"/>
                    <a:pt x="144" y="31"/>
                    <a:pt x="142" y="31"/>
                  </a:cubicBezTo>
                  <a:cubicBezTo>
                    <a:pt x="141" y="31"/>
                    <a:pt x="140" y="31"/>
                    <a:pt x="139" y="31"/>
                  </a:cubicBezTo>
                  <a:cubicBezTo>
                    <a:pt x="138" y="31"/>
                    <a:pt x="138" y="30"/>
                    <a:pt x="137" y="30"/>
                  </a:cubicBezTo>
                  <a:cubicBezTo>
                    <a:pt x="136" y="29"/>
                    <a:pt x="136" y="28"/>
                    <a:pt x="136" y="28"/>
                  </a:cubicBezTo>
                  <a:cubicBezTo>
                    <a:pt x="135" y="27"/>
                    <a:pt x="135" y="26"/>
                    <a:pt x="135" y="25"/>
                  </a:cubicBezTo>
                  <a:cubicBezTo>
                    <a:pt x="135" y="24"/>
                    <a:pt x="135" y="23"/>
                    <a:pt x="136" y="22"/>
                  </a:cubicBezTo>
                  <a:cubicBezTo>
                    <a:pt x="136" y="21"/>
                    <a:pt x="137" y="20"/>
                    <a:pt x="138" y="20"/>
                  </a:cubicBezTo>
                  <a:cubicBezTo>
                    <a:pt x="139" y="19"/>
                    <a:pt x="140" y="19"/>
                    <a:pt x="141" y="18"/>
                  </a:cubicBezTo>
                  <a:cubicBezTo>
                    <a:pt x="143" y="18"/>
                    <a:pt x="144" y="18"/>
                    <a:pt x="146" y="18"/>
                  </a:cubicBezTo>
                  <a:cubicBezTo>
                    <a:pt x="149" y="18"/>
                    <a:pt x="149" y="18"/>
                    <a:pt x="149" y="18"/>
                  </a:cubicBezTo>
                  <a:cubicBezTo>
                    <a:pt x="149" y="16"/>
                    <a:pt x="149" y="16"/>
                    <a:pt x="149" y="16"/>
                  </a:cubicBezTo>
                  <a:cubicBezTo>
                    <a:pt x="149" y="15"/>
                    <a:pt x="148" y="15"/>
                    <a:pt x="148" y="14"/>
                  </a:cubicBezTo>
                  <a:cubicBezTo>
                    <a:pt x="148" y="14"/>
                    <a:pt x="148" y="13"/>
                    <a:pt x="147" y="13"/>
                  </a:cubicBezTo>
                  <a:cubicBezTo>
                    <a:pt x="147" y="12"/>
                    <a:pt x="147" y="12"/>
                    <a:pt x="146" y="12"/>
                  </a:cubicBezTo>
                  <a:cubicBezTo>
                    <a:pt x="145" y="11"/>
                    <a:pt x="145" y="11"/>
                    <a:pt x="144" y="11"/>
                  </a:cubicBezTo>
                  <a:cubicBezTo>
                    <a:pt x="143" y="11"/>
                    <a:pt x="142" y="11"/>
                    <a:pt x="141" y="12"/>
                  </a:cubicBezTo>
                  <a:cubicBezTo>
                    <a:pt x="140" y="12"/>
                    <a:pt x="140" y="12"/>
                    <a:pt x="139" y="12"/>
                  </a:cubicBezTo>
                  <a:cubicBezTo>
                    <a:pt x="139" y="13"/>
                    <a:pt x="138" y="13"/>
                    <a:pt x="138" y="13"/>
                  </a:cubicBezTo>
                  <a:cubicBezTo>
                    <a:pt x="137" y="13"/>
                    <a:pt x="137" y="14"/>
                    <a:pt x="137" y="14"/>
                  </a:cubicBezTo>
                  <a:cubicBezTo>
                    <a:pt x="137" y="14"/>
                    <a:pt x="137" y="13"/>
                    <a:pt x="137" y="13"/>
                  </a:cubicBezTo>
                  <a:cubicBezTo>
                    <a:pt x="136" y="13"/>
                    <a:pt x="136" y="13"/>
                    <a:pt x="136" y="13"/>
                  </a:cubicBezTo>
                  <a:cubicBezTo>
                    <a:pt x="136" y="13"/>
                    <a:pt x="136" y="13"/>
                    <a:pt x="136" y="13"/>
                  </a:cubicBezTo>
                  <a:cubicBezTo>
                    <a:pt x="136" y="12"/>
                    <a:pt x="136" y="12"/>
                    <a:pt x="136" y="12"/>
                  </a:cubicBezTo>
                  <a:cubicBezTo>
                    <a:pt x="136" y="12"/>
                    <a:pt x="136" y="11"/>
                    <a:pt x="136" y="11"/>
                  </a:cubicBezTo>
                  <a:cubicBezTo>
                    <a:pt x="136" y="11"/>
                    <a:pt x="136" y="11"/>
                    <a:pt x="137" y="10"/>
                  </a:cubicBezTo>
                  <a:cubicBezTo>
                    <a:pt x="137" y="10"/>
                    <a:pt x="137" y="10"/>
                    <a:pt x="138" y="10"/>
                  </a:cubicBezTo>
                  <a:cubicBezTo>
                    <a:pt x="138" y="9"/>
                    <a:pt x="139" y="9"/>
                    <a:pt x="139" y="9"/>
                  </a:cubicBezTo>
                  <a:cubicBezTo>
                    <a:pt x="140" y="9"/>
                    <a:pt x="141" y="9"/>
                    <a:pt x="142" y="8"/>
                  </a:cubicBezTo>
                  <a:cubicBezTo>
                    <a:pt x="142" y="8"/>
                    <a:pt x="143" y="8"/>
                    <a:pt x="144" y="8"/>
                  </a:cubicBezTo>
                  <a:cubicBezTo>
                    <a:pt x="146" y="8"/>
                    <a:pt x="147" y="8"/>
                    <a:pt x="148" y="9"/>
                  </a:cubicBezTo>
                  <a:cubicBezTo>
                    <a:pt x="149" y="9"/>
                    <a:pt x="150" y="10"/>
                    <a:pt x="151" y="10"/>
                  </a:cubicBezTo>
                  <a:cubicBezTo>
                    <a:pt x="151" y="11"/>
                    <a:pt x="152" y="12"/>
                    <a:pt x="152" y="13"/>
                  </a:cubicBezTo>
                  <a:cubicBezTo>
                    <a:pt x="152" y="14"/>
                    <a:pt x="152" y="15"/>
                    <a:pt x="152" y="16"/>
                  </a:cubicBezTo>
                  <a:lnTo>
                    <a:pt x="152" y="30"/>
                  </a:lnTo>
                  <a:close/>
                  <a:moveTo>
                    <a:pt x="149" y="21"/>
                  </a:moveTo>
                  <a:cubicBezTo>
                    <a:pt x="145" y="21"/>
                    <a:pt x="145" y="21"/>
                    <a:pt x="145" y="21"/>
                  </a:cubicBezTo>
                  <a:cubicBezTo>
                    <a:pt x="144" y="21"/>
                    <a:pt x="143" y="21"/>
                    <a:pt x="142" y="21"/>
                  </a:cubicBezTo>
                  <a:cubicBezTo>
                    <a:pt x="142" y="21"/>
                    <a:pt x="141" y="21"/>
                    <a:pt x="141" y="22"/>
                  </a:cubicBezTo>
                  <a:cubicBezTo>
                    <a:pt x="140" y="22"/>
                    <a:pt x="140" y="23"/>
                    <a:pt x="139" y="23"/>
                  </a:cubicBezTo>
                  <a:cubicBezTo>
                    <a:pt x="139" y="24"/>
                    <a:pt x="139" y="24"/>
                    <a:pt x="139" y="25"/>
                  </a:cubicBezTo>
                  <a:cubicBezTo>
                    <a:pt x="139" y="26"/>
                    <a:pt x="139" y="27"/>
                    <a:pt x="140" y="27"/>
                  </a:cubicBezTo>
                  <a:cubicBezTo>
                    <a:pt x="141" y="28"/>
                    <a:pt x="142" y="28"/>
                    <a:pt x="143" y="28"/>
                  </a:cubicBezTo>
                  <a:cubicBezTo>
                    <a:pt x="144" y="28"/>
                    <a:pt x="145" y="28"/>
                    <a:pt x="146" y="28"/>
                  </a:cubicBezTo>
                  <a:cubicBezTo>
                    <a:pt x="147" y="27"/>
                    <a:pt x="148" y="26"/>
                    <a:pt x="149" y="25"/>
                  </a:cubicBezTo>
                  <a:lnTo>
                    <a:pt x="149" y="21"/>
                  </a:lnTo>
                  <a:close/>
                  <a:moveTo>
                    <a:pt x="178" y="9"/>
                  </a:moveTo>
                  <a:cubicBezTo>
                    <a:pt x="179" y="9"/>
                    <a:pt x="179" y="9"/>
                    <a:pt x="179" y="9"/>
                  </a:cubicBezTo>
                  <a:cubicBezTo>
                    <a:pt x="179" y="9"/>
                    <a:pt x="179" y="9"/>
                    <a:pt x="179" y="10"/>
                  </a:cubicBezTo>
                  <a:cubicBezTo>
                    <a:pt x="179" y="30"/>
                    <a:pt x="179" y="30"/>
                    <a:pt x="179" y="30"/>
                  </a:cubicBezTo>
                  <a:cubicBezTo>
                    <a:pt x="179" y="30"/>
                    <a:pt x="179" y="31"/>
                    <a:pt x="179" y="31"/>
                  </a:cubicBezTo>
                  <a:cubicBezTo>
                    <a:pt x="179" y="31"/>
                    <a:pt x="179" y="31"/>
                    <a:pt x="179" y="31"/>
                  </a:cubicBezTo>
                  <a:cubicBezTo>
                    <a:pt x="179" y="31"/>
                    <a:pt x="178" y="31"/>
                    <a:pt x="178" y="31"/>
                  </a:cubicBezTo>
                  <a:cubicBezTo>
                    <a:pt x="178" y="31"/>
                    <a:pt x="178" y="31"/>
                    <a:pt x="177" y="31"/>
                  </a:cubicBezTo>
                  <a:cubicBezTo>
                    <a:pt x="177" y="31"/>
                    <a:pt x="177" y="31"/>
                    <a:pt x="176" y="31"/>
                  </a:cubicBezTo>
                  <a:cubicBezTo>
                    <a:pt x="176" y="31"/>
                    <a:pt x="176" y="31"/>
                    <a:pt x="176" y="31"/>
                  </a:cubicBezTo>
                  <a:cubicBezTo>
                    <a:pt x="176" y="31"/>
                    <a:pt x="176" y="31"/>
                    <a:pt x="175" y="31"/>
                  </a:cubicBezTo>
                  <a:cubicBezTo>
                    <a:pt x="175" y="31"/>
                    <a:pt x="175" y="30"/>
                    <a:pt x="175" y="30"/>
                  </a:cubicBezTo>
                  <a:cubicBezTo>
                    <a:pt x="175" y="12"/>
                    <a:pt x="175" y="12"/>
                    <a:pt x="175" y="12"/>
                  </a:cubicBezTo>
                  <a:cubicBezTo>
                    <a:pt x="164" y="12"/>
                    <a:pt x="164" y="12"/>
                    <a:pt x="164" y="12"/>
                  </a:cubicBezTo>
                  <a:cubicBezTo>
                    <a:pt x="164" y="24"/>
                    <a:pt x="164" y="24"/>
                    <a:pt x="164" y="24"/>
                  </a:cubicBezTo>
                  <a:cubicBezTo>
                    <a:pt x="164" y="25"/>
                    <a:pt x="165" y="26"/>
                    <a:pt x="165" y="27"/>
                  </a:cubicBezTo>
                  <a:cubicBezTo>
                    <a:pt x="166" y="28"/>
                    <a:pt x="166" y="28"/>
                    <a:pt x="167" y="28"/>
                  </a:cubicBezTo>
                  <a:cubicBezTo>
                    <a:pt x="168" y="28"/>
                    <a:pt x="168" y="28"/>
                    <a:pt x="168" y="28"/>
                  </a:cubicBezTo>
                  <a:cubicBezTo>
                    <a:pt x="169" y="28"/>
                    <a:pt x="169" y="28"/>
                    <a:pt x="169" y="28"/>
                  </a:cubicBezTo>
                  <a:cubicBezTo>
                    <a:pt x="169" y="28"/>
                    <a:pt x="170" y="28"/>
                    <a:pt x="170" y="27"/>
                  </a:cubicBezTo>
                  <a:cubicBezTo>
                    <a:pt x="170" y="27"/>
                    <a:pt x="170" y="27"/>
                    <a:pt x="170" y="27"/>
                  </a:cubicBezTo>
                  <a:cubicBezTo>
                    <a:pt x="170" y="27"/>
                    <a:pt x="170" y="27"/>
                    <a:pt x="170" y="27"/>
                  </a:cubicBezTo>
                  <a:cubicBezTo>
                    <a:pt x="170" y="27"/>
                    <a:pt x="170" y="28"/>
                    <a:pt x="171" y="28"/>
                  </a:cubicBezTo>
                  <a:cubicBezTo>
                    <a:pt x="171" y="28"/>
                    <a:pt x="171" y="28"/>
                    <a:pt x="171" y="28"/>
                  </a:cubicBezTo>
                  <a:cubicBezTo>
                    <a:pt x="171" y="28"/>
                    <a:pt x="171" y="29"/>
                    <a:pt x="171" y="29"/>
                  </a:cubicBezTo>
                  <a:cubicBezTo>
                    <a:pt x="171" y="29"/>
                    <a:pt x="171" y="30"/>
                    <a:pt x="171" y="30"/>
                  </a:cubicBezTo>
                  <a:cubicBezTo>
                    <a:pt x="170" y="30"/>
                    <a:pt x="170" y="30"/>
                    <a:pt x="170" y="30"/>
                  </a:cubicBezTo>
                  <a:cubicBezTo>
                    <a:pt x="170" y="31"/>
                    <a:pt x="170" y="31"/>
                    <a:pt x="170" y="31"/>
                  </a:cubicBezTo>
                  <a:cubicBezTo>
                    <a:pt x="169" y="31"/>
                    <a:pt x="169" y="31"/>
                    <a:pt x="169" y="31"/>
                  </a:cubicBezTo>
                  <a:cubicBezTo>
                    <a:pt x="169" y="31"/>
                    <a:pt x="168" y="31"/>
                    <a:pt x="168" y="31"/>
                  </a:cubicBezTo>
                  <a:cubicBezTo>
                    <a:pt x="167" y="31"/>
                    <a:pt x="167" y="31"/>
                    <a:pt x="167" y="31"/>
                  </a:cubicBezTo>
                  <a:cubicBezTo>
                    <a:pt x="166" y="31"/>
                    <a:pt x="165" y="31"/>
                    <a:pt x="164" y="31"/>
                  </a:cubicBezTo>
                  <a:cubicBezTo>
                    <a:pt x="163" y="31"/>
                    <a:pt x="163" y="30"/>
                    <a:pt x="162" y="30"/>
                  </a:cubicBezTo>
                  <a:cubicBezTo>
                    <a:pt x="162" y="29"/>
                    <a:pt x="161" y="28"/>
                    <a:pt x="161" y="27"/>
                  </a:cubicBezTo>
                  <a:cubicBezTo>
                    <a:pt x="161" y="26"/>
                    <a:pt x="161" y="25"/>
                    <a:pt x="161" y="24"/>
                  </a:cubicBezTo>
                  <a:cubicBezTo>
                    <a:pt x="161" y="12"/>
                    <a:pt x="161" y="12"/>
                    <a:pt x="161" y="12"/>
                  </a:cubicBezTo>
                  <a:cubicBezTo>
                    <a:pt x="158" y="12"/>
                    <a:pt x="158" y="12"/>
                    <a:pt x="158" y="12"/>
                  </a:cubicBezTo>
                  <a:cubicBezTo>
                    <a:pt x="157" y="12"/>
                    <a:pt x="157" y="12"/>
                    <a:pt x="157" y="11"/>
                  </a:cubicBezTo>
                  <a:cubicBezTo>
                    <a:pt x="157" y="11"/>
                    <a:pt x="157" y="11"/>
                    <a:pt x="157" y="10"/>
                  </a:cubicBezTo>
                  <a:cubicBezTo>
                    <a:pt x="157" y="10"/>
                    <a:pt x="157" y="10"/>
                    <a:pt x="157" y="10"/>
                  </a:cubicBezTo>
                  <a:cubicBezTo>
                    <a:pt x="157" y="9"/>
                    <a:pt x="157" y="9"/>
                    <a:pt x="157" y="9"/>
                  </a:cubicBezTo>
                  <a:cubicBezTo>
                    <a:pt x="157" y="9"/>
                    <a:pt x="157" y="9"/>
                    <a:pt x="157" y="9"/>
                  </a:cubicBezTo>
                  <a:cubicBezTo>
                    <a:pt x="157" y="9"/>
                    <a:pt x="158" y="9"/>
                    <a:pt x="158" y="9"/>
                  </a:cubicBezTo>
                  <a:cubicBezTo>
                    <a:pt x="161" y="9"/>
                    <a:pt x="161" y="9"/>
                    <a:pt x="161" y="9"/>
                  </a:cubicBezTo>
                  <a:cubicBezTo>
                    <a:pt x="161" y="4"/>
                    <a:pt x="161" y="4"/>
                    <a:pt x="161" y="4"/>
                  </a:cubicBezTo>
                  <a:cubicBezTo>
                    <a:pt x="161" y="4"/>
                    <a:pt x="161" y="3"/>
                    <a:pt x="161" y="3"/>
                  </a:cubicBezTo>
                  <a:cubicBezTo>
                    <a:pt x="161" y="3"/>
                    <a:pt x="161" y="3"/>
                    <a:pt x="161" y="3"/>
                  </a:cubicBezTo>
                  <a:cubicBezTo>
                    <a:pt x="161" y="3"/>
                    <a:pt x="161" y="3"/>
                    <a:pt x="162" y="3"/>
                  </a:cubicBezTo>
                  <a:cubicBezTo>
                    <a:pt x="162" y="3"/>
                    <a:pt x="162" y="3"/>
                    <a:pt x="163" y="3"/>
                  </a:cubicBezTo>
                  <a:cubicBezTo>
                    <a:pt x="163" y="3"/>
                    <a:pt x="163" y="3"/>
                    <a:pt x="163" y="3"/>
                  </a:cubicBezTo>
                  <a:cubicBezTo>
                    <a:pt x="164" y="3"/>
                    <a:pt x="164" y="3"/>
                    <a:pt x="164" y="3"/>
                  </a:cubicBezTo>
                  <a:cubicBezTo>
                    <a:pt x="164" y="3"/>
                    <a:pt x="164" y="3"/>
                    <a:pt x="164" y="3"/>
                  </a:cubicBezTo>
                  <a:cubicBezTo>
                    <a:pt x="164" y="3"/>
                    <a:pt x="164" y="4"/>
                    <a:pt x="164" y="4"/>
                  </a:cubicBezTo>
                  <a:cubicBezTo>
                    <a:pt x="164" y="9"/>
                    <a:pt x="164" y="9"/>
                    <a:pt x="164" y="9"/>
                  </a:cubicBezTo>
                  <a:lnTo>
                    <a:pt x="178" y="9"/>
                  </a:lnTo>
                  <a:close/>
                  <a:moveTo>
                    <a:pt x="172" y="9"/>
                  </a:moveTo>
                  <a:cubicBezTo>
                    <a:pt x="172" y="9"/>
                    <a:pt x="172" y="9"/>
                    <a:pt x="172" y="9"/>
                  </a:cubicBezTo>
                  <a:moveTo>
                    <a:pt x="180" y="2"/>
                  </a:moveTo>
                  <a:cubicBezTo>
                    <a:pt x="180" y="3"/>
                    <a:pt x="180" y="4"/>
                    <a:pt x="179" y="4"/>
                  </a:cubicBezTo>
                  <a:cubicBezTo>
                    <a:pt x="179" y="4"/>
                    <a:pt x="178" y="4"/>
                    <a:pt x="177" y="4"/>
                  </a:cubicBezTo>
                  <a:cubicBezTo>
                    <a:pt x="176" y="4"/>
                    <a:pt x="176" y="4"/>
                    <a:pt x="175" y="4"/>
                  </a:cubicBezTo>
                  <a:cubicBezTo>
                    <a:pt x="175" y="4"/>
                    <a:pt x="175" y="3"/>
                    <a:pt x="175" y="2"/>
                  </a:cubicBezTo>
                  <a:cubicBezTo>
                    <a:pt x="175" y="1"/>
                    <a:pt x="175" y="1"/>
                    <a:pt x="175" y="0"/>
                  </a:cubicBezTo>
                  <a:cubicBezTo>
                    <a:pt x="176" y="0"/>
                    <a:pt x="176" y="0"/>
                    <a:pt x="177" y="0"/>
                  </a:cubicBezTo>
                  <a:cubicBezTo>
                    <a:pt x="178" y="0"/>
                    <a:pt x="179" y="0"/>
                    <a:pt x="179" y="0"/>
                  </a:cubicBezTo>
                  <a:cubicBezTo>
                    <a:pt x="180" y="1"/>
                    <a:pt x="180" y="1"/>
                    <a:pt x="180" y="2"/>
                  </a:cubicBezTo>
                  <a:close/>
                  <a:moveTo>
                    <a:pt x="206" y="20"/>
                  </a:moveTo>
                  <a:cubicBezTo>
                    <a:pt x="206" y="21"/>
                    <a:pt x="206" y="23"/>
                    <a:pt x="206" y="24"/>
                  </a:cubicBezTo>
                  <a:cubicBezTo>
                    <a:pt x="205" y="26"/>
                    <a:pt x="204" y="27"/>
                    <a:pt x="204" y="28"/>
                  </a:cubicBezTo>
                  <a:cubicBezTo>
                    <a:pt x="203" y="29"/>
                    <a:pt x="202" y="30"/>
                    <a:pt x="200" y="30"/>
                  </a:cubicBezTo>
                  <a:cubicBezTo>
                    <a:pt x="199" y="31"/>
                    <a:pt x="197" y="31"/>
                    <a:pt x="195" y="31"/>
                  </a:cubicBezTo>
                  <a:cubicBezTo>
                    <a:pt x="194" y="31"/>
                    <a:pt x="192" y="31"/>
                    <a:pt x="191" y="31"/>
                  </a:cubicBezTo>
                  <a:cubicBezTo>
                    <a:pt x="190" y="30"/>
                    <a:pt x="189" y="29"/>
                    <a:pt x="188" y="28"/>
                  </a:cubicBezTo>
                  <a:cubicBezTo>
                    <a:pt x="187" y="27"/>
                    <a:pt x="186" y="26"/>
                    <a:pt x="186" y="25"/>
                  </a:cubicBezTo>
                  <a:cubicBezTo>
                    <a:pt x="185" y="23"/>
                    <a:pt x="185" y="22"/>
                    <a:pt x="185" y="20"/>
                  </a:cubicBezTo>
                  <a:cubicBezTo>
                    <a:pt x="185" y="18"/>
                    <a:pt x="185" y="17"/>
                    <a:pt x="186" y="15"/>
                  </a:cubicBezTo>
                  <a:cubicBezTo>
                    <a:pt x="186" y="14"/>
                    <a:pt x="187" y="13"/>
                    <a:pt x="188" y="12"/>
                  </a:cubicBezTo>
                  <a:cubicBezTo>
                    <a:pt x="189" y="10"/>
                    <a:pt x="190" y="10"/>
                    <a:pt x="191" y="9"/>
                  </a:cubicBezTo>
                  <a:cubicBezTo>
                    <a:pt x="193" y="8"/>
                    <a:pt x="194" y="8"/>
                    <a:pt x="196" y="8"/>
                  </a:cubicBezTo>
                  <a:cubicBezTo>
                    <a:pt x="198" y="8"/>
                    <a:pt x="199" y="8"/>
                    <a:pt x="200" y="9"/>
                  </a:cubicBezTo>
                  <a:cubicBezTo>
                    <a:pt x="202" y="9"/>
                    <a:pt x="203" y="10"/>
                    <a:pt x="204" y="11"/>
                  </a:cubicBezTo>
                  <a:cubicBezTo>
                    <a:pt x="205" y="12"/>
                    <a:pt x="205" y="13"/>
                    <a:pt x="206" y="15"/>
                  </a:cubicBezTo>
                  <a:cubicBezTo>
                    <a:pt x="206" y="16"/>
                    <a:pt x="206" y="18"/>
                    <a:pt x="206" y="20"/>
                  </a:cubicBezTo>
                  <a:close/>
                  <a:moveTo>
                    <a:pt x="202" y="20"/>
                  </a:moveTo>
                  <a:cubicBezTo>
                    <a:pt x="202" y="19"/>
                    <a:pt x="202" y="18"/>
                    <a:pt x="202" y="17"/>
                  </a:cubicBezTo>
                  <a:cubicBezTo>
                    <a:pt x="202" y="16"/>
                    <a:pt x="201" y="15"/>
                    <a:pt x="201" y="14"/>
                  </a:cubicBezTo>
                  <a:cubicBezTo>
                    <a:pt x="200" y="13"/>
                    <a:pt x="200" y="13"/>
                    <a:pt x="199" y="12"/>
                  </a:cubicBezTo>
                  <a:cubicBezTo>
                    <a:pt x="198" y="12"/>
                    <a:pt x="197" y="11"/>
                    <a:pt x="196" y="11"/>
                  </a:cubicBezTo>
                  <a:cubicBezTo>
                    <a:pt x="195" y="11"/>
                    <a:pt x="194" y="12"/>
                    <a:pt x="193" y="12"/>
                  </a:cubicBezTo>
                  <a:cubicBezTo>
                    <a:pt x="192" y="12"/>
                    <a:pt x="191" y="13"/>
                    <a:pt x="191" y="14"/>
                  </a:cubicBezTo>
                  <a:cubicBezTo>
                    <a:pt x="190" y="15"/>
                    <a:pt x="190" y="15"/>
                    <a:pt x="190" y="16"/>
                  </a:cubicBezTo>
                  <a:cubicBezTo>
                    <a:pt x="189" y="17"/>
                    <a:pt x="189" y="19"/>
                    <a:pt x="189" y="20"/>
                  </a:cubicBezTo>
                  <a:cubicBezTo>
                    <a:pt x="189" y="21"/>
                    <a:pt x="189" y="22"/>
                    <a:pt x="189" y="23"/>
                  </a:cubicBezTo>
                  <a:cubicBezTo>
                    <a:pt x="190" y="24"/>
                    <a:pt x="190" y="25"/>
                    <a:pt x="191" y="26"/>
                  </a:cubicBezTo>
                  <a:cubicBezTo>
                    <a:pt x="191" y="26"/>
                    <a:pt x="192" y="27"/>
                    <a:pt x="193" y="27"/>
                  </a:cubicBezTo>
                  <a:cubicBezTo>
                    <a:pt x="193" y="28"/>
                    <a:pt x="194" y="28"/>
                    <a:pt x="196" y="28"/>
                  </a:cubicBezTo>
                  <a:cubicBezTo>
                    <a:pt x="197" y="28"/>
                    <a:pt x="198" y="28"/>
                    <a:pt x="199" y="28"/>
                  </a:cubicBezTo>
                  <a:cubicBezTo>
                    <a:pt x="199" y="27"/>
                    <a:pt x="200" y="27"/>
                    <a:pt x="201" y="26"/>
                  </a:cubicBezTo>
                  <a:cubicBezTo>
                    <a:pt x="201" y="25"/>
                    <a:pt x="202" y="24"/>
                    <a:pt x="202" y="23"/>
                  </a:cubicBezTo>
                  <a:cubicBezTo>
                    <a:pt x="202" y="22"/>
                    <a:pt x="202" y="21"/>
                    <a:pt x="202" y="20"/>
                  </a:cubicBezTo>
                  <a:close/>
                  <a:moveTo>
                    <a:pt x="230" y="30"/>
                  </a:moveTo>
                  <a:cubicBezTo>
                    <a:pt x="230" y="30"/>
                    <a:pt x="230" y="31"/>
                    <a:pt x="230" y="31"/>
                  </a:cubicBezTo>
                  <a:cubicBezTo>
                    <a:pt x="230" y="31"/>
                    <a:pt x="230" y="31"/>
                    <a:pt x="230" y="31"/>
                  </a:cubicBezTo>
                  <a:cubicBezTo>
                    <a:pt x="230" y="31"/>
                    <a:pt x="230" y="31"/>
                    <a:pt x="229" y="31"/>
                  </a:cubicBezTo>
                  <a:cubicBezTo>
                    <a:pt x="229" y="31"/>
                    <a:pt x="229" y="31"/>
                    <a:pt x="228" y="31"/>
                  </a:cubicBezTo>
                  <a:cubicBezTo>
                    <a:pt x="228" y="31"/>
                    <a:pt x="228" y="31"/>
                    <a:pt x="227" y="31"/>
                  </a:cubicBezTo>
                  <a:cubicBezTo>
                    <a:pt x="227" y="31"/>
                    <a:pt x="227" y="31"/>
                    <a:pt x="227" y="31"/>
                  </a:cubicBezTo>
                  <a:cubicBezTo>
                    <a:pt x="227" y="31"/>
                    <a:pt x="227" y="31"/>
                    <a:pt x="227" y="31"/>
                  </a:cubicBezTo>
                  <a:cubicBezTo>
                    <a:pt x="226" y="31"/>
                    <a:pt x="226" y="30"/>
                    <a:pt x="226" y="30"/>
                  </a:cubicBezTo>
                  <a:cubicBezTo>
                    <a:pt x="226" y="18"/>
                    <a:pt x="226" y="18"/>
                    <a:pt x="226" y="18"/>
                  </a:cubicBezTo>
                  <a:cubicBezTo>
                    <a:pt x="226" y="17"/>
                    <a:pt x="226" y="16"/>
                    <a:pt x="226" y="15"/>
                  </a:cubicBezTo>
                  <a:cubicBezTo>
                    <a:pt x="226" y="14"/>
                    <a:pt x="226" y="14"/>
                    <a:pt x="225" y="13"/>
                  </a:cubicBezTo>
                  <a:cubicBezTo>
                    <a:pt x="225" y="13"/>
                    <a:pt x="224" y="12"/>
                    <a:pt x="224" y="12"/>
                  </a:cubicBezTo>
                  <a:cubicBezTo>
                    <a:pt x="223" y="12"/>
                    <a:pt x="223" y="12"/>
                    <a:pt x="222" y="12"/>
                  </a:cubicBezTo>
                  <a:cubicBezTo>
                    <a:pt x="221" y="12"/>
                    <a:pt x="220" y="12"/>
                    <a:pt x="219" y="13"/>
                  </a:cubicBezTo>
                  <a:cubicBezTo>
                    <a:pt x="218" y="13"/>
                    <a:pt x="217" y="14"/>
                    <a:pt x="216" y="16"/>
                  </a:cubicBezTo>
                  <a:cubicBezTo>
                    <a:pt x="216" y="30"/>
                    <a:pt x="216" y="30"/>
                    <a:pt x="216" y="30"/>
                  </a:cubicBezTo>
                  <a:cubicBezTo>
                    <a:pt x="216" y="30"/>
                    <a:pt x="216" y="31"/>
                    <a:pt x="216" y="31"/>
                  </a:cubicBezTo>
                  <a:cubicBezTo>
                    <a:pt x="216" y="31"/>
                    <a:pt x="216" y="31"/>
                    <a:pt x="216" y="31"/>
                  </a:cubicBezTo>
                  <a:cubicBezTo>
                    <a:pt x="215" y="31"/>
                    <a:pt x="215" y="31"/>
                    <a:pt x="215" y="31"/>
                  </a:cubicBezTo>
                  <a:cubicBezTo>
                    <a:pt x="215" y="31"/>
                    <a:pt x="214" y="31"/>
                    <a:pt x="214" y="31"/>
                  </a:cubicBezTo>
                  <a:cubicBezTo>
                    <a:pt x="214" y="31"/>
                    <a:pt x="213" y="31"/>
                    <a:pt x="213" y="31"/>
                  </a:cubicBezTo>
                  <a:cubicBezTo>
                    <a:pt x="213" y="31"/>
                    <a:pt x="213" y="31"/>
                    <a:pt x="213" y="31"/>
                  </a:cubicBezTo>
                  <a:cubicBezTo>
                    <a:pt x="212" y="31"/>
                    <a:pt x="212" y="31"/>
                    <a:pt x="212" y="31"/>
                  </a:cubicBezTo>
                  <a:cubicBezTo>
                    <a:pt x="212" y="31"/>
                    <a:pt x="212" y="30"/>
                    <a:pt x="212" y="30"/>
                  </a:cubicBezTo>
                  <a:cubicBezTo>
                    <a:pt x="212" y="9"/>
                    <a:pt x="212" y="9"/>
                    <a:pt x="212" y="9"/>
                  </a:cubicBezTo>
                  <a:cubicBezTo>
                    <a:pt x="212" y="9"/>
                    <a:pt x="212" y="9"/>
                    <a:pt x="212" y="9"/>
                  </a:cubicBezTo>
                  <a:cubicBezTo>
                    <a:pt x="212" y="9"/>
                    <a:pt x="212" y="9"/>
                    <a:pt x="212" y="9"/>
                  </a:cubicBezTo>
                  <a:cubicBezTo>
                    <a:pt x="213" y="9"/>
                    <a:pt x="213" y="9"/>
                    <a:pt x="213" y="9"/>
                  </a:cubicBezTo>
                  <a:cubicBezTo>
                    <a:pt x="213" y="9"/>
                    <a:pt x="214" y="9"/>
                    <a:pt x="214" y="9"/>
                  </a:cubicBezTo>
                  <a:cubicBezTo>
                    <a:pt x="214" y="9"/>
                    <a:pt x="215" y="9"/>
                    <a:pt x="215" y="9"/>
                  </a:cubicBezTo>
                  <a:cubicBezTo>
                    <a:pt x="215" y="9"/>
                    <a:pt x="215" y="9"/>
                    <a:pt x="215" y="9"/>
                  </a:cubicBezTo>
                  <a:cubicBezTo>
                    <a:pt x="215" y="9"/>
                    <a:pt x="215" y="9"/>
                    <a:pt x="216" y="9"/>
                  </a:cubicBezTo>
                  <a:cubicBezTo>
                    <a:pt x="216" y="9"/>
                    <a:pt x="216" y="9"/>
                    <a:pt x="216" y="9"/>
                  </a:cubicBezTo>
                  <a:cubicBezTo>
                    <a:pt x="216" y="12"/>
                    <a:pt x="216" y="12"/>
                    <a:pt x="216" y="12"/>
                  </a:cubicBezTo>
                  <a:cubicBezTo>
                    <a:pt x="217" y="11"/>
                    <a:pt x="218" y="10"/>
                    <a:pt x="219" y="9"/>
                  </a:cubicBezTo>
                  <a:cubicBezTo>
                    <a:pt x="220" y="9"/>
                    <a:pt x="222" y="8"/>
                    <a:pt x="223" y="8"/>
                  </a:cubicBezTo>
                  <a:cubicBezTo>
                    <a:pt x="224" y="8"/>
                    <a:pt x="225" y="8"/>
                    <a:pt x="226" y="9"/>
                  </a:cubicBezTo>
                  <a:cubicBezTo>
                    <a:pt x="227" y="9"/>
                    <a:pt x="228" y="10"/>
                    <a:pt x="229" y="11"/>
                  </a:cubicBezTo>
                  <a:cubicBezTo>
                    <a:pt x="229" y="12"/>
                    <a:pt x="230" y="13"/>
                    <a:pt x="230" y="14"/>
                  </a:cubicBezTo>
                  <a:cubicBezTo>
                    <a:pt x="230" y="15"/>
                    <a:pt x="230" y="16"/>
                    <a:pt x="230" y="17"/>
                  </a:cubicBezTo>
                  <a:lnTo>
                    <a:pt x="230" y="30"/>
                  </a:lnTo>
                  <a:close/>
                  <a:moveTo>
                    <a:pt x="234" y="31"/>
                  </a:moveTo>
                  <a:cubicBezTo>
                    <a:pt x="234" y="31"/>
                    <a:pt x="234" y="31"/>
                    <a:pt x="234" y="31"/>
                  </a:cubicBezTo>
                  <a:moveTo>
                    <a:pt x="266" y="29"/>
                  </a:moveTo>
                  <a:cubicBezTo>
                    <a:pt x="266" y="30"/>
                    <a:pt x="266" y="30"/>
                    <a:pt x="266" y="30"/>
                  </a:cubicBezTo>
                  <a:cubicBezTo>
                    <a:pt x="266" y="30"/>
                    <a:pt x="266" y="30"/>
                    <a:pt x="266" y="31"/>
                  </a:cubicBezTo>
                  <a:cubicBezTo>
                    <a:pt x="266" y="31"/>
                    <a:pt x="266" y="31"/>
                    <a:pt x="265" y="31"/>
                  </a:cubicBezTo>
                  <a:cubicBezTo>
                    <a:pt x="265" y="31"/>
                    <a:pt x="265" y="31"/>
                    <a:pt x="265" y="31"/>
                  </a:cubicBezTo>
                  <a:cubicBezTo>
                    <a:pt x="251" y="31"/>
                    <a:pt x="251" y="31"/>
                    <a:pt x="251" y="31"/>
                  </a:cubicBezTo>
                  <a:cubicBezTo>
                    <a:pt x="250" y="31"/>
                    <a:pt x="250" y="31"/>
                    <a:pt x="250" y="31"/>
                  </a:cubicBezTo>
                  <a:cubicBezTo>
                    <a:pt x="249" y="30"/>
                    <a:pt x="249" y="30"/>
                    <a:pt x="249" y="29"/>
                  </a:cubicBezTo>
                  <a:cubicBezTo>
                    <a:pt x="249" y="2"/>
                    <a:pt x="249" y="2"/>
                    <a:pt x="249" y="2"/>
                  </a:cubicBezTo>
                  <a:cubicBezTo>
                    <a:pt x="249" y="2"/>
                    <a:pt x="249" y="1"/>
                    <a:pt x="250" y="1"/>
                  </a:cubicBezTo>
                  <a:cubicBezTo>
                    <a:pt x="250" y="1"/>
                    <a:pt x="250" y="1"/>
                    <a:pt x="251" y="1"/>
                  </a:cubicBezTo>
                  <a:cubicBezTo>
                    <a:pt x="265" y="1"/>
                    <a:pt x="265" y="1"/>
                    <a:pt x="265" y="1"/>
                  </a:cubicBezTo>
                  <a:cubicBezTo>
                    <a:pt x="265" y="1"/>
                    <a:pt x="265" y="1"/>
                    <a:pt x="265" y="1"/>
                  </a:cubicBezTo>
                  <a:cubicBezTo>
                    <a:pt x="265" y="1"/>
                    <a:pt x="265" y="1"/>
                    <a:pt x="266" y="1"/>
                  </a:cubicBezTo>
                  <a:cubicBezTo>
                    <a:pt x="266" y="1"/>
                    <a:pt x="266" y="1"/>
                    <a:pt x="266" y="2"/>
                  </a:cubicBezTo>
                  <a:cubicBezTo>
                    <a:pt x="266" y="2"/>
                    <a:pt x="266" y="2"/>
                    <a:pt x="266" y="2"/>
                  </a:cubicBezTo>
                  <a:cubicBezTo>
                    <a:pt x="266" y="3"/>
                    <a:pt x="266" y="3"/>
                    <a:pt x="266" y="3"/>
                  </a:cubicBezTo>
                  <a:cubicBezTo>
                    <a:pt x="266" y="3"/>
                    <a:pt x="266" y="3"/>
                    <a:pt x="266" y="4"/>
                  </a:cubicBezTo>
                  <a:cubicBezTo>
                    <a:pt x="265" y="4"/>
                    <a:pt x="265" y="4"/>
                    <a:pt x="265" y="4"/>
                  </a:cubicBezTo>
                  <a:cubicBezTo>
                    <a:pt x="265" y="4"/>
                    <a:pt x="265" y="4"/>
                    <a:pt x="265" y="4"/>
                  </a:cubicBezTo>
                  <a:cubicBezTo>
                    <a:pt x="253" y="4"/>
                    <a:pt x="253" y="4"/>
                    <a:pt x="253" y="4"/>
                  </a:cubicBezTo>
                  <a:cubicBezTo>
                    <a:pt x="253" y="13"/>
                    <a:pt x="253" y="13"/>
                    <a:pt x="253" y="13"/>
                  </a:cubicBezTo>
                  <a:cubicBezTo>
                    <a:pt x="263" y="13"/>
                    <a:pt x="263" y="13"/>
                    <a:pt x="263" y="13"/>
                  </a:cubicBezTo>
                  <a:cubicBezTo>
                    <a:pt x="263" y="13"/>
                    <a:pt x="263" y="14"/>
                    <a:pt x="264" y="14"/>
                  </a:cubicBezTo>
                  <a:cubicBezTo>
                    <a:pt x="264" y="14"/>
                    <a:pt x="264" y="14"/>
                    <a:pt x="264" y="14"/>
                  </a:cubicBezTo>
                  <a:cubicBezTo>
                    <a:pt x="264" y="14"/>
                    <a:pt x="264" y="14"/>
                    <a:pt x="264" y="14"/>
                  </a:cubicBezTo>
                  <a:cubicBezTo>
                    <a:pt x="264" y="15"/>
                    <a:pt x="264" y="15"/>
                    <a:pt x="264" y="15"/>
                  </a:cubicBezTo>
                  <a:cubicBezTo>
                    <a:pt x="264" y="15"/>
                    <a:pt x="264" y="16"/>
                    <a:pt x="264" y="16"/>
                  </a:cubicBezTo>
                  <a:cubicBezTo>
                    <a:pt x="264" y="16"/>
                    <a:pt x="264" y="16"/>
                    <a:pt x="264" y="16"/>
                  </a:cubicBezTo>
                  <a:cubicBezTo>
                    <a:pt x="264" y="17"/>
                    <a:pt x="264" y="17"/>
                    <a:pt x="264" y="17"/>
                  </a:cubicBezTo>
                  <a:cubicBezTo>
                    <a:pt x="263" y="17"/>
                    <a:pt x="263" y="17"/>
                    <a:pt x="263" y="17"/>
                  </a:cubicBezTo>
                  <a:cubicBezTo>
                    <a:pt x="253" y="17"/>
                    <a:pt x="253" y="17"/>
                    <a:pt x="253" y="17"/>
                  </a:cubicBezTo>
                  <a:cubicBezTo>
                    <a:pt x="253" y="28"/>
                    <a:pt x="253" y="28"/>
                    <a:pt x="253" y="28"/>
                  </a:cubicBezTo>
                  <a:cubicBezTo>
                    <a:pt x="265" y="28"/>
                    <a:pt x="265" y="28"/>
                    <a:pt x="265" y="28"/>
                  </a:cubicBezTo>
                  <a:cubicBezTo>
                    <a:pt x="265" y="28"/>
                    <a:pt x="265" y="28"/>
                    <a:pt x="265" y="28"/>
                  </a:cubicBezTo>
                  <a:cubicBezTo>
                    <a:pt x="266" y="28"/>
                    <a:pt x="266" y="28"/>
                    <a:pt x="266" y="28"/>
                  </a:cubicBezTo>
                  <a:cubicBezTo>
                    <a:pt x="266" y="28"/>
                    <a:pt x="266" y="28"/>
                    <a:pt x="266" y="28"/>
                  </a:cubicBezTo>
                  <a:cubicBezTo>
                    <a:pt x="266" y="29"/>
                    <a:pt x="266" y="29"/>
                    <a:pt x="266" y="29"/>
                  </a:cubicBezTo>
                  <a:close/>
                  <a:moveTo>
                    <a:pt x="290" y="30"/>
                  </a:moveTo>
                  <a:cubicBezTo>
                    <a:pt x="290" y="30"/>
                    <a:pt x="290" y="31"/>
                    <a:pt x="290" y="31"/>
                  </a:cubicBezTo>
                  <a:cubicBezTo>
                    <a:pt x="290" y="31"/>
                    <a:pt x="290" y="31"/>
                    <a:pt x="290" y="31"/>
                  </a:cubicBezTo>
                  <a:cubicBezTo>
                    <a:pt x="290" y="31"/>
                    <a:pt x="290" y="31"/>
                    <a:pt x="289" y="31"/>
                  </a:cubicBezTo>
                  <a:cubicBezTo>
                    <a:pt x="289" y="31"/>
                    <a:pt x="289" y="31"/>
                    <a:pt x="288" y="31"/>
                  </a:cubicBezTo>
                  <a:cubicBezTo>
                    <a:pt x="288" y="31"/>
                    <a:pt x="288" y="31"/>
                    <a:pt x="287" y="31"/>
                  </a:cubicBezTo>
                  <a:cubicBezTo>
                    <a:pt x="287" y="31"/>
                    <a:pt x="287" y="31"/>
                    <a:pt x="287" y="31"/>
                  </a:cubicBezTo>
                  <a:cubicBezTo>
                    <a:pt x="287" y="31"/>
                    <a:pt x="287" y="31"/>
                    <a:pt x="287" y="31"/>
                  </a:cubicBezTo>
                  <a:cubicBezTo>
                    <a:pt x="287" y="31"/>
                    <a:pt x="287" y="30"/>
                    <a:pt x="287" y="30"/>
                  </a:cubicBezTo>
                  <a:cubicBezTo>
                    <a:pt x="287" y="18"/>
                    <a:pt x="287" y="18"/>
                    <a:pt x="287" y="18"/>
                  </a:cubicBezTo>
                  <a:cubicBezTo>
                    <a:pt x="287" y="17"/>
                    <a:pt x="286" y="16"/>
                    <a:pt x="286" y="15"/>
                  </a:cubicBezTo>
                  <a:cubicBezTo>
                    <a:pt x="286" y="14"/>
                    <a:pt x="286" y="14"/>
                    <a:pt x="285" y="13"/>
                  </a:cubicBezTo>
                  <a:cubicBezTo>
                    <a:pt x="285" y="13"/>
                    <a:pt x="285" y="12"/>
                    <a:pt x="284" y="12"/>
                  </a:cubicBezTo>
                  <a:cubicBezTo>
                    <a:pt x="283" y="12"/>
                    <a:pt x="283" y="12"/>
                    <a:pt x="282" y="12"/>
                  </a:cubicBezTo>
                  <a:cubicBezTo>
                    <a:pt x="281" y="12"/>
                    <a:pt x="280" y="12"/>
                    <a:pt x="279" y="13"/>
                  </a:cubicBezTo>
                  <a:cubicBezTo>
                    <a:pt x="278" y="13"/>
                    <a:pt x="277" y="14"/>
                    <a:pt x="276" y="16"/>
                  </a:cubicBezTo>
                  <a:cubicBezTo>
                    <a:pt x="276" y="30"/>
                    <a:pt x="276" y="30"/>
                    <a:pt x="276" y="30"/>
                  </a:cubicBezTo>
                  <a:cubicBezTo>
                    <a:pt x="276" y="30"/>
                    <a:pt x="276" y="31"/>
                    <a:pt x="276" y="31"/>
                  </a:cubicBezTo>
                  <a:cubicBezTo>
                    <a:pt x="276" y="31"/>
                    <a:pt x="276" y="31"/>
                    <a:pt x="276" y="31"/>
                  </a:cubicBezTo>
                  <a:cubicBezTo>
                    <a:pt x="276" y="31"/>
                    <a:pt x="275" y="31"/>
                    <a:pt x="275" y="31"/>
                  </a:cubicBezTo>
                  <a:cubicBezTo>
                    <a:pt x="275" y="31"/>
                    <a:pt x="275" y="31"/>
                    <a:pt x="274" y="31"/>
                  </a:cubicBezTo>
                  <a:cubicBezTo>
                    <a:pt x="274" y="31"/>
                    <a:pt x="273" y="31"/>
                    <a:pt x="273" y="31"/>
                  </a:cubicBezTo>
                  <a:cubicBezTo>
                    <a:pt x="273" y="31"/>
                    <a:pt x="273" y="31"/>
                    <a:pt x="273" y="31"/>
                  </a:cubicBezTo>
                  <a:cubicBezTo>
                    <a:pt x="272" y="31"/>
                    <a:pt x="272" y="31"/>
                    <a:pt x="272" y="31"/>
                  </a:cubicBezTo>
                  <a:cubicBezTo>
                    <a:pt x="272" y="31"/>
                    <a:pt x="272" y="30"/>
                    <a:pt x="272" y="30"/>
                  </a:cubicBezTo>
                  <a:cubicBezTo>
                    <a:pt x="272" y="9"/>
                    <a:pt x="272" y="9"/>
                    <a:pt x="272" y="9"/>
                  </a:cubicBezTo>
                  <a:cubicBezTo>
                    <a:pt x="272" y="9"/>
                    <a:pt x="272" y="9"/>
                    <a:pt x="272" y="9"/>
                  </a:cubicBezTo>
                  <a:cubicBezTo>
                    <a:pt x="272" y="9"/>
                    <a:pt x="272" y="9"/>
                    <a:pt x="273" y="9"/>
                  </a:cubicBezTo>
                  <a:cubicBezTo>
                    <a:pt x="273" y="9"/>
                    <a:pt x="273" y="9"/>
                    <a:pt x="273" y="9"/>
                  </a:cubicBezTo>
                  <a:cubicBezTo>
                    <a:pt x="273" y="9"/>
                    <a:pt x="274" y="9"/>
                    <a:pt x="274" y="9"/>
                  </a:cubicBezTo>
                  <a:cubicBezTo>
                    <a:pt x="274" y="9"/>
                    <a:pt x="275" y="9"/>
                    <a:pt x="275" y="9"/>
                  </a:cubicBezTo>
                  <a:cubicBezTo>
                    <a:pt x="275" y="9"/>
                    <a:pt x="275" y="9"/>
                    <a:pt x="275" y="9"/>
                  </a:cubicBezTo>
                  <a:cubicBezTo>
                    <a:pt x="275" y="9"/>
                    <a:pt x="276" y="9"/>
                    <a:pt x="276" y="9"/>
                  </a:cubicBezTo>
                  <a:cubicBezTo>
                    <a:pt x="276" y="9"/>
                    <a:pt x="276" y="9"/>
                    <a:pt x="276" y="9"/>
                  </a:cubicBezTo>
                  <a:cubicBezTo>
                    <a:pt x="276" y="12"/>
                    <a:pt x="276" y="12"/>
                    <a:pt x="276" y="12"/>
                  </a:cubicBezTo>
                  <a:cubicBezTo>
                    <a:pt x="277" y="11"/>
                    <a:pt x="278" y="10"/>
                    <a:pt x="279" y="9"/>
                  </a:cubicBezTo>
                  <a:cubicBezTo>
                    <a:pt x="280" y="9"/>
                    <a:pt x="282" y="8"/>
                    <a:pt x="283" y="8"/>
                  </a:cubicBezTo>
                  <a:cubicBezTo>
                    <a:pt x="284" y="8"/>
                    <a:pt x="285" y="8"/>
                    <a:pt x="286" y="9"/>
                  </a:cubicBezTo>
                  <a:cubicBezTo>
                    <a:pt x="287" y="9"/>
                    <a:pt x="288" y="10"/>
                    <a:pt x="289" y="11"/>
                  </a:cubicBezTo>
                  <a:cubicBezTo>
                    <a:pt x="289" y="12"/>
                    <a:pt x="290" y="13"/>
                    <a:pt x="290" y="14"/>
                  </a:cubicBezTo>
                  <a:cubicBezTo>
                    <a:pt x="290" y="15"/>
                    <a:pt x="290" y="16"/>
                    <a:pt x="290" y="17"/>
                  </a:cubicBezTo>
                  <a:lnTo>
                    <a:pt x="290" y="30"/>
                  </a:lnTo>
                  <a:close/>
                  <a:moveTo>
                    <a:pt x="315" y="10"/>
                  </a:moveTo>
                  <a:cubicBezTo>
                    <a:pt x="315" y="11"/>
                    <a:pt x="315" y="11"/>
                    <a:pt x="315" y="11"/>
                  </a:cubicBezTo>
                  <a:cubicBezTo>
                    <a:pt x="315" y="12"/>
                    <a:pt x="315" y="12"/>
                    <a:pt x="314" y="12"/>
                  </a:cubicBezTo>
                  <a:cubicBezTo>
                    <a:pt x="311" y="12"/>
                    <a:pt x="311" y="12"/>
                    <a:pt x="311" y="12"/>
                  </a:cubicBezTo>
                  <a:cubicBezTo>
                    <a:pt x="312" y="12"/>
                    <a:pt x="312" y="13"/>
                    <a:pt x="313" y="14"/>
                  </a:cubicBezTo>
                  <a:cubicBezTo>
                    <a:pt x="313" y="14"/>
                    <a:pt x="313" y="15"/>
                    <a:pt x="313" y="16"/>
                  </a:cubicBezTo>
                  <a:cubicBezTo>
                    <a:pt x="313" y="17"/>
                    <a:pt x="313" y="18"/>
                    <a:pt x="312" y="19"/>
                  </a:cubicBezTo>
                  <a:cubicBezTo>
                    <a:pt x="312" y="20"/>
                    <a:pt x="311" y="21"/>
                    <a:pt x="311" y="21"/>
                  </a:cubicBezTo>
                  <a:cubicBezTo>
                    <a:pt x="310" y="22"/>
                    <a:pt x="309" y="23"/>
                    <a:pt x="308" y="23"/>
                  </a:cubicBezTo>
                  <a:cubicBezTo>
                    <a:pt x="307" y="23"/>
                    <a:pt x="306" y="23"/>
                    <a:pt x="305" y="23"/>
                  </a:cubicBezTo>
                  <a:cubicBezTo>
                    <a:pt x="304" y="23"/>
                    <a:pt x="303" y="23"/>
                    <a:pt x="302" y="23"/>
                  </a:cubicBezTo>
                  <a:cubicBezTo>
                    <a:pt x="301" y="23"/>
                    <a:pt x="301" y="23"/>
                    <a:pt x="300" y="22"/>
                  </a:cubicBezTo>
                  <a:cubicBezTo>
                    <a:pt x="300" y="22"/>
                    <a:pt x="300" y="23"/>
                    <a:pt x="300" y="23"/>
                  </a:cubicBezTo>
                  <a:cubicBezTo>
                    <a:pt x="300" y="23"/>
                    <a:pt x="300" y="24"/>
                    <a:pt x="300" y="24"/>
                  </a:cubicBezTo>
                  <a:cubicBezTo>
                    <a:pt x="300" y="25"/>
                    <a:pt x="300" y="25"/>
                    <a:pt x="300" y="26"/>
                  </a:cubicBezTo>
                  <a:cubicBezTo>
                    <a:pt x="301" y="26"/>
                    <a:pt x="301" y="26"/>
                    <a:pt x="302" y="26"/>
                  </a:cubicBezTo>
                  <a:cubicBezTo>
                    <a:pt x="308" y="27"/>
                    <a:pt x="308" y="27"/>
                    <a:pt x="308" y="27"/>
                  </a:cubicBezTo>
                  <a:cubicBezTo>
                    <a:pt x="309" y="27"/>
                    <a:pt x="310" y="27"/>
                    <a:pt x="311" y="27"/>
                  </a:cubicBezTo>
                  <a:cubicBezTo>
                    <a:pt x="312" y="27"/>
                    <a:pt x="312" y="28"/>
                    <a:pt x="313" y="28"/>
                  </a:cubicBezTo>
                  <a:cubicBezTo>
                    <a:pt x="314" y="29"/>
                    <a:pt x="314" y="29"/>
                    <a:pt x="314" y="30"/>
                  </a:cubicBezTo>
                  <a:cubicBezTo>
                    <a:pt x="315" y="31"/>
                    <a:pt x="315" y="31"/>
                    <a:pt x="315" y="32"/>
                  </a:cubicBezTo>
                  <a:cubicBezTo>
                    <a:pt x="315" y="33"/>
                    <a:pt x="315" y="34"/>
                    <a:pt x="314" y="35"/>
                  </a:cubicBezTo>
                  <a:cubicBezTo>
                    <a:pt x="314" y="36"/>
                    <a:pt x="313" y="37"/>
                    <a:pt x="313" y="37"/>
                  </a:cubicBezTo>
                  <a:cubicBezTo>
                    <a:pt x="312" y="38"/>
                    <a:pt x="311" y="39"/>
                    <a:pt x="309" y="39"/>
                  </a:cubicBezTo>
                  <a:cubicBezTo>
                    <a:pt x="308" y="39"/>
                    <a:pt x="307" y="39"/>
                    <a:pt x="305" y="39"/>
                  </a:cubicBezTo>
                  <a:cubicBezTo>
                    <a:pt x="303" y="39"/>
                    <a:pt x="302" y="39"/>
                    <a:pt x="300" y="39"/>
                  </a:cubicBezTo>
                  <a:cubicBezTo>
                    <a:pt x="299" y="39"/>
                    <a:pt x="298" y="38"/>
                    <a:pt x="297" y="38"/>
                  </a:cubicBezTo>
                  <a:cubicBezTo>
                    <a:pt x="297" y="37"/>
                    <a:pt x="296" y="37"/>
                    <a:pt x="296" y="36"/>
                  </a:cubicBezTo>
                  <a:cubicBezTo>
                    <a:pt x="295" y="35"/>
                    <a:pt x="295" y="35"/>
                    <a:pt x="295" y="34"/>
                  </a:cubicBezTo>
                  <a:cubicBezTo>
                    <a:pt x="295" y="33"/>
                    <a:pt x="295" y="33"/>
                    <a:pt x="295" y="32"/>
                  </a:cubicBezTo>
                  <a:cubicBezTo>
                    <a:pt x="296" y="32"/>
                    <a:pt x="296" y="31"/>
                    <a:pt x="296" y="31"/>
                  </a:cubicBezTo>
                  <a:cubicBezTo>
                    <a:pt x="296" y="30"/>
                    <a:pt x="297" y="30"/>
                    <a:pt x="297" y="30"/>
                  </a:cubicBezTo>
                  <a:cubicBezTo>
                    <a:pt x="297" y="29"/>
                    <a:pt x="298" y="29"/>
                    <a:pt x="298" y="28"/>
                  </a:cubicBezTo>
                  <a:cubicBezTo>
                    <a:pt x="298" y="28"/>
                    <a:pt x="297" y="28"/>
                    <a:pt x="297" y="27"/>
                  </a:cubicBezTo>
                  <a:cubicBezTo>
                    <a:pt x="296" y="26"/>
                    <a:pt x="296" y="26"/>
                    <a:pt x="296" y="25"/>
                  </a:cubicBezTo>
                  <a:cubicBezTo>
                    <a:pt x="296" y="24"/>
                    <a:pt x="296" y="23"/>
                    <a:pt x="297" y="23"/>
                  </a:cubicBezTo>
                  <a:cubicBezTo>
                    <a:pt x="297" y="22"/>
                    <a:pt x="298" y="21"/>
                    <a:pt x="298" y="21"/>
                  </a:cubicBezTo>
                  <a:cubicBezTo>
                    <a:pt x="298" y="20"/>
                    <a:pt x="297" y="19"/>
                    <a:pt x="297" y="19"/>
                  </a:cubicBezTo>
                  <a:cubicBezTo>
                    <a:pt x="297" y="18"/>
                    <a:pt x="297" y="17"/>
                    <a:pt x="297" y="16"/>
                  </a:cubicBezTo>
                  <a:cubicBezTo>
                    <a:pt x="297" y="15"/>
                    <a:pt x="297" y="14"/>
                    <a:pt x="297" y="13"/>
                  </a:cubicBezTo>
                  <a:cubicBezTo>
                    <a:pt x="298" y="12"/>
                    <a:pt x="298" y="11"/>
                    <a:pt x="299" y="10"/>
                  </a:cubicBezTo>
                  <a:cubicBezTo>
                    <a:pt x="300" y="10"/>
                    <a:pt x="300" y="9"/>
                    <a:pt x="301" y="9"/>
                  </a:cubicBezTo>
                  <a:cubicBezTo>
                    <a:pt x="302" y="8"/>
                    <a:pt x="304" y="8"/>
                    <a:pt x="305" y="8"/>
                  </a:cubicBezTo>
                  <a:cubicBezTo>
                    <a:pt x="305" y="8"/>
                    <a:pt x="306" y="8"/>
                    <a:pt x="307" y="8"/>
                  </a:cubicBezTo>
                  <a:cubicBezTo>
                    <a:pt x="307" y="8"/>
                    <a:pt x="308" y="9"/>
                    <a:pt x="308" y="9"/>
                  </a:cubicBezTo>
                  <a:cubicBezTo>
                    <a:pt x="314" y="9"/>
                    <a:pt x="314" y="9"/>
                    <a:pt x="314" y="9"/>
                  </a:cubicBezTo>
                  <a:cubicBezTo>
                    <a:pt x="315" y="9"/>
                    <a:pt x="315" y="9"/>
                    <a:pt x="315" y="9"/>
                  </a:cubicBezTo>
                  <a:cubicBezTo>
                    <a:pt x="315" y="9"/>
                    <a:pt x="315" y="10"/>
                    <a:pt x="315" y="10"/>
                  </a:cubicBezTo>
                  <a:close/>
                  <a:moveTo>
                    <a:pt x="311" y="32"/>
                  </a:moveTo>
                  <a:cubicBezTo>
                    <a:pt x="311" y="32"/>
                    <a:pt x="311" y="31"/>
                    <a:pt x="310" y="30"/>
                  </a:cubicBezTo>
                  <a:cubicBezTo>
                    <a:pt x="309" y="30"/>
                    <a:pt x="308" y="30"/>
                    <a:pt x="307" y="30"/>
                  </a:cubicBezTo>
                  <a:cubicBezTo>
                    <a:pt x="302" y="29"/>
                    <a:pt x="302" y="29"/>
                    <a:pt x="302" y="29"/>
                  </a:cubicBezTo>
                  <a:cubicBezTo>
                    <a:pt x="301" y="30"/>
                    <a:pt x="301" y="30"/>
                    <a:pt x="300" y="31"/>
                  </a:cubicBezTo>
                  <a:cubicBezTo>
                    <a:pt x="300" y="31"/>
                    <a:pt x="300" y="31"/>
                    <a:pt x="300" y="32"/>
                  </a:cubicBezTo>
                  <a:cubicBezTo>
                    <a:pt x="299" y="32"/>
                    <a:pt x="299" y="32"/>
                    <a:pt x="299" y="32"/>
                  </a:cubicBezTo>
                  <a:cubicBezTo>
                    <a:pt x="299" y="33"/>
                    <a:pt x="299" y="33"/>
                    <a:pt x="299" y="33"/>
                  </a:cubicBezTo>
                  <a:cubicBezTo>
                    <a:pt x="299" y="34"/>
                    <a:pt x="300" y="35"/>
                    <a:pt x="301" y="36"/>
                  </a:cubicBezTo>
                  <a:cubicBezTo>
                    <a:pt x="302" y="36"/>
                    <a:pt x="303" y="37"/>
                    <a:pt x="305" y="37"/>
                  </a:cubicBezTo>
                  <a:cubicBezTo>
                    <a:pt x="306" y="37"/>
                    <a:pt x="307" y="36"/>
                    <a:pt x="308" y="36"/>
                  </a:cubicBezTo>
                  <a:cubicBezTo>
                    <a:pt x="309" y="36"/>
                    <a:pt x="309" y="36"/>
                    <a:pt x="310" y="35"/>
                  </a:cubicBezTo>
                  <a:cubicBezTo>
                    <a:pt x="310" y="35"/>
                    <a:pt x="311" y="34"/>
                    <a:pt x="311" y="34"/>
                  </a:cubicBezTo>
                  <a:cubicBezTo>
                    <a:pt x="311" y="34"/>
                    <a:pt x="311" y="33"/>
                    <a:pt x="311" y="32"/>
                  </a:cubicBezTo>
                  <a:close/>
                  <a:moveTo>
                    <a:pt x="309" y="16"/>
                  </a:moveTo>
                  <a:cubicBezTo>
                    <a:pt x="309" y="14"/>
                    <a:pt x="309" y="13"/>
                    <a:pt x="308" y="12"/>
                  </a:cubicBezTo>
                  <a:cubicBezTo>
                    <a:pt x="307" y="12"/>
                    <a:pt x="306" y="11"/>
                    <a:pt x="305" y="11"/>
                  </a:cubicBezTo>
                  <a:cubicBezTo>
                    <a:pt x="304" y="11"/>
                    <a:pt x="303" y="11"/>
                    <a:pt x="303" y="12"/>
                  </a:cubicBezTo>
                  <a:cubicBezTo>
                    <a:pt x="302" y="12"/>
                    <a:pt x="302" y="12"/>
                    <a:pt x="301" y="13"/>
                  </a:cubicBezTo>
                  <a:cubicBezTo>
                    <a:pt x="301" y="13"/>
                    <a:pt x="301" y="14"/>
                    <a:pt x="300" y="14"/>
                  </a:cubicBezTo>
                  <a:cubicBezTo>
                    <a:pt x="300" y="15"/>
                    <a:pt x="300" y="15"/>
                    <a:pt x="300" y="16"/>
                  </a:cubicBezTo>
                  <a:cubicBezTo>
                    <a:pt x="300" y="17"/>
                    <a:pt x="301" y="18"/>
                    <a:pt x="301" y="19"/>
                  </a:cubicBezTo>
                  <a:cubicBezTo>
                    <a:pt x="302" y="20"/>
                    <a:pt x="303" y="20"/>
                    <a:pt x="305" y="20"/>
                  </a:cubicBezTo>
                  <a:cubicBezTo>
                    <a:pt x="305" y="20"/>
                    <a:pt x="306" y="20"/>
                    <a:pt x="307" y="20"/>
                  </a:cubicBezTo>
                  <a:cubicBezTo>
                    <a:pt x="307" y="20"/>
                    <a:pt x="308" y="19"/>
                    <a:pt x="308" y="19"/>
                  </a:cubicBezTo>
                  <a:cubicBezTo>
                    <a:pt x="308" y="19"/>
                    <a:pt x="309" y="18"/>
                    <a:pt x="309" y="18"/>
                  </a:cubicBezTo>
                  <a:cubicBezTo>
                    <a:pt x="309" y="17"/>
                    <a:pt x="309" y="16"/>
                    <a:pt x="309" y="16"/>
                  </a:cubicBezTo>
                  <a:close/>
                  <a:moveTo>
                    <a:pt x="325" y="2"/>
                  </a:moveTo>
                  <a:cubicBezTo>
                    <a:pt x="325" y="3"/>
                    <a:pt x="325" y="4"/>
                    <a:pt x="324" y="4"/>
                  </a:cubicBezTo>
                  <a:cubicBezTo>
                    <a:pt x="324" y="4"/>
                    <a:pt x="323" y="4"/>
                    <a:pt x="322" y="4"/>
                  </a:cubicBezTo>
                  <a:cubicBezTo>
                    <a:pt x="321" y="4"/>
                    <a:pt x="321" y="4"/>
                    <a:pt x="320" y="4"/>
                  </a:cubicBezTo>
                  <a:cubicBezTo>
                    <a:pt x="320" y="4"/>
                    <a:pt x="320" y="3"/>
                    <a:pt x="320" y="2"/>
                  </a:cubicBezTo>
                  <a:cubicBezTo>
                    <a:pt x="320" y="1"/>
                    <a:pt x="320" y="1"/>
                    <a:pt x="320" y="0"/>
                  </a:cubicBezTo>
                  <a:cubicBezTo>
                    <a:pt x="321" y="0"/>
                    <a:pt x="321" y="0"/>
                    <a:pt x="322" y="0"/>
                  </a:cubicBezTo>
                  <a:cubicBezTo>
                    <a:pt x="323" y="0"/>
                    <a:pt x="324" y="0"/>
                    <a:pt x="324" y="0"/>
                  </a:cubicBezTo>
                  <a:cubicBezTo>
                    <a:pt x="325" y="1"/>
                    <a:pt x="325" y="1"/>
                    <a:pt x="325" y="2"/>
                  </a:cubicBezTo>
                  <a:close/>
                  <a:moveTo>
                    <a:pt x="324" y="30"/>
                  </a:moveTo>
                  <a:cubicBezTo>
                    <a:pt x="324" y="30"/>
                    <a:pt x="324" y="31"/>
                    <a:pt x="324" y="31"/>
                  </a:cubicBezTo>
                  <a:cubicBezTo>
                    <a:pt x="324" y="31"/>
                    <a:pt x="324" y="31"/>
                    <a:pt x="324" y="31"/>
                  </a:cubicBezTo>
                  <a:cubicBezTo>
                    <a:pt x="324" y="31"/>
                    <a:pt x="324" y="31"/>
                    <a:pt x="323" y="31"/>
                  </a:cubicBezTo>
                  <a:cubicBezTo>
                    <a:pt x="323" y="31"/>
                    <a:pt x="323" y="31"/>
                    <a:pt x="322" y="31"/>
                  </a:cubicBezTo>
                  <a:cubicBezTo>
                    <a:pt x="322" y="31"/>
                    <a:pt x="322" y="31"/>
                    <a:pt x="321" y="31"/>
                  </a:cubicBezTo>
                  <a:cubicBezTo>
                    <a:pt x="321" y="31"/>
                    <a:pt x="321" y="31"/>
                    <a:pt x="321" y="31"/>
                  </a:cubicBezTo>
                  <a:cubicBezTo>
                    <a:pt x="321" y="31"/>
                    <a:pt x="321" y="31"/>
                    <a:pt x="320" y="31"/>
                  </a:cubicBezTo>
                  <a:cubicBezTo>
                    <a:pt x="320" y="31"/>
                    <a:pt x="320" y="30"/>
                    <a:pt x="320" y="30"/>
                  </a:cubicBezTo>
                  <a:cubicBezTo>
                    <a:pt x="320" y="9"/>
                    <a:pt x="320" y="9"/>
                    <a:pt x="320" y="9"/>
                  </a:cubicBezTo>
                  <a:cubicBezTo>
                    <a:pt x="320" y="9"/>
                    <a:pt x="320" y="9"/>
                    <a:pt x="320" y="9"/>
                  </a:cubicBezTo>
                  <a:cubicBezTo>
                    <a:pt x="321" y="9"/>
                    <a:pt x="321" y="9"/>
                    <a:pt x="321" y="9"/>
                  </a:cubicBezTo>
                  <a:cubicBezTo>
                    <a:pt x="321" y="9"/>
                    <a:pt x="321" y="9"/>
                    <a:pt x="321" y="9"/>
                  </a:cubicBezTo>
                  <a:cubicBezTo>
                    <a:pt x="322" y="9"/>
                    <a:pt x="322" y="9"/>
                    <a:pt x="322" y="9"/>
                  </a:cubicBezTo>
                  <a:cubicBezTo>
                    <a:pt x="323" y="9"/>
                    <a:pt x="323" y="9"/>
                    <a:pt x="323" y="9"/>
                  </a:cubicBezTo>
                  <a:cubicBezTo>
                    <a:pt x="324" y="9"/>
                    <a:pt x="324" y="9"/>
                    <a:pt x="324" y="9"/>
                  </a:cubicBezTo>
                  <a:cubicBezTo>
                    <a:pt x="324" y="9"/>
                    <a:pt x="324" y="9"/>
                    <a:pt x="324" y="9"/>
                  </a:cubicBezTo>
                  <a:cubicBezTo>
                    <a:pt x="324" y="9"/>
                    <a:pt x="324" y="9"/>
                    <a:pt x="324" y="9"/>
                  </a:cubicBezTo>
                  <a:lnTo>
                    <a:pt x="324" y="30"/>
                  </a:lnTo>
                  <a:close/>
                  <a:moveTo>
                    <a:pt x="350" y="30"/>
                  </a:moveTo>
                  <a:cubicBezTo>
                    <a:pt x="350" y="30"/>
                    <a:pt x="350" y="31"/>
                    <a:pt x="350" y="31"/>
                  </a:cubicBezTo>
                  <a:cubicBezTo>
                    <a:pt x="350" y="31"/>
                    <a:pt x="350" y="31"/>
                    <a:pt x="349" y="31"/>
                  </a:cubicBezTo>
                  <a:cubicBezTo>
                    <a:pt x="349" y="31"/>
                    <a:pt x="349" y="31"/>
                    <a:pt x="349" y="31"/>
                  </a:cubicBezTo>
                  <a:cubicBezTo>
                    <a:pt x="349" y="31"/>
                    <a:pt x="348" y="31"/>
                    <a:pt x="348" y="31"/>
                  </a:cubicBezTo>
                  <a:cubicBezTo>
                    <a:pt x="347" y="31"/>
                    <a:pt x="347" y="31"/>
                    <a:pt x="347" y="31"/>
                  </a:cubicBezTo>
                  <a:cubicBezTo>
                    <a:pt x="347" y="31"/>
                    <a:pt x="346" y="31"/>
                    <a:pt x="346" y="31"/>
                  </a:cubicBezTo>
                  <a:cubicBezTo>
                    <a:pt x="346" y="31"/>
                    <a:pt x="346" y="31"/>
                    <a:pt x="346" y="31"/>
                  </a:cubicBezTo>
                  <a:cubicBezTo>
                    <a:pt x="346" y="31"/>
                    <a:pt x="346" y="30"/>
                    <a:pt x="346" y="30"/>
                  </a:cubicBezTo>
                  <a:cubicBezTo>
                    <a:pt x="346" y="18"/>
                    <a:pt x="346" y="18"/>
                    <a:pt x="346" y="18"/>
                  </a:cubicBezTo>
                  <a:cubicBezTo>
                    <a:pt x="346" y="17"/>
                    <a:pt x="346" y="16"/>
                    <a:pt x="346" y="15"/>
                  </a:cubicBezTo>
                  <a:cubicBezTo>
                    <a:pt x="345" y="14"/>
                    <a:pt x="345" y="14"/>
                    <a:pt x="345" y="13"/>
                  </a:cubicBezTo>
                  <a:cubicBezTo>
                    <a:pt x="344" y="13"/>
                    <a:pt x="344" y="12"/>
                    <a:pt x="343" y="12"/>
                  </a:cubicBezTo>
                  <a:cubicBezTo>
                    <a:pt x="343" y="12"/>
                    <a:pt x="342" y="12"/>
                    <a:pt x="341" y="12"/>
                  </a:cubicBezTo>
                  <a:cubicBezTo>
                    <a:pt x="340" y="12"/>
                    <a:pt x="339" y="12"/>
                    <a:pt x="339" y="13"/>
                  </a:cubicBezTo>
                  <a:cubicBezTo>
                    <a:pt x="338" y="13"/>
                    <a:pt x="337" y="14"/>
                    <a:pt x="335" y="16"/>
                  </a:cubicBezTo>
                  <a:cubicBezTo>
                    <a:pt x="335" y="30"/>
                    <a:pt x="335" y="30"/>
                    <a:pt x="335" y="30"/>
                  </a:cubicBezTo>
                  <a:cubicBezTo>
                    <a:pt x="335" y="30"/>
                    <a:pt x="335" y="31"/>
                    <a:pt x="335" y="31"/>
                  </a:cubicBezTo>
                  <a:cubicBezTo>
                    <a:pt x="335" y="31"/>
                    <a:pt x="335" y="31"/>
                    <a:pt x="335" y="31"/>
                  </a:cubicBezTo>
                  <a:cubicBezTo>
                    <a:pt x="335" y="31"/>
                    <a:pt x="335" y="31"/>
                    <a:pt x="334" y="31"/>
                  </a:cubicBezTo>
                  <a:cubicBezTo>
                    <a:pt x="334" y="31"/>
                    <a:pt x="334" y="31"/>
                    <a:pt x="334" y="31"/>
                  </a:cubicBezTo>
                  <a:cubicBezTo>
                    <a:pt x="333" y="31"/>
                    <a:pt x="333" y="31"/>
                    <a:pt x="333" y="31"/>
                  </a:cubicBezTo>
                  <a:cubicBezTo>
                    <a:pt x="332" y="31"/>
                    <a:pt x="332" y="31"/>
                    <a:pt x="332" y="31"/>
                  </a:cubicBezTo>
                  <a:cubicBezTo>
                    <a:pt x="332" y="31"/>
                    <a:pt x="332" y="31"/>
                    <a:pt x="332" y="31"/>
                  </a:cubicBezTo>
                  <a:cubicBezTo>
                    <a:pt x="332" y="31"/>
                    <a:pt x="332" y="30"/>
                    <a:pt x="332" y="30"/>
                  </a:cubicBezTo>
                  <a:cubicBezTo>
                    <a:pt x="332" y="9"/>
                    <a:pt x="332" y="9"/>
                    <a:pt x="332" y="9"/>
                  </a:cubicBezTo>
                  <a:cubicBezTo>
                    <a:pt x="332" y="9"/>
                    <a:pt x="332" y="9"/>
                    <a:pt x="332" y="9"/>
                  </a:cubicBezTo>
                  <a:cubicBezTo>
                    <a:pt x="332" y="9"/>
                    <a:pt x="332" y="9"/>
                    <a:pt x="332" y="9"/>
                  </a:cubicBezTo>
                  <a:cubicBezTo>
                    <a:pt x="332" y="9"/>
                    <a:pt x="332" y="9"/>
                    <a:pt x="333" y="9"/>
                  </a:cubicBezTo>
                  <a:cubicBezTo>
                    <a:pt x="333" y="9"/>
                    <a:pt x="333" y="9"/>
                    <a:pt x="333" y="9"/>
                  </a:cubicBezTo>
                  <a:cubicBezTo>
                    <a:pt x="334" y="9"/>
                    <a:pt x="334" y="9"/>
                    <a:pt x="334" y="9"/>
                  </a:cubicBezTo>
                  <a:cubicBezTo>
                    <a:pt x="334" y="9"/>
                    <a:pt x="335" y="9"/>
                    <a:pt x="335" y="9"/>
                  </a:cubicBezTo>
                  <a:cubicBezTo>
                    <a:pt x="335" y="9"/>
                    <a:pt x="335" y="9"/>
                    <a:pt x="335" y="9"/>
                  </a:cubicBezTo>
                  <a:cubicBezTo>
                    <a:pt x="335" y="9"/>
                    <a:pt x="335" y="9"/>
                    <a:pt x="335" y="9"/>
                  </a:cubicBezTo>
                  <a:cubicBezTo>
                    <a:pt x="335" y="12"/>
                    <a:pt x="335" y="12"/>
                    <a:pt x="335" y="12"/>
                  </a:cubicBezTo>
                  <a:cubicBezTo>
                    <a:pt x="336" y="11"/>
                    <a:pt x="337" y="10"/>
                    <a:pt x="339" y="9"/>
                  </a:cubicBezTo>
                  <a:cubicBezTo>
                    <a:pt x="340" y="9"/>
                    <a:pt x="341" y="8"/>
                    <a:pt x="342" y="8"/>
                  </a:cubicBezTo>
                  <a:cubicBezTo>
                    <a:pt x="344" y="8"/>
                    <a:pt x="345" y="8"/>
                    <a:pt x="346" y="9"/>
                  </a:cubicBezTo>
                  <a:cubicBezTo>
                    <a:pt x="347" y="9"/>
                    <a:pt x="348" y="10"/>
                    <a:pt x="348" y="11"/>
                  </a:cubicBezTo>
                  <a:cubicBezTo>
                    <a:pt x="349" y="12"/>
                    <a:pt x="349" y="13"/>
                    <a:pt x="349" y="14"/>
                  </a:cubicBezTo>
                  <a:cubicBezTo>
                    <a:pt x="350" y="15"/>
                    <a:pt x="350" y="16"/>
                    <a:pt x="350" y="17"/>
                  </a:cubicBezTo>
                  <a:lnTo>
                    <a:pt x="350" y="30"/>
                  </a:lnTo>
                  <a:close/>
                  <a:moveTo>
                    <a:pt x="375" y="19"/>
                  </a:moveTo>
                  <a:cubicBezTo>
                    <a:pt x="375" y="19"/>
                    <a:pt x="375" y="20"/>
                    <a:pt x="375" y="20"/>
                  </a:cubicBezTo>
                  <a:cubicBezTo>
                    <a:pt x="374" y="20"/>
                    <a:pt x="374" y="21"/>
                    <a:pt x="374" y="21"/>
                  </a:cubicBezTo>
                  <a:cubicBezTo>
                    <a:pt x="360" y="21"/>
                    <a:pt x="360" y="21"/>
                    <a:pt x="360" y="21"/>
                  </a:cubicBezTo>
                  <a:cubicBezTo>
                    <a:pt x="360" y="22"/>
                    <a:pt x="360" y="23"/>
                    <a:pt x="360" y="24"/>
                  </a:cubicBezTo>
                  <a:cubicBezTo>
                    <a:pt x="360" y="25"/>
                    <a:pt x="361" y="25"/>
                    <a:pt x="361" y="26"/>
                  </a:cubicBezTo>
                  <a:cubicBezTo>
                    <a:pt x="362" y="27"/>
                    <a:pt x="362" y="27"/>
                    <a:pt x="363" y="28"/>
                  </a:cubicBezTo>
                  <a:cubicBezTo>
                    <a:pt x="364" y="28"/>
                    <a:pt x="365" y="28"/>
                    <a:pt x="367" y="28"/>
                  </a:cubicBezTo>
                  <a:cubicBezTo>
                    <a:pt x="368" y="28"/>
                    <a:pt x="368" y="28"/>
                    <a:pt x="369" y="28"/>
                  </a:cubicBezTo>
                  <a:cubicBezTo>
                    <a:pt x="370" y="28"/>
                    <a:pt x="371" y="28"/>
                    <a:pt x="371" y="27"/>
                  </a:cubicBezTo>
                  <a:cubicBezTo>
                    <a:pt x="372" y="27"/>
                    <a:pt x="372" y="27"/>
                    <a:pt x="373" y="27"/>
                  </a:cubicBezTo>
                  <a:cubicBezTo>
                    <a:pt x="373" y="27"/>
                    <a:pt x="373" y="27"/>
                    <a:pt x="373" y="27"/>
                  </a:cubicBezTo>
                  <a:cubicBezTo>
                    <a:pt x="374" y="27"/>
                    <a:pt x="374" y="27"/>
                    <a:pt x="374" y="27"/>
                  </a:cubicBezTo>
                  <a:cubicBezTo>
                    <a:pt x="374" y="27"/>
                    <a:pt x="374" y="27"/>
                    <a:pt x="374" y="27"/>
                  </a:cubicBezTo>
                  <a:cubicBezTo>
                    <a:pt x="374" y="27"/>
                    <a:pt x="374" y="27"/>
                    <a:pt x="374" y="27"/>
                  </a:cubicBezTo>
                  <a:cubicBezTo>
                    <a:pt x="374" y="28"/>
                    <a:pt x="374" y="28"/>
                    <a:pt x="374" y="28"/>
                  </a:cubicBezTo>
                  <a:cubicBezTo>
                    <a:pt x="374" y="28"/>
                    <a:pt x="374" y="29"/>
                    <a:pt x="374" y="29"/>
                  </a:cubicBezTo>
                  <a:cubicBezTo>
                    <a:pt x="374" y="29"/>
                    <a:pt x="374" y="29"/>
                    <a:pt x="374" y="29"/>
                  </a:cubicBezTo>
                  <a:cubicBezTo>
                    <a:pt x="374" y="29"/>
                    <a:pt x="374" y="29"/>
                    <a:pt x="374" y="29"/>
                  </a:cubicBezTo>
                  <a:cubicBezTo>
                    <a:pt x="374" y="29"/>
                    <a:pt x="374" y="30"/>
                    <a:pt x="374" y="30"/>
                  </a:cubicBezTo>
                  <a:cubicBezTo>
                    <a:pt x="374" y="30"/>
                    <a:pt x="373" y="30"/>
                    <a:pt x="373" y="30"/>
                  </a:cubicBezTo>
                  <a:cubicBezTo>
                    <a:pt x="373" y="30"/>
                    <a:pt x="372" y="30"/>
                    <a:pt x="371" y="31"/>
                  </a:cubicBezTo>
                  <a:cubicBezTo>
                    <a:pt x="371" y="31"/>
                    <a:pt x="370" y="31"/>
                    <a:pt x="369" y="31"/>
                  </a:cubicBezTo>
                  <a:cubicBezTo>
                    <a:pt x="368" y="31"/>
                    <a:pt x="367" y="31"/>
                    <a:pt x="366" y="31"/>
                  </a:cubicBezTo>
                  <a:cubicBezTo>
                    <a:pt x="364" y="31"/>
                    <a:pt x="363" y="31"/>
                    <a:pt x="362" y="31"/>
                  </a:cubicBezTo>
                  <a:cubicBezTo>
                    <a:pt x="360" y="30"/>
                    <a:pt x="359" y="29"/>
                    <a:pt x="358" y="28"/>
                  </a:cubicBezTo>
                  <a:cubicBezTo>
                    <a:pt x="357" y="28"/>
                    <a:pt x="357" y="26"/>
                    <a:pt x="356" y="25"/>
                  </a:cubicBezTo>
                  <a:cubicBezTo>
                    <a:pt x="356" y="23"/>
                    <a:pt x="356" y="22"/>
                    <a:pt x="356" y="20"/>
                  </a:cubicBezTo>
                  <a:cubicBezTo>
                    <a:pt x="356" y="18"/>
                    <a:pt x="356" y="16"/>
                    <a:pt x="356" y="15"/>
                  </a:cubicBezTo>
                  <a:cubicBezTo>
                    <a:pt x="357" y="14"/>
                    <a:pt x="357" y="12"/>
                    <a:pt x="358" y="11"/>
                  </a:cubicBezTo>
                  <a:cubicBezTo>
                    <a:pt x="359" y="10"/>
                    <a:pt x="360" y="10"/>
                    <a:pt x="362" y="9"/>
                  </a:cubicBezTo>
                  <a:cubicBezTo>
                    <a:pt x="363" y="8"/>
                    <a:pt x="364" y="8"/>
                    <a:pt x="366" y="8"/>
                  </a:cubicBezTo>
                  <a:cubicBezTo>
                    <a:pt x="367" y="8"/>
                    <a:pt x="369" y="8"/>
                    <a:pt x="370" y="9"/>
                  </a:cubicBezTo>
                  <a:cubicBezTo>
                    <a:pt x="371" y="10"/>
                    <a:pt x="372" y="10"/>
                    <a:pt x="373" y="11"/>
                  </a:cubicBezTo>
                  <a:cubicBezTo>
                    <a:pt x="374" y="12"/>
                    <a:pt x="374" y="13"/>
                    <a:pt x="374" y="14"/>
                  </a:cubicBezTo>
                  <a:cubicBezTo>
                    <a:pt x="375" y="16"/>
                    <a:pt x="375" y="17"/>
                    <a:pt x="375" y="18"/>
                  </a:cubicBezTo>
                  <a:lnTo>
                    <a:pt x="375" y="19"/>
                  </a:lnTo>
                  <a:close/>
                  <a:moveTo>
                    <a:pt x="371" y="18"/>
                  </a:moveTo>
                  <a:cubicBezTo>
                    <a:pt x="371" y="16"/>
                    <a:pt x="371" y="14"/>
                    <a:pt x="370" y="13"/>
                  </a:cubicBezTo>
                  <a:cubicBezTo>
                    <a:pt x="369" y="12"/>
                    <a:pt x="367" y="11"/>
                    <a:pt x="366" y="11"/>
                  </a:cubicBezTo>
                  <a:cubicBezTo>
                    <a:pt x="365" y="11"/>
                    <a:pt x="364" y="11"/>
                    <a:pt x="363" y="12"/>
                  </a:cubicBezTo>
                  <a:cubicBezTo>
                    <a:pt x="362" y="12"/>
                    <a:pt x="362" y="13"/>
                    <a:pt x="361" y="13"/>
                  </a:cubicBezTo>
                  <a:cubicBezTo>
                    <a:pt x="361" y="14"/>
                    <a:pt x="360" y="14"/>
                    <a:pt x="360" y="15"/>
                  </a:cubicBezTo>
                  <a:cubicBezTo>
                    <a:pt x="360" y="16"/>
                    <a:pt x="360" y="17"/>
                    <a:pt x="360" y="18"/>
                  </a:cubicBezTo>
                  <a:lnTo>
                    <a:pt x="371" y="18"/>
                  </a:lnTo>
                  <a:close/>
                  <a:moveTo>
                    <a:pt x="399" y="19"/>
                  </a:moveTo>
                  <a:cubicBezTo>
                    <a:pt x="399" y="19"/>
                    <a:pt x="399" y="20"/>
                    <a:pt x="399" y="20"/>
                  </a:cubicBezTo>
                  <a:cubicBezTo>
                    <a:pt x="398" y="20"/>
                    <a:pt x="398" y="21"/>
                    <a:pt x="398" y="21"/>
                  </a:cubicBezTo>
                  <a:cubicBezTo>
                    <a:pt x="384" y="21"/>
                    <a:pt x="384" y="21"/>
                    <a:pt x="384" y="21"/>
                  </a:cubicBezTo>
                  <a:cubicBezTo>
                    <a:pt x="384" y="22"/>
                    <a:pt x="384" y="23"/>
                    <a:pt x="384" y="24"/>
                  </a:cubicBezTo>
                  <a:cubicBezTo>
                    <a:pt x="384" y="25"/>
                    <a:pt x="385" y="25"/>
                    <a:pt x="385" y="26"/>
                  </a:cubicBezTo>
                  <a:cubicBezTo>
                    <a:pt x="386" y="27"/>
                    <a:pt x="386" y="27"/>
                    <a:pt x="387" y="28"/>
                  </a:cubicBezTo>
                  <a:cubicBezTo>
                    <a:pt x="388" y="28"/>
                    <a:pt x="389" y="28"/>
                    <a:pt x="391" y="28"/>
                  </a:cubicBezTo>
                  <a:cubicBezTo>
                    <a:pt x="392" y="28"/>
                    <a:pt x="392" y="28"/>
                    <a:pt x="393" y="28"/>
                  </a:cubicBezTo>
                  <a:cubicBezTo>
                    <a:pt x="394" y="28"/>
                    <a:pt x="395" y="28"/>
                    <a:pt x="395" y="27"/>
                  </a:cubicBezTo>
                  <a:cubicBezTo>
                    <a:pt x="396" y="27"/>
                    <a:pt x="396" y="27"/>
                    <a:pt x="397" y="27"/>
                  </a:cubicBezTo>
                  <a:cubicBezTo>
                    <a:pt x="397" y="27"/>
                    <a:pt x="397" y="27"/>
                    <a:pt x="398" y="27"/>
                  </a:cubicBezTo>
                  <a:cubicBezTo>
                    <a:pt x="398" y="27"/>
                    <a:pt x="398" y="27"/>
                    <a:pt x="398" y="27"/>
                  </a:cubicBezTo>
                  <a:cubicBezTo>
                    <a:pt x="398" y="27"/>
                    <a:pt x="398" y="27"/>
                    <a:pt x="398" y="27"/>
                  </a:cubicBezTo>
                  <a:cubicBezTo>
                    <a:pt x="398" y="27"/>
                    <a:pt x="398" y="27"/>
                    <a:pt x="398" y="27"/>
                  </a:cubicBezTo>
                  <a:cubicBezTo>
                    <a:pt x="398" y="28"/>
                    <a:pt x="398" y="28"/>
                    <a:pt x="398" y="28"/>
                  </a:cubicBezTo>
                  <a:cubicBezTo>
                    <a:pt x="398" y="28"/>
                    <a:pt x="398" y="29"/>
                    <a:pt x="398" y="29"/>
                  </a:cubicBezTo>
                  <a:cubicBezTo>
                    <a:pt x="398" y="29"/>
                    <a:pt x="398" y="29"/>
                    <a:pt x="398" y="29"/>
                  </a:cubicBezTo>
                  <a:cubicBezTo>
                    <a:pt x="398" y="29"/>
                    <a:pt x="398" y="29"/>
                    <a:pt x="398" y="29"/>
                  </a:cubicBezTo>
                  <a:cubicBezTo>
                    <a:pt x="398" y="29"/>
                    <a:pt x="398" y="30"/>
                    <a:pt x="398" y="30"/>
                  </a:cubicBezTo>
                  <a:cubicBezTo>
                    <a:pt x="398" y="30"/>
                    <a:pt x="397" y="30"/>
                    <a:pt x="397" y="30"/>
                  </a:cubicBezTo>
                  <a:cubicBezTo>
                    <a:pt x="397" y="30"/>
                    <a:pt x="396" y="30"/>
                    <a:pt x="395" y="31"/>
                  </a:cubicBezTo>
                  <a:cubicBezTo>
                    <a:pt x="395" y="31"/>
                    <a:pt x="394" y="31"/>
                    <a:pt x="393" y="31"/>
                  </a:cubicBezTo>
                  <a:cubicBezTo>
                    <a:pt x="392" y="31"/>
                    <a:pt x="391" y="31"/>
                    <a:pt x="390" y="31"/>
                  </a:cubicBezTo>
                  <a:cubicBezTo>
                    <a:pt x="389" y="31"/>
                    <a:pt x="387" y="31"/>
                    <a:pt x="386" y="31"/>
                  </a:cubicBezTo>
                  <a:cubicBezTo>
                    <a:pt x="384" y="30"/>
                    <a:pt x="383" y="29"/>
                    <a:pt x="382" y="28"/>
                  </a:cubicBezTo>
                  <a:cubicBezTo>
                    <a:pt x="381" y="28"/>
                    <a:pt x="381" y="26"/>
                    <a:pt x="380" y="25"/>
                  </a:cubicBezTo>
                  <a:cubicBezTo>
                    <a:pt x="380" y="23"/>
                    <a:pt x="380" y="22"/>
                    <a:pt x="380" y="20"/>
                  </a:cubicBezTo>
                  <a:cubicBezTo>
                    <a:pt x="380" y="18"/>
                    <a:pt x="380" y="16"/>
                    <a:pt x="380" y="15"/>
                  </a:cubicBezTo>
                  <a:cubicBezTo>
                    <a:pt x="381" y="14"/>
                    <a:pt x="382" y="12"/>
                    <a:pt x="382" y="11"/>
                  </a:cubicBezTo>
                  <a:cubicBezTo>
                    <a:pt x="383" y="10"/>
                    <a:pt x="384" y="10"/>
                    <a:pt x="386" y="9"/>
                  </a:cubicBezTo>
                  <a:cubicBezTo>
                    <a:pt x="387" y="8"/>
                    <a:pt x="388" y="8"/>
                    <a:pt x="390" y="8"/>
                  </a:cubicBezTo>
                  <a:cubicBezTo>
                    <a:pt x="391" y="8"/>
                    <a:pt x="393" y="8"/>
                    <a:pt x="394" y="9"/>
                  </a:cubicBezTo>
                  <a:cubicBezTo>
                    <a:pt x="395" y="10"/>
                    <a:pt x="396" y="10"/>
                    <a:pt x="397" y="11"/>
                  </a:cubicBezTo>
                  <a:cubicBezTo>
                    <a:pt x="398" y="12"/>
                    <a:pt x="398" y="13"/>
                    <a:pt x="399" y="14"/>
                  </a:cubicBezTo>
                  <a:cubicBezTo>
                    <a:pt x="399" y="16"/>
                    <a:pt x="399" y="17"/>
                    <a:pt x="399" y="18"/>
                  </a:cubicBezTo>
                  <a:lnTo>
                    <a:pt x="399" y="19"/>
                  </a:lnTo>
                  <a:close/>
                  <a:moveTo>
                    <a:pt x="395" y="18"/>
                  </a:moveTo>
                  <a:cubicBezTo>
                    <a:pt x="395" y="16"/>
                    <a:pt x="395" y="14"/>
                    <a:pt x="394" y="13"/>
                  </a:cubicBezTo>
                  <a:cubicBezTo>
                    <a:pt x="393" y="12"/>
                    <a:pt x="391" y="11"/>
                    <a:pt x="390" y="11"/>
                  </a:cubicBezTo>
                  <a:cubicBezTo>
                    <a:pt x="389" y="11"/>
                    <a:pt x="388" y="11"/>
                    <a:pt x="387" y="12"/>
                  </a:cubicBezTo>
                  <a:cubicBezTo>
                    <a:pt x="386" y="12"/>
                    <a:pt x="386" y="13"/>
                    <a:pt x="385" y="13"/>
                  </a:cubicBezTo>
                  <a:cubicBezTo>
                    <a:pt x="385" y="14"/>
                    <a:pt x="384" y="14"/>
                    <a:pt x="384" y="15"/>
                  </a:cubicBezTo>
                  <a:cubicBezTo>
                    <a:pt x="384" y="16"/>
                    <a:pt x="384" y="17"/>
                    <a:pt x="384" y="18"/>
                  </a:cubicBezTo>
                  <a:lnTo>
                    <a:pt x="395" y="18"/>
                  </a:lnTo>
                  <a:close/>
                  <a:moveTo>
                    <a:pt x="417" y="11"/>
                  </a:moveTo>
                  <a:cubicBezTo>
                    <a:pt x="417" y="11"/>
                    <a:pt x="417" y="11"/>
                    <a:pt x="417" y="12"/>
                  </a:cubicBezTo>
                  <a:cubicBezTo>
                    <a:pt x="417" y="12"/>
                    <a:pt x="417" y="12"/>
                    <a:pt x="417" y="12"/>
                  </a:cubicBezTo>
                  <a:cubicBezTo>
                    <a:pt x="417" y="12"/>
                    <a:pt x="417" y="12"/>
                    <a:pt x="417" y="12"/>
                  </a:cubicBezTo>
                  <a:cubicBezTo>
                    <a:pt x="417" y="12"/>
                    <a:pt x="417" y="12"/>
                    <a:pt x="417" y="12"/>
                  </a:cubicBezTo>
                  <a:cubicBezTo>
                    <a:pt x="417" y="12"/>
                    <a:pt x="417" y="12"/>
                    <a:pt x="416" y="12"/>
                  </a:cubicBezTo>
                  <a:cubicBezTo>
                    <a:pt x="416" y="12"/>
                    <a:pt x="416" y="12"/>
                    <a:pt x="416" y="12"/>
                  </a:cubicBezTo>
                  <a:cubicBezTo>
                    <a:pt x="416" y="12"/>
                    <a:pt x="415" y="12"/>
                    <a:pt x="415" y="12"/>
                  </a:cubicBezTo>
                  <a:cubicBezTo>
                    <a:pt x="415" y="12"/>
                    <a:pt x="414" y="12"/>
                    <a:pt x="414" y="12"/>
                  </a:cubicBezTo>
                  <a:cubicBezTo>
                    <a:pt x="414" y="12"/>
                    <a:pt x="413" y="12"/>
                    <a:pt x="413" y="12"/>
                  </a:cubicBezTo>
                  <a:cubicBezTo>
                    <a:pt x="413" y="12"/>
                    <a:pt x="412" y="13"/>
                    <a:pt x="412" y="13"/>
                  </a:cubicBezTo>
                  <a:cubicBezTo>
                    <a:pt x="411" y="13"/>
                    <a:pt x="411" y="14"/>
                    <a:pt x="411" y="14"/>
                  </a:cubicBezTo>
                  <a:cubicBezTo>
                    <a:pt x="410" y="15"/>
                    <a:pt x="410" y="16"/>
                    <a:pt x="409" y="16"/>
                  </a:cubicBezTo>
                  <a:cubicBezTo>
                    <a:pt x="409" y="30"/>
                    <a:pt x="409" y="30"/>
                    <a:pt x="409" y="30"/>
                  </a:cubicBezTo>
                  <a:cubicBezTo>
                    <a:pt x="409" y="30"/>
                    <a:pt x="409" y="31"/>
                    <a:pt x="409" y="31"/>
                  </a:cubicBezTo>
                  <a:cubicBezTo>
                    <a:pt x="409" y="31"/>
                    <a:pt x="409" y="31"/>
                    <a:pt x="409" y="31"/>
                  </a:cubicBezTo>
                  <a:cubicBezTo>
                    <a:pt x="408" y="31"/>
                    <a:pt x="408" y="31"/>
                    <a:pt x="408" y="31"/>
                  </a:cubicBezTo>
                  <a:cubicBezTo>
                    <a:pt x="408" y="31"/>
                    <a:pt x="407" y="31"/>
                    <a:pt x="407" y="31"/>
                  </a:cubicBezTo>
                  <a:cubicBezTo>
                    <a:pt x="407" y="31"/>
                    <a:pt x="406" y="31"/>
                    <a:pt x="406" y="31"/>
                  </a:cubicBezTo>
                  <a:cubicBezTo>
                    <a:pt x="406" y="31"/>
                    <a:pt x="406" y="31"/>
                    <a:pt x="406" y="31"/>
                  </a:cubicBezTo>
                  <a:cubicBezTo>
                    <a:pt x="405" y="31"/>
                    <a:pt x="405" y="31"/>
                    <a:pt x="405" y="31"/>
                  </a:cubicBezTo>
                  <a:cubicBezTo>
                    <a:pt x="405" y="31"/>
                    <a:pt x="405" y="30"/>
                    <a:pt x="405" y="30"/>
                  </a:cubicBezTo>
                  <a:cubicBezTo>
                    <a:pt x="405" y="9"/>
                    <a:pt x="405" y="9"/>
                    <a:pt x="405" y="9"/>
                  </a:cubicBezTo>
                  <a:cubicBezTo>
                    <a:pt x="405" y="9"/>
                    <a:pt x="405" y="9"/>
                    <a:pt x="405" y="9"/>
                  </a:cubicBezTo>
                  <a:cubicBezTo>
                    <a:pt x="405" y="9"/>
                    <a:pt x="405" y="9"/>
                    <a:pt x="406" y="9"/>
                  </a:cubicBezTo>
                  <a:cubicBezTo>
                    <a:pt x="406" y="9"/>
                    <a:pt x="406" y="9"/>
                    <a:pt x="406" y="9"/>
                  </a:cubicBezTo>
                  <a:cubicBezTo>
                    <a:pt x="406" y="9"/>
                    <a:pt x="407" y="9"/>
                    <a:pt x="407" y="9"/>
                  </a:cubicBezTo>
                  <a:cubicBezTo>
                    <a:pt x="407" y="9"/>
                    <a:pt x="408" y="9"/>
                    <a:pt x="408" y="9"/>
                  </a:cubicBezTo>
                  <a:cubicBezTo>
                    <a:pt x="408" y="9"/>
                    <a:pt x="408" y="9"/>
                    <a:pt x="408" y="9"/>
                  </a:cubicBezTo>
                  <a:cubicBezTo>
                    <a:pt x="408" y="9"/>
                    <a:pt x="409" y="9"/>
                    <a:pt x="409" y="9"/>
                  </a:cubicBezTo>
                  <a:cubicBezTo>
                    <a:pt x="409" y="9"/>
                    <a:pt x="409" y="9"/>
                    <a:pt x="409" y="9"/>
                  </a:cubicBezTo>
                  <a:cubicBezTo>
                    <a:pt x="409" y="12"/>
                    <a:pt x="409" y="12"/>
                    <a:pt x="409" y="12"/>
                  </a:cubicBezTo>
                  <a:cubicBezTo>
                    <a:pt x="409" y="11"/>
                    <a:pt x="410" y="11"/>
                    <a:pt x="410" y="10"/>
                  </a:cubicBezTo>
                  <a:cubicBezTo>
                    <a:pt x="411" y="10"/>
                    <a:pt x="411" y="9"/>
                    <a:pt x="412" y="9"/>
                  </a:cubicBezTo>
                  <a:cubicBezTo>
                    <a:pt x="412" y="9"/>
                    <a:pt x="413" y="8"/>
                    <a:pt x="413" y="8"/>
                  </a:cubicBezTo>
                  <a:cubicBezTo>
                    <a:pt x="414" y="8"/>
                    <a:pt x="414" y="8"/>
                    <a:pt x="414" y="8"/>
                  </a:cubicBezTo>
                  <a:cubicBezTo>
                    <a:pt x="415" y="8"/>
                    <a:pt x="415" y="8"/>
                    <a:pt x="415" y="8"/>
                  </a:cubicBezTo>
                  <a:cubicBezTo>
                    <a:pt x="415" y="8"/>
                    <a:pt x="416" y="8"/>
                    <a:pt x="416" y="8"/>
                  </a:cubicBezTo>
                  <a:cubicBezTo>
                    <a:pt x="416" y="8"/>
                    <a:pt x="416" y="8"/>
                    <a:pt x="417" y="9"/>
                  </a:cubicBezTo>
                  <a:cubicBezTo>
                    <a:pt x="417" y="9"/>
                    <a:pt x="417" y="9"/>
                    <a:pt x="417" y="9"/>
                  </a:cubicBezTo>
                  <a:cubicBezTo>
                    <a:pt x="417" y="9"/>
                    <a:pt x="417" y="9"/>
                    <a:pt x="417" y="9"/>
                  </a:cubicBezTo>
                  <a:cubicBezTo>
                    <a:pt x="417" y="9"/>
                    <a:pt x="417" y="9"/>
                    <a:pt x="417" y="9"/>
                  </a:cubicBezTo>
                  <a:cubicBezTo>
                    <a:pt x="417" y="9"/>
                    <a:pt x="417" y="10"/>
                    <a:pt x="417" y="10"/>
                  </a:cubicBezTo>
                  <a:cubicBezTo>
                    <a:pt x="417" y="10"/>
                    <a:pt x="417" y="10"/>
                    <a:pt x="417" y="11"/>
                  </a:cubicBezTo>
                  <a:close/>
                  <a:moveTo>
                    <a:pt x="426" y="2"/>
                  </a:moveTo>
                  <a:cubicBezTo>
                    <a:pt x="426" y="3"/>
                    <a:pt x="426" y="4"/>
                    <a:pt x="426" y="4"/>
                  </a:cubicBezTo>
                  <a:cubicBezTo>
                    <a:pt x="426" y="4"/>
                    <a:pt x="425" y="4"/>
                    <a:pt x="424" y="4"/>
                  </a:cubicBezTo>
                  <a:cubicBezTo>
                    <a:pt x="423" y="4"/>
                    <a:pt x="422" y="4"/>
                    <a:pt x="422" y="4"/>
                  </a:cubicBezTo>
                  <a:cubicBezTo>
                    <a:pt x="422" y="4"/>
                    <a:pt x="422" y="3"/>
                    <a:pt x="422" y="2"/>
                  </a:cubicBezTo>
                  <a:cubicBezTo>
                    <a:pt x="422" y="1"/>
                    <a:pt x="422" y="1"/>
                    <a:pt x="422" y="0"/>
                  </a:cubicBezTo>
                  <a:cubicBezTo>
                    <a:pt x="422" y="0"/>
                    <a:pt x="423" y="0"/>
                    <a:pt x="424" y="0"/>
                  </a:cubicBezTo>
                  <a:cubicBezTo>
                    <a:pt x="425" y="0"/>
                    <a:pt x="426" y="0"/>
                    <a:pt x="426" y="0"/>
                  </a:cubicBezTo>
                  <a:cubicBezTo>
                    <a:pt x="426" y="1"/>
                    <a:pt x="426" y="1"/>
                    <a:pt x="426" y="2"/>
                  </a:cubicBezTo>
                  <a:close/>
                  <a:moveTo>
                    <a:pt x="426" y="30"/>
                  </a:moveTo>
                  <a:cubicBezTo>
                    <a:pt x="426" y="30"/>
                    <a:pt x="426" y="31"/>
                    <a:pt x="426" y="31"/>
                  </a:cubicBezTo>
                  <a:cubicBezTo>
                    <a:pt x="426" y="31"/>
                    <a:pt x="426" y="31"/>
                    <a:pt x="426" y="31"/>
                  </a:cubicBezTo>
                  <a:cubicBezTo>
                    <a:pt x="425" y="31"/>
                    <a:pt x="425" y="31"/>
                    <a:pt x="425" y="31"/>
                  </a:cubicBezTo>
                  <a:cubicBezTo>
                    <a:pt x="425" y="31"/>
                    <a:pt x="424" y="31"/>
                    <a:pt x="424" y="31"/>
                  </a:cubicBezTo>
                  <a:cubicBezTo>
                    <a:pt x="424" y="31"/>
                    <a:pt x="423" y="31"/>
                    <a:pt x="423" y="31"/>
                  </a:cubicBezTo>
                  <a:cubicBezTo>
                    <a:pt x="423" y="31"/>
                    <a:pt x="423" y="31"/>
                    <a:pt x="422" y="31"/>
                  </a:cubicBezTo>
                  <a:cubicBezTo>
                    <a:pt x="422" y="31"/>
                    <a:pt x="422" y="31"/>
                    <a:pt x="422" y="31"/>
                  </a:cubicBezTo>
                  <a:cubicBezTo>
                    <a:pt x="422" y="31"/>
                    <a:pt x="422" y="30"/>
                    <a:pt x="422" y="30"/>
                  </a:cubicBezTo>
                  <a:cubicBezTo>
                    <a:pt x="422" y="9"/>
                    <a:pt x="422" y="9"/>
                    <a:pt x="422" y="9"/>
                  </a:cubicBezTo>
                  <a:cubicBezTo>
                    <a:pt x="422" y="9"/>
                    <a:pt x="422" y="9"/>
                    <a:pt x="422" y="9"/>
                  </a:cubicBezTo>
                  <a:cubicBezTo>
                    <a:pt x="422" y="9"/>
                    <a:pt x="422" y="9"/>
                    <a:pt x="422" y="9"/>
                  </a:cubicBezTo>
                  <a:cubicBezTo>
                    <a:pt x="423" y="9"/>
                    <a:pt x="423" y="9"/>
                    <a:pt x="423" y="9"/>
                  </a:cubicBezTo>
                  <a:cubicBezTo>
                    <a:pt x="423" y="9"/>
                    <a:pt x="424" y="9"/>
                    <a:pt x="424" y="9"/>
                  </a:cubicBezTo>
                  <a:cubicBezTo>
                    <a:pt x="424" y="9"/>
                    <a:pt x="425" y="9"/>
                    <a:pt x="425" y="9"/>
                  </a:cubicBezTo>
                  <a:cubicBezTo>
                    <a:pt x="425" y="9"/>
                    <a:pt x="425" y="9"/>
                    <a:pt x="426" y="9"/>
                  </a:cubicBezTo>
                  <a:cubicBezTo>
                    <a:pt x="426" y="9"/>
                    <a:pt x="426" y="9"/>
                    <a:pt x="426" y="9"/>
                  </a:cubicBezTo>
                  <a:cubicBezTo>
                    <a:pt x="426" y="9"/>
                    <a:pt x="426" y="9"/>
                    <a:pt x="426" y="9"/>
                  </a:cubicBezTo>
                  <a:lnTo>
                    <a:pt x="426" y="30"/>
                  </a:lnTo>
                  <a:close/>
                  <a:moveTo>
                    <a:pt x="451" y="30"/>
                  </a:moveTo>
                  <a:cubicBezTo>
                    <a:pt x="451" y="30"/>
                    <a:pt x="451" y="31"/>
                    <a:pt x="451" y="31"/>
                  </a:cubicBezTo>
                  <a:cubicBezTo>
                    <a:pt x="451" y="31"/>
                    <a:pt x="451" y="31"/>
                    <a:pt x="451" y="31"/>
                  </a:cubicBezTo>
                  <a:cubicBezTo>
                    <a:pt x="451" y="31"/>
                    <a:pt x="451" y="31"/>
                    <a:pt x="450" y="31"/>
                  </a:cubicBezTo>
                  <a:cubicBezTo>
                    <a:pt x="450" y="31"/>
                    <a:pt x="450" y="31"/>
                    <a:pt x="450" y="31"/>
                  </a:cubicBezTo>
                  <a:cubicBezTo>
                    <a:pt x="449" y="31"/>
                    <a:pt x="449" y="31"/>
                    <a:pt x="449" y="31"/>
                  </a:cubicBezTo>
                  <a:cubicBezTo>
                    <a:pt x="448" y="31"/>
                    <a:pt x="448" y="31"/>
                    <a:pt x="448" y="31"/>
                  </a:cubicBezTo>
                  <a:cubicBezTo>
                    <a:pt x="448" y="31"/>
                    <a:pt x="448" y="31"/>
                    <a:pt x="448" y="31"/>
                  </a:cubicBezTo>
                  <a:cubicBezTo>
                    <a:pt x="448" y="31"/>
                    <a:pt x="448" y="30"/>
                    <a:pt x="448" y="30"/>
                  </a:cubicBezTo>
                  <a:cubicBezTo>
                    <a:pt x="448" y="18"/>
                    <a:pt x="448" y="18"/>
                    <a:pt x="448" y="18"/>
                  </a:cubicBezTo>
                  <a:cubicBezTo>
                    <a:pt x="448" y="17"/>
                    <a:pt x="448" y="16"/>
                    <a:pt x="447" y="15"/>
                  </a:cubicBezTo>
                  <a:cubicBezTo>
                    <a:pt x="447" y="14"/>
                    <a:pt x="447" y="14"/>
                    <a:pt x="447" y="13"/>
                  </a:cubicBezTo>
                  <a:cubicBezTo>
                    <a:pt x="446" y="13"/>
                    <a:pt x="446" y="12"/>
                    <a:pt x="445" y="12"/>
                  </a:cubicBezTo>
                  <a:cubicBezTo>
                    <a:pt x="445" y="12"/>
                    <a:pt x="444" y="12"/>
                    <a:pt x="443" y="12"/>
                  </a:cubicBezTo>
                  <a:cubicBezTo>
                    <a:pt x="442" y="12"/>
                    <a:pt x="441" y="12"/>
                    <a:pt x="440" y="13"/>
                  </a:cubicBezTo>
                  <a:cubicBezTo>
                    <a:pt x="439" y="13"/>
                    <a:pt x="438" y="14"/>
                    <a:pt x="437" y="16"/>
                  </a:cubicBezTo>
                  <a:cubicBezTo>
                    <a:pt x="437" y="30"/>
                    <a:pt x="437" y="30"/>
                    <a:pt x="437" y="30"/>
                  </a:cubicBezTo>
                  <a:cubicBezTo>
                    <a:pt x="437" y="30"/>
                    <a:pt x="437" y="31"/>
                    <a:pt x="437" y="31"/>
                  </a:cubicBezTo>
                  <a:cubicBezTo>
                    <a:pt x="437" y="31"/>
                    <a:pt x="437" y="31"/>
                    <a:pt x="437" y="31"/>
                  </a:cubicBezTo>
                  <a:cubicBezTo>
                    <a:pt x="437" y="31"/>
                    <a:pt x="436" y="31"/>
                    <a:pt x="436" y="31"/>
                  </a:cubicBezTo>
                  <a:cubicBezTo>
                    <a:pt x="436" y="31"/>
                    <a:pt x="436" y="31"/>
                    <a:pt x="435" y="31"/>
                  </a:cubicBezTo>
                  <a:cubicBezTo>
                    <a:pt x="435" y="31"/>
                    <a:pt x="435" y="31"/>
                    <a:pt x="434" y="31"/>
                  </a:cubicBezTo>
                  <a:cubicBezTo>
                    <a:pt x="434" y="31"/>
                    <a:pt x="434" y="31"/>
                    <a:pt x="434" y="31"/>
                  </a:cubicBezTo>
                  <a:cubicBezTo>
                    <a:pt x="434" y="31"/>
                    <a:pt x="433" y="31"/>
                    <a:pt x="433" y="31"/>
                  </a:cubicBezTo>
                  <a:cubicBezTo>
                    <a:pt x="433" y="31"/>
                    <a:pt x="433" y="30"/>
                    <a:pt x="433" y="30"/>
                  </a:cubicBezTo>
                  <a:cubicBezTo>
                    <a:pt x="433" y="9"/>
                    <a:pt x="433" y="9"/>
                    <a:pt x="433" y="9"/>
                  </a:cubicBezTo>
                  <a:cubicBezTo>
                    <a:pt x="433" y="9"/>
                    <a:pt x="433" y="9"/>
                    <a:pt x="433" y="9"/>
                  </a:cubicBezTo>
                  <a:cubicBezTo>
                    <a:pt x="433" y="9"/>
                    <a:pt x="434" y="9"/>
                    <a:pt x="434" y="9"/>
                  </a:cubicBezTo>
                  <a:cubicBezTo>
                    <a:pt x="434" y="9"/>
                    <a:pt x="434" y="9"/>
                    <a:pt x="434" y="9"/>
                  </a:cubicBezTo>
                  <a:cubicBezTo>
                    <a:pt x="434" y="9"/>
                    <a:pt x="435" y="9"/>
                    <a:pt x="435" y="9"/>
                  </a:cubicBezTo>
                  <a:cubicBezTo>
                    <a:pt x="435" y="9"/>
                    <a:pt x="436" y="9"/>
                    <a:pt x="436" y="9"/>
                  </a:cubicBezTo>
                  <a:cubicBezTo>
                    <a:pt x="436" y="9"/>
                    <a:pt x="436" y="9"/>
                    <a:pt x="436" y="9"/>
                  </a:cubicBezTo>
                  <a:cubicBezTo>
                    <a:pt x="437" y="9"/>
                    <a:pt x="437" y="9"/>
                    <a:pt x="437" y="9"/>
                  </a:cubicBezTo>
                  <a:cubicBezTo>
                    <a:pt x="437" y="9"/>
                    <a:pt x="437" y="9"/>
                    <a:pt x="437" y="9"/>
                  </a:cubicBezTo>
                  <a:cubicBezTo>
                    <a:pt x="437" y="12"/>
                    <a:pt x="437" y="12"/>
                    <a:pt x="437" y="12"/>
                  </a:cubicBezTo>
                  <a:cubicBezTo>
                    <a:pt x="438" y="11"/>
                    <a:pt x="439" y="10"/>
                    <a:pt x="440" y="9"/>
                  </a:cubicBezTo>
                  <a:cubicBezTo>
                    <a:pt x="442" y="9"/>
                    <a:pt x="443" y="8"/>
                    <a:pt x="444" y="8"/>
                  </a:cubicBezTo>
                  <a:cubicBezTo>
                    <a:pt x="445" y="8"/>
                    <a:pt x="447" y="8"/>
                    <a:pt x="447" y="9"/>
                  </a:cubicBezTo>
                  <a:cubicBezTo>
                    <a:pt x="448" y="9"/>
                    <a:pt x="449" y="10"/>
                    <a:pt x="450" y="11"/>
                  </a:cubicBezTo>
                  <a:cubicBezTo>
                    <a:pt x="450" y="12"/>
                    <a:pt x="451" y="13"/>
                    <a:pt x="451" y="14"/>
                  </a:cubicBezTo>
                  <a:cubicBezTo>
                    <a:pt x="451" y="15"/>
                    <a:pt x="451" y="16"/>
                    <a:pt x="451" y="17"/>
                  </a:cubicBezTo>
                  <a:lnTo>
                    <a:pt x="451" y="30"/>
                  </a:lnTo>
                  <a:close/>
                  <a:moveTo>
                    <a:pt x="476" y="10"/>
                  </a:moveTo>
                  <a:cubicBezTo>
                    <a:pt x="476" y="11"/>
                    <a:pt x="476" y="11"/>
                    <a:pt x="476" y="11"/>
                  </a:cubicBezTo>
                  <a:cubicBezTo>
                    <a:pt x="476" y="12"/>
                    <a:pt x="476" y="12"/>
                    <a:pt x="476" y="12"/>
                  </a:cubicBezTo>
                  <a:cubicBezTo>
                    <a:pt x="473" y="12"/>
                    <a:pt x="473" y="12"/>
                    <a:pt x="473" y="12"/>
                  </a:cubicBezTo>
                  <a:cubicBezTo>
                    <a:pt x="473" y="12"/>
                    <a:pt x="473" y="13"/>
                    <a:pt x="474" y="14"/>
                  </a:cubicBezTo>
                  <a:cubicBezTo>
                    <a:pt x="474" y="14"/>
                    <a:pt x="474" y="15"/>
                    <a:pt x="474" y="16"/>
                  </a:cubicBezTo>
                  <a:cubicBezTo>
                    <a:pt x="474" y="17"/>
                    <a:pt x="474" y="18"/>
                    <a:pt x="473" y="19"/>
                  </a:cubicBezTo>
                  <a:cubicBezTo>
                    <a:pt x="473" y="20"/>
                    <a:pt x="472" y="21"/>
                    <a:pt x="472" y="21"/>
                  </a:cubicBezTo>
                  <a:cubicBezTo>
                    <a:pt x="471" y="22"/>
                    <a:pt x="470" y="23"/>
                    <a:pt x="469" y="23"/>
                  </a:cubicBezTo>
                  <a:cubicBezTo>
                    <a:pt x="468" y="23"/>
                    <a:pt x="467" y="23"/>
                    <a:pt x="466" y="23"/>
                  </a:cubicBezTo>
                  <a:cubicBezTo>
                    <a:pt x="465" y="23"/>
                    <a:pt x="464" y="23"/>
                    <a:pt x="463" y="23"/>
                  </a:cubicBezTo>
                  <a:cubicBezTo>
                    <a:pt x="463" y="23"/>
                    <a:pt x="462" y="23"/>
                    <a:pt x="462" y="22"/>
                  </a:cubicBezTo>
                  <a:cubicBezTo>
                    <a:pt x="461" y="22"/>
                    <a:pt x="461" y="23"/>
                    <a:pt x="461" y="23"/>
                  </a:cubicBezTo>
                  <a:cubicBezTo>
                    <a:pt x="461" y="23"/>
                    <a:pt x="461" y="24"/>
                    <a:pt x="461" y="24"/>
                  </a:cubicBezTo>
                  <a:cubicBezTo>
                    <a:pt x="461" y="25"/>
                    <a:pt x="461" y="25"/>
                    <a:pt x="461" y="26"/>
                  </a:cubicBezTo>
                  <a:cubicBezTo>
                    <a:pt x="462" y="26"/>
                    <a:pt x="463" y="26"/>
                    <a:pt x="463" y="26"/>
                  </a:cubicBezTo>
                  <a:cubicBezTo>
                    <a:pt x="469" y="27"/>
                    <a:pt x="469" y="27"/>
                    <a:pt x="469" y="27"/>
                  </a:cubicBezTo>
                  <a:cubicBezTo>
                    <a:pt x="470" y="27"/>
                    <a:pt x="471" y="27"/>
                    <a:pt x="472" y="27"/>
                  </a:cubicBezTo>
                  <a:cubicBezTo>
                    <a:pt x="473" y="27"/>
                    <a:pt x="473" y="28"/>
                    <a:pt x="474" y="28"/>
                  </a:cubicBezTo>
                  <a:cubicBezTo>
                    <a:pt x="475" y="29"/>
                    <a:pt x="475" y="29"/>
                    <a:pt x="476" y="30"/>
                  </a:cubicBezTo>
                  <a:cubicBezTo>
                    <a:pt x="476" y="31"/>
                    <a:pt x="476" y="31"/>
                    <a:pt x="476" y="32"/>
                  </a:cubicBezTo>
                  <a:cubicBezTo>
                    <a:pt x="476" y="33"/>
                    <a:pt x="476" y="34"/>
                    <a:pt x="475" y="35"/>
                  </a:cubicBezTo>
                  <a:cubicBezTo>
                    <a:pt x="475" y="36"/>
                    <a:pt x="474" y="37"/>
                    <a:pt x="474" y="37"/>
                  </a:cubicBezTo>
                  <a:cubicBezTo>
                    <a:pt x="473" y="38"/>
                    <a:pt x="472" y="39"/>
                    <a:pt x="470" y="39"/>
                  </a:cubicBezTo>
                  <a:cubicBezTo>
                    <a:pt x="469" y="39"/>
                    <a:pt x="468" y="39"/>
                    <a:pt x="466" y="39"/>
                  </a:cubicBezTo>
                  <a:cubicBezTo>
                    <a:pt x="464" y="39"/>
                    <a:pt x="463" y="39"/>
                    <a:pt x="461" y="39"/>
                  </a:cubicBezTo>
                  <a:cubicBezTo>
                    <a:pt x="460" y="39"/>
                    <a:pt x="459" y="38"/>
                    <a:pt x="459" y="38"/>
                  </a:cubicBezTo>
                  <a:cubicBezTo>
                    <a:pt x="458" y="37"/>
                    <a:pt x="457" y="37"/>
                    <a:pt x="457" y="36"/>
                  </a:cubicBezTo>
                  <a:cubicBezTo>
                    <a:pt x="457" y="35"/>
                    <a:pt x="456" y="35"/>
                    <a:pt x="456" y="34"/>
                  </a:cubicBezTo>
                  <a:cubicBezTo>
                    <a:pt x="456" y="33"/>
                    <a:pt x="456" y="33"/>
                    <a:pt x="457" y="32"/>
                  </a:cubicBezTo>
                  <a:cubicBezTo>
                    <a:pt x="457" y="32"/>
                    <a:pt x="457" y="31"/>
                    <a:pt x="457" y="31"/>
                  </a:cubicBezTo>
                  <a:cubicBezTo>
                    <a:pt x="457" y="30"/>
                    <a:pt x="458" y="30"/>
                    <a:pt x="458" y="30"/>
                  </a:cubicBezTo>
                  <a:cubicBezTo>
                    <a:pt x="458" y="29"/>
                    <a:pt x="459" y="29"/>
                    <a:pt x="459" y="28"/>
                  </a:cubicBezTo>
                  <a:cubicBezTo>
                    <a:pt x="459" y="28"/>
                    <a:pt x="458" y="28"/>
                    <a:pt x="458" y="27"/>
                  </a:cubicBezTo>
                  <a:cubicBezTo>
                    <a:pt x="457" y="26"/>
                    <a:pt x="457" y="26"/>
                    <a:pt x="457" y="25"/>
                  </a:cubicBezTo>
                  <a:cubicBezTo>
                    <a:pt x="457" y="24"/>
                    <a:pt x="457" y="23"/>
                    <a:pt x="458" y="23"/>
                  </a:cubicBezTo>
                  <a:cubicBezTo>
                    <a:pt x="458" y="22"/>
                    <a:pt x="459" y="21"/>
                    <a:pt x="459" y="21"/>
                  </a:cubicBezTo>
                  <a:cubicBezTo>
                    <a:pt x="459" y="20"/>
                    <a:pt x="458" y="19"/>
                    <a:pt x="458" y="19"/>
                  </a:cubicBezTo>
                  <a:cubicBezTo>
                    <a:pt x="458" y="18"/>
                    <a:pt x="458" y="17"/>
                    <a:pt x="458" y="16"/>
                  </a:cubicBezTo>
                  <a:cubicBezTo>
                    <a:pt x="458" y="15"/>
                    <a:pt x="458" y="14"/>
                    <a:pt x="458" y="13"/>
                  </a:cubicBezTo>
                  <a:cubicBezTo>
                    <a:pt x="459" y="12"/>
                    <a:pt x="459" y="11"/>
                    <a:pt x="460" y="10"/>
                  </a:cubicBezTo>
                  <a:cubicBezTo>
                    <a:pt x="461" y="10"/>
                    <a:pt x="462" y="9"/>
                    <a:pt x="463" y="9"/>
                  </a:cubicBezTo>
                  <a:cubicBezTo>
                    <a:pt x="464" y="8"/>
                    <a:pt x="465" y="8"/>
                    <a:pt x="466" y="8"/>
                  </a:cubicBezTo>
                  <a:cubicBezTo>
                    <a:pt x="466" y="8"/>
                    <a:pt x="467" y="8"/>
                    <a:pt x="468" y="8"/>
                  </a:cubicBezTo>
                  <a:cubicBezTo>
                    <a:pt x="468" y="8"/>
                    <a:pt x="469" y="9"/>
                    <a:pt x="469" y="9"/>
                  </a:cubicBezTo>
                  <a:cubicBezTo>
                    <a:pt x="476" y="9"/>
                    <a:pt x="476" y="9"/>
                    <a:pt x="476" y="9"/>
                  </a:cubicBezTo>
                  <a:cubicBezTo>
                    <a:pt x="476" y="9"/>
                    <a:pt x="476" y="9"/>
                    <a:pt x="476" y="9"/>
                  </a:cubicBezTo>
                  <a:cubicBezTo>
                    <a:pt x="476" y="9"/>
                    <a:pt x="476" y="10"/>
                    <a:pt x="476" y="10"/>
                  </a:cubicBezTo>
                  <a:close/>
                  <a:moveTo>
                    <a:pt x="472" y="32"/>
                  </a:moveTo>
                  <a:cubicBezTo>
                    <a:pt x="472" y="32"/>
                    <a:pt x="472" y="31"/>
                    <a:pt x="471" y="30"/>
                  </a:cubicBezTo>
                  <a:cubicBezTo>
                    <a:pt x="470" y="30"/>
                    <a:pt x="469" y="30"/>
                    <a:pt x="468" y="30"/>
                  </a:cubicBezTo>
                  <a:cubicBezTo>
                    <a:pt x="463" y="29"/>
                    <a:pt x="463" y="29"/>
                    <a:pt x="463" y="29"/>
                  </a:cubicBezTo>
                  <a:cubicBezTo>
                    <a:pt x="462" y="30"/>
                    <a:pt x="462" y="30"/>
                    <a:pt x="461" y="31"/>
                  </a:cubicBezTo>
                  <a:cubicBezTo>
                    <a:pt x="461" y="31"/>
                    <a:pt x="461" y="31"/>
                    <a:pt x="461" y="32"/>
                  </a:cubicBezTo>
                  <a:cubicBezTo>
                    <a:pt x="460" y="32"/>
                    <a:pt x="460" y="32"/>
                    <a:pt x="460" y="32"/>
                  </a:cubicBezTo>
                  <a:cubicBezTo>
                    <a:pt x="460" y="33"/>
                    <a:pt x="460" y="33"/>
                    <a:pt x="460" y="33"/>
                  </a:cubicBezTo>
                  <a:cubicBezTo>
                    <a:pt x="460" y="34"/>
                    <a:pt x="461" y="35"/>
                    <a:pt x="462" y="36"/>
                  </a:cubicBezTo>
                  <a:cubicBezTo>
                    <a:pt x="463" y="36"/>
                    <a:pt x="464" y="37"/>
                    <a:pt x="466" y="37"/>
                  </a:cubicBezTo>
                  <a:cubicBezTo>
                    <a:pt x="467" y="37"/>
                    <a:pt x="468" y="36"/>
                    <a:pt x="469" y="36"/>
                  </a:cubicBezTo>
                  <a:cubicBezTo>
                    <a:pt x="470" y="36"/>
                    <a:pt x="470" y="36"/>
                    <a:pt x="471" y="35"/>
                  </a:cubicBezTo>
                  <a:cubicBezTo>
                    <a:pt x="471" y="35"/>
                    <a:pt x="472" y="34"/>
                    <a:pt x="472" y="34"/>
                  </a:cubicBezTo>
                  <a:cubicBezTo>
                    <a:pt x="472" y="34"/>
                    <a:pt x="472" y="33"/>
                    <a:pt x="472" y="32"/>
                  </a:cubicBezTo>
                  <a:close/>
                  <a:moveTo>
                    <a:pt x="470" y="16"/>
                  </a:moveTo>
                  <a:cubicBezTo>
                    <a:pt x="470" y="14"/>
                    <a:pt x="470" y="13"/>
                    <a:pt x="469" y="12"/>
                  </a:cubicBezTo>
                  <a:cubicBezTo>
                    <a:pt x="468" y="12"/>
                    <a:pt x="467" y="11"/>
                    <a:pt x="466" y="11"/>
                  </a:cubicBezTo>
                  <a:cubicBezTo>
                    <a:pt x="465" y="11"/>
                    <a:pt x="464" y="11"/>
                    <a:pt x="464" y="12"/>
                  </a:cubicBezTo>
                  <a:cubicBezTo>
                    <a:pt x="463" y="12"/>
                    <a:pt x="463" y="12"/>
                    <a:pt x="462" y="13"/>
                  </a:cubicBezTo>
                  <a:cubicBezTo>
                    <a:pt x="462" y="13"/>
                    <a:pt x="462" y="14"/>
                    <a:pt x="462" y="14"/>
                  </a:cubicBezTo>
                  <a:cubicBezTo>
                    <a:pt x="461" y="15"/>
                    <a:pt x="461" y="15"/>
                    <a:pt x="461" y="16"/>
                  </a:cubicBezTo>
                  <a:cubicBezTo>
                    <a:pt x="461" y="17"/>
                    <a:pt x="462" y="18"/>
                    <a:pt x="463" y="19"/>
                  </a:cubicBezTo>
                  <a:cubicBezTo>
                    <a:pt x="463" y="20"/>
                    <a:pt x="464" y="20"/>
                    <a:pt x="466" y="20"/>
                  </a:cubicBezTo>
                  <a:cubicBezTo>
                    <a:pt x="467" y="20"/>
                    <a:pt x="467" y="20"/>
                    <a:pt x="468" y="20"/>
                  </a:cubicBezTo>
                  <a:cubicBezTo>
                    <a:pt x="468" y="20"/>
                    <a:pt x="469" y="19"/>
                    <a:pt x="469" y="19"/>
                  </a:cubicBezTo>
                  <a:cubicBezTo>
                    <a:pt x="470" y="19"/>
                    <a:pt x="470" y="18"/>
                    <a:pt x="470" y="18"/>
                  </a:cubicBezTo>
                  <a:cubicBezTo>
                    <a:pt x="470" y="17"/>
                    <a:pt x="470" y="16"/>
                    <a:pt x="470" y="16"/>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94">
              <a:extLst>
                <a:ext uri="{FF2B5EF4-FFF2-40B4-BE49-F238E27FC236}">
                  <a16:creationId xmlns:a16="http://schemas.microsoft.com/office/drawing/2014/main" id="{6139BFEF-9443-4868-A1C3-BD6591200F90}"/>
                </a:ext>
              </a:extLst>
            </p:cNvPr>
            <p:cNvSpPr>
              <a:spLocks/>
            </p:cNvSpPr>
            <p:nvPr/>
          </p:nvSpPr>
          <p:spPr bwMode="auto">
            <a:xfrm>
              <a:off x="4720965" y="4793268"/>
              <a:ext cx="2415438" cy="328984"/>
            </a:xfrm>
            <a:custGeom>
              <a:avLst/>
              <a:gdLst>
                <a:gd name="T0" fmla="*/ 3 w 705"/>
                <a:gd name="T1" fmla="*/ 18 h 96"/>
                <a:gd name="T2" fmla="*/ 6 w 705"/>
                <a:gd name="T3" fmla="*/ 18 h 96"/>
                <a:gd name="T4" fmla="*/ 18 w 705"/>
                <a:gd name="T5" fmla="*/ 6 h 96"/>
                <a:gd name="T6" fmla="*/ 687 w 705"/>
                <a:gd name="T7" fmla="*/ 6 h 96"/>
                <a:gd name="T8" fmla="*/ 699 w 705"/>
                <a:gd name="T9" fmla="*/ 18 h 96"/>
                <a:gd name="T10" fmla="*/ 699 w 705"/>
                <a:gd name="T11" fmla="*/ 78 h 96"/>
                <a:gd name="T12" fmla="*/ 687 w 705"/>
                <a:gd name="T13" fmla="*/ 90 h 96"/>
                <a:gd name="T14" fmla="*/ 18 w 705"/>
                <a:gd name="T15" fmla="*/ 90 h 96"/>
                <a:gd name="T16" fmla="*/ 6 w 705"/>
                <a:gd name="T17" fmla="*/ 78 h 96"/>
                <a:gd name="T18" fmla="*/ 6 w 705"/>
                <a:gd name="T19" fmla="*/ 18 h 96"/>
                <a:gd name="T20" fmla="*/ 3 w 705"/>
                <a:gd name="T21" fmla="*/ 18 h 96"/>
                <a:gd name="T22" fmla="*/ 0 w 705"/>
                <a:gd name="T23" fmla="*/ 18 h 96"/>
                <a:gd name="T24" fmla="*/ 0 w 705"/>
                <a:gd name="T25" fmla="*/ 78 h 96"/>
                <a:gd name="T26" fmla="*/ 18 w 705"/>
                <a:gd name="T27" fmla="*/ 96 h 96"/>
                <a:gd name="T28" fmla="*/ 687 w 705"/>
                <a:gd name="T29" fmla="*/ 96 h 96"/>
                <a:gd name="T30" fmla="*/ 705 w 705"/>
                <a:gd name="T31" fmla="*/ 78 h 96"/>
                <a:gd name="T32" fmla="*/ 705 w 705"/>
                <a:gd name="T33" fmla="*/ 18 h 96"/>
                <a:gd name="T34" fmla="*/ 687 w 705"/>
                <a:gd name="T35" fmla="*/ 0 h 96"/>
                <a:gd name="T36" fmla="*/ 18 w 705"/>
                <a:gd name="T37" fmla="*/ 0 h 96"/>
                <a:gd name="T38" fmla="*/ 0 w 705"/>
                <a:gd name="T39" fmla="*/ 18 h 96"/>
                <a:gd name="T40" fmla="*/ 3 w 705"/>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5" h="96">
                  <a:moveTo>
                    <a:pt x="3" y="18"/>
                  </a:moveTo>
                  <a:cubicBezTo>
                    <a:pt x="6" y="18"/>
                    <a:pt x="6" y="18"/>
                    <a:pt x="6" y="18"/>
                  </a:cubicBezTo>
                  <a:cubicBezTo>
                    <a:pt x="6" y="12"/>
                    <a:pt x="11" y="6"/>
                    <a:pt x="18" y="6"/>
                  </a:cubicBezTo>
                  <a:cubicBezTo>
                    <a:pt x="687" y="6"/>
                    <a:pt x="687" y="6"/>
                    <a:pt x="687" y="6"/>
                  </a:cubicBezTo>
                  <a:cubicBezTo>
                    <a:pt x="694" y="6"/>
                    <a:pt x="699" y="12"/>
                    <a:pt x="699" y="18"/>
                  </a:cubicBezTo>
                  <a:cubicBezTo>
                    <a:pt x="699" y="78"/>
                    <a:pt x="699" y="78"/>
                    <a:pt x="699" y="78"/>
                  </a:cubicBezTo>
                  <a:cubicBezTo>
                    <a:pt x="699" y="84"/>
                    <a:pt x="694" y="89"/>
                    <a:pt x="687" y="90"/>
                  </a:cubicBezTo>
                  <a:cubicBezTo>
                    <a:pt x="18" y="90"/>
                    <a:pt x="18" y="90"/>
                    <a:pt x="18" y="90"/>
                  </a:cubicBezTo>
                  <a:cubicBezTo>
                    <a:pt x="11" y="89"/>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7"/>
                    <a:pt x="8" y="95"/>
                    <a:pt x="18" y="96"/>
                  </a:cubicBezTo>
                  <a:cubicBezTo>
                    <a:pt x="687" y="96"/>
                    <a:pt x="687" y="96"/>
                    <a:pt x="687" y="96"/>
                  </a:cubicBezTo>
                  <a:cubicBezTo>
                    <a:pt x="697" y="95"/>
                    <a:pt x="705" y="87"/>
                    <a:pt x="705" y="78"/>
                  </a:cubicBezTo>
                  <a:cubicBezTo>
                    <a:pt x="705" y="18"/>
                    <a:pt x="705" y="18"/>
                    <a:pt x="705" y="18"/>
                  </a:cubicBezTo>
                  <a:cubicBezTo>
                    <a:pt x="705" y="8"/>
                    <a:pt x="697" y="0"/>
                    <a:pt x="687" y="0"/>
                  </a:cubicBezTo>
                  <a:cubicBezTo>
                    <a:pt x="18" y="0"/>
                    <a:pt x="18" y="0"/>
                    <a:pt x="18" y="0"/>
                  </a:cubicBezTo>
                  <a:cubicBezTo>
                    <a:pt x="8" y="0"/>
                    <a:pt x="0" y="8"/>
                    <a:pt x="0" y="18"/>
                  </a:cubicBezTo>
                  <a:lnTo>
                    <a:pt x="3" y="18"/>
                  </a:ln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95">
              <a:extLst>
                <a:ext uri="{FF2B5EF4-FFF2-40B4-BE49-F238E27FC236}">
                  <a16:creationId xmlns:a16="http://schemas.microsoft.com/office/drawing/2014/main" id="{E9F6A063-98DF-46C8-8B5A-9877B29B0CB6}"/>
                </a:ext>
              </a:extLst>
            </p:cNvPr>
            <p:cNvSpPr>
              <a:spLocks noEditPoints="1"/>
            </p:cNvSpPr>
            <p:nvPr/>
          </p:nvSpPr>
          <p:spPr bwMode="auto">
            <a:xfrm>
              <a:off x="8056982" y="4882729"/>
              <a:ext cx="1188961" cy="139963"/>
            </a:xfrm>
            <a:custGeom>
              <a:avLst/>
              <a:gdLst>
                <a:gd name="T0" fmla="*/ 16 w 347"/>
                <a:gd name="T1" fmla="*/ 2 h 41"/>
                <a:gd name="T2" fmla="*/ 15 w 347"/>
                <a:gd name="T3" fmla="*/ 15 h 41"/>
                <a:gd name="T4" fmla="*/ 17 w 347"/>
                <a:gd name="T5" fmla="*/ 29 h 41"/>
                <a:gd name="T6" fmla="*/ 36 w 347"/>
                <a:gd name="T7" fmla="*/ 19 h 41"/>
                <a:gd name="T8" fmla="*/ 23 w 347"/>
                <a:gd name="T9" fmla="*/ 32 h 41"/>
                <a:gd name="T10" fmla="*/ 26 w 347"/>
                <a:gd name="T11" fmla="*/ 11 h 41"/>
                <a:gd name="T12" fmla="*/ 56 w 347"/>
                <a:gd name="T13" fmla="*/ 32 h 41"/>
                <a:gd name="T14" fmla="*/ 43 w 347"/>
                <a:gd name="T15" fmla="*/ 11 h 41"/>
                <a:gd name="T16" fmla="*/ 51 w 347"/>
                <a:gd name="T17" fmla="*/ 5 h 41"/>
                <a:gd name="T18" fmla="*/ 52 w 347"/>
                <a:gd name="T19" fmla="*/ 28 h 41"/>
                <a:gd name="T20" fmla="*/ 78 w 347"/>
                <a:gd name="T21" fmla="*/ 22 h 41"/>
                <a:gd name="T22" fmla="*/ 78 w 347"/>
                <a:gd name="T23" fmla="*/ 29 h 41"/>
                <a:gd name="T24" fmla="*/ 60 w 347"/>
                <a:gd name="T25" fmla="*/ 26 h 41"/>
                <a:gd name="T26" fmla="*/ 70 w 347"/>
                <a:gd name="T27" fmla="*/ 13 h 41"/>
                <a:gd name="T28" fmla="*/ 95 w 347"/>
                <a:gd name="T29" fmla="*/ 14 h 41"/>
                <a:gd name="T30" fmla="*/ 85 w 347"/>
                <a:gd name="T31" fmla="*/ 32 h 41"/>
                <a:gd name="T32" fmla="*/ 88 w 347"/>
                <a:gd name="T33" fmla="*/ 11 h 41"/>
                <a:gd name="T34" fmla="*/ 96 w 347"/>
                <a:gd name="T35" fmla="*/ 11 h 41"/>
                <a:gd name="T36" fmla="*/ 103 w 347"/>
                <a:gd name="T37" fmla="*/ 40 h 41"/>
                <a:gd name="T38" fmla="*/ 101 w 347"/>
                <a:gd name="T39" fmla="*/ 10 h 41"/>
                <a:gd name="T40" fmla="*/ 119 w 347"/>
                <a:gd name="T41" fmla="*/ 17 h 41"/>
                <a:gd name="T42" fmla="*/ 107 w 347"/>
                <a:gd name="T43" fmla="*/ 28 h 41"/>
                <a:gd name="T44" fmla="*/ 135 w 347"/>
                <a:gd name="T45" fmla="*/ 14 h 41"/>
                <a:gd name="T46" fmla="*/ 125 w 347"/>
                <a:gd name="T47" fmla="*/ 32 h 41"/>
                <a:gd name="T48" fmla="*/ 127 w 347"/>
                <a:gd name="T49" fmla="*/ 11 h 41"/>
                <a:gd name="T50" fmla="*/ 136 w 347"/>
                <a:gd name="T51" fmla="*/ 11 h 41"/>
                <a:gd name="T52" fmla="*/ 143 w 347"/>
                <a:gd name="T53" fmla="*/ 32 h 41"/>
                <a:gd name="T54" fmla="*/ 141 w 347"/>
                <a:gd name="T55" fmla="*/ 10 h 41"/>
                <a:gd name="T56" fmla="*/ 151 w 347"/>
                <a:gd name="T57" fmla="*/ 32 h 41"/>
                <a:gd name="T58" fmla="*/ 155 w 347"/>
                <a:gd name="T59" fmla="*/ 30 h 41"/>
                <a:gd name="T60" fmla="*/ 148 w 347"/>
                <a:gd name="T61" fmla="*/ 16 h 41"/>
                <a:gd name="T62" fmla="*/ 162 w 347"/>
                <a:gd name="T63" fmla="*/ 13 h 41"/>
                <a:gd name="T64" fmla="*/ 152 w 347"/>
                <a:gd name="T65" fmla="*/ 16 h 41"/>
                <a:gd name="T66" fmla="*/ 170 w 347"/>
                <a:gd name="T67" fmla="*/ 22 h 41"/>
                <a:gd name="T68" fmla="*/ 184 w 347"/>
                <a:gd name="T69" fmla="*/ 30 h 41"/>
                <a:gd name="T70" fmla="*/ 166 w 347"/>
                <a:gd name="T71" fmla="*/ 21 h 41"/>
                <a:gd name="T72" fmla="*/ 173 w 347"/>
                <a:gd name="T73" fmla="*/ 13 h 41"/>
                <a:gd name="T74" fmla="*/ 203 w 347"/>
                <a:gd name="T75" fmla="*/ 33 h 41"/>
                <a:gd name="T76" fmla="*/ 203 w 347"/>
                <a:gd name="T77" fmla="*/ 29 h 41"/>
                <a:gd name="T78" fmla="*/ 199 w 347"/>
                <a:gd name="T79" fmla="*/ 13 h 41"/>
                <a:gd name="T80" fmla="*/ 215 w 347"/>
                <a:gd name="T81" fmla="*/ 5 h 41"/>
                <a:gd name="T82" fmla="*/ 203 w 347"/>
                <a:gd name="T83" fmla="*/ 8 h 41"/>
                <a:gd name="T84" fmla="*/ 238 w 347"/>
                <a:gd name="T85" fmla="*/ 29 h 41"/>
                <a:gd name="T86" fmla="*/ 238 w 347"/>
                <a:gd name="T87" fmla="*/ 13 h 41"/>
                <a:gd name="T88" fmla="*/ 224 w 347"/>
                <a:gd name="T89" fmla="*/ 24 h 41"/>
                <a:gd name="T90" fmla="*/ 247 w 347"/>
                <a:gd name="T91" fmla="*/ 33 h 41"/>
                <a:gd name="T92" fmla="*/ 249 w 347"/>
                <a:gd name="T93" fmla="*/ 0 h 41"/>
                <a:gd name="T94" fmla="*/ 270 w 347"/>
                <a:gd name="T95" fmla="*/ 29 h 41"/>
                <a:gd name="T96" fmla="*/ 258 w 347"/>
                <a:gd name="T97" fmla="*/ 10 h 41"/>
                <a:gd name="T98" fmla="*/ 269 w 347"/>
                <a:gd name="T99" fmla="*/ 10 h 41"/>
                <a:gd name="T100" fmla="*/ 299 w 347"/>
                <a:gd name="T101" fmla="*/ 32 h 41"/>
                <a:gd name="T102" fmla="*/ 285 w 347"/>
                <a:gd name="T103" fmla="*/ 28 h 41"/>
                <a:gd name="T104" fmla="*/ 289 w 347"/>
                <a:gd name="T105" fmla="*/ 32 h 41"/>
                <a:gd name="T106" fmla="*/ 276 w 347"/>
                <a:gd name="T107" fmla="*/ 11 h 41"/>
                <a:gd name="T108" fmla="*/ 284 w 347"/>
                <a:gd name="T109" fmla="*/ 5 h 41"/>
                <a:gd name="T110" fmla="*/ 297 w 347"/>
                <a:gd name="T111" fmla="*/ 1 h 41"/>
                <a:gd name="T112" fmla="*/ 304 w 347"/>
                <a:gd name="T113" fmla="*/ 17 h 41"/>
                <a:gd name="T114" fmla="*/ 314 w 347"/>
                <a:gd name="T115" fmla="*/ 13 h 41"/>
                <a:gd name="T116" fmla="*/ 321 w 347"/>
                <a:gd name="T117" fmla="*/ 21 h 41"/>
                <a:gd name="T118" fmla="*/ 342 w 347"/>
                <a:gd name="T119" fmla="*/ 15 h 41"/>
                <a:gd name="T120" fmla="*/ 329 w 347"/>
                <a:gd name="T121" fmla="*/ 32 h 41"/>
                <a:gd name="T122" fmla="*/ 336 w 347"/>
                <a:gd name="T123"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7" h="41">
                  <a:moveTo>
                    <a:pt x="17" y="31"/>
                  </a:moveTo>
                  <a:cubicBezTo>
                    <a:pt x="17" y="31"/>
                    <a:pt x="17" y="31"/>
                    <a:pt x="17" y="31"/>
                  </a:cubicBezTo>
                  <a:cubicBezTo>
                    <a:pt x="17" y="32"/>
                    <a:pt x="17" y="32"/>
                    <a:pt x="17" y="32"/>
                  </a:cubicBezTo>
                  <a:cubicBezTo>
                    <a:pt x="17" y="32"/>
                    <a:pt x="17" y="32"/>
                    <a:pt x="16" y="32"/>
                  </a:cubicBezTo>
                  <a:cubicBezTo>
                    <a:pt x="16" y="32"/>
                    <a:pt x="16" y="32"/>
                    <a:pt x="16" y="32"/>
                  </a:cubicBezTo>
                  <a:cubicBezTo>
                    <a:pt x="2" y="32"/>
                    <a:pt x="2" y="32"/>
                    <a:pt x="2" y="32"/>
                  </a:cubicBezTo>
                  <a:cubicBezTo>
                    <a:pt x="1" y="32"/>
                    <a:pt x="1" y="32"/>
                    <a:pt x="1" y="32"/>
                  </a:cubicBezTo>
                  <a:cubicBezTo>
                    <a:pt x="0" y="32"/>
                    <a:pt x="0" y="31"/>
                    <a:pt x="0" y="31"/>
                  </a:cubicBezTo>
                  <a:cubicBezTo>
                    <a:pt x="0" y="4"/>
                    <a:pt x="0" y="4"/>
                    <a:pt x="0" y="4"/>
                  </a:cubicBezTo>
                  <a:cubicBezTo>
                    <a:pt x="0" y="3"/>
                    <a:pt x="0" y="3"/>
                    <a:pt x="1" y="2"/>
                  </a:cubicBezTo>
                  <a:cubicBezTo>
                    <a:pt x="1" y="2"/>
                    <a:pt x="1" y="2"/>
                    <a:pt x="2" y="2"/>
                  </a:cubicBezTo>
                  <a:cubicBezTo>
                    <a:pt x="16" y="2"/>
                    <a:pt x="16" y="2"/>
                    <a:pt x="16" y="2"/>
                  </a:cubicBezTo>
                  <a:cubicBezTo>
                    <a:pt x="16" y="2"/>
                    <a:pt x="16" y="2"/>
                    <a:pt x="16" y="2"/>
                  </a:cubicBezTo>
                  <a:cubicBezTo>
                    <a:pt x="16" y="2"/>
                    <a:pt x="17" y="2"/>
                    <a:pt x="17" y="2"/>
                  </a:cubicBezTo>
                  <a:cubicBezTo>
                    <a:pt x="17" y="3"/>
                    <a:pt x="17" y="3"/>
                    <a:pt x="17" y="3"/>
                  </a:cubicBezTo>
                  <a:cubicBezTo>
                    <a:pt x="17" y="3"/>
                    <a:pt x="17" y="3"/>
                    <a:pt x="17" y="4"/>
                  </a:cubicBezTo>
                  <a:cubicBezTo>
                    <a:pt x="17" y="4"/>
                    <a:pt x="17" y="4"/>
                    <a:pt x="17" y="4"/>
                  </a:cubicBezTo>
                  <a:cubicBezTo>
                    <a:pt x="17" y="5"/>
                    <a:pt x="17" y="5"/>
                    <a:pt x="17" y="5"/>
                  </a:cubicBezTo>
                  <a:cubicBezTo>
                    <a:pt x="17" y="5"/>
                    <a:pt x="16" y="5"/>
                    <a:pt x="16" y="5"/>
                  </a:cubicBezTo>
                  <a:cubicBezTo>
                    <a:pt x="16" y="5"/>
                    <a:pt x="16" y="5"/>
                    <a:pt x="16" y="5"/>
                  </a:cubicBezTo>
                  <a:cubicBezTo>
                    <a:pt x="4" y="5"/>
                    <a:pt x="4" y="5"/>
                    <a:pt x="4" y="5"/>
                  </a:cubicBezTo>
                  <a:cubicBezTo>
                    <a:pt x="4" y="15"/>
                    <a:pt x="4" y="15"/>
                    <a:pt x="4" y="15"/>
                  </a:cubicBezTo>
                  <a:cubicBezTo>
                    <a:pt x="14" y="15"/>
                    <a:pt x="14" y="15"/>
                    <a:pt x="14" y="15"/>
                  </a:cubicBezTo>
                  <a:cubicBezTo>
                    <a:pt x="14" y="15"/>
                    <a:pt x="15" y="15"/>
                    <a:pt x="15" y="15"/>
                  </a:cubicBezTo>
                  <a:cubicBezTo>
                    <a:pt x="15" y="15"/>
                    <a:pt x="15" y="15"/>
                    <a:pt x="15" y="15"/>
                  </a:cubicBezTo>
                  <a:cubicBezTo>
                    <a:pt x="15" y="15"/>
                    <a:pt x="15" y="16"/>
                    <a:pt x="15" y="16"/>
                  </a:cubicBezTo>
                  <a:cubicBezTo>
                    <a:pt x="15" y="16"/>
                    <a:pt x="15" y="16"/>
                    <a:pt x="15" y="17"/>
                  </a:cubicBezTo>
                  <a:cubicBezTo>
                    <a:pt x="15" y="17"/>
                    <a:pt x="15" y="17"/>
                    <a:pt x="15" y="17"/>
                  </a:cubicBezTo>
                  <a:cubicBezTo>
                    <a:pt x="15" y="18"/>
                    <a:pt x="15" y="18"/>
                    <a:pt x="15" y="18"/>
                  </a:cubicBezTo>
                  <a:cubicBezTo>
                    <a:pt x="15" y="18"/>
                    <a:pt x="15" y="18"/>
                    <a:pt x="15" y="18"/>
                  </a:cubicBezTo>
                  <a:cubicBezTo>
                    <a:pt x="15" y="18"/>
                    <a:pt x="14" y="18"/>
                    <a:pt x="14" y="18"/>
                  </a:cubicBezTo>
                  <a:cubicBezTo>
                    <a:pt x="4" y="18"/>
                    <a:pt x="4" y="18"/>
                    <a:pt x="4" y="18"/>
                  </a:cubicBezTo>
                  <a:cubicBezTo>
                    <a:pt x="4" y="29"/>
                    <a:pt x="4" y="29"/>
                    <a:pt x="4" y="29"/>
                  </a:cubicBezTo>
                  <a:cubicBezTo>
                    <a:pt x="16" y="29"/>
                    <a:pt x="16" y="29"/>
                    <a:pt x="16" y="29"/>
                  </a:cubicBezTo>
                  <a:cubicBezTo>
                    <a:pt x="16" y="29"/>
                    <a:pt x="16" y="29"/>
                    <a:pt x="16" y="29"/>
                  </a:cubicBezTo>
                  <a:cubicBezTo>
                    <a:pt x="17" y="29"/>
                    <a:pt x="17" y="29"/>
                    <a:pt x="17" y="29"/>
                  </a:cubicBezTo>
                  <a:cubicBezTo>
                    <a:pt x="17" y="30"/>
                    <a:pt x="17" y="30"/>
                    <a:pt x="17" y="30"/>
                  </a:cubicBezTo>
                  <a:cubicBezTo>
                    <a:pt x="17" y="30"/>
                    <a:pt x="17" y="30"/>
                    <a:pt x="17" y="31"/>
                  </a:cubicBezTo>
                  <a:close/>
                  <a:moveTo>
                    <a:pt x="40" y="32"/>
                  </a:moveTo>
                  <a:cubicBezTo>
                    <a:pt x="40" y="32"/>
                    <a:pt x="40" y="32"/>
                    <a:pt x="40" y="32"/>
                  </a:cubicBezTo>
                  <a:cubicBezTo>
                    <a:pt x="40" y="32"/>
                    <a:pt x="40" y="32"/>
                    <a:pt x="40" y="32"/>
                  </a:cubicBezTo>
                  <a:cubicBezTo>
                    <a:pt x="40" y="32"/>
                    <a:pt x="39" y="32"/>
                    <a:pt x="39" y="32"/>
                  </a:cubicBezTo>
                  <a:cubicBezTo>
                    <a:pt x="39" y="32"/>
                    <a:pt x="39" y="33"/>
                    <a:pt x="38" y="33"/>
                  </a:cubicBezTo>
                  <a:cubicBezTo>
                    <a:pt x="38" y="33"/>
                    <a:pt x="38" y="32"/>
                    <a:pt x="37" y="32"/>
                  </a:cubicBezTo>
                  <a:cubicBezTo>
                    <a:pt x="37" y="32"/>
                    <a:pt x="37" y="32"/>
                    <a:pt x="37" y="32"/>
                  </a:cubicBezTo>
                  <a:cubicBezTo>
                    <a:pt x="37" y="32"/>
                    <a:pt x="36" y="32"/>
                    <a:pt x="36" y="32"/>
                  </a:cubicBezTo>
                  <a:cubicBezTo>
                    <a:pt x="36" y="32"/>
                    <a:pt x="36" y="32"/>
                    <a:pt x="36" y="32"/>
                  </a:cubicBezTo>
                  <a:cubicBezTo>
                    <a:pt x="36" y="19"/>
                    <a:pt x="36" y="19"/>
                    <a:pt x="36" y="19"/>
                  </a:cubicBezTo>
                  <a:cubicBezTo>
                    <a:pt x="36" y="18"/>
                    <a:pt x="36" y="17"/>
                    <a:pt x="36" y="17"/>
                  </a:cubicBezTo>
                  <a:cubicBezTo>
                    <a:pt x="36" y="16"/>
                    <a:pt x="36" y="15"/>
                    <a:pt x="35" y="15"/>
                  </a:cubicBezTo>
                  <a:cubicBezTo>
                    <a:pt x="35" y="14"/>
                    <a:pt x="34" y="14"/>
                    <a:pt x="34" y="13"/>
                  </a:cubicBezTo>
                  <a:cubicBezTo>
                    <a:pt x="33" y="13"/>
                    <a:pt x="33" y="13"/>
                    <a:pt x="32" y="13"/>
                  </a:cubicBezTo>
                  <a:cubicBezTo>
                    <a:pt x="31" y="13"/>
                    <a:pt x="30" y="13"/>
                    <a:pt x="29" y="14"/>
                  </a:cubicBezTo>
                  <a:cubicBezTo>
                    <a:pt x="28" y="15"/>
                    <a:pt x="27" y="16"/>
                    <a:pt x="26" y="17"/>
                  </a:cubicBezTo>
                  <a:cubicBezTo>
                    <a:pt x="26" y="32"/>
                    <a:pt x="26" y="32"/>
                    <a:pt x="26" y="32"/>
                  </a:cubicBezTo>
                  <a:cubicBezTo>
                    <a:pt x="26" y="32"/>
                    <a:pt x="26" y="32"/>
                    <a:pt x="26" y="32"/>
                  </a:cubicBezTo>
                  <a:cubicBezTo>
                    <a:pt x="26" y="32"/>
                    <a:pt x="26" y="32"/>
                    <a:pt x="25" y="32"/>
                  </a:cubicBezTo>
                  <a:cubicBezTo>
                    <a:pt x="25" y="32"/>
                    <a:pt x="25" y="32"/>
                    <a:pt x="25" y="32"/>
                  </a:cubicBezTo>
                  <a:cubicBezTo>
                    <a:pt x="25" y="32"/>
                    <a:pt x="24" y="33"/>
                    <a:pt x="24" y="33"/>
                  </a:cubicBezTo>
                  <a:cubicBezTo>
                    <a:pt x="24" y="33"/>
                    <a:pt x="23" y="32"/>
                    <a:pt x="23" y="32"/>
                  </a:cubicBezTo>
                  <a:cubicBezTo>
                    <a:pt x="23" y="32"/>
                    <a:pt x="23" y="32"/>
                    <a:pt x="22" y="32"/>
                  </a:cubicBezTo>
                  <a:cubicBezTo>
                    <a:pt x="22" y="32"/>
                    <a:pt x="22" y="32"/>
                    <a:pt x="22" y="32"/>
                  </a:cubicBezTo>
                  <a:cubicBezTo>
                    <a:pt x="22" y="32"/>
                    <a:pt x="22" y="32"/>
                    <a:pt x="22" y="32"/>
                  </a:cubicBezTo>
                  <a:cubicBezTo>
                    <a:pt x="22" y="11"/>
                    <a:pt x="22" y="11"/>
                    <a:pt x="22" y="11"/>
                  </a:cubicBezTo>
                  <a:cubicBezTo>
                    <a:pt x="22" y="11"/>
                    <a:pt x="22" y="10"/>
                    <a:pt x="22" y="10"/>
                  </a:cubicBezTo>
                  <a:cubicBezTo>
                    <a:pt x="22" y="10"/>
                    <a:pt x="22" y="10"/>
                    <a:pt x="22" y="10"/>
                  </a:cubicBezTo>
                  <a:cubicBezTo>
                    <a:pt x="23" y="10"/>
                    <a:pt x="23" y="10"/>
                    <a:pt x="23" y="10"/>
                  </a:cubicBezTo>
                  <a:cubicBezTo>
                    <a:pt x="23" y="10"/>
                    <a:pt x="23" y="10"/>
                    <a:pt x="24" y="10"/>
                  </a:cubicBezTo>
                  <a:cubicBezTo>
                    <a:pt x="24" y="10"/>
                    <a:pt x="24" y="10"/>
                    <a:pt x="25" y="10"/>
                  </a:cubicBezTo>
                  <a:cubicBezTo>
                    <a:pt x="25" y="10"/>
                    <a:pt x="25" y="10"/>
                    <a:pt x="25" y="10"/>
                  </a:cubicBezTo>
                  <a:cubicBezTo>
                    <a:pt x="25" y="10"/>
                    <a:pt x="25" y="10"/>
                    <a:pt x="25" y="10"/>
                  </a:cubicBezTo>
                  <a:cubicBezTo>
                    <a:pt x="25" y="10"/>
                    <a:pt x="26" y="11"/>
                    <a:pt x="26" y="11"/>
                  </a:cubicBezTo>
                  <a:cubicBezTo>
                    <a:pt x="26" y="13"/>
                    <a:pt x="26" y="13"/>
                    <a:pt x="26" y="13"/>
                  </a:cubicBezTo>
                  <a:cubicBezTo>
                    <a:pt x="27" y="12"/>
                    <a:pt x="28" y="11"/>
                    <a:pt x="29" y="11"/>
                  </a:cubicBezTo>
                  <a:cubicBezTo>
                    <a:pt x="30" y="10"/>
                    <a:pt x="31" y="10"/>
                    <a:pt x="33" y="10"/>
                  </a:cubicBezTo>
                  <a:cubicBezTo>
                    <a:pt x="34" y="10"/>
                    <a:pt x="35" y="10"/>
                    <a:pt x="36" y="10"/>
                  </a:cubicBezTo>
                  <a:cubicBezTo>
                    <a:pt x="37" y="11"/>
                    <a:pt x="38" y="11"/>
                    <a:pt x="39" y="12"/>
                  </a:cubicBezTo>
                  <a:cubicBezTo>
                    <a:pt x="39" y="13"/>
                    <a:pt x="40" y="14"/>
                    <a:pt x="40" y="15"/>
                  </a:cubicBezTo>
                  <a:cubicBezTo>
                    <a:pt x="40" y="16"/>
                    <a:pt x="40" y="17"/>
                    <a:pt x="40" y="19"/>
                  </a:cubicBezTo>
                  <a:lnTo>
                    <a:pt x="40" y="32"/>
                  </a:lnTo>
                  <a:close/>
                  <a:moveTo>
                    <a:pt x="57" y="30"/>
                  </a:moveTo>
                  <a:cubicBezTo>
                    <a:pt x="57" y="31"/>
                    <a:pt x="57" y="31"/>
                    <a:pt x="57" y="31"/>
                  </a:cubicBezTo>
                  <a:cubicBezTo>
                    <a:pt x="57" y="32"/>
                    <a:pt x="57" y="32"/>
                    <a:pt x="57" y="32"/>
                  </a:cubicBezTo>
                  <a:cubicBezTo>
                    <a:pt x="57" y="32"/>
                    <a:pt x="56" y="32"/>
                    <a:pt x="56" y="32"/>
                  </a:cubicBezTo>
                  <a:cubicBezTo>
                    <a:pt x="56" y="32"/>
                    <a:pt x="56" y="32"/>
                    <a:pt x="55" y="33"/>
                  </a:cubicBezTo>
                  <a:cubicBezTo>
                    <a:pt x="55" y="33"/>
                    <a:pt x="55" y="33"/>
                    <a:pt x="54" y="33"/>
                  </a:cubicBezTo>
                  <a:cubicBezTo>
                    <a:pt x="54" y="33"/>
                    <a:pt x="54" y="33"/>
                    <a:pt x="53" y="33"/>
                  </a:cubicBezTo>
                  <a:cubicBezTo>
                    <a:pt x="52" y="33"/>
                    <a:pt x="51" y="33"/>
                    <a:pt x="50" y="32"/>
                  </a:cubicBezTo>
                  <a:cubicBezTo>
                    <a:pt x="50" y="32"/>
                    <a:pt x="49" y="32"/>
                    <a:pt x="49" y="31"/>
                  </a:cubicBezTo>
                  <a:cubicBezTo>
                    <a:pt x="48" y="30"/>
                    <a:pt x="48" y="30"/>
                    <a:pt x="47" y="29"/>
                  </a:cubicBezTo>
                  <a:cubicBezTo>
                    <a:pt x="47" y="28"/>
                    <a:pt x="47" y="27"/>
                    <a:pt x="47" y="26"/>
                  </a:cubicBezTo>
                  <a:cubicBezTo>
                    <a:pt x="47" y="13"/>
                    <a:pt x="47" y="13"/>
                    <a:pt x="47" y="13"/>
                  </a:cubicBezTo>
                  <a:cubicBezTo>
                    <a:pt x="44" y="13"/>
                    <a:pt x="44" y="13"/>
                    <a:pt x="44" y="13"/>
                  </a:cubicBezTo>
                  <a:cubicBezTo>
                    <a:pt x="44" y="13"/>
                    <a:pt x="44" y="13"/>
                    <a:pt x="44" y="13"/>
                  </a:cubicBezTo>
                  <a:cubicBezTo>
                    <a:pt x="43" y="13"/>
                    <a:pt x="43" y="12"/>
                    <a:pt x="43" y="12"/>
                  </a:cubicBezTo>
                  <a:cubicBezTo>
                    <a:pt x="43" y="11"/>
                    <a:pt x="43" y="11"/>
                    <a:pt x="43" y="11"/>
                  </a:cubicBezTo>
                  <a:cubicBezTo>
                    <a:pt x="43" y="11"/>
                    <a:pt x="44" y="11"/>
                    <a:pt x="44" y="10"/>
                  </a:cubicBezTo>
                  <a:cubicBezTo>
                    <a:pt x="44" y="10"/>
                    <a:pt x="44" y="10"/>
                    <a:pt x="44" y="10"/>
                  </a:cubicBezTo>
                  <a:cubicBezTo>
                    <a:pt x="44" y="10"/>
                    <a:pt x="44" y="10"/>
                    <a:pt x="44" y="10"/>
                  </a:cubicBezTo>
                  <a:cubicBezTo>
                    <a:pt x="47" y="10"/>
                    <a:pt x="47" y="10"/>
                    <a:pt x="47" y="10"/>
                  </a:cubicBezTo>
                  <a:cubicBezTo>
                    <a:pt x="47" y="5"/>
                    <a:pt x="47" y="5"/>
                    <a:pt x="47" y="5"/>
                  </a:cubicBezTo>
                  <a:cubicBezTo>
                    <a:pt x="47" y="5"/>
                    <a:pt x="47" y="5"/>
                    <a:pt x="47" y="5"/>
                  </a:cubicBezTo>
                  <a:cubicBezTo>
                    <a:pt x="47" y="5"/>
                    <a:pt x="47" y="5"/>
                    <a:pt x="47" y="5"/>
                  </a:cubicBezTo>
                  <a:cubicBezTo>
                    <a:pt x="48" y="4"/>
                    <a:pt x="48" y="4"/>
                    <a:pt x="48" y="4"/>
                  </a:cubicBezTo>
                  <a:cubicBezTo>
                    <a:pt x="48" y="4"/>
                    <a:pt x="49" y="4"/>
                    <a:pt x="49" y="4"/>
                  </a:cubicBezTo>
                  <a:cubicBezTo>
                    <a:pt x="49" y="4"/>
                    <a:pt x="50" y="4"/>
                    <a:pt x="50" y="4"/>
                  </a:cubicBezTo>
                  <a:cubicBezTo>
                    <a:pt x="50" y="4"/>
                    <a:pt x="50" y="4"/>
                    <a:pt x="51" y="5"/>
                  </a:cubicBezTo>
                  <a:cubicBezTo>
                    <a:pt x="51" y="5"/>
                    <a:pt x="51" y="5"/>
                    <a:pt x="51" y="5"/>
                  </a:cubicBezTo>
                  <a:cubicBezTo>
                    <a:pt x="51" y="5"/>
                    <a:pt x="51" y="5"/>
                    <a:pt x="51" y="5"/>
                  </a:cubicBezTo>
                  <a:cubicBezTo>
                    <a:pt x="51" y="10"/>
                    <a:pt x="51" y="10"/>
                    <a:pt x="51" y="10"/>
                  </a:cubicBezTo>
                  <a:cubicBezTo>
                    <a:pt x="56" y="10"/>
                    <a:pt x="56" y="10"/>
                    <a:pt x="56" y="10"/>
                  </a:cubicBezTo>
                  <a:cubicBezTo>
                    <a:pt x="57" y="10"/>
                    <a:pt x="57" y="10"/>
                    <a:pt x="57" y="10"/>
                  </a:cubicBezTo>
                  <a:cubicBezTo>
                    <a:pt x="57" y="10"/>
                    <a:pt x="57" y="10"/>
                    <a:pt x="57" y="10"/>
                  </a:cubicBezTo>
                  <a:cubicBezTo>
                    <a:pt x="57" y="11"/>
                    <a:pt x="57" y="11"/>
                    <a:pt x="57" y="11"/>
                  </a:cubicBezTo>
                  <a:cubicBezTo>
                    <a:pt x="57" y="11"/>
                    <a:pt x="57" y="11"/>
                    <a:pt x="57" y="12"/>
                  </a:cubicBezTo>
                  <a:cubicBezTo>
                    <a:pt x="57" y="12"/>
                    <a:pt x="57" y="13"/>
                    <a:pt x="57" y="13"/>
                  </a:cubicBezTo>
                  <a:cubicBezTo>
                    <a:pt x="57" y="13"/>
                    <a:pt x="57" y="13"/>
                    <a:pt x="56" y="13"/>
                  </a:cubicBezTo>
                  <a:cubicBezTo>
                    <a:pt x="51" y="13"/>
                    <a:pt x="51" y="13"/>
                    <a:pt x="51" y="13"/>
                  </a:cubicBezTo>
                  <a:cubicBezTo>
                    <a:pt x="51" y="25"/>
                    <a:pt x="51" y="25"/>
                    <a:pt x="51" y="25"/>
                  </a:cubicBezTo>
                  <a:cubicBezTo>
                    <a:pt x="51" y="27"/>
                    <a:pt x="51" y="28"/>
                    <a:pt x="52" y="28"/>
                  </a:cubicBezTo>
                  <a:cubicBezTo>
                    <a:pt x="52" y="29"/>
                    <a:pt x="53" y="29"/>
                    <a:pt x="54" y="29"/>
                  </a:cubicBezTo>
                  <a:cubicBezTo>
                    <a:pt x="54" y="29"/>
                    <a:pt x="55" y="29"/>
                    <a:pt x="55" y="29"/>
                  </a:cubicBezTo>
                  <a:cubicBezTo>
                    <a:pt x="55" y="29"/>
                    <a:pt x="55" y="29"/>
                    <a:pt x="56" y="29"/>
                  </a:cubicBezTo>
                  <a:cubicBezTo>
                    <a:pt x="56" y="29"/>
                    <a:pt x="56" y="29"/>
                    <a:pt x="56" y="29"/>
                  </a:cubicBezTo>
                  <a:cubicBezTo>
                    <a:pt x="56" y="29"/>
                    <a:pt x="56" y="29"/>
                    <a:pt x="57" y="29"/>
                  </a:cubicBezTo>
                  <a:cubicBezTo>
                    <a:pt x="57" y="29"/>
                    <a:pt x="57" y="29"/>
                    <a:pt x="57" y="29"/>
                  </a:cubicBezTo>
                  <a:cubicBezTo>
                    <a:pt x="57" y="29"/>
                    <a:pt x="57" y="29"/>
                    <a:pt x="57" y="29"/>
                  </a:cubicBezTo>
                  <a:cubicBezTo>
                    <a:pt x="57" y="29"/>
                    <a:pt x="57" y="29"/>
                    <a:pt x="57" y="30"/>
                  </a:cubicBezTo>
                  <a:cubicBezTo>
                    <a:pt x="57" y="30"/>
                    <a:pt x="57" y="30"/>
                    <a:pt x="57" y="30"/>
                  </a:cubicBezTo>
                  <a:close/>
                  <a:moveTo>
                    <a:pt x="79" y="20"/>
                  </a:moveTo>
                  <a:cubicBezTo>
                    <a:pt x="79" y="21"/>
                    <a:pt x="79" y="21"/>
                    <a:pt x="79" y="22"/>
                  </a:cubicBezTo>
                  <a:cubicBezTo>
                    <a:pt x="78" y="22"/>
                    <a:pt x="78" y="22"/>
                    <a:pt x="78" y="22"/>
                  </a:cubicBezTo>
                  <a:cubicBezTo>
                    <a:pt x="64" y="22"/>
                    <a:pt x="64" y="22"/>
                    <a:pt x="64" y="22"/>
                  </a:cubicBezTo>
                  <a:cubicBezTo>
                    <a:pt x="64" y="23"/>
                    <a:pt x="64" y="24"/>
                    <a:pt x="64" y="25"/>
                  </a:cubicBezTo>
                  <a:cubicBezTo>
                    <a:pt x="64" y="26"/>
                    <a:pt x="65" y="27"/>
                    <a:pt x="65" y="28"/>
                  </a:cubicBezTo>
                  <a:cubicBezTo>
                    <a:pt x="66" y="28"/>
                    <a:pt x="67" y="29"/>
                    <a:pt x="67" y="29"/>
                  </a:cubicBezTo>
                  <a:cubicBezTo>
                    <a:pt x="68" y="29"/>
                    <a:pt x="69" y="30"/>
                    <a:pt x="71" y="30"/>
                  </a:cubicBezTo>
                  <a:cubicBezTo>
                    <a:pt x="72" y="30"/>
                    <a:pt x="73" y="30"/>
                    <a:pt x="73" y="29"/>
                  </a:cubicBezTo>
                  <a:cubicBezTo>
                    <a:pt x="74" y="29"/>
                    <a:pt x="75" y="29"/>
                    <a:pt x="75" y="29"/>
                  </a:cubicBezTo>
                  <a:cubicBezTo>
                    <a:pt x="76" y="29"/>
                    <a:pt x="76" y="28"/>
                    <a:pt x="77" y="28"/>
                  </a:cubicBezTo>
                  <a:cubicBezTo>
                    <a:pt x="77" y="28"/>
                    <a:pt x="77" y="28"/>
                    <a:pt x="78" y="28"/>
                  </a:cubicBezTo>
                  <a:cubicBezTo>
                    <a:pt x="78" y="28"/>
                    <a:pt x="78" y="28"/>
                    <a:pt x="78" y="28"/>
                  </a:cubicBezTo>
                  <a:cubicBezTo>
                    <a:pt x="78" y="28"/>
                    <a:pt x="78" y="28"/>
                    <a:pt x="78" y="28"/>
                  </a:cubicBezTo>
                  <a:cubicBezTo>
                    <a:pt x="78" y="29"/>
                    <a:pt x="78" y="29"/>
                    <a:pt x="78" y="29"/>
                  </a:cubicBezTo>
                  <a:cubicBezTo>
                    <a:pt x="78" y="29"/>
                    <a:pt x="78" y="29"/>
                    <a:pt x="78" y="30"/>
                  </a:cubicBezTo>
                  <a:cubicBezTo>
                    <a:pt x="78" y="30"/>
                    <a:pt x="78" y="30"/>
                    <a:pt x="78" y="30"/>
                  </a:cubicBezTo>
                  <a:cubicBezTo>
                    <a:pt x="78" y="30"/>
                    <a:pt x="78" y="30"/>
                    <a:pt x="78" y="31"/>
                  </a:cubicBezTo>
                  <a:cubicBezTo>
                    <a:pt x="78" y="31"/>
                    <a:pt x="78" y="31"/>
                    <a:pt x="78" y="31"/>
                  </a:cubicBezTo>
                  <a:cubicBezTo>
                    <a:pt x="78" y="31"/>
                    <a:pt x="78" y="31"/>
                    <a:pt x="78" y="31"/>
                  </a:cubicBezTo>
                  <a:cubicBezTo>
                    <a:pt x="78" y="31"/>
                    <a:pt x="78" y="31"/>
                    <a:pt x="77" y="32"/>
                  </a:cubicBezTo>
                  <a:cubicBezTo>
                    <a:pt x="77" y="32"/>
                    <a:pt x="76" y="32"/>
                    <a:pt x="76" y="32"/>
                  </a:cubicBezTo>
                  <a:cubicBezTo>
                    <a:pt x="75" y="32"/>
                    <a:pt x="74" y="32"/>
                    <a:pt x="73" y="33"/>
                  </a:cubicBezTo>
                  <a:cubicBezTo>
                    <a:pt x="72" y="33"/>
                    <a:pt x="71" y="33"/>
                    <a:pt x="70" y="33"/>
                  </a:cubicBezTo>
                  <a:cubicBezTo>
                    <a:pt x="69" y="33"/>
                    <a:pt x="67" y="33"/>
                    <a:pt x="66" y="32"/>
                  </a:cubicBezTo>
                  <a:cubicBezTo>
                    <a:pt x="64" y="32"/>
                    <a:pt x="63" y="31"/>
                    <a:pt x="62" y="30"/>
                  </a:cubicBezTo>
                  <a:cubicBezTo>
                    <a:pt x="62" y="29"/>
                    <a:pt x="61" y="28"/>
                    <a:pt x="60" y="26"/>
                  </a:cubicBezTo>
                  <a:cubicBezTo>
                    <a:pt x="60" y="25"/>
                    <a:pt x="60" y="23"/>
                    <a:pt x="60" y="21"/>
                  </a:cubicBezTo>
                  <a:cubicBezTo>
                    <a:pt x="60" y="20"/>
                    <a:pt x="60" y="18"/>
                    <a:pt x="61" y="16"/>
                  </a:cubicBezTo>
                  <a:cubicBezTo>
                    <a:pt x="61" y="15"/>
                    <a:pt x="62" y="14"/>
                    <a:pt x="63" y="13"/>
                  </a:cubicBezTo>
                  <a:cubicBezTo>
                    <a:pt x="63" y="12"/>
                    <a:pt x="64" y="11"/>
                    <a:pt x="66" y="10"/>
                  </a:cubicBezTo>
                  <a:cubicBezTo>
                    <a:pt x="67" y="10"/>
                    <a:pt x="68" y="10"/>
                    <a:pt x="70" y="10"/>
                  </a:cubicBezTo>
                  <a:cubicBezTo>
                    <a:pt x="72" y="10"/>
                    <a:pt x="73" y="10"/>
                    <a:pt x="74" y="10"/>
                  </a:cubicBezTo>
                  <a:cubicBezTo>
                    <a:pt x="75" y="11"/>
                    <a:pt x="76" y="12"/>
                    <a:pt x="77" y="13"/>
                  </a:cubicBezTo>
                  <a:cubicBezTo>
                    <a:pt x="78" y="13"/>
                    <a:pt x="78" y="15"/>
                    <a:pt x="79" y="16"/>
                  </a:cubicBezTo>
                  <a:cubicBezTo>
                    <a:pt x="79" y="17"/>
                    <a:pt x="79" y="18"/>
                    <a:pt x="79" y="20"/>
                  </a:cubicBezTo>
                  <a:close/>
                  <a:moveTo>
                    <a:pt x="75" y="19"/>
                  </a:moveTo>
                  <a:cubicBezTo>
                    <a:pt x="75" y="17"/>
                    <a:pt x="75" y="16"/>
                    <a:pt x="74" y="14"/>
                  </a:cubicBezTo>
                  <a:cubicBezTo>
                    <a:pt x="73" y="13"/>
                    <a:pt x="72" y="13"/>
                    <a:pt x="70" y="13"/>
                  </a:cubicBezTo>
                  <a:cubicBezTo>
                    <a:pt x="69" y="13"/>
                    <a:pt x="68" y="13"/>
                    <a:pt x="67" y="13"/>
                  </a:cubicBezTo>
                  <a:cubicBezTo>
                    <a:pt x="66" y="14"/>
                    <a:pt x="66" y="14"/>
                    <a:pt x="65" y="15"/>
                  </a:cubicBezTo>
                  <a:cubicBezTo>
                    <a:pt x="65" y="15"/>
                    <a:pt x="65" y="16"/>
                    <a:pt x="64" y="17"/>
                  </a:cubicBezTo>
                  <a:cubicBezTo>
                    <a:pt x="64" y="17"/>
                    <a:pt x="64" y="18"/>
                    <a:pt x="64" y="19"/>
                  </a:cubicBezTo>
                  <a:lnTo>
                    <a:pt x="75" y="19"/>
                  </a:lnTo>
                  <a:close/>
                  <a:moveTo>
                    <a:pt x="96" y="12"/>
                  </a:moveTo>
                  <a:cubicBezTo>
                    <a:pt x="96" y="12"/>
                    <a:pt x="96" y="13"/>
                    <a:pt x="96" y="13"/>
                  </a:cubicBezTo>
                  <a:cubicBezTo>
                    <a:pt x="96" y="13"/>
                    <a:pt x="96" y="13"/>
                    <a:pt x="96" y="13"/>
                  </a:cubicBezTo>
                  <a:cubicBezTo>
                    <a:pt x="96" y="14"/>
                    <a:pt x="96" y="14"/>
                    <a:pt x="96" y="14"/>
                  </a:cubicBezTo>
                  <a:cubicBezTo>
                    <a:pt x="96" y="14"/>
                    <a:pt x="96" y="14"/>
                    <a:pt x="96" y="14"/>
                  </a:cubicBezTo>
                  <a:cubicBezTo>
                    <a:pt x="96" y="14"/>
                    <a:pt x="95" y="14"/>
                    <a:pt x="95" y="14"/>
                  </a:cubicBezTo>
                  <a:cubicBezTo>
                    <a:pt x="95" y="14"/>
                    <a:pt x="95" y="14"/>
                    <a:pt x="95" y="14"/>
                  </a:cubicBezTo>
                  <a:cubicBezTo>
                    <a:pt x="94" y="14"/>
                    <a:pt x="94" y="13"/>
                    <a:pt x="94" y="13"/>
                  </a:cubicBezTo>
                  <a:cubicBezTo>
                    <a:pt x="94" y="13"/>
                    <a:pt x="93" y="13"/>
                    <a:pt x="93" y="13"/>
                  </a:cubicBezTo>
                  <a:cubicBezTo>
                    <a:pt x="93" y="13"/>
                    <a:pt x="92" y="13"/>
                    <a:pt x="92" y="14"/>
                  </a:cubicBezTo>
                  <a:cubicBezTo>
                    <a:pt x="92" y="14"/>
                    <a:pt x="91" y="14"/>
                    <a:pt x="91" y="14"/>
                  </a:cubicBezTo>
                  <a:cubicBezTo>
                    <a:pt x="90" y="15"/>
                    <a:pt x="90" y="15"/>
                    <a:pt x="89" y="16"/>
                  </a:cubicBezTo>
                  <a:cubicBezTo>
                    <a:pt x="89" y="16"/>
                    <a:pt x="88" y="17"/>
                    <a:pt x="88" y="18"/>
                  </a:cubicBezTo>
                  <a:cubicBezTo>
                    <a:pt x="88" y="32"/>
                    <a:pt x="88" y="32"/>
                    <a:pt x="88" y="32"/>
                  </a:cubicBezTo>
                  <a:cubicBezTo>
                    <a:pt x="88" y="32"/>
                    <a:pt x="88" y="32"/>
                    <a:pt x="88" y="32"/>
                  </a:cubicBezTo>
                  <a:cubicBezTo>
                    <a:pt x="88" y="32"/>
                    <a:pt x="88" y="32"/>
                    <a:pt x="88" y="32"/>
                  </a:cubicBezTo>
                  <a:cubicBezTo>
                    <a:pt x="87" y="32"/>
                    <a:pt x="87" y="32"/>
                    <a:pt x="87" y="32"/>
                  </a:cubicBezTo>
                  <a:cubicBezTo>
                    <a:pt x="87" y="32"/>
                    <a:pt x="86" y="33"/>
                    <a:pt x="86" y="33"/>
                  </a:cubicBezTo>
                  <a:cubicBezTo>
                    <a:pt x="86" y="33"/>
                    <a:pt x="85" y="32"/>
                    <a:pt x="85" y="32"/>
                  </a:cubicBezTo>
                  <a:cubicBezTo>
                    <a:pt x="85" y="32"/>
                    <a:pt x="85" y="32"/>
                    <a:pt x="84" y="32"/>
                  </a:cubicBezTo>
                  <a:cubicBezTo>
                    <a:pt x="84" y="32"/>
                    <a:pt x="84" y="32"/>
                    <a:pt x="84" y="32"/>
                  </a:cubicBezTo>
                  <a:cubicBezTo>
                    <a:pt x="84" y="32"/>
                    <a:pt x="84" y="32"/>
                    <a:pt x="84" y="32"/>
                  </a:cubicBezTo>
                  <a:cubicBezTo>
                    <a:pt x="84" y="11"/>
                    <a:pt x="84" y="11"/>
                    <a:pt x="84" y="11"/>
                  </a:cubicBezTo>
                  <a:cubicBezTo>
                    <a:pt x="84" y="11"/>
                    <a:pt x="84" y="10"/>
                    <a:pt x="84" y="10"/>
                  </a:cubicBezTo>
                  <a:cubicBezTo>
                    <a:pt x="84" y="10"/>
                    <a:pt x="84" y="10"/>
                    <a:pt x="84" y="10"/>
                  </a:cubicBezTo>
                  <a:cubicBezTo>
                    <a:pt x="85" y="10"/>
                    <a:pt x="85" y="10"/>
                    <a:pt x="85" y="10"/>
                  </a:cubicBezTo>
                  <a:cubicBezTo>
                    <a:pt x="85" y="10"/>
                    <a:pt x="85" y="10"/>
                    <a:pt x="86" y="10"/>
                  </a:cubicBezTo>
                  <a:cubicBezTo>
                    <a:pt x="86" y="10"/>
                    <a:pt x="86" y="10"/>
                    <a:pt x="87" y="10"/>
                  </a:cubicBezTo>
                  <a:cubicBezTo>
                    <a:pt x="87" y="10"/>
                    <a:pt x="87" y="10"/>
                    <a:pt x="87" y="10"/>
                  </a:cubicBezTo>
                  <a:cubicBezTo>
                    <a:pt x="87" y="10"/>
                    <a:pt x="87" y="10"/>
                    <a:pt x="87" y="10"/>
                  </a:cubicBezTo>
                  <a:cubicBezTo>
                    <a:pt x="87" y="10"/>
                    <a:pt x="88" y="11"/>
                    <a:pt x="88" y="11"/>
                  </a:cubicBezTo>
                  <a:cubicBezTo>
                    <a:pt x="88" y="14"/>
                    <a:pt x="88" y="14"/>
                    <a:pt x="88" y="14"/>
                  </a:cubicBezTo>
                  <a:cubicBezTo>
                    <a:pt x="88" y="13"/>
                    <a:pt x="89" y="12"/>
                    <a:pt x="89" y="12"/>
                  </a:cubicBezTo>
                  <a:cubicBezTo>
                    <a:pt x="90" y="11"/>
                    <a:pt x="90" y="11"/>
                    <a:pt x="91" y="10"/>
                  </a:cubicBezTo>
                  <a:cubicBezTo>
                    <a:pt x="91" y="10"/>
                    <a:pt x="91" y="10"/>
                    <a:pt x="92" y="10"/>
                  </a:cubicBezTo>
                  <a:cubicBezTo>
                    <a:pt x="92" y="10"/>
                    <a:pt x="93" y="10"/>
                    <a:pt x="93" y="10"/>
                  </a:cubicBezTo>
                  <a:cubicBezTo>
                    <a:pt x="93" y="10"/>
                    <a:pt x="94" y="10"/>
                    <a:pt x="94" y="10"/>
                  </a:cubicBezTo>
                  <a:cubicBezTo>
                    <a:pt x="94" y="10"/>
                    <a:pt x="95" y="10"/>
                    <a:pt x="95" y="10"/>
                  </a:cubicBezTo>
                  <a:cubicBezTo>
                    <a:pt x="95" y="10"/>
                    <a:pt x="95" y="10"/>
                    <a:pt x="96" y="10"/>
                  </a:cubicBezTo>
                  <a:cubicBezTo>
                    <a:pt x="96" y="10"/>
                    <a:pt x="96" y="10"/>
                    <a:pt x="96" y="10"/>
                  </a:cubicBezTo>
                  <a:cubicBezTo>
                    <a:pt x="96" y="10"/>
                    <a:pt x="96" y="10"/>
                    <a:pt x="96" y="10"/>
                  </a:cubicBezTo>
                  <a:cubicBezTo>
                    <a:pt x="96" y="11"/>
                    <a:pt x="96" y="11"/>
                    <a:pt x="96" y="11"/>
                  </a:cubicBezTo>
                  <a:cubicBezTo>
                    <a:pt x="96" y="11"/>
                    <a:pt x="96" y="11"/>
                    <a:pt x="96" y="11"/>
                  </a:cubicBezTo>
                  <a:cubicBezTo>
                    <a:pt x="96" y="11"/>
                    <a:pt x="96" y="12"/>
                    <a:pt x="96" y="12"/>
                  </a:cubicBezTo>
                  <a:close/>
                  <a:moveTo>
                    <a:pt x="119" y="21"/>
                  </a:moveTo>
                  <a:cubicBezTo>
                    <a:pt x="119" y="23"/>
                    <a:pt x="119" y="24"/>
                    <a:pt x="119" y="26"/>
                  </a:cubicBezTo>
                  <a:cubicBezTo>
                    <a:pt x="118" y="27"/>
                    <a:pt x="118" y="29"/>
                    <a:pt x="117" y="30"/>
                  </a:cubicBezTo>
                  <a:cubicBezTo>
                    <a:pt x="116" y="31"/>
                    <a:pt x="115" y="31"/>
                    <a:pt x="114" y="32"/>
                  </a:cubicBezTo>
                  <a:cubicBezTo>
                    <a:pt x="113" y="33"/>
                    <a:pt x="111" y="33"/>
                    <a:pt x="110" y="33"/>
                  </a:cubicBezTo>
                  <a:cubicBezTo>
                    <a:pt x="109" y="33"/>
                    <a:pt x="109" y="33"/>
                    <a:pt x="108" y="33"/>
                  </a:cubicBezTo>
                  <a:cubicBezTo>
                    <a:pt x="108" y="32"/>
                    <a:pt x="107" y="32"/>
                    <a:pt x="107" y="32"/>
                  </a:cubicBezTo>
                  <a:cubicBezTo>
                    <a:pt x="106" y="32"/>
                    <a:pt x="106" y="31"/>
                    <a:pt x="105" y="31"/>
                  </a:cubicBezTo>
                  <a:cubicBezTo>
                    <a:pt x="105" y="31"/>
                    <a:pt x="104" y="30"/>
                    <a:pt x="104" y="30"/>
                  </a:cubicBezTo>
                  <a:cubicBezTo>
                    <a:pt x="104" y="40"/>
                    <a:pt x="104" y="40"/>
                    <a:pt x="104" y="40"/>
                  </a:cubicBezTo>
                  <a:cubicBezTo>
                    <a:pt x="104" y="40"/>
                    <a:pt x="104" y="40"/>
                    <a:pt x="103" y="40"/>
                  </a:cubicBezTo>
                  <a:cubicBezTo>
                    <a:pt x="103" y="41"/>
                    <a:pt x="103" y="41"/>
                    <a:pt x="103" y="41"/>
                  </a:cubicBezTo>
                  <a:cubicBezTo>
                    <a:pt x="103" y="41"/>
                    <a:pt x="103" y="41"/>
                    <a:pt x="103" y="41"/>
                  </a:cubicBezTo>
                  <a:cubicBezTo>
                    <a:pt x="102" y="41"/>
                    <a:pt x="102" y="41"/>
                    <a:pt x="102" y="41"/>
                  </a:cubicBezTo>
                  <a:cubicBezTo>
                    <a:pt x="101" y="41"/>
                    <a:pt x="101" y="41"/>
                    <a:pt x="101" y="41"/>
                  </a:cubicBezTo>
                  <a:cubicBezTo>
                    <a:pt x="100" y="41"/>
                    <a:pt x="100" y="41"/>
                    <a:pt x="100" y="41"/>
                  </a:cubicBezTo>
                  <a:cubicBezTo>
                    <a:pt x="100" y="41"/>
                    <a:pt x="100" y="41"/>
                    <a:pt x="100" y="40"/>
                  </a:cubicBezTo>
                  <a:cubicBezTo>
                    <a:pt x="100" y="40"/>
                    <a:pt x="100" y="40"/>
                    <a:pt x="100" y="40"/>
                  </a:cubicBezTo>
                  <a:cubicBezTo>
                    <a:pt x="100" y="11"/>
                    <a:pt x="100" y="11"/>
                    <a:pt x="100" y="11"/>
                  </a:cubicBezTo>
                  <a:cubicBezTo>
                    <a:pt x="100" y="11"/>
                    <a:pt x="100" y="10"/>
                    <a:pt x="100" y="10"/>
                  </a:cubicBezTo>
                  <a:cubicBezTo>
                    <a:pt x="100" y="10"/>
                    <a:pt x="100" y="10"/>
                    <a:pt x="100" y="10"/>
                  </a:cubicBezTo>
                  <a:cubicBezTo>
                    <a:pt x="100" y="10"/>
                    <a:pt x="100" y="10"/>
                    <a:pt x="101" y="10"/>
                  </a:cubicBezTo>
                  <a:cubicBezTo>
                    <a:pt x="101" y="10"/>
                    <a:pt x="101" y="10"/>
                    <a:pt x="101" y="10"/>
                  </a:cubicBezTo>
                  <a:cubicBezTo>
                    <a:pt x="102" y="10"/>
                    <a:pt x="102" y="10"/>
                    <a:pt x="102" y="10"/>
                  </a:cubicBezTo>
                  <a:cubicBezTo>
                    <a:pt x="102" y="10"/>
                    <a:pt x="103" y="10"/>
                    <a:pt x="103" y="10"/>
                  </a:cubicBezTo>
                  <a:cubicBezTo>
                    <a:pt x="103" y="10"/>
                    <a:pt x="103" y="10"/>
                    <a:pt x="103" y="10"/>
                  </a:cubicBezTo>
                  <a:cubicBezTo>
                    <a:pt x="103" y="10"/>
                    <a:pt x="103" y="11"/>
                    <a:pt x="103" y="11"/>
                  </a:cubicBezTo>
                  <a:cubicBezTo>
                    <a:pt x="103" y="14"/>
                    <a:pt x="103" y="14"/>
                    <a:pt x="103" y="14"/>
                  </a:cubicBezTo>
                  <a:cubicBezTo>
                    <a:pt x="104" y="13"/>
                    <a:pt x="104" y="12"/>
                    <a:pt x="105" y="12"/>
                  </a:cubicBezTo>
                  <a:cubicBezTo>
                    <a:pt x="106" y="11"/>
                    <a:pt x="106" y="11"/>
                    <a:pt x="107" y="11"/>
                  </a:cubicBezTo>
                  <a:cubicBezTo>
                    <a:pt x="107" y="10"/>
                    <a:pt x="108" y="10"/>
                    <a:pt x="109" y="10"/>
                  </a:cubicBezTo>
                  <a:cubicBezTo>
                    <a:pt x="109" y="10"/>
                    <a:pt x="110" y="10"/>
                    <a:pt x="111" y="10"/>
                  </a:cubicBezTo>
                  <a:cubicBezTo>
                    <a:pt x="112" y="10"/>
                    <a:pt x="113" y="10"/>
                    <a:pt x="115" y="11"/>
                  </a:cubicBezTo>
                  <a:cubicBezTo>
                    <a:pt x="116" y="11"/>
                    <a:pt x="116" y="12"/>
                    <a:pt x="117" y="13"/>
                  </a:cubicBezTo>
                  <a:cubicBezTo>
                    <a:pt x="118" y="14"/>
                    <a:pt x="118" y="15"/>
                    <a:pt x="119" y="17"/>
                  </a:cubicBezTo>
                  <a:cubicBezTo>
                    <a:pt x="119" y="18"/>
                    <a:pt x="119" y="19"/>
                    <a:pt x="119" y="21"/>
                  </a:cubicBezTo>
                  <a:close/>
                  <a:moveTo>
                    <a:pt x="115" y="21"/>
                  </a:moveTo>
                  <a:cubicBezTo>
                    <a:pt x="115" y="20"/>
                    <a:pt x="115" y="19"/>
                    <a:pt x="115" y="18"/>
                  </a:cubicBezTo>
                  <a:cubicBezTo>
                    <a:pt x="115" y="17"/>
                    <a:pt x="114" y="16"/>
                    <a:pt x="114" y="16"/>
                  </a:cubicBezTo>
                  <a:cubicBezTo>
                    <a:pt x="114" y="15"/>
                    <a:pt x="113" y="14"/>
                    <a:pt x="112" y="14"/>
                  </a:cubicBezTo>
                  <a:cubicBezTo>
                    <a:pt x="112" y="13"/>
                    <a:pt x="111" y="13"/>
                    <a:pt x="110" y="13"/>
                  </a:cubicBezTo>
                  <a:cubicBezTo>
                    <a:pt x="109" y="13"/>
                    <a:pt x="109" y="13"/>
                    <a:pt x="108" y="13"/>
                  </a:cubicBezTo>
                  <a:cubicBezTo>
                    <a:pt x="108" y="13"/>
                    <a:pt x="107" y="14"/>
                    <a:pt x="107" y="14"/>
                  </a:cubicBezTo>
                  <a:cubicBezTo>
                    <a:pt x="106" y="14"/>
                    <a:pt x="106" y="15"/>
                    <a:pt x="105" y="15"/>
                  </a:cubicBezTo>
                  <a:cubicBezTo>
                    <a:pt x="105" y="16"/>
                    <a:pt x="104" y="16"/>
                    <a:pt x="104" y="17"/>
                  </a:cubicBezTo>
                  <a:cubicBezTo>
                    <a:pt x="104" y="25"/>
                    <a:pt x="104" y="25"/>
                    <a:pt x="104" y="25"/>
                  </a:cubicBezTo>
                  <a:cubicBezTo>
                    <a:pt x="105" y="27"/>
                    <a:pt x="106" y="28"/>
                    <a:pt x="107" y="28"/>
                  </a:cubicBezTo>
                  <a:cubicBezTo>
                    <a:pt x="108" y="29"/>
                    <a:pt x="109" y="29"/>
                    <a:pt x="110" y="29"/>
                  </a:cubicBezTo>
                  <a:cubicBezTo>
                    <a:pt x="111" y="29"/>
                    <a:pt x="111" y="29"/>
                    <a:pt x="112" y="29"/>
                  </a:cubicBezTo>
                  <a:cubicBezTo>
                    <a:pt x="113" y="28"/>
                    <a:pt x="113" y="28"/>
                    <a:pt x="114" y="27"/>
                  </a:cubicBezTo>
                  <a:cubicBezTo>
                    <a:pt x="114" y="26"/>
                    <a:pt x="115" y="25"/>
                    <a:pt x="115" y="24"/>
                  </a:cubicBezTo>
                  <a:cubicBezTo>
                    <a:pt x="115" y="23"/>
                    <a:pt x="115" y="22"/>
                    <a:pt x="115" y="21"/>
                  </a:cubicBezTo>
                  <a:close/>
                  <a:moveTo>
                    <a:pt x="136" y="12"/>
                  </a:moveTo>
                  <a:cubicBezTo>
                    <a:pt x="136" y="12"/>
                    <a:pt x="136" y="13"/>
                    <a:pt x="136" y="13"/>
                  </a:cubicBezTo>
                  <a:cubicBezTo>
                    <a:pt x="136" y="13"/>
                    <a:pt x="136" y="13"/>
                    <a:pt x="136" y="13"/>
                  </a:cubicBezTo>
                  <a:cubicBezTo>
                    <a:pt x="136" y="14"/>
                    <a:pt x="136" y="14"/>
                    <a:pt x="136" y="14"/>
                  </a:cubicBezTo>
                  <a:cubicBezTo>
                    <a:pt x="136" y="14"/>
                    <a:pt x="136" y="14"/>
                    <a:pt x="136" y="14"/>
                  </a:cubicBezTo>
                  <a:cubicBezTo>
                    <a:pt x="135" y="14"/>
                    <a:pt x="135" y="14"/>
                    <a:pt x="135" y="14"/>
                  </a:cubicBezTo>
                  <a:cubicBezTo>
                    <a:pt x="135" y="14"/>
                    <a:pt x="135" y="14"/>
                    <a:pt x="135" y="14"/>
                  </a:cubicBezTo>
                  <a:cubicBezTo>
                    <a:pt x="134" y="14"/>
                    <a:pt x="134" y="13"/>
                    <a:pt x="134" y="13"/>
                  </a:cubicBezTo>
                  <a:cubicBezTo>
                    <a:pt x="134" y="13"/>
                    <a:pt x="133" y="13"/>
                    <a:pt x="133" y="13"/>
                  </a:cubicBezTo>
                  <a:cubicBezTo>
                    <a:pt x="132" y="13"/>
                    <a:pt x="132" y="13"/>
                    <a:pt x="132" y="14"/>
                  </a:cubicBezTo>
                  <a:cubicBezTo>
                    <a:pt x="131" y="14"/>
                    <a:pt x="131" y="14"/>
                    <a:pt x="131" y="14"/>
                  </a:cubicBezTo>
                  <a:cubicBezTo>
                    <a:pt x="130" y="15"/>
                    <a:pt x="130" y="15"/>
                    <a:pt x="129" y="16"/>
                  </a:cubicBezTo>
                  <a:cubicBezTo>
                    <a:pt x="129" y="16"/>
                    <a:pt x="128" y="17"/>
                    <a:pt x="128" y="18"/>
                  </a:cubicBezTo>
                  <a:cubicBezTo>
                    <a:pt x="128" y="32"/>
                    <a:pt x="128" y="32"/>
                    <a:pt x="128" y="32"/>
                  </a:cubicBezTo>
                  <a:cubicBezTo>
                    <a:pt x="128" y="32"/>
                    <a:pt x="128" y="32"/>
                    <a:pt x="128" y="32"/>
                  </a:cubicBezTo>
                  <a:cubicBezTo>
                    <a:pt x="128" y="32"/>
                    <a:pt x="127" y="32"/>
                    <a:pt x="127" y="32"/>
                  </a:cubicBezTo>
                  <a:cubicBezTo>
                    <a:pt x="127" y="32"/>
                    <a:pt x="127" y="32"/>
                    <a:pt x="127" y="32"/>
                  </a:cubicBezTo>
                  <a:cubicBezTo>
                    <a:pt x="127" y="32"/>
                    <a:pt x="126" y="33"/>
                    <a:pt x="126" y="33"/>
                  </a:cubicBezTo>
                  <a:cubicBezTo>
                    <a:pt x="125" y="33"/>
                    <a:pt x="125" y="32"/>
                    <a:pt x="125" y="32"/>
                  </a:cubicBezTo>
                  <a:cubicBezTo>
                    <a:pt x="125" y="32"/>
                    <a:pt x="124" y="32"/>
                    <a:pt x="124" y="32"/>
                  </a:cubicBezTo>
                  <a:cubicBezTo>
                    <a:pt x="124" y="32"/>
                    <a:pt x="124" y="32"/>
                    <a:pt x="124" y="32"/>
                  </a:cubicBezTo>
                  <a:cubicBezTo>
                    <a:pt x="124" y="32"/>
                    <a:pt x="124" y="32"/>
                    <a:pt x="124" y="32"/>
                  </a:cubicBezTo>
                  <a:cubicBezTo>
                    <a:pt x="124" y="11"/>
                    <a:pt x="124" y="11"/>
                    <a:pt x="124" y="11"/>
                  </a:cubicBezTo>
                  <a:cubicBezTo>
                    <a:pt x="124" y="11"/>
                    <a:pt x="124" y="10"/>
                    <a:pt x="124" y="10"/>
                  </a:cubicBezTo>
                  <a:cubicBezTo>
                    <a:pt x="124" y="10"/>
                    <a:pt x="124" y="10"/>
                    <a:pt x="124" y="10"/>
                  </a:cubicBezTo>
                  <a:cubicBezTo>
                    <a:pt x="124" y="10"/>
                    <a:pt x="125" y="10"/>
                    <a:pt x="125" y="10"/>
                  </a:cubicBezTo>
                  <a:cubicBezTo>
                    <a:pt x="125" y="10"/>
                    <a:pt x="125" y="10"/>
                    <a:pt x="126" y="10"/>
                  </a:cubicBezTo>
                  <a:cubicBezTo>
                    <a:pt x="126" y="10"/>
                    <a:pt x="126" y="10"/>
                    <a:pt x="126" y="10"/>
                  </a:cubicBezTo>
                  <a:cubicBezTo>
                    <a:pt x="127" y="10"/>
                    <a:pt x="127" y="10"/>
                    <a:pt x="127" y="10"/>
                  </a:cubicBezTo>
                  <a:cubicBezTo>
                    <a:pt x="127" y="10"/>
                    <a:pt x="127" y="10"/>
                    <a:pt x="127" y="10"/>
                  </a:cubicBezTo>
                  <a:cubicBezTo>
                    <a:pt x="127" y="10"/>
                    <a:pt x="127" y="11"/>
                    <a:pt x="127" y="11"/>
                  </a:cubicBezTo>
                  <a:cubicBezTo>
                    <a:pt x="127" y="14"/>
                    <a:pt x="127" y="14"/>
                    <a:pt x="127" y="14"/>
                  </a:cubicBezTo>
                  <a:cubicBezTo>
                    <a:pt x="128" y="13"/>
                    <a:pt x="128" y="12"/>
                    <a:pt x="129" y="12"/>
                  </a:cubicBezTo>
                  <a:cubicBezTo>
                    <a:pt x="130" y="11"/>
                    <a:pt x="130" y="11"/>
                    <a:pt x="130" y="10"/>
                  </a:cubicBezTo>
                  <a:cubicBezTo>
                    <a:pt x="131" y="10"/>
                    <a:pt x="131" y="10"/>
                    <a:pt x="132" y="10"/>
                  </a:cubicBezTo>
                  <a:cubicBezTo>
                    <a:pt x="132" y="10"/>
                    <a:pt x="133" y="10"/>
                    <a:pt x="133" y="10"/>
                  </a:cubicBezTo>
                  <a:cubicBezTo>
                    <a:pt x="133" y="10"/>
                    <a:pt x="134" y="10"/>
                    <a:pt x="134" y="10"/>
                  </a:cubicBezTo>
                  <a:cubicBezTo>
                    <a:pt x="134" y="10"/>
                    <a:pt x="134" y="10"/>
                    <a:pt x="135" y="10"/>
                  </a:cubicBezTo>
                  <a:cubicBezTo>
                    <a:pt x="135" y="10"/>
                    <a:pt x="135" y="10"/>
                    <a:pt x="135" y="10"/>
                  </a:cubicBezTo>
                  <a:cubicBezTo>
                    <a:pt x="136" y="10"/>
                    <a:pt x="136" y="10"/>
                    <a:pt x="136" y="10"/>
                  </a:cubicBezTo>
                  <a:cubicBezTo>
                    <a:pt x="136" y="10"/>
                    <a:pt x="136" y="10"/>
                    <a:pt x="136" y="10"/>
                  </a:cubicBezTo>
                  <a:cubicBezTo>
                    <a:pt x="136" y="11"/>
                    <a:pt x="136" y="11"/>
                    <a:pt x="136" y="11"/>
                  </a:cubicBezTo>
                  <a:cubicBezTo>
                    <a:pt x="136" y="11"/>
                    <a:pt x="136" y="11"/>
                    <a:pt x="136" y="11"/>
                  </a:cubicBezTo>
                  <a:cubicBezTo>
                    <a:pt x="136" y="11"/>
                    <a:pt x="136" y="12"/>
                    <a:pt x="136" y="12"/>
                  </a:cubicBezTo>
                  <a:close/>
                  <a:moveTo>
                    <a:pt x="144" y="4"/>
                  </a:moveTo>
                  <a:cubicBezTo>
                    <a:pt x="144" y="4"/>
                    <a:pt x="144" y="5"/>
                    <a:pt x="143" y="5"/>
                  </a:cubicBezTo>
                  <a:cubicBezTo>
                    <a:pt x="143" y="6"/>
                    <a:pt x="142" y="6"/>
                    <a:pt x="141" y="6"/>
                  </a:cubicBezTo>
                  <a:cubicBezTo>
                    <a:pt x="141" y="6"/>
                    <a:pt x="140" y="6"/>
                    <a:pt x="140" y="5"/>
                  </a:cubicBezTo>
                  <a:cubicBezTo>
                    <a:pt x="139" y="5"/>
                    <a:pt x="139" y="4"/>
                    <a:pt x="139" y="4"/>
                  </a:cubicBezTo>
                  <a:cubicBezTo>
                    <a:pt x="139" y="3"/>
                    <a:pt x="139" y="2"/>
                    <a:pt x="140" y="2"/>
                  </a:cubicBezTo>
                  <a:cubicBezTo>
                    <a:pt x="140" y="1"/>
                    <a:pt x="141" y="1"/>
                    <a:pt x="141" y="1"/>
                  </a:cubicBezTo>
                  <a:cubicBezTo>
                    <a:pt x="142" y="1"/>
                    <a:pt x="143" y="1"/>
                    <a:pt x="143" y="2"/>
                  </a:cubicBezTo>
                  <a:cubicBezTo>
                    <a:pt x="144" y="2"/>
                    <a:pt x="144" y="3"/>
                    <a:pt x="144" y="4"/>
                  </a:cubicBezTo>
                  <a:close/>
                  <a:moveTo>
                    <a:pt x="143" y="32"/>
                  </a:moveTo>
                  <a:cubicBezTo>
                    <a:pt x="143" y="32"/>
                    <a:pt x="143" y="32"/>
                    <a:pt x="143" y="32"/>
                  </a:cubicBezTo>
                  <a:cubicBezTo>
                    <a:pt x="143" y="32"/>
                    <a:pt x="143" y="32"/>
                    <a:pt x="143" y="32"/>
                  </a:cubicBezTo>
                  <a:cubicBezTo>
                    <a:pt x="143" y="32"/>
                    <a:pt x="143" y="32"/>
                    <a:pt x="142" y="32"/>
                  </a:cubicBezTo>
                  <a:cubicBezTo>
                    <a:pt x="142" y="32"/>
                    <a:pt x="142" y="33"/>
                    <a:pt x="141" y="33"/>
                  </a:cubicBezTo>
                  <a:cubicBezTo>
                    <a:pt x="141" y="33"/>
                    <a:pt x="141" y="32"/>
                    <a:pt x="141" y="32"/>
                  </a:cubicBezTo>
                  <a:cubicBezTo>
                    <a:pt x="140" y="32"/>
                    <a:pt x="140" y="32"/>
                    <a:pt x="140" y="32"/>
                  </a:cubicBezTo>
                  <a:cubicBezTo>
                    <a:pt x="140" y="32"/>
                    <a:pt x="140" y="32"/>
                    <a:pt x="140" y="32"/>
                  </a:cubicBezTo>
                  <a:cubicBezTo>
                    <a:pt x="140" y="32"/>
                    <a:pt x="140" y="32"/>
                    <a:pt x="140" y="32"/>
                  </a:cubicBezTo>
                  <a:cubicBezTo>
                    <a:pt x="140" y="11"/>
                    <a:pt x="140" y="11"/>
                    <a:pt x="140" y="11"/>
                  </a:cubicBezTo>
                  <a:cubicBezTo>
                    <a:pt x="140" y="11"/>
                    <a:pt x="140" y="10"/>
                    <a:pt x="140" y="10"/>
                  </a:cubicBezTo>
                  <a:cubicBezTo>
                    <a:pt x="140" y="10"/>
                    <a:pt x="140" y="10"/>
                    <a:pt x="140" y="10"/>
                  </a:cubicBezTo>
                  <a:cubicBezTo>
                    <a:pt x="140" y="10"/>
                    <a:pt x="140" y="10"/>
                    <a:pt x="141" y="10"/>
                  </a:cubicBezTo>
                  <a:cubicBezTo>
                    <a:pt x="141" y="10"/>
                    <a:pt x="141" y="10"/>
                    <a:pt x="141" y="10"/>
                  </a:cubicBezTo>
                  <a:cubicBezTo>
                    <a:pt x="142" y="10"/>
                    <a:pt x="142" y="10"/>
                    <a:pt x="142" y="10"/>
                  </a:cubicBezTo>
                  <a:cubicBezTo>
                    <a:pt x="143" y="10"/>
                    <a:pt x="143" y="10"/>
                    <a:pt x="143" y="10"/>
                  </a:cubicBezTo>
                  <a:cubicBezTo>
                    <a:pt x="143" y="10"/>
                    <a:pt x="143" y="10"/>
                    <a:pt x="143" y="10"/>
                  </a:cubicBezTo>
                  <a:cubicBezTo>
                    <a:pt x="143" y="10"/>
                    <a:pt x="143" y="11"/>
                    <a:pt x="143" y="11"/>
                  </a:cubicBezTo>
                  <a:lnTo>
                    <a:pt x="143" y="32"/>
                  </a:lnTo>
                  <a:close/>
                  <a:moveTo>
                    <a:pt x="163" y="26"/>
                  </a:moveTo>
                  <a:cubicBezTo>
                    <a:pt x="163" y="27"/>
                    <a:pt x="163" y="28"/>
                    <a:pt x="162" y="29"/>
                  </a:cubicBezTo>
                  <a:cubicBezTo>
                    <a:pt x="162" y="30"/>
                    <a:pt x="161" y="30"/>
                    <a:pt x="160" y="31"/>
                  </a:cubicBezTo>
                  <a:cubicBezTo>
                    <a:pt x="160" y="32"/>
                    <a:pt x="159" y="32"/>
                    <a:pt x="158" y="32"/>
                  </a:cubicBezTo>
                  <a:cubicBezTo>
                    <a:pt x="157" y="33"/>
                    <a:pt x="156" y="33"/>
                    <a:pt x="154" y="33"/>
                  </a:cubicBezTo>
                  <a:cubicBezTo>
                    <a:pt x="154" y="33"/>
                    <a:pt x="153" y="33"/>
                    <a:pt x="152" y="33"/>
                  </a:cubicBezTo>
                  <a:cubicBezTo>
                    <a:pt x="152" y="33"/>
                    <a:pt x="151" y="32"/>
                    <a:pt x="151" y="32"/>
                  </a:cubicBezTo>
                  <a:cubicBezTo>
                    <a:pt x="150" y="32"/>
                    <a:pt x="150" y="32"/>
                    <a:pt x="149" y="32"/>
                  </a:cubicBezTo>
                  <a:cubicBezTo>
                    <a:pt x="149" y="31"/>
                    <a:pt x="148" y="31"/>
                    <a:pt x="148" y="31"/>
                  </a:cubicBezTo>
                  <a:cubicBezTo>
                    <a:pt x="148" y="31"/>
                    <a:pt x="148" y="31"/>
                    <a:pt x="148" y="30"/>
                  </a:cubicBezTo>
                  <a:cubicBezTo>
                    <a:pt x="148" y="30"/>
                    <a:pt x="148" y="30"/>
                    <a:pt x="148" y="29"/>
                  </a:cubicBezTo>
                  <a:cubicBezTo>
                    <a:pt x="148" y="29"/>
                    <a:pt x="148" y="29"/>
                    <a:pt x="148" y="29"/>
                  </a:cubicBezTo>
                  <a:cubicBezTo>
                    <a:pt x="148" y="28"/>
                    <a:pt x="148" y="28"/>
                    <a:pt x="148" y="28"/>
                  </a:cubicBezTo>
                  <a:cubicBezTo>
                    <a:pt x="148" y="28"/>
                    <a:pt x="148" y="28"/>
                    <a:pt x="148" y="28"/>
                  </a:cubicBezTo>
                  <a:cubicBezTo>
                    <a:pt x="148" y="28"/>
                    <a:pt x="148" y="28"/>
                    <a:pt x="148" y="28"/>
                  </a:cubicBezTo>
                  <a:cubicBezTo>
                    <a:pt x="149" y="28"/>
                    <a:pt x="149" y="28"/>
                    <a:pt x="149" y="28"/>
                  </a:cubicBezTo>
                  <a:cubicBezTo>
                    <a:pt x="150" y="28"/>
                    <a:pt x="150" y="28"/>
                    <a:pt x="150" y="29"/>
                  </a:cubicBezTo>
                  <a:cubicBezTo>
                    <a:pt x="151" y="29"/>
                    <a:pt x="152" y="29"/>
                    <a:pt x="152" y="29"/>
                  </a:cubicBezTo>
                  <a:cubicBezTo>
                    <a:pt x="153" y="30"/>
                    <a:pt x="154" y="30"/>
                    <a:pt x="155" y="30"/>
                  </a:cubicBezTo>
                  <a:cubicBezTo>
                    <a:pt x="155" y="30"/>
                    <a:pt x="156" y="30"/>
                    <a:pt x="156" y="30"/>
                  </a:cubicBezTo>
                  <a:cubicBezTo>
                    <a:pt x="157" y="29"/>
                    <a:pt x="157" y="29"/>
                    <a:pt x="158" y="29"/>
                  </a:cubicBezTo>
                  <a:cubicBezTo>
                    <a:pt x="158" y="29"/>
                    <a:pt x="158" y="28"/>
                    <a:pt x="159" y="28"/>
                  </a:cubicBezTo>
                  <a:cubicBezTo>
                    <a:pt x="159" y="27"/>
                    <a:pt x="159" y="27"/>
                    <a:pt x="159" y="26"/>
                  </a:cubicBezTo>
                  <a:cubicBezTo>
                    <a:pt x="159" y="26"/>
                    <a:pt x="159" y="25"/>
                    <a:pt x="158" y="25"/>
                  </a:cubicBezTo>
                  <a:cubicBezTo>
                    <a:pt x="158" y="24"/>
                    <a:pt x="158" y="24"/>
                    <a:pt x="157" y="24"/>
                  </a:cubicBezTo>
                  <a:cubicBezTo>
                    <a:pt x="157" y="23"/>
                    <a:pt x="156" y="23"/>
                    <a:pt x="156" y="23"/>
                  </a:cubicBezTo>
                  <a:cubicBezTo>
                    <a:pt x="155" y="23"/>
                    <a:pt x="154" y="22"/>
                    <a:pt x="154" y="22"/>
                  </a:cubicBezTo>
                  <a:cubicBezTo>
                    <a:pt x="153" y="22"/>
                    <a:pt x="152" y="22"/>
                    <a:pt x="152" y="21"/>
                  </a:cubicBezTo>
                  <a:cubicBezTo>
                    <a:pt x="151" y="21"/>
                    <a:pt x="151" y="21"/>
                    <a:pt x="150" y="20"/>
                  </a:cubicBezTo>
                  <a:cubicBezTo>
                    <a:pt x="150" y="20"/>
                    <a:pt x="149" y="19"/>
                    <a:pt x="149" y="18"/>
                  </a:cubicBezTo>
                  <a:cubicBezTo>
                    <a:pt x="148" y="18"/>
                    <a:pt x="148" y="17"/>
                    <a:pt x="148" y="16"/>
                  </a:cubicBezTo>
                  <a:cubicBezTo>
                    <a:pt x="148" y="15"/>
                    <a:pt x="149" y="14"/>
                    <a:pt x="149" y="14"/>
                  </a:cubicBezTo>
                  <a:cubicBezTo>
                    <a:pt x="149" y="13"/>
                    <a:pt x="150" y="12"/>
                    <a:pt x="150" y="12"/>
                  </a:cubicBezTo>
                  <a:cubicBezTo>
                    <a:pt x="151" y="11"/>
                    <a:pt x="152" y="10"/>
                    <a:pt x="153" y="10"/>
                  </a:cubicBezTo>
                  <a:cubicBezTo>
                    <a:pt x="154" y="10"/>
                    <a:pt x="155" y="10"/>
                    <a:pt x="156" y="10"/>
                  </a:cubicBezTo>
                  <a:cubicBezTo>
                    <a:pt x="157" y="10"/>
                    <a:pt x="157" y="10"/>
                    <a:pt x="158" y="10"/>
                  </a:cubicBezTo>
                  <a:cubicBezTo>
                    <a:pt x="158" y="10"/>
                    <a:pt x="159" y="10"/>
                    <a:pt x="159" y="10"/>
                  </a:cubicBezTo>
                  <a:cubicBezTo>
                    <a:pt x="160" y="10"/>
                    <a:pt x="160" y="10"/>
                    <a:pt x="160" y="11"/>
                  </a:cubicBezTo>
                  <a:cubicBezTo>
                    <a:pt x="161" y="11"/>
                    <a:pt x="161" y="11"/>
                    <a:pt x="161" y="11"/>
                  </a:cubicBezTo>
                  <a:cubicBezTo>
                    <a:pt x="161" y="11"/>
                    <a:pt x="161" y="11"/>
                    <a:pt x="161" y="11"/>
                  </a:cubicBezTo>
                  <a:cubicBezTo>
                    <a:pt x="162" y="11"/>
                    <a:pt x="162" y="12"/>
                    <a:pt x="162" y="12"/>
                  </a:cubicBezTo>
                  <a:cubicBezTo>
                    <a:pt x="162" y="12"/>
                    <a:pt x="162" y="12"/>
                    <a:pt x="162" y="12"/>
                  </a:cubicBezTo>
                  <a:cubicBezTo>
                    <a:pt x="162" y="12"/>
                    <a:pt x="162" y="12"/>
                    <a:pt x="162" y="13"/>
                  </a:cubicBezTo>
                  <a:cubicBezTo>
                    <a:pt x="162" y="13"/>
                    <a:pt x="162" y="13"/>
                    <a:pt x="162" y="13"/>
                  </a:cubicBezTo>
                  <a:cubicBezTo>
                    <a:pt x="162" y="14"/>
                    <a:pt x="162" y="14"/>
                    <a:pt x="162" y="14"/>
                  </a:cubicBezTo>
                  <a:cubicBezTo>
                    <a:pt x="161" y="14"/>
                    <a:pt x="161" y="14"/>
                    <a:pt x="161" y="14"/>
                  </a:cubicBezTo>
                  <a:cubicBezTo>
                    <a:pt x="161" y="14"/>
                    <a:pt x="161" y="14"/>
                    <a:pt x="161" y="14"/>
                  </a:cubicBezTo>
                  <a:cubicBezTo>
                    <a:pt x="161" y="14"/>
                    <a:pt x="161" y="14"/>
                    <a:pt x="160" y="14"/>
                  </a:cubicBezTo>
                  <a:cubicBezTo>
                    <a:pt x="160" y="14"/>
                    <a:pt x="160" y="14"/>
                    <a:pt x="159" y="13"/>
                  </a:cubicBezTo>
                  <a:cubicBezTo>
                    <a:pt x="159" y="13"/>
                    <a:pt x="159" y="13"/>
                    <a:pt x="158" y="13"/>
                  </a:cubicBezTo>
                  <a:cubicBezTo>
                    <a:pt x="157" y="13"/>
                    <a:pt x="157" y="13"/>
                    <a:pt x="156" y="13"/>
                  </a:cubicBezTo>
                  <a:cubicBezTo>
                    <a:pt x="155" y="13"/>
                    <a:pt x="155" y="13"/>
                    <a:pt x="154" y="13"/>
                  </a:cubicBezTo>
                  <a:cubicBezTo>
                    <a:pt x="154" y="13"/>
                    <a:pt x="153" y="13"/>
                    <a:pt x="153" y="13"/>
                  </a:cubicBezTo>
                  <a:cubicBezTo>
                    <a:pt x="153" y="14"/>
                    <a:pt x="152" y="14"/>
                    <a:pt x="152" y="14"/>
                  </a:cubicBezTo>
                  <a:cubicBezTo>
                    <a:pt x="152" y="15"/>
                    <a:pt x="152" y="15"/>
                    <a:pt x="152" y="16"/>
                  </a:cubicBezTo>
                  <a:cubicBezTo>
                    <a:pt x="152" y="16"/>
                    <a:pt x="152" y="17"/>
                    <a:pt x="153" y="17"/>
                  </a:cubicBezTo>
                  <a:cubicBezTo>
                    <a:pt x="153" y="18"/>
                    <a:pt x="153" y="18"/>
                    <a:pt x="154" y="18"/>
                  </a:cubicBezTo>
                  <a:cubicBezTo>
                    <a:pt x="154" y="19"/>
                    <a:pt x="155" y="19"/>
                    <a:pt x="155" y="19"/>
                  </a:cubicBezTo>
                  <a:cubicBezTo>
                    <a:pt x="156" y="19"/>
                    <a:pt x="157" y="20"/>
                    <a:pt x="157" y="20"/>
                  </a:cubicBezTo>
                  <a:cubicBezTo>
                    <a:pt x="158" y="20"/>
                    <a:pt x="159" y="20"/>
                    <a:pt x="159" y="21"/>
                  </a:cubicBezTo>
                  <a:cubicBezTo>
                    <a:pt x="160" y="21"/>
                    <a:pt x="161" y="22"/>
                    <a:pt x="161" y="22"/>
                  </a:cubicBezTo>
                  <a:cubicBezTo>
                    <a:pt x="162" y="22"/>
                    <a:pt x="162" y="23"/>
                    <a:pt x="162" y="24"/>
                  </a:cubicBezTo>
                  <a:cubicBezTo>
                    <a:pt x="163" y="24"/>
                    <a:pt x="163" y="25"/>
                    <a:pt x="163" y="26"/>
                  </a:cubicBezTo>
                  <a:close/>
                  <a:moveTo>
                    <a:pt x="185" y="20"/>
                  </a:moveTo>
                  <a:cubicBezTo>
                    <a:pt x="185" y="21"/>
                    <a:pt x="185" y="21"/>
                    <a:pt x="185" y="22"/>
                  </a:cubicBezTo>
                  <a:cubicBezTo>
                    <a:pt x="184" y="22"/>
                    <a:pt x="184" y="22"/>
                    <a:pt x="184" y="22"/>
                  </a:cubicBezTo>
                  <a:cubicBezTo>
                    <a:pt x="170" y="22"/>
                    <a:pt x="170" y="22"/>
                    <a:pt x="170" y="22"/>
                  </a:cubicBezTo>
                  <a:cubicBezTo>
                    <a:pt x="170" y="23"/>
                    <a:pt x="170" y="24"/>
                    <a:pt x="170" y="25"/>
                  </a:cubicBezTo>
                  <a:cubicBezTo>
                    <a:pt x="170" y="26"/>
                    <a:pt x="171" y="27"/>
                    <a:pt x="171" y="28"/>
                  </a:cubicBezTo>
                  <a:cubicBezTo>
                    <a:pt x="172" y="28"/>
                    <a:pt x="173" y="29"/>
                    <a:pt x="174" y="29"/>
                  </a:cubicBezTo>
                  <a:cubicBezTo>
                    <a:pt x="174" y="29"/>
                    <a:pt x="175" y="30"/>
                    <a:pt x="177" y="30"/>
                  </a:cubicBezTo>
                  <a:cubicBezTo>
                    <a:pt x="178" y="30"/>
                    <a:pt x="179" y="30"/>
                    <a:pt x="179" y="29"/>
                  </a:cubicBezTo>
                  <a:cubicBezTo>
                    <a:pt x="180" y="29"/>
                    <a:pt x="181" y="29"/>
                    <a:pt x="181" y="29"/>
                  </a:cubicBezTo>
                  <a:cubicBezTo>
                    <a:pt x="182" y="29"/>
                    <a:pt x="182" y="28"/>
                    <a:pt x="183" y="28"/>
                  </a:cubicBezTo>
                  <a:cubicBezTo>
                    <a:pt x="183" y="28"/>
                    <a:pt x="184" y="28"/>
                    <a:pt x="184" y="28"/>
                  </a:cubicBezTo>
                  <a:cubicBezTo>
                    <a:pt x="184" y="28"/>
                    <a:pt x="184" y="28"/>
                    <a:pt x="184" y="28"/>
                  </a:cubicBezTo>
                  <a:cubicBezTo>
                    <a:pt x="184" y="28"/>
                    <a:pt x="184" y="28"/>
                    <a:pt x="184" y="28"/>
                  </a:cubicBezTo>
                  <a:cubicBezTo>
                    <a:pt x="184" y="29"/>
                    <a:pt x="184" y="29"/>
                    <a:pt x="184" y="29"/>
                  </a:cubicBezTo>
                  <a:cubicBezTo>
                    <a:pt x="184" y="29"/>
                    <a:pt x="184" y="29"/>
                    <a:pt x="184" y="30"/>
                  </a:cubicBezTo>
                  <a:cubicBezTo>
                    <a:pt x="184" y="30"/>
                    <a:pt x="184" y="30"/>
                    <a:pt x="184" y="30"/>
                  </a:cubicBezTo>
                  <a:cubicBezTo>
                    <a:pt x="184" y="30"/>
                    <a:pt x="184" y="30"/>
                    <a:pt x="184" y="31"/>
                  </a:cubicBezTo>
                  <a:cubicBezTo>
                    <a:pt x="184" y="31"/>
                    <a:pt x="184" y="31"/>
                    <a:pt x="184" y="31"/>
                  </a:cubicBezTo>
                  <a:cubicBezTo>
                    <a:pt x="184" y="31"/>
                    <a:pt x="184" y="31"/>
                    <a:pt x="184" y="31"/>
                  </a:cubicBezTo>
                  <a:cubicBezTo>
                    <a:pt x="184" y="31"/>
                    <a:pt x="184" y="31"/>
                    <a:pt x="183" y="32"/>
                  </a:cubicBezTo>
                  <a:cubicBezTo>
                    <a:pt x="183" y="32"/>
                    <a:pt x="182" y="32"/>
                    <a:pt x="182" y="32"/>
                  </a:cubicBezTo>
                  <a:cubicBezTo>
                    <a:pt x="181" y="32"/>
                    <a:pt x="180" y="32"/>
                    <a:pt x="179" y="33"/>
                  </a:cubicBezTo>
                  <a:cubicBezTo>
                    <a:pt x="178" y="33"/>
                    <a:pt x="177" y="33"/>
                    <a:pt x="176" y="33"/>
                  </a:cubicBezTo>
                  <a:cubicBezTo>
                    <a:pt x="175" y="33"/>
                    <a:pt x="173" y="33"/>
                    <a:pt x="172" y="32"/>
                  </a:cubicBezTo>
                  <a:cubicBezTo>
                    <a:pt x="171" y="32"/>
                    <a:pt x="169" y="31"/>
                    <a:pt x="169" y="30"/>
                  </a:cubicBezTo>
                  <a:cubicBezTo>
                    <a:pt x="168" y="29"/>
                    <a:pt x="167" y="28"/>
                    <a:pt x="167" y="26"/>
                  </a:cubicBezTo>
                  <a:cubicBezTo>
                    <a:pt x="166" y="25"/>
                    <a:pt x="166" y="23"/>
                    <a:pt x="166" y="21"/>
                  </a:cubicBezTo>
                  <a:cubicBezTo>
                    <a:pt x="166" y="20"/>
                    <a:pt x="166" y="18"/>
                    <a:pt x="167" y="16"/>
                  </a:cubicBezTo>
                  <a:cubicBezTo>
                    <a:pt x="167" y="15"/>
                    <a:pt x="168" y="14"/>
                    <a:pt x="169" y="13"/>
                  </a:cubicBezTo>
                  <a:cubicBezTo>
                    <a:pt x="169" y="12"/>
                    <a:pt x="171" y="11"/>
                    <a:pt x="172" y="10"/>
                  </a:cubicBezTo>
                  <a:cubicBezTo>
                    <a:pt x="173" y="10"/>
                    <a:pt x="174" y="10"/>
                    <a:pt x="176" y="10"/>
                  </a:cubicBezTo>
                  <a:cubicBezTo>
                    <a:pt x="178" y="10"/>
                    <a:pt x="179" y="10"/>
                    <a:pt x="180" y="10"/>
                  </a:cubicBezTo>
                  <a:cubicBezTo>
                    <a:pt x="181" y="11"/>
                    <a:pt x="182" y="12"/>
                    <a:pt x="183" y="13"/>
                  </a:cubicBezTo>
                  <a:cubicBezTo>
                    <a:pt x="184" y="13"/>
                    <a:pt x="184" y="15"/>
                    <a:pt x="185" y="16"/>
                  </a:cubicBezTo>
                  <a:cubicBezTo>
                    <a:pt x="185" y="17"/>
                    <a:pt x="185" y="18"/>
                    <a:pt x="185" y="20"/>
                  </a:cubicBezTo>
                  <a:close/>
                  <a:moveTo>
                    <a:pt x="181" y="19"/>
                  </a:moveTo>
                  <a:cubicBezTo>
                    <a:pt x="181" y="17"/>
                    <a:pt x="181" y="16"/>
                    <a:pt x="180" y="14"/>
                  </a:cubicBezTo>
                  <a:cubicBezTo>
                    <a:pt x="179" y="13"/>
                    <a:pt x="178" y="13"/>
                    <a:pt x="176" y="13"/>
                  </a:cubicBezTo>
                  <a:cubicBezTo>
                    <a:pt x="175" y="13"/>
                    <a:pt x="174" y="13"/>
                    <a:pt x="173" y="13"/>
                  </a:cubicBezTo>
                  <a:cubicBezTo>
                    <a:pt x="173" y="14"/>
                    <a:pt x="172" y="14"/>
                    <a:pt x="171" y="15"/>
                  </a:cubicBezTo>
                  <a:cubicBezTo>
                    <a:pt x="171" y="15"/>
                    <a:pt x="171" y="16"/>
                    <a:pt x="170" y="17"/>
                  </a:cubicBezTo>
                  <a:cubicBezTo>
                    <a:pt x="170" y="17"/>
                    <a:pt x="170" y="18"/>
                    <a:pt x="170" y="19"/>
                  </a:cubicBezTo>
                  <a:lnTo>
                    <a:pt x="181" y="19"/>
                  </a:lnTo>
                  <a:close/>
                  <a:moveTo>
                    <a:pt x="186" y="32"/>
                  </a:moveTo>
                  <a:cubicBezTo>
                    <a:pt x="186" y="32"/>
                    <a:pt x="186" y="32"/>
                    <a:pt x="186" y="32"/>
                  </a:cubicBezTo>
                  <a:moveTo>
                    <a:pt x="217" y="24"/>
                  </a:moveTo>
                  <a:cubicBezTo>
                    <a:pt x="217" y="25"/>
                    <a:pt x="216" y="27"/>
                    <a:pt x="216" y="28"/>
                  </a:cubicBezTo>
                  <a:cubicBezTo>
                    <a:pt x="215" y="29"/>
                    <a:pt x="215" y="30"/>
                    <a:pt x="214" y="30"/>
                  </a:cubicBezTo>
                  <a:cubicBezTo>
                    <a:pt x="213" y="31"/>
                    <a:pt x="212" y="32"/>
                    <a:pt x="210" y="32"/>
                  </a:cubicBezTo>
                  <a:cubicBezTo>
                    <a:pt x="209" y="33"/>
                    <a:pt x="208" y="33"/>
                    <a:pt x="206" y="33"/>
                  </a:cubicBezTo>
                  <a:cubicBezTo>
                    <a:pt x="205" y="33"/>
                    <a:pt x="204" y="33"/>
                    <a:pt x="203" y="33"/>
                  </a:cubicBezTo>
                  <a:cubicBezTo>
                    <a:pt x="203" y="32"/>
                    <a:pt x="202" y="32"/>
                    <a:pt x="201" y="32"/>
                  </a:cubicBezTo>
                  <a:cubicBezTo>
                    <a:pt x="200" y="32"/>
                    <a:pt x="200" y="31"/>
                    <a:pt x="199" y="31"/>
                  </a:cubicBezTo>
                  <a:cubicBezTo>
                    <a:pt x="199" y="31"/>
                    <a:pt x="199" y="31"/>
                    <a:pt x="198" y="30"/>
                  </a:cubicBezTo>
                  <a:cubicBezTo>
                    <a:pt x="198" y="30"/>
                    <a:pt x="198" y="30"/>
                    <a:pt x="198" y="30"/>
                  </a:cubicBezTo>
                  <a:cubicBezTo>
                    <a:pt x="198" y="29"/>
                    <a:pt x="198" y="29"/>
                    <a:pt x="198" y="29"/>
                  </a:cubicBezTo>
                  <a:cubicBezTo>
                    <a:pt x="198" y="28"/>
                    <a:pt x="198" y="28"/>
                    <a:pt x="198" y="28"/>
                  </a:cubicBezTo>
                  <a:cubicBezTo>
                    <a:pt x="198" y="28"/>
                    <a:pt x="198" y="27"/>
                    <a:pt x="198" y="27"/>
                  </a:cubicBezTo>
                  <a:cubicBezTo>
                    <a:pt x="198" y="27"/>
                    <a:pt x="198" y="27"/>
                    <a:pt x="198" y="27"/>
                  </a:cubicBezTo>
                  <a:cubicBezTo>
                    <a:pt x="198" y="27"/>
                    <a:pt x="199" y="27"/>
                    <a:pt x="199" y="27"/>
                  </a:cubicBezTo>
                  <a:cubicBezTo>
                    <a:pt x="199" y="27"/>
                    <a:pt x="199" y="27"/>
                    <a:pt x="200" y="27"/>
                  </a:cubicBezTo>
                  <a:cubicBezTo>
                    <a:pt x="200" y="27"/>
                    <a:pt x="201" y="28"/>
                    <a:pt x="201" y="28"/>
                  </a:cubicBezTo>
                  <a:cubicBezTo>
                    <a:pt x="202" y="28"/>
                    <a:pt x="203" y="29"/>
                    <a:pt x="203" y="29"/>
                  </a:cubicBezTo>
                  <a:cubicBezTo>
                    <a:pt x="204" y="29"/>
                    <a:pt x="205" y="29"/>
                    <a:pt x="206" y="29"/>
                  </a:cubicBezTo>
                  <a:cubicBezTo>
                    <a:pt x="207" y="29"/>
                    <a:pt x="208" y="29"/>
                    <a:pt x="209" y="29"/>
                  </a:cubicBezTo>
                  <a:cubicBezTo>
                    <a:pt x="210" y="29"/>
                    <a:pt x="210" y="28"/>
                    <a:pt x="211" y="28"/>
                  </a:cubicBezTo>
                  <a:cubicBezTo>
                    <a:pt x="211" y="28"/>
                    <a:pt x="212" y="27"/>
                    <a:pt x="212" y="26"/>
                  </a:cubicBezTo>
                  <a:cubicBezTo>
                    <a:pt x="212" y="26"/>
                    <a:pt x="212" y="25"/>
                    <a:pt x="212" y="24"/>
                  </a:cubicBezTo>
                  <a:cubicBezTo>
                    <a:pt x="212" y="23"/>
                    <a:pt x="212" y="23"/>
                    <a:pt x="212" y="22"/>
                  </a:cubicBezTo>
                  <a:cubicBezTo>
                    <a:pt x="211" y="21"/>
                    <a:pt x="211" y="21"/>
                    <a:pt x="210" y="20"/>
                  </a:cubicBezTo>
                  <a:cubicBezTo>
                    <a:pt x="210" y="20"/>
                    <a:pt x="209" y="20"/>
                    <a:pt x="208" y="19"/>
                  </a:cubicBezTo>
                  <a:cubicBezTo>
                    <a:pt x="207" y="19"/>
                    <a:pt x="206" y="18"/>
                    <a:pt x="206" y="18"/>
                  </a:cubicBezTo>
                  <a:cubicBezTo>
                    <a:pt x="205" y="18"/>
                    <a:pt x="204" y="17"/>
                    <a:pt x="203" y="17"/>
                  </a:cubicBezTo>
                  <a:cubicBezTo>
                    <a:pt x="202" y="16"/>
                    <a:pt x="201" y="16"/>
                    <a:pt x="201" y="15"/>
                  </a:cubicBezTo>
                  <a:cubicBezTo>
                    <a:pt x="200" y="14"/>
                    <a:pt x="200" y="14"/>
                    <a:pt x="199" y="13"/>
                  </a:cubicBezTo>
                  <a:cubicBezTo>
                    <a:pt x="199" y="12"/>
                    <a:pt x="199" y="11"/>
                    <a:pt x="199" y="10"/>
                  </a:cubicBezTo>
                  <a:cubicBezTo>
                    <a:pt x="199" y="8"/>
                    <a:pt x="199" y="7"/>
                    <a:pt x="199" y="6"/>
                  </a:cubicBezTo>
                  <a:cubicBezTo>
                    <a:pt x="200" y="5"/>
                    <a:pt x="200" y="4"/>
                    <a:pt x="201" y="4"/>
                  </a:cubicBezTo>
                  <a:cubicBezTo>
                    <a:pt x="202" y="3"/>
                    <a:pt x="203" y="2"/>
                    <a:pt x="204" y="2"/>
                  </a:cubicBezTo>
                  <a:cubicBezTo>
                    <a:pt x="205" y="2"/>
                    <a:pt x="207" y="2"/>
                    <a:pt x="208" y="2"/>
                  </a:cubicBezTo>
                  <a:cubicBezTo>
                    <a:pt x="209" y="2"/>
                    <a:pt x="209" y="2"/>
                    <a:pt x="210" y="2"/>
                  </a:cubicBezTo>
                  <a:cubicBezTo>
                    <a:pt x="211" y="2"/>
                    <a:pt x="211" y="2"/>
                    <a:pt x="212" y="2"/>
                  </a:cubicBezTo>
                  <a:cubicBezTo>
                    <a:pt x="212" y="2"/>
                    <a:pt x="213" y="3"/>
                    <a:pt x="213" y="3"/>
                  </a:cubicBezTo>
                  <a:cubicBezTo>
                    <a:pt x="214" y="3"/>
                    <a:pt x="214" y="3"/>
                    <a:pt x="214" y="3"/>
                  </a:cubicBezTo>
                  <a:cubicBezTo>
                    <a:pt x="215" y="4"/>
                    <a:pt x="215" y="4"/>
                    <a:pt x="215" y="4"/>
                  </a:cubicBezTo>
                  <a:cubicBezTo>
                    <a:pt x="215" y="4"/>
                    <a:pt x="215" y="4"/>
                    <a:pt x="215" y="4"/>
                  </a:cubicBezTo>
                  <a:cubicBezTo>
                    <a:pt x="215" y="4"/>
                    <a:pt x="215" y="4"/>
                    <a:pt x="215" y="5"/>
                  </a:cubicBezTo>
                  <a:cubicBezTo>
                    <a:pt x="215" y="5"/>
                    <a:pt x="215" y="5"/>
                    <a:pt x="215" y="5"/>
                  </a:cubicBezTo>
                  <a:cubicBezTo>
                    <a:pt x="215" y="6"/>
                    <a:pt x="215" y="6"/>
                    <a:pt x="215" y="6"/>
                  </a:cubicBezTo>
                  <a:cubicBezTo>
                    <a:pt x="215" y="6"/>
                    <a:pt x="215" y="7"/>
                    <a:pt x="215" y="7"/>
                  </a:cubicBezTo>
                  <a:cubicBezTo>
                    <a:pt x="215" y="7"/>
                    <a:pt x="215" y="7"/>
                    <a:pt x="215" y="7"/>
                  </a:cubicBezTo>
                  <a:cubicBezTo>
                    <a:pt x="214" y="7"/>
                    <a:pt x="214" y="7"/>
                    <a:pt x="214" y="7"/>
                  </a:cubicBezTo>
                  <a:cubicBezTo>
                    <a:pt x="214" y="7"/>
                    <a:pt x="214" y="7"/>
                    <a:pt x="213" y="7"/>
                  </a:cubicBezTo>
                  <a:cubicBezTo>
                    <a:pt x="213" y="7"/>
                    <a:pt x="213" y="6"/>
                    <a:pt x="212" y="6"/>
                  </a:cubicBezTo>
                  <a:cubicBezTo>
                    <a:pt x="212" y="6"/>
                    <a:pt x="211" y="6"/>
                    <a:pt x="210" y="5"/>
                  </a:cubicBezTo>
                  <a:cubicBezTo>
                    <a:pt x="209" y="5"/>
                    <a:pt x="209" y="5"/>
                    <a:pt x="208" y="5"/>
                  </a:cubicBezTo>
                  <a:cubicBezTo>
                    <a:pt x="207" y="5"/>
                    <a:pt x="206" y="5"/>
                    <a:pt x="206" y="5"/>
                  </a:cubicBezTo>
                  <a:cubicBezTo>
                    <a:pt x="205" y="6"/>
                    <a:pt x="204" y="6"/>
                    <a:pt x="204" y="6"/>
                  </a:cubicBezTo>
                  <a:cubicBezTo>
                    <a:pt x="204" y="7"/>
                    <a:pt x="203" y="7"/>
                    <a:pt x="203" y="8"/>
                  </a:cubicBezTo>
                  <a:cubicBezTo>
                    <a:pt x="203" y="8"/>
                    <a:pt x="203" y="9"/>
                    <a:pt x="203" y="9"/>
                  </a:cubicBezTo>
                  <a:cubicBezTo>
                    <a:pt x="203" y="10"/>
                    <a:pt x="203" y="11"/>
                    <a:pt x="203" y="11"/>
                  </a:cubicBezTo>
                  <a:cubicBezTo>
                    <a:pt x="204" y="12"/>
                    <a:pt x="204" y="12"/>
                    <a:pt x="205" y="13"/>
                  </a:cubicBezTo>
                  <a:cubicBezTo>
                    <a:pt x="206" y="13"/>
                    <a:pt x="206" y="14"/>
                    <a:pt x="207" y="14"/>
                  </a:cubicBezTo>
                  <a:cubicBezTo>
                    <a:pt x="208" y="15"/>
                    <a:pt x="209" y="15"/>
                    <a:pt x="210" y="15"/>
                  </a:cubicBezTo>
                  <a:cubicBezTo>
                    <a:pt x="211" y="16"/>
                    <a:pt x="211" y="16"/>
                    <a:pt x="212" y="17"/>
                  </a:cubicBezTo>
                  <a:cubicBezTo>
                    <a:pt x="213" y="17"/>
                    <a:pt x="214" y="18"/>
                    <a:pt x="214" y="18"/>
                  </a:cubicBezTo>
                  <a:cubicBezTo>
                    <a:pt x="215" y="19"/>
                    <a:pt x="216" y="20"/>
                    <a:pt x="216" y="21"/>
                  </a:cubicBezTo>
                  <a:cubicBezTo>
                    <a:pt x="216" y="22"/>
                    <a:pt x="217" y="23"/>
                    <a:pt x="217" y="24"/>
                  </a:cubicBezTo>
                  <a:close/>
                  <a:moveTo>
                    <a:pt x="240" y="21"/>
                  </a:moveTo>
                  <a:cubicBezTo>
                    <a:pt x="240" y="23"/>
                    <a:pt x="240" y="24"/>
                    <a:pt x="240" y="26"/>
                  </a:cubicBezTo>
                  <a:cubicBezTo>
                    <a:pt x="239" y="27"/>
                    <a:pt x="239" y="28"/>
                    <a:pt x="238" y="29"/>
                  </a:cubicBezTo>
                  <a:cubicBezTo>
                    <a:pt x="237" y="31"/>
                    <a:pt x="236" y="31"/>
                    <a:pt x="234" y="32"/>
                  </a:cubicBezTo>
                  <a:cubicBezTo>
                    <a:pt x="233" y="33"/>
                    <a:pt x="231" y="33"/>
                    <a:pt x="230" y="33"/>
                  </a:cubicBezTo>
                  <a:cubicBezTo>
                    <a:pt x="228" y="33"/>
                    <a:pt x="226" y="33"/>
                    <a:pt x="225" y="32"/>
                  </a:cubicBezTo>
                  <a:cubicBezTo>
                    <a:pt x="224" y="32"/>
                    <a:pt x="223" y="31"/>
                    <a:pt x="222" y="30"/>
                  </a:cubicBezTo>
                  <a:cubicBezTo>
                    <a:pt x="221" y="29"/>
                    <a:pt x="220" y="28"/>
                    <a:pt x="220" y="26"/>
                  </a:cubicBezTo>
                  <a:cubicBezTo>
                    <a:pt x="220" y="25"/>
                    <a:pt x="219" y="23"/>
                    <a:pt x="219" y="21"/>
                  </a:cubicBezTo>
                  <a:cubicBezTo>
                    <a:pt x="219" y="20"/>
                    <a:pt x="220" y="18"/>
                    <a:pt x="220" y="17"/>
                  </a:cubicBezTo>
                  <a:cubicBezTo>
                    <a:pt x="220" y="15"/>
                    <a:pt x="221" y="14"/>
                    <a:pt x="222" y="13"/>
                  </a:cubicBezTo>
                  <a:cubicBezTo>
                    <a:pt x="223" y="12"/>
                    <a:pt x="224" y="11"/>
                    <a:pt x="225" y="10"/>
                  </a:cubicBezTo>
                  <a:cubicBezTo>
                    <a:pt x="227" y="10"/>
                    <a:pt x="228" y="10"/>
                    <a:pt x="230" y="10"/>
                  </a:cubicBezTo>
                  <a:cubicBezTo>
                    <a:pt x="232" y="10"/>
                    <a:pt x="233" y="10"/>
                    <a:pt x="235" y="10"/>
                  </a:cubicBezTo>
                  <a:cubicBezTo>
                    <a:pt x="236" y="11"/>
                    <a:pt x="237" y="12"/>
                    <a:pt x="238" y="13"/>
                  </a:cubicBezTo>
                  <a:cubicBezTo>
                    <a:pt x="239" y="14"/>
                    <a:pt x="239" y="15"/>
                    <a:pt x="240" y="16"/>
                  </a:cubicBezTo>
                  <a:cubicBezTo>
                    <a:pt x="240" y="18"/>
                    <a:pt x="240" y="19"/>
                    <a:pt x="240" y="21"/>
                  </a:cubicBezTo>
                  <a:close/>
                  <a:moveTo>
                    <a:pt x="236" y="21"/>
                  </a:moveTo>
                  <a:cubicBezTo>
                    <a:pt x="236" y="20"/>
                    <a:pt x="236" y="19"/>
                    <a:pt x="236" y="18"/>
                  </a:cubicBezTo>
                  <a:cubicBezTo>
                    <a:pt x="236" y="17"/>
                    <a:pt x="236" y="16"/>
                    <a:pt x="235" y="15"/>
                  </a:cubicBezTo>
                  <a:cubicBezTo>
                    <a:pt x="235" y="15"/>
                    <a:pt x="234" y="14"/>
                    <a:pt x="233" y="14"/>
                  </a:cubicBezTo>
                  <a:cubicBezTo>
                    <a:pt x="232" y="13"/>
                    <a:pt x="231" y="13"/>
                    <a:pt x="230" y="13"/>
                  </a:cubicBezTo>
                  <a:cubicBezTo>
                    <a:pt x="229" y="13"/>
                    <a:pt x="228" y="13"/>
                    <a:pt x="227" y="13"/>
                  </a:cubicBezTo>
                  <a:cubicBezTo>
                    <a:pt x="226" y="14"/>
                    <a:pt x="226" y="14"/>
                    <a:pt x="225" y="15"/>
                  </a:cubicBezTo>
                  <a:cubicBezTo>
                    <a:pt x="224" y="16"/>
                    <a:pt x="224" y="17"/>
                    <a:pt x="224" y="18"/>
                  </a:cubicBezTo>
                  <a:cubicBezTo>
                    <a:pt x="224" y="19"/>
                    <a:pt x="223" y="20"/>
                    <a:pt x="223" y="21"/>
                  </a:cubicBezTo>
                  <a:cubicBezTo>
                    <a:pt x="223" y="22"/>
                    <a:pt x="223" y="23"/>
                    <a:pt x="224" y="24"/>
                  </a:cubicBezTo>
                  <a:cubicBezTo>
                    <a:pt x="224" y="25"/>
                    <a:pt x="224" y="26"/>
                    <a:pt x="225" y="27"/>
                  </a:cubicBezTo>
                  <a:cubicBezTo>
                    <a:pt x="225" y="28"/>
                    <a:pt x="226" y="28"/>
                    <a:pt x="227" y="29"/>
                  </a:cubicBezTo>
                  <a:cubicBezTo>
                    <a:pt x="228" y="29"/>
                    <a:pt x="229" y="30"/>
                    <a:pt x="230" y="30"/>
                  </a:cubicBezTo>
                  <a:cubicBezTo>
                    <a:pt x="231" y="30"/>
                    <a:pt x="232" y="29"/>
                    <a:pt x="233" y="29"/>
                  </a:cubicBezTo>
                  <a:cubicBezTo>
                    <a:pt x="234" y="29"/>
                    <a:pt x="234" y="28"/>
                    <a:pt x="235" y="27"/>
                  </a:cubicBezTo>
                  <a:cubicBezTo>
                    <a:pt x="235" y="26"/>
                    <a:pt x="236" y="26"/>
                    <a:pt x="236" y="25"/>
                  </a:cubicBezTo>
                  <a:cubicBezTo>
                    <a:pt x="236" y="24"/>
                    <a:pt x="236" y="22"/>
                    <a:pt x="236" y="21"/>
                  </a:cubicBezTo>
                  <a:close/>
                  <a:moveTo>
                    <a:pt x="249" y="32"/>
                  </a:moveTo>
                  <a:cubicBezTo>
                    <a:pt x="249" y="32"/>
                    <a:pt x="249" y="32"/>
                    <a:pt x="249" y="32"/>
                  </a:cubicBezTo>
                  <a:cubicBezTo>
                    <a:pt x="249" y="32"/>
                    <a:pt x="249" y="32"/>
                    <a:pt x="249" y="32"/>
                  </a:cubicBezTo>
                  <a:cubicBezTo>
                    <a:pt x="248" y="32"/>
                    <a:pt x="248" y="32"/>
                    <a:pt x="248" y="32"/>
                  </a:cubicBezTo>
                  <a:cubicBezTo>
                    <a:pt x="248" y="32"/>
                    <a:pt x="247" y="33"/>
                    <a:pt x="247" y="33"/>
                  </a:cubicBezTo>
                  <a:cubicBezTo>
                    <a:pt x="247" y="33"/>
                    <a:pt x="246" y="32"/>
                    <a:pt x="246" y="32"/>
                  </a:cubicBezTo>
                  <a:cubicBezTo>
                    <a:pt x="246" y="32"/>
                    <a:pt x="246" y="32"/>
                    <a:pt x="245" y="32"/>
                  </a:cubicBezTo>
                  <a:cubicBezTo>
                    <a:pt x="245" y="32"/>
                    <a:pt x="245" y="32"/>
                    <a:pt x="245" y="32"/>
                  </a:cubicBezTo>
                  <a:cubicBezTo>
                    <a:pt x="245" y="32"/>
                    <a:pt x="245" y="32"/>
                    <a:pt x="245" y="32"/>
                  </a:cubicBezTo>
                  <a:cubicBezTo>
                    <a:pt x="245" y="0"/>
                    <a:pt x="245" y="0"/>
                    <a:pt x="245" y="0"/>
                  </a:cubicBezTo>
                  <a:cubicBezTo>
                    <a:pt x="245" y="0"/>
                    <a:pt x="245" y="0"/>
                    <a:pt x="245" y="0"/>
                  </a:cubicBezTo>
                  <a:cubicBezTo>
                    <a:pt x="245" y="0"/>
                    <a:pt x="245" y="0"/>
                    <a:pt x="245" y="0"/>
                  </a:cubicBezTo>
                  <a:cubicBezTo>
                    <a:pt x="246" y="0"/>
                    <a:pt x="246" y="0"/>
                    <a:pt x="246" y="0"/>
                  </a:cubicBezTo>
                  <a:cubicBezTo>
                    <a:pt x="246" y="0"/>
                    <a:pt x="247" y="0"/>
                    <a:pt x="247" y="0"/>
                  </a:cubicBezTo>
                  <a:cubicBezTo>
                    <a:pt x="247" y="0"/>
                    <a:pt x="248" y="0"/>
                    <a:pt x="248" y="0"/>
                  </a:cubicBezTo>
                  <a:cubicBezTo>
                    <a:pt x="248" y="0"/>
                    <a:pt x="248" y="0"/>
                    <a:pt x="249" y="0"/>
                  </a:cubicBezTo>
                  <a:cubicBezTo>
                    <a:pt x="249" y="0"/>
                    <a:pt x="249" y="0"/>
                    <a:pt x="249" y="0"/>
                  </a:cubicBezTo>
                  <a:cubicBezTo>
                    <a:pt x="249" y="0"/>
                    <a:pt x="249" y="0"/>
                    <a:pt x="249" y="0"/>
                  </a:cubicBezTo>
                  <a:lnTo>
                    <a:pt x="249" y="32"/>
                  </a:lnTo>
                  <a:close/>
                  <a:moveTo>
                    <a:pt x="273" y="32"/>
                  </a:moveTo>
                  <a:cubicBezTo>
                    <a:pt x="273" y="32"/>
                    <a:pt x="273" y="32"/>
                    <a:pt x="273" y="32"/>
                  </a:cubicBezTo>
                  <a:cubicBezTo>
                    <a:pt x="273" y="32"/>
                    <a:pt x="273" y="32"/>
                    <a:pt x="273" y="32"/>
                  </a:cubicBezTo>
                  <a:cubicBezTo>
                    <a:pt x="273" y="32"/>
                    <a:pt x="272" y="32"/>
                    <a:pt x="272" y="32"/>
                  </a:cubicBezTo>
                  <a:cubicBezTo>
                    <a:pt x="272" y="32"/>
                    <a:pt x="272" y="33"/>
                    <a:pt x="271" y="33"/>
                  </a:cubicBezTo>
                  <a:cubicBezTo>
                    <a:pt x="271" y="33"/>
                    <a:pt x="271" y="32"/>
                    <a:pt x="271" y="32"/>
                  </a:cubicBezTo>
                  <a:cubicBezTo>
                    <a:pt x="270" y="32"/>
                    <a:pt x="270" y="32"/>
                    <a:pt x="270" y="32"/>
                  </a:cubicBezTo>
                  <a:cubicBezTo>
                    <a:pt x="270" y="32"/>
                    <a:pt x="270" y="32"/>
                    <a:pt x="270" y="32"/>
                  </a:cubicBezTo>
                  <a:cubicBezTo>
                    <a:pt x="270" y="32"/>
                    <a:pt x="270" y="32"/>
                    <a:pt x="270" y="32"/>
                  </a:cubicBezTo>
                  <a:cubicBezTo>
                    <a:pt x="270" y="29"/>
                    <a:pt x="270" y="29"/>
                    <a:pt x="270" y="29"/>
                  </a:cubicBezTo>
                  <a:cubicBezTo>
                    <a:pt x="268" y="30"/>
                    <a:pt x="267" y="31"/>
                    <a:pt x="266" y="32"/>
                  </a:cubicBezTo>
                  <a:cubicBezTo>
                    <a:pt x="265" y="33"/>
                    <a:pt x="264" y="33"/>
                    <a:pt x="262" y="33"/>
                  </a:cubicBezTo>
                  <a:cubicBezTo>
                    <a:pt x="261" y="33"/>
                    <a:pt x="260" y="33"/>
                    <a:pt x="259" y="32"/>
                  </a:cubicBezTo>
                  <a:cubicBezTo>
                    <a:pt x="258" y="32"/>
                    <a:pt x="257" y="31"/>
                    <a:pt x="257" y="30"/>
                  </a:cubicBezTo>
                  <a:cubicBezTo>
                    <a:pt x="256" y="29"/>
                    <a:pt x="256" y="28"/>
                    <a:pt x="255" y="27"/>
                  </a:cubicBezTo>
                  <a:cubicBezTo>
                    <a:pt x="255" y="26"/>
                    <a:pt x="255" y="25"/>
                    <a:pt x="255" y="23"/>
                  </a:cubicBezTo>
                  <a:cubicBezTo>
                    <a:pt x="255" y="11"/>
                    <a:pt x="255" y="11"/>
                    <a:pt x="255" y="11"/>
                  </a:cubicBezTo>
                  <a:cubicBezTo>
                    <a:pt x="255" y="11"/>
                    <a:pt x="255" y="10"/>
                    <a:pt x="255" y="10"/>
                  </a:cubicBezTo>
                  <a:cubicBezTo>
                    <a:pt x="255" y="10"/>
                    <a:pt x="255" y="10"/>
                    <a:pt x="255" y="10"/>
                  </a:cubicBezTo>
                  <a:cubicBezTo>
                    <a:pt x="256" y="10"/>
                    <a:pt x="256" y="10"/>
                    <a:pt x="256" y="10"/>
                  </a:cubicBezTo>
                  <a:cubicBezTo>
                    <a:pt x="256" y="10"/>
                    <a:pt x="257" y="10"/>
                    <a:pt x="257" y="10"/>
                  </a:cubicBezTo>
                  <a:cubicBezTo>
                    <a:pt x="257" y="10"/>
                    <a:pt x="258" y="10"/>
                    <a:pt x="258" y="10"/>
                  </a:cubicBezTo>
                  <a:cubicBezTo>
                    <a:pt x="258" y="10"/>
                    <a:pt x="258" y="10"/>
                    <a:pt x="258" y="10"/>
                  </a:cubicBezTo>
                  <a:cubicBezTo>
                    <a:pt x="259" y="10"/>
                    <a:pt x="259" y="10"/>
                    <a:pt x="259" y="10"/>
                  </a:cubicBezTo>
                  <a:cubicBezTo>
                    <a:pt x="259" y="10"/>
                    <a:pt x="259" y="11"/>
                    <a:pt x="259" y="11"/>
                  </a:cubicBezTo>
                  <a:cubicBezTo>
                    <a:pt x="259" y="23"/>
                    <a:pt x="259" y="23"/>
                    <a:pt x="259" y="23"/>
                  </a:cubicBezTo>
                  <a:cubicBezTo>
                    <a:pt x="259" y="24"/>
                    <a:pt x="259" y="25"/>
                    <a:pt x="259" y="26"/>
                  </a:cubicBezTo>
                  <a:cubicBezTo>
                    <a:pt x="259" y="27"/>
                    <a:pt x="260" y="27"/>
                    <a:pt x="260" y="28"/>
                  </a:cubicBezTo>
                  <a:cubicBezTo>
                    <a:pt x="260" y="28"/>
                    <a:pt x="261" y="29"/>
                    <a:pt x="261" y="29"/>
                  </a:cubicBezTo>
                  <a:cubicBezTo>
                    <a:pt x="262" y="29"/>
                    <a:pt x="263" y="29"/>
                    <a:pt x="263" y="29"/>
                  </a:cubicBezTo>
                  <a:cubicBezTo>
                    <a:pt x="264" y="29"/>
                    <a:pt x="265" y="29"/>
                    <a:pt x="266" y="28"/>
                  </a:cubicBezTo>
                  <a:cubicBezTo>
                    <a:pt x="267" y="28"/>
                    <a:pt x="268" y="27"/>
                    <a:pt x="269" y="25"/>
                  </a:cubicBezTo>
                  <a:cubicBezTo>
                    <a:pt x="269" y="11"/>
                    <a:pt x="269" y="11"/>
                    <a:pt x="269" y="11"/>
                  </a:cubicBezTo>
                  <a:cubicBezTo>
                    <a:pt x="269" y="11"/>
                    <a:pt x="269" y="10"/>
                    <a:pt x="269" y="10"/>
                  </a:cubicBezTo>
                  <a:cubicBezTo>
                    <a:pt x="269" y="10"/>
                    <a:pt x="269" y="10"/>
                    <a:pt x="270" y="10"/>
                  </a:cubicBezTo>
                  <a:cubicBezTo>
                    <a:pt x="270" y="10"/>
                    <a:pt x="270" y="10"/>
                    <a:pt x="270" y="10"/>
                  </a:cubicBezTo>
                  <a:cubicBezTo>
                    <a:pt x="270" y="10"/>
                    <a:pt x="271" y="10"/>
                    <a:pt x="271" y="10"/>
                  </a:cubicBezTo>
                  <a:cubicBezTo>
                    <a:pt x="272" y="10"/>
                    <a:pt x="272" y="10"/>
                    <a:pt x="272" y="10"/>
                  </a:cubicBezTo>
                  <a:cubicBezTo>
                    <a:pt x="272" y="10"/>
                    <a:pt x="273" y="10"/>
                    <a:pt x="273" y="10"/>
                  </a:cubicBezTo>
                  <a:cubicBezTo>
                    <a:pt x="273" y="10"/>
                    <a:pt x="273" y="10"/>
                    <a:pt x="273" y="10"/>
                  </a:cubicBezTo>
                  <a:cubicBezTo>
                    <a:pt x="273" y="10"/>
                    <a:pt x="273" y="11"/>
                    <a:pt x="273" y="11"/>
                  </a:cubicBezTo>
                  <a:lnTo>
                    <a:pt x="273" y="32"/>
                  </a:lnTo>
                  <a:close/>
                  <a:moveTo>
                    <a:pt x="298" y="10"/>
                  </a:moveTo>
                  <a:cubicBezTo>
                    <a:pt x="298" y="10"/>
                    <a:pt x="298" y="10"/>
                    <a:pt x="299" y="10"/>
                  </a:cubicBezTo>
                  <a:cubicBezTo>
                    <a:pt x="299" y="11"/>
                    <a:pt x="299" y="11"/>
                    <a:pt x="299" y="11"/>
                  </a:cubicBezTo>
                  <a:cubicBezTo>
                    <a:pt x="299" y="32"/>
                    <a:pt x="299" y="32"/>
                    <a:pt x="299" y="32"/>
                  </a:cubicBezTo>
                  <a:cubicBezTo>
                    <a:pt x="299" y="32"/>
                    <a:pt x="299" y="32"/>
                    <a:pt x="299" y="32"/>
                  </a:cubicBezTo>
                  <a:cubicBezTo>
                    <a:pt x="299" y="32"/>
                    <a:pt x="299" y="32"/>
                    <a:pt x="298" y="32"/>
                  </a:cubicBezTo>
                  <a:cubicBezTo>
                    <a:pt x="298" y="32"/>
                    <a:pt x="298" y="32"/>
                    <a:pt x="298" y="32"/>
                  </a:cubicBezTo>
                  <a:cubicBezTo>
                    <a:pt x="298" y="32"/>
                    <a:pt x="297" y="33"/>
                    <a:pt x="297" y="33"/>
                  </a:cubicBezTo>
                  <a:cubicBezTo>
                    <a:pt x="296" y="33"/>
                    <a:pt x="296" y="32"/>
                    <a:pt x="296" y="32"/>
                  </a:cubicBezTo>
                  <a:cubicBezTo>
                    <a:pt x="296" y="32"/>
                    <a:pt x="295" y="32"/>
                    <a:pt x="295" y="32"/>
                  </a:cubicBezTo>
                  <a:cubicBezTo>
                    <a:pt x="295" y="32"/>
                    <a:pt x="295" y="32"/>
                    <a:pt x="295" y="32"/>
                  </a:cubicBezTo>
                  <a:cubicBezTo>
                    <a:pt x="295" y="32"/>
                    <a:pt x="295" y="32"/>
                    <a:pt x="295" y="32"/>
                  </a:cubicBezTo>
                  <a:cubicBezTo>
                    <a:pt x="295" y="13"/>
                    <a:pt x="295" y="13"/>
                    <a:pt x="295" y="13"/>
                  </a:cubicBezTo>
                  <a:cubicBezTo>
                    <a:pt x="284" y="13"/>
                    <a:pt x="284" y="13"/>
                    <a:pt x="284" y="13"/>
                  </a:cubicBezTo>
                  <a:cubicBezTo>
                    <a:pt x="284" y="25"/>
                    <a:pt x="284" y="25"/>
                    <a:pt x="284" y="25"/>
                  </a:cubicBezTo>
                  <a:cubicBezTo>
                    <a:pt x="284" y="27"/>
                    <a:pt x="284" y="28"/>
                    <a:pt x="285" y="28"/>
                  </a:cubicBezTo>
                  <a:cubicBezTo>
                    <a:pt x="285" y="29"/>
                    <a:pt x="286" y="29"/>
                    <a:pt x="287" y="29"/>
                  </a:cubicBezTo>
                  <a:cubicBezTo>
                    <a:pt x="287" y="29"/>
                    <a:pt x="288" y="29"/>
                    <a:pt x="288" y="29"/>
                  </a:cubicBezTo>
                  <a:cubicBezTo>
                    <a:pt x="288" y="29"/>
                    <a:pt x="288" y="29"/>
                    <a:pt x="289" y="29"/>
                  </a:cubicBezTo>
                  <a:cubicBezTo>
                    <a:pt x="289" y="29"/>
                    <a:pt x="289" y="29"/>
                    <a:pt x="289" y="29"/>
                  </a:cubicBezTo>
                  <a:cubicBezTo>
                    <a:pt x="289" y="29"/>
                    <a:pt x="290" y="29"/>
                    <a:pt x="290" y="29"/>
                  </a:cubicBezTo>
                  <a:cubicBezTo>
                    <a:pt x="290" y="29"/>
                    <a:pt x="290" y="29"/>
                    <a:pt x="290" y="29"/>
                  </a:cubicBezTo>
                  <a:cubicBezTo>
                    <a:pt x="290" y="29"/>
                    <a:pt x="290" y="29"/>
                    <a:pt x="290" y="29"/>
                  </a:cubicBezTo>
                  <a:cubicBezTo>
                    <a:pt x="290" y="29"/>
                    <a:pt x="290" y="29"/>
                    <a:pt x="290" y="30"/>
                  </a:cubicBezTo>
                  <a:cubicBezTo>
                    <a:pt x="290" y="30"/>
                    <a:pt x="290" y="30"/>
                    <a:pt x="290" y="30"/>
                  </a:cubicBezTo>
                  <a:cubicBezTo>
                    <a:pt x="290" y="31"/>
                    <a:pt x="290" y="31"/>
                    <a:pt x="290" y="31"/>
                  </a:cubicBezTo>
                  <a:cubicBezTo>
                    <a:pt x="290" y="32"/>
                    <a:pt x="290" y="32"/>
                    <a:pt x="290" y="32"/>
                  </a:cubicBezTo>
                  <a:cubicBezTo>
                    <a:pt x="290" y="32"/>
                    <a:pt x="290" y="32"/>
                    <a:pt x="289" y="32"/>
                  </a:cubicBezTo>
                  <a:cubicBezTo>
                    <a:pt x="289" y="32"/>
                    <a:pt x="289" y="32"/>
                    <a:pt x="288" y="33"/>
                  </a:cubicBezTo>
                  <a:cubicBezTo>
                    <a:pt x="288" y="33"/>
                    <a:pt x="288" y="33"/>
                    <a:pt x="287" y="33"/>
                  </a:cubicBezTo>
                  <a:cubicBezTo>
                    <a:pt x="287" y="33"/>
                    <a:pt x="287" y="33"/>
                    <a:pt x="286" y="33"/>
                  </a:cubicBezTo>
                  <a:cubicBezTo>
                    <a:pt x="285" y="33"/>
                    <a:pt x="284" y="33"/>
                    <a:pt x="283" y="32"/>
                  </a:cubicBezTo>
                  <a:cubicBezTo>
                    <a:pt x="283" y="32"/>
                    <a:pt x="282" y="32"/>
                    <a:pt x="282" y="31"/>
                  </a:cubicBezTo>
                  <a:cubicBezTo>
                    <a:pt x="281" y="30"/>
                    <a:pt x="281" y="30"/>
                    <a:pt x="280" y="29"/>
                  </a:cubicBezTo>
                  <a:cubicBezTo>
                    <a:pt x="280" y="28"/>
                    <a:pt x="280" y="27"/>
                    <a:pt x="280" y="26"/>
                  </a:cubicBezTo>
                  <a:cubicBezTo>
                    <a:pt x="280" y="13"/>
                    <a:pt x="280" y="13"/>
                    <a:pt x="280" y="13"/>
                  </a:cubicBezTo>
                  <a:cubicBezTo>
                    <a:pt x="277" y="13"/>
                    <a:pt x="277" y="13"/>
                    <a:pt x="277" y="13"/>
                  </a:cubicBezTo>
                  <a:cubicBezTo>
                    <a:pt x="277" y="13"/>
                    <a:pt x="277" y="13"/>
                    <a:pt x="277" y="13"/>
                  </a:cubicBezTo>
                  <a:cubicBezTo>
                    <a:pt x="276" y="13"/>
                    <a:pt x="276" y="12"/>
                    <a:pt x="276" y="12"/>
                  </a:cubicBezTo>
                  <a:cubicBezTo>
                    <a:pt x="276" y="11"/>
                    <a:pt x="276" y="11"/>
                    <a:pt x="276" y="11"/>
                  </a:cubicBezTo>
                  <a:cubicBezTo>
                    <a:pt x="277" y="11"/>
                    <a:pt x="277" y="11"/>
                    <a:pt x="277" y="10"/>
                  </a:cubicBezTo>
                  <a:cubicBezTo>
                    <a:pt x="277" y="10"/>
                    <a:pt x="277" y="10"/>
                    <a:pt x="277" y="10"/>
                  </a:cubicBezTo>
                  <a:cubicBezTo>
                    <a:pt x="277" y="10"/>
                    <a:pt x="277" y="10"/>
                    <a:pt x="277" y="10"/>
                  </a:cubicBezTo>
                  <a:cubicBezTo>
                    <a:pt x="280" y="10"/>
                    <a:pt x="280" y="10"/>
                    <a:pt x="280" y="10"/>
                  </a:cubicBezTo>
                  <a:cubicBezTo>
                    <a:pt x="280" y="5"/>
                    <a:pt x="280" y="5"/>
                    <a:pt x="280" y="5"/>
                  </a:cubicBezTo>
                  <a:cubicBezTo>
                    <a:pt x="280" y="5"/>
                    <a:pt x="280" y="5"/>
                    <a:pt x="280" y="5"/>
                  </a:cubicBezTo>
                  <a:cubicBezTo>
                    <a:pt x="280" y="5"/>
                    <a:pt x="280" y="5"/>
                    <a:pt x="281" y="5"/>
                  </a:cubicBezTo>
                  <a:cubicBezTo>
                    <a:pt x="281" y="4"/>
                    <a:pt x="281" y="4"/>
                    <a:pt x="281" y="4"/>
                  </a:cubicBezTo>
                  <a:cubicBezTo>
                    <a:pt x="281" y="4"/>
                    <a:pt x="282" y="4"/>
                    <a:pt x="282" y="4"/>
                  </a:cubicBezTo>
                  <a:cubicBezTo>
                    <a:pt x="282" y="4"/>
                    <a:pt x="283" y="4"/>
                    <a:pt x="283" y="4"/>
                  </a:cubicBezTo>
                  <a:cubicBezTo>
                    <a:pt x="283" y="4"/>
                    <a:pt x="283" y="4"/>
                    <a:pt x="284" y="5"/>
                  </a:cubicBezTo>
                  <a:cubicBezTo>
                    <a:pt x="284" y="5"/>
                    <a:pt x="284" y="5"/>
                    <a:pt x="284" y="5"/>
                  </a:cubicBezTo>
                  <a:cubicBezTo>
                    <a:pt x="284" y="5"/>
                    <a:pt x="284" y="5"/>
                    <a:pt x="284" y="5"/>
                  </a:cubicBezTo>
                  <a:cubicBezTo>
                    <a:pt x="284" y="10"/>
                    <a:pt x="284" y="10"/>
                    <a:pt x="284" y="10"/>
                  </a:cubicBezTo>
                  <a:lnTo>
                    <a:pt x="298" y="10"/>
                  </a:lnTo>
                  <a:close/>
                  <a:moveTo>
                    <a:pt x="291" y="10"/>
                  </a:moveTo>
                  <a:cubicBezTo>
                    <a:pt x="291" y="10"/>
                    <a:pt x="291" y="10"/>
                    <a:pt x="291" y="10"/>
                  </a:cubicBezTo>
                  <a:moveTo>
                    <a:pt x="299" y="4"/>
                  </a:moveTo>
                  <a:cubicBezTo>
                    <a:pt x="299" y="4"/>
                    <a:pt x="299" y="5"/>
                    <a:pt x="299" y="5"/>
                  </a:cubicBezTo>
                  <a:cubicBezTo>
                    <a:pt x="298" y="6"/>
                    <a:pt x="298" y="6"/>
                    <a:pt x="297" y="6"/>
                  </a:cubicBezTo>
                  <a:cubicBezTo>
                    <a:pt x="296" y="6"/>
                    <a:pt x="295" y="6"/>
                    <a:pt x="295" y="5"/>
                  </a:cubicBezTo>
                  <a:cubicBezTo>
                    <a:pt x="295" y="5"/>
                    <a:pt x="294" y="4"/>
                    <a:pt x="294" y="4"/>
                  </a:cubicBezTo>
                  <a:cubicBezTo>
                    <a:pt x="294" y="3"/>
                    <a:pt x="295" y="2"/>
                    <a:pt x="295" y="2"/>
                  </a:cubicBezTo>
                  <a:cubicBezTo>
                    <a:pt x="295" y="1"/>
                    <a:pt x="296" y="1"/>
                    <a:pt x="297" y="1"/>
                  </a:cubicBezTo>
                  <a:cubicBezTo>
                    <a:pt x="298" y="1"/>
                    <a:pt x="298" y="1"/>
                    <a:pt x="299" y="2"/>
                  </a:cubicBezTo>
                  <a:cubicBezTo>
                    <a:pt x="299" y="2"/>
                    <a:pt x="299" y="3"/>
                    <a:pt x="299" y="4"/>
                  </a:cubicBezTo>
                  <a:close/>
                  <a:moveTo>
                    <a:pt x="325" y="21"/>
                  </a:moveTo>
                  <a:cubicBezTo>
                    <a:pt x="325" y="23"/>
                    <a:pt x="324" y="24"/>
                    <a:pt x="324" y="26"/>
                  </a:cubicBezTo>
                  <a:cubicBezTo>
                    <a:pt x="323" y="27"/>
                    <a:pt x="323" y="28"/>
                    <a:pt x="322" y="29"/>
                  </a:cubicBezTo>
                  <a:cubicBezTo>
                    <a:pt x="321" y="31"/>
                    <a:pt x="320" y="31"/>
                    <a:pt x="318" y="32"/>
                  </a:cubicBezTo>
                  <a:cubicBezTo>
                    <a:pt x="317" y="33"/>
                    <a:pt x="316" y="33"/>
                    <a:pt x="314" y="33"/>
                  </a:cubicBezTo>
                  <a:cubicBezTo>
                    <a:pt x="312" y="33"/>
                    <a:pt x="311" y="33"/>
                    <a:pt x="309" y="32"/>
                  </a:cubicBezTo>
                  <a:cubicBezTo>
                    <a:pt x="308" y="32"/>
                    <a:pt x="307" y="31"/>
                    <a:pt x="306" y="30"/>
                  </a:cubicBezTo>
                  <a:cubicBezTo>
                    <a:pt x="305" y="29"/>
                    <a:pt x="304" y="28"/>
                    <a:pt x="304" y="26"/>
                  </a:cubicBezTo>
                  <a:cubicBezTo>
                    <a:pt x="304" y="25"/>
                    <a:pt x="303" y="23"/>
                    <a:pt x="303" y="21"/>
                  </a:cubicBezTo>
                  <a:cubicBezTo>
                    <a:pt x="303" y="20"/>
                    <a:pt x="304" y="18"/>
                    <a:pt x="304" y="17"/>
                  </a:cubicBezTo>
                  <a:cubicBezTo>
                    <a:pt x="305" y="15"/>
                    <a:pt x="305" y="14"/>
                    <a:pt x="306" y="13"/>
                  </a:cubicBezTo>
                  <a:cubicBezTo>
                    <a:pt x="307" y="12"/>
                    <a:pt x="308" y="11"/>
                    <a:pt x="309" y="10"/>
                  </a:cubicBezTo>
                  <a:cubicBezTo>
                    <a:pt x="311" y="10"/>
                    <a:pt x="312" y="10"/>
                    <a:pt x="314" y="10"/>
                  </a:cubicBezTo>
                  <a:cubicBezTo>
                    <a:pt x="316" y="10"/>
                    <a:pt x="317" y="10"/>
                    <a:pt x="319" y="10"/>
                  </a:cubicBezTo>
                  <a:cubicBezTo>
                    <a:pt x="320" y="11"/>
                    <a:pt x="321" y="12"/>
                    <a:pt x="322" y="13"/>
                  </a:cubicBezTo>
                  <a:cubicBezTo>
                    <a:pt x="323" y="14"/>
                    <a:pt x="323" y="15"/>
                    <a:pt x="324" y="16"/>
                  </a:cubicBezTo>
                  <a:cubicBezTo>
                    <a:pt x="324" y="18"/>
                    <a:pt x="325" y="19"/>
                    <a:pt x="325" y="21"/>
                  </a:cubicBezTo>
                  <a:close/>
                  <a:moveTo>
                    <a:pt x="321" y="21"/>
                  </a:moveTo>
                  <a:cubicBezTo>
                    <a:pt x="321" y="20"/>
                    <a:pt x="320" y="19"/>
                    <a:pt x="320" y="18"/>
                  </a:cubicBezTo>
                  <a:cubicBezTo>
                    <a:pt x="320" y="17"/>
                    <a:pt x="320" y="16"/>
                    <a:pt x="319" y="15"/>
                  </a:cubicBezTo>
                  <a:cubicBezTo>
                    <a:pt x="319" y="15"/>
                    <a:pt x="318" y="14"/>
                    <a:pt x="317" y="14"/>
                  </a:cubicBezTo>
                  <a:cubicBezTo>
                    <a:pt x="316" y="13"/>
                    <a:pt x="315" y="13"/>
                    <a:pt x="314" y="13"/>
                  </a:cubicBezTo>
                  <a:cubicBezTo>
                    <a:pt x="313" y="13"/>
                    <a:pt x="312" y="13"/>
                    <a:pt x="311" y="13"/>
                  </a:cubicBezTo>
                  <a:cubicBezTo>
                    <a:pt x="310" y="14"/>
                    <a:pt x="310" y="14"/>
                    <a:pt x="309" y="15"/>
                  </a:cubicBezTo>
                  <a:cubicBezTo>
                    <a:pt x="308" y="16"/>
                    <a:pt x="308" y="17"/>
                    <a:pt x="308" y="18"/>
                  </a:cubicBezTo>
                  <a:cubicBezTo>
                    <a:pt x="308" y="19"/>
                    <a:pt x="307" y="20"/>
                    <a:pt x="307" y="21"/>
                  </a:cubicBezTo>
                  <a:cubicBezTo>
                    <a:pt x="307" y="22"/>
                    <a:pt x="308" y="23"/>
                    <a:pt x="308" y="24"/>
                  </a:cubicBezTo>
                  <a:cubicBezTo>
                    <a:pt x="308" y="25"/>
                    <a:pt x="308" y="26"/>
                    <a:pt x="309" y="27"/>
                  </a:cubicBezTo>
                  <a:cubicBezTo>
                    <a:pt x="309" y="28"/>
                    <a:pt x="310" y="28"/>
                    <a:pt x="311" y="29"/>
                  </a:cubicBezTo>
                  <a:cubicBezTo>
                    <a:pt x="312" y="29"/>
                    <a:pt x="313" y="30"/>
                    <a:pt x="314" y="30"/>
                  </a:cubicBezTo>
                  <a:cubicBezTo>
                    <a:pt x="315" y="30"/>
                    <a:pt x="316" y="29"/>
                    <a:pt x="317" y="29"/>
                  </a:cubicBezTo>
                  <a:cubicBezTo>
                    <a:pt x="318" y="29"/>
                    <a:pt x="318" y="28"/>
                    <a:pt x="319" y="27"/>
                  </a:cubicBezTo>
                  <a:cubicBezTo>
                    <a:pt x="320" y="26"/>
                    <a:pt x="320" y="26"/>
                    <a:pt x="320" y="25"/>
                  </a:cubicBezTo>
                  <a:cubicBezTo>
                    <a:pt x="320" y="24"/>
                    <a:pt x="321" y="22"/>
                    <a:pt x="321" y="21"/>
                  </a:cubicBezTo>
                  <a:close/>
                  <a:moveTo>
                    <a:pt x="347" y="32"/>
                  </a:moveTo>
                  <a:cubicBezTo>
                    <a:pt x="347" y="32"/>
                    <a:pt x="347" y="32"/>
                    <a:pt x="347" y="32"/>
                  </a:cubicBezTo>
                  <a:cubicBezTo>
                    <a:pt x="347" y="32"/>
                    <a:pt x="347" y="32"/>
                    <a:pt x="347" y="32"/>
                  </a:cubicBezTo>
                  <a:cubicBezTo>
                    <a:pt x="347" y="32"/>
                    <a:pt x="347" y="32"/>
                    <a:pt x="346" y="32"/>
                  </a:cubicBezTo>
                  <a:cubicBezTo>
                    <a:pt x="346" y="32"/>
                    <a:pt x="346" y="33"/>
                    <a:pt x="345" y="33"/>
                  </a:cubicBezTo>
                  <a:cubicBezTo>
                    <a:pt x="345" y="33"/>
                    <a:pt x="345" y="32"/>
                    <a:pt x="344" y="32"/>
                  </a:cubicBezTo>
                  <a:cubicBezTo>
                    <a:pt x="344" y="32"/>
                    <a:pt x="344" y="32"/>
                    <a:pt x="344" y="32"/>
                  </a:cubicBezTo>
                  <a:cubicBezTo>
                    <a:pt x="344" y="32"/>
                    <a:pt x="344" y="32"/>
                    <a:pt x="344" y="32"/>
                  </a:cubicBezTo>
                  <a:cubicBezTo>
                    <a:pt x="343" y="32"/>
                    <a:pt x="343" y="32"/>
                    <a:pt x="343" y="32"/>
                  </a:cubicBezTo>
                  <a:cubicBezTo>
                    <a:pt x="343" y="19"/>
                    <a:pt x="343" y="19"/>
                    <a:pt x="343" y="19"/>
                  </a:cubicBezTo>
                  <a:cubicBezTo>
                    <a:pt x="343" y="18"/>
                    <a:pt x="343" y="17"/>
                    <a:pt x="343" y="17"/>
                  </a:cubicBezTo>
                  <a:cubicBezTo>
                    <a:pt x="343" y="16"/>
                    <a:pt x="343" y="15"/>
                    <a:pt x="342" y="15"/>
                  </a:cubicBezTo>
                  <a:cubicBezTo>
                    <a:pt x="342" y="14"/>
                    <a:pt x="342" y="14"/>
                    <a:pt x="341" y="13"/>
                  </a:cubicBezTo>
                  <a:cubicBezTo>
                    <a:pt x="340" y="13"/>
                    <a:pt x="340" y="13"/>
                    <a:pt x="339" y="13"/>
                  </a:cubicBezTo>
                  <a:cubicBezTo>
                    <a:pt x="338" y="13"/>
                    <a:pt x="337" y="13"/>
                    <a:pt x="336" y="14"/>
                  </a:cubicBezTo>
                  <a:cubicBezTo>
                    <a:pt x="335" y="15"/>
                    <a:pt x="334" y="16"/>
                    <a:pt x="333" y="17"/>
                  </a:cubicBezTo>
                  <a:cubicBezTo>
                    <a:pt x="333" y="32"/>
                    <a:pt x="333" y="32"/>
                    <a:pt x="333" y="32"/>
                  </a:cubicBezTo>
                  <a:cubicBezTo>
                    <a:pt x="333" y="32"/>
                    <a:pt x="333" y="32"/>
                    <a:pt x="333" y="32"/>
                  </a:cubicBezTo>
                  <a:cubicBezTo>
                    <a:pt x="333" y="32"/>
                    <a:pt x="333" y="32"/>
                    <a:pt x="333" y="32"/>
                  </a:cubicBezTo>
                  <a:cubicBezTo>
                    <a:pt x="332" y="32"/>
                    <a:pt x="332" y="32"/>
                    <a:pt x="332" y="32"/>
                  </a:cubicBezTo>
                  <a:cubicBezTo>
                    <a:pt x="332" y="32"/>
                    <a:pt x="331" y="33"/>
                    <a:pt x="331" y="33"/>
                  </a:cubicBezTo>
                  <a:cubicBezTo>
                    <a:pt x="331" y="33"/>
                    <a:pt x="330" y="32"/>
                    <a:pt x="330" y="32"/>
                  </a:cubicBezTo>
                  <a:cubicBezTo>
                    <a:pt x="330" y="32"/>
                    <a:pt x="330" y="32"/>
                    <a:pt x="330" y="32"/>
                  </a:cubicBezTo>
                  <a:cubicBezTo>
                    <a:pt x="329" y="32"/>
                    <a:pt x="329" y="32"/>
                    <a:pt x="329" y="32"/>
                  </a:cubicBezTo>
                  <a:cubicBezTo>
                    <a:pt x="329" y="32"/>
                    <a:pt x="329" y="32"/>
                    <a:pt x="329" y="32"/>
                  </a:cubicBezTo>
                  <a:cubicBezTo>
                    <a:pt x="329" y="11"/>
                    <a:pt x="329" y="11"/>
                    <a:pt x="329" y="11"/>
                  </a:cubicBezTo>
                  <a:cubicBezTo>
                    <a:pt x="329" y="11"/>
                    <a:pt x="329" y="10"/>
                    <a:pt x="329" y="10"/>
                  </a:cubicBezTo>
                  <a:cubicBezTo>
                    <a:pt x="329" y="10"/>
                    <a:pt x="329" y="10"/>
                    <a:pt x="330" y="10"/>
                  </a:cubicBezTo>
                  <a:cubicBezTo>
                    <a:pt x="330" y="10"/>
                    <a:pt x="330" y="10"/>
                    <a:pt x="330" y="10"/>
                  </a:cubicBezTo>
                  <a:cubicBezTo>
                    <a:pt x="330" y="10"/>
                    <a:pt x="331" y="10"/>
                    <a:pt x="331" y="10"/>
                  </a:cubicBezTo>
                  <a:cubicBezTo>
                    <a:pt x="331" y="10"/>
                    <a:pt x="332" y="10"/>
                    <a:pt x="332" y="10"/>
                  </a:cubicBezTo>
                  <a:cubicBezTo>
                    <a:pt x="332" y="10"/>
                    <a:pt x="332" y="10"/>
                    <a:pt x="332" y="10"/>
                  </a:cubicBezTo>
                  <a:cubicBezTo>
                    <a:pt x="332" y="10"/>
                    <a:pt x="333" y="10"/>
                    <a:pt x="333" y="10"/>
                  </a:cubicBezTo>
                  <a:cubicBezTo>
                    <a:pt x="333" y="10"/>
                    <a:pt x="333" y="11"/>
                    <a:pt x="333" y="11"/>
                  </a:cubicBezTo>
                  <a:cubicBezTo>
                    <a:pt x="333" y="13"/>
                    <a:pt x="333" y="13"/>
                    <a:pt x="333" y="13"/>
                  </a:cubicBezTo>
                  <a:cubicBezTo>
                    <a:pt x="334" y="12"/>
                    <a:pt x="335" y="11"/>
                    <a:pt x="336" y="11"/>
                  </a:cubicBezTo>
                  <a:cubicBezTo>
                    <a:pt x="337" y="10"/>
                    <a:pt x="339" y="10"/>
                    <a:pt x="340" y="10"/>
                  </a:cubicBezTo>
                  <a:cubicBezTo>
                    <a:pt x="341" y="10"/>
                    <a:pt x="342" y="10"/>
                    <a:pt x="343" y="10"/>
                  </a:cubicBezTo>
                  <a:cubicBezTo>
                    <a:pt x="344" y="11"/>
                    <a:pt x="345" y="11"/>
                    <a:pt x="346" y="12"/>
                  </a:cubicBezTo>
                  <a:cubicBezTo>
                    <a:pt x="346" y="13"/>
                    <a:pt x="347" y="14"/>
                    <a:pt x="347" y="15"/>
                  </a:cubicBezTo>
                  <a:cubicBezTo>
                    <a:pt x="347" y="16"/>
                    <a:pt x="347" y="17"/>
                    <a:pt x="347" y="19"/>
                  </a:cubicBezTo>
                  <a:lnTo>
                    <a:pt x="347" y="32"/>
                  </a:ln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96">
              <a:extLst>
                <a:ext uri="{FF2B5EF4-FFF2-40B4-BE49-F238E27FC236}">
                  <a16:creationId xmlns:a16="http://schemas.microsoft.com/office/drawing/2014/main" id="{F45CE3D5-0672-44FF-B818-A328FB8A7F33}"/>
                </a:ext>
              </a:extLst>
            </p:cNvPr>
            <p:cNvSpPr>
              <a:spLocks/>
            </p:cNvSpPr>
            <p:nvPr/>
          </p:nvSpPr>
          <p:spPr bwMode="auto">
            <a:xfrm>
              <a:off x="7465387" y="4790382"/>
              <a:ext cx="2369265" cy="326099"/>
            </a:xfrm>
            <a:custGeom>
              <a:avLst/>
              <a:gdLst>
                <a:gd name="T0" fmla="*/ 3 w 692"/>
                <a:gd name="T1" fmla="*/ 18 h 95"/>
                <a:gd name="T2" fmla="*/ 6 w 692"/>
                <a:gd name="T3" fmla="*/ 18 h 95"/>
                <a:gd name="T4" fmla="*/ 18 w 692"/>
                <a:gd name="T5" fmla="*/ 6 h 95"/>
                <a:gd name="T6" fmla="*/ 674 w 692"/>
                <a:gd name="T7" fmla="*/ 6 h 95"/>
                <a:gd name="T8" fmla="*/ 686 w 692"/>
                <a:gd name="T9" fmla="*/ 18 h 95"/>
                <a:gd name="T10" fmla="*/ 686 w 692"/>
                <a:gd name="T11" fmla="*/ 77 h 95"/>
                <a:gd name="T12" fmla="*/ 674 w 692"/>
                <a:gd name="T13" fmla="*/ 89 h 95"/>
                <a:gd name="T14" fmla="*/ 18 w 692"/>
                <a:gd name="T15" fmla="*/ 89 h 95"/>
                <a:gd name="T16" fmla="*/ 6 w 692"/>
                <a:gd name="T17" fmla="*/ 77 h 95"/>
                <a:gd name="T18" fmla="*/ 6 w 692"/>
                <a:gd name="T19" fmla="*/ 18 h 95"/>
                <a:gd name="T20" fmla="*/ 3 w 692"/>
                <a:gd name="T21" fmla="*/ 18 h 95"/>
                <a:gd name="T22" fmla="*/ 0 w 692"/>
                <a:gd name="T23" fmla="*/ 18 h 95"/>
                <a:gd name="T24" fmla="*/ 0 w 692"/>
                <a:gd name="T25" fmla="*/ 77 h 95"/>
                <a:gd name="T26" fmla="*/ 18 w 692"/>
                <a:gd name="T27" fmla="*/ 95 h 95"/>
                <a:gd name="T28" fmla="*/ 674 w 692"/>
                <a:gd name="T29" fmla="*/ 95 h 95"/>
                <a:gd name="T30" fmla="*/ 692 w 692"/>
                <a:gd name="T31" fmla="*/ 77 h 95"/>
                <a:gd name="T32" fmla="*/ 692 w 692"/>
                <a:gd name="T33" fmla="*/ 18 h 95"/>
                <a:gd name="T34" fmla="*/ 674 w 692"/>
                <a:gd name="T35" fmla="*/ 0 h 95"/>
                <a:gd name="T36" fmla="*/ 18 w 692"/>
                <a:gd name="T37" fmla="*/ 0 h 95"/>
                <a:gd name="T38" fmla="*/ 0 w 692"/>
                <a:gd name="T39" fmla="*/ 18 h 95"/>
                <a:gd name="T40" fmla="*/ 3 w 692"/>
                <a:gd name="T4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2" h="95">
                  <a:moveTo>
                    <a:pt x="3" y="18"/>
                  </a:moveTo>
                  <a:cubicBezTo>
                    <a:pt x="6" y="18"/>
                    <a:pt x="6" y="18"/>
                    <a:pt x="6" y="18"/>
                  </a:cubicBezTo>
                  <a:cubicBezTo>
                    <a:pt x="6" y="11"/>
                    <a:pt x="12" y="6"/>
                    <a:pt x="18" y="6"/>
                  </a:cubicBezTo>
                  <a:cubicBezTo>
                    <a:pt x="674" y="6"/>
                    <a:pt x="674" y="6"/>
                    <a:pt x="674" y="6"/>
                  </a:cubicBezTo>
                  <a:cubicBezTo>
                    <a:pt x="680" y="6"/>
                    <a:pt x="686" y="11"/>
                    <a:pt x="686" y="18"/>
                  </a:cubicBezTo>
                  <a:cubicBezTo>
                    <a:pt x="686" y="77"/>
                    <a:pt x="686" y="77"/>
                    <a:pt x="686" y="77"/>
                  </a:cubicBezTo>
                  <a:cubicBezTo>
                    <a:pt x="686" y="84"/>
                    <a:pt x="680" y="89"/>
                    <a:pt x="674" y="89"/>
                  </a:cubicBezTo>
                  <a:cubicBezTo>
                    <a:pt x="18" y="89"/>
                    <a:pt x="18" y="89"/>
                    <a:pt x="18" y="89"/>
                  </a:cubicBezTo>
                  <a:cubicBezTo>
                    <a:pt x="12" y="89"/>
                    <a:pt x="6" y="84"/>
                    <a:pt x="6" y="77"/>
                  </a:cubicBezTo>
                  <a:cubicBezTo>
                    <a:pt x="6" y="18"/>
                    <a:pt x="6" y="18"/>
                    <a:pt x="6" y="18"/>
                  </a:cubicBezTo>
                  <a:cubicBezTo>
                    <a:pt x="3" y="18"/>
                    <a:pt x="3" y="18"/>
                    <a:pt x="3" y="18"/>
                  </a:cubicBezTo>
                  <a:cubicBezTo>
                    <a:pt x="0" y="18"/>
                    <a:pt x="0" y="18"/>
                    <a:pt x="0" y="18"/>
                  </a:cubicBezTo>
                  <a:cubicBezTo>
                    <a:pt x="0" y="77"/>
                    <a:pt x="0" y="77"/>
                    <a:pt x="0" y="77"/>
                  </a:cubicBezTo>
                  <a:cubicBezTo>
                    <a:pt x="0" y="87"/>
                    <a:pt x="8" y="95"/>
                    <a:pt x="18" y="95"/>
                  </a:cubicBezTo>
                  <a:cubicBezTo>
                    <a:pt x="674" y="95"/>
                    <a:pt x="674" y="95"/>
                    <a:pt x="674" y="95"/>
                  </a:cubicBezTo>
                  <a:cubicBezTo>
                    <a:pt x="684" y="95"/>
                    <a:pt x="692" y="87"/>
                    <a:pt x="692" y="77"/>
                  </a:cubicBezTo>
                  <a:cubicBezTo>
                    <a:pt x="692" y="18"/>
                    <a:pt x="692" y="18"/>
                    <a:pt x="692" y="18"/>
                  </a:cubicBezTo>
                  <a:cubicBezTo>
                    <a:pt x="692" y="8"/>
                    <a:pt x="684" y="0"/>
                    <a:pt x="674" y="0"/>
                  </a:cubicBezTo>
                  <a:cubicBezTo>
                    <a:pt x="18" y="0"/>
                    <a:pt x="18" y="0"/>
                    <a:pt x="18" y="0"/>
                  </a:cubicBezTo>
                  <a:cubicBezTo>
                    <a:pt x="8" y="0"/>
                    <a:pt x="0" y="8"/>
                    <a:pt x="0" y="18"/>
                  </a:cubicBezTo>
                  <a:lnTo>
                    <a:pt x="3" y="18"/>
                  </a:ln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97">
              <a:extLst>
                <a:ext uri="{FF2B5EF4-FFF2-40B4-BE49-F238E27FC236}">
                  <a16:creationId xmlns:a16="http://schemas.microsoft.com/office/drawing/2014/main" id="{5429DE58-0737-4805-BC92-CE3A51B7AB83}"/>
                </a:ext>
              </a:extLst>
            </p:cNvPr>
            <p:cNvSpPr>
              <a:spLocks/>
            </p:cNvSpPr>
            <p:nvPr/>
          </p:nvSpPr>
          <p:spPr bwMode="auto">
            <a:xfrm>
              <a:off x="4707980" y="3034356"/>
              <a:ext cx="1528046" cy="328984"/>
            </a:xfrm>
            <a:custGeom>
              <a:avLst/>
              <a:gdLst>
                <a:gd name="T0" fmla="*/ 3 w 446"/>
                <a:gd name="T1" fmla="*/ 18 h 96"/>
                <a:gd name="T2" fmla="*/ 6 w 446"/>
                <a:gd name="T3" fmla="*/ 18 h 96"/>
                <a:gd name="T4" fmla="*/ 18 w 446"/>
                <a:gd name="T5" fmla="*/ 6 h 96"/>
                <a:gd name="T6" fmla="*/ 428 w 446"/>
                <a:gd name="T7" fmla="*/ 6 h 96"/>
                <a:gd name="T8" fmla="*/ 440 w 446"/>
                <a:gd name="T9" fmla="*/ 18 h 96"/>
                <a:gd name="T10" fmla="*/ 440 w 446"/>
                <a:gd name="T11" fmla="*/ 78 h 96"/>
                <a:gd name="T12" fmla="*/ 428 w 446"/>
                <a:gd name="T13" fmla="*/ 90 h 96"/>
                <a:gd name="T14" fmla="*/ 18 w 446"/>
                <a:gd name="T15" fmla="*/ 90 h 96"/>
                <a:gd name="T16" fmla="*/ 6 w 446"/>
                <a:gd name="T17" fmla="*/ 78 h 96"/>
                <a:gd name="T18" fmla="*/ 6 w 446"/>
                <a:gd name="T19" fmla="*/ 18 h 96"/>
                <a:gd name="T20" fmla="*/ 3 w 446"/>
                <a:gd name="T21" fmla="*/ 18 h 96"/>
                <a:gd name="T22" fmla="*/ 0 w 446"/>
                <a:gd name="T23" fmla="*/ 18 h 96"/>
                <a:gd name="T24" fmla="*/ 0 w 446"/>
                <a:gd name="T25" fmla="*/ 78 h 96"/>
                <a:gd name="T26" fmla="*/ 18 w 446"/>
                <a:gd name="T27" fmla="*/ 96 h 96"/>
                <a:gd name="T28" fmla="*/ 428 w 446"/>
                <a:gd name="T29" fmla="*/ 96 h 96"/>
                <a:gd name="T30" fmla="*/ 446 w 446"/>
                <a:gd name="T31" fmla="*/ 78 h 96"/>
                <a:gd name="T32" fmla="*/ 446 w 446"/>
                <a:gd name="T33" fmla="*/ 18 h 96"/>
                <a:gd name="T34" fmla="*/ 428 w 446"/>
                <a:gd name="T35" fmla="*/ 0 h 96"/>
                <a:gd name="T36" fmla="*/ 18 w 446"/>
                <a:gd name="T37" fmla="*/ 0 h 96"/>
                <a:gd name="T38" fmla="*/ 0 w 446"/>
                <a:gd name="T39" fmla="*/ 18 h 96"/>
                <a:gd name="T40" fmla="*/ 3 w 446"/>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6" h="96">
                  <a:moveTo>
                    <a:pt x="3" y="18"/>
                  </a:moveTo>
                  <a:cubicBezTo>
                    <a:pt x="6" y="18"/>
                    <a:pt x="6" y="18"/>
                    <a:pt x="6" y="18"/>
                  </a:cubicBezTo>
                  <a:cubicBezTo>
                    <a:pt x="6" y="12"/>
                    <a:pt x="12" y="6"/>
                    <a:pt x="18" y="6"/>
                  </a:cubicBezTo>
                  <a:cubicBezTo>
                    <a:pt x="428" y="6"/>
                    <a:pt x="428" y="6"/>
                    <a:pt x="428" y="6"/>
                  </a:cubicBezTo>
                  <a:cubicBezTo>
                    <a:pt x="435" y="6"/>
                    <a:pt x="440" y="12"/>
                    <a:pt x="440" y="18"/>
                  </a:cubicBezTo>
                  <a:cubicBezTo>
                    <a:pt x="440" y="78"/>
                    <a:pt x="440" y="78"/>
                    <a:pt x="440" y="78"/>
                  </a:cubicBezTo>
                  <a:cubicBezTo>
                    <a:pt x="440" y="84"/>
                    <a:pt x="435" y="90"/>
                    <a:pt x="428" y="90"/>
                  </a:cubicBezTo>
                  <a:cubicBezTo>
                    <a:pt x="18" y="90"/>
                    <a:pt x="18" y="90"/>
                    <a:pt x="18" y="90"/>
                  </a:cubicBezTo>
                  <a:cubicBezTo>
                    <a:pt x="12"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428" y="96"/>
                    <a:pt x="428" y="96"/>
                    <a:pt x="428" y="96"/>
                  </a:cubicBezTo>
                  <a:cubicBezTo>
                    <a:pt x="438" y="96"/>
                    <a:pt x="446" y="88"/>
                    <a:pt x="446" y="78"/>
                  </a:cubicBezTo>
                  <a:cubicBezTo>
                    <a:pt x="446" y="18"/>
                    <a:pt x="446" y="18"/>
                    <a:pt x="446" y="18"/>
                  </a:cubicBezTo>
                  <a:cubicBezTo>
                    <a:pt x="446" y="8"/>
                    <a:pt x="438" y="0"/>
                    <a:pt x="428" y="0"/>
                  </a:cubicBezTo>
                  <a:cubicBezTo>
                    <a:pt x="18" y="0"/>
                    <a:pt x="18" y="0"/>
                    <a:pt x="18" y="0"/>
                  </a:cubicBezTo>
                  <a:cubicBezTo>
                    <a:pt x="8" y="0"/>
                    <a:pt x="0" y="8"/>
                    <a:pt x="0" y="18"/>
                  </a:cubicBezTo>
                  <a:lnTo>
                    <a:pt x="3" y="18"/>
                  </a:ln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98">
              <a:extLst>
                <a:ext uri="{FF2B5EF4-FFF2-40B4-BE49-F238E27FC236}">
                  <a16:creationId xmlns:a16="http://schemas.microsoft.com/office/drawing/2014/main" id="{BBC7BD0C-7AB3-423F-9DAF-9E56A59ABA08}"/>
                </a:ext>
              </a:extLst>
            </p:cNvPr>
            <p:cNvSpPr>
              <a:spLocks noEditPoints="1"/>
            </p:cNvSpPr>
            <p:nvPr/>
          </p:nvSpPr>
          <p:spPr bwMode="auto">
            <a:xfrm>
              <a:off x="5129310" y="3136802"/>
              <a:ext cx="67817" cy="103890"/>
            </a:xfrm>
            <a:custGeom>
              <a:avLst/>
              <a:gdLst>
                <a:gd name="T0" fmla="*/ 20 w 20"/>
                <a:gd name="T1" fmla="*/ 18 h 30"/>
                <a:gd name="T2" fmla="*/ 18 w 20"/>
                <a:gd name="T3" fmla="*/ 16 h 30"/>
                <a:gd name="T4" fmla="*/ 17 w 20"/>
                <a:gd name="T5" fmla="*/ 15 h 30"/>
                <a:gd name="T6" fmla="*/ 14 w 20"/>
                <a:gd name="T7" fmla="*/ 14 h 30"/>
                <a:gd name="T8" fmla="*/ 16 w 20"/>
                <a:gd name="T9" fmla="*/ 13 h 30"/>
                <a:gd name="T10" fmla="*/ 17 w 20"/>
                <a:gd name="T11" fmla="*/ 11 h 30"/>
                <a:gd name="T12" fmla="*/ 18 w 20"/>
                <a:gd name="T13" fmla="*/ 9 h 30"/>
                <a:gd name="T14" fmla="*/ 18 w 20"/>
                <a:gd name="T15" fmla="*/ 7 h 30"/>
                <a:gd name="T16" fmla="*/ 18 w 20"/>
                <a:gd name="T17" fmla="*/ 4 h 30"/>
                <a:gd name="T18" fmla="*/ 16 w 20"/>
                <a:gd name="T19" fmla="*/ 2 h 30"/>
                <a:gd name="T20" fmla="*/ 13 w 20"/>
                <a:gd name="T21" fmla="*/ 0 h 30"/>
                <a:gd name="T22" fmla="*/ 9 w 20"/>
                <a:gd name="T23" fmla="*/ 0 h 30"/>
                <a:gd name="T24" fmla="*/ 2 w 20"/>
                <a:gd name="T25" fmla="*/ 0 h 30"/>
                <a:gd name="T26" fmla="*/ 1 w 20"/>
                <a:gd name="T27" fmla="*/ 0 h 30"/>
                <a:gd name="T28" fmla="*/ 0 w 20"/>
                <a:gd name="T29" fmla="*/ 1 h 30"/>
                <a:gd name="T30" fmla="*/ 0 w 20"/>
                <a:gd name="T31" fmla="*/ 28 h 30"/>
                <a:gd name="T32" fmla="*/ 1 w 20"/>
                <a:gd name="T33" fmla="*/ 30 h 30"/>
                <a:gd name="T34" fmla="*/ 2 w 20"/>
                <a:gd name="T35" fmla="*/ 30 h 30"/>
                <a:gd name="T36" fmla="*/ 10 w 20"/>
                <a:gd name="T37" fmla="*/ 30 h 30"/>
                <a:gd name="T38" fmla="*/ 13 w 20"/>
                <a:gd name="T39" fmla="*/ 30 h 30"/>
                <a:gd name="T40" fmla="*/ 15 w 20"/>
                <a:gd name="T41" fmla="*/ 29 h 30"/>
                <a:gd name="T42" fmla="*/ 17 w 20"/>
                <a:gd name="T43" fmla="*/ 28 h 30"/>
                <a:gd name="T44" fmla="*/ 19 w 20"/>
                <a:gd name="T45" fmla="*/ 26 h 30"/>
                <a:gd name="T46" fmla="*/ 20 w 20"/>
                <a:gd name="T47" fmla="*/ 24 h 30"/>
                <a:gd name="T48" fmla="*/ 20 w 20"/>
                <a:gd name="T49" fmla="*/ 21 h 30"/>
                <a:gd name="T50" fmla="*/ 20 w 20"/>
                <a:gd name="T51" fmla="*/ 18 h 30"/>
                <a:gd name="T52" fmla="*/ 14 w 20"/>
                <a:gd name="T53" fmla="*/ 10 h 30"/>
                <a:gd name="T54" fmla="*/ 13 w 20"/>
                <a:gd name="T55" fmla="*/ 11 h 30"/>
                <a:gd name="T56" fmla="*/ 11 w 20"/>
                <a:gd name="T57" fmla="*/ 12 h 30"/>
                <a:gd name="T58" fmla="*/ 9 w 20"/>
                <a:gd name="T59" fmla="*/ 13 h 30"/>
                <a:gd name="T60" fmla="*/ 4 w 20"/>
                <a:gd name="T61" fmla="*/ 13 h 30"/>
                <a:gd name="T62" fmla="*/ 4 w 20"/>
                <a:gd name="T63" fmla="*/ 3 h 30"/>
                <a:gd name="T64" fmla="*/ 8 w 20"/>
                <a:gd name="T65" fmla="*/ 3 h 30"/>
                <a:gd name="T66" fmla="*/ 11 w 20"/>
                <a:gd name="T67" fmla="*/ 3 h 30"/>
                <a:gd name="T68" fmla="*/ 13 w 20"/>
                <a:gd name="T69" fmla="*/ 4 h 30"/>
                <a:gd name="T70" fmla="*/ 14 w 20"/>
                <a:gd name="T71" fmla="*/ 6 h 30"/>
                <a:gd name="T72" fmla="*/ 14 w 20"/>
                <a:gd name="T73" fmla="*/ 8 h 30"/>
                <a:gd name="T74" fmla="*/ 14 w 20"/>
                <a:gd name="T75" fmla="*/ 10 h 30"/>
                <a:gd name="T76" fmla="*/ 15 w 20"/>
                <a:gd name="T77" fmla="*/ 24 h 30"/>
                <a:gd name="T78" fmla="*/ 14 w 20"/>
                <a:gd name="T79" fmla="*/ 25 h 30"/>
                <a:gd name="T80" fmla="*/ 12 w 20"/>
                <a:gd name="T81" fmla="*/ 26 h 30"/>
                <a:gd name="T82" fmla="*/ 10 w 20"/>
                <a:gd name="T83" fmla="*/ 27 h 30"/>
                <a:gd name="T84" fmla="*/ 4 w 20"/>
                <a:gd name="T85" fmla="*/ 27 h 30"/>
                <a:gd name="T86" fmla="*/ 4 w 20"/>
                <a:gd name="T87" fmla="*/ 16 h 30"/>
                <a:gd name="T88" fmla="*/ 9 w 20"/>
                <a:gd name="T89" fmla="*/ 16 h 30"/>
                <a:gd name="T90" fmla="*/ 12 w 20"/>
                <a:gd name="T91" fmla="*/ 16 h 30"/>
                <a:gd name="T92" fmla="*/ 14 w 20"/>
                <a:gd name="T93" fmla="*/ 17 h 30"/>
                <a:gd name="T94" fmla="*/ 15 w 20"/>
                <a:gd name="T95" fmla="*/ 19 h 30"/>
                <a:gd name="T96" fmla="*/ 16 w 20"/>
                <a:gd name="T97" fmla="*/ 22 h 30"/>
                <a:gd name="T98" fmla="*/ 15 w 20"/>
                <a:gd name="T99"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 h="30">
                  <a:moveTo>
                    <a:pt x="20" y="18"/>
                  </a:moveTo>
                  <a:cubicBezTo>
                    <a:pt x="19" y="18"/>
                    <a:pt x="19" y="17"/>
                    <a:pt x="18" y="16"/>
                  </a:cubicBezTo>
                  <a:cubicBezTo>
                    <a:pt x="18" y="16"/>
                    <a:pt x="17" y="15"/>
                    <a:pt x="17" y="15"/>
                  </a:cubicBezTo>
                  <a:cubicBezTo>
                    <a:pt x="16" y="14"/>
                    <a:pt x="15" y="14"/>
                    <a:pt x="14" y="14"/>
                  </a:cubicBezTo>
                  <a:cubicBezTo>
                    <a:pt x="15" y="14"/>
                    <a:pt x="15" y="13"/>
                    <a:pt x="16" y="13"/>
                  </a:cubicBezTo>
                  <a:cubicBezTo>
                    <a:pt x="16" y="12"/>
                    <a:pt x="17" y="12"/>
                    <a:pt x="17" y="11"/>
                  </a:cubicBezTo>
                  <a:cubicBezTo>
                    <a:pt x="18" y="11"/>
                    <a:pt x="18" y="10"/>
                    <a:pt x="18" y="9"/>
                  </a:cubicBezTo>
                  <a:cubicBezTo>
                    <a:pt x="18" y="9"/>
                    <a:pt x="18" y="8"/>
                    <a:pt x="18" y="7"/>
                  </a:cubicBezTo>
                  <a:cubicBezTo>
                    <a:pt x="18" y="6"/>
                    <a:pt x="18" y="5"/>
                    <a:pt x="18" y="4"/>
                  </a:cubicBezTo>
                  <a:cubicBezTo>
                    <a:pt x="17" y="3"/>
                    <a:pt x="17" y="2"/>
                    <a:pt x="16" y="2"/>
                  </a:cubicBezTo>
                  <a:cubicBezTo>
                    <a:pt x="15" y="1"/>
                    <a:pt x="14" y="1"/>
                    <a:pt x="13" y="0"/>
                  </a:cubicBezTo>
                  <a:cubicBezTo>
                    <a:pt x="12" y="0"/>
                    <a:pt x="10" y="0"/>
                    <a:pt x="9" y="0"/>
                  </a:cubicBezTo>
                  <a:cubicBezTo>
                    <a:pt x="2" y="0"/>
                    <a:pt x="2" y="0"/>
                    <a:pt x="2" y="0"/>
                  </a:cubicBezTo>
                  <a:cubicBezTo>
                    <a:pt x="1" y="0"/>
                    <a:pt x="1" y="0"/>
                    <a:pt x="1" y="0"/>
                  </a:cubicBezTo>
                  <a:cubicBezTo>
                    <a:pt x="0" y="0"/>
                    <a:pt x="0" y="1"/>
                    <a:pt x="0" y="1"/>
                  </a:cubicBezTo>
                  <a:cubicBezTo>
                    <a:pt x="0" y="28"/>
                    <a:pt x="0" y="28"/>
                    <a:pt x="0" y="28"/>
                  </a:cubicBezTo>
                  <a:cubicBezTo>
                    <a:pt x="0" y="29"/>
                    <a:pt x="0" y="29"/>
                    <a:pt x="1" y="30"/>
                  </a:cubicBezTo>
                  <a:cubicBezTo>
                    <a:pt x="1" y="30"/>
                    <a:pt x="1" y="30"/>
                    <a:pt x="2" y="30"/>
                  </a:cubicBezTo>
                  <a:cubicBezTo>
                    <a:pt x="10" y="30"/>
                    <a:pt x="10" y="30"/>
                    <a:pt x="10" y="30"/>
                  </a:cubicBezTo>
                  <a:cubicBezTo>
                    <a:pt x="11" y="30"/>
                    <a:pt x="12" y="30"/>
                    <a:pt x="13" y="30"/>
                  </a:cubicBezTo>
                  <a:cubicBezTo>
                    <a:pt x="13" y="30"/>
                    <a:pt x="14" y="29"/>
                    <a:pt x="15" y="29"/>
                  </a:cubicBezTo>
                  <a:cubicBezTo>
                    <a:pt x="16" y="29"/>
                    <a:pt x="17" y="28"/>
                    <a:pt x="17" y="28"/>
                  </a:cubicBezTo>
                  <a:cubicBezTo>
                    <a:pt x="18" y="27"/>
                    <a:pt x="18" y="27"/>
                    <a:pt x="19" y="26"/>
                  </a:cubicBezTo>
                  <a:cubicBezTo>
                    <a:pt x="19" y="25"/>
                    <a:pt x="20" y="25"/>
                    <a:pt x="20" y="24"/>
                  </a:cubicBezTo>
                  <a:cubicBezTo>
                    <a:pt x="20" y="23"/>
                    <a:pt x="20" y="22"/>
                    <a:pt x="20" y="21"/>
                  </a:cubicBezTo>
                  <a:cubicBezTo>
                    <a:pt x="20" y="20"/>
                    <a:pt x="20" y="19"/>
                    <a:pt x="20" y="18"/>
                  </a:cubicBezTo>
                  <a:close/>
                  <a:moveTo>
                    <a:pt x="14" y="10"/>
                  </a:moveTo>
                  <a:cubicBezTo>
                    <a:pt x="14" y="10"/>
                    <a:pt x="13" y="11"/>
                    <a:pt x="13" y="11"/>
                  </a:cubicBezTo>
                  <a:cubicBezTo>
                    <a:pt x="12" y="12"/>
                    <a:pt x="12" y="12"/>
                    <a:pt x="11" y="12"/>
                  </a:cubicBezTo>
                  <a:cubicBezTo>
                    <a:pt x="11" y="13"/>
                    <a:pt x="10" y="13"/>
                    <a:pt x="9" y="13"/>
                  </a:cubicBezTo>
                  <a:cubicBezTo>
                    <a:pt x="4" y="13"/>
                    <a:pt x="4" y="13"/>
                    <a:pt x="4" y="13"/>
                  </a:cubicBezTo>
                  <a:cubicBezTo>
                    <a:pt x="4" y="3"/>
                    <a:pt x="4" y="3"/>
                    <a:pt x="4" y="3"/>
                  </a:cubicBezTo>
                  <a:cubicBezTo>
                    <a:pt x="8" y="3"/>
                    <a:pt x="8" y="3"/>
                    <a:pt x="8" y="3"/>
                  </a:cubicBezTo>
                  <a:cubicBezTo>
                    <a:pt x="9" y="3"/>
                    <a:pt x="10" y="3"/>
                    <a:pt x="11" y="3"/>
                  </a:cubicBezTo>
                  <a:cubicBezTo>
                    <a:pt x="12" y="4"/>
                    <a:pt x="12" y="4"/>
                    <a:pt x="13" y="4"/>
                  </a:cubicBezTo>
                  <a:cubicBezTo>
                    <a:pt x="13" y="5"/>
                    <a:pt x="14" y="5"/>
                    <a:pt x="14" y="6"/>
                  </a:cubicBezTo>
                  <a:cubicBezTo>
                    <a:pt x="14" y="6"/>
                    <a:pt x="14" y="7"/>
                    <a:pt x="14" y="8"/>
                  </a:cubicBezTo>
                  <a:cubicBezTo>
                    <a:pt x="14" y="8"/>
                    <a:pt x="14" y="9"/>
                    <a:pt x="14" y="10"/>
                  </a:cubicBezTo>
                  <a:close/>
                  <a:moveTo>
                    <a:pt x="15" y="24"/>
                  </a:moveTo>
                  <a:cubicBezTo>
                    <a:pt x="15" y="24"/>
                    <a:pt x="15" y="25"/>
                    <a:pt x="14" y="25"/>
                  </a:cubicBezTo>
                  <a:cubicBezTo>
                    <a:pt x="14" y="26"/>
                    <a:pt x="13" y="26"/>
                    <a:pt x="12" y="26"/>
                  </a:cubicBezTo>
                  <a:cubicBezTo>
                    <a:pt x="12" y="27"/>
                    <a:pt x="11" y="27"/>
                    <a:pt x="10" y="27"/>
                  </a:cubicBezTo>
                  <a:cubicBezTo>
                    <a:pt x="4" y="27"/>
                    <a:pt x="4" y="27"/>
                    <a:pt x="4" y="27"/>
                  </a:cubicBezTo>
                  <a:cubicBezTo>
                    <a:pt x="4" y="16"/>
                    <a:pt x="4" y="16"/>
                    <a:pt x="4" y="16"/>
                  </a:cubicBezTo>
                  <a:cubicBezTo>
                    <a:pt x="9" y="16"/>
                    <a:pt x="9" y="16"/>
                    <a:pt x="9" y="16"/>
                  </a:cubicBezTo>
                  <a:cubicBezTo>
                    <a:pt x="10" y="16"/>
                    <a:pt x="11" y="16"/>
                    <a:pt x="12" y="16"/>
                  </a:cubicBezTo>
                  <a:cubicBezTo>
                    <a:pt x="13" y="17"/>
                    <a:pt x="14" y="17"/>
                    <a:pt x="14" y="17"/>
                  </a:cubicBezTo>
                  <a:cubicBezTo>
                    <a:pt x="15" y="18"/>
                    <a:pt x="15" y="18"/>
                    <a:pt x="15" y="19"/>
                  </a:cubicBezTo>
                  <a:cubicBezTo>
                    <a:pt x="16" y="20"/>
                    <a:pt x="16" y="21"/>
                    <a:pt x="16" y="22"/>
                  </a:cubicBezTo>
                  <a:cubicBezTo>
                    <a:pt x="16" y="22"/>
                    <a:pt x="16" y="23"/>
                    <a:pt x="15" y="2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99">
              <a:extLst>
                <a:ext uri="{FF2B5EF4-FFF2-40B4-BE49-F238E27FC236}">
                  <a16:creationId xmlns:a16="http://schemas.microsoft.com/office/drawing/2014/main" id="{E1A90358-AFF4-4AAB-9C59-DF376A790FD9}"/>
                </a:ext>
              </a:extLst>
            </p:cNvPr>
            <p:cNvSpPr>
              <a:spLocks/>
            </p:cNvSpPr>
            <p:nvPr/>
          </p:nvSpPr>
          <p:spPr bwMode="auto">
            <a:xfrm>
              <a:off x="5218771" y="3126702"/>
              <a:ext cx="12987" cy="113991"/>
            </a:xfrm>
            <a:custGeom>
              <a:avLst/>
              <a:gdLst>
                <a:gd name="T0" fmla="*/ 4 w 4"/>
                <a:gd name="T1" fmla="*/ 1 h 33"/>
                <a:gd name="T2" fmla="*/ 3 w 4"/>
                <a:gd name="T3" fmla="*/ 1 h 33"/>
                <a:gd name="T4" fmla="*/ 3 w 4"/>
                <a:gd name="T5" fmla="*/ 1 h 33"/>
                <a:gd name="T6" fmla="*/ 3 w 4"/>
                <a:gd name="T7" fmla="*/ 0 h 33"/>
                <a:gd name="T8" fmla="*/ 2 w 4"/>
                <a:gd name="T9" fmla="*/ 0 h 33"/>
                <a:gd name="T10" fmla="*/ 1 w 4"/>
                <a:gd name="T11" fmla="*/ 0 h 33"/>
                <a:gd name="T12" fmla="*/ 0 w 4"/>
                <a:gd name="T13" fmla="*/ 1 h 33"/>
                <a:gd name="T14" fmla="*/ 0 w 4"/>
                <a:gd name="T15" fmla="*/ 1 h 33"/>
                <a:gd name="T16" fmla="*/ 0 w 4"/>
                <a:gd name="T17" fmla="*/ 1 h 33"/>
                <a:gd name="T18" fmla="*/ 0 w 4"/>
                <a:gd name="T19" fmla="*/ 32 h 33"/>
                <a:gd name="T20" fmla="*/ 0 w 4"/>
                <a:gd name="T21" fmla="*/ 33 h 33"/>
                <a:gd name="T22" fmla="*/ 0 w 4"/>
                <a:gd name="T23" fmla="*/ 33 h 33"/>
                <a:gd name="T24" fmla="*/ 1 w 4"/>
                <a:gd name="T25" fmla="*/ 33 h 33"/>
                <a:gd name="T26" fmla="*/ 2 w 4"/>
                <a:gd name="T27" fmla="*/ 33 h 33"/>
                <a:gd name="T28" fmla="*/ 3 w 4"/>
                <a:gd name="T29" fmla="*/ 33 h 33"/>
                <a:gd name="T30" fmla="*/ 3 w 4"/>
                <a:gd name="T31" fmla="*/ 33 h 33"/>
                <a:gd name="T32" fmla="*/ 3 w 4"/>
                <a:gd name="T33" fmla="*/ 33 h 33"/>
                <a:gd name="T34" fmla="*/ 4 w 4"/>
                <a:gd name="T35" fmla="*/ 32 h 33"/>
                <a:gd name="T36" fmla="*/ 4 w 4"/>
                <a:gd name="T3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3">
                  <a:moveTo>
                    <a:pt x="4" y="1"/>
                  </a:moveTo>
                  <a:cubicBezTo>
                    <a:pt x="4" y="1"/>
                    <a:pt x="3" y="1"/>
                    <a:pt x="3" y="1"/>
                  </a:cubicBezTo>
                  <a:cubicBezTo>
                    <a:pt x="3" y="1"/>
                    <a:pt x="3" y="1"/>
                    <a:pt x="3" y="1"/>
                  </a:cubicBezTo>
                  <a:cubicBezTo>
                    <a:pt x="3" y="0"/>
                    <a:pt x="3" y="0"/>
                    <a:pt x="3" y="0"/>
                  </a:cubicBezTo>
                  <a:cubicBezTo>
                    <a:pt x="2" y="0"/>
                    <a:pt x="2" y="0"/>
                    <a:pt x="2" y="0"/>
                  </a:cubicBezTo>
                  <a:cubicBezTo>
                    <a:pt x="1" y="0"/>
                    <a:pt x="1" y="0"/>
                    <a:pt x="1" y="0"/>
                  </a:cubicBezTo>
                  <a:cubicBezTo>
                    <a:pt x="0" y="0"/>
                    <a:pt x="0" y="0"/>
                    <a:pt x="0" y="1"/>
                  </a:cubicBezTo>
                  <a:cubicBezTo>
                    <a:pt x="0" y="1"/>
                    <a:pt x="0" y="1"/>
                    <a:pt x="0" y="1"/>
                  </a:cubicBezTo>
                  <a:cubicBezTo>
                    <a:pt x="0" y="1"/>
                    <a:pt x="0" y="1"/>
                    <a:pt x="0" y="1"/>
                  </a:cubicBezTo>
                  <a:cubicBezTo>
                    <a:pt x="0" y="32"/>
                    <a:pt x="0" y="32"/>
                    <a:pt x="0" y="32"/>
                  </a:cubicBezTo>
                  <a:cubicBezTo>
                    <a:pt x="0" y="33"/>
                    <a:pt x="0" y="33"/>
                    <a:pt x="0" y="33"/>
                  </a:cubicBezTo>
                  <a:cubicBezTo>
                    <a:pt x="0" y="33"/>
                    <a:pt x="0" y="33"/>
                    <a:pt x="0" y="33"/>
                  </a:cubicBezTo>
                  <a:cubicBezTo>
                    <a:pt x="0" y="33"/>
                    <a:pt x="0" y="33"/>
                    <a:pt x="1" y="33"/>
                  </a:cubicBezTo>
                  <a:cubicBezTo>
                    <a:pt x="1" y="33"/>
                    <a:pt x="1" y="33"/>
                    <a:pt x="2" y="33"/>
                  </a:cubicBezTo>
                  <a:cubicBezTo>
                    <a:pt x="2" y="33"/>
                    <a:pt x="2" y="33"/>
                    <a:pt x="3" y="33"/>
                  </a:cubicBezTo>
                  <a:cubicBezTo>
                    <a:pt x="3" y="33"/>
                    <a:pt x="3" y="33"/>
                    <a:pt x="3" y="33"/>
                  </a:cubicBezTo>
                  <a:cubicBezTo>
                    <a:pt x="3" y="33"/>
                    <a:pt x="3" y="33"/>
                    <a:pt x="3" y="33"/>
                  </a:cubicBezTo>
                  <a:cubicBezTo>
                    <a:pt x="3" y="33"/>
                    <a:pt x="4" y="33"/>
                    <a:pt x="4" y="32"/>
                  </a:cubicBezTo>
                  <a:cubicBezTo>
                    <a:pt x="4" y="1"/>
                    <a:pt x="4"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Freeform 100">
              <a:extLst>
                <a:ext uri="{FF2B5EF4-FFF2-40B4-BE49-F238E27FC236}">
                  <a16:creationId xmlns:a16="http://schemas.microsoft.com/office/drawing/2014/main" id="{7EB35121-8CCE-4F34-966F-6AD6C8C859C2}"/>
                </a:ext>
              </a:extLst>
            </p:cNvPr>
            <p:cNvSpPr>
              <a:spLocks noEditPoints="1"/>
            </p:cNvSpPr>
            <p:nvPr/>
          </p:nvSpPr>
          <p:spPr bwMode="auto">
            <a:xfrm>
              <a:off x="5249072" y="3161332"/>
              <a:ext cx="72146" cy="79361"/>
            </a:xfrm>
            <a:custGeom>
              <a:avLst/>
              <a:gdLst>
                <a:gd name="T0" fmla="*/ 21 w 21"/>
                <a:gd name="T1" fmla="*/ 7 h 23"/>
                <a:gd name="T2" fmla="*/ 19 w 21"/>
                <a:gd name="T3" fmla="*/ 3 h 23"/>
                <a:gd name="T4" fmla="*/ 15 w 21"/>
                <a:gd name="T5" fmla="*/ 1 h 23"/>
                <a:gd name="T6" fmla="*/ 11 w 21"/>
                <a:gd name="T7" fmla="*/ 0 h 23"/>
                <a:gd name="T8" fmla="*/ 6 w 21"/>
                <a:gd name="T9" fmla="*/ 1 h 23"/>
                <a:gd name="T10" fmla="*/ 3 w 21"/>
                <a:gd name="T11" fmla="*/ 4 h 23"/>
                <a:gd name="T12" fmla="*/ 1 w 21"/>
                <a:gd name="T13" fmla="*/ 7 h 23"/>
                <a:gd name="T14" fmla="*/ 0 w 21"/>
                <a:gd name="T15" fmla="*/ 12 h 23"/>
                <a:gd name="T16" fmla="*/ 1 w 21"/>
                <a:gd name="T17" fmla="*/ 17 h 23"/>
                <a:gd name="T18" fmla="*/ 3 w 21"/>
                <a:gd name="T19" fmla="*/ 20 h 23"/>
                <a:gd name="T20" fmla="*/ 6 w 21"/>
                <a:gd name="T21" fmla="*/ 23 h 23"/>
                <a:gd name="T22" fmla="*/ 11 w 21"/>
                <a:gd name="T23" fmla="*/ 23 h 23"/>
                <a:gd name="T24" fmla="*/ 15 w 21"/>
                <a:gd name="T25" fmla="*/ 23 h 23"/>
                <a:gd name="T26" fmla="*/ 19 w 21"/>
                <a:gd name="T27" fmla="*/ 20 h 23"/>
                <a:gd name="T28" fmla="*/ 21 w 21"/>
                <a:gd name="T29" fmla="*/ 16 h 23"/>
                <a:gd name="T30" fmla="*/ 21 w 21"/>
                <a:gd name="T31" fmla="*/ 12 h 23"/>
                <a:gd name="T32" fmla="*/ 21 w 21"/>
                <a:gd name="T33" fmla="*/ 7 h 23"/>
                <a:gd name="T34" fmla="*/ 17 w 21"/>
                <a:gd name="T35" fmla="*/ 15 h 23"/>
                <a:gd name="T36" fmla="*/ 16 w 21"/>
                <a:gd name="T37" fmla="*/ 18 h 23"/>
                <a:gd name="T38" fmla="*/ 14 w 21"/>
                <a:gd name="T39" fmla="*/ 20 h 23"/>
                <a:gd name="T40" fmla="*/ 11 w 21"/>
                <a:gd name="T41" fmla="*/ 20 h 23"/>
                <a:gd name="T42" fmla="*/ 8 w 21"/>
                <a:gd name="T43" fmla="*/ 20 h 23"/>
                <a:gd name="T44" fmla="*/ 6 w 21"/>
                <a:gd name="T45" fmla="*/ 18 h 23"/>
                <a:gd name="T46" fmla="*/ 5 w 21"/>
                <a:gd name="T47" fmla="*/ 15 h 23"/>
                <a:gd name="T48" fmla="*/ 4 w 21"/>
                <a:gd name="T49" fmla="*/ 12 h 23"/>
                <a:gd name="T50" fmla="*/ 5 w 21"/>
                <a:gd name="T51" fmla="*/ 8 h 23"/>
                <a:gd name="T52" fmla="*/ 6 w 21"/>
                <a:gd name="T53" fmla="*/ 6 h 23"/>
                <a:gd name="T54" fmla="*/ 8 w 21"/>
                <a:gd name="T55" fmla="*/ 4 h 23"/>
                <a:gd name="T56" fmla="*/ 11 w 21"/>
                <a:gd name="T57" fmla="*/ 4 h 23"/>
                <a:gd name="T58" fmla="*/ 14 w 21"/>
                <a:gd name="T59" fmla="*/ 4 h 23"/>
                <a:gd name="T60" fmla="*/ 16 w 21"/>
                <a:gd name="T61" fmla="*/ 6 h 23"/>
                <a:gd name="T62" fmla="*/ 17 w 21"/>
                <a:gd name="T63" fmla="*/ 9 h 23"/>
                <a:gd name="T64" fmla="*/ 17 w 21"/>
                <a:gd name="T65" fmla="*/ 12 h 23"/>
                <a:gd name="T66" fmla="*/ 17 w 21"/>
                <a:gd name="T67"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3">
                  <a:moveTo>
                    <a:pt x="21" y="7"/>
                  </a:moveTo>
                  <a:cubicBezTo>
                    <a:pt x="20" y="5"/>
                    <a:pt x="20" y="4"/>
                    <a:pt x="19" y="3"/>
                  </a:cubicBezTo>
                  <a:cubicBezTo>
                    <a:pt x="18" y="2"/>
                    <a:pt x="17" y="2"/>
                    <a:pt x="15" y="1"/>
                  </a:cubicBezTo>
                  <a:cubicBezTo>
                    <a:pt x="14" y="1"/>
                    <a:pt x="13" y="0"/>
                    <a:pt x="11" y="0"/>
                  </a:cubicBezTo>
                  <a:cubicBezTo>
                    <a:pt x="9" y="0"/>
                    <a:pt x="8" y="1"/>
                    <a:pt x="6" y="1"/>
                  </a:cubicBezTo>
                  <a:cubicBezTo>
                    <a:pt x="5" y="2"/>
                    <a:pt x="4" y="3"/>
                    <a:pt x="3" y="4"/>
                  </a:cubicBezTo>
                  <a:cubicBezTo>
                    <a:pt x="2" y="5"/>
                    <a:pt x="1" y="6"/>
                    <a:pt x="1" y="7"/>
                  </a:cubicBezTo>
                  <a:cubicBezTo>
                    <a:pt x="0" y="9"/>
                    <a:pt x="0" y="10"/>
                    <a:pt x="0" y="12"/>
                  </a:cubicBezTo>
                  <a:cubicBezTo>
                    <a:pt x="0" y="14"/>
                    <a:pt x="0" y="15"/>
                    <a:pt x="1" y="17"/>
                  </a:cubicBezTo>
                  <a:cubicBezTo>
                    <a:pt x="1" y="18"/>
                    <a:pt x="2" y="19"/>
                    <a:pt x="3" y="20"/>
                  </a:cubicBezTo>
                  <a:cubicBezTo>
                    <a:pt x="4" y="21"/>
                    <a:pt x="5" y="22"/>
                    <a:pt x="6" y="23"/>
                  </a:cubicBezTo>
                  <a:cubicBezTo>
                    <a:pt x="7" y="23"/>
                    <a:pt x="9" y="23"/>
                    <a:pt x="11" y="23"/>
                  </a:cubicBezTo>
                  <a:cubicBezTo>
                    <a:pt x="12" y="23"/>
                    <a:pt x="14" y="23"/>
                    <a:pt x="15" y="23"/>
                  </a:cubicBezTo>
                  <a:cubicBezTo>
                    <a:pt x="17" y="22"/>
                    <a:pt x="18" y="21"/>
                    <a:pt x="19" y="20"/>
                  </a:cubicBezTo>
                  <a:cubicBezTo>
                    <a:pt x="19" y="19"/>
                    <a:pt x="20" y="18"/>
                    <a:pt x="21" y="16"/>
                  </a:cubicBezTo>
                  <a:cubicBezTo>
                    <a:pt x="21" y="15"/>
                    <a:pt x="21" y="13"/>
                    <a:pt x="21" y="12"/>
                  </a:cubicBezTo>
                  <a:cubicBezTo>
                    <a:pt x="21" y="10"/>
                    <a:pt x="21" y="8"/>
                    <a:pt x="21" y="7"/>
                  </a:cubicBezTo>
                  <a:close/>
                  <a:moveTo>
                    <a:pt x="17" y="15"/>
                  </a:moveTo>
                  <a:cubicBezTo>
                    <a:pt x="17" y="16"/>
                    <a:pt x="16" y="17"/>
                    <a:pt x="16" y="18"/>
                  </a:cubicBezTo>
                  <a:cubicBezTo>
                    <a:pt x="15" y="19"/>
                    <a:pt x="15" y="19"/>
                    <a:pt x="14" y="20"/>
                  </a:cubicBezTo>
                  <a:cubicBezTo>
                    <a:pt x="13" y="20"/>
                    <a:pt x="12" y="20"/>
                    <a:pt x="11" y="20"/>
                  </a:cubicBezTo>
                  <a:cubicBezTo>
                    <a:pt x="9" y="20"/>
                    <a:pt x="8" y="20"/>
                    <a:pt x="8" y="20"/>
                  </a:cubicBezTo>
                  <a:cubicBezTo>
                    <a:pt x="7" y="19"/>
                    <a:pt x="6" y="18"/>
                    <a:pt x="6" y="18"/>
                  </a:cubicBezTo>
                  <a:cubicBezTo>
                    <a:pt x="5" y="17"/>
                    <a:pt x="5" y="16"/>
                    <a:pt x="5" y="15"/>
                  </a:cubicBezTo>
                  <a:cubicBezTo>
                    <a:pt x="4" y="14"/>
                    <a:pt x="4" y="13"/>
                    <a:pt x="4" y="12"/>
                  </a:cubicBezTo>
                  <a:cubicBezTo>
                    <a:pt x="4" y="11"/>
                    <a:pt x="4" y="10"/>
                    <a:pt x="5" y="8"/>
                  </a:cubicBezTo>
                  <a:cubicBezTo>
                    <a:pt x="5" y="7"/>
                    <a:pt x="5" y="7"/>
                    <a:pt x="6" y="6"/>
                  </a:cubicBezTo>
                  <a:cubicBezTo>
                    <a:pt x="6" y="5"/>
                    <a:pt x="7" y="5"/>
                    <a:pt x="8" y="4"/>
                  </a:cubicBezTo>
                  <a:cubicBezTo>
                    <a:pt x="9" y="4"/>
                    <a:pt x="10" y="4"/>
                    <a:pt x="11" y="4"/>
                  </a:cubicBezTo>
                  <a:cubicBezTo>
                    <a:pt x="12" y="4"/>
                    <a:pt x="13" y="4"/>
                    <a:pt x="14" y="4"/>
                  </a:cubicBezTo>
                  <a:cubicBezTo>
                    <a:pt x="15" y="5"/>
                    <a:pt x="15" y="5"/>
                    <a:pt x="16" y="6"/>
                  </a:cubicBezTo>
                  <a:cubicBezTo>
                    <a:pt x="16" y="7"/>
                    <a:pt x="17" y="8"/>
                    <a:pt x="17" y="9"/>
                  </a:cubicBezTo>
                  <a:cubicBezTo>
                    <a:pt x="17" y="10"/>
                    <a:pt x="17" y="11"/>
                    <a:pt x="17" y="12"/>
                  </a:cubicBezTo>
                  <a:cubicBezTo>
                    <a:pt x="17" y="13"/>
                    <a:pt x="17" y="14"/>
                    <a:pt x="17" y="15"/>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Freeform 101">
              <a:extLst>
                <a:ext uri="{FF2B5EF4-FFF2-40B4-BE49-F238E27FC236}">
                  <a16:creationId xmlns:a16="http://schemas.microsoft.com/office/drawing/2014/main" id="{29EF0217-3ABC-4682-9FCE-91F3E689DD51}"/>
                </a:ext>
              </a:extLst>
            </p:cNvPr>
            <p:cNvSpPr>
              <a:spLocks/>
            </p:cNvSpPr>
            <p:nvPr/>
          </p:nvSpPr>
          <p:spPr bwMode="auto">
            <a:xfrm>
              <a:off x="5338532" y="3161332"/>
              <a:ext cx="54831" cy="79361"/>
            </a:xfrm>
            <a:custGeom>
              <a:avLst/>
              <a:gdLst>
                <a:gd name="T0" fmla="*/ 16 w 16"/>
                <a:gd name="T1" fmla="*/ 18 h 23"/>
                <a:gd name="T2" fmla="*/ 16 w 16"/>
                <a:gd name="T3" fmla="*/ 18 h 23"/>
                <a:gd name="T4" fmla="*/ 16 w 16"/>
                <a:gd name="T5" fmla="*/ 18 h 23"/>
                <a:gd name="T6" fmla="*/ 16 w 16"/>
                <a:gd name="T7" fmla="*/ 17 h 23"/>
                <a:gd name="T8" fmla="*/ 15 w 16"/>
                <a:gd name="T9" fmla="*/ 18 h 23"/>
                <a:gd name="T10" fmla="*/ 14 w 16"/>
                <a:gd name="T11" fmla="*/ 19 h 23"/>
                <a:gd name="T12" fmla="*/ 12 w 16"/>
                <a:gd name="T13" fmla="*/ 20 h 23"/>
                <a:gd name="T14" fmla="*/ 10 w 16"/>
                <a:gd name="T15" fmla="*/ 20 h 23"/>
                <a:gd name="T16" fmla="*/ 7 w 16"/>
                <a:gd name="T17" fmla="*/ 20 h 23"/>
                <a:gd name="T18" fmla="*/ 5 w 16"/>
                <a:gd name="T19" fmla="*/ 18 h 23"/>
                <a:gd name="T20" fmla="*/ 4 w 16"/>
                <a:gd name="T21" fmla="*/ 16 h 23"/>
                <a:gd name="T22" fmla="*/ 4 w 16"/>
                <a:gd name="T23" fmla="*/ 12 h 23"/>
                <a:gd name="T24" fmla="*/ 5 w 16"/>
                <a:gd name="T25" fmla="*/ 6 h 23"/>
                <a:gd name="T26" fmla="*/ 9 w 16"/>
                <a:gd name="T27" fmla="*/ 4 h 23"/>
                <a:gd name="T28" fmla="*/ 12 w 16"/>
                <a:gd name="T29" fmla="*/ 4 h 23"/>
                <a:gd name="T30" fmla="*/ 13 w 16"/>
                <a:gd name="T31" fmla="*/ 5 h 23"/>
                <a:gd name="T32" fmla="*/ 15 w 16"/>
                <a:gd name="T33" fmla="*/ 6 h 23"/>
                <a:gd name="T34" fmla="*/ 15 w 16"/>
                <a:gd name="T35" fmla="*/ 6 h 23"/>
                <a:gd name="T36" fmla="*/ 16 w 16"/>
                <a:gd name="T37" fmla="*/ 6 h 23"/>
                <a:gd name="T38" fmla="*/ 16 w 16"/>
                <a:gd name="T39" fmla="*/ 4 h 23"/>
                <a:gd name="T40" fmla="*/ 16 w 16"/>
                <a:gd name="T41" fmla="*/ 4 h 23"/>
                <a:gd name="T42" fmla="*/ 16 w 16"/>
                <a:gd name="T43" fmla="*/ 3 h 23"/>
                <a:gd name="T44" fmla="*/ 16 w 16"/>
                <a:gd name="T45" fmla="*/ 3 h 23"/>
                <a:gd name="T46" fmla="*/ 15 w 16"/>
                <a:gd name="T47" fmla="*/ 2 h 23"/>
                <a:gd name="T48" fmla="*/ 15 w 16"/>
                <a:gd name="T49" fmla="*/ 2 h 23"/>
                <a:gd name="T50" fmla="*/ 13 w 16"/>
                <a:gd name="T51" fmla="*/ 1 h 23"/>
                <a:gd name="T52" fmla="*/ 11 w 16"/>
                <a:gd name="T53" fmla="*/ 0 h 23"/>
                <a:gd name="T54" fmla="*/ 9 w 16"/>
                <a:gd name="T55" fmla="*/ 0 h 23"/>
                <a:gd name="T56" fmla="*/ 6 w 16"/>
                <a:gd name="T57" fmla="*/ 1 h 23"/>
                <a:gd name="T58" fmla="*/ 2 w 16"/>
                <a:gd name="T59" fmla="*/ 3 h 23"/>
                <a:gd name="T60" fmla="*/ 0 w 16"/>
                <a:gd name="T61" fmla="*/ 7 h 23"/>
                <a:gd name="T62" fmla="*/ 0 w 16"/>
                <a:gd name="T63" fmla="*/ 12 h 23"/>
                <a:gd name="T64" fmla="*/ 0 w 16"/>
                <a:gd name="T65" fmla="*/ 17 h 23"/>
                <a:gd name="T66" fmla="*/ 2 w 16"/>
                <a:gd name="T67" fmla="*/ 21 h 23"/>
                <a:gd name="T68" fmla="*/ 5 w 16"/>
                <a:gd name="T69" fmla="*/ 23 h 23"/>
                <a:gd name="T70" fmla="*/ 9 w 16"/>
                <a:gd name="T71" fmla="*/ 23 h 23"/>
                <a:gd name="T72" fmla="*/ 11 w 16"/>
                <a:gd name="T73" fmla="*/ 23 h 23"/>
                <a:gd name="T74" fmla="*/ 13 w 16"/>
                <a:gd name="T75" fmla="*/ 23 h 23"/>
                <a:gd name="T76" fmla="*/ 15 w 16"/>
                <a:gd name="T77" fmla="*/ 22 h 23"/>
                <a:gd name="T78" fmla="*/ 16 w 16"/>
                <a:gd name="T79" fmla="*/ 21 h 23"/>
                <a:gd name="T80" fmla="*/ 16 w 16"/>
                <a:gd name="T81" fmla="*/ 21 h 23"/>
                <a:gd name="T82" fmla="*/ 16 w 16"/>
                <a:gd name="T83" fmla="*/ 20 h 23"/>
                <a:gd name="T84" fmla="*/ 16 w 16"/>
                <a:gd name="T85" fmla="*/ 20 h 23"/>
                <a:gd name="T86" fmla="*/ 16 w 16"/>
                <a:gd name="T87" fmla="*/ 19 h 23"/>
                <a:gd name="T88" fmla="*/ 16 w 16"/>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23">
                  <a:moveTo>
                    <a:pt x="16" y="18"/>
                  </a:moveTo>
                  <a:cubicBezTo>
                    <a:pt x="16" y="18"/>
                    <a:pt x="16" y="18"/>
                    <a:pt x="16" y="18"/>
                  </a:cubicBezTo>
                  <a:cubicBezTo>
                    <a:pt x="16" y="18"/>
                    <a:pt x="16" y="18"/>
                    <a:pt x="16" y="18"/>
                  </a:cubicBezTo>
                  <a:cubicBezTo>
                    <a:pt x="16" y="17"/>
                    <a:pt x="16" y="17"/>
                    <a:pt x="16" y="17"/>
                  </a:cubicBezTo>
                  <a:cubicBezTo>
                    <a:pt x="15" y="17"/>
                    <a:pt x="15" y="18"/>
                    <a:pt x="15" y="18"/>
                  </a:cubicBezTo>
                  <a:cubicBezTo>
                    <a:pt x="15" y="18"/>
                    <a:pt x="14" y="18"/>
                    <a:pt x="14" y="19"/>
                  </a:cubicBezTo>
                  <a:cubicBezTo>
                    <a:pt x="13" y="19"/>
                    <a:pt x="13" y="19"/>
                    <a:pt x="12" y="20"/>
                  </a:cubicBezTo>
                  <a:cubicBezTo>
                    <a:pt x="11" y="20"/>
                    <a:pt x="10" y="20"/>
                    <a:pt x="10" y="20"/>
                  </a:cubicBezTo>
                  <a:cubicBezTo>
                    <a:pt x="9" y="20"/>
                    <a:pt x="8" y="20"/>
                    <a:pt x="7" y="20"/>
                  </a:cubicBezTo>
                  <a:cubicBezTo>
                    <a:pt x="6" y="19"/>
                    <a:pt x="6" y="19"/>
                    <a:pt x="5" y="18"/>
                  </a:cubicBezTo>
                  <a:cubicBezTo>
                    <a:pt x="5" y="17"/>
                    <a:pt x="4" y="17"/>
                    <a:pt x="4" y="16"/>
                  </a:cubicBezTo>
                  <a:cubicBezTo>
                    <a:pt x="4" y="14"/>
                    <a:pt x="4" y="13"/>
                    <a:pt x="4" y="12"/>
                  </a:cubicBezTo>
                  <a:cubicBezTo>
                    <a:pt x="4" y="9"/>
                    <a:pt x="4" y="7"/>
                    <a:pt x="5" y="6"/>
                  </a:cubicBezTo>
                  <a:cubicBezTo>
                    <a:pt x="6" y="4"/>
                    <a:pt x="8" y="4"/>
                    <a:pt x="9" y="4"/>
                  </a:cubicBezTo>
                  <a:cubicBezTo>
                    <a:pt x="10" y="4"/>
                    <a:pt x="11" y="4"/>
                    <a:pt x="12" y="4"/>
                  </a:cubicBezTo>
                  <a:cubicBezTo>
                    <a:pt x="12" y="4"/>
                    <a:pt x="13" y="4"/>
                    <a:pt x="13" y="5"/>
                  </a:cubicBezTo>
                  <a:cubicBezTo>
                    <a:pt x="14" y="5"/>
                    <a:pt x="14" y="5"/>
                    <a:pt x="15" y="6"/>
                  </a:cubicBezTo>
                  <a:cubicBezTo>
                    <a:pt x="15" y="6"/>
                    <a:pt x="15" y="6"/>
                    <a:pt x="15" y="6"/>
                  </a:cubicBezTo>
                  <a:cubicBezTo>
                    <a:pt x="16" y="6"/>
                    <a:pt x="16" y="6"/>
                    <a:pt x="16" y="6"/>
                  </a:cubicBezTo>
                  <a:cubicBezTo>
                    <a:pt x="16" y="5"/>
                    <a:pt x="16" y="5"/>
                    <a:pt x="16" y="4"/>
                  </a:cubicBezTo>
                  <a:cubicBezTo>
                    <a:pt x="16" y="4"/>
                    <a:pt x="16" y="4"/>
                    <a:pt x="16" y="4"/>
                  </a:cubicBezTo>
                  <a:cubicBezTo>
                    <a:pt x="16" y="4"/>
                    <a:pt x="16" y="3"/>
                    <a:pt x="16" y="3"/>
                  </a:cubicBezTo>
                  <a:cubicBezTo>
                    <a:pt x="16" y="3"/>
                    <a:pt x="16" y="3"/>
                    <a:pt x="16" y="3"/>
                  </a:cubicBezTo>
                  <a:cubicBezTo>
                    <a:pt x="16" y="3"/>
                    <a:pt x="16" y="3"/>
                    <a:pt x="15" y="2"/>
                  </a:cubicBezTo>
                  <a:cubicBezTo>
                    <a:pt x="15" y="2"/>
                    <a:pt x="15" y="2"/>
                    <a:pt x="15" y="2"/>
                  </a:cubicBezTo>
                  <a:cubicBezTo>
                    <a:pt x="14" y="1"/>
                    <a:pt x="14" y="1"/>
                    <a:pt x="13" y="1"/>
                  </a:cubicBezTo>
                  <a:cubicBezTo>
                    <a:pt x="13" y="1"/>
                    <a:pt x="12" y="1"/>
                    <a:pt x="11" y="0"/>
                  </a:cubicBezTo>
                  <a:cubicBezTo>
                    <a:pt x="11" y="0"/>
                    <a:pt x="10" y="0"/>
                    <a:pt x="9" y="0"/>
                  </a:cubicBezTo>
                  <a:cubicBezTo>
                    <a:pt x="8" y="0"/>
                    <a:pt x="7" y="1"/>
                    <a:pt x="6" y="1"/>
                  </a:cubicBezTo>
                  <a:cubicBezTo>
                    <a:pt x="4" y="1"/>
                    <a:pt x="3" y="2"/>
                    <a:pt x="2" y="3"/>
                  </a:cubicBezTo>
                  <a:cubicBezTo>
                    <a:pt x="2" y="4"/>
                    <a:pt x="1" y="5"/>
                    <a:pt x="0" y="7"/>
                  </a:cubicBezTo>
                  <a:cubicBezTo>
                    <a:pt x="0" y="8"/>
                    <a:pt x="0" y="10"/>
                    <a:pt x="0" y="12"/>
                  </a:cubicBezTo>
                  <a:cubicBezTo>
                    <a:pt x="0" y="14"/>
                    <a:pt x="0" y="16"/>
                    <a:pt x="0" y="17"/>
                  </a:cubicBezTo>
                  <a:cubicBezTo>
                    <a:pt x="1" y="18"/>
                    <a:pt x="1" y="20"/>
                    <a:pt x="2" y="21"/>
                  </a:cubicBezTo>
                  <a:cubicBezTo>
                    <a:pt x="3" y="21"/>
                    <a:pt x="4" y="22"/>
                    <a:pt x="5" y="23"/>
                  </a:cubicBezTo>
                  <a:cubicBezTo>
                    <a:pt x="6" y="23"/>
                    <a:pt x="7" y="23"/>
                    <a:pt x="9" y="23"/>
                  </a:cubicBezTo>
                  <a:cubicBezTo>
                    <a:pt x="10" y="23"/>
                    <a:pt x="10" y="23"/>
                    <a:pt x="11" y="23"/>
                  </a:cubicBezTo>
                  <a:cubicBezTo>
                    <a:pt x="12" y="23"/>
                    <a:pt x="12" y="23"/>
                    <a:pt x="13" y="23"/>
                  </a:cubicBezTo>
                  <a:cubicBezTo>
                    <a:pt x="14" y="22"/>
                    <a:pt x="14" y="22"/>
                    <a:pt x="15" y="22"/>
                  </a:cubicBezTo>
                  <a:cubicBezTo>
                    <a:pt x="15" y="22"/>
                    <a:pt x="15" y="21"/>
                    <a:pt x="16" y="21"/>
                  </a:cubicBezTo>
                  <a:cubicBezTo>
                    <a:pt x="16" y="21"/>
                    <a:pt x="16" y="21"/>
                    <a:pt x="16" y="21"/>
                  </a:cubicBezTo>
                  <a:cubicBezTo>
                    <a:pt x="16" y="21"/>
                    <a:pt x="16" y="21"/>
                    <a:pt x="16" y="20"/>
                  </a:cubicBezTo>
                  <a:cubicBezTo>
                    <a:pt x="16" y="20"/>
                    <a:pt x="16" y="20"/>
                    <a:pt x="16" y="20"/>
                  </a:cubicBezTo>
                  <a:cubicBezTo>
                    <a:pt x="16" y="20"/>
                    <a:pt x="16" y="19"/>
                    <a:pt x="16" y="19"/>
                  </a:cubicBezTo>
                  <a:cubicBezTo>
                    <a:pt x="16" y="19"/>
                    <a:pt x="16" y="19"/>
                    <a:pt x="16" y="18"/>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Freeform 102">
              <a:extLst>
                <a:ext uri="{FF2B5EF4-FFF2-40B4-BE49-F238E27FC236}">
                  <a16:creationId xmlns:a16="http://schemas.microsoft.com/office/drawing/2014/main" id="{FCB48980-894F-47B1-B0C4-6052DDDFE144}"/>
                </a:ext>
              </a:extLst>
            </p:cNvPr>
            <p:cNvSpPr>
              <a:spLocks/>
            </p:cNvSpPr>
            <p:nvPr/>
          </p:nvSpPr>
          <p:spPr bwMode="auto">
            <a:xfrm>
              <a:off x="5409236" y="3126702"/>
              <a:ext cx="62046" cy="113991"/>
            </a:xfrm>
            <a:custGeom>
              <a:avLst/>
              <a:gdLst>
                <a:gd name="T0" fmla="*/ 17 w 18"/>
                <a:gd name="T1" fmla="*/ 32 h 33"/>
                <a:gd name="T2" fmla="*/ 17 w 18"/>
                <a:gd name="T3" fmla="*/ 31 h 33"/>
                <a:gd name="T4" fmla="*/ 8 w 18"/>
                <a:gd name="T5" fmla="*/ 20 h 33"/>
                <a:gd name="T6" fmla="*/ 16 w 18"/>
                <a:gd name="T7" fmla="*/ 13 h 33"/>
                <a:gd name="T8" fmla="*/ 17 w 18"/>
                <a:gd name="T9" fmla="*/ 12 h 33"/>
                <a:gd name="T10" fmla="*/ 17 w 18"/>
                <a:gd name="T11" fmla="*/ 11 h 33"/>
                <a:gd name="T12" fmla="*/ 17 w 18"/>
                <a:gd name="T13" fmla="*/ 11 h 33"/>
                <a:gd name="T14" fmla="*/ 16 w 18"/>
                <a:gd name="T15" fmla="*/ 11 h 33"/>
                <a:gd name="T16" fmla="*/ 16 w 18"/>
                <a:gd name="T17" fmla="*/ 11 h 33"/>
                <a:gd name="T18" fmla="*/ 15 w 18"/>
                <a:gd name="T19" fmla="*/ 11 h 33"/>
                <a:gd name="T20" fmla="*/ 14 w 18"/>
                <a:gd name="T21" fmla="*/ 11 h 33"/>
                <a:gd name="T22" fmla="*/ 13 w 18"/>
                <a:gd name="T23" fmla="*/ 11 h 33"/>
                <a:gd name="T24" fmla="*/ 13 w 18"/>
                <a:gd name="T25" fmla="*/ 11 h 33"/>
                <a:gd name="T26" fmla="*/ 12 w 18"/>
                <a:gd name="T27" fmla="*/ 11 h 33"/>
                <a:gd name="T28" fmla="*/ 4 w 18"/>
                <a:gd name="T29" fmla="*/ 20 h 33"/>
                <a:gd name="T30" fmla="*/ 4 w 18"/>
                <a:gd name="T31" fmla="*/ 1 h 33"/>
                <a:gd name="T32" fmla="*/ 4 w 18"/>
                <a:gd name="T33" fmla="*/ 1 h 33"/>
                <a:gd name="T34" fmla="*/ 4 w 18"/>
                <a:gd name="T35" fmla="*/ 1 h 33"/>
                <a:gd name="T36" fmla="*/ 3 w 18"/>
                <a:gd name="T37" fmla="*/ 0 h 33"/>
                <a:gd name="T38" fmla="*/ 2 w 18"/>
                <a:gd name="T39" fmla="*/ 0 h 33"/>
                <a:gd name="T40" fmla="*/ 1 w 18"/>
                <a:gd name="T41" fmla="*/ 0 h 33"/>
                <a:gd name="T42" fmla="*/ 1 w 18"/>
                <a:gd name="T43" fmla="*/ 1 h 33"/>
                <a:gd name="T44" fmla="*/ 0 w 18"/>
                <a:gd name="T45" fmla="*/ 1 h 33"/>
                <a:gd name="T46" fmla="*/ 0 w 18"/>
                <a:gd name="T47" fmla="*/ 1 h 33"/>
                <a:gd name="T48" fmla="*/ 0 w 18"/>
                <a:gd name="T49" fmla="*/ 32 h 33"/>
                <a:gd name="T50" fmla="*/ 0 w 18"/>
                <a:gd name="T51" fmla="*/ 33 h 33"/>
                <a:gd name="T52" fmla="*/ 1 w 18"/>
                <a:gd name="T53" fmla="*/ 33 h 33"/>
                <a:gd name="T54" fmla="*/ 1 w 18"/>
                <a:gd name="T55" fmla="*/ 33 h 33"/>
                <a:gd name="T56" fmla="*/ 2 w 18"/>
                <a:gd name="T57" fmla="*/ 33 h 33"/>
                <a:gd name="T58" fmla="*/ 3 w 18"/>
                <a:gd name="T59" fmla="*/ 33 h 33"/>
                <a:gd name="T60" fmla="*/ 4 w 18"/>
                <a:gd name="T61" fmla="*/ 33 h 33"/>
                <a:gd name="T62" fmla="*/ 4 w 18"/>
                <a:gd name="T63" fmla="*/ 33 h 33"/>
                <a:gd name="T64" fmla="*/ 4 w 18"/>
                <a:gd name="T65" fmla="*/ 32 h 33"/>
                <a:gd name="T66" fmla="*/ 4 w 18"/>
                <a:gd name="T67" fmla="*/ 21 h 33"/>
                <a:gd name="T68" fmla="*/ 13 w 18"/>
                <a:gd name="T69" fmla="*/ 32 h 33"/>
                <a:gd name="T70" fmla="*/ 13 w 18"/>
                <a:gd name="T71" fmla="*/ 33 h 33"/>
                <a:gd name="T72" fmla="*/ 14 w 18"/>
                <a:gd name="T73" fmla="*/ 33 h 33"/>
                <a:gd name="T74" fmla="*/ 15 w 18"/>
                <a:gd name="T75" fmla="*/ 33 h 33"/>
                <a:gd name="T76" fmla="*/ 16 w 18"/>
                <a:gd name="T77" fmla="*/ 33 h 33"/>
                <a:gd name="T78" fmla="*/ 17 w 18"/>
                <a:gd name="T79" fmla="*/ 33 h 33"/>
                <a:gd name="T80" fmla="*/ 17 w 18"/>
                <a:gd name="T81" fmla="*/ 33 h 33"/>
                <a:gd name="T82" fmla="*/ 18 w 18"/>
                <a:gd name="T83" fmla="*/ 33 h 33"/>
                <a:gd name="T84" fmla="*/ 18 w 18"/>
                <a:gd name="T85" fmla="*/ 32 h 33"/>
                <a:gd name="T86" fmla="*/ 17 w 18"/>
                <a:gd name="T8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33">
                  <a:moveTo>
                    <a:pt x="17" y="32"/>
                  </a:moveTo>
                  <a:cubicBezTo>
                    <a:pt x="17" y="32"/>
                    <a:pt x="17" y="32"/>
                    <a:pt x="17" y="31"/>
                  </a:cubicBezTo>
                  <a:cubicBezTo>
                    <a:pt x="8" y="20"/>
                    <a:pt x="8" y="20"/>
                    <a:pt x="8" y="20"/>
                  </a:cubicBezTo>
                  <a:cubicBezTo>
                    <a:pt x="16" y="13"/>
                    <a:pt x="16" y="13"/>
                    <a:pt x="16" y="13"/>
                  </a:cubicBezTo>
                  <a:cubicBezTo>
                    <a:pt x="16" y="12"/>
                    <a:pt x="17" y="12"/>
                    <a:pt x="17" y="12"/>
                  </a:cubicBezTo>
                  <a:cubicBezTo>
                    <a:pt x="17" y="12"/>
                    <a:pt x="17" y="11"/>
                    <a:pt x="17" y="11"/>
                  </a:cubicBezTo>
                  <a:cubicBezTo>
                    <a:pt x="17" y="11"/>
                    <a:pt x="17" y="11"/>
                    <a:pt x="17" y="11"/>
                  </a:cubicBezTo>
                  <a:cubicBezTo>
                    <a:pt x="17" y="11"/>
                    <a:pt x="16" y="11"/>
                    <a:pt x="16" y="11"/>
                  </a:cubicBezTo>
                  <a:cubicBezTo>
                    <a:pt x="16" y="11"/>
                    <a:pt x="16" y="11"/>
                    <a:pt x="16" y="11"/>
                  </a:cubicBezTo>
                  <a:cubicBezTo>
                    <a:pt x="15" y="11"/>
                    <a:pt x="15" y="11"/>
                    <a:pt x="15" y="11"/>
                  </a:cubicBezTo>
                  <a:cubicBezTo>
                    <a:pt x="14" y="11"/>
                    <a:pt x="14" y="11"/>
                    <a:pt x="14" y="11"/>
                  </a:cubicBezTo>
                  <a:cubicBezTo>
                    <a:pt x="13" y="11"/>
                    <a:pt x="13" y="11"/>
                    <a:pt x="13" y="11"/>
                  </a:cubicBezTo>
                  <a:cubicBezTo>
                    <a:pt x="13" y="11"/>
                    <a:pt x="13" y="11"/>
                    <a:pt x="13" y="11"/>
                  </a:cubicBezTo>
                  <a:cubicBezTo>
                    <a:pt x="12" y="11"/>
                    <a:pt x="12" y="11"/>
                    <a:pt x="12" y="11"/>
                  </a:cubicBezTo>
                  <a:cubicBezTo>
                    <a:pt x="4" y="20"/>
                    <a:pt x="4" y="20"/>
                    <a:pt x="4" y="20"/>
                  </a:cubicBezTo>
                  <a:cubicBezTo>
                    <a:pt x="4" y="1"/>
                    <a:pt x="4" y="1"/>
                    <a:pt x="4" y="1"/>
                  </a:cubicBezTo>
                  <a:cubicBezTo>
                    <a:pt x="4" y="1"/>
                    <a:pt x="4" y="1"/>
                    <a:pt x="4" y="1"/>
                  </a:cubicBezTo>
                  <a:cubicBezTo>
                    <a:pt x="4" y="1"/>
                    <a:pt x="4" y="1"/>
                    <a:pt x="4" y="1"/>
                  </a:cubicBezTo>
                  <a:cubicBezTo>
                    <a:pt x="4" y="0"/>
                    <a:pt x="3" y="0"/>
                    <a:pt x="3" y="0"/>
                  </a:cubicBezTo>
                  <a:cubicBezTo>
                    <a:pt x="3" y="0"/>
                    <a:pt x="3" y="0"/>
                    <a:pt x="2" y="0"/>
                  </a:cubicBezTo>
                  <a:cubicBezTo>
                    <a:pt x="2" y="0"/>
                    <a:pt x="2" y="0"/>
                    <a:pt x="1" y="0"/>
                  </a:cubicBezTo>
                  <a:cubicBezTo>
                    <a:pt x="1" y="0"/>
                    <a:pt x="1" y="0"/>
                    <a:pt x="1" y="1"/>
                  </a:cubicBezTo>
                  <a:cubicBezTo>
                    <a:pt x="1" y="1"/>
                    <a:pt x="0" y="1"/>
                    <a:pt x="0" y="1"/>
                  </a:cubicBezTo>
                  <a:cubicBezTo>
                    <a:pt x="0" y="1"/>
                    <a:pt x="0" y="1"/>
                    <a:pt x="0" y="1"/>
                  </a:cubicBezTo>
                  <a:cubicBezTo>
                    <a:pt x="0" y="32"/>
                    <a:pt x="0" y="32"/>
                    <a:pt x="0" y="32"/>
                  </a:cubicBezTo>
                  <a:cubicBezTo>
                    <a:pt x="0" y="33"/>
                    <a:pt x="0" y="33"/>
                    <a:pt x="0" y="33"/>
                  </a:cubicBezTo>
                  <a:cubicBezTo>
                    <a:pt x="0" y="33"/>
                    <a:pt x="1" y="33"/>
                    <a:pt x="1" y="33"/>
                  </a:cubicBezTo>
                  <a:cubicBezTo>
                    <a:pt x="1" y="33"/>
                    <a:pt x="1" y="33"/>
                    <a:pt x="1" y="33"/>
                  </a:cubicBezTo>
                  <a:cubicBezTo>
                    <a:pt x="2" y="33"/>
                    <a:pt x="2" y="33"/>
                    <a:pt x="2" y="33"/>
                  </a:cubicBezTo>
                  <a:cubicBezTo>
                    <a:pt x="3" y="33"/>
                    <a:pt x="3" y="33"/>
                    <a:pt x="3" y="33"/>
                  </a:cubicBezTo>
                  <a:cubicBezTo>
                    <a:pt x="3" y="33"/>
                    <a:pt x="4" y="33"/>
                    <a:pt x="4" y="33"/>
                  </a:cubicBezTo>
                  <a:cubicBezTo>
                    <a:pt x="4" y="33"/>
                    <a:pt x="4" y="33"/>
                    <a:pt x="4" y="33"/>
                  </a:cubicBezTo>
                  <a:cubicBezTo>
                    <a:pt x="4" y="33"/>
                    <a:pt x="4" y="33"/>
                    <a:pt x="4" y="32"/>
                  </a:cubicBezTo>
                  <a:cubicBezTo>
                    <a:pt x="4" y="21"/>
                    <a:pt x="4" y="21"/>
                    <a:pt x="4" y="21"/>
                  </a:cubicBezTo>
                  <a:cubicBezTo>
                    <a:pt x="13" y="32"/>
                    <a:pt x="13" y="32"/>
                    <a:pt x="13" y="32"/>
                  </a:cubicBezTo>
                  <a:cubicBezTo>
                    <a:pt x="13" y="33"/>
                    <a:pt x="13" y="33"/>
                    <a:pt x="13" y="33"/>
                  </a:cubicBezTo>
                  <a:cubicBezTo>
                    <a:pt x="13" y="33"/>
                    <a:pt x="14" y="33"/>
                    <a:pt x="14" y="33"/>
                  </a:cubicBezTo>
                  <a:cubicBezTo>
                    <a:pt x="14" y="33"/>
                    <a:pt x="14" y="33"/>
                    <a:pt x="15" y="33"/>
                  </a:cubicBezTo>
                  <a:cubicBezTo>
                    <a:pt x="15" y="33"/>
                    <a:pt x="15" y="33"/>
                    <a:pt x="16" y="33"/>
                  </a:cubicBezTo>
                  <a:cubicBezTo>
                    <a:pt x="16" y="33"/>
                    <a:pt x="16" y="33"/>
                    <a:pt x="17" y="33"/>
                  </a:cubicBezTo>
                  <a:cubicBezTo>
                    <a:pt x="17" y="33"/>
                    <a:pt x="17" y="33"/>
                    <a:pt x="17" y="33"/>
                  </a:cubicBezTo>
                  <a:cubicBezTo>
                    <a:pt x="17" y="33"/>
                    <a:pt x="17" y="33"/>
                    <a:pt x="18" y="33"/>
                  </a:cubicBezTo>
                  <a:cubicBezTo>
                    <a:pt x="18" y="33"/>
                    <a:pt x="18" y="33"/>
                    <a:pt x="18" y="32"/>
                  </a:cubicBezTo>
                  <a:cubicBezTo>
                    <a:pt x="18" y="32"/>
                    <a:pt x="18" y="32"/>
                    <a:pt x="17" y="3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103">
              <a:extLst>
                <a:ext uri="{FF2B5EF4-FFF2-40B4-BE49-F238E27FC236}">
                  <a16:creationId xmlns:a16="http://schemas.microsoft.com/office/drawing/2014/main" id="{D9801612-C0C9-41A0-A88F-DF5140108C3B}"/>
                </a:ext>
              </a:extLst>
            </p:cNvPr>
            <p:cNvSpPr>
              <a:spLocks/>
            </p:cNvSpPr>
            <p:nvPr/>
          </p:nvSpPr>
          <p:spPr bwMode="auto">
            <a:xfrm>
              <a:off x="5475610" y="3161332"/>
              <a:ext cx="57717" cy="79361"/>
            </a:xfrm>
            <a:custGeom>
              <a:avLst/>
              <a:gdLst>
                <a:gd name="T0" fmla="*/ 17 w 17"/>
                <a:gd name="T1" fmla="*/ 18 h 23"/>
                <a:gd name="T2" fmla="*/ 17 w 17"/>
                <a:gd name="T3" fmla="*/ 18 h 23"/>
                <a:gd name="T4" fmla="*/ 17 w 17"/>
                <a:gd name="T5" fmla="*/ 18 h 23"/>
                <a:gd name="T6" fmla="*/ 16 w 17"/>
                <a:gd name="T7" fmla="*/ 17 h 23"/>
                <a:gd name="T8" fmla="*/ 16 w 17"/>
                <a:gd name="T9" fmla="*/ 18 h 23"/>
                <a:gd name="T10" fmla="*/ 14 w 17"/>
                <a:gd name="T11" fmla="*/ 19 h 23"/>
                <a:gd name="T12" fmla="*/ 13 w 17"/>
                <a:gd name="T13" fmla="*/ 20 h 23"/>
                <a:gd name="T14" fmla="*/ 10 w 17"/>
                <a:gd name="T15" fmla="*/ 20 h 23"/>
                <a:gd name="T16" fmla="*/ 8 w 17"/>
                <a:gd name="T17" fmla="*/ 20 h 23"/>
                <a:gd name="T18" fmla="*/ 6 w 17"/>
                <a:gd name="T19" fmla="*/ 18 h 23"/>
                <a:gd name="T20" fmla="*/ 5 w 17"/>
                <a:gd name="T21" fmla="*/ 16 h 23"/>
                <a:gd name="T22" fmla="*/ 5 w 17"/>
                <a:gd name="T23" fmla="*/ 12 h 23"/>
                <a:gd name="T24" fmla="*/ 6 w 17"/>
                <a:gd name="T25" fmla="*/ 6 h 23"/>
                <a:gd name="T26" fmla="*/ 10 w 17"/>
                <a:gd name="T27" fmla="*/ 4 h 23"/>
                <a:gd name="T28" fmla="*/ 13 w 17"/>
                <a:gd name="T29" fmla="*/ 4 h 23"/>
                <a:gd name="T30" fmla="*/ 14 w 17"/>
                <a:gd name="T31" fmla="*/ 5 h 23"/>
                <a:gd name="T32" fmla="*/ 15 w 17"/>
                <a:gd name="T33" fmla="*/ 6 h 23"/>
                <a:gd name="T34" fmla="*/ 16 w 17"/>
                <a:gd name="T35" fmla="*/ 6 h 23"/>
                <a:gd name="T36" fmla="*/ 17 w 17"/>
                <a:gd name="T37" fmla="*/ 6 h 23"/>
                <a:gd name="T38" fmla="*/ 17 w 17"/>
                <a:gd name="T39" fmla="*/ 4 h 23"/>
                <a:gd name="T40" fmla="*/ 17 w 17"/>
                <a:gd name="T41" fmla="*/ 4 h 23"/>
                <a:gd name="T42" fmla="*/ 17 w 17"/>
                <a:gd name="T43" fmla="*/ 3 h 23"/>
                <a:gd name="T44" fmla="*/ 17 w 17"/>
                <a:gd name="T45" fmla="*/ 3 h 23"/>
                <a:gd name="T46" fmla="*/ 16 w 17"/>
                <a:gd name="T47" fmla="*/ 2 h 23"/>
                <a:gd name="T48" fmla="*/ 15 w 17"/>
                <a:gd name="T49" fmla="*/ 2 h 23"/>
                <a:gd name="T50" fmla="*/ 14 w 17"/>
                <a:gd name="T51" fmla="*/ 1 h 23"/>
                <a:gd name="T52" fmla="*/ 12 w 17"/>
                <a:gd name="T53" fmla="*/ 0 h 23"/>
                <a:gd name="T54" fmla="*/ 10 w 17"/>
                <a:gd name="T55" fmla="*/ 0 h 23"/>
                <a:gd name="T56" fmla="*/ 6 w 17"/>
                <a:gd name="T57" fmla="*/ 1 h 23"/>
                <a:gd name="T58" fmla="*/ 3 w 17"/>
                <a:gd name="T59" fmla="*/ 3 h 23"/>
                <a:gd name="T60" fmla="*/ 1 w 17"/>
                <a:gd name="T61" fmla="*/ 7 h 23"/>
                <a:gd name="T62" fmla="*/ 0 w 17"/>
                <a:gd name="T63" fmla="*/ 12 h 23"/>
                <a:gd name="T64" fmla="*/ 1 w 17"/>
                <a:gd name="T65" fmla="*/ 17 h 23"/>
                <a:gd name="T66" fmla="*/ 3 w 17"/>
                <a:gd name="T67" fmla="*/ 21 h 23"/>
                <a:gd name="T68" fmla="*/ 6 w 17"/>
                <a:gd name="T69" fmla="*/ 23 h 23"/>
                <a:gd name="T70" fmla="*/ 10 w 17"/>
                <a:gd name="T71" fmla="*/ 23 h 23"/>
                <a:gd name="T72" fmla="*/ 12 w 17"/>
                <a:gd name="T73" fmla="*/ 23 h 23"/>
                <a:gd name="T74" fmla="*/ 14 w 17"/>
                <a:gd name="T75" fmla="*/ 23 h 23"/>
                <a:gd name="T76" fmla="*/ 16 w 17"/>
                <a:gd name="T77" fmla="*/ 22 h 23"/>
                <a:gd name="T78" fmla="*/ 17 w 17"/>
                <a:gd name="T79" fmla="*/ 21 h 23"/>
                <a:gd name="T80" fmla="*/ 17 w 17"/>
                <a:gd name="T81" fmla="*/ 21 h 23"/>
                <a:gd name="T82" fmla="*/ 17 w 17"/>
                <a:gd name="T83" fmla="*/ 20 h 23"/>
                <a:gd name="T84" fmla="*/ 17 w 17"/>
                <a:gd name="T85" fmla="*/ 20 h 23"/>
                <a:gd name="T86" fmla="*/ 17 w 17"/>
                <a:gd name="T87" fmla="*/ 19 h 23"/>
                <a:gd name="T88" fmla="*/ 17 w 17"/>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 h="23">
                  <a:moveTo>
                    <a:pt x="17" y="18"/>
                  </a:moveTo>
                  <a:cubicBezTo>
                    <a:pt x="17" y="18"/>
                    <a:pt x="17" y="18"/>
                    <a:pt x="17" y="18"/>
                  </a:cubicBezTo>
                  <a:cubicBezTo>
                    <a:pt x="17" y="18"/>
                    <a:pt x="17" y="18"/>
                    <a:pt x="17" y="18"/>
                  </a:cubicBezTo>
                  <a:cubicBezTo>
                    <a:pt x="17" y="17"/>
                    <a:pt x="17" y="17"/>
                    <a:pt x="16" y="17"/>
                  </a:cubicBezTo>
                  <a:cubicBezTo>
                    <a:pt x="16" y="17"/>
                    <a:pt x="16" y="18"/>
                    <a:pt x="16" y="18"/>
                  </a:cubicBezTo>
                  <a:cubicBezTo>
                    <a:pt x="15" y="18"/>
                    <a:pt x="15" y="18"/>
                    <a:pt x="14" y="19"/>
                  </a:cubicBezTo>
                  <a:cubicBezTo>
                    <a:pt x="14" y="19"/>
                    <a:pt x="13" y="19"/>
                    <a:pt x="13" y="20"/>
                  </a:cubicBezTo>
                  <a:cubicBezTo>
                    <a:pt x="12" y="20"/>
                    <a:pt x="11" y="20"/>
                    <a:pt x="10" y="20"/>
                  </a:cubicBezTo>
                  <a:cubicBezTo>
                    <a:pt x="9" y="20"/>
                    <a:pt x="9" y="20"/>
                    <a:pt x="8" y="20"/>
                  </a:cubicBezTo>
                  <a:cubicBezTo>
                    <a:pt x="7" y="19"/>
                    <a:pt x="7" y="19"/>
                    <a:pt x="6" y="18"/>
                  </a:cubicBezTo>
                  <a:cubicBezTo>
                    <a:pt x="6" y="17"/>
                    <a:pt x="5" y="17"/>
                    <a:pt x="5" y="16"/>
                  </a:cubicBezTo>
                  <a:cubicBezTo>
                    <a:pt x="5" y="14"/>
                    <a:pt x="5" y="13"/>
                    <a:pt x="5" y="12"/>
                  </a:cubicBezTo>
                  <a:cubicBezTo>
                    <a:pt x="5" y="9"/>
                    <a:pt x="5" y="7"/>
                    <a:pt x="6" y="6"/>
                  </a:cubicBezTo>
                  <a:cubicBezTo>
                    <a:pt x="7" y="4"/>
                    <a:pt x="8" y="4"/>
                    <a:pt x="10" y="4"/>
                  </a:cubicBezTo>
                  <a:cubicBezTo>
                    <a:pt x="11" y="4"/>
                    <a:pt x="12" y="4"/>
                    <a:pt x="13" y="4"/>
                  </a:cubicBezTo>
                  <a:cubicBezTo>
                    <a:pt x="13" y="4"/>
                    <a:pt x="14" y="4"/>
                    <a:pt x="14" y="5"/>
                  </a:cubicBezTo>
                  <a:cubicBezTo>
                    <a:pt x="15" y="5"/>
                    <a:pt x="15" y="5"/>
                    <a:pt x="15" y="6"/>
                  </a:cubicBezTo>
                  <a:cubicBezTo>
                    <a:pt x="16" y="6"/>
                    <a:pt x="16" y="6"/>
                    <a:pt x="16" y="6"/>
                  </a:cubicBezTo>
                  <a:cubicBezTo>
                    <a:pt x="17" y="6"/>
                    <a:pt x="17" y="6"/>
                    <a:pt x="17" y="6"/>
                  </a:cubicBezTo>
                  <a:cubicBezTo>
                    <a:pt x="17" y="5"/>
                    <a:pt x="17" y="5"/>
                    <a:pt x="17" y="4"/>
                  </a:cubicBezTo>
                  <a:cubicBezTo>
                    <a:pt x="17" y="4"/>
                    <a:pt x="17" y="4"/>
                    <a:pt x="17" y="4"/>
                  </a:cubicBezTo>
                  <a:cubicBezTo>
                    <a:pt x="17" y="4"/>
                    <a:pt x="17" y="3"/>
                    <a:pt x="17" y="3"/>
                  </a:cubicBezTo>
                  <a:cubicBezTo>
                    <a:pt x="17" y="3"/>
                    <a:pt x="17" y="3"/>
                    <a:pt x="17" y="3"/>
                  </a:cubicBezTo>
                  <a:cubicBezTo>
                    <a:pt x="17" y="3"/>
                    <a:pt x="17" y="3"/>
                    <a:pt x="16" y="2"/>
                  </a:cubicBezTo>
                  <a:cubicBezTo>
                    <a:pt x="16" y="2"/>
                    <a:pt x="16" y="2"/>
                    <a:pt x="15" y="2"/>
                  </a:cubicBezTo>
                  <a:cubicBezTo>
                    <a:pt x="15" y="1"/>
                    <a:pt x="15" y="1"/>
                    <a:pt x="14" y="1"/>
                  </a:cubicBezTo>
                  <a:cubicBezTo>
                    <a:pt x="13" y="1"/>
                    <a:pt x="13" y="1"/>
                    <a:pt x="12" y="0"/>
                  </a:cubicBezTo>
                  <a:cubicBezTo>
                    <a:pt x="12" y="0"/>
                    <a:pt x="11" y="0"/>
                    <a:pt x="10" y="0"/>
                  </a:cubicBezTo>
                  <a:cubicBezTo>
                    <a:pt x="9" y="0"/>
                    <a:pt x="8" y="1"/>
                    <a:pt x="6" y="1"/>
                  </a:cubicBezTo>
                  <a:cubicBezTo>
                    <a:pt x="5" y="1"/>
                    <a:pt x="4" y="2"/>
                    <a:pt x="3" y="3"/>
                  </a:cubicBezTo>
                  <a:cubicBezTo>
                    <a:pt x="2" y="4"/>
                    <a:pt x="2" y="5"/>
                    <a:pt x="1" y="7"/>
                  </a:cubicBezTo>
                  <a:cubicBezTo>
                    <a:pt x="1" y="8"/>
                    <a:pt x="0" y="10"/>
                    <a:pt x="0" y="12"/>
                  </a:cubicBezTo>
                  <a:cubicBezTo>
                    <a:pt x="0" y="14"/>
                    <a:pt x="1" y="16"/>
                    <a:pt x="1" y="17"/>
                  </a:cubicBezTo>
                  <a:cubicBezTo>
                    <a:pt x="2" y="18"/>
                    <a:pt x="2" y="20"/>
                    <a:pt x="3" y="21"/>
                  </a:cubicBezTo>
                  <a:cubicBezTo>
                    <a:pt x="4" y="21"/>
                    <a:pt x="5" y="22"/>
                    <a:pt x="6" y="23"/>
                  </a:cubicBezTo>
                  <a:cubicBezTo>
                    <a:pt x="7" y="23"/>
                    <a:pt x="8" y="23"/>
                    <a:pt x="10" y="23"/>
                  </a:cubicBezTo>
                  <a:cubicBezTo>
                    <a:pt x="11" y="23"/>
                    <a:pt x="11" y="23"/>
                    <a:pt x="12" y="23"/>
                  </a:cubicBezTo>
                  <a:cubicBezTo>
                    <a:pt x="13" y="23"/>
                    <a:pt x="13" y="23"/>
                    <a:pt x="14" y="23"/>
                  </a:cubicBezTo>
                  <a:cubicBezTo>
                    <a:pt x="15" y="22"/>
                    <a:pt x="15" y="22"/>
                    <a:pt x="16" y="22"/>
                  </a:cubicBezTo>
                  <a:cubicBezTo>
                    <a:pt x="16" y="22"/>
                    <a:pt x="16" y="21"/>
                    <a:pt x="17" y="21"/>
                  </a:cubicBezTo>
                  <a:cubicBezTo>
                    <a:pt x="17" y="21"/>
                    <a:pt x="17" y="21"/>
                    <a:pt x="17" y="21"/>
                  </a:cubicBezTo>
                  <a:cubicBezTo>
                    <a:pt x="17" y="21"/>
                    <a:pt x="17" y="21"/>
                    <a:pt x="17" y="20"/>
                  </a:cubicBezTo>
                  <a:cubicBezTo>
                    <a:pt x="17" y="20"/>
                    <a:pt x="17" y="20"/>
                    <a:pt x="17" y="20"/>
                  </a:cubicBezTo>
                  <a:cubicBezTo>
                    <a:pt x="17" y="20"/>
                    <a:pt x="17" y="19"/>
                    <a:pt x="17" y="19"/>
                  </a:cubicBezTo>
                  <a:cubicBezTo>
                    <a:pt x="17" y="19"/>
                    <a:pt x="17" y="19"/>
                    <a:pt x="17" y="18"/>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104">
              <a:extLst>
                <a:ext uri="{FF2B5EF4-FFF2-40B4-BE49-F238E27FC236}">
                  <a16:creationId xmlns:a16="http://schemas.microsoft.com/office/drawing/2014/main" id="{D72A98CB-1231-48C7-8796-2F38A5B14F79}"/>
                </a:ext>
              </a:extLst>
            </p:cNvPr>
            <p:cNvSpPr>
              <a:spLocks/>
            </p:cNvSpPr>
            <p:nvPr/>
          </p:nvSpPr>
          <p:spPr bwMode="auto">
            <a:xfrm>
              <a:off x="5550641" y="3126702"/>
              <a:ext cx="62046" cy="113991"/>
            </a:xfrm>
            <a:custGeom>
              <a:avLst/>
              <a:gdLst>
                <a:gd name="T0" fmla="*/ 18 w 18"/>
                <a:gd name="T1" fmla="*/ 20 h 33"/>
                <a:gd name="T2" fmla="*/ 18 w 18"/>
                <a:gd name="T3" fmla="*/ 16 h 33"/>
                <a:gd name="T4" fmla="*/ 17 w 18"/>
                <a:gd name="T5" fmla="*/ 13 h 33"/>
                <a:gd name="T6" fmla="*/ 14 w 18"/>
                <a:gd name="T7" fmla="*/ 11 h 33"/>
                <a:gd name="T8" fmla="*/ 11 w 18"/>
                <a:gd name="T9" fmla="*/ 10 h 33"/>
                <a:gd name="T10" fmla="*/ 7 w 18"/>
                <a:gd name="T11" fmla="*/ 11 h 33"/>
                <a:gd name="T12" fmla="*/ 4 w 18"/>
                <a:gd name="T13" fmla="*/ 14 h 33"/>
                <a:gd name="T14" fmla="*/ 4 w 18"/>
                <a:gd name="T15" fmla="*/ 1 h 33"/>
                <a:gd name="T16" fmla="*/ 4 w 18"/>
                <a:gd name="T17" fmla="*/ 1 h 33"/>
                <a:gd name="T18" fmla="*/ 4 w 18"/>
                <a:gd name="T19" fmla="*/ 1 h 33"/>
                <a:gd name="T20" fmla="*/ 3 w 18"/>
                <a:gd name="T21" fmla="*/ 0 h 33"/>
                <a:gd name="T22" fmla="*/ 2 w 18"/>
                <a:gd name="T23" fmla="*/ 0 h 33"/>
                <a:gd name="T24" fmla="*/ 1 w 18"/>
                <a:gd name="T25" fmla="*/ 0 h 33"/>
                <a:gd name="T26" fmla="*/ 1 w 18"/>
                <a:gd name="T27" fmla="*/ 1 h 33"/>
                <a:gd name="T28" fmla="*/ 0 w 18"/>
                <a:gd name="T29" fmla="*/ 1 h 33"/>
                <a:gd name="T30" fmla="*/ 0 w 18"/>
                <a:gd name="T31" fmla="*/ 1 h 33"/>
                <a:gd name="T32" fmla="*/ 0 w 18"/>
                <a:gd name="T33" fmla="*/ 32 h 33"/>
                <a:gd name="T34" fmla="*/ 0 w 18"/>
                <a:gd name="T35" fmla="*/ 33 h 33"/>
                <a:gd name="T36" fmla="*/ 1 w 18"/>
                <a:gd name="T37" fmla="*/ 33 h 33"/>
                <a:gd name="T38" fmla="*/ 1 w 18"/>
                <a:gd name="T39" fmla="*/ 33 h 33"/>
                <a:gd name="T40" fmla="*/ 2 w 18"/>
                <a:gd name="T41" fmla="*/ 33 h 33"/>
                <a:gd name="T42" fmla="*/ 3 w 18"/>
                <a:gd name="T43" fmla="*/ 33 h 33"/>
                <a:gd name="T44" fmla="*/ 4 w 18"/>
                <a:gd name="T45" fmla="*/ 33 h 33"/>
                <a:gd name="T46" fmla="*/ 4 w 18"/>
                <a:gd name="T47" fmla="*/ 33 h 33"/>
                <a:gd name="T48" fmla="*/ 4 w 18"/>
                <a:gd name="T49" fmla="*/ 32 h 33"/>
                <a:gd name="T50" fmla="*/ 4 w 18"/>
                <a:gd name="T51" fmla="*/ 18 h 33"/>
                <a:gd name="T52" fmla="*/ 7 w 18"/>
                <a:gd name="T53" fmla="*/ 15 h 33"/>
                <a:gd name="T54" fmla="*/ 10 w 18"/>
                <a:gd name="T55" fmla="*/ 14 h 33"/>
                <a:gd name="T56" fmla="*/ 12 w 18"/>
                <a:gd name="T57" fmla="*/ 14 h 33"/>
                <a:gd name="T58" fmla="*/ 13 w 18"/>
                <a:gd name="T59" fmla="*/ 15 h 33"/>
                <a:gd name="T60" fmla="*/ 14 w 18"/>
                <a:gd name="T61" fmla="*/ 17 h 33"/>
                <a:gd name="T62" fmla="*/ 14 w 18"/>
                <a:gd name="T63" fmla="*/ 20 h 33"/>
                <a:gd name="T64" fmla="*/ 14 w 18"/>
                <a:gd name="T65" fmla="*/ 32 h 33"/>
                <a:gd name="T66" fmla="*/ 15 w 18"/>
                <a:gd name="T67" fmla="*/ 33 h 33"/>
                <a:gd name="T68" fmla="*/ 15 w 18"/>
                <a:gd name="T69" fmla="*/ 33 h 33"/>
                <a:gd name="T70" fmla="*/ 15 w 18"/>
                <a:gd name="T71" fmla="*/ 33 h 33"/>
                <a:gd name="T72" fmla="*/ 16 w 18"/>
                <a:gd name="T73" fmla="*/ 33 h 33"/>
                <a:gd name="T74" fmla="*/ 17 w 18"/>
                <a:gd name="T75" fmla="*/ 33 h 33"/>
                <a:gd name="T76" fmla="*/ 18 w 18"/>
                <a:gd name="T77" fmla="*/ 33 h 33"/>
                <a:gd name="T78" fmla="*/ 18 w 18"/>
                <a:gd name="T79" fmla="*/ 33 h 33"/>
                <a:gd name="T80" fmla="*/ 18 w 18"/>
                <a:gd name="T81" fmla="*/ 32 h 33"/>
                <a:gd name="T82" fmla="*/ 18 w 18"/>
                <a:gd name="T83"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33">
                  <a:moveTo>
                    <a:pt x="18" y="20"/>
                  </a:moveTo>
                  <a:cubicBezTo>
                    <a:pt x="18" y="18"/>
                    <a:pt x="18" y="17"/>
                    <a:pt x="18" y="16"/>
                  </a:cubicBezTo>
                  <a:cubicBezTo>
                    <a:pt x="18" y="15"/>
                    <a:pt x="17" y="14"/>
                    <a:pt x="17" y="13"/>
                  </a:cubicBezTo>
                  <a:cubicBezTo>
                    <a:pt x="16" y="12"/>
                    <a:pt x="15" y="11"/>
                    <a:pt x="14" y="11"/>
                  </a:cubicBezTo>
                  <a:cubicBezTo>
                    <a:pt x="13" y="11"/>
                    <a:pt x="12" y="10"/>
                    <a:pt x="11" y="10"/>
                  </a:cubicBezTo>
                  <a:cubicBezTo>
                    <a:pt x="10" y="10"/>
                    <a:pt x="9" y="11"/>
                    <a:pt x="7" y="11"/>
                  </a:cubicBezTo>
                  <a:cubicBezTo>
                    <a:pt x="6" y="12"/>
                    <a:pt x="5" y="13"/>
                    <a:pt x="4" y="14"/>
                  </a:cubicBezTo>
                  <a:cubicBezTo>
                    <a:pt x="4" y="1"/>
                    <a:pt x="4" y="1"/>
                    <a:pt x="4" y="1"/>
                  </a:cubicBezTo>
                  <a:cubicBezTo>
                    <a:pt x="4" y="1"/>
                    <a:pt x="4" y="1"/>
                    <a:pt x="4" y="1"/>
                  </a:cubicBezTo>
                  <a:cubicBezTo>
                    <a:pt x="4" y="1"/>
                    <a:pt x="4" y="1"/>
                    <a:pt x="4" y="1"/>
                  </a:cubicBezTo>
                  <a:cubicBezTo>
                    <a:pt x="3" y="0"/>
                    <a:pt x="3" y="0"/>
                    <a:pt x="3" y="0"/>
                  </a:cubicBezTo>
                  <a:cubicBezTo>
                    <a:pt x="3" y="0"/>
                    <a:pt x="2" y="0"/>
                    <a:pt x="2" y="0"/>
                  </a:cubicBezTo>
                  <a:cubicBezTo>
                    <a:pt x="2" y="0"/>
                    <a:pt x="1" y="0"/>
                    <a:pt x="1" y="0"/>
                  </a:cubicBezTo>
                  <a:cubicBezTo>
                    <a:pt x="1" y="0"/>
                    <a:pt x="1" y="0"/>
                    <a:pt x="1" y="1"/>
                  </a:cubicBezTo>
                  <a:cubicBezTo>
                    <a:pt x="0" y="1"/>
                    <a:pt x="0" y="1"/>
                    <a:pt x="0" y="1"/>
                  </a:cubicBezTo>
                  <a:cubicBezTo>
                    <a:pt x="0" y="1"/>
                    <a:pt x="0" y="1"/>
                    <a:pt x="0" y="1"/>
                  </a:cubicBezTo>
                  <a:cubicBezTo>
                    <a:pt x="0" y="32"/>
                    <a:pt x="0" y="32"/>
                    <a:pt x="0" y="32"/>
                  </a:cubicBezTo>
                  <a:cubicBezTo>
                    <a:pt x="0" y="33"/>
                    <a:pt x="0" y="33"/>
                    <a:pt x="0" y="33"/>
                  </a:cubicBezTo>
                  <a:cubicBezTo>
                    <a:pt x="0" y="33"/>
                    <a:pt x="0" y="33"/>
                    <a:pt x="1" y="33"/>
                  </a:cubicBezTo>
                  <a:cubicBezTo>
                    <a:pt x="1" y="33"/>
                    <a:pt x="1" y="33"/>
                    <a:pt x="1" y="33"/>
                  </a:cubicBezTo>
                  <a:cubicBezTo>
                    <a:pt x="1" y="33"/>
                    <a:pt x="2" y="33"/>
                    <a:pt x="2" y="33"/>
                  </a:cubicBezTo>
                  <a:cubicBezTo>
                    <a:pt x="2" y="33"/>
                    <a:pt x="3" y="33"/>
                    <a:pt x="3" y="33"/>
                  </a:cubicBezTo>
                  <a:cubicBezTo>
                    <a:pt x="3" y="33"/>
                    <a:pt x="3" y="33"/>
                    <a:pt x="4" y="33"/>
                  </a:cubicBezTo>
                  <a:cubicBezTo>
                    <a:pt x="4" y="33"/>
                    <a:pt x="4" y="33"/>
                    <a:pt x="4" y="33"/>
                  </a:cubicBezTo>
                  <a:cubicBezTo>
                    <a:pt x="4" y="33"/>
                    <a:pt x="4" y="33"/>
                    <a:pt x="4" y="32"/>
                  </a:cubicBezTo>
                  <a:cubicBezTo>
                    <a:pt x="4" y="18"/>
                    <a:pt x="4" y="18"/>
                    <a:pt x="4" y="18"/>
                  </a:cubicBezTo>
                  <a:cubicBezTo>
                    <a:pt x="5" y="16"/>
                    <a:pt x="6" y="15"/>
                    <a:pt x="7" y="15"/>
                  </a:cubicBezTo>
                  <a:cubicBezTo>
                    <a:pt x="8" y="14"/>
                    <a:pt x="9" y="14"/>
                    <a:pt x="10" y="14"/>
                  </a:cubicBezTo>
                  <a:cubicBezTo>
                    <a:pt x="11" y="14"/>
                    <a:pt x="11" y="14"/>
                    <a:pt x="12" y="14"/>
                  </a:cubicBezTo>
                  <a:cubicBezTo>
                    <a:pt x="13" y="14"/>
                    <a:pt x="13" y="15"/>
                    <a:pt x="13" y="15"/>
                  </a:cubicBezTo>
                  <a:cubicBezTo>
                    <a:pt x="14" y="16"/>
                    <a:pt x="14" y="16"/>
                    <a:pt x="14" y="17"/>
                  </a:cubicBezTo>
                  <a:cubicBezTo>
                    <a:pt x="14" y="18"/>
                    <a:pt x="14" y="19"/>
                    <a:pt x="14" y="20"/>
                  </a:cubicBezTo>
                  <a:cubicBezTo>
                    <a:pt x="14" y="32"/>
                    <a:pt x="14" y="32"/>
                    <a:pt x="14" y="32"/>
                  </a:cubicBezTo>
                  <a:cubicBezTo>
                    <a:pt x="14" y="33"/>
                    <a:pt x="14" y="33"/>
                    <a:pt x="15" y="33"/>
                  </a:cubicBezTo>
                  <a:cubicBezTo>
                    <a:pt x="15" y="33"/>
                    <a:pt x="15" y="33"/>
                    <a:pt x="15" y="33"/>
                  </a:cubicBezTo>
                  <a:cubicBezTo>
                    <a:pt x="15" y="33"/>
                    <a:pt x="15" y="33"/>
                    <a:pt x="15" y="33"/>
                  </a:cubicBezTo>
                  <a:cubicBezTo>
                    <a:pt x="16" y="33"/>
                    <a:pt x="16" y="33"/>
                    <a:pt x="16" y="33"/>
                  </a:cubicBezTo>
                  <a:cubicBezTo>
                    <a:pt x="17" y="33"/>
                    <a:pt x="17" y="33"/>
                    <a:pt x="17" y="33"/>
                  </a:cubicBezTo>
                  <a:cubicBezTo>
                    <a:pt x="18" y="33"/>
                    <a:pt x="18" y="33"/>
                    <a:pt x="18" y="33"/>
                  </a:cubicBezTo>
                  <a:cubicBezTo>
                    <a:pt x="18" y="33"/>
                    <a:pt x="18" y="33"/>
                    <a:pt x="18" y="33"/>
                  </a:cubicBezTo>
                  <a:cubicBezTo>
                    <a:pt x="18" y="33"/>
                    <a:pt x="18" y="33"/>
                    <a:pt x="18" y="32"/>
                  </a:cubicBezTo>
                  <a:cubicBezTo>
                    <a:pt x="18" y="20"/>
                    <a:pt x="18" y="20"/>
                    <a:pt x="18" y="2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105">
              <a:extLst>
                <a:ext uri="{FF2B5EF4-FFF2-40B4-BE49-F238E27FC236}">
                  <a16:creationId xmlns:a16="http://schemas.microsoft.com/office/drawing/2014/main" id="{097282CD-B2B3-4BE0-A192-D502060383C3}"/>
                </a:ext>
              </a:extLst>
            </p:cNvPr>
            <p:cNvSpPr>
              <a:spLocks noEditPoints="1"/>
            </p:cNvSpPr>
            <p:nvPr/>
          </p:nvSpPr>
          <p:spPr bwMode="auto">
            <a:xfrm>
              <a:off x="5632887" y="3161332"/>
              <a:ext cx="57717" cy="79361"/>
            </a:xfrm>
            <a:custGeom>
              <a:avLst/>
              <a:gdLst>
                <a:gd name="T0" fmla="*/ 17 w 17"/>
                <a:gd name="T1" fmla="*/ 8 h 23"/>
                <a:gd name="T2" fmla="*/ 17 w 17"/>
                <a:gd name="T3" fmla="*/ 5 h 23"/>
                <a:gd name="T4" fmla="*/ 16 w 17"/>
                <a:gd name="T5" fmla="*/ 2 h 23"/>
                <a:gd name="T6" fmla="*/ 13 w 17"/>
                <a:gd name="T7" fmla="*/ 1 h 23"/>
                <a:gd name="T8" fmla="*/ 9 w 17"/>
                <a:gd name="T9" fmla="*/ 0 h 23"/>
                <a:gd name="T10" fmla="*/ 7 w 17"/>
                <a:gd name="T11" fmla="*/ 1 h 23"/>
                <a:gd name="T12" fmla="*/ 5 w 17"/>
                <a:gd name="T13" fmla="*/ 1 h 23"/>
                <a:gd name="T14" fmla="*/ 3 w 17"/>
                <a:gd name="T15" fmla="*/ 2 h 23"/>
                <a:gd name="T16" fmla="*/ 2 w 17"/>
                <a:gd name="T17" fmla="*/ 3 h 23"/>
                <a:gd name="T18" fmla="*/ 1 w 17"/>
                <a:gd name="T19" fmla="*/ 3 h 23"/>
                <a:gd name="T20" fmla="*/ 1 w 17"/>
                <a:gd name="T21" fmla="*/ 4 h 23"/>
                <a:gd name="T22" fmla="*/ 1 w 17"/>
                <a:gd name="T23" fmla="*/ 5 h 23"/>
                <a:gd name="T24" fmla="*/ 1 w 17"/>
                <a:gd name="T25" fmla="*/ 5 h 23"/>
                <a:gd name="T26" fmla="*/ 2 w 17"/>
                <a:gd name="T27" fmla="*/ 6 h 23"/>
                <a:gd name="T28" fmla="*/ 2 w 17"/>
                <a:gd name="T29" fmla="*/ 6 h 23"/>
                <a:gd name="T30" fmla="*/ 3 w 17"/>
                <a:gd name="T31" fmla="*/ 5 h 23"/>
                <a:gd name="T32" fmla="*/ 4 w 17"/>
                <a:gd name="T33" fmla="*/ 5 h 23"/>
                <a:gd name="T34" fmla="*/ 6 w 17"/>
                <a:gd name="T35" fmla="*/ 4 h 23"/>
                <a:gd name="T36" fmla="*/ 9 w 17"/>
                <a:gd name="T37" fmla="*/ 3 h 23"/>
                <a:gd name="T38" fmla="*/ 11 w 17"/>
                <a:gd name="T39" fmla="*/ 4 h 23"/>
                <a:gd name="T40" fmla="*/ 13 w 17"/>
                <a:gd name="T41" fmla="*/ 5 h 23"/>
                <a:gd name="T42" fmla="*/ 13 w 17"/>
                <a:gd name="T43" fmla="*/ 6 h 23"/>
                <a:gd name="T44" fmla="*/ 14 w 17"/>
                <a:gd name="T45" fmla="*/ 8 h 23"/>
                <a:gd name="T46" fmla="*/ 14 w 17"/>
                <a:gd name="T47" fmla="*/ 10 h 23"/>
                <a:gd name="T48" fmla="*/ 11 w 17"/>
                <a:gd name="T49" fmla="*/ 10 h 23"/>
                <a:gd name="T50" fmla="*/ 6 w 17"/>
                <a:gd name="T51" fmla="*/ 10 h 23"/>
                <a:gd name="T52" fmla="*/ 3 w 17"/>
                <a:gd name="T53" fmla="*/ 12 h 23"/>
                <a:gd name="T54" fmla="*/ 1 w 17"/>
                <a:gd name="T55" fmla="*/ 14 h 23"/>
                <a:gd name="T56" fmla="*/ 0 w 17"/>
                <a:gd name="T57" fmla="*/ 17 h 23"/>
                <a:gd name="T58" fmla="*/ 1 w 17"/>
                <a:gd name="T59" fmla="*/ 20 h 23"/>
                <a:gd name="T60" fmla="*/ 2 w 17"/>
                <a:gd name="T61" fmla="*/ 22 h 23"/>
                <a:gd name="T62" fmla="*/ 4 w 17"/>
                <a:gd name="T63" fmla="*/ 23 h 23"/>
                <a:gd name="T64" fmla="*/ 7 w 17"/>
                <a:gd name="T65" fmla="*/ 23 h 23"/>
                <a:gd name="T66" fmla="*/ 11 w 17"/>
                <a:gd name="T67" fmla="*/ 23 h 23"/>
                <a:gd name="T68" fmla="*/ 14 w 17"/>
                <a:gd name="T69" fmla="*/ 20 h 23"/>
                <a:gd name="T70" fmla="*/ 14 w 17"/>
                <a:gd name="T71" fmla="*/ 22 h 23"/>
                <a:gd name="T72" fmla="*/ 14 w 17"/>
                <a:gd name="T73" fmla="*/ 23 h 23"/>
                <a:gd name="T74" fmla="*/ 15 w 17"/>
                <a:gd name="T75" fmla="*/ 23 h 23"/>
                <a:gd name="T76" fmla="*/ 16 w 17"/>
                <a:gd name="T77" fmla="*/ 23 h 23"/>
                <a:gd name="T78" fmla="*/ 17 w 17"/>
                <a:gd name="T79" fmla="*/ 23 h 23"/>
                <a:gd name="T80" fmla="*/ 17 w 17"/>
                <a:gd name="T81" fmla="*/ 23 h 23"/>
                <a:gd name="T82" fmla="*/ 17 w 17"/>
                <a:gd name="T83" fmla="*/ 22 h 23"/>
                <a:gd name="T84" fmla="*/ 17 w 17"/>
                <a:gd name="T85" fmla="*/ 8 h 23"/>
                <a:gd name="T86" fmla="*/ 14 w 17"/>
                <a:gd name="T87" fmla="*/ 17 h 23"/>
                <a:gd name="T88" fmla="*/ 11 w 17"/>
                <a:gd name="T89" fmla="*/ 20 h 23"/>
                <a:gd name="T90" fmla="*/ 8 w 17"/>
                <a:gd name="T91" fmla="*/ 20 h 23"/>
                <a:gd name="T92" fmla="*/ 5 w 17"/>
                <a:gd name="T93" fmla="*/ 19 h 23"/>
                <a:gd name="T94" fmla="*/ 4 w 17"/>
                <a:gd name="T95" fmla="*/ 17 h 23"/>
                <a:gd name="T96" fmla="*/ 4 w 17"/>
                <a:gd name="T97" fmla="*/ 15 h 23"/>
                <a:gd name="T98" fmla="*/ 6 w 17"/>
                <a:gd name="T99" fmla="*/ 14 h 23"/>
                <a:gd name="T100" fmla="*/ 8 w 17"/>
                <a:gd name="T101" fmla="*/ 13 h 23"/>
                <a:gd name="T102" fmla="*/ 10 w 17"/>
                <a:gd name="T103" fmla="*/ 13 h 23"/>
                <a:gd name="T104" fmla="*/ 14 w 17"/>
                <a:gd name="T105" fmla="*/ 13 h 23"/>
                <a:gd name="T106" fmla="*/ 14 w 17"/>
                <a:gd name="T10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 h="23">
                  <a:moveTo>
                    <a:pt x="17" y="8"/>
                  </a:moveTo>
                  <a:cubicBezTo>
                    <a:pt x="17" y="7"/>
                    <a:pt x="17" y="6"/>
                    <a:pt x="17" y="5"/>
                  </a:cubicBezTo>
                  <a:cubicBezTo>
                    <a:pt x="17" y="4"/>
                    <a:pt x="16" y="3"/>
                    <a:pt x="16" y="2"/>
                  </a:cubicBezTo>
                  <a:cubicBezTo>
                    <a:pt x="15" y="2"/>
                    <a:pt x="14" y="1"/>
                    <a:pt x="13" y="1"/>
                  </a:cubicBezTo>
                  <a:cubicBezTo>
                    <a:pt x="12" y="0"/>
                    <a:pt x="11" y="0"/>
                    <a:pt x="9" y="0"/>
                  </a:cubicBezTo>
                  <a:cubicBezTo>
                    <a:pt x="8" y="0"/>
                    <a:pt x="8" y="0"/>
                    <a:pt x="7" y="1"/>
                  </a:cubicBezTo>
                  <a:cubicBezTo>
                    <a:pt x="6" y="1"/>
                    <a:pt x="5" y="1"/>
                    <a:pt x="5" y="1"/>
                  </a:cubicBezTo>
                  <a:cubicBezTo>
                    <a:pt x="4" y="1"/>
                    <a:pt x="3" y="2"/>
                    <a:pt x="3" y="2"/>
                  </a:cubicBezTo>
                  <a:cubicBezTo>
                    <a:pt x="2" y="2"/>
                    <a:pt x="2" y="2"/>
                    <a:pt x="2" y="3"/>
                  </a:cubicBezTo>
                  <a:cubicBezTo>
                    <a:pt x="1" y="3"/>
                    <a:pt x="1" y="3"/>
                    <a:pt x="1" y="3"/>
                  </a:cubicBezTo>
                  <a:cubicBezTo>
                    <a:pt x="1" y="3"/>
                    <a:pt x="1" y="4"/>
                    <a:pt x="1" y="4"/>
                  </a:cubicBezTo>
                  <a:cubicBezTo>
                    <a:pt x="1" y="4"/>
                    <a:pt x="1" y="5"/>
                    <a:pt x="1" y="5"/>
                  </a:cubicBezTo>
                  <a:cubicBezTo>
                    <a:pt x="1" y="5"/>
                    <a:pt x="1" y="5"/>
                    <a:pt x="1" y="5"/>
                  </a:cubicBezTo>
                  <a:cubicBezTo>
                    <a:pt x="1" y="5"/>
                    <a:pt x="2" y="5"/>
                    <a:pt x="2" y="6"/>
                  </a:cubicBezTo>
                  <a:cubicBezTo>
                    <a:pt x="2" y="6"/>
                    <a:pt x="2" y="6"/>
                    <a:pt x="2" y="6"/>
                  </a:cubicBezTo>
                  <a:cubicBezTo>
                    <a:pt x="2" y="6"/>
                    <a:pt x="2" y="5"/>
                    <a:pt x="3" y="5"/>
                  </a:cubicBezTo>
                  <a:cubicBezTo>
                    <a:pt x="3" y="5"/>
                    <a:pt x="4" y="5"/>
                    <a:pt x="4" y="5"/>
                  </a:cubicBezTo>
                  <a:cubicBezTo>
                    <a:pt x="5" y="4"/>
                    <a:pt x="5" y="4"/>
                    <a:pt x="6" y="4"/>
                  </a:cubicBezTo>
                  <a:cubicBezTo>
                    <a:pt x="7" y="4"/>
                    <a:pt x="8" y="3"/>
                    <a:pt x="9" y="3"/>
                  </a:cubicBezTo>
                  <a:cubicBezTo>
                    <a:pt x="10" y="3"/>
                    <a:pt x="10" y="4"/>
                    <a:pt x="11" y="4"/>
                  </a:cubicBezTo>
                  <a:cubicBezTo>
                    <a:pt x="12" y="4"/>
                    <a:pt x="12" y="4"/>
                    <a:pt x="13" y="5"/>
                  </a:cubicBezTo>
                  <a:cubicBezTo>
                    <a:pt x="13" y="5"/>
                    <a:pt x="13" y="6"/>
                    <a:pt x="13" y="6"/>
                  </a:cubicBezTo>
                  <a:cubicBezTo>
                    <a:pt x="14" y="7"/>
                    <a:pt x="14" y="8"/>
                    <a:pt x="14" y="8"/>
                  </a:cubicBezTo>
                  <a:cubicBezTo>
                    <a:pt x="14" y="10"/>
                    <a:pt x="14" y="10"/>
                    <a:pt x="14" y="10"/>
                  </a:cubicBezTo>
                  <a:cubicBezTo>
                    <a:pt x="11" y="10"/>
                    <a:pt x="11" y="10"/>
                    <a:pt x="11" y="10"/>
                  </a:cubicBezTo>
                  <a:cubicBezTo>
                    <a:pt x="9" y="10"/>
                    <a:pt x="8" y="10"/>
                    <a:pt x="6" y="10"/>
                  </a:cubicBezTo>
                  <a:cubicBezTo>
                    <a:pt x="5" y="11"/>
                    <a:pt x="4" y="11"/>
                    <a:pt x="3" y="12"/>
                  </a:cubicBezTo>
                  <a:cubicBezTo>
                    <a:pt x="2" y="12"/>
                    <a:pt x="1" y="13"/>
                    <a:pt x="1" y="14"/>
                  </a:cubicBezTo>
                  <a:cubicBezTo>
                    <a:pt x="0" y="15"/>
                    <a:pt x="0" y="16"/>
                    <a:pt x="0" y="17"/>
                  </a:cubicBezTo>
                  <a:cubicBezTo>
                    <a:pt x="0" y="18"/>
                    <a:pt x="0" y="19"/>
                    <a:pt x="1" y="20"/>
                  </a:cubicBezTo>
                  <a:cubicBezTo>
                    <a:pt x="1" y="21"/>
                    <a:pt x="2" y="21"/>
                    <a:pt x="2" y="22"/>
                  </a:cubicBezTo>
                  <a:cubicBezTo>
                    <a:pt x="3" y="22"/>
                    <a:pt x="4" y="23"/>
                    <a:pt x="4" y="23"/>
                  </a:cubicBezTo>
                  <a:cubicBezTo>
                    <a:pt x="5" y="23"/>
                    <a:pt x="6" y="23"/>
                    <a:pt x="7" y="23"/>
                  </a:cubicBezTo>
                  <a:cubicBezTo>
                    <a:pt x="9" y="23"/>
                    <a:pt x="10" y="23"/>
                    <a:pt x="11" y="23"/>
                  </a:cubicBezTo>
                  <a:cubicBezTo>
                    <a:pt x="12" y="22"/>
                    <a:pt x="13" y="21"/>
                    <a:pt x="14" y="20"/>
                  </a:cubicBezTo>
                  <a:cubicBezTo>
                    <a:pt x="14" y="22"/>
                    <a:pt x="14" y="22"/>
                    <a:pt x="14" y="22"/>
                  </a:cubicBezTo>
                  <a:cubicBezTo>
                    <a:pt x="14" y="23"/>
                    <a:pt x="14" y="23"/>
                    <a:pt x="14" y="23"/>
                  </a:cubicBezTo>
                  <a:cubicBezTo>
                    <a:pt x="14" y="23"/>
                    <a:pt x="15" y="23"/>
                    <a:pt x="15" y="23"/>
                  </a:cubicBezTo>
                  <a:cubicBezTo>
                    <a:pt x="15" y="23"/>
                    <a:pt x="15" y="23"/>
                    <a:pt x="16" y="23"/>
                  </a:cubicBezTo>
                  <a:cubicBezTo>
                    <a:pt x="16" y="23"/>
                    <a:pt x="17" y="23"/>
                    <a:pt x="17" y="23"/>
                  </a:cubicBezTo>
                  <a:cubicBezTo>
                    <a:pt x="17" y="23"/>
                    <a:pt x="17" y="23"/>
                    <a:pt x="17" y="23"/>
                  </a:cubicBezTo>
                  <a:cubicBezTo>
                    <a:pt x="17" y="23"/>
                    <a:pt x="17" y="23"/>
                    <a:pt x="17" y="22"/>
                  </a:cubicBezTo>
                  <a:cubicBezTo>
                    <a:pt x="17" y="8"/>
                    <a:pt x="17" y="8"/>
                    <a:pt x="17" y="8"/>
                  </a:cubicBezTo>
                  <a:close/>
                  <a:moveTo>
                    <a:pt x="14" y="17"/>
                  </a:moveTo>
                  <a:cubicBezTo>
                    <a:pt x="13" y="18"/>
                    <a:pt x="12" y="19"/>
                    <a:pt x="11" y="20"/>
                  </a:cubicBezTo>
                  <a:cubicBezTo>
                    <a:pt x="10" y="20"/>
                    <a:pt x="9" y="20"/>
                    <a:pt x="8" y="20"/>
                  </a:cubicBezTo>
                  <a:cubicBezTo>
                    <a:pt x="7" y="20"/>
                    <a:pt x="6" y="20"/>
                    <a:pt x="5" y="19"/>
                  </a:cubicBezTo>
                  <a:cubicBezTo>
                    <a:pt x="4" y="19"/>
                    <a:pt x="4" y="18"/>
                    <a:pt x="4" y="17"/>
                  </a:cubicBezTo>
                  <a:cubicBezTo>
                    <a:pt x="4" y="16"/>
                    <a:pt x="4" y="16"/>
                    <a:pt x="4" y="15"/>
                  </a:cubicBezTo>
                  <a:cubicBezTo>
                    <a:pt x="5" y="15"/>
                    <a:pt x="5" y="14"/>
                    <a:pt x="6" y="14"/>
                  </a:cubicBezTo>
                  <a:cubicBezTo>
                    <a:pt x="6" y="14"/>
                    <a:pt x="7" y="13"/>
                    <a:pt x="8" y="13"/>
                  </a:cubicBezTo>
                  <a:cubicBezTo>
                    <a:pt x="8" y="13"/>
                    <a:pt x="9" y="13"/>
                    <a:pt x="10" y="13"/>
                  </a:cubicBezTo>
                  <a:cubicBezTo>
                    <a:pt x="14" y="13"/>
                    <a:pt x="14" y="13"/>
                    <a:pt x="14" y="13"/>
                  </a:cubicBezTo>
                  <a:cubicBezTo>
                    <a:pt x="14" y="17"/>
                    <a:pt x="14" y="17"/>
                    <a:pt x="14" y="17"/>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106">
              <a:extLst>
                <a:ext uri="{FF2B5EF4-FFF2-40B4-BE49-F238E27FC236}">
                  <a16:creationId xmlns:a16="http://schemas.microsoft.com/office/drawing/2014/main" id="{71665E6E-F989-4970-8A7A-094412A31799}"/>
                </a:ext>
              </a:extLst>
            </p:cNvPr>
            <p:cNvSpPr>
              <a:spLocks noEditPoints="1"/>
            </p:cNvSpPr>
            <p:nvPr/>
          </p:nvSpPr>
          <p:spPr bwMode="auto">
            <a:xfrm>
              <a:off x="5715133" y="3133917"/>
              <a:ext cx="17315" cy="106776"/>
            </a:xfrm>
            <a:custGeom>
              <a:avLst/>
              <a:gdLst>
                <a:gd name="T0" fmla="*/ 4 w 5"/>
                <a:gd name="T1" fmla="*/ 9 h 31"/>
                <a:gd name="T2" fmla="*/ 4 w 5"/>
                <a:gd name="T3" fmla="*/ 9 h 31"/>
                <a:gd name="T4" fmla="*/ 4 w 5"/>
                <a:gd name="T5" fmla="*/ 9 h 31"/>
                <a:gd name="T6" fmla="*/ 3 w 5"/>
                <a:gd name="T7" fmla="*/ 9 h 31"/>
                <a:gd name="T8" fmla="*/ 3 w 5"/>
                <a:gd name="T9" fmla="*/ 9 h 31"/>
                <a:gd name="T10" fmla="*/ 2 w 5"/>
                <a:gd name="T11" fmla="*/ 9 h 31"/>
                <a:gd name="T12" fmla="*/ 1 w 5"/>
                <a:gd name="T13" fmla="*/ 9 h 31"/>
                <a:gd name="T14" fmla="*/ 1 w 5"/>
                <a:gd name="T15" fmla="*/ 9 h 31"/>
                <a:gd name="T16" fmla="*/ 1 w 5"/>
                <a:gd name="T17" fmla="*/ 9 h 31"/>
                <a:gd name="T18" fmla="*/ 1 w 5"/>
                <a:gd name="T19" fmla="*/ 30 h 31"/>
                <a:gd name="T20" fmla="*/ 1 w 5"/>
                <a:gd name="T21" fmla="*/ 31 h 31"/>
                <a:gd name="T22" fmla="*/ 1 w 5"/>
                <a:gd name="T23" fmla="*/ 31 h 31"/>
                <a:gd name="T24" fmla="*/ 2 w 5"/>
                <a:gd name="T25" fmla="*/ 31 h 31"/>
                <a:gd name="T26" fmla="*/ 3 w 5"/>
                <a:gd name="T27" fmla="*/ 31 h 31"/>
                <a:gd name="T28" fmla="*/ 3 w 5"/>
                <a:gd name="T29" fmla="*/ 31 h 31"/>
                <a:gd name="T30" fmla="*/ 4 w 5"/>
                <a:gd name="T31" fmla="*/ 31 h 31"/>
                <a:gd name="T32" fmla="*/ 4 w 5"/>
                <a:gd name="T33" fmla="*/ 31 h 31"/>
                <a:gd name="T34" fmla="*/ 4 w 5"/>
                <a:gd name="T35" fmla="*/ 30 h 31"/>
                <a:gd name="T36" fmla="*/ 4 w 5"/>
                <a:gd name="T37" fmla="*/ 9 h 31"/>
                <a:gd name="T38" fmla="*/ 4 w 5"/>
                <a:gd name="T39" fmla="*/ 0 h 31"/>
                <a:gd name="T40" fmla="*/ 3 w 5"/>
                <a:gd name="T41" fmla="*/ 0 h 31"/>
                <a:gd name="T42" fmla="*/ 1 w 5"/>
                <a:gd name="T43" fmla="*/ 0 h 31"/>
                <a:gd name="T44" fmla="*/ 0 w 5"/>
                <a:gd name="T45" fmla="*/ 2 h 31"/>
                <a:gd name="T46" fmla="*/ 1 w 5"/>
                <a:gd name="T47" fmla="*/ 4 h 31"/>
                <a:gd name="T48" fmla="*/ 3 w 5"/>
                <a:gd name="T49" fmla="*/ 5 h 31"/>
                <a:gd name="T50" fmla="*/ 4 w 5"/>
                <a:gd name="T51" fmla="*/ 4 h 31"/>
                <a:gd name="T52" fmla="*/ 5 w 5"/>
                <a:gd name="T53" fmla="*/ 2 h 31"/>
                <a:gd name="T54" fmla="*/ 4 w 5"/>
                <a:gd name="T5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4" y="9"/>
                  </a:moveTo>
                  <a:cubicBezTo>
                    <a:pt x="4" y="9"/>
                    <a:pt x="4" y="9"/>
                    <a:pt x="4" y="9"/>
                  </a:cubicBezTo>
                  <a:cubicBezTo>
                    <a:pt x="4" y="9"/>
                    <a:pt x="4" y="9"/>
                    <a:pt x="4" y="9"/>
                  </a:cubicBezTo>
                  <a:cubicBezTo>
                    <a:pt x="4" y="9"/>
                    <a:pt x="4" y="9"/>
                    <a:pt x="3" y="9"/>
                  </a:cubicBezTo>
                  <a:cubicBezTo>
                    <a:pt x="3" y="9"/>
                    <a:pt x="3" y="9"/>
                    <a:pt x="3" y="9"/>
                  </a:cubicBezTo>
                  <a:cubicBezTo>
                    <a:pt x="2" y="9"/>
                    <a:pt x="2" y="9"/>
                    <a:pt x="2" y="9"/>
                  </a:cubicBezTo>
                  <a:cubicBezTo>
                    <a:pt x="1" y="9"/>
                    <a:pt x="1" y="9"/>
                    <a:pt x="1" y="9"/>
                  </a:cubicBezTo>
                  <a:cubicBezTo>
                    <a:pt x="1" y="9"/>
                    <a:pt x="1" y="9"/>
                    <a:pt x="1" y="9"/>
                  </a:cubicBezTo>
                  <a:cubicBezTo>
                    <a:pt x="1" y="9"/>
                    <a:pt x="1" y="9"/>
                    <a:pt x="1" y="9"/>
                  </a:cubicBezTo>
                  <a:cubicBezTo>
                    <a:pt x="1" y="30"/>
                    <a:pt x="1" y="30"/>
                    <a:pt x="1" y="30"/>
                  </a:cubicBezTo>
                  <a:cubicBezTo>
                    <a:pt x="1" y="31"/>
                    <a:pt x="1" y="31"/>
                    <a:pt x="1" y="31"/>
                  </a:cubicBezTo>
                  <a:cubicBezTo>
                    <a:pt x="1" y="31"/>
                    <a:pt x="1" y="31"/>
                    <a:pt x="1" y="31"/>
                  </a:cubicBezTo>
                  <a:cubicBezTo>
                    <a:pt x="1" y="31"/>
                    <a:pt x="1" y="31"/>
                    <a:pt x="2" y="31"/>
                  </a:cubicBezTo>
                  <a:cubicBezTo>
                    <a:pt x="2" y="31"/>
                    <a:pt x="2" y="31"/>
                    <a:pt x="3" y="31"/>
                  </a:cubicBezTo>
                  <a:cubicBezTo>
                    <a:pt x="3" y="31"/>
                    <a:pt x="3" y="31"/>
                    <a:pt x="3" y="31"/>
                  </a:cubicBezTo>
                  <a:cubicBezTo>
                    <a:pt x="4" y="31"/>
                    <a:pt x="4" y="31"/>
                    <a:pt x="4" y="31"/>
                  </a:cubicBezTo>
                  <a:cubicBezTo>
                    <a:pt x="4" y="31"/>
                    <a:pt x="4" y="31"/>
                    <a:pt x="4" y="31"/>
                  </a:cubicBezTo>
                  <a:cubicBezTo>
                    <a:pt x="4" y="31"/>
                    <a:pt x="4" y="31"/>
                    <a:pt x="4" y="30"/>
                  </a:cubicBezTo>
                  <a:cubicBezTo>
                    <a:pt x="4" y="9"/>
                    <a:pt x="4" y="9"/>
                    <a:pt x="4" y="9"/>
                  </a:cubicBezTo>
                  <a:close/>
                  <a:moveTo>
                    <a:pt x="4" y="0"/>
                  </a:moveTo>
                  <a:cubicBezTo>
                    <a:pt x="4" y="0"/>
                    <a:pt x="3" y="0"/>
                    <a:pt x="3" y="0"/>
                  </a:cubicBezTo>
                  <a:cubicBezTo>
                    <a:pt x="2" y="0"/>
                    <a:pt x="1" y="0"/>
                    <a:pt x="1" y="0"/>
                  </a:cubicBezTo>
                  <a:cubicBezTo>
                    <a:pt x="0" y="1"/>
                    <a:pt x="0" y="1"/>
                    <a:pt x="0" y="2"/>
                  </a:cubicBezTo>
                  <a:cubicBezTo>
                    <a:pt x="0" y="3"/>
                    <a:pt x="0" y="4"/>
                    <a:pt x="1" y="4"/>
                  </a:cubicBezTo>
                  <a:cubicBezTo>
                    <a:pt x="1" y="4"/>
                    <a:pt x="2" y="5"/>
                    <a:pt x="3" y="5"/>
                  </a:cubicBezTo>
                  <a:cubicBezTo>
                    <a:pt x="3" y="5"/>
                    <a:pt x="4" y="4"/>
                    <a:pt x="4" y="4"/>
                  </a:cubicBezTo>
                  <a:cubicBezTo>
                    <a:pt x="5" y="4"/>
                    <a:pt x="5" y="3"/>
                    <a:pt x="5" y="2"/>
                  </a:cubicBezTo>
                  <a:cubicBezTo>
                    <a:pt x="5" y="1"/>
                    <a:pt x="5" y="1"/>
                    <a:pt x="4"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107">
              <a:extLst>
                <a:ext uri="{FF2B5EF4-FFF2-40B4-BE49-F238E27FC236}">
                  <a16:creationId xmlns:a16="http://schemas.microsoft.com/office/drawing/2014/main" id="{00DCEE42-C48F-4387-B708-5FE44DFC9E80}"/>
                </a:ext>
              </a:extLst>
            </p:cNvPr>
            <p:cNvSpPr>
              <a:spLocks/>
            </p:cNvSpPr>
            <p:nvPr/>
          </p:nvSpPr>
          <p:spPr bwMode="auto">
            <a:xfrm>
              <a:off x="5755535" y="3161332"/>
              <a:ext cx="62046" cy="79361"/>
            </a:xfrm>
            <a:custGeom>
              <a:avLst/>
              <a:gdLst>
                <a:gd name="T0" fmla="*/ 18 w 18"/>
                <a:gd name="T1" fmla="*/ 10 h 23"/>
                <a:gd name="T2" fmla="*/ 17 w 18"/>
                <a:gd name="T3" fmla="*/ 6 h 23"/>
                <a:gd name="T4" fmla="*/ 16 w 18"/>
                <a:gd name="T5" fmla="*/ 3 h 23"/>
                <a:gd name="T6" fmla="*/ 14 w 18"/>
                <a:gd name="T7" fmla="*/ 1 h 23"/>
                <a:gd name="T8" fmla="*/ 10 w 18"/>
                <a:gd name="T9" fmla="*/ 0 h 23"/>
                <a:gd name="T10" fmla="*/ 7 w 18"/>
                <a:gd name="T11" fmla="*/ 1 h 23"/>
                <a:gd name="T12" fmla="*/ 3 w 18"/>
                <a:gd name="T13" fmla="*/ 4 h 23"/>
                <a:gd name="T14" fmla="*/ 3 w 18"/>
                <a:gd name="T15" fmla="*/ 1 h 23"/>
                <a:gd name="T16" fmla="*/ 3 w 18"/>
                <a:gd name="T17" fmla="*/ 1 h 23"/>
                <a:gd name="T18" fmla="*/ 3 w 18"/>
                <a:gd name="T19" fmla="*/ 1 h 23"/>
                <a:gd name="T20" fmla="*/ 2 w 18"/>
                <a:gd name="T21" fmla="*/ 1 h 23"/>
                <a:gd name="T22" fmla="*/ 1 w 18"/>
                <a:gd name="T23" fmla="*/ 1 h 23"/>
                <a:gd name="T24" fmla="*/ 1 w 18"/>
                <a:gd name="T25" fmla="*/ 1 h 23"/>
                <a:gd name="T26" fmla="*/ 0 w 18"/>
                <a:gd name="T27" fmla="*/ 1 h 23"/>
                <a:gd name="T28" fmla="*/ 0 w 18"/>
                <a:gd name="T29" fmla="*/ 1 h 23"/>
                <a:gd name="T30" fmla="*/ 0 w 18"/>
                <a:gd name="T31" fmla="*/ 1 h 23"/>
                <a:gd name="T32" fmla="*/ 0 w 18"/>
                <a:gd name="T33" fmla="*/ 22 h 23"/>
                <a:gd name="T34" fmla="*/ 0 w 18"/>
                <a:gd name="T35" fmla="*/ 23 h 23"/>
                <a:gd name="T36" fmla="*/ 0 w 18"/>
                <a:gd name="T37" fmla="*/ 23 h 23"/>
                <a:gd name="T38" fmla="*/ 1 w 18"/>
                <a:gd name="T39" fmla="*/ 23 h 23"/>
                <a:gd name="T40" fmla="*/ 2 w 18"/>
                <a:gd name="T41" fmla="*/ 23 h 23"/>
                <a:gd name="T42" fmla="*/ 3 w 18"/>
                <a:gd name="T43" fmla="*/ 23 h 23"/>
                <a:gd name="T44" fmla="*/ 3 w 18"/>
                <a:gd name="T45" fmla="*/ 23 h 23"/>
                <a:gd name="T46" fmla="*/ 3 w 18"/>
                <a:gd name="T47" fmla="*/ 23 h 23"/>
                <a:gd name="T48" fmla="*/ 3 w 18"/>
                <a:gd name="T49" fmla="*/ 22 h 23"/>
                <a:gd name="T50" fmla="*/ 3 w 18"/>
                <a:gd name="T51" fmla="*/ 8 h 23"/>
                <a:gd name="T52" fmla="*/ 7 w 18"/>
                <a:gd name="T53" fmla="*/ 5 h 23"/>
                <a:gd name="T54" fmla="*/ 9 w 18"/>
                <a:gd name="T55" fmla="*/ 4 h 23"/>
                <a:gd name="T56" fmla="*/ 11 w 18"/>
                <a:gd name="T57" fmla="*/ 4 h 23"/>
                <a:gd name="T58" fmla="*/ 13 w 18"/>
                <a:gd name="T59" fmla="*/ 5 h 23"/>
                <a:gd name="T60" fmla="*/ 14 w 18"/>
                <a:gd name="T61" fmla="*/ 7 h 23"/>
                <a:gd name="T62" fmla="*/ 14 w 18"/>
                <a:gd name="T63" fmla="*/ 10 h 23"/>
                <a:gd name="T64" fmla="*/ 14 w 18"/>
                <a:gd name="T65" fmla="*/ 22 h 23"/>
                <a:gd name="T66" fmla="*/ 14 w 18"/>
                <a:gd name="T67" fmla="*/ 23 h 23"/>
                <a:gd name="T68" fmla="*/ 14 w 18"/>
                <a:gd name="T69" fmla="*/ 23 h 23"/>
                <a:gd name="T70" fmla="*/ 15 w 18"/>
                <a:gd name="T71" fmla="*/ 23 h 23"/>
                <a:gd name="T72" fmla="*/ 16 w 18"/>
                <a:gd name="T73" fmla="*/ 23 h 23"/>
                <a:gd name="T74" fmla="*/ 17 w 18"/>
                <a:gd name="T75" fmla="*/ 23 h 23"/>
                <a:gd name="T76" fmla="*/ 17 w 18"/>
                <a:gd name="T77" fmla="*/ 23 h 23"/>
                <a:gd name="T78" fmla="*/ 18 w 18"/>
                <a:gd name="T79" fmla="*/ 23 h 23"/>
                <a:gd name="T80" fmla="*/ 18 w 18"/>
                <a:gd name="T81" fmla="*/ 22 h 23"/>
                <a:gd name="T82" fmla="*/ 18 w 18"/>
                <a:gd name="T83"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0"/>
                  </a:moveTo>
                  <a:cubicBezTo>
                    <a:pt x="18" y="8"/>
                    <a:pt x="18" y="7"/>
                    <a:pt x="17" y="6"/>
                  </a:cubicBezTo>
                  <a:cubicBezTo>
                    <a:pt x="17" y="5"/>
                    <a:pt x="17" y="4"/>
                    <a:pt x="16" y="3"/>
                  </a:cubicBezTo>
                  <a:cubicBezTo>
                    <a:pt x="16" y="2"/>
                    <a:pt x="15" y="1"/>
                    <a:pt x="14" y="1"/>
                  </a:cubicBezTo>
                  <a:cubicBezTo>
                    <a:pt x="13" y="1"/>
                    <a:pt x="12" y="0"/>
                    <a:pt x="10" y="0"/>
                  </a:cubicBezTo>
                  <a:cubicBezTo>
                    <a:pt x="9" y="0"/>
                    <a:pt x="8" y="1"/>
                    <a:pt x="7" y="1"/>
                  </a:cubicBezTo>
                  <a:cubicBezTo>
                    <a:pt x="5" y="2"/>
                    <a:pt x="4" y="3"/>
                    <a:pt x="3" y="4"/>
                  </a:cubicBezTo>
                  <a:cubicBezTo>
                    <a:pt x="3" y="1"/>
                    <a:pt x="3" y="1"/>
                    <a:pt x="3" y="1"/>
                  </a:cubicBezTo>
                  <a:cubicBezTo>
                    <a:pt x="3" y="1"/>
                    <a:pt x="3" y="1"/>
                    <a:pt x="3" y="1"/>
                  </a:cubicBezTo>
                  <a:cubicBezTo>
                    <a:pt x="3" y="1"/>
                    <a:pt x="3" y="1"/>
                    <a:pt x="3" y="1"/>
                  </a:cubicBezTo>
                  <a:cubicBezTo>
                    <a:pt x="3" y="1"/>
                    <a:pt x="2" y="1"/>
                    <a:pt x="2" y="1"/>
                  </a:cubicBezTo>
                  <a:cubicBezTo>
                    <a:pt x="2" y="1"/>
                    <a:pt x="2" y="1"/>
                    <a:pt x="1" y="1"/>
                  </a:cubicBezTo>
                  <a:cubicBezTo>
                    <a:pt x="1" y="1"/>
                    <a:pt x="1" y="1"/>
                    <a:pt x="1" y="1"/>
                  </a:cubicBezTo>
                  <a:cubicBezTo>
                    <a:pt x="0" y="1"/>
                    <a:pt x="0" y="1"/>
                    <a:pt x="0" y="1"/>
                  </a:cubicBezTo>
                  <a:cubicBezTo>
                    <a:pt x="0" y="1"/>
                    <a:pt x="0" y="1"/>
                    <a:pt x="0" y="1"/>
                  </a:cubicBezTo>
                  <a:cubicBezTo>
                    <a:pt x="0" y="1"/>
                    <a:pt x="0" y="1"/>
                    <a:pt x="0" y="1"/>
                  </a:cubicBezTo>
                  <a:cubicBezTo>
                    <a:pt x="0" y="22"/>
                    <a:pt x="0" y="22"/>
                    <a:pt x="0" y="22"/>
                  </a:cubicBezTo>
                  <a:cubicBezTo>
                    <a:pt x="0" y="23"/>
                    <a:pt x="0" y="23"/>
                    <a:pt x="0" y="23"/>
                  </a:cubicBezTo>
                  <a:cubicBezTo>
                    <a:pt x="0" y="23"/>
                    <a:pt x="0" y="23"/>
                    <a:pt x="0" y="23"/>
                  </a:cubicBezTo>
                  <a:cubicBezTo>
                    <a:pt x="0" y="23"/>
                    <a:pt x="0" y="23"/>
                    <a:pt x="1" y="23"/>
                  </a:cubicBezTo>
                  <a:cubicBezTo>
                    <a:pt x="1" y="23"/>
                    <a:pt x="1" y="23"/>
                    <a:pt x="2" y="23"/>
                  </a:cubicBezTo>
                  <a:cubicBezTo>
                    <a:pt x="2" y="23"/>
                    <a:pt x="2" y="23"/>
                    <a:pt x="3" y="23"/>
                  </a:cubicBezTo>
                  <a:cubicBezTo>
                    <a:pt x="3" y="23"/>
                    <a:pt x="3" y="23"/>
                    <a:pt x="3" y="23"/>
                  </a:cubicBezTo>
                  <a:cubicBezTo>
                    <a:pt x="3" y="23"/>
                    <a:pt x="3" y="23"/>
                    <a:pt x="3" y="23"/>
                  </a:cubicBezTo>
                  <a:cubicBezTo>
                    <a:pt x="3" y="23"/>
                    <a:pt x="3" y="23"/>
                    <a:pt x="3" y="22"/>
                  </a:cubicBezTo>
                  <a:cubicBezTo>
                    <a:pt x="3" y="8"/>
                    <a:pt x="3" y="8"/>
                    <a:pt x="3" y="8"/>
                  </a:cubicBezTo>
                  <a:cubicBezTo>
                    <a:pt x="5" y="6"/>
                    <a:pt x="6" y="5"/>
                    <a:pt x="7" y="5"/>
                  </a:cubicBezTo>
                  <a:cubicBezTo>
                    <a:pt x="8" y="4"/>
                    <a:pt x="8" y="4"/>
                    <a:pt x="9" y="4"/>
                  </a:cubicBezTo>
                  <a:cubicBezTo>
                    <a:pt x="10" y="4"/>
                    <a:pt x="11" y="4"/>
                    <a:pt x="11" y="4"/>
                  </a:cubicBezTo>
                  <a:cubicBezTo>
                    <a:pt x="12" y="4"/>
                    <a:pt x="12" y="5"/>
                    <a:pt x="13" y="5"/>
                  </a:cubicBezTo>
                  <a:cubicBezTo>
                    <a:pt x="13" y="6"/>
                    <a:pt x="13" y="6"/>
                    <a:pt x="14" y="7"/>
                  </a:cubicBezTo>
                  <a:cubicBezTo>
                    <a:pt x="14" y="8"/>
                    <a:pt x="14" y="9"/>
                    <a:pt x="14" y="10"/>
                  </a:cubicBezTo>
                  <a:cubicBezTo>
                    <a:pt x="14" y="22"/>
                    <a:pt x="14" y="22"/>
                    <a:pt x="14" y="22"/>
                  </a:cubicBezTo>
                  <a:cubicBezTo>
                    <a:pt x="14" y="23"/>
                    <a:pt x="14" y="23"/>
                    <a:pt x="14" y="23"/>
                  </a:cubicBezTo>
                  <a:cubicBezTo>
                    <a:pt x="14" y="23"/>
                    <a:pt x="14" y="23"/>
                    <a:pt x="14" y="23"/>
                  </a:cubicBezTo>
                  <a:cubicBezTo>
                    <a:pt x="14" y="23"/>
                    <a:pt x="15" y="23"/>
                    <a:pt x="15" y="23"/>
                  </a:cubicBezTo>
                  <a:cubicBezTo>
                    <a:pt x="15" y="23"/>
                    <a:pt x="15" y="23"/>
                    <a:pt x="16" y="23"/>
                  </a:cubicBezTo>
                  <a:cubicBezTo>
                    <a:pt x="16" y="23"/>
                    <a:pt x="17" y="23"/>
                    <a:pt x="17" y="23"/>
                  </a:cubicBezTo>
                  <a:cubicBezTo>
                    <a:pt x="17" y="23"/>
                    <a:pt x="17" y="23"/>
                    <a:pt x="17" y="23"/>
                  </a:cubicBezTo>
                  <a:cubicBezTo>
                    <a:pt x="18" y="23"/>
                    <a:pt x="18" y="23"/>
                    <a:pt x="18" y="23"/>
                  </a:cubicBezTo>
                  <a:cubicBezTo>
                    <a:pt x="18" y="23"/>
                    <a:pt x="18" y="23"/>
                    <a:pt x="18" y="22"/>
                  </a:cubicBezTo>
                  <a:cubicBezTo>
                    <a:pt x="18" y="10"/>
                    <a:pt x="18" y="10"/>
                    <a:pt x="18"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108">
              <a:extLst>
                <a:ext uri="{FF2B5EF4-FFF2-40B4-BE49-F238E27FC236}">
                  <a16:creationId xmlns:a16="http://schemas.microsoft.com/office/drawing/2014/main" id="{8A783D9E-45C3-4FCC-B7A4-97223184BF9B}"/>
                </a:ext>
              </a:extLst>
            </p:cNvPr>
            <p:cNvSpPr>
              <a:spLocks/>
            </p:cNvSpPr>
            <p:nvPr/>
          </p:nvSpPr>
          <p:spPr bwMode="auto">
            <a:xfrm>
              <a:off x="8293620" y="3034356"/>
              <a:ext cx="1528046" cy="328984"/>
            </a:xfrm>
            <a:custGeom>
              <a:avLst/>
              <a:gdLst>
                <a:gd name="T0" fmla="*/ 3 w 446"/>
                <a:gd name="T1" fmla="*/ 18 h 96"/>
                <a:gd name="T2" fmla="*/ 6 w 446"/>
                <a:gd name="T3" fmla="*/ 18 h 96"/>
                <a:gd name="T4" fmla="*/ 18 w 446"/>
                <a:gd name="T5" fmla="*/ 6 h 96"/>
                <a:gd name="T6" fmla="*/ 428 w 446"/>
                <a:gd name="T7" fmla="*/ 6 h 96"/>
                <a:gd name="T8" fmla="*/ 440 w 446"/>
                <a:gd name="T9" fmla="*/ 18 h 96"/>
                <a:gd name="T10" fmla="*/ 440 w 446"/>
                <a:gd name="T11" fmla="*/ 78 h 96"/>
                <a:gd name="T12" fmla="*/ 428 w 446"/>
                <a:gd name="T13" fmla="*/ 90 h 96"/>
                <a:gd name="T14" fmla="*/ 18 w 446"/>
                <a:gd name="T15" fmla="*/ 90 h 96"/>
                <a:gd name="T16" fmla="*/ 6 w 446"/>
                <a:gd name="T17" fmla="*/ 78 h 96"/>
                <a:gd name="T18" fmla="*/ 6 w 446"/>
                <a:gd name="T19" fmla="*/ 18 h 96"/>
                <a:gd name="T20" fmla="*/ 3 w 446"/>
                <a:gd name="T21" fmla="*/ 18 h 96"/>
                <a:gd name="T22" fmla="*/ 0 w 446"/>
                <a:gd name="T23" fmla="*/ 18 h 96"/>
                <a:gd name="T24" fmla="*/ 0 w 446"/>
                <a:gd name="T25" fmla="*/ 78 h 96"/>
                <a:gd name="T26" fmla="*/ 18 w 446"/>
                <a:gd name="T27" fmla="*/ 96 h 96"/>
                <a:gd name="T28" fmla="*/ 428 w 446"/>
                <a:gd name="T29" fmla="*/ 96 h 96"/>
                <a:gd name="T30" fmla="*/ 446 w 446"/>
                <a:gd name="T31" fmla="*/ 78 h 96"/>
                <a:gd name="T32" fmla="*/ 446 w 446"/>
                <a:gd name="T33" fmla="*/ 18 h 96"/>
                <a:gd name="T34" fmla="*/ 428 w 446"/>
                <a:gd name="T35" fmla="*/ 0 h 96"/>
                <a:gd name="T36" fmla="*/ 18 w 446"/>
                <a:gd name="T37" fmla="*/ 0 h 96"/>
                <a:gd name="T38" fmla="*/ 0 w 446"/>
                <a:gd name="T39" fmla="*/ 18 h 96"/>
                <a:gd name="T40" fmla="*/ 3 w 446"/>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6" h="96">
                  <a:moveTo>
                    <a:pt x="3" y="18"/>
                  </a:moveTo>
                  <a:cubicBezTo>
                    <a:pt x="6" y="18"/>
                    <a:pt x="6" y="18"/>
                    <a:pt x="6" y="18"/>
                  </a:cubicBezTo>
                  <a:cubicBezTo>
                    <a:pt x="6" y="12"/>
                    <a:pt x="12" y="6"/>
                    <a:pt x="18" y="6"/>
                  </a:cubicBezTo>
                  <a:cubicBezTo>
                    <a:pt x="428" y="6"/>
                    <a:pt x="428" y="6"/>
                    <a:pt x="428" y="6"/>
                  </a:cubicBezTo>
                  <a:cubicBezTo>
                    <a:pt x="435" y="6"/>
                    <a:pt x="440" y="12"/>
                    <a:pt x="440" y="18"/>
                  </a:cubicBezTo>
                  <a:cubicBezTo>
                    <a:pt x="440" y="78"/>
                    <a:pt x="440" y="78"/>
                    <a:pt x="440" y="78"/>
                  </a:cubicBezTo>
                  <a:cubicBezTo>
                    <a:pt x="440" y="84"/>
                    <a:pt x="435" y="90"/>
                    <a:pt x="428" y="90"/>
                  </a:cubicBezTo>
                  <a:cubicBezTo>
                    <a:pt x="18" y="90"/>
                    <a:pt x="18" y="90"/>
                    <a:pt x="18" y="90"/>
                  </a:cubicBezTo>
                  <a:cubicBezTo>
                    <a:pt x="12"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428" y="96"/>
                    <a:pt x="428" y="96"/>
                    <a:pt x="428" y="96"/>
                  </a:cubicBezTo>
                  <a:cubicBezTo>
                    <a:pt x="438" y="96"/>
                    <a:pt x="446" y="88"/>
                    <a:pt x="446" y="78"/>
                  </a:cubicBezTo>
                  <a:cubicBezTo>
                    <a:pt x="446" y="18"/>
                    <a:pt x="446" y="18"/>
                    <a:pt x="446" y="18"/>
                  </a:cubicBezTo>
                  <a:cubicBezTo>
                    <a:pt x="446" y="8"/>
                    <a:pt x="438" y="0"/>
                    <a:pt x="428" y="0"/>
                  </a:cubicBezTo>
                  <a:cubicBezTo>
                    <a:pt x="18" y="0"/>
                    <a:pt x="18" y="0"/>
                    <a:pt x="18" y="0"/>
                  </a:cubicBezTo>
                  <a:cubicBezTo>
                    <a:pt x="8" y="0"/>
                    <a:pt x="0" y="8"/>
                    <a:pt x="0" y="18"/>
                  </a:cubicBezTo>
                  <a:lnTo>
                    <a:pt x="3" y="18"/>
                  </a:ln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109">
              <a:extLst>
                <a:ext uri="{FF2B5EF4-FFF2-40B4-BE49-F238E27FC236}">
                  <a16:creationId xmlns:a16="http://schemas.microsoft.com/office/drawing/2014/main" id="{64ADC63F-E069-468E-8DE4-A8768487F526}"/>
                </a:ext>
              </a:extLst>
            </p:cNvPr>
            <p:cNvSpPr>
              <a:spLocks noEditPoints="1"/>
            </p:cNvSpPr>
            <p:nvPr/>
          </p:nvSpPr>
          <p:spPr bwMode="auto">
            <a:xfrm>
              <a:off x="8725052" y="3136802"/>
              <a:ext cx="89461" cy="103890"/>
            </a:xfrm>
            <a:custGeom>
              <a:avLst/>
              <a:gdLst>
                <a:gd name="T0" fmla="*/ 16 w 26"/>
                <a:gd name="T1" fmla="*/ 0 h 30"/>
                <a:gd name="T2" fmla="*/ 15 w 26"/>
                <a:gd name="T3" fmla="*/ 0 h 30"/>
                <a:gd name="T4" fmla="*/ 15 w 26"/>
                <a:gd name="T5" fmla="*/ 0 h 30"/>
                <a:gd name="T6" fmla="*/ 14 w 26"/>
                <a:gd name="T7" fmla="*/ 0 h 30"/>
                <a:gd name="T8" fmla="*/ 13 w 26"/>
                <a:gd name="T9" fmla="*/ 0 h 30"/>
                <a:gd name="T10" fmla="*/ 12 w 26"/>
                <a:gd name="T11" fmla="*/ 0 h 30"/>
                <a:gd name="T12" fmla="*/ 11 w 26"/>
                <a:gd name="T13" fmla="*/ 0 h 30"/>
                <a:gd name="T14" fmla="*/ 10 w 26"/>
                <a:gd name="T15" fmla="*/ 0 h 30"/>
                <a:gd name="T16" fmla="*/ 10 w 26"/>
                <a:gd name="T17" fmla="*/ 0 h 30"/>
                <a:gd name="T18" fmla="*/ 0 w 26"/>
                <a:gd name="T19" fmla="*/ 29 h 30"/>
                <a:gd name="T20" fmla="*/ 0 w 26"/>
                <a:gd name="T21" fmla="*/ 29 h 30"/>
                <a:gd name="T22" fmla="*/ 0 w 26"/>
                <a:gd name="T23" fmla="*/ 30 h 30"/>
                <a:gd name="T24" fmla="*/ 1 w 26"/>
                <a:gd name="T25" fmla="*/ 30 h 30"/>
                <a:gd name="T26" fmla="*/ 2 w 26"/>
                <a:gd name="T27" fmla="*/ 30 h 30"/>
                <a:gd name="T28" fmla="*/ 3 w 26"/>
                <a:gd name="T29" fmla="*/ 30 h 30"/>
                <a:gd name="T30" fmla="*/ 3 w 26"/>
                <a:gd name="T31" fmla="*/ 30 h 30"/>
                <a:gd name="T32" fmla="*/ 4 w 26"/>
                <a:gd name="T33" fmla="*/ 30 h 30"/>
                <a:gd name="T34" fmla="*/ 4 w 26"/>
                <a:gd name="T35" fmla="*/ 29 h 30"/>
                <a:gd name="T36" fmla="*/ 6 w 26"/>
                <a:gd name="T37" fmla="*/ 22 h 30"/>
                <a:gd name="T38" fmla="*/ 19 w 26"/>
                <a:gd name="T39" fmla="*/ 22 h 30"/>
                <a:gd name="T40" fmla="*/ 22 w 26"/>
                <a:gd name="T41" fmla="*/ 29 h 30"/>
                <a:gd name="T42" fmla="*/ 22 w 26"/>
                <a:gd name="T43" fmla="*/ 30 h 30"/>
                <a:gd name="T44" fmla="*/ 22 w 26"/>
                <a:gd name="T45" fmla="*/ 30 h 30"/>
                <a:gd name="T46" fmla="*/ 23 w 26"/>
                <a:gd name="T47" fmla="*/ 30 h 30"/>
                <a:gd name="T48" fmla="*/ 24 w 26"/>
                <a:gd name="T49" fmla="*/ 30 h 30"/>
                <a:gd name="T50" fmla="*/ 25 w 26"/>
                <a:gd name="T51" fmla="*/ 30 h 30"/>
                <a:gd name="T52" fmla="*/ 26 w 26"/>
                <a:gd name="T53" fmla="*/ 30 h 30"/>
                <a:gd name="T54" fmla="*/ 26 w 26"/>
                <a:gd name="T55" fmla="*/ 29 h 30"/>
                <a:gd name="T56" fmla="*/ 26 w 26"/>
                <a:gd name="T57" fmla="*/ 29 h 30"/>
                <a:gd name="T58" fmla="*/ 16 w 26"/>
                <a:gd name="T59" fmla="*/ 0 h 30"/>
                <a:gd name="T60" fmla="*/ 18 w 26"/>
                <a:gd name="T61" fmla="*/ 19 h 30"/>
                <a:gd name="T62" fmla="*/ 7 w 26"/>
                <a:gd name="T63" fmla="*/ 19 h 30"/>
                <a:gd name="T64" fmla="*/ 13 w 26"/>
                <a:gd name="T65" fmla="*/ 4 h 30"/>
                <a:gd name="T66" fmla="*/ 13 w 26"/>
                <a:gd name="T67" fmla="*/ 4 h 30"/>
                <a:gd name="T68" fmla="*/ 18 w 26"/>
                <a:gd name="T6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6" y="0"/>
                  </a:moveTo>
                  <a:cubicBezTo>
                    <a:pt x="16" y="0"/>
                    <a:pt x="15" y="0"/>
                    <a:pt x="15" y="0"/>
                  </a:cubicBezTo>
                  <a:cubicBezTo>
                    <a:pt x="15" y="0"/>
                    <a:pt x="15" y="0"/>
                    <a:pt x="15" y="0"/>
                  </a:cubicBezTo>
                  <a:cubicBezTo>
                    <a:pt x="15" y="0"/>
                    <a:pt x="14" y="0"/>
                    <a:pt x="14" y="0"/>
                  </a:cubicBezTo>
                  <a:cubicBezTo>
                    <a:pt x="14" y="0"/>
                    <a:pt x="13" y="0"/>
                    <a:pt x="13" y="0"/>
                  </a:cubicBezTo>
                  <a:cubicBezTo>
                    <a:pt x="12" y="0"/>
                    <a:pt x="12" y="0"/>
                    <a:pt x="12" y="0"/>
                  </a:cubicBezTo>
                  <a:cubicBezTo>
                    <a:pt x="11" y="0"/>
                    <a:pt x="11" y="0"/>
                    <a:pt x="11" y="0"/>
                  </a:cubicBezTo>
                  <a:cubicBezTo>
                    <a:pt x="11" y="0"/>
                    <a:pt x="11" y="0"/>
                    <a:pt x="10" y="0"/>
                  </a:cubicBezTo>
                  <a:cubicBezTo>
                    <a:pt x="10" y="0"/>
                    <a:pt x="10" y="0"/>
                    <a:pt x="10" y="0"/>
                  </a:cubicBezTo>
                  <a:cubicBezTo>
                    <a:pt x="0" y="29"/>
                    <a:pt x="0" y="29"/>
                    <a:pt x="0" y="29"/>
                  </a:cubicBezTo>
                  <a:cubicBezTo>
                    <a:pt x="0" y="29"/>
                    <a:pt x="0" y="29"/>
                    <a:pt x="0" y="29"/>
                  </a:cubicBezTo>
                  <a:cubicBezTo>
                    <a:pt x="0" y="30"/>
                    <a:pt x="0" y="30"/>
                    <a:pt x="0" y="30"/>
                  </a:cubicBezTo>
                  <a:cubicBezTo>
                    <a:pt x="0" y="30"/>
                    <a:pt x="0" y="30"/>
                    <a:pt x="1" y="30"/>
                  </a:cubicBezTo>
                  <a:cubicBezTo>
                    <a:pt x="1" y="30"/>
                    <a:pt x="1" y="30"/>
                    <a:pt x="2" y="30"/>
                  </a:cubicBezTo>
                  <a:cubicBezTo>
                    <a:pt x="2" y="30"/>
                    <a:pt x="3" y="30"/>
                    <a:pt x="3" y="30"/>
                  </a:cubicBezTo>
                  <a:cubicBezTo>
                    <a:pt x="3" y="30"/>
                    <a:pt x="3" y="30"/>
                    <a:pt x="3" y="30"/>
                  </a:cubicBezTo>
                  <a:cubicBezTo>
                    <a:pt x="4" y="30"/>
                    <a:pt x="4" y="30"/>
                    <a:pt x="4" y="30"/>
                  </a:cubicBezTo>
                  <a:cubicBezTo>
                    <a:pt x="4" y="30"/>
                    <a:pt x="4" y="29"/>
                    <a:pt x="4" y="29"/>
                  </a:cubicBezTo>
                  <a:cubicBezTo>
                    <a:pt x="6" y="22"/>
                    <a:pt x="6" y="22"/>
                    <a:pt x="6" y="22"/>
                  </a:cubicBezTo>
                  <a:cubicBezTo>
                    <a:pt x="19" y="22"/>
                    <a:pt x="19" y="22"/>
                    <a:pt x="19" y="22"/>
                  </a:cubicBezTo>
                  <a:cubicBezTo>
                    <a:pt x="22" y="29"/>
                    <a:pt x="22" y="29"/>
                    <a:pt x="22" y="29"/>
                  </a:cubicBezTo>
                  <a:cubicBezTo>
                    <a:pt x="22" y="30"/>
                    <a:pt x="22" y="30"/>
                    <a:pt x="22" y="30"/>
                  </a:cubicBezTo>
                  <a:cubicBezTo>
                    <a:pt x="22" y="30"/>
                    <a:pt x="22" y="30"/>
                    <a:pt x="22" y="30"/>
                  </a:cubicBezTo>
                  <a:cubicBezTo>
                    <a:pt x="22" y="30"/>
                    <a:pt x="23" y="30"/>
                    <a:pt x="23" y="30"/>
                  </a:cubicBezTo>
                  <a:cubicBezTo>
                    <a:pt x="23" y="30"/>
                    <a:pt x="24" y="30"/>
                    <a:pt x="24" y="30"/>
                  </a:cubicBezTo>
                  <a:cubicBezTo>
                    <a:pt x="24" y="30"/>
                    <a:pt x="25" y="30"/>
                    <a:pt x="25" y="30"/>
                  </a:cubicBezTo>
                  <a:cubicBezTo>
                    <a:pt x="25" y="30"/>
                    <a:pt x="26" y="30"/>
                    <a:pt x="26" y="30"/>
                  </a:cubicBezTo>
                  <a:cubicBezTo>
                    <a:pt x="26" y="30"/>
                    <a:pt x="26" y="30"/>
                    <a:pt x="26" y="29"/>
                  </a:cubicBezTo>
                  <a:cubicBezTo>
                    <a:pt x="26" y="29"/>
                    <a:pt x="26" y="29"/>
                    <a:pt x="26" y="29"/>
                  </a:cubicBezTo>
                  <a:cubicBezTo>
                    <a:pt x="16" y="0"/>
                    <a:pt x="16" y="0"/>
                    <a:pt x="16" y="0"/>
                  </a:cubicBezTo>
                  <a:close/>
                  <a:moveTo>
                    <a:pt x="18" y="19"/>
                  </a:moveTo>
                  <a:cubicBezTo>
                    <a:pt x="7" y="19"/>
                    <a:pt x="7" y="19"/>
                    <a:pt x="7" y="19"/>
                  </a:cubicBezTo>
                  <a:cubicBezTo>
                    <a:pt x="13" y="4"/>
                    <a:pt x="13" y="4"/>
                    <a:pt x="13" y="4"/>
                  </a:cubicBezTo>
                  <a:cubicBezTo>
                    <a:pt x="13" y="4"/>
                    <a:pt x="13" y="4"/>
                    <a:pt x="13" y="4"/>
                  </a:cubicBezTo>
                  <a:cubicBezTo>
                    <a:pt x="18" y="19"/>
                    <a:pt x="18" y="19"/>
                    <a:pt x="18" y="1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Freeform 110">
              <a:extLst>
                <a:ext uri="{FF2B5EF4-FFF2-40B4-BE49-F238E27FC236}">
                  <a16:creationId xmlns:a16="http://schemas.microsoft.com/office/drawing/2014/main" id="{8DD534FB-5BB8-4B7B-AF02-9C5EE7CC18DD}"/>
                </a:ext>
              </a:extLst>
            </p:cNvPr>
            <p:cNvSpPr>
              <a:spLocks/>
            </p:cNvSpPr>
            <p:nvPr/>
          </p:nvSpPr>
          <p:spPr bwMode="auto">
            <a:xfrm>
              <a:off x="8831827" y="3136802"/>
              <a:ext cx="12987" cy="103890"/>
            </a:xfrm>
            <a:custGeom>
              <a:avLst/>
              <a:gdLst>
                <a:gd name="T0" fmla="*/ 4 w 4"/>
                <a:gd name="T1" fmla="*/ 0 h 30"/>
                <a:gd name="T2" fmla="*/ 4 w 4"/>
                <a:gd name="T3" fmla="*/ 0 h 30"/>
                <a:gd name="T4" fmla="*/ 3 w 4"/>
                <a:gd name="T5" fmla="*/ 0 h 30"/>
                <a:gd name="T6" fmla="*/ 3 w 4"/>
                <a:gd name="T7" fmla="*/ 0 h 30"/>
                <a:gd name="T8" fmla="*/ 2 w 4"/>
                <a:gd name="T9" fmla="*/ 0 h 30"/>
                <a:gd name="T10" fmla="*/ 1 w 4"/>
                <a:gd name="T11" fmla="*/ 0 h 30"/>
                <a:gd name="T12" fmla="*/ 0 w 4"/>
                <a:gd name="T13" fmla="*/ 0 h 30"/>
                <a:gd name="T14" fmla="*/ 0 w 4"/>
                <a:gd name="T15" fmla="*/ 0 h 30"/>
                <a:gd name="T16" fmla="*/ 0 w 4"/>
                <a:gd name="T17" fmla="*/ 0 h 30"/>
                <a:gd name="T18" fmla="*/ 0 w 4"/>
                <a:gd name="T19" fmla="*/ 29 h 30"/>
                <a:gd name="T20" fmla="*/ 0 w 4"/>
                <a:gd name="T21" fmla="*/ 30 h 30"/>
                <a:gd name="T22" fmla="*/ 0 w 4"/>
                <a:gd name="T23" fmla="*/ 30 h 30"/>
                <a:gd name="T24" fmla="*/ 1 w 4"/>
                <a:gd name="T25" fmla="*/ 30 h 30"/>
                <a:gd name="T26" fmla="*/ 2 w 4"/>
                <a:gd name="T27" fmla="*/ 30 h 30"/>
                <a:gd name="T28" fmla="*/ 3 w 4"/>
                <a:gd name="T29" fmla="*/ 30 h 30"/>
                <a:gd name="T30" fmla="*/ 3 w 4"/>
                <a:gd name="T31" fmla="*/ 30 h 30"/>
                <a:gd name="T32" fmla="*/ 4 w 4"/>
                <a:gd name="T33" fmla="*/ 30 h 30"/>
                <a:gd name="T34" fmla="*/ 4 w 4"/>
                <a:gd name="T35" fmla="*/ 29 h 30"/>
                <a:gd name="T36" fmla="*/ 4 w 4"/>
                <a:gd name="T3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0">
                  <a:moveTo>
                    <a:pt x="4" y="0"/>
                  </a:moveTo>
                  <a:cubicBezTo>
                    <a:pt x="4" y="0"/>
                    <a:pt x="4" y="0"/>
                    <a:pt x="4" y="0"/>
                  </a:cubicBezTo>
                  <a:cubicBezTo>
                    <a:pt x="4" y="0"/>
                    <a:pt x="4" y="0"/>
                    <a:pt x="3" y="0"/>
                  </a:cubicBezTo>
                  <a:cubicBezTo>
                    <a:pt x="3" y="0"/>
                    <a:pt x="3" y="0"/>
                    <a:pt x="3" y="0"/>
                  </a:cubicBezTo>
                  <a:cubicBezTo>
                    <a:pt x="3" y="0"/>
                    <a:pt x="2" y="0"/>
                    <a:pt x="2" y="0"/>
                  </a:cubicBezTo>
                  <a:cubicBezTo>
                    <a:pt x="2" y="0"/>
                    <a:pt x="1" y="0"/>
                    <a:pt x="1" y="0"/>
                  </a:cubicBezTo>
                  <a:cubicBezTo>
                    <a:pt x="1" y="0"/>
                    <a:pt x="0" y="0"/>
                    <a:pt x="0" y="0"/>
                  </a:cubicBezTo>
                  <a:cubicBezTo>
                    <a:pt x="0" y="0"/>
                    <a:pt x="0" y="0"/>
                    <a:pt x="0" y="0"/>
                  </a:cubicBezTo>
                  <a:cubicBezTo>
                    <a:pt x="0" y="0"/>
                    <a:pt x="0" y="0"/>
                    <a:pt x="0" y="0"/>
                  </a:cubicBezTo>
                  <a:cubicBezTo>
                    <a:pt x="0" y="29"/>
                    <a:pt x="0" y="29"/>
                    <a:pt x="0" y="29"/>
                  </a:cubicBezTo>
                  <a:cubicBezTo>
                    <a:pt x="0" y="30"/>
                    <a:pt x="0" y="30"/>
                    <a:pt x="0" y="30"/>
                  </a:cubicBezTo>
                  <a:cubicBezTo>
                    <a:pt x="0" y="30"/>
                    <a:pt x="0" y="30"/>
                    <a:pt x="0" y="30"/>
                  </a:cubicBezTo>
                  <a:cubicBezTo>
                    <a:pt x="0" y="30"/>
                    <a:pt x="1" y="30"/>
                    <a:pt x="1" y="30"/>
                  </a:cubicBezTo>
                  <a:cubicBezTo>
                    <a:pt x="1" y="30"/>
                    <a:pt x="1" y="30"/>
                    <a:pt x="2" y="30"/>
                  </a:cubicBezTo>
                  <a:cubicBezTo>
                    <a:pt x="2" y="30"/>
                    <a:pt x="3" y="30"/>
                    <a:pt x="3" y="30"/>
                  </a:cubicBezTo>
                  <a:cubicBezTo>
                    <a:pt x="3" y="30"/>
                    <a:pt x="3" y="30"/>
                    <a:pt x="3" y="30"/>
                  </a:cubicBezTo>
                  <a:cubicBezTo>
                    <a:pt x="4" y="30"/>
                    <a:pt x="4" y="30"/>
                    <a:pt x="4" y="30"/>
                  </a:cubicBezTo>
                  <a:cubicBezTo>
                    <a:pt x="4" y="30"/>
                    <a:pt x="4" y="30"/>
                    <a:pt x="4" y="29"/>
                  </a:cubicBezTo>
                  <a:cubicBezTo>
                    <a:pt x="4" y="0"/>
                    <a:pt x="4" y="0"/>
                    <a:pt x="4"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Freeform 111">
              <a:extLst>
                <a:ext uri="{FF2B5EF4-FFF2-40B4-BE49-F238E27FC236}">
                  <a16:creationId xmlns:a16="http://schemas.microsoft.com/office/drawing/2014/main" id="{46836BD5-403B-4873-9A18-1B2302FCB63F}"/>
                </a:ext>
              </a:extLst>
            </p:cNvPr>
            <p:cNvSpPr>
              <a:spLocks noEditPoints="1"/>
            </p:cNvSpPr>
            <p:nvPr/>
          </p:nvSpPr>
          <p:spPr bwMode="auto">
            <a:xfrm>
              <a:off x="8903973" y="3161332"/>
              <a:ext cx="57717" cy="79361"/>
            </a:xfrm>
            <a:custGeom>
              <a:avLst/>
              <a:gdLst>
                <a:gd name="T0" fmla="*/ 17 w 17"/>
                <a:gd name="T1" fmla="*/ 8 h 23"/>
                <a:gd name="T2" fmla="*/ 17 w 17"/>
                <a:gd name="T3" fmla="*/ 5 h 23"/>
                <a:gd name="T4" fmla="*/ 15 w 17"/>
                <a:gd name="T5" fmla="*/ 2 h 23"/>
                <a:gd name="T6" fmla="*/ 13 w 17"/>
                <a:gd name="T7" fmla="*/ 1 h 23"/>
                <a:gd name="T8" fmla="*/ 9 w 17"/>
                <a:gd name="T9" fmla="*/ 0 h 23"/>
                <a:gd name="T10" fmla="*/ 7 w 17"/>
                <a:gd name="T11" fmla="*/ 1 h 23"/>
                <a:gd name="T12" fmla="*/ 4 w 17"/>
                <a:gd name="T13" fmla="*/ 1 h 23"/>
                <a:gd name="T14" fmla="*/ 3 w 17"/>
                <a:gd name="T15" fmla="*/ 2 h 23"/>
                <a:gd name="T16" fmla="*/ 2 w 17"/>
                <a:gd name="T17" fmla="*/ 3 h 23"/>
                <a:gd name="T18" fmla="*/ 1 w 17"/>
                <a:gd name="T19" fmla="*/ 3 h 23"/>
                <a:gd name="T20" fmla="*/ 1 w 17"/>
                <a:gd name="T21" fmla="*/ 4 h 23"/>
                <a:gd name="T22" fmla="*/ 1 w 17"/>
                <a:gd name="T23" fmla="*/ 5 h 23"/>
                <a:gd name="T24" fmla="*/ 1 w 17"/>
                <a:gd name="T25" fmla="*/ 5 h 23"/>
                <a:gd name="T26" fmla="*/ 1 w 17"/>
                <a:gd name="T27" fmla="*/ 6 h 23"/>
                <a:gd name="T28" fmla="*/ 2 w 17"/>
                <a:gd name="T29" fmla="*/ 6 h 23"/>
                <a:gd name="T30" fmla="*/ 3 w 17"/>
                <a:gd name="T31" fmla="*/ 5 h 23"/>
                <a:gd name="T32" fmla="*/ 4 w 17"/>
                <a:gd name="T33" fmla="*/ 5 h 23"/>
                <a:gd name="T34" fmla="*/ 6 w 17"/>
                <a:gd name="T35" fmla="*/ 4 h 23"/>
                <a:gd name="T36" fmla="*/ 9 w 17"/>
                <a:gd name="T37" fmla="*/ 3 h 23"/>
                <a:gd name="T38" fmla="*/ 11 w 17"/>
                <a:gd name="T39" fmla="*/ 4 h 23"/>
                <a:gd name="T40" fmla="*/ 12 w 17"/>
                <a:gd name="T41" fmla="*/ 5 h 23"/>
                <a:gd name="T42" fmla="*/ 13 w 17"/>
                <a:gd name="T43" fmla="*/ 6 h 23"/>
                <a:gd name="T44" fmla="*/ 13 w 17"/>
                <a:gd name="T45" fmla="*/ 8 h 23"/>
                <a:gd name="T46" fmla="*/ 13 w 17"/>
                <a:gd name="T47" fmla="*/ 10 h 23"/>
                <a:gd name="T48" fmla="*/ 11 w 17"/>
                <a:gd name="T49" fmla="*/ 10 h 23"/>
                <a:gd name="T50" fmla="*/ 6 w 17"/>
                <a:gd name="T51" fmla="*/ 10 h 23"/>
                <a:gd name="T52" fmla="*/ 3 w 17"/>
                <a:gd name="T53" fmla="*/ 12 h 23"/>
                <a:gd name="T54" fmla="*/ 1 w 17"/>
                <a:gd name="T55" fmla="*/ 14 h 23"/>
                <a:gd name="T56" fmla="*/ 0 w 17"/>
                <a:gd name="T57" fmla="*/ 17 h 23"/>
                <a:gd name="T58" fmla="*/ 1 w 17"/>
                <a:gd name="T59" fmla="*/ 20 h 23"/>
                <a:gd name="T60" fmla="*/ 2 w 17"/>
                <a:gd name="T61" fmla="*/ 22 h 23"/>
                <a:gd name="T62" fmla="*/ 4 w 17"/>
                <a:gd name="T63" fmla="*/ 23 h 23"/>
                <a:gd name="T64" fmla="*/ 7 w 17"/>
                <a:gd name="T65" fmla="*/ 23 h 23"/>
                <a:gd name="T66" fmla="*/ 11 w 17"/>
                <a:gd name="T67" fmla="*/ 23 h 23"/>
                <a:gd name="T68" fmla="*/ 14 w 17"/>
                <a:gd name="T69" fmla="*/ 20 h 23"/>
                <a:gd name="T70" fmla="*/ 14 w 17"/>
                <a:gd name="T71" fmla="*/ 22 h 23"/>
                <a:gd name="T72" fmla="*/ 14 w 17"/>
                <a:gd name="T73" fmla="*/ 23 h 23"/>
                <a:gd name="T74" fmla="*/ 15 w 17"/>
                <a:gd name="T75" fmla="*/ 23 h 23"/>
                <a:gd name="T76" fmla="*/ 16 w 17"/>
                <a:gd name="T77" fmla="*/ 23 h 23"/>
                <a:gd name="T78" fmla="*/ 17 w 17"/>
                <a:gd name="T79" fmla="*/ 23 h 23"/>
                <a:gd name="T80" fmla="*/ 17 w 17"/>
                <a:gd name="T81" fmla="*/ 23 h 23"/>
                <a:gd name="T82" fmla="*/ 17 w 17"/>
                <a:gd name="T83" fmla="*/ 22 h 23"/>
                <a:gd name="T84" fmla="*/ 17 w 17"/>
                <a:gd name="T85" fmla="*/ 8 h 23"/>
                <a:gd name="T86" fmla="*/ 13 w 17"/>
                <a:gd name="T87" fmla="*/ 17 h 23"/>
                <a:gd name="T88" fmla="*/ 11 w 17"/>
                <a:gd name="T89" fmla="*/ 20 h 23"/>
                <a:gd name="T90" fmla="*/ 8 w 17"/>
                <a:gd name="T91" fmla="*/ 20 h 23"/>
                <a:gd name="T92" fmla="*/ 5 w 17"/>
                <a:gd name="T93" fmla="*/ 19 h 23"/>
                <a:gd name="T94" fmla="*/ 4 w 17"/>
                <a:gd name="T95" fmla="*/ 17 h 23"/>
                <a:gd name="T96" fmla="*/ 4 w 17"/>
                <a:gd name="T97" fmla="*/ 15 h 23"/>
                <a:gd name="T98" fmla="*/ 5 w 17"/>
                <a:gd name="T99" fmla="*/ 14 h 23"/>
                <a:gd name="T100" fmla="*/ 7 w 17"/>
                <a:gd name="T101" fmla="*/ 13 h 23"/>
                <a:gd name="T102" fmla="*/ 10 w 17"/>
                <a:gd name="T103" fmla="*/ 13 h 23"/>
                <a:gd name="T104" fmla="*/ 13 w 17"/>
                <a:gd name="T105" fmla="*/ 13 h 23"/>
                <a:gd name="T106" fmla="*/ 13 w 17"/>
                <a:gd name="T10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 h="23">
                  <a:moveTo>
                    <a:pt x="17" y="8"/>
                  </a:moveTo>
                  <a:cubicBezTo>
                    <a:pt x="17" y="7"/>
                    <a:pt x="17" y="6"/>
                    <a:pt x="17" y="5"/>
                  </a:cubicBezTo>
                  <a:cubicBezTo>
                    <a:pt x="17" y="4"/>
                    <a:pt x="16" y="3"/>
                    <a:pt x="15" y="2"/>
                  </a:cubicBezTo>
                  <a:cubicBezTo>
                    <a:pt x="15" y="2"/>
                    <a:pt x="14" y="1"/>
                    <a:pt x="13" y="1"/>
                  </a:cubicBezTo>
                  <a:cubicBezTo>
                    <a:pt x="12" y="0"/>
                    <a:pt x="11" y="0"/>
                    <a:pt x="9" y="0"/>
                  </a:cubicBezTo>
                  <a:cubicBezTo>
                    <a:pt x="8" y="0"/>
                    <a:pt x="7" y="0"/>
                    <a:pt x="7" y="1"/>
                  </a:cubicBezTo>
                  <a:cubicBezTo>
                    <a:pt x="6" y="1"/>
                    <a:pt x="5" y="1"/>
                    <a:pt x="4" y="1"/>
                  </a:cubicBezTo>
                  <a:cubicBezTo>
                    <a:pt x="4" y="1"/>
                    <a:pt x="3" y="2"/>
                    <a:pt x="3" y="2"/>
                  </a:cubicBezTo>
                  <a:cubicBezTo>
                    <a:pt x="2" y="2"/>
                    <a:pt x="2" y="2"/>
                    <a:pt x="2" y="3"/>
                  </a:cubicBezTo>
                  <a:cubicBezTo>
                    <a:pt x="1" y="3"/>
                    <a:pt x="1" y="3"/>
                    <a:pt x="1" y="3"/>
                  </a:cubicBezTo>
                  <a:cubicBezTo>
                    <a:pt x="1" y="3"/>
                    <a:pt x="1" y="4"/>
                    <a:pt x="1" y="4"/>
                  </a:cubicBezTo>
                  <a:cubicBezTo>
                    <a:pt x="1" y="4"/>
                    <a:pt x="1" y="5"/>
                    <a:pt x="1" y="5"/>
                  </a:cubicBezTo>
                  <a:cubicBezTo>
                    <a:pt x="1" y="5"/>
                    <a:pt x="1" y="5"/>
                    <a:pt x="1" y="5"/>
                  </a:cubicBezTo>
                  <a:cubicBezTo>
                    <a:pt x="1" y="5"/>
                    <a:pt x="1" y="5"/>
                    <a:pt x="1" y="6"/>
                  </a:cubicBezTo>
                  <a:cubicBezTo>
                    <a:pt x="2" y="6"/>
                    <a:pt x="2" y="6"/>
                    <a:pt x="2" y="6"/>
                  </a:cubicBezTo>
                  <a:cubicBezTo>
                    <a:pt x="2" y="6"/>
                    <a:pt x="2" y="5"/>
                    <a:pt x="3" y="5"/>
                  </a:cubicBezTo>
                  <a:cubicBezTo>
                    <a:pt x="3" y="5"/>
                    <a:pt x="4" y="5"/>
                    <a:pt x="4" y="5"/>
                  </a:cubicBezTo>
                  <a:cubicBezTo>
                    <a:pt x="5" y="4"/>
                    <a:pt x="5" y="4"/>
                    <a:pt x="6" y="4"/>
                  </a:cubicBezTo>
                  <a:cubicBezTo>
                    <a:pt x="7" y="4"/>
                    <a:pt x="8" y="3"/>
                    <a:pt x="9" y="3"/>
                  </a:cubicBezTo>
                  <a:cubicBezTo>
                    <a:pt x="10" y="3"/>
                    <a:pt x="10" y="4"/>
                    <a:pt x="11" y="4"/>
                  </a:cubicBezTo>
                  <a:cubicBezTo>
                    <a:pt x="12" y="4"/>
                    <a:pt x="12" y="4"/>
                    <a:pt x="12" y="5"/>
                  </a:cubicBezTo>
                  <a:cubicBezTo>
                    <a:pt x="13" y="5"/>
                    <a:pt x="13" y="6"/>
                    <a:pt x="13" y="6"/>
                  </a:cubicBezTo>
                  <a:cubicBezTo>
                    <a:pt x="13" y="7"/>
                    <a:pt x="13" y="8"/>
                    <a:pt x="13" y="8"/>
                  </a:cubicBezTo>
                  <a:cubicBezTo>
                    <a:pt x="13" y="10"/>
                    <a:pt x="13" y="10"/>
                    <a:pt x="13" y="10"/>
                  </a:cubicBezTo>
                  <a:cubicBezTo>
                    <a:pt x="11" y="10"/>
                    <a:pt x="11" y="10"/>
                    <a:pt x="11" y="10"/>
                  </a:cubicBezTo>
                  <a:cubicBezTo>
                    <a:pt x="9" y="10"/>
                    <a:pt x="7" y="10"/>
                    <a:pt x="6" y="10"/>
                  </a:cubicBezTo>
                  <a:cubicBezTo>
                    <a:pt x="5" y="11"/>
                    <a:pt x="4" y="11"/>
                    <a:pt x="3" y="12"/>
                  </a:cubicBezTo>
                  <a:cubicBezTo>
                    <a:pt x="2" y="12"/>
                    <a:pt x="1" y="13"/>
                    <a:pt x="1" y="14"/>
                  </a:cubicBezTo>
                  <a:cubicBezTo>
                    <a:pt x="0" y="15"/>
                    <a:pt x="0" y="16"/>
                    <a:pt x="0" y="17"/>
                  </a:cubicBezTo>
                  <a:cubicBezTo>
                    <a:pt x="0" y="18"/>
                    <a:pt x="0" y="19"/>
                    <a:pt x="1" y="20"/>
                  </a:cubicBezTo>
                  <a:cubicBezTo>
                    <a:pt x="1" y="21"/>
                    <a:pt x="1" y="21"/>
                    <a:pt x="2" y="22"/>
                  </a:cubicBezTo>
                  <a:cubicBezTo>
                    <a:pt x="3" y="22"/>
                    <a:pt x="3" y="23"/>
                    <a:pt x="4" y="23"/>
                  </a:cubicBezTo>
                  <a:cubicBezTo>
                    <a:pt x="5" y="23"/>
                    <a:pt x="6" y="23"/>
                    <a:pt x="7" y="23"/>
                  </a:cubicBezTo>
                  <a:cubicBezTo>
                    <a:pt x="9" y="23"/>
                    <a:pt x="10" y="23"/>
                    <a:pt x="11" y="23"/>
                  </a:cubicBezTo>
                  <a:cubicBezTo>
                    <a:pt x="12" y="22"/>
                    <a:pt x="13" y="21"/>
                    <a:pt x="14" y="20"/>
                  </a:cubicBezTo>
                  <a:cubicBezTo>
                    <a:pt x="14" y="22"/>
                    <a:pt x="14" y="22"/>
                    <a:pt x="14" y="22"/>
                  </a:cubicBezTo>
                  <a:cubicBezTo>
                    <a:pt x="14" y="23"/>
                    <a:pt x="14" y="23"/>
                    <a:pt x="14" y="23"/>
                  </a:cubicBezTo>
                  <a:cubicBezTo>
                    <a:pt x="14" y="23"/>
                    <a:pt x="14" y="23"/>
                    <a:pt x="15" y="23"/>
                  </a:cubicBezTo>
                  <a:cubicBezTo>
                    <a:pt x="15" y="23"/>
                    <a:pt x="15" y="23"/>
                    <a:pt x="16" y="23"/>
                  </a:cubicBezTo>
                  <a:cubicBezTo>
                    <a:pt x="16" y="23"/>
                    <a:pt x="16" y="23"/>
                    <a:pt x="17" y="23"/>
                  </a:cubicBezTo>
                  <a:cubicBezTo>
                    <a:pt x="17" y="23"/>
                    <a:pt x="17" y="23"/>
                    <a:pt x="17" y="23"/>
                  </a:cubicBezTo>
                  <a:cubicBezTo>
                    <a:pt x="17" y="23"/>
                    <a:pt x="17" y="23"/>
                    <a:pt x="17" y="22"/>
                  </a:cubicBezTo>
                  <a:cubicBezTo>
                    <a:pt x="17" y="8"/>
                    <a:pt x="17" y="8"/>
                    <a:pt x="17" y="8"/>
                  </a:cubicBezTo>
                  <a:close/>
                  <a:moveTo>
                    <a:pt x="13" y="17"/>
                  </a:moveTo>
                  <a:cubicBezTo>
                    <a:pt x="13" y="18"/>
                    <a:pt x="12" y="19"/>
                    <a:pt x="11" y="20"/>
                  </a:cubicBezTo>
                  <a:cubicBezTo>
                    <a:pt x="10" y="20"/>
                    <a:pt x="9" y="20"/>
                    <a:pt x="8" y="20"/>
                  </a:cubicBezTo>
                  <a:cubicBezTo>
                    <a:pt x="7" y="20"/>
                    <a:pt x="6" y="20"/>
                    <a:pt x="5" y="19"/>
                  </a:cubicBezTo>
                  <a:cubicBezTo>
                    <a:pt x="4" y="19"/>
                    <a:pt x="4" y="18"/>
                    <a:pt x="4" y="17"/>
                  </a:cubicBezTo>
                  <a:cubicBezTo>
                    <a:pt x="4" y="16"/>
                    <a:pt x="4" y="16"/>
                    <a:pt x="4" y="15"/>
                  </a:cubicBezTo>
                  <a:cubicBezTo>
                    <a:pt x="5" y="15"/>
                    <a:pt x="5" y="14"/>
                    <a:pt x="5" y="14"/>
                  </a:cubicBezTo>
                  <a:cubicBezTo>
                    <a:pt x="6" y="14"/>
                    <a:pt x="7" y="13"/>
                    <a:pt x="7" y="13"/>
                  </a:cubicBezTo>
                  <a:cubicBezTo>
                    <a:pt x="8" y="13"/>
                    <a:pt x="9" y="13"/>
                    <a:pt x="10" y="13"/>
                  </a:cubicBezTo>
                  <a:cubicBezTo>
                    <a:pt x="13" y="13"/>
                    <a:pt x="13" y="13"/>
                    <a:pt x="13" y="13"/>
                  </a:cubicBezTo>
                  <a:cubicBezTo>
                    <a:pt x="13" y="17"/>
                    <a:pt x="13" y="17"/>
                    <a:pt x="13" y="17"/>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Freeform 112">
              <a:extLst>
                <a:ext uri="{FF2B5EF4-FFF2-40B4-BE49-F238E27FC236}">
                  <a16:creationId xmlns:a16="http://schemas.microsoft.com/office/drawing/2014/main" id="{2A3C586D-E5D3-4832-A57B-67EA24593B68}"/>
                </a:ext>
              </a:extLst>
            </p:cNvPr>
            <p:cNvSpPr>
              <a:spLocks/>
            </p:cNvSpPr>
            <p:nvPr/>
          </p:nvSpPr>
          <p:spPr bwMode="auto">
            <a:xfrm>
              <a:off x="8986219" y="3161332"/>
              <a:ext cx="64932" cy="79361"/>
            </a:xfrm>
            <a:custGeom>
              <a:avLst/>
              <a:gdLst>
                <a:gd name="T0" fmla="*/ 19 w 19"/>
                <a:gd name="T1" fmla="*/ 10 h 23"/>
                <a:gd name="T2" fmla="*/ 18 w 19"/>
                <a:gd name="T3" fmla="*/ 6 h 23"/>
                <a:gd name="T4" fmla="*/ 17 w 19"/>
                <a:gd name="T5" fmla="*/ 3 h 23"/>
                <a:gd name="T6" fmla="*/ 15 w 19"/>
                <a:gd name="T7" fmla="*/ 1 h 23"/>
                <a:gd name="T8" fmla="*/ 11 w 19"/>
                <a:gd name="T9" fmla="*/ 0 h 23"/>
                <a:gd name="T10" fmla="*/ 7 w 19"/>
                <a:gd name="T11" fmla="*/ 1 h 23"/>
                <a:gd name="T12" fmla="*/ 4 w 19"/>
                <a:gd name="T13" fmla="*/ 4 h 23"/>
                <a:gd name="T14" fmla="*/ 4 w 19"/>
                <a:gd name="T15" fmla="*/ 1 h 23"/>
                <a:gd name="T16" fmla="*/ 4 w 19"/>
                <a:gd name="T17" fmla="*/ 1 h 23"/>
                <a:gd name="T18" fmla="*/ 4 w 19"/>
                <a:gd name="T19" fmla="*/ 1 h 23"/>
                <a:gd name="T20" fmla="*/ 3 w 19"/>
                <a:gd name="T21" fmla="*/ 1 h 23"/>
                <a:gd name="T22" fmla="*/ 2 w 19"/>
                <a:gd name="T23" fmla="*/ 1 h 23"/>
                <a:gd name="T24" fmla="*/ 1 w 19"/>
                <a:gd name="T25" fmla="*/ 1 h 23"/>
                <a:gd name="T26" fmla="*/ 1 w 19"/>
                <a:gd name="T27" fmla="*/ 1 h 23"/>
                <a:gd name="T28" fmla="*/ 1 w 19"/>
                <a:gd name="T29" fmla="*/ 1 h 23"/>
                <a:gd name="T30" fmla="*/ 0 w 19"/>
                <a:gd name="T31" fmla="*/ 1 h 23"/>
                <a:gd name="T32" fmla="*/ 0 w 19"/>
                <a:gd name="T33" fmla="*/ 22 h 23"/>
                <a:gd name="T34" fmla="*/ 1 w 19"/>
                <a:gd name="T35" fmla="*/ 23 h 23"/>
                <a:gd name="T36" fmla="*/ 1 w 19"/>
                <a:gd name="T37" fmla="*/ 23 h 23"/>
                <a:gd name="T38" fmla="*/ 1 w 19"/>
                <a:gd name="T39" fmla="*/ 23 h 23"/>
                <a:gd name="T40" fmla="*/ 2 w 19"/>
                <a:gd name="T41" fmla="*/ 23 h 23"/>
                <a:gd name="T42" fmla="*/ 3 w 19"/>
                <a:gd name="T43" fmla="*/ 23 h 23"/>
                <a:gd name="T44" fmla="*/ 4 w 19"/>
                <a:gd name="T45" fmla="*/ 23 h 23"/>
                <a:gd name="T46" fmla="*/ 4 w 19"/>
                <a:gd name="T47" fmla="*/ 23 h 23"/>
                <a:gd name="T48" fmla="*/ 4 w 19"/>
                <a:gd name="T49" fmla="*/ 22 h 23"/>
                <a:gd name="T50" fmla="*/ 4 w 19"/>
                <a:gd name="T51" fmla="*/ 8 h 23"/>
                <a:gd name="T52" fmla="*/ 7 w 19"/>
                <a:gd name="T53" fmla="*/ 5 h 23"/>
                <a:gd name="T54" fmla="*/ 10 w 19"/>
                <a:gd name="T55" fmla="*/ 4 h 23"/>
                <a:gd name="T56" fmla="*/ 12 w 19"/>
                <a:gd name="T57" fmla="*/ 4 h 23"/>
                <a:gd name="T58" fmla="*/ 14 w 19"/>
                <a:gd name="T59" fmla="*/ 5 h 23"/>
                <a:gd name="T60" fmla="*/ 14 w 19"/>
                <a:gd name="T61" fmla="*/ 7 h 23"/>
                <a:gd name="T62" fmla="*/ 15 w 19"/>
                <a:gd name="T63" fmla="*/ 10 h 23"/>
                <a:gd name="T64" fmla="*/ 15 w 19"/>
                <a:gd name="T65" fmla="*/ 22 h 23"/>
                <a:gd name="T66" fmla="*/ 15 w 19"/>
                <a:gd name="T67" fmla="*/ 23 h 23"/>
                <a:gd name="T68" fmla="*/ 15 w 19"/>
                <a:gd name="T69" fmla="*/ 23 h 23"/>
                <a:gd name="T70" fmla="*/ 16 w 19"/>
                <a:gd name="T71" fmla="*/ 23 h 23"/>
                <a:gd name="T72" fmla="*/ 17 w 19"/>
                <a:gd name="T73" fmla="*/ 23 h 23"/>
                <a:gd name="T74" fmla="*/ 18 w 19"/>
                <a:gd name="T75" fmla="*/ 23 h 23"/>
                <a:gd name="T76" fmla="*/ 18 w 19"/>
                <a:gd name="T77" fmla="*/ 23 h 23"/>
                <a:gd name="T78" fmla="*/ 19 w 19"/>
                <a:gd name="T79" fmla="*/ 23 h 23"/>
                <a:gd name="T80" fmla="*/ 19 w 19"/>
                <a:gd name="T81" fmla="*/ 22 h 23"/>
                <a:gd name="T82" fmla="*/ 19 w 19"/>
                <a:gd name="T83"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 h="23">
                  <a:moveTo>
                    <a:pt x="19" y="10"/>
                  </a:moveTo>
                  <a:cubicBezTo>
                    <a:pt x="19" y="8"/>
                    <a:pt x="18" y="7"/>
                    <a:pt x="18" y="6"/>
                  </a:cubicBezTo>
                  <a:cubicBezTo>
                    <a:pt x="18" y="5"/>
                    <a:pt x="18" y="4"/>
                    <a:pt x="17" y="3"/>
                  </a:cubicBezTo>
                  <a:cubicBezTo>
                    <a:pt x="16" y="2"/>
                    <a:pt x="16" y="1"/>
                    <a:pt x="15" y="1"/>
                  </a:cubicBezTo>
                  <a:cubicBezTo>
                    <a:pt x="14" y="1"/>
                    <a:pt x="12" y="0"/>
                    <a:pt x="11" y="0"/>
                  </a:cubicBezTo>
                  <a:cubicBezTo>
                    <a:pt x="10" y="0"/>
                    <a:pt x="9" y="1"/>
                    <a:pt x="7" y="1"/>
                  </a:cubicBezTo>
                  <a:cubicBezTo>
                    <a:pt x="6" y="2"/>
                    <a:pt x="5" y="3"/>
                    <a:pt x="4" y="4"/>
                  </a:cubicBezTo>
                  <a:cubicBezTo>
                    <a:pt x="4" y="1"/>
                    <a:pt x="4" y="1"/>
                    <a:pt x="4" y="1"/>
                  </a:cubicBezTo>
                  <a:cubicBezTo>
                    <a:pt x="4" y="1"/>
                    <a:pt x="4" y="1"/>
                    <a:pt x="4" y="1"/>
                  </a:cubicBezTo>
                  <a:cubicBezTo>
                    <a:pt x="4" y="1"/>
                    <a:pt x="4" y="1"/>
                    <a:pt x="4" y="1"/>
                  </a:cubicBezTo>
                  <a:cubicBezTo>
                    <a:pt x="3" y="1"/>
                    <a:pt x="3" y="1"/>
                    <a:pt x="3" y="1"/>
                  </a:cubicBezTo>
                  <a:cubicBezTo>
                    <a:pt x="3" y="1"/>
                    <a:pt x="3" y="1"/>
                    <a:pt x="2" y="1"/>
                  </a:cubicBezTo>
                  <a:cubicBezTo>
                    <a:pt x="2" y="1"/>
                    <a:pt x="2" y="1"/>
                    <a:pt x="1" y="1"/>
                  </a:cubicBezTo>
                  <a:cubicBezTo>
                    <a:pt x="1" y="1"/>
                    <a:pt x="1" y="1"/>
                    <a:pt x="1" y="1"/>
                  </a:cubicBezTo>
                  <a:cubicBezTo>
                    <a:pt x="1" y="1"/>
                    <a:pt x="1" y="1"/>
                    <a:pt x="1" y="1"/>
                  </a:cubicBezTo>
                  <a:cubicBezTo>
                    <a:pt x="0" y="1"/>
                    <a:pt x="0" y="1"/>
                    <a:pt x="0" y="1"/>
                  </a:cubicBezTo>
                  <a:cubicBezTo>
                    <a:pt x="0" y="22"/>
                    <a:pt x="0" y="22"/>
                    <a:pt x="0" y="22"/>
                  </a:cubicBezTo>
                  <a:cubicBezTo>
                    <a:pt x="0" y="23"/>
                    <a:pt x="0" y="23"/>
                    <a:pt x="1" y="23"/>
                  </a:cubicBezTo>
                  <a:cubicBezTo>
                    <a:pt x="1" y="23"/>
                    <a:pt x="1" y="23"/>
                    <a:pt x="1" y="23"/>
                  </a:cubicBezTo>
                  <a:cubicBezTo>
                    <a:pt x="1" y="23"/>
                    <a:pt x="1" y="23"/>
                    <a:pt x="1" y="23"/>
                  </a:cubicBezTo>
                  <a:cubicBezTo>
                    <a:pt x="2" y="23"/>
                    <a:pt x="2" y="23"/>
                    <a:pt x="2" y="23"/>
                  </a:cubicBezTo>
                  <a:cubicBezTo>
                    <a:pt x="3" y="23"/>
                    <a:pt x="3" y="23"/>
                    <a:pt x="3" y="23"/>
                  </a:cubicBezTo>
                  <a:cubicBezTo>
                    <a:pt x="4" y="23"/>
                    <a:pt x="4" y="23"/>
                    <a:pt x="4" y="23"/>
                  </a:cubicBezTo>
                  <a:cubicBezTo>
                    <a:pt x="4" y="23"/>
                    <a:pt x="4" y="23"/>
                    <a:pt x="4" y="23"/>
                  </a:cubicBezTo>
                  <a:cubicBezTo>
                    <a:pt x="4" y="23"/>
                    <a:pt x="4" y="23"/>
                    <a:pt x="4" y="22"/>
                  </a:cubicBezTo>
                  <a:cubicBezTo>
                    <a:pt x="4" y="8"/>
                    <a:pt x="4" y="8"/>
                    <a:pt x="4" y="8"/>
                  </a:cubicBezTo>
                  <a:cubicBezTo>
                    <a:pt x="5" y="6"/>
                    <a:pt x="6" y="5"/>
                    <a:pt x="7" y="5"/>
                  </a:cubicBezTo>
                  <a:cubicBezTo>
                    <a:pt x="8" y="4"/>
                    <a:pt x="9" y="4"/>
                    <a:pt x="10" y="4"/>
                  </a:cubicBezTo>
                  <a:cubicBezTo>
                    <a:pt x="11" y="4"/>
                    <a:pt x="12" y="4"/>
                    <a:pt x="12" y="4"/>
                  </a:cubicBezTo>
                  <a:cubicBezTo>
                    <a:pt x="13" y="4"/>
                    <a:pt x="13" y="5"/>
                    <a:pt x="14" y="5"/>
                  </a:cubicBezTo>
                  <a:cubicBezTo>
                    <a:pt x="14" y="6"/>
                    <a:pt x="14" y="6"/>
                    <a:pt x="14" y="7"/>
                  </a:cubicBezTo>
                  <a:cubicBezTo>
                    <a:pt x="15" y="8"/>
                    <a:pt x="15" y="9"/>
                    <a:pt x="15" y="10"/>
                  </a:cubicBezTo>
                  <a:cubicBezTo>
                    <a:pt x="15" y="22"/>
                    <a:pt x="15" y="22"/>
                    <a:pt x="15" y="22"/>
                  </a:cubicBezTo>
                  <a:cubicBezTo>
                    <a:pt x="15" y="23"/>
                    <a:pt x="15" y="23"/>
                    <a:pt x="15" y="23"/>
                  </a:cubicBezTo>
                  <a:cubicBezTo>
                    <a:pt x="15" y="23"/>
                    <a:pt x="15" y="23"/>
                    <a:pt x="15" y="23"/>
                  </a:cubicBezTo>
                  <a:cubicBezTo>
                    <a:pt x="15" y="23"/>
                    <a:pt x="15" y="23"/>
                    <a:pt x="16" y="23"/>
                  </a:cubicBezTo>
                  <a:cubicBezTo>
                    <a:pt x="16" y="23"/>
                    <a:pt x="16" y="23"/>
                    <a:pt x="17" y="23"/>
                  </a:cubicBezTo>
                  <a:cubicBezTo>
                    <a:pt x="17" y="23"/>
                    <a:pt x="17" y="23"/>
                    <a:pt x="18" y="23"/>
                  </a:cubicBezTo>
                  <a:cubicBezTo>
                    <a:pt x="18" y="23"/>
                    <a:pt x="18" y="23"/>
                    <a:pt x="18" y="23"/>
                  </a:cubicBezTo>
                  <a:cubicBezTo>
                    <a:pt x="18" y="23"/>
                    <a:pt x="18" y="23"/>
                    <a:pt x="19" y="23"/>
                  </a:cubicBezTo>
                  <a:cubicBezTo>
                    <a:pt x="19" y="23"/>
                    <a:pt x="19" y="23"/>
                    <a:pt x="19" y="22"/>
                  </a:cubicBezTo>
                  <a:cubicBezTo>
                    <a:pt x="19" y="10"/>
                    <a:pt x="19" y="10"/>
                    <a:pt x="19"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Freeform 113">
              <a:extLst>
                <a:ext uri="{FF2B5EF4-FFF2-40B4-BE49-F238E27FC236}">
                  <a16:creationId xmlns:a16="http://schemas.microsoft.com/office/drawing/2014/main" id="{4661C74D-FCA6-4442-A043-301E989D3946}"/>
                </a:ext>
              </a:extLst>
            </p:cNvPr>
            <p:cNvSpPr>
              <a:spLocks noEditPoints="1"/>
            </p:cNvSpPr>
            <p:nvPr/>
          </p:nvSpPr>
          <p:spPr bwMode="auto">
            <a:xfrm>
              <a:off x="9068465" y="3126702"/>
              <a:ext cx="67817" cy="113991"/>
            </a:xfrm>
            <a:custGeom>
              <a:avLst/>
              <a:gdLst>
                <a:gd name="T0" fmla="*/ 20 w 20"/>
                <a:gd name="T1" fmla="*/ 1 h 33"/>
                <a:gd name="T2" fmla="*/ 20 w 20"/>
                <a:gd name="T3" fmla="*/ 1 h 33"/>
                <a:gd name="T4" fmla="*/ 19 w 20"/>
                <a:gd name="T5" fmla="*/ 1 h 33"/>
                <a:gd name="T6" fmla="*/ 19 w 20"/>
                <a:gd name="T7" fmla="*/ 1 h 33"/>
                <a:gd name="T8" fmla="*/ 18 w 20"/>
                <a:gd name="T9" fmla="*/ 0 h 33"/>
                <a:gd name="T10" fmla="*/ 17 w 20"/>
                <a:gd name="T11" fmla="*/ 1 h 33"/>
                <a:gd name="T12" fmla="*/ 16 w 20"/>
                <a:gd name="T13" fmla="*/ 1 h 33"/>
                <a:gd name="T14" fmla="*/ 16 w 20"/>
                <a:gd name="T15" fmla="*/ 1 h 33"/>
                <a:gd name="T16" fmla="*/ 16 w 20"/>
                <a:gd name="T17" fmla="*/ 1 h 33"/>
                <a:gd name="T18" fmla="*/ 16 w 20"/>
                <a:gd name="T19" fmla="*/ 13 h 33"/>
                <a:gd name="T20" fmla="*/ 13 w 20"/>
                <a:gd name="T21" fmla="*/ 11 h 33"/>
                <a:gd name="T22" fmla="*/ 10 w 20"/>
                <a:gd name="T23" fmla="*/ 10 h 33"/>
                <a:gd name="T24" fmla="*/ 6 w 20"/>
                <a:gd name="T25" fmla="*/ 11 h 33"/>
                <a:gd name="T26" fmla="*/ 3 w 20"/>
                <a:gd name="T27" fmla="*/ 13 h 33"/>
                <a:gd name="T28" fmla="*/ 1 w 20"/>
                <a:gd name="T29" fmla="*/ 17 h 33"/>
                <a:gd name="T30" fmla="*/ 0 w 20"/>
                <a:gd name="T31" fmla="*/ 22 h 33"/>
                <a:gd name="T32" fmla="*/ 1 w 20"/>
                <a:gd name="T33" fmla="*/ 27 h 33"/>
                <a:gd name="T34" fmla="*/ 2 w 20"/>
                <a:gd name="T35" fmla="*/ 30 h 33"/>
                <a:gd name="T36" fmla="*/ 5 w 20"/>
                <a:gd name="T37" fmla="*/ 33 h 33"/>
                <a:gd name="T38" fmla="*/ 9 w 20"/>
                <a:gd name="T39" fmla="*/ 33 h 33"/>
                <a:gd name="T40" fmla="*/ 13 w 20"/>
                <a:gd name="T41" fmla="*/ 32 h 33"/>
                <a:gd name="T42" fmla="*/ 16 w 20"/>
                <a:gd name="T43" fmla="*/ 30 h 33"/>
                <a:gd name="T44" fmla="*/ 16 w 20"/>
                <a:gd name="T45" fmla="*/ 32 h 33"/>
                <a:gd name="T46" fmla="*/ 17 w 20"/>
                <a:gd name="T47" fmla="*/ 33 h 33"/>
                <a:gd name="T48" fmla="*/ 17 w 20"/>
                <a:gd name="T49" fmla="*/ 33 h 33"/>
                <a:gd name="T50" fmla="*/ 17 w 20"/>
                <a:gd name="T51" fmla="*/ 33 h 33"/>
                <a:gd name="T52" fmla="*/ 18 w 20"/>
                <a:gd name="T53" fmla="*/ 33 h 33"/>
                <a:gd name="T54" fmla="*/ 19 w 20"/>
                <a:gd name="T55" fmla="*/ 33 h 33"/>
                <a:gd name="T56" fmla="*/ 20 w 20"/>
                <a:gd name="T57" fmla="*/ 33 h 33"/>
                <a:gd name="T58" fmla="*/ 20 w 20"/>
                <a:gd name="T59" fmla="*/ 33 h 33"/>
                <a:gd name="T60" fmla="*/ 20 w 20"/>
                <a:gd name="T61" fmla="*/ 32 h 33"/>
                <a:gd name="T62" fmla="*/ 20 w 20"/>
                <a:gd name="T63" fmla="*/ 1 h 33"/>
                <a:gd name="T64" fmla="*/ 16 w 20"/>
                <a:gd name="T65" fmla="*/ 26 h 33"/>
                <a:gd name="T66" fmla="*/ 14 w 20"/>
                <a:gd name="T67" fmla="*/ 28 h 33"/>
                <a:gd name="T68" fmla="*/ 13 w 20"/>
                <a:gd name="T69" fmla="*/ 29 h 33"/>
                <a:gd name="T70" fmla="*/ 11 w 20"/>
                <a:gd name="T71" fmla="*/ 30 h 33"/>
                <a:gd name="T72" fmla="*/ 10 w 20"/>
                <a:gd name="T73" fmla="*/ 30 h 33"/>
                <a:gd name="T74" fmla="*/ 7 w 20"/>
                <a:gd name="T75" fmla="*/ 29 h 33"/>
                <a:gd name="T76" fmla="*/ 6 w 20"/>
                <a:gd name="T77" fmla="*/ 28 h 33"/>
                <a:gd name="T78" fmla="*/ 5 w 20"/>
                <a:gd name="T79" fmla="*/ 25 h 33"/>
                <a:gd name="T80" fmla="*/ 4 w 20"/>
                <a:gd name="T81" fmla="*/ 22 h 33"/>
                <a:gd name="T82" fmla="*/ 5 w 20"/>
                <a:gd name="T83" fmla="*/ 19 h 33"/>
                <a:gd name="T84" fmla="*/ 6 w 20"/>
                <a:gd name="T85" fmla="*/ 16 h 33"/>
                <a:gd name="T86" fmla="*/ 7 w 20"/>
                <a:gd name="T87" fmla="*/ 14 h 33"/>
                <a:gd name="T88" fmla="*/ 10 w 20"/>
                <a:gd name="T89" fmla="*/ 14 h 33"/>
                <a:gd name="T90" fmla="*/ 13 w 20"/>
                <a:gd name="T91" fmla="*/ 15 h 33"/>
                <a:gd name="T92" fmla="*/ 16 w 20"/>
                <a:gd name="T93" fmla="*/ 18 h 33"/>
                <a:gd name="T94" fmla="*/ 16 w 20"/>
                <a:gd name="T95"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33">
                  <a:moveTo>
                    <a:pt x="20" y="1"/>
                  </a:moveTo>
                  <a:cubicBezTo>
                    <a:pt x="20" y="1"/>
                    <a:pt x="20" y="1"/>
                    <a:pt x="20" y="1"/>
                  </a:cubicBezTo>
                  <a:cubicBezTo>
                    <a:pt x="20" y="1"/>
                    <a:pt x="20" y="1"/>
                    <a:pt x="19" y="1"/>
                  </a:cubicBezTo>
                  <a:cubicBezTo>
                    <a:pt x="19" y="1"/>
                    <a:pt x="19" y="1"/>
                    <a:pt x="19" y="1"/>
                  </a:cubicBezTo>
                  <a:cubicBezTo>
                    <a:pt x="19" y="0"/>
                    <a:pt x="18" y="0"/>
                    <a:pt x="18" y="0"/>
                  </a:cubicBezTo>
                  <a:cubicBezTo>
                    <a:pt x="18" y="0"/>
                    <a:pt x="17" y="0"/>
                    <a:pt x="17" y="1"/>
                  </a:cubicBezTo>
                  <a:cubicBezTo>
                    <a:pt x="17" y="1"/>
                    <a:pt x="17" y="1"/>
                    <a:pt x="16" y="1"/>
                  </a:cubicBezTo>
                  <a:cubicBezTo>
                    <a:pt x="16" y="1"/>
                    <a:pt x="16" y="1"/>
                    <a:pt x="16" y="1"/>
                  </a:cubicBezTo>
                  <a:cubicBezTo>
                    <a:pt x="16" y="1"/>
                    <a:pt x="16" y="1"/>
                    <a:pt x="16" y="1"/>
                  </a:cubicBezTo>
                  <a:cubicBezTo>
                    <a:pt x="16" y="13"/>
                    <a:pt x="16" y="13"/>
                    <a:pt x="16" y="13"/>
                  </a:cubicBezTo>
                  <a:cubicBezTo>
                    <a:pt x="15" y="12"/>
                    <a:pt x="14" y="12"/>
                    <a:pt x="13" y="11"/>
                  </a:cubicBezTo>
                  <a:cubicBezTo>
                    <a:pt x="12" y="11"/>
                    <a:pt x="11" y="10"/>
                    <a:pt x="10" y="10"/>
                  </a:cubicBezTo>
                  <a:cubicBezTo>
                    <a:pt x="8" y="10"/>
                    <a:pt x="7" y="11"/>
                    <a:pt x="6" y="11"/>
                  </a:cubicBezTo>
                  <a:cubicBezTo>
                    <a:pt x="5" y="12"/>
                    <a:pt x="4" y="12"/>
                    <a:pt x="3" y="13"/>
                  </a:cubicBezTo>
                  <a:cubicBezTo>
                    <a:pt x="2" y="15"/>
                    <a:pt x="1" y="16"/>
                    <a:pt x="1" y="17"/>
                  </a:cubicBezTo>
                  <a:cubicBezTo>
                    <a:pt x="1" y="19"/>
                    <a:pt x="0" y="20"/>
                    <a:pt x="0" y="22"/>
                  </a:cubicBezTo>
                  <a:cubicBezTo>
                    <a:pt x="0" y="24"/>
                    <a:pt x="1" y="25"/>
                    <a:pt x="1" y="27"/>
                  </a:cubicBezTo>
                  <a:cubicBezTo>
                    <a:pt x="1" y="28"/>
                    <a:pt x="2" y="29"/>
                    <a:pt x="2" y="30"/>
                  </a:cubicBezTo>
                  <a:cubicBezTo>
                    <a:pt x="3" y="31"/>
                    <a:pt x="4" y="32"/>
                    <a:pt x="5" y="33"/>
                  </a:cubicBezTo>
                  <a:cubicBezTo>
                    <a:pt x="6" y="33"/>
                    <a:pt x="7" y="33"/>
                    <a:pt x="9" y="33"/>
                  </a:cubicBezTo>
                  <a:cubicBezTo>
                    <a:pt x="10" y="33"/>
                    <a:pt x="12" y="33"/>
                    <a:pt x="13" y="32"/>
                  </a:cubicBezTo>
                  <a:cubicBezTo>
                    <a:pt x="14" y="32"/>
                    <a:pt x="15" y="31"/>
                    <a:pt x="16" y="30"/>
                  </a:cubicBezTo>
                  <a:cubicBezTo>
                    <a:pt x="16" y="32"/>
                    <a:pt x="16" y="32"/>
                    <a:pt x="16" y="32"/>
                  </a:cubicBezTo>
                  <a:cubicBezTo>
                    <a:pt x="16" y="33"/>
                    <a:pt x="16" y="33"/>
                    <a:pt x="17" y="33"/>
                  </a:cubicBezTo>
                  <a:cubicBezTo>
                    <a:pt x="17" y="33"/>
                    <a:pt x="17" y="33"/>
                    <a:pt x="17" y="33"/>
                  </a:cubicBezTo>
                  <a:cubicBezTo>
                    <a:pt x="17" y="33"/>
                    <a:pt x="17" y="33"/>
                    <a:pt x="17" y="33"/>
                  </a:cubicBezTo>
                  <a:cubicBezTo>
                    <a:pt x="18" y="33"/>
                    <a:pt x="18" y="33"/>
                    <a:pt x="18" y="33"/>
                  </a:cubicBezTo>
                  <a:cubicBezTo>
                    <a:pt x="18" y="33"/>
                    <a:pt x="19" y="33"/>
                    <a:pt x="19" y="33"/>
                  </a:cubicBezTo>
                  <a:cubicBezTo>
                    <a:pt x="19" y="33"/>
                    <a:pt x="19" y="33"/>
                    <a:pt x="20" y="33"/>
                  </a:cubicBezTo>
                  <a:cubicBezTo>
                    <a:pt x="20" y="33"/>
                    <a:pt x="20" y="33"/>
                    <a:pt x="20" y="33"/>
                  </a:cubicBezTo>
                  <a:cubicBezTo>
                    <a:pt x="20" y="33"/>
                    <a:pt x="20" y="33"/>
                    <a:pt x="20" y="32"/>
                  </a:cubicBezTo>
                  <a:cubicBezTo>
                    <a:pt x="20" y="1"/>
                    <a:pt x="20" y="1"/>
                    <a:pt x="20" y="1"/>
                  </a:cubicBezTo>
                  <a:close/>
                  <a:moveTo>
                    <a:pt x="16" y="26"/>
                  </a:moveTo>
                  <a:cubicBezTo>
                    <a:pt x="15" y="27"/>
                    <a:pt x="15" y="27"/>
                    <a:pt x="14" y="28"/>
                  </a:cubicBezTo>
                  <a:cubicBezTo>
                    <a:pt x="14" y="28"/>
                    <a:pt x="13" y="29"/>
                    <a:pt x="13" y="29"/>
                  </a:cubicBezTo>
                  <a:cubicBezTo>
                    <a:pt x="12" y="30"/>
                    <a:pt x="12" y="30"/>
                    <a:pt x="11" y="30"/>
                  </a:cubicBezTo>
                  <a:cubicBezTo>
                    <a:pt x="11" y="30"/>
                    <a:pt x="10" y="30"/>
                    <a:pt x="10" y="30"/>
                  </a:cubicBezTo>
                  <a:cubicBezTo>
                    <a:pt x="9" y="30"/>
                    <a:pt x="8" y="30"/>
                    <a:pt x="7" y="29"/>
                  </a:cubicBezTo>
                  <a:cubicBezTo>
                    <a:pt x="7" y="29"/>
                    <a:pt x="6" y="28"/>
                    <a:pt x="6" y="28"/>
                  </a:cubicBezTo>
                  <a:cubicBezTo>
                    <a:pt x="5" y="27"/>
                    <a:pt x="5" y="26"/>
                    <a:pt x="5" y="25"/>
                  </a:cubicBezTo>
                  <a:cubicBezTo>
                    <a:pt x="5" y="24"/>
                    <a:pt x="4" y="23"/>
                    <a:pt x="4" y="22"/>
                  </a:cubicBezTo>
                  <a:cubicBezTo>
                    <a:pt x="4" y="21"/>
                    <a:pt x="5" y="20"/>
                    <a:pt x="5" y="19"/>
                  </a:cubicBezTo>
                  <a:cubicBezTo>
                    <a:pt x="5" y="18"/>
                    <a:pt x="5" y="17"/>
                    <a:pt x="6" y="16"/>
                  </a:cubicBezTo>
                  <a:cubicBezTo>
                    <a:pt x="6" y="15"/>
                    <a:pt x="7" y="15"/>
                    <a:pt x="7" y="14"/>
                  </a:cubicBezTo>
                  <a:cubicBezTo>
                    <a:pt x="8" y="14"/>
                    <a:pt x="9" y="14"/>
                    <a:pt x="10" y="14"/>
                  </a:cubicBezTo>
                  <a:cubicBezTo>
                    <a:pt x="11" y="14"/>
                    <a:pt x="12" y="14"/>
                    <a:pt x="13" y="15"/>
                  </a:cubicBezTo>
                  <a:cubicBezTo>
                    <a:pt x="14" y="15"/>
                    <a:pt x="15" y="16"/>
                    <a:pt x="16" y="18"/>
                  </a:cubicBezTo>
                  <a:cubicBezTo>
                    <a:pt x="16" y="26"/>
                    <a:pt x="16" y="26"/>
                    <a:pt x="16" y="26"/>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114">
              <a:extLst>
                <a:ext uri="{FF2B5EF4-FFF2-40B4-BE49-F238E27FC236}">
                  <a16:creationId xmlns:a16="http://schemas.microsoft.com/office/drawing/2014/main" id="{178C576B-2CBA-4B60-A33B-48E428EBD20F}"/>
                </a:ext>
              </a:extLst>
            </p:cNvPr>
            <p:cNvSpPr>
              <a:spLocks/>
            </p:cNvSpPr>
            <p:nvPr/>
          </p:nvSpPr>
          <p:spPr bwMode="auto">
            <a:xfrm>
              <a:off x="9198327" y="3136802"/>
              <a:ext cx="112547" cy="103890"/>
            </a:xfrm>
            <a:custGeom>
              <a:avLst/>
              <a:gdLst>
                <a:gd name="T0" fmla="*/ 33 w 33"/>
                <a:gd name="T1" fmla="*/ 2 h 30"/>
                <a:gd name="T2" fmla="*/ 33 w 33"/>
                <a:gd name="T3" fmla="*/ 1 h 30"/>
                <a:gd name="T4" fmla="*/ 32 w 33"/>
                <a:gd name="T5" fmla="*/ 0 h 30"/>
                <a:gd name="T6" fmla="*/ 32 w 33"/>
                <a:gd name="T7" fmla="*/ 0 h 30"/>
                <a:gd name="T8" fmla="*/ 31 w 33"/>
                <a:gd name="T9" fmla="*/ 0 h 30"/>
                <a:gd name="T10" fmla="*/ 28 w 33"/>
                <a:gd name="T11" fmla="*/ 0 h 30"/>
                <a:gd name="T12" fmla="*/ 27 w 33"/>
                <a:gd name="T13" fmla="*/ 0 h 30"/>
                <a:gd name="T14" fmla="*/ 27 w 33"/>
                <a:gd name="T15" fmla="*/ 0 h 30"/>
                <a:gd name="T16" fmla="*/ 26 w 33"/>
                <a:gd name="T17" fmla="*/ 1 h 30"/>
                <a:gd name="T18" fmla="*/ 25 w 33"/>
                <a:gd name="T19" fmla="*/ 2 h 30"/>
                <a:gd name="T20" fmla="*/ 16 w 33"/>
                <a:gd name="T21" fmla="*/ 24 h 30"/>
                <a:gd name="T22" fmla="*/ 16 w 33"/>
                <a:gd name="T23" fmla="*/ 24 h 30"/>
                <a:gd name="T24" fmla="*/ 7 w 33"/>
                <a:gd name="T25" fmla="*/ 2 h 30"/>
                <a:gd name="T26" fmla="*/ 7 w 33"/>
                <a:gd name="T27" fmla="*/ 1 h 30"/>
                <a:gd name="T28" fmla="*/ 6 w 33"/>
                <a:gd name="T29" fmla="*/ 0 h 30"/>
                <a:gd name="T30" fmla="*/ 5 w 33"/>
                <a:gd name="T31" fmla="*/ 0 h 30"/>
                <a:gd name="T32" fmla="*/ 4 w 33"/>
                <a:gd name="T33" fmla="*/ 0 h 30"/>
                <a:gd name="T34" fmla="*/ 1 w 33"/>
                <a:gd name="T35" fmla="*/ 0 h 30"/>
                <a:gd name="T36" fmla="*/ 0 w 33"/>
                <a:gd name="T37" fmla="*/ 0 h 30"/>
                <a:gd name="T38" fmla="*/ 0 w 33"/>
                <a:gd name="T39" fmla="*/ 2 h 30"/>
                <a:gd name="T40" fmla="*/ 0 w 33"/>
                <a:gd name="T41" fmla="*/ 29 h 30"/>
                <a:gd name="T42" fmla="*/ 0 w 33"/>
                <a:gd name="T43" fmla="*/ 30 h 30"/>
                <a:gd name="T44" fmla="*/ 0 w 33"/>
                <a:gd name="T45" fmla="*/ 30 h 30"/>
                <a:gd name="T46" fmla="*/ 1 w 33"/>
                <a:gd name="T47" fmla="*/ 30 h 30"/>
                <a:gd name="T48" fmla="*/ 2 w 33"/>
                <a:gd name="T49" fmla="*/ 30 h 30"/>
                <a:gd name="T50" fmla="*/ 3 w 33"/>
                <a:gd name="T51" fmla="*/ 30 h 30"/>
                <a:gd name="T52" fmla="*/ 3 w 33"/>
                <a:gd name="T53" fmla="*/ 30 h 30"/>
                <a:gd name="T54" fmla="*/ 4 w 33"/>
                <a:gd name="T55" fmla="*/ 30 h 30"/>
                <a:gd name="T56" fmla="*/ 4 w 33"/>
                <a:gd name="T57" fmla="*/ 29 h 30"/>
                <a:gd name="T58" fmla="*/ 4 w 33"/>
                <a:gd name="T59" fmla="*/ 3 h 30"/>
                <a:gd name="T60" fmla="*/ 4 w 33"/>
                <a:gd name="T61" fmla="*/ 3 h 30"/>
                <a:gd name="T62" fmla="*/ 14 w 33"/>
                <a:gd name="T63" fmla="*/ 30 h 30"/>
                <a:gd name="T64" fmla="*/ 14 w 33"/>
                <a:gd name="T65" fmla="*/ 30 h 30"/>
                <a:gd name="T66" fmla="*/ 15 w 33"/>
                <a:gd name="T67" fmla="*/ 30 h 30"/>
                <a:gd name="T68" fmla="*/ 15 w 33"/>
                <a:gd name="T69" fmla="*/ 30 h 30"/>
                <a:gd name="T70" fmla="*/ 16 w 33"/>
                <a:gd name="T71" fmla="*/ 30 h 30"/>
                <a:gd name="T72" fmla="*/ 17 w 33"/>
                <a:gd name="T73" fmla="*/ 30 h 30"/>
                <a:gd name="T74" fmla="*/ 17 w 33"/>
                <a:gd name="T75" fmla="*/ 30 h 30"/>
                <a:gd name="T76" fmla="*/ 18 w 33"/>
                <a:gd name="T77" fmla="*/ 30 h 30"/>
                <a:gd name="T78" fmla="*/ 18 w 33"/>
                <a:gd name="T79" fmla="*/ 30 h 30"/>
                <a:gd name="T80" fmla="*/ 29 w 33"/>
                <a:gd name="T81" fmla="*/ 3 h 30"/>
                <a:gd name="T82" fmla="*/ 29 w 33"/>
                <a:gd name="T83" fmla="*/ 3 h 30"/>
                <a:gd name="T84" fmla="*/ 29 w 33"/>
                <a:gd name="T85" fmla="*/ 29 h 30"/>
                <a:gd name="T86" fmla="*/ 29 w 33"/>
                <a:gd name="T87" fmla="*/ 30 h 30"/>
                <a:gd name="T88" fmla="*/ 29 w 33"/>
                <a:gd name="T89" fmla="*/ 30 h 30"/>
                <a:gd name="T90" fmla="*/ 30 w 33"/>
                <a:gd name="T91" fmla="*/ 30 h 30"/>
                <a:gd name="T92" fmla="*/ 31 w 33"/>
                <a:gd name="T93" fmla="*/ 30 h 30"/>
                <a:gd name="T94" fmla="*/ 32 w 33"/>
                <a:gd name="T95" fmla="*/ 30 h 30"/>
                <a:gd name="T96" fmla="*/ 32 w 33"/>
                <a:gd name="T97" fmla="*/ 30 h 30"/>
                <a:gd name="T98" fmla="*/ 33 w 33"/>
                <a:gd name="T99" fmla="*/ 30 h 30"/>
                <a:gd name="T100" fmla="*/ 33 w 33"/>
                <a:gd name="T101" fmla="*/ 29 h 30"/>
                <a:gd name="T102" fmla="*/ 33 w 33"/>
                <a:gd name="T10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 h="30">
                  <a:moveTo>
                    <a:pt x="33" y="2"/>
                  </a:moveTo>
                  <a:cubicBezTo>
                    <a:pt x="33" y="1"/>
                    <a:pt x="33" y="1"/>
                    <a:pt x="33" y="1"/>
                  </a:cubicBezTo>
                  <a:cubicBezTo>
                    <a:pt x="33" y="0"/>
                    <a:pt x="32" y="0"/>
                    <a:pt x="32" y="0"/>
                  </a:cubicBezTo>
                  <a:cubicBezTo>
                    <a:pt x="32" y="0"/>
                    <a:pt x="32" y="0"/>
                    <a:pt x="32" y="0"/>
                  </a:cubicBezTo>
                  <a:cubicBezTo>
                    <a:pt x="31" y="0"/>
                    <a:pt x="31" y="0"/>
                    <a:pt x="31" y="0"/>
                  </a:cubicBezTo>
                  <a:cubicBezTo>
                    <a:pt x="28" y="0"/>
                    <a:pt x="28" y="0"/>
                    <a:pt x="28" y="0"/>
                  </a:cubicBezTo>
                  <a:cubicBezTo>
                    <a:pt x="28" y="0"/>
                    <a:pt x="28" y="0"/>
                    <a:pt x="27" y="0"/>
                  </a:cubicBezTo>
                  <a:cubicBezTo>
                    <a:pt x="27" y="0"/>
                    <a:pt x="27" y="0"/>
                    <a:pt x="27" y="0"/>
                  </a:cubicBezTo>
                  <a:cubicBezTo>
                    <a:pt x="26" y="0"/>
                    <a:pt x="26" y="1"/>
                    <a:pt x="26" y="1"/>
                  </a:cubicBezTo>
                  <a:cubicBezTo>
                    <a:pt x="26" y="1"/>
                    <a:pt x="25" y="2"/>
                    <a:pt x="25" y="2"/>
                  </a:cubicBezTo>
                  <a:cubicBezTo>
                    <a:pt x="16" y="24"/>
                    <a:pt x="16" y="24"/>
                    <a:pt x="16" y="24"/>
                  </a:cubicBezTo>
                  <a:cubicBezTo>
                    <a:pt x="16" y="24"/>
                    <a:pt x="16" y="24"/>
                    <a:pt x="16" y="24"/>
                  </a:cubicBezTo>
                  <a:cubicBezTo>
                    <a:pt x="7" y="2"/>
                    <a:pt x="7" y="2"/>
                    <a:pt x="7" y="2"/>
                  </a:cubicBezTo>
                  <a:cubicBezTo>
                    <a:pt x="7" y="2"/>
                    <a:pt x="7" y="1"/>
                    <a:pt x="7" y="1"/>
                  </a:cubicBezTo>
                  <a:cubicBezTo>
                    <a:pt x="7" y="1"/>
                    <a:pt x="7" y="0"/>
                    <a:pt x="6" y="0"/>
                  </a:cubicBezTo>
                  <a:cubicBezTo>
                    <a:pt x="6" y="0"/>
                    <a:pt x="6" y="0"/>
                    <a:pt x="5" y="0"/>
                  </a:cubicBezTo>
                  <a:cubicBezTo>
                    <a:pt x="5" y="0"/>
                    <a:pt x="4" y="0"/>
                    <a:pt x="4" y="0"/>
                  </a:cubicBezTo>
                  <a:cubicBezTo>
                    <a:pt x="1" y="0"/>
                    <a:pt x="1" y="0"/>
                    <a:pt x="1" y="0"/>
                  </a:cubicBezTo>
                  <a:cubicBezTo>
                    <a:pt x="1" y="0"/>
                    <a:pt x="1" y="0"/>
                    <a:pt x="0" y="0"/>
                  </a:cubicBezTo>
                  <a:cubicBezTo>
                    <a:pt x="0" y="0"/>
                    <a:pt x="0" y="1"/>
                    <a:pt x="0" y="2"/>
                  </a:cubicBezTo>
                  <a:cubicBezTo>
                    <a:pt x="0" y="29"/>
                    <a:pt x="0" y="29"/>
                    <a:pt x="0" y="29"/>
                  </a:cubicBezTo>
                  <a:cubicBezTo>
                    <a:pt x="0" y="30"/>
                    <a:pt x="0" y="30"/>
                    <a:pt x="0" y="30"/>
                  </a:cubicBezTo>
                  <a:cubicBezTo>
                    <a:pt x="0" y="30"/>
                    <a:pt x="0" y="30"/>
                    <a:pt x="0" y="30"/>
                  </a:cubicBezTo>
                  <a:cubicBezTo>
                    <a:pt x="0" y="30"/>
                    <a:pt x="1" y="30"/>
                    <a:pt x="1" y="30"/>
                  </a:cubicBezTo>
                  <a:cubicBezTo>
                    <a:pt x="1" y="30"/>
                    <a:pt x="1" y="30"/>
                    <a:pt x="2" y="30"/>
                  </a:cubicBezTo>
                  <a:cubicBezTo>
                    <a:pt x="2" y="30"/>
                    <a:pt x="2" y="30"/>
                    <a:pt x="3" y="30"/>
                  </a:cubicBezTo>
                  <a:cubicBezTo>
                    <a:pt x="3" y="30"/>
                    <a:pt x="3" y="30"/>
                    <a:pt x="3" y="30"/>
                  </a:cubicBezTo>
                  <a:cubicBezTo>
                    <a:pt x="4" y="30"/>
                    <a:pt x="4" y="30"/>
                    <a:pt x="4" y="30"/>
                  </a:cubicBezTo>
                  <a:cubicBezTo>
                    <a:pt x="4" y="30"/>
                    <a:pt x="4" y="30"/>
                    <a:pt x="4" y="29"/>
                  </a:cubicBezTo>
                  <a:cubicBezTo>
                    <a:pt x="4" y="3"/>
                    <a:pt x="4" y="3"/>
                    <a:pt x="4" y="3"/>
                  </a:cubicBezTo>
                  <a:cubicBezTo>
                    <a:pt x="4" y="3"/>
                    <a:pt x="4" y="3"/>
                    <a:pt x="4" y="3"/>
                  </a:cubicBezTo>
                  <a:cubicBezTo>
                    <a:pt x="14" y="30"/>
                    <a:pt x="14" y="30"/>
                    <a:pt x="14" y="30"/>
                  </a:cubicBezTo>
                  <a:cubicBezTo>
                    <a:pt x="14" y="30"/>
                    <a:pt x="14" y="30"/>
                    <a:pt x="14" y="30"/>
                  </a:cubicBezTo>
                  <a:cubicBezTo>
                    <a:pt x="14" y="30"/>
                    <a:pt x="14" y="30"/>
                    <a:pt x="15" y="30"/>
                  </a:cubicBezTo>
                  <a:cubicBezTo>
                    <a:pt x="15" y="30"/>
                    <a:pt x="15" y="30"/>
                    <a:pt x="15" y="30"/>
                  </a:cubicBezTo>
                  <a:cubicBezTo>
                    <a:pt x="15" y="30"/>
                    <a:pt x="16" y="30"/>
                    <a:pt x="16" y="30"/>
                  </a:cubicBezTo>
                  <a:cubicBezTo>
                    <a:pt x="16" y="30"/>
                    <a:pt x="17" y="30"/>
                    <a:pt x="17" y="30"/>
                  </a:cubicBezTo>
                  <a:cubicBezTo>
                    <a:pt x="17" y="30"/>
                    <a:pt x="17" y="30"/>
                    <a:pt x="17" y="30"/>
                  </a:cubicBezTo>
                  <a:cubicBezTo>
                    <a:pt x="18" y="30"/>
                    <a:pt x="18" y="30"/>
                    <a:pt x="18" y="30"/>
                  </a:cubicBezTo>
                  <a:cubicBezTo>
                    <a:pt x="18" y="30"/>
                    <a:pt x="18" y="30"/>
                    <a:pt x="18" y="30"/>
                  </a:cubicBezTo>
                  <a:cubicBezTo>
                    <a:pt x="29" y="3"/>
                    <a:pt x="29" y="3"/>
                    <a:pt x="29" y="3"/>
                  </a:cubicBezTo>
                  <a:cubicBezTo>
                    <a:pt x="29" y="3"/>
                    <a:pt x="29" y="3"/>
                    <a:pt x="29" y="3"/>
                  </a:cubicBezTo>
                  <a:cubicBezTo>
                    <a:pt x="29" y="29"/>
                    <a:pt x="29" y="29"/>
                    <a:pt x="29" y="29"/>
                  </a:cubicBezTo>
                  <a:cubicBezTo>
                    <a:pt x="29" y="30"/>
                    <a:pt x="29" y="30"/>
                    <a:pt x="29" y="30"/>
                  </a:cubicBezTo>
                  <a:cubicBezTo>
                    <a:pt x="29" y="30"/>
                    <a:pt x="29" y="30"/>
                    <a:pt x="29" y="30"/>
                  </a:cubicBezTo>
                  <a:cubicBezTo>
                    <a:pt x="29" y="30"/>
                    <a:pt x="30" y="30"/>
                    <a:pt x="30" y="30"/>
                  </a:cubicBezTo>
                  <a:cubicBezTo>
                    <a:pt x="30" y="30"/>
                    <a:pt x="30" y="30"/>
                    <a:pt x="31" y="30"/>
                  </a:cubicBezTo>
                  <a:cubicBezTo>
                    <a:pt x="31" y="30"/>
                    <a:pt x="31" y="30"/>
                    <a:pt x="32" y="30"/>
                  </a:cubicBezTo>
                  <a:cubicBezTo>
                    <a:pt x="32" y="30"/>
                    <a:pt x="32" y="30"/>
                    <a:pt x="32" y="30"/>
                  </a:cubicBezTo>
                  <a:cubicBezTo>
                    <a:pt x="32" y="30"/>
                    <a:pt x="33" y="30"/>
                    <a:pt x="33" y="30"/>
                  </a:cubicBezTo>
                  <a:cubicBezTo>
                    <a:pt x="33" y="30"/>
                    <a:pt x="33" y="30"/>
                    <a:pt x="33" y="29"/>
                  </a:cubicBezTo>
                  <a:cubicBezTo>
                    <a:pt x="33" y="2"/>
                    <a:pt x="33" y="2"/>
                    <a:pt x="33" y="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Freeform 115">
              <a:extLst>
                <a:ext uri="{FF2B5EF4-FFF2-40B4-BE49-F238E27FC236}">
                  <a16:creationId xmlns:a16="http://schemas.microsoft.com/office/drawing/2014/main" id="{7D2ED95A-877E-436C-BF85-589C2379EDDB}"/>
                </a:ext>
              </a:extLst>
            </p:cNvPr>
            <p:cNvSpPr>
              <a:spLocks/>
            </p:cNvSpPr>
            <p:nvPr/>
          </p:nvSpPr>
          <p:spPr bwMode="auto">
            <a:xfrm>
              <a:off x="9338290" y="3136802"/>
              <a:ext cx="54831" cy="103890"/>
            </a:xfrm>
            <a:custGeom>
              <a:avLst/>
              <a:gdLst>
                <a:gd name="T0" fmla="*/ 16 w 16"/>
                <a:gd name="T1" fmla="*/ 27 h 30"/>
                <a:gd name="T2" fmla="*/ 16 w 16"/>
                <a:gd name="T3" fmla="*/ 27 h 30"/>
                <a:gd name="T4" fmla="*/ 15 w 16"/>
                <a:gd name="T5" fmla="*/ 27 h 30"/>
                <a:gd name="T6" fmla="*/ 15 w 16"/>
                <a:gd name="T7" fmla="*/ 27 h 30"/>
                <a:gd name="T8" fmla="*/ 4 w 16"/>
                <a:gd name="T9" fmla="*/ 27 h 30"/>
                <a:gd name="T10" fmla="*/ 4 w 16"/>
                <a:gd name="T11" fmla="*/ 0 h 30"/>
                <a:gd name="T12" fmla="*/ 4 w 16"/>
                <a:gd name="T13" fmla="*/ 0 h 30"/>
                <a:gd name="T14" fmla="*/ 4 w 16"/>
                <a:gd name="T15" fmla="*/ 0 h 30"/>
                <a:gd name="T16" fmla="*/ 3 w 16"/>
                <a:gd name="T17" fmla="*/ 0 h 30"/>
                <a:gd name="T18" fmla="*/ 2 w 16"/>
                <a:gd name="T19" fmla="*/ 0 h 30"/>
                <a:gd name="T20" fmla="*/ 1 w 16"/>
                <a:gd name="T21" fmla="*/ 0 h 30"/>
                <a:gd name="T22" fmla="*/ 0 w 16"/>
                <a:gd name="T23" fmla="*/ 0 h 30"/>
                <a:gd name="T24" fmla="*/ 0 w 16"/>
                <a:gd name="T25" fmla="*/ 0 h 30"/>
                <a:gd name="T26" fmla="*/ 0 w 16"/>
                <a:gd name="T27" fmla="*/ 0 h 30"/>
                <a:gd name="T28" fmla="*/ 0 w 16"/>
                <a:gd name="T29" fmla="*/ 28 h 30"/>
                <a:gd name="T30" fmla="*/ 1 w 16"/>
                <a:gd name="T31" fmla="*/ 30 h 30"/>
                <a:gd name="T32" fmla="*/ 2 w 16"/>
                <a:gd name="T33" fmla="*/ 30 h 30"/>
                <a:gd name="T34" fmla="*/ 15 w 16"/>
                <a:gd name="T35" fmla="*/ 30 h 30"/>
                <a:gd name="T36" fmla="*/ 15 w 16"/>
                <a:gd name="T37" fmla="*/ 30 h 30"/>
                <a:gd name="T38" fmla="*/ 16 w 16"/>
                <a:gd name="T39" fmla="*/ 30 h 30"/>
                <a:gd name="T40" fmla="*/ 16 w 16"/>
                <a:gd name="T41" fmla="*/ 29 h 30"/>
                <a:gd name="T42" fmla="*/ 16 w 16"/>
                <a:gd name="T43" fmla="*/ 28 h 30"/>
                <a:gd name="T44" fmla="*/ 16 w 16"/>
                <a:gd name="T45"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0">
                  <a:moveTo>
                    <a:pt x="16" y="27"/>
                  </a:moveTo>
                  <a:cubicBezTo>
                    <a:pt x="16" y="27"/>
                    <a:pt x="16" y="27"/>
                    <a:pt x="16" y="27"/>
                  </a:cubicBezTo>
                  <a:cubicBezTo>
                    <a:pt x="16" y="27"/>
                    <a:pt x="15" y="27"/>
                    <a:pt x="15" y="27"/>
                  </a:cubicBezTo>
                  <a:cubicBezTo>
                    <a:pt x="15" y="27"/>
                    <a:pt x="15" y="27"/>
                    <a:pt x="15" y="27"/>
                  </a:cubicBezTo>
                  <a:cubicBezTo>
                    <a:pt x="4" y="27"/>
                    <a:pt x="4" y="27"/>
                    <a:pt x="4" y="27"/>
                  </a:cubicBezTo>
                  <a:cubicBezTo>
                    <a:pt x="4" y="0"/>
                    <a:pt x="4" y="0"/>
                    <a:pt x="4" y="0"/>
                  </a:cubicBezTo>
                  <a:cubicBezTo>
                    <a:pt x="4" y="0"/>
                    <a:pt x="4" y="0"/>
                    <a:pt x="4" y="0"/>
                  </a:cubicBezTo>
                  <a:cubicBezTo>
                    <a:pt x="4" y="0"/>
                    <a:pt x="4" y="0"/>
                    <a:pt x="4" y="0"/>
                  </a:cubicBezTo>
                  <a:cubicBezTo>
                    <a:pt x="4" y="0"/>
                    <a:pt x="3" y="0"/>
                    <a:pt x="3" y="0"/>
                  </a:cubicBezTo>
                  <a:cubicBezTo>
                    <a:pt x="3" y="0"/>
                    <a:pt x="2" y="0"/>
                    <a:pt x="2" y="0"/>
                  </a:cubicBezTo>
                  <a:cubicBezTo>
                    <a:pt x="2" y="0"/>
                    <a:pt x="1" y="0"/>
                    <a:pt x="1" y="0"/>
                  </a:cubicBezTo>
                  <a:cubicBezTo>
                    <a:pt x="1" y="0"/>
                    <a:pt x="1" y="0"/>
                    <a:pt x="0" y="0"/>
                  </a:cubicBezTo>
                  <a:cubicBezTo>
                    <a:pt x="0" y="0"/>
                    <a:pt x="0" y="0"/>
                    <a:pt x="0" y="0"/>
                  </a:cubicBezTo>
                  <a:cubicBezTo>
                    <a:pt x="0" y="0"/>
                    <a:pt x="0" y="0"/>
                    <a:pt x="0" y="0"/>
                  </a:cubicBezTo>
                  <a:cubicBezTo>
                    <a:pt x="0" y="28"/>
                    <a:pt x="0" y="28"/>
                    <a:pt x="0" y="28"/>
                  </a:cubicBezTo>
                  <a:cubicBezTo>
                    <a:pt x="0" y="29"/>
                    <a:pt x="0" y="29"/>
                    <a:pt x="1" y="30"/>
                  </a:cubicBezTo>
                  <a:cubicBezTo>
                    <a:pt x="1" y="30"/>
                    <a:pt x="1" y="30"/>
                    <a:pt x="2" y="30"/>
                  </a:cubicBezTo>
                  <a:cubicBezTo>
                    <a:pt x="15" y="30"/>
                    <a:pt x="15" y="30"/>
                    <a:pt x="15" y="30"/>
                  </a:cubicBezTo>
                  <a:cubicBezTo>
                    <a:pt x="15" y="30"/>
                    <a:pt x="15" y="30"/>
                    <a:pt x="15" y="30"/>
                  </a:cubicBezTo>
                  <a:cubicBezTo>
                    <a:pt x="15" y="30"/>
                    <a:pt x="16" y="30"/>
                    <a:pt x="16" y="30"/>
                  </a:cubicBezTo>
                  <a:cubicBezTo>
                    <a:pt x="16" y="29"/>
                    <a:pt x="16" y="29"/>
                    <a:pt x="16" y="29"/>
                  </a:cubicBezTo>
                  <a:cubicBezTo>
                    <a:pt x="16" y="29"/>
                    <a:pt x="16" y="29"/>
                    <a:pt x="16" y="28"/>
                  </a:cubicBezTo>
                  <a:cubicBezTo>
                    <a:pt x="16" y="28"/>
                    <a:pt x="16" y="28"/>
                    <a:pt x="16" y="27"/>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Freeform 116">
              <a:extLst>
                <a:ext uri="{FF2B5EF4-FFF2-40B4-BE49-F238E27FC236}">
                  <a16:creationId xmlns:a16="http://schemas.microsoft.com/office/drawing/2014/main" id="{4C071997-91FF-4582-BBAC-759A02A89D4C}"/>
                </a:ext>
              </a:extLst>
            </p:cNvPr>
            <p:cNvSpPr>
              <a:spLocks/>
            </p:cNvSpPr>
            <p:nvPr/>
          </p:nvSpPr>
          <p:spPr bwMode="auto">
            <a:xfrm>
              <a:off x="7081572" y="2317227"/>
              <a:ext cx="75032" cy="106776"/>
            </a:xfrm>
            <a:custGeom>
              <a:avLst/>
              <a:gdLst>
                <a:gd name="T0" fmla="*/ 22 w 22"/>
                <a:gd name="T1" fmla="*/ 26 h 31"/>
                <a:gd name="T2" fmla="*/ 21 w 22"/>
                <a:gd name="T3" fmla="*/ 25 h 31"/>
                <a:gd name="T4" fmla="*/ 21 w 22"/>
                <a:gd name="T5" fmla="*/ 25 h 31"/>
                <a:gd name="T6" fmla="*/ 21 w 22"/>
                <a:gd name="T7" fmla="*/ 25 h 31"/>
                <a:gd name="T8" fmla="*/ 20 w 22"/>
                <a:gd name="T9" fmla="*/ 25 h 31"/>
                <a:gd name="T10" fmla="*/ 18 w 22"/>
                <a:gd name="T11" fmla="*/ 26 h 31"/>
                <a:gd name="T12" fmla="*/ 16 w 22"/>
                <a:gd name="T13" fmla="*/ 27 h 31"/>
                <a:gd name="T14" fmla="*/ 13 w 22"/>
                <a:gd name="T15" fmla="*/ 28 h 31"/>
                <a:gd name="T16" fmla="*/ 9 w 22"/>
                <a:gd name="T17" fmla="*/ 27 h 31"/>
                <a:gd name="T18" fmla="*/ 6 w 22"/>
                <a:gd name="T19" fmla="*/ 25 h 31"/>
                <a:gd name="T20" fmla="*/ 4 w 22"/>
                <a:gd name="T21" fmla="*/ 21 h 31"/>
                <a:gd name="T22" fmla="*/ 4 w 22"/>
                <a:gd name="T23" fmla="*/ 16 h 31"/>
                <a:gd name="T24" fmla="*/ 4 w 22"/>
                <a:gd name="T25" fmla="*/ 11 h 31"/>
                <a:gd name="T26" fmla="*/ 6 w 22"/>
                <a:gd name="T27" fmla="*/ 7 h 31"/>
                <a:gd name="T28" fmla="*/ 9 w 22"/>
                <a:gd name="T29" fmla="*/ 5 h 31"/>
                <a:gd name="T30" fmla="*/ 13 w 22"/>
                <a:gd name="T31" fmla="*/ 4 h 31"/>
                <a:gd name="T32" fmla="*/ 16 w 22"/>
                <a:gd name="T33" fmla="*/ 4 h 31"/>
                <a:gd name="T34" fmla="*/ 18 w 22"/>
                <a:gd name="T35" fmla="*/ 5 h 31"/>
                <a:gd name="T36" fmla="*/ 20 w 22"/>
                <a:gd name="T37" fmla="*/ 6 h 31"/>
                <a:gd name="T38" fmla="*/ 21 w 22"/>
                <a:gd name="T39" fmla="*/ 7 h 31"/>
                <a:gd name="T40" fmla="*/ 21 w 22"/>
                <a:gd name="T41" fmla="*/ 7 h 31"/>
                <a:gd name="T42" fmla="*/ 21 w 22"/>
                <a:gd name="T43" fmla="*/ 6 h 31"/>
                <a:gd name="T44" fmla="*/ 21 w 22"/>
                <a:gd name="T45" fmla="*/ 6 h 31"/>
                <a:gd name="T46" fmla="*/ 21 w 22"/>
                <a:gd name="T47" fmla="*/ 5 h 31"/>
                <a:gd name="T48" fmla="*/ 21 w 22"/>
                <a:gd name="T49" fmla="*/ 4 h 31"/>
                <a:gd name="T50" fmla="*/ 21 w 22"/>
                <a:gd name="T51" fmla="*/ 4 h 31"/>
                <a:gd name="T52" fmla="*/ 21 w 22"/>
                <a:gd name="T53" fmla="*/ 3 h 31"/>
                <a:gd name="T54" fmla="*/ 21 w 22"/>
                <a:gd name="T55" fmla="*/ 3 h 31"/>
                <a:gd name="T56" fmla="*/ 20 w 22"/>
                <a:gd name="T57" fmla="*/ 2 h 31"/>
                <a:gd name="T58" fmla="*/ 18 w 22"/>
                <a:gd name="T59" fmla="*/ 1 h 31"/>
                <a:gd name="T60" fmla="*/ 15 w 22"/>
                <a:gd name="T61" fmla="*/ 0 h 31"/>
                <a:gd name="T62" fmla="*/ 13 w 22"/>
                <a:gd name="T63" fmla="*/ 0 h 31"/>
                <a:gd name="T64" fmla="*/ 7 w 22"/>
                <a:gd name="T65" fmla="*/ 1 h 31"/>
                <a:gd name="T66" fmla="*/ 3 w 22"/>
                <a:gd name="T67" fmla="*/ 4 h 31"/>
                <a:gd name="T68" fmla="*/ 1 w 22"/>
                <a:gd name="T69" fmla="*/ 9 h 31"/>
                <a:gd name="T70" fmla="*/ 0 w 22"/>
                <a:gd name="T71" fmla="*/ 16 h 31"/>
                <a:gd name="T72" fmla="*/ 0 w 22"/>
                <a:gd name="T73" fmla="*/ 23 h 31"/>
                <a:gd name="T74" fmla="*/ 3 w 22"/>
                <a:gd name="T75" fmla="*/ 27 h 31"/>
                <a:gd name="T76" fmla="*/ 7 w 22"/>
                <a:gd name="T77" fmla="*/ 30 h 31"/>
                <a:gd name="T78" fmla="*/ 12 w 22"/>
                <a:gd name="T79" fmla="*/ 31 h 31"/>
                <a:gd name="T80" fmla="*/ 16 w 22"/>
                <a:gd name="T81" fmla="*/ 31 h 31"/>
                <a:gd name="T82" fmla="*/ 18 w 22"/>
                <a:gd name="T83" fmla="*/ 30 h 31"/>
                <a:gd name="T84" fmla="*/ 20 w 22"/>
                <a:gd name="T85" fmla="*/ 29 h 31"/>
                <a:gd name="T86" fmla="*/ 21 w 22"/>
                <a:gd name="T87" fmla="*/ 29 h 31"/>
                <a:gd name="T88" fmla="*/ 21 w 22"/>
                <a:gd name="T89" fmla="*/ 28 h 31"/>
                <a:gd name="T90" fmla="*/ 21 w 22"/>
                <a:gd name="T91" fmla="*/ 28 h 31"/>
                <a:gd name="T92" fmla="*/ 22 w 22"/>
                <a:gd name="T93" fmla="*/ 27 h 31"/>
                <a:gd name="T94" fmla="*/ 22 w 22"/>
                <a:gd name="T95" fmla="*/ 27 h 31"/>
                <a:gd name="T96" fmla="*/ 22 w 22"/>
                <a:gd name="T97" fmla="*/ 2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1">
                  <a:moveTo>
                    <a:pt x="22" y="26"/>
                  </a:moveTo>
                  <a:cubicBezTo>
                    <a:pt x="22" y="25"/>
                    <a:pt x="21" y="25"/>
                    <a:pt x="21" y="25"/>
                  </a:cubicBezTo>
                  <a:cubicBezTo>
                    <a:pt x="21" y="25"/>
                    <a:pt x="21" y="25"/>
                    <a:pt x="21" y="25"/>
                  </a:cubicBezTo>
                  <a:cubicBezTo>
                    <a:pt x="21" y="25"/>
                    <a:pt x="21" y="25"/>
                    <a:pt x="21" y="25"/>
                  </a:cubicBezTo>
                  <a:cubicBezTo>
                    <a:pt x="21" y="25"/>
                    <a:pt x="20" y="25"/>
                    <a:pt x="20" y="25"/>
                  </a:cubicBezTo>
                  <a:cubicBezTo>
                    <a:pt x="20" y="26"/>
                    <a:pt x="19" y="26"/>
                    <a:pt x="18" y="26"/>
                  </a:cubicBezTo>
                  <a:cubicBezTo>
                    <a:pt x="18" y="27"/>
                    <a:pt x="17" y="27"/>
                    <a:pt x="16" y="27"/>
                  </a:cubicBezTo>
                  <a:cubicBezTo>
                    <a:pt x="15" y="28"/>
                    <a:pt x="14" y="28"/>
                    <a:pt x="13" y="28"/>
                  </a:cubicBezTo>
                  <a:cubicBezTo>
                    <a:pt x="12" y="28"/>
                    <a:pt x="10" y="27"/>
                    <a:pt x="9" y="27"/>
                  </a:cubicBezTo>
                  <a:cubicBezTo>
                    <a:pt x="8" y="26"/>
                    <a:pt x="7" y="26"/>
                    <a:pt x="6" y="25"/>
                  </a:cubicBezTo>
                  <a:cubicBezTo>
                    <a:pt x="5" y="24"/>
                    <a:pt x="5" y="22"/>
                    <a:pt x="4" y="21"/>
                  </a:cubicBezTo>
                  <a:cubicBezTo>
                    <a:pt x="4" y="20"/>
                    <a:pt x="4" y="18"/>
                    <a:pt x="4" y="16"/>
                  </a:cubicBezTo>
                  <a:cubicBezTo>
                    <a:pt x="4" y="14"/>
                    <a:pt x="4" y="12"/>
                    <a:pt x="4" y="11"/>
                  </a:cubicBezTo>
                  <a:cubicBezTo>
                    <a:pt x="5" y="9"/>
                    <a:pt x="6" y="8"/>
                    <a:pt x="6" y="7"/>
                  </a:cubicBezTo>
                  <a:cubicBezTo>
                    <a:pt x="7" y="6"/>
                    <a:pt x="8" y="5"/>
                    <a:pt x="9" y="5"/>
                  </a:cubicBezTo>
                  <a:cubicBezTo>
                    <a:pt x="10" y="4"/>
                    <a:pt x="11" y="4"/>
                    <a:pt x="13" y="4"/>
                  </a:cubicBezTo>
                  <a:cubicBezTo>
                    <a:pt x="14" y="4"/>
                    <a:pt x="15" y="4"/>
                    <a:pt x="16" y="4"/>
                  </a:cubicBezTo>
                  <a:cubicBezTo>
                    <a:pt x="17" y="4"/>
                    <a:pt x="18" y="5"/>
                    <a:pt x="18" y="5"/>
                  </a:cubicBezTo>
                  <a:cubicBezTo>
                    <a:pt x="19" y="6"/>
                    <a:pt x="19" y="6"/>
                    <a:pt x="20" y="6"/>
                  </a:cubicBezTo>
                  <a:cubicBezTo>
                    <a:pt x="20" y="6"/>
                    <a:pt x="21" y="7"/>
                    <a:pt x="21" y="7"/>
                  </a:cubicBezTo>
                  <a:cubicBezTo>
                    <a:pt x="21" y="7"/>
                    <a:pt x="21" y="7"/>
                    <a:pt x="21" y="7"/>
                  </a:cubicBezTo>
                  <a:cubicBezTo>
                    <a:pt x="21" y="6"/>
                    <a:pt x="21" y="6"/>
                    <a:pt x="21" y="6"/>
                  </a:cubicBezTo>
                  <a:cubicBezTo>
                    <a:pt x="21" y="6"/>
                    <a:pt x="21" y="6"/>
                    <a:pt x="21" y="6"/>
                  </a:cubicBezTo>
                  <a:cubicBezTo>
                    <a:pt x="21" y="5"/>
                    <a:pt x="21" y="5"/>
                    <a:pt x="21" y="5"/>
                  </a:cubicBezTo>
                  <a:cubicBezTo>
                    <a:pt x="21" y="5"/>
                    <a:pt x="21" y="4"/>
                    <a:pt x="21" y="4"/>
                  </a:cubicBezTo>
                  <a:cubicBezTo>
                    <a:pt x="21" y="4"/>
                    <a:pt x="21" y="4"/>
                    <a:pt x="21" y="4"/>
                  </a:cubicBezTo>
                  <a:cubicBezTo>
                    <a:pt x="21" y="3"/>
                    <a:pt x="21" y="3"/>
                    <a:pt x="21" y="3"/>
                  </a:cubicBezTo>
                  <a:cubicBezTo>
                    <a:pt x="21" y="3"/>
                    <a:pt x="21" y="3"/>
                    <a:pt x="21" y="3"/>
                  </a:cubicBezTo>
                  <a:cubicBezTo>
                    <a:pt x="21" y="3"/>
                    <a:pt x="20" y="2"/>
                    <a:pt x="20" y="2"/>
                  </a:cubicBezTo>
                  <a:cubicBezTo>
                    <a:pt x="19" y="2"/>
                    <a:pt x="18" y="1"/>
                    <a:pt x="18" y="1"/>
                  </a:cubicBezTo>
                  <a:cubicBezTo>
                    <a:pt x="17" y="1"/>
                    <a:pt x="16" y="1"/>
                    <a:pt x="15" y="0"/>
                  </a:cubicBezTo>
                  <a:cubicBezTo>
                    <a:pt x="15" y="0"/>
                    <a:pt x="14" y="0"/>
                    <a:pt x="13" y="0"/>
                  </a:cubicBezTo>
                  <a:cubicBezTo>
                    <a:pt x="11" y="0"/>
                    <a:pt x="9" y="1"/>
                    <a:pt x="7" y="1"/>
                  </a:cubicBezTo>
                  <a:cubicBezTo>
                    <a:pt x="6" y="2"/>
                    <a:pt x="4" y="3"/>
                    <a:pt x="3" y="4"/>
                  </a:cubicBezTo>
                  <a:cubicBezTo>
                    <a:pt x="2" y="6"/>
                    <a:pt x="1" y="7"/>
                    <a:pt x="1" y="9"/>
                  </a:cubicBezTo>
                  <a:cubicBezTo>
                    <a:pt x="0" y="11"/>
                    <a:pt x="0" y="14"/>
                    <a:pt x="0" y="16"/>
                  </a:cubicBezTo>
                  <a:cubicBezTo>
                    <a:pt x="0" y="19"/>
                    <a:pt x="0" y="21"/>
                    <a:pt x="0" y="23"/>
                  </a:cubicBezTo>
                  <a:cubicBezTo>
                    <a:pt x="1" y="25"/>
                    <a:pt x="2" y="26"/>
                    <a:pt x="3" y="27"/>
                  </a:cubicBezTo>
                  <a:cubicBezTo>
                    <a:pt x="4" y="29"/>
                    <a:pt x="6" y="30"/>
                    <a:pt x="7" y="30"/>
                  </a:cubicBezTo>
                  <a:cubicBezTo>
                    <a:pt x="9" y="31"/>
                    <a:pt x="10" y="31"/>
                    <a:pt x="12" y="31"/>
                  </a:cubicBezTo>
                  <a:cubicBezTo>
                    <a:pt x="14" y="31"/>
                    <a:pt x="15" y="31"/>
                    <a:pt x="16" y="31"/>
                  </a:cubicBezTo>
                  <a:cubicBezTo>
                    <a:pt x="17" y="31"/>
                    <a:pt x="17" y="30"/>
                    <a:pt x="18" y="30"/>
                  </a:cubicBezTo>
                  <a:cubicBezTo>
                    <a:pt x="19" y="30"/>
                    <a:pt x="20" y="30"/>
                    <a:pt x="20" y="29"/>
                  </a:cubicBezTo>
                  <a:cubicBezTo>
                    <a:pt x="21" y="29"/>
                    <a:pt x="21" y="29"/>
                    <a:pt x="21" y="29"/>
                  </a:cubicBezTo>
                  <a:cubicBezTo>
                    <a:pt x="21" y="28"/>
                    <a:pt x="21" y="28"/>
                    <a:pt x="21" y="28"/>
                  </a:cubicBezTo>
                  <a:cubicBezTo>
                    <a:pt x="21" y="28"/>
                    <a:pt x="21" y="28"/>
                    <a:pt x="21" y="28"/>
                  </a:cubicBezTo>
                  <a:cubicBezTo>
                    <a:pt x="22" y="28"/>
                    <a:pt x="22" y="27"/>
                    <a:pt x="22" y="27"/>
                  </a:cubicBezTo>
                  <a:cubicBezTo>
                    <a:pt x="22" y="27"/>
                    <a:pt x="22" y="27"/>
                    <a:pt x="22" y="27"/>
                  </a:cubicBezTo>
                  <a:cubicBezTo>
                    <a:pt x="22" y="26"/>
                    <a:pt x="22" y="26"/>
                    <a:pt x="22" y="26"/>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Freeform 117">
              <a:extLst>
                <a:ext uri="{FF2B5EF4-FFF2-40B4-BE49-F238E27FC236}">
                  <a16:creationId xmlns:a16="http://schemas.microsoft.com/office/drawing/2014/main" id="{9722E5A9-D685-4A2A-B353-B40DB6151C37}"/>
                </a:ext>
              </a:extLst>
            </p:cNvPr>
            <p:cNvSpPr>
              <a:spLocks/>
            </p:cNvSpPr>
            <p:nvPr/>
          </p:nvSpPr>
          <p:spPr bwMode="auto">
            <a:xfrm>
              <a:off x="7171033" y="2311456"/>
              <a:ext cx="12987" cy="112547"/>
            </a:xfrm>
            <a:custGeom>
              <a:avLst/>
              <a:gdLst>
                <a:gd name="T0" fmla="*/ 4 w 4"/>
                <a:gd name="T1" fmla="*/ 1 h 33"/>
                <a:gd name="T2" fmla="*/ 4 w 4"/>
                <a:gd name="T3" fmla="*/ 1 h 33"/>
                <a:gd name="T4" fmla="*/ 4 w 4"/>
                <a:gd name="T5" fmla="*/ 0 h 33"/>
                <a:gd name="T6" fmla="*/ 3 w 4"/>
                <a:gd name="T7" fmla="*/ 0 h 33"/>
                <a:gd name="T8" fmla="*/ 2 w 4"/>
                <a:gd name="T9" fmla="*/ 0 h 33"/>
                <a:gd name="T10" fmla="*/ 1 w 4"/>
                <a:gd name="T11" fmla="*/ 0 h 33"/>
                <a:gd name="T12" fmla="*/ 1 w 4"/>
                <a:gd name="T13" fmla="*/ 0 h 33"/>
                <a:gd name="T14" fmla="*/ 0 w 4"/>
                <a:gd name="T15" fmla="*/ 1 h 33"/>
                <a:gd name="T16" fmla="*/ 0 w 4"/>
                <a:gd name="T17" fmla="*/ 1 h 33"/>
                <a:gd name="T18" fmla="*/ 0 w 4"/>
                <a:gd name="T19" fmla="*/ 32 h 33"/>
                <a:gd name="T20" fmla="*/ 0 w 4"/>
                <a:gd name="T21" fmla="*/ 33 h 33"/>
                <a:gd name="T22" fmla="*/ 1 w 4"/>
                <a:gd name="T23" fmla="*/ 33 h 33"/>
                <a:gd name="T24" fmla="*/ 1 w 4"/>
                <a:gd name="T25" fmla="*/ 33 h 33"/>
                <a:gd name="T26" fmla="*/ 2 w 4"/>
                <a:gd name="T27" fmla="*/ 33 h 33"/>
                <a:gd name="T28" fmla="*/ 3 w 4"/>
                <a:gd name="T29" fmla="*/ 33 h 33"/>
                <a:gd name="T30" fmla="*/ 4 w 4"/>
                <a:gd name="T31" fmla="*/ 33 h 33"/>
                <a:gd name="T32" fmla="*/ 4 w 4"/>
                <a:gd name="T33" fmla="*/ 33 h 33"/>
                <a:gd name="T34" fmla="*/ 4 w 4"/>
                <a:gd name="T35" fmla="*/ 32 h 33"/>
                <a:gd name="T36" fmla="*/ 4 w 4"/>
                <a:gd name="T3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3">
                  <a:moveTo>
                    <a:pt x="4" y="1"/>
                  </a:moveTo>
                  <a:cubicBezTo>
                    <a:pt x="4" y="1"/>
                    <a:pt x="4" y="1"/>
                    <a:pt x="4" y="1"/>
                  </a:cubicBezTo>
                  <a:cubicBezTo>
                    <a:pt x="4" y="1"/>
                    <a:pt x="4" y="0"/>
                    <a:pt x="4" y="0"/>
                  </a:cubicBezTo>
                  <a:cubicBezTo>
                    <a:pt x="4" y="0"/>
                    <a:pt x="3" y="0"/>
                    <a:pt x="3" y="0"/>
                  </a:cubicBezTo>
                  <a:cubicBezTo>
                    <a:pt x="3" y="0"/>
                    <a:pt x="3" y="0"/>
                    <a:pt x="2" y="0"/>
                  </a:cubicBezTo>
                  <a:cubicBezTo>
                    <a:pt x="2" y="0"/>
                    <a:pt x="2" y="0"/>
                    <a:pt x="1" y="0"/>
                  </a:cubicBezTo>
                  <a:cubicBezTo>
                    <a:pt x="1" y="0"/>
                    <a:pt x="1" y="0"/>
                    <a:pt x="1" y="0"/>
                  </a:cubicBezTo>
                  <a:cubicBezTo>
                    <a:pt x="1" y="0"/>
                    <a:pt x="0" y="1"/>
                    <a:pt x="0" y="1"/>
                  </a:cubicBezTo>
                  <a:cubicBezTo>
                    <a:pt x="0" y="1"/>
                    <a:pt x="0" y="1"/>
                    <a:pt x="0" y="1"/>
                  </a:cubicBezTo>
                  <a:cubicBezTo>
                    <a:pt x="0" y="32"/>
                    <a:pt x="0" y="32"/>
                    <a:pt x="0" y="32"/>
                  </a:cubicBezTo>
                  <a:cubicBezTo>
                    <a:pt x="0" y="32"/>
                    <a:pt x="0" y="33"/>
                    <a:pt x="0" y="33"/>
                  </a:cubicBezTo>
                  <a:cubicBezTo>
                    <a:pt x="0" y="33"/>
                    <a:pt x="1" y="33"/>
                    <a:pt x="1" y="33"/>
                  </a:cubicBezTo>
                  <a:cubicBezTo>
                    <a:pt x="1" y="33"/>
                    <a:pt x="1" y="33"/>
                    <a:pt x="1" y="33"/>
                  </a:cubicBezTo>
                  <a:cubicBezTo>
                    <a:pt x="2" y="33"/>
                    <a:pt x="2" y="33"/>
                    <a:pt x="2" y="33"/>
                  </a:cubicBezTo>
                  <a:cubicBezTo>
                    <a:pt x="3" y="33"/>
                    <a:pt x="3" y="33"/>
                    <a:pt x="3" y="33"/>
                  </a:cubicBezTo>
                  <a:cubicBezTo>
                    <a:pt x="3" y="33"/>
                    <a:pt x="4" y="33"/>
                    <a:pt x="4" y="33"/>
                  </a:cubicBezTo>
                  <a:cubicBezTo>
                    <a:pt x="4" y="33"/>
                    <a:pt x="4" y="33"/>
                    <a:pt x="4" y="33"/>
                  </a:cubicBezTo>
                  <a:cubicBezTo>
                    <a:pt x="4" y="33"/>
                    <a:pt x="4" y="32"/>
                    <a:pt x="4" y="32"/>
                  </a:cubicBezTo>
                  <a:cubicBezTo>
                    <a:pt x="4" y="1"/>
                    <a:pt x="4"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Freeform 118">
              <a:extLst>
                <a:ext uri="{FF2B5EF4-FFF2-40B4-BE49-F238E27FC236}">
                  <a16:creationId xmlns:a16="http://schemas.microsoft.com/office/drawing/2014/main" id="{9A1214BE-ABAE-4DC0-85D8-D20798456E2B}"/>
                </a:ext>
              </a:extLst>
            </p:cNvPr>
            <p:cNvSpPr>
              <a:spLocks noEditPoints="1"/>
            </p:cNvSpPr>
            <p:nvPr/>
          </p:nvSpPr>
          <p:spPr bwMode="auto">
            <a:xfrm>
              <a:off x="7204221" y="2346085"/>
              <a:ext cx="72146" cy="77917"/>
            </a:xfrm>
            <a:custGeom>
              <a:avLst/>
              <a:gdLst>
                <a:gd name="T0" fmla="*/ 20 w 21"/>
                <a:gd name="T1" fmla="*/ 7 h 23"/>
                <a:gd name="T2" fmla="*/ 18 w 21"/>
                <a:gd name="T3" fmla="*/ 3 h 23"/>
                <a:gd name="T4" fmla="*/ 15 w 21"/>
                <a:gd name="T5" fmla="*/ 1 h 23"/>
                <a:gd name="T6" fmla="*/ 11 w 21"/>
                <a:gd name="T7" fmla="*/ 0 h 23"/>
                <a:gd name="T8" fmla="*/ 6 w 21"/>
                <a:gd name="T9" fmla="*/ 1 h 23"/>
                <a:gd name="T10" fmla="*/ 3 w 21"/>
                <a:gd name="T11" fmla="*/ 3 h 23"/>
                <a:gd name="T12" fmla="*/ 1 w 21"/>
                <a:gd name="T13" fmla="*/ 7 h 23"/>
                <a:gd name="T14" fmla="*/ 0 w 21"/>
                <a:gd name="T15" fmla="*/ 12 h 23"/>
                <a:gd name="T16" fmla="*/ 1 w 21"/>
                <a:gd name="T17" fmla="*/ 17 h 23"/>
                <a:gd name="T18" fmla="*/ 2 w 21"/>
                <a:gd name="T19" fmla="*/ 20 h 23"/>
                <a:gd name="T20" fmla="*/ 6 w 21"/>
                <a:gd name="T21" fmla="*/ 23 h 23"/>
                <a:gd name="T22" fmla="*/ 10 w 21"/>
                <a:gd name="T23" fmla="*/ 23 h 23"/>
                <a:gd name="T24" fmla="*/ 15 w 21"/>
                <a:gd name="T25" fmla="*/ 22 h 23"/>
                <a:gd name="T26" fmla="*/ 18 w 21"/>
                <a:gd name="T27" fmla="*/ 20 h 23"/>
                <a:gd name="T28" fmla="*/ 20 w 21"/>
                <a:gd name="T29" fmla="*/ 16 h 23"/>
                <a:gd name="T30" fmla="*/ 21 w 21"/>
                <a:gd name="T31" fmla="*/ 12 h 23"/>
                <a:gd name="T32" fmla="*/ 20 w 21"/>
                <a:gd name="T33" fmla="*/ 7 h 23"/>
                <a:gd name="T34" fmla="*/ 17 w 21"/>
                <a:gd name="T35" fmla="*/ 15 h 23"/>
                <a:gd name="T36" fmla="*/ 15 w 21"/>
                <a:gd name="T37" fmla="*/ 18 h 23"/>
                <a:gd name="T38" fmla="*/ 13 w 21"/>
                <a:gd name="T39" fmla="*/ 19 h 23"/>
                <a:gd name="T40" fmla="*/ 10 w 21"/>
                <a:gd name="T41" fmla="*/ 20 h 23"/>
                <a:gd name="T42" fmla="*/ 7 w 21"/>
                <a:gd name="T43" fmla="*/ 19 h 23"/>
                <a:gd name="T44" fmla="*/ 5 w 21"/>
                <a:gd name="T45" fmla="*/ 18 h 23"/>
                <a:gd name="T46" fmla="*/ 4 w 21"/>
                <a:gd name="T47" fmla="*/ 15 h 23"/>
                <a:gd name="T48" fmla="*/ 4 w 21"/>
                <a:gd name="T49" fmla="*/ 12 h 23"/>
                <a:gd name="T50" fmla="*/ 4 w 21"/>
                <a:gd name="T51" fmla="*/ 8 h 23"/>
                <a:gd name="T52" fmla="*/ 5 w 21"/>
                <a:gd name="T53" fmla="*/ 6 h 23"/>
                <a:gd name="T54" fmla="*/ 8 w 21"/>
                <a:gd name="T55" fmla="*/ 4 h 23"/>
                <a:gd name="T56" fmla="*/ 10 w 21"/>
                <a:gd name="T57" fmla="*/ 3 h 23"/>
                <a:gd name="T58" fmla="*/ 14 w 21"/>
                <a:gd name="T59" fmla="*/ 4 h 23"/>
                <a:gd name="T60" fmla="*/ 16 w 21"/>
                <a:gd name="T61" fmla="*/ 6 h 23"/>
                <a:gd name="T62" fmla="*/ 17 w 21"/>
                <a:gd name="T63" fmla="*/ 9 h 23"/>
                <a:gd name="T64" fmla="*/ 17 w 21"/>
                <a:gd name="T65" fmla="*/ 12 h 23"/>
                <a:gd name="T66" fmla="*/ 17 w 21"/>
                <a:gd name="T67"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3">
                  <a:moveTo>
                    <a:pt x="20" y="7"/>
                  </a:moveTo>
                  <a:cubicBezTo>
                    <a:pt x="20" y="5"/>
                    <a:pt x="19" y="4"/>
                    <a:pt x="18" y="3"/>
                  </a:cubicBezTo>
                  <a:cubicBezTo>
                    <a:pt x="18" y="2"/>
                    <a:pt x="16" y="1"/>
                    <a:pt x="15" y="1"/>
                  </a:cubicBezTo>
                  <a:cubicBezTo>
                    <a:pt x="14" y="0"/>
                    <a:pt x="12" y="0"/>
                    <a:pt x="11" y="0"/>
                  </a:cubicBezTo>
                  <a:cubicBezTo>
                    <a:pt x="9" y="0"/>
                    <a:pt x="7" y="0"/>
                    <a:pt x="6" y="1"/>
                  </a:cubicBezTo>
                  <a:cubicBezTo>
                    <a:pt x="5" y="2"/>
                    <a:pt x="3" y="2"/>
                    <a:pt x="3" y="3"/>
                  </a:cubicBezTo>
                  <a:cubicBezTo>
                    <a:pt x="2" y="4"/>
                    <a:pt x="1" y="6"/>
                    <a:pt x="1" y="7"/>
                  </a:cubicBezTo>
                  <a:cubicBezTo>
                    <a:pt x="0" y="9"/>
                    <a:pt x="0" y="10"/>
                    <a:pt x="0" y="12"/>
                  </a:cubicBezTo>
                  <a:cubicBezTo>
                    <a:pt x="0" y="14"/>
                    <a:pt x="0" y="15"/>
                    <a:pt x="1" y="17"/>
                  </a:cubicBezTo>
                  <a:cubicBezTo>
                    <a:pt x="1" y="18"/>
                    <a:pt x="2" y="19"/>
                    <a:pt x="2" y="20"/>
                  </a:cubicBezTo>
                  <a:cubicBezTo>
                    <a:pt x="3" y="21"/>
                    <a:pt x="4" y="22"/>
                    <a:pt x="6" y="23"/>
                  </a:cubicBezTo>
                  <a:cubicBezTo>
                    <a:pt x="7" y="23"/>
                    <a:pt x="8" y="23"/>
                    <a:pt x="10" y="23"/>
                  </a:cubicBezTo>
                  <a:cubicBezTo>
                    <a:pt x="12" y="23"/>
                    <a:pt x="14" y="23"/>
                    <a:pt x="15" y="22"/>
                  </a:cubicBezTo>
                  <a:cubicBezTo>
                    <a:pt x="16" y="22"/>
                    <a:pt x="17" y="21"/>
                    <a:pt x="18" y="20"/>
                  </a:cubicBezTo>
                  <a:cubicBezTo>
                    <a:pt x="19" y="19"/>
                    <a:pt x="20" y="18"/>
                    <a:pt x="20" y="16"/>
                  </a:cubicBezTo>
                  <a:cubicBezTo>
                    <a:pt x="21" y="15"/>
                    <a:pt x="21" y="13"/>
                    <a:pt x="21" y="12"/>
                  </a:cubicBezTo>
                  <a:cubicBezTo>
                    <a:pt x="21" y="10"/>
                    <a:pt x="21" y="8"/>
                    <a:pt x="20" y="7"/>
                  </a:cubicBezTo>
                  <a:close/>
                  <a:moveTo>
                    <a:pt x="17" y="15"/>
                  </a:moveTo>
                  <a:cubicBezTo>
                    <a:pt x="16" y="16"/>
                    <a:pt x="16" y="17"/>
                    <a:pt x="15" y="18"/>
                  </a:cubicBezTo>
                  <a:cubicBezTo>
                    <a:pt x="15" y="18"/>
                    <a:pt x="14" y="19"/>
                    <a:pt x="13" y="19"/>
                  </a:cubicBezTo>
                  <a:cubicBezTo>
                    <a:pt x="13" y="20"/>
                    <a:pt x="12" y="20"/>
                    <a:pt x="10" y="20"/>
                  </a:cubicBezTo>
                  <a:cubicBezTo>
                    <a:pt x="9" y="20"/>
                    <a:pt x="8" y="20"/>
                    <a:pt x="7" y="19"/>
                  </a:cubicBezTo>
                  <a:cubicBezTo>
                    <a:pt x="6" y="19"/>
                    <a:pt x="6" y="18"/>
                    <a:pt x="5" y="18"/>
                  </a:cubicBezTo>
                  <a:cubicBezTo>
                    <a:pt x="5" y="17"/>
                    <a:pt x="4" y="16"/>
                    <a:pt x="4" y="15"/>
                  </a:cubicBezTo>
                  <a:cubicBezTo>
                    <a:pt x="4" y="14"/>
                    <a:pt x="4" y="13"/>
                    <a:pt x="4" y="12"/>
                  </a:cubicBezTo>
                  <a:cubicBezTo>
                    <a:pt x="4" y="10"/>
                    <a:pt x="4" y="9"/>
                    <a:pt x="4" y="8"/>
                  </a:cubicBezTo>
                  <a:cubicBezTo>
                    <a:pt x="5" y="7"/>
                    <a:pt x="5" y="6"/>
                    <a:pt x="5" y="6"/>
                  </a:cubicBezTo>
                  <a:cubicBezTo>
                    <a:pt x="6" y="5"/>
                    <a:pt x="7" y="4"/>
                    <a:pt x="8" y="4"/>
                  </a:cubicBezTo>
                  <a:cubicBezTo>
                    <a:pt x="8" y="4"/>
                    <a:pt x="9" y="3"/>
                    <a:pt x="10" y="3"/>
                  </a:cubicBezTo>
                  <a:cubicBezTo>
                    <a:pt x="12" y="3"/>
                    <a:pt x="13" y="4"/>
                    <a:pt x="14" y="4"/>
                  </a:cubicBezTo>
                  <a:cubicBezTo>
                    <a:pt x="14" y="4"/>
                    <a:pt x="15" y="5"/>
                    <a:pt x="16" y="6"/>
                  </a:cubicBezTo>
                  <a:cubicBezTo>
                    <a:pt x="16" y="7"/>
                    <a:pt x="16" y="8"/>
                    <a:pt x="17" y="9"/>
                  </a:cubicBezTo>
                  <a:cubicBezTo>
                    <a:pt x="17" y="10"/>
                    <a:pt x="17" y="11"/>
                    <a:pt x="17" y="12"/>
                  </a:cubicBezTo>
                  <a:cubicBezTo>
                    <a:pt x="17" y="13"/>
                    <a:pt x="17" y="14"/>
                    <a:pt x="17" y="15"/>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119">
              <a:extLst>
                <a:ext uri="{FF2B5EF4-FFF2-40B4-BE49-F238E27FC236}">
                  <a16:creationId xmlns:a16="http://schemas.microsoft.com/office/drawing/2014/main" id="{AC5B76EA-2EAD-42A7-B89B-A5C9CD9DA1D9}"/>
                </a:ext>
              </a:extLst>
            </p:cNvPr>
            <p:cNvSpPr>
              <a:spLocks/>
            </p:cNvSpPr>
            <p:nvPr/>
          </p:nvSpPr>
          <p:spPr bwMode="auto">
            <a:xfrm>
              <a:off x="7296567" y="2346085"/>
              <a:ext cx="62046" cy="77917"/>
            </a:xfrm>
            <a:custGeom>
              <a:avLst/>
              <a:gdLst>
                <a:gd name="T0" fmla="*/ 18 w 18"/>
                <a:gd name="T1" fmla="*/ 1 h 23"/>
                <a:gd name="T2" fmla="*/ 18 w 18"/>
                <a:gd name="T3" fmla="*/ 1 h 23"/>
                <a:gd name="T4" fmla="*/ 17 w 18"/>
                <a:gd name="T5" fmla="*/ 1 h 23"/>
                <a:gd name="T6" fmla="*/ 17 w 18"/>
                <a:gd name="T7" fmla="*/ 1 h 23"/>
                <a:gd name="T8" fmla="*/ 16 w 18"/>
                <a:gd name="T9" fmla="*/ 0 h 23"/>
                <a:gd name="T10" fmla="*/ 15 w 18"/>
                <a:gd name="T11" fmla="*/ 1 h 23"/>
                <a:gd name="T12" fmla="*/ 14 w 18"/>
                <a:gd name="T13" fmla="*/ 1 h 23"/>
                <a:gd name="T14" fmla="*/ 14 w 18"/>
                <a:gd name="T15" fmla="*/ 1 h 23"/>
                <a:gd name="T16" fmla="*/ 14 w 18"/>
                <a:gd name="T17" fmla="*/ 1 h 23"/>
                <a:gd name="T18" fmla="*/ 14 w 18"/>
                <a:gd name="T19" fmla="*/ 16 h 23"/>
                <a:gd name="T20" fmla="*/ 11 w 18"/>
                <a:gd name="T21" fmla="*/ 19 h 23"/>
                <a:gd name="T22" fmla="*/ 8 w 18"/>
                <a:gd name="T23" fmla="*/ 20 h 23"/>
                <a:gd name="T24" fmla="*/ 6 w 18"/>
                <a:gd name="T25" fmla="*/ 20 h 23"/>
                <a:gd name="T26" fmla="*/ 5 w 18"/>
                <a:gd name="T27" fmla="*/ 18 h 23"/>
                <a:gd name="T28" fmla="*/ 4 w 18"/>
                <a:gd name="T29" fmla="*/ 16 h 23"/>
                <a:gd name="T30" fmla="*/ 4 w 18"/>
                <a:gd name="T31" fmla="*/ 13 h 23"/>
                <a:gd name="T32" fmla="*/ 4 w 18"/>
                <a:gd name="T33" fmla="*/ 1 h 23"/>
                <a:gd name="T34" fmla="*/ 3 w 18"/>
                <a:gd name="T35" fmla="*/ 1 h 23"/>
                <a:gd name="T36" fmla="*/ 3 w 18"/>
                <a:gd name="T37" fmla="*/ 1 h 23"/>
                <a:gd name="T38" fmla="*/ 3 w 18"/>
                <a:gd name="T39" fmla="*/ 1 h 23"/>
                <a:gd name="T40" fmla="*/ 2 w 18"/>
                <a:gd name="T41" fmla="*/ 0 h 23"/>
                <a:gd name="T42" fmla="*/ 1 w 18"/>
                <a:gd name="T43" fmla="*/ 1 h 23"/>
                <a:gd name="T44" fmla="*/ 0 w 18"/>
                <a:gd name="T45" fmla="*/ 1 h 23"/>
                <a:gd name="T46" fmla="*/ 0 w 18"/>
                <a:gd name="T47" fmla="*/ 1 h 23"/>
                <a:gd name="T48" fmla="*/ 0 w 18"/>
                <a:gd name="T49" fmla="*/ 1 h 23"/>
                <a:gd name="T50" fmla="*/ 0 w 18"/>
                <a:gd name="T51" fmla="*/ 14 h 23"/>
                <a:gd name="T52" fmla="*/ 0 w 18"/>
                <a:gd name="T53" fmla="*/ 18 h 23"/>
                <a:gd name="T54" fmla="*/ 1 w 18"/>
                <a:gd name="T55" fmla="*/ 21 h 23"/>
                <a:gd name="T56" fmla="*/ 4 w 18"/>
                <a:gd name="T57" fmla="*/ 23 h 23"/>
                <a:gd name="T58" fmla="*/ 7 w 18"/>
                <a:gd name="T59" fmla="*/ 23 h 23"/>
                <a:gd name="T60" fmla="*/ 11 w 18"/>
                <a:gd name="T61" fmla="*/ 22 h 23"/>
                <a:gd name="T62" fmla="*/ 14 w 18"/>
                <a:gd name="T63" fmla="*/ 20 h 23"/>
                <a:gd name="T64" fmla="*/ 14 w 18"/>
                <a:gd name="T65" fmla="*/ 22 h 23"/>
                <a:gd name="T66" fmla="*/ 14 w 18"/>
                <a:gd name="T67" fmla="*/ 23 h 23"/>
                <a:gd name="T68" fmla="*/ 15 w 18"/>
                <a:gd name="T69" fmla="*/ 23 h 23"/>
                <a:gd name="T70" fmla="*/ 15 w 18"/>
                <a:gd name="T71" fmla="*/ 23 h 23"/>
                <a:gd name="T72" fmla="*/ 16 w 18"/>
                <a:gd name="T73" fmla="*/ 23 h 23"/>
                <a:gd name="T74" fmla="*/ 17 w 18"/>
                <a:gd name="T75" fmla="*/ 23 h 23"/>
                <a:gd name="T76" fmla="*/ 17 w 18"/>
                <a:gd name="T77" fmla="*/ 23 h 23"/>
                <a:gd name="T78" fmla="*/ 18 w 18"/>
                <a:gd name="T79" fmla="*/ 23 h 23"/>
                <a:gd name="T80" fmla="*/ 18 w 18"/>
                <a:gd name="T81" fmla="*/ 22 h 23"/>
                <a:gd name="T82" fmla="*/ 18 w 18"/>
                <a:gd name="T8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
                  </a:moveTo>
                  <a:cubicBezTo>
                    <a:pt x="18" y="1"/>
                    <a:pt x="18" y="1"/>
                    <a:pt x="18" y="1"/>
                  </a:cubicBezTo>
                  <a:cubicBezTo>
                    <a:pt x="18" y="1"/>
                    <a:pt x="18" y="1"/>
                    <a:pt x="17" y="1"/>
                  </a:cubicBezTo>
                  <a:cubicBezTo>
                    <a:pt x="17" y="1"/>
                    <a:pt x="17" y="1"/>
                    <a:pt x="17" y="1"/>
                  </a:cubicBezTo>
                  <a:cubicBezTo>
                    <a:pt x="17" y="0"/>
                    <a:pt x="16" y="0"/>
                    <a:pt x="16" y="0"/>
                  </a:cubicBezTo>
                  <a:cubicBezTo>
                    <a:pt x="15" y="0"/>
                    <a:pt x="15" y="0"/>
                    <a:pt x="15" y="1"/>
                  </a:cubicBezTo>
                  <a:cubicBezTo>
                    <a:pt x="15" y="1"/>
                    <a:pt x="14" y="1"/>
                    <a:pt x="14" y="1"/>
                  </a:cubicBezTo>
                  <a:cubicBezTo>
                    <a:pt x="14" y="1"/>
                    <a:pt x="14" y="1"/>
                    <a:pt x="14" y="1"/>
                  </a:cubicBezTo>
                  <a:cubicBezTo>
                    <a:pt x="14" y="1"/>
                    <a:pt x="14" y="1"/>
                    <a:pt x="14" y="1"/>
                  </a:cubicBezTo>
                  <a:cubicBezTo>
                    <a:pt x="14" y="16"/>
                    <a:pt x="14" y="16"/>
                    <a:pt x="14" y="16"/>
                  </a:cubicBezTo>
                  <a:cubicBezTo>
                    <a:pt x="13" y="17"/>
                    <a:pt x="12" y="18"/>
                    <a:pt x="11" y="19"/>
                  </a:cubicBezTo>
                  <a:cubicBezTo>
                    <a:pt x="10" y="20"/>
                    <a:pt x="9" y="20"/>
                    <a:pt x="8" y="20"/>
                  </a:cubicBezTo>
                  <a:cubicBezTo>
                    <a:pt x="7" y="20"/>
                    <a:pt x="7" y="20"/>
                    <a:pt x="6" y="20"/>
                  </a:cubicBezTo>
                  <a:cubicBezTo>
                    <a:pt x="5" y="19"/>
                    <a:pt x="5" y="19"/>
                    <a:pt x="5" y="18"/>
                  </a:cubicBezTo>
                  <a:cubicBezTo>
                    <a:pt x="4" y="18"/>
                    <a:pt x="4" y="17"/>
                    <a:pt x="4" y="16"/>
                  </a:cubicBezTo>
                  <a:cubicBezTo>
                    <a:pt x="4" y="16"/>
                    <a:pt x="4" y="15"/>
                    <a:pt x="4" y="13"/>
                  </a:cubicBezTo>
                  <a:cubicBezTo>
                    <a:pt x="4" y="1"/>
                    <a:pt x="4" y="1"/>
                    <a:pt x="4" y="1"/>
                  </a:cubicBezTo>
                  <a:cubicBezTo>
                    <a:pt x="4" y="1"/>
                    <a:pt x="4" y="1"/>
                    <a:pt x="3" y="1"/>
                  </a:cubicBezTo>
                  <a:cubicBezTo>
                    <a:pt x="3" y="1"/>
                    <a:pt x="3" y="1"/>
                    <a:pt x="3" y="1"/>
                  </a:cubicBezTo>
                  <a:cubicBezTo>
                    <a:pt x="3" y="1"/>
                    <a:pt x="3" y="1"/>
                    <a:pt x="3" y="1"/>
                  </a:cubicBezTo>
                  <a:cubicBezTo>
                    <a:pt x="2" y="0"/>
                    <a:pt x="2" y="0"/>
                    <a:pt x="2" y="0"/>
                  </a:cubicBezTo>
                  <a:cubicBezTo>
                    <a:pt x="1" y="0"/>
                    <a:pt x="1" y="0"/>
                    <a:pt x="1" y="1"/>
                  </a:cubicBezTo>
                  <a:cubicBezTo>
                    <a:pt x="0" y="1"/>
                    <a:pt x="0" y="1"/>
                    <a:pt x="0" y="1"/>
                  </a:cubicBezTo>
                  <a:cubicBezTo>
                    <a:pt x="0" y="1"/>
                    <a:pt x="0" y="1"/>
                    <a:pt x="0" y="1"/>
                  </a:cubicBezTo>
                  <a:cubicBezTo>
                    <a:pt x="0" y="1"/>
                    <a:pt x="0" y="1"/>
                    <a:pt x="0" y="1"/>
                  </a:cubicBezTo>
                  <a:cubicBezTo>
                    <a:pt x="0" y="14"/>
                    <a:pt x="0" y="14"/>
                    <a:pt x="0" y="14"/>
                  </a:cubicBezTo>
                  <a:cubicBezTo>
                    <a:pt x="0" y="16"/>
                    <a:pt x="0" y="17"/>
                    <a:pt x="0" y="18"/>
                  </a:cubicBezTo>
                  <a:cubicBezTo>
                    <a:pt x="0" y="19"/>
                    <a:pt x="1" y="20"/>
                    <a:pt x="1" y="21"/>
                  </a:cubicBezTo>
                  <a:cubicBezTo>
                    <a:pt x="2" y="22"/>
                    <a:pt x="3" y="22"/>
                    <a:pt x="4" y="23"/>
                  </a:cubicBezTo>
                  <a:cubicBezTo>
                    <a:pt x="5" y="23"/>
                    <a:pt x="6" y="23"/>
                    <a:pt x="7" y="23"/>
                  </a:cubicBezTo>
                  <a:cubicBezTo>
                    <a:pt x="8" y="23"/>
                    <a:pt x="10" y="23"/>
                    <a:pt x="11" y="22"/>
                  </a:cubicBezTo>
                  <a:cubicBezTo>
                    <a:pt x="12" y="22"/>
                    <a:pt x="13" y="21"/>
                    <a:pt x="14" y="20"/>
                  </a:cubicBezTo>
                  <a:cubicBezTo>
                    <a:pt x="14" y="22"/>
                    <a:pt x="14" y="22"/>
                    <a:pt x="14" y="22"/>
                  </a:cubicBezTo>
                  <a:cubicBezTo>
                    <a:pt x="14" y="22"/>
                    <a:pt x="14" y="23"/>
                    <a:pt x="14" y="23"/>
                  </a:cubicBezTo>
                  <a:cubicBezTo>
                    <a:pt x="14" y="23"/>
                    <a:pt x="15" y="23"/>
                    <a:pt x="15" y="23"/>
                  </a:cubicBezTo>
                  <a:cubicBezTo>
                    <a:pt x="15" y="23"/>
                    <a:pt x="15" y="23"/>
                    <a:pt x="15" y="23"/>
                  </a:cubicBezTo>
                  <a:cubicBezTo>
                    <a:pt x="15" y="23"/>
                    <a:pt x="16" y="23"/>
                    <a:pt x="16" y="23"/>
                  </a:cubicBezTo>
                  <a:cubicBezTo>
                    <a:pt x="16" y="23"/>
                    <a:pt x="17" y="23"/>
                    <a:pt x="17" y="23"/>
                  </a:cubicBezTo>
                  <a:cubicBezTo>
                    <a:pt x="17" y="23"/>
                    <a:pt x="17" y="23"/>
                    <a:pt x="17" y="23"/>
                  </a:cubicBezTo>
                  <a:cubicBezTo>
                    <a:pt x="18" y="23"/>
                    <a:pt x="18" y="23"/>
                    <a:pt x="18" y="23"/>
                  </a:cubicBezTo>
                  <a:cubicBezTo>
                    <a:pt x="18" y="23"/>
                    <a:pt x="18" y="22"/>
                    <a:pt x="18" y="22"/>
                  </a:cubicBezTo>
                  <a:cubicBezTo>
                    <a:pt x="18" y="1"/>
                    <a:pt x="18" y="1"/>
                    <a:pt x="18"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120">
              <a:extLst>
                <a:ext uri="{FF2B5EF4-FFF2-40B4-BE49-F238E27FC236}">
                  <a16:creationId xmlns:a16="http://schemas.microsoft.com/office/drawing/2014/main" id="{5E3D1C6A-5989-4172-87C7-F26771D3319E}"/>
                </a:ext>
              </a:extLst>
            </p:cNvPr>
            <p:cNvSpPr>
              <a:spLocks noEditPoints="1"/>
            </p:cNvSpPr>
            <p:nvPr/>
          </p:nvSpPr>
          <p:spPr bwMode="auto">
            <a:xfrm>
              <a:off x="7378813" y="2311456"/>
              <a:ext cx="66374" cy="112547"/>
            </a:xfrm>
            <a:custGeom>
              <a:avLst/>
              <a:gdLst>
                <a:gd name="T0" fmla="*/ 19 w 19"/>
                <a:gd name="T1" fmla="*/ 1 h 33"/>
                <a:gd name="T2" fmla="*/ 19 w 19"/>
                <a:gd name="T3" fmla="*/ 1 h 33"/>
                <a:gd name="T4" fmla="*/ 19 w 19"/>
                <a:gd name="T5" fmla="*/ 1 h 33"/>
                <a:gd name="T6" fmla="*/ 18 w 19"/>
                <a:gd name="T7" fmla="*/ 0 h 33"/>
                <a:gd name="T8" fmla="*/ 17 w 19"/>
                <a:gd name="T9" fmla="*/ 0 h 33"/>
                <a:gd name="T10" fmla="*/ 16 w 19"/>
                <a:gd name="T11" fmla="*/ 0 h 33"/>
                <a:gd name="T12" fmla="*/ 16 w 19"/>
                <a:gd name="T13" fmla="*/ 1 h 33"/>
                <a:gd name="T14" fmla="*/ 15 w 19"/>
                <a:gd name="T15" fmla="*/ 1 h 33"/>
                <a:gd name="T16" fmla="*/ 15 w 19"/>
                <a:gd name="T17" fmla="*/ 1 h 33"/>
                <a:gd name="T18" fmla="*/ 15 w 19"/>
                <a:gd name="T19" fmla="*/ 13 h 33"/>
                <a:gd name="T20" fmla="*/ 12 w 19"/>
                <a:gd name="T21" fmla="*/ 11 h 33"/>
                <a:gd name="T22" fmla="*/ 9 w 19"/>
                <a:gd name="T23" fmla="*/ 10 h 33"/>
                <a:gd name="T24" fmla="*/ 5 w 19"/>
                <a:gd name="T25" fmla="*/ 11 h 33"/>
                <a:gd name="T26" fmla="*/ 2 w 19"/>
                <a:gd name="T27" fmla="*/ 13 h 33"/>
                <a:gd name="T28" fmla="*/ 0 w 19"/>
                <a:gd name="T29" fmla="*/ 17 h 33"/>
                <a:gd name="T30" fmla="*/ 0 w 19"/>
                <a:gd name="T31" fmla="*/ 22 h 33"/>
                <a:gd name="T32" fmla="*/ 0 w 19"/>
                <a:gd name="T33" fmla="*/ 26 h 33"/>
                <a:gd name="T34" fmla="*/ 2 w 19"/>
                <a:gd name="T35" fmla="*/ 30 h 33"/>
                <a:gd name="T36" fmla="*/ 4 w 19"/>
                <a:gd name="T37" fmla="*/ 32 h 33"/>
                <a:gd name="T38" fmla="*/ 8 w 19"/>
                <a:gd name="T39" fmla="*/ 33 h 33"/>
                <a:gd name="T40" fmla="*/ 12 w 19"/>
                <a:gd name="T41" fmla="*/ 32 h 33"/>
                <a:gd name="T42" fmla="*/ 16 w 19"/>
                <a:gd name="T43" fmla="*/ 30 h 33"/>
                <a:gd name="T44" fmla="*/ 16 w 19"/>
                <a:gd name="T45" fmla="*/ 32 h 33"/>
                <a:gd name="T46" fmla="*/ 16 w 19"/>
                <a:gd name="T47" fmla="*/ 33 h 33"/>
                <a:gd name="T48" fmla="*/ 16 w 19"/>
                <a:gd name="T49" fmla="*/ 33 h 33"/>
                <a:gd name="T50" fmla="*/ 17 w 19"/>
                <a:gd name="T51" fmla="*/ 33 h 33"/>
                <a:gd name="T52" fmla="*/ 18 w 19"/>
                <a:gd name="T53" fmla="*/ 33 h 33"/>
                <a:gd name="T54" fmla="*/ 18 w 19"/>
                <a:gd name="T55" fmla="*/ 33 h 33"/>
                <a:gd name="T56" fmla="*/ 19 w 19"/>
                <a:gd name="T57" fmla="*/ 33 h 33"/>
                <a:gd name="T58" fmla="*/ 19 w 19"/>
                <a:gd name="T59" fmla="*/ 33 h 33"/>
                <a:gd name="T60" fmla="*/ 19 w 19"/>
                <a:gd name="T61" fmla="*/ 32 h 33"/>
                <a:gd name="T62" fmla="*/ 19 w 19"/>
                <a:gd name="T63" fmla="*/ 1 h 33"/>
                <a:gd name="T64" fmla="*/ 15 w 19"/>
                <a:gd name="T65" fmla="*/ 26 h 33"/>
                <a:gd name="T66" fmla="*/ 14 w 19"/>
                <a:gd name="T67" fmla="*/ 28 h 33"/>
                <a:gd name="T68" fmla="*/ 12 w 19"/>
                <a:gd name="T69" fmla="*/ 29 h 33"/>
                <a:gd name="T70" fmla="*/ 11 w 19"/>
                <a:gd name="T71" fmla="*/ 30 h 33"/>
                <a:gd name="T72" fmla="*/ 9 w 19"/>
                <a:gd name="T73" fmla="*/ 30 h 33"/>
                <a:gd name="T74" fmla="*/ 7 w 19"/>
                <a:gd name="T75" fmla="*/ 29 h 33"/>
                <a:gd name="T76" fmla="*/ 5 w 19"/>
                <a:gd name="T77" fmla="*/ 27 h 33"/>
                <a:gd name="T78" fmla="*/ 4 w 19"/>
                <a:gd name="T79" fmla="*/ 25 h 33"/>
                <a:gd name="T80" fmla="*/ 4 w 19"/>
                <a:gd name="T81" fmla="*/ 22 h 33"/>
                <a:gd name="T82" fmla="*/ 4 w 19"/>
                <a:gd name="T83" fmla="*/ 19 h 33"/>
                <a:gd name="T84" fmla="*/ 5 w 19"/>
                <a:gd name="T85" fmla="*/ 16 h 33"/>
                <a:gd name="T86" fmla="*/ 7 w 19"/>
                <a:gd name="T87" fmla="*/ 14 h 33"/>
                <a:gd name="T88" fmla="*/ 9 w 19"/>
                <a:gd name="T89" fmla="*/ 13 h 33"/>
                <a:gd name="T90" fmla="*/ 12 w 19"/>
                <a:gd name="T91" fmla="*/ 14 h 33"/>
                <a:gd name="T92" fmla="*/ 15 w 19"/>
                <a:gd name="T93" fmla="*/ 17 h 33"/>
                <a:gd name="T94" fmla="*/ 15 w 19"/>
                <a:gd name="T95"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 h="33">
                  <a:moveTo>
                    <a:pt x="19" y="1"/>
                  </a:moveTo>
                  <a:cubicBezTo>
                    <a:pt x="19" y="1"/>
                    <a:pt x="19" y="1"/>
                    <a:pt x="19" y="1"/>
                  </a:cubicBezTo>
                  <a:cubicBezTo>
                    <a:pt x="19" y="1"/>
                    <a:pt x="19" y="1"/>
                    <a:pt x="19" y="1"/>
                  </a:cubicBezTo>
                  <a:cubicBezTo>
                    <a:pt x="19" y="0"/>
                    <a:pt x="18" y="0"/>
                    <a:pt x="18" y="0"/>
                  </a:cubicBezTo>
                  <a:cubicBezTo>
                    <a:pt x="18" y="0"/>
                    <a:pt x="18" y="0"/>
                    <a:pt x="17" y="0"/>
                  </a:cubicBezTo>
                  <a:cubicBezTo>
                    <a:pt x="17" y="0"/>
                    <a:pt x="17" y="0"/>
                    <a:pt x="16" y="0"/>
                  </a:cubicBezTo>
                  <a:cubicBezTo>
                    <a:pt x="16" y="0"/>
                    <a:pt x="16" y="0"/>
                    <a:pt x="16" y="1"/>
                  </a:cubicBezTo>
                  <a:cubicBezTo>
                    <a:pt x="16" y="1"/>
                    <a:pt x="15" y="1"/>
                    <a:pt x="15" y="1"/>
                  </a:cubicBezTo>
                  <a:cubicBezTo>
                    <a:pt x="15" y="1"/>
                    <a:pt x="15" y="1"/>
                    <a:pt x="15" y="1"/>
                  </a:cubicBezTo>
                  <a:cubicBezTo>
                    <a:pt x="15" y="13"/>
                    <a:pt x="15" y="13"/>
                    <a:pt x="15" y="13"/>
                  </a:cubicBezTo>
                  <a:cubicBezTo>
                    <a:pt x="14" y="12"/>
                    <a:pt x="13" y="11"/>
                    <a:pt x="12" y="11"/>
                  </a:cubicBezTo>
                  <a:cubicBezTo>
                    <a:pt x="11" y="10"/>
                    <a:pt x="10" y="10"/>
                    <a:pt x="9" y="10"/>
                  </a:cubicBezTo>
                  <a:cubicBezTo>
                    <a:pt x="7" y="10"/>
                    <a:pt x="6" y="10"/>
                    <a:pt x="5" y="11"/>
                  </a:cubicBezTo>
                  <a:cubicBezTo>
                    <a:pt x="4" y="12"/>
                    <a:pt x="3" y="12"/>
                    <a:pt x="2" y="13"/>
                  </a:cubicBezTo>
                  <a:cubicBezTo>
                    <a:pt x="1" y="14"/>
                    <a:pt x="1" y="16"/>
                    <a:pt x="0" y="17"/>
                  </a:cubicBezTo>
                  <a:cubicBezTo>
                    <a:pt x="0" y="19"/>
                    <a:pt x="0" y="20"/>
                    <a:pt x="0" y="22"/>
                  </a:cubicBezTo>
                  <a:cubicBezTo>
                    <a:pt x="0" y="24"/>
                    <a:pt x="0" y="25"/>
                    <a:pt x="0" y="26"/>
                  </a:cubicBezTo>
                  <a:cubicBezTo>
                    <a:pt x="1" y="28"/>
                    <a:pt x="1" y="29"/>
                    <a:pt x="2" y="30"/>
                  </a:cubicBezTo>
                  <a:cubicBezTo>
                    <a:pt x="2" y="31"/>
                    <a:pt x="3" y="32"/>
                    <a:pt x="4" y="32"/>
                  </a:cubicBezTo>
                  <a:cubicBezTo>
                    <a:pt x="5" y="33"/>
                    <a:pt x="7" y="33"/>
                    <a:pt x="8" y="33"/>
                  </a:cubicBezTo>
                  <a:cubicBezTo>
                    <a:pt x="10" y="33"/>
                    <a:pt x="11" y="33"/>
                    <a:pt x="12" y="32"/>
                  </a:cubicBezTo>
                  <a:cubicBezTo>
                    <a:pt x="13" y="32"/>
                    <a:pt x="15" y="31"/>
                    <a:pt x="16" y="30"/>
                  </a:cubicBezTo>
                  <a:cubicBezTo>
                    <a:pt x="16" y="32"/>
                    <a:pt x="16" y="32"/>
                    <a:pt x="16" y="32"/>
                  </a:cubicBezTo>
                  <a:cubicBezTo>
                    <a:pt x="16" y="32"/>
                    <a:pt x="16" y="33"/>
                    <a:pt x="16" y="33"/>
                  </a:cubicBezTo>
                  <a:cubicBezTo>
                    <a:pt x="16" y="33"/>
                    <a:pt x="16" y="33"/>
                    <a:pt x="16" y="33"/>
                  </a:cubicBezTo>
                  <a:cubicBezTo>
                    <a:pt x="16" y="33"/>
                    <a:pt x="16" y="33"/>
                    <a:pt x="17" y="33"/>
                  </a:cubicBezTo>
                  <a:cubicBezTo>
                    <a:pt x="17" y="33"/>
                    <a:pt x="17" y="33"/>
                    <a:pt x="18" y="33"/>
                  </a:cubicBezTo>
                  <a:cubicBezTo>
                    <a:pt x="18" y="33"/>
                    <a:pt x="18" y="33"/>
                    <a:pt x="18" y="33"/>
                  </a:cubicBezTo>
                  <a:cubicBezTo>
                    <a:pt x="19" y="33"/>
                    <a:pt x="19" y="33"/>
                    <a:pt x="19" y="33"/>
                  </a:cubicBezTo>
                  <a:cubicBezTo>
                    <a:pt x="19" y="33"/>
                    <a:pt x="19" y="33"/>
                    <a:pt x="19" y="33"/>
                  </a:cubicBezTo>
                  <a:cubicBezTo>
                    <a:pt x="19" y="33"/>
                    <a:pt x="19" y="32"/>
                    <a:pt x="19" y="32"/>
                  </a:cubicBezTo>
                  <a:cubicBezTo>
                    <a:pt x="19" y="1"/>
                    <a:pt x="19" y="1"/>
                    <a:pt x="19" y="1"/>
                  </a:cubicBezTo>
                  <a:close/>
                  <a:moveTo>
                    <a:pt x="15" y="26"/>
                  </a:moveTo>
                  <a:cubicBezTo>
                    <a:pt x="15" y="27"/>
                    <a:pt x="14" y="27"/>
                    <a:pt x="14" y="28"/>
                  </a:cubicBezTo>
                  <a:cubicBezTo>
                    <a:pt x="13" y="28"/>
                    <a:pt x="12" y="29"/>
                    <a:pt x="12" y="29"/>
                  </a:cubicBezTo>
                  <a:cubicBezTo>
                    <a:pt x="11" y="29"/>
                    <a:pt x="11" y="30"/>
                    <a:pt x="11" y="30"/>
                  </a:cubicBezTo>
                  <a:cubicBezTo>
                    <a:pt x="10" y="30"/>
                    <a:pt x="10" y="30"/>
                    <a:pt x="9" y="30"/>
                  </a:cubicBezTo>
                  <a:cubicBezTo>
                    <a:pt x="8" y="30"/>
                    <a:pt x="7" y="30"/>
                    <a:pt x="7" y="29"/>
                  </a:cubicBezTo>
                  <a:cubicBezTo>
                    <a:pt x="6" y="29"/>
                    <a:pt x="5" y="28"/>
                    <a:pt x="5" y="27"/>
                  </a:cubicBezTo>
                  <a:cubicBezTo>
                    <a:pt x="4" y="27"/>
                    <a:pt x="4" y="26"/>
                    <a:pt x="4" y="25"/>
                  </a:cubicBezTo>
                  <a:cubicBezTo>
                    <a:pt x="4" y="24"/>
                    <a:pt x="4" y="23"/>
                    <a:pt x="4" y="22"/>
                  </a:cubicBezTo>
                  <a:cubicBezTo>
                    <a:pt x="4" y="21"/>
                    <a:pt x="4" y="20"/>
                    <a:pt x="4" y="19"/>
                  </a:cubicBezTo>
                  <a:cubicBezTo>
                    <a:pt x="4" y="18"/>
                    <a:pt x="5" y="17"/>
                    <a:pt x="5" y="16"/>
                  </a:cubicBezTo>
                  <a:cubicBezTo>
                    <a:pt x="5" y="15"/>
                    <a:pt x="6" y="15"/>
                    <a:pt x="7" y="14"/>
                  </a:cubicBezTo>
                  <a:cubicBezTo>
                    <a:pt x="7" y="14"/>
                    <a:pt x="8" y="13"/>
                    <a:pt x="9" y="13"/>
                  </a:cubicBezTo>
                  <a:cubicBezTo>
                    <a:pt x="10" y="13"/>
                    <a:pt x="11" y="14"/>
                    <a:pt x="12" y="14"/>
                  </a:cubicBezTo>
                  <a:cubicBezTo>
                    <a:pt x="13" y="15"/>
                    <a:pt x="14" y="16"/>
                    <a:pt x="15" y="17"/>
                  </a:cubicBezTo>
                  <a:cubicBezTo>
                    <a:pt x="15" y="26"/>
                    <a:pt x="15" y="26"/>
                    <a:pt x="15" y="26"/>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121">
              <a:extLst>
                <a:ext uri="{FF2B5EF4-FFF2-40B4-BE49-F238E27FC236}">
                  <a16:creationId xmlns:a16="http://schemas.microsoft.com/office/drawing/2014/main" id="{B5898CEB-CE36-435B-A484-BC154EF1C34B}"/>
                </a:ext>
              </a:extLst>
            </p:cNvPr>
            <p:cNvSpPr>
              <a:spLocks/>
            </p:cNvSpPr>
            <p:nvPr/>
          </p:nvSpPr>
          <p:spPr bwMode="auto">
            <a:xfrm>
              <a:off x="4707980" y="2219109"/>
              <a:ext cx="5113687" cy="324656"/>
            </a:xfrm>
            <a:custGeom>
              <a:avLst/>
              <a:gdLst>
                <a:gd name="T0" fmla="*/ 3 w 1493"/>
                <a:gd name="T1" fmla="*/ 18 h 95"/>
                <a:gd name="T2" fmla="*/ 6 w 1493"/>
                <a:gd name="T3" fmla="*/ 18 h 95"/>
                <a:gd name="T4" fmla="*/ 18 w 1493"/>
                <a:gd name="T5" fmla="*/ 6 h 95"/>
                <a:gd name="T6" fmla="*/ 1475 w 1493"/>
                <a:gd name="T7" fmla="*/ 6 h 95"/>
                <a:gd name="T8" fmla="*/ 1487 w 1493"/>
                <a:gd name="T9" fmla="*/ 18 h 95"/>
                <a:gd name="T10" fmla="*/ 1487 w 1493"/>
                <a:gd name="T11" fmla="*/ 78 h 95"/>
                <a:gd name="T12" fmla="*/ 1475 w 1493"/>
                <a:gd name="T13" fmla="*/ 89 h 95"/>
                <a:gd name="T14" fmla="*/ 18 w 1493"/>
                <a:gd name="T15" fmla="*/ 89 h 95"/>
                <a:gd name="T16" fmla="*/ 6 w 1493"/>
                <a:gd name="T17" fmla="*/ 78 h 95"/>
                <a:gd name="T18" fmla="*/ 6 w 1493"/>
                <a:gd name="T19" fmla="*/ 18 h 95"/>
                <a:gd name="T20" fmla="*/ 3 w 1493"/>
                <a:gd name="T21" fmla="*/ 18 h 95"/>
                <a:gd name="T22" fmla="*/ 0 w 1493"/>
                <a:gd name="T23" fmla="*/ 18 h 95"/>
                <a:gd name="T24" fmla="*/ 0 w 1493"/>
                <a:gd name="T25" fmla="*/ 78 h 95"/>
                <a:gd name="T26" fmla="*/ 18 w 1493"/>
                <a:gd name="T27" fmla="*/ 95 h 95"/>
                <a:gd name="T28" fmla="*/ 1475 w 1493"/>
                <a:gd name="T29" fmla="*/ 95 h 95"/>
                <a:gd name="T30" fmla="*/ 1493 w 1493"/>
                <a:gd name="T31" fmla="*/ 78 h 95"/>
                <a:gd name="T32" fmla="*/ 1493 w 1493"/>
                <a:gd name="T33" fmla="*/ 18 h 95"/>
                <a:gd name="T34" fmla="*/ 1475 w 1493"/>
                <a:gd name="T35" fmla="*/ 0 h 95"/>
                <a:gd name="T36" fmla="*/ 18 w 1493"/>
                <a:gd name="T37" fmla="*/ 0 h 95"/>
                <a:gd name="T38" fmla="*/ 0 w 1493"/>
                <a:gd name="T39" fmla="*/ 18 h 95"/>
                <a:gd name="T40" fmla="*/ 3 w 1493"/>
                <a:gd name="T4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3" h="95">
                  <a:moveTo>
                    <a:pt x="3" y="18"/>
                  </a:moveTo>
                  <a:cubicBezTo>
                    <a:pt x="6" y="18"/>
                    <a:pt x="6" y="18"/>
                    <a:pt x="6" y="18"/>
                  </a:cubicBezTo>
                  <a:cubicBezTo>
                    <a:pt x="6" y="11"/>
                    <a:pt x="12" y="6"/>
                    <a:pt x="18" y="6"/>
                  </a:cubicBezTo>
                  <a:cubicBezTo>
                    <a:pt x="1475" y="6"/>
                    <a:pt x="1475" y="6"/>
                    <a:pt x="1475" y="6"/>
                  </a:cubicBezTo>
                  <a:cubicBezTo>
                    <a:pt x="1482" y="6"/>
                    <a:pt x="1487" y="11"/>
                    <a:pt x="1487" y="18"/>
                  </a:cubicBezTo>
                  <a:cubicBezTo>
                    <a:pt x="1487" y="78"/>
                    <a:pt x="1487" y="78"/>
                    <a:pt x="1487" y="78"/>
                  </a:cubicBezTo>
                  <a:cubicBezTo>
                    <a:pt x="1487" y="84"/>
                    <a:pt x="1482" y="89"/>
                    <a:pt x="1475" y="89"/>
                  </a:cubicBezTo>
                  <a:cubicBezTo>
                    <a:pt x="18" y="89"/>
                    <a:pt x="18" y="89"/>
                    <a:pt x="18" y="89"/>
                  </a:cubicBezTo>
                  <a:cubicBezTo>
                    <a:pt x="12" y="89"/>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7"/>
                    <a:pt x="8" y="95"/>
                    <a:pt x="18" y="95"/>
                  </a:cubicBezTo>
                  <a:cubicBezTo>
                    <a:pt x="1475" y="95"/>
                    <a:pt x="1475" y="95"/>
                    <a:pt x="1475" y="95"/>
                  </a:cubicBezTo>
                  <a:cubicBezTo>
                    <a:pt x="1485" y="95"/>
                    <a:pt x="1493" y="87"/>
                    <a:pt x="1493" y="78"/>
                  </a:cubicBezTo>
                  <a:cubicBezTo>
                    <a:pt x="1493" y="18"/>
                    <a:pt x="1493" y="18"/>
                    <a:pt x="1493" y="18"/>
                  </a:cubicBezTo>
                  <a:cubicBezTo>
                    <a:pt x="1493" y="8"/>
                    <a:pt x="1485" y="0"/>
                    <a:pt x="1475" y="0"/>
                  </a:cubicBezTo>
                  <a:cubicBezTo>
                    <a:pt x="18" y="0"/>
                    <a:pt x="18" y="0"/>
                    <a:pt x="18" y="0"/>
                  </a:cubicBezTo>
                  <a:cubicBezTo>
                    <a:pt x="8" y="0"/>
                    <a:pt x="0" y="8"/>
                    <a:pt x="0" y="18"/>
                  </a:cubicBezTo>
                  <a:lnTo>
                    <a:pt x="3" y="18"/>
                  </a:ln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122">
              <a:extLst>
                <a:ext uri="{FF2B5EF4-FFF2-40B4-BE49-F238E27FC236}">
                  <a16:creationId xmlns:a16="http://schemas.microsoft.com/office/drawing/2014/main" id="{53EBE662-0C1B-42D8-985B-112367714B5F}"/>
                </a:ext>
              </a:extLst>
            </p:cNvPr>
            <p:cNvSpPr>
              <a:spLocks noEditPoints="1"/>
            </p:cNvSpPr>
            <p:nvPr/>
          </p:nvSpPr>
          <p:spPr bwMode="auto">
            <a:xfrm>
              <a:off x="5989287" y="3542262"/>
              <a:ext cx="2548186" cy="144291"/>
            </a:xfrm>
            <a:custGeom>
              <a:avLst/>
              <a:gdLst>
                <a:gd name="T0" fmla="*/ 22 w 744"/>
                <a:gd name="T1" fmla="*/ 8 h 42"/>
                <a:gd name="T2" fmla="*/ 44 w 744"/>
                <a:gd name="T3" fmla="*/ 30 h 42"/>
                <a:gd name="T4" fmla="*/ 33 w 744"/>
                <a:gd name="T5" fmla="*/ 30 h 42"/>
                <a:gd name="T6" fmla="*/ 55 w 744"/>
                <a:gd name="T7" fmla="*/ 33 h 42"/>
                <a:gd name="T8" fmla="*/ 83 w 744"/>
                <a:gd name="T9" fmla="*/ 34 h 42"/>
                <a:gd name="T10" fmla="*/ 77 w 744"/>
                <a:gd name="T11" fmla="*/ 17 h 42"/>
                <a:gd name="T12" fmla="*/ 82 w 744"/>
                <a:gd name="T13" fmla="*/ 19 h 42"/>
                <a:gd name="T14" fmla="*/ 98 w 744"/>
                <a:gd name="T15" fmla="*/ 11 h 42"/>
                <a:gd name="T16" fmla="*/ 125 w 744"/>
                <a:gd name="T17" fmla="*/ 33 h 42"/>
                <a:gd name="T18" fmla="*/ 149 w 744"/>
                <a:gd name="T19" fmla="*/ 33 h 42"/>
                <a:gd name="T20" fmla="*/ 131 w 744"/>
                <a:gd name="T21" fmla="*/ 14 h 42"/>
                <a:gd name="T22" fmla="*/ 149 w 744"/>
                <a:gd name="T23" fmla="*/ 2 h 42"/>
                <a:gd name="T24" fmla="*/ 160 w 744"/>
                <a:gd name="T25" fmla="*/ 33 h 42"/>
                <a:gd name="T26" fmla="*/ 200 w 744"/>
                <a:gd name="T27" fmla="*/ 21 h 42"/>
                <a:gd name="T28" fmla="*/ 186 w 744"/>
                <a:gd name="T29" fmla="*/ 31 h 42"/>
                <a:gd name="T30" fmla="*/ 195 w 744"/>
                <a:gd name="T31" fmla="*/ 38 h 42"/>
                <a:gd name="T32" fmla="*/ 206 w 744"/>
                <a:gd name="T33" fmla="*/ 40 h 42"/>
                <a:gd name="T34" fmla="*/ 229 w 744"/>
                <a:gd name="T35" fmla="*/ 30 h 42"/>
                <a:gd name="T36" fmla="*/ 241 w 744"/>
                <a:gd name="T37" fmla="*/ 2 h 42"/>
                <a:gd name="T38" fmla="*/ 247 w 744"/>
                <a:gd name="T39" fmla="*/ 21 h 42"/>
                <a:gd name="T40" fmla="*/ 256 w 744"/>
                <a:gd name="T41" fmla="*/ 5 h 42"/>
                <a:gd name="T42" fmla="*/ 281 w 744"/>
                <a:gd name="T43" fmla="*/ 14 h 42"/>
                <a:gd name="T44" fmla="*/ 272 w 744"/>
                <a:gd name="T45" fmla="*/ 11 h 42"/>
                <a:gd name="T46" fmla="*/ 292 w 744"/>
                <a:gd name="T47" fmla="*/ 34 h 42"/>
                <a:gd name="T48" fmla="*/ 289 w 744"/>
                <a:gd name="T49" fmla="*/ 11 h 42"/>
                <a:gd name="T50" fmla="*/ 313 w 744"/>
                <a:gd name="T51" fmla="*/ 33 h 42"/>
                <a:gd name="T52" fmla="*/ 320 w 744"/>
                <a:gd name="T53" fmla="*/ 12 h 42"/>
                <a:gd name="T54" fmla="*/ 340 w 744"/>
                <a:gd name="T55" fmla="*/ 29 h 42"/>
                <a:gd name="T56" fmla="*/ 343 w 744"/>
                <a:gd name="T57" fmla="*/ 21 h 42"/>
                <a:gd name="T58" fmla="*/ 362 w 744"/>
                <a:gd name="T59" fmla="*/ 29 h 42"/>
                <a:gd name="T60" fmla="*/ 358 w 744"/>
                <a:gd name="T61" fmla="*/ 10 h 42"/>
                <a:gd name="T62" fmla="*/ 353 w 744"/>
                <a:gd name="T63" fmla="*/ 21 h 42"/>
                <a:gd name="T64" fmla="*/ 379 w 744"/>
                <a:gd name="T65" fmla="*/ 28 h 42"/>
                <a:gd name="T66" fmla="*/ 411 w 744"/>
                <a:gd name="T67" fmla="*/ 2 h 42"/>
                <a:gd name="T68" fmla="*/ 429 w 744"/>
                <a:gd name="T69" fmla="*/ 17 h 42"/>
                <a:gd name="T70" fmla="*/ 413 w 744"/>
                <a:gd name="T71" fmla="*/ 33 h 42"/>
                <a:gd name="T72" fmla="*/ 411 w 744"/>
                <a:gd name="T73" fmla="*/ 11 h 42"/>
                <a:gd name="T74" fmla="*/ 457 w 744"/>
                <a:gd name="T75" fmla="*/ 33 h 42"/>
                <a:gd name="T76" fmla="*/ 483 w 744"/>
                <a:gd name="T77" fmla="*/ 14 h 42"/>
                <a:gd name="T78" fmla="*/ 475 w 744"/>
                <a:gd name="T79" fmla="*/ 14 h 42"/>
                <a:gd name="T80" fmla="*/ 487 w 744"/>
                <a:gd name="T81" fmla="*/ 27 h 42"/>
                <a:gd name="T82" fmla="*/ 502 w 744"/>
                <a:gd name="T83" fmla="*/ 12 h 42"/>
                <a:gd name="T84" fmla="*/ 524 w 744"/>
                <a:gd name="T85" fmla="*/ 15 h 42"/>
                <a:gd name="T86" fmla="*/ 525 w 744"/>
                <a:gd name="T87" fmla="*/ 11 h 42"/>
                <a:gd name="T88" fmla="*/ 545 w 744"/>
                <a:gd name="T89" fmla="*/ 29 h 42"/>
                <a:gd name="T90" fmla="*/ 547 w 744"/>
                <a:gd name="T91" fmla="*/ 15 h 42"/>
                <a:gd name="T92" fmla="*/ 561 w 744"/>
                <a:gd name="T93" fmla="*/ 5 h 42"/>
                <a:gd name="T94" fmla="*/ 553 w 744"/>
                <a:gd name="T95" fmla="*/ 11 h 42"/>
                <a:gd name="T96" fmla="*/ 574 w 744"/>
                <a:gd name="T97" fmla="*/ 11 h 42"/>
                <a:gd name="T98" fmla="*/ 607 w 744"/>
                <a:gd name="T99" fmla="*/ 14 h 42"/>
                <a:gd name="T100" fmla="*/ 599 w 744"/>
                <a:gd name="T101" fmla="*/ 11 h 42"/>
                <a:gd name="T102" fmla="*/ 638 w 744"/>
                <a:gd name="T103" fmla="*/ 15 h 42"/>
                <a:gd name="T104" fmla="*/ 613 w 744"/>
                <a:gd name="T105" fmla="*/ 33 h 42"/>
                <a:gd name="T106" fmla="*/ 643 w 744"/>
                <a:gd name="T107" fmla="*/ 16 h 42"/>
                <a:gd name="T108" fmla="*/ 658 w 744"/>
                <a:gd name="T109" fmla="*/ 13 h 42"/>
                <a:gd name="T110" fmla="*/ 654 w 744"/>
                <a:gd name="T111" fmla="*/ 30 h 42"/>
                <a:gd name="T112" fmla="*/ 684 w 744"/>
                <a:gd name="T113" fmla="*/ 30 h 42"/>
                <a:gd name="T114" fmla="*/ 675 w 744"/>
                <a:gd name="T115" fmla="*/ 5 h 42"/>
                <a:gd name="T116" fmla="*/ 699 w 744"/>
                <a:gd name="T117" fmla="*/ 27 h 42"/>
                <a:gd name="T118" fmla="*/ 716 w 744"/>
                <a:gd name="T119" fmla="*/ 22 h 42"/>
                <a:gd name="T120" fmla="*/ 726 w 744"/>
                <a:gd name="T121"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44" h="42">
                  <a:moveTo>
                    <a:pt x="22" y="29"/>
                  </a:moveTo>
                  <a:cubicBezTo>
                    <a:pt x="22" y="29"/>
                    <a:pt x="22" y="29"/>
                    <a:pt x="22" y="29"/>
                  </a:cubicBezTo>
                  <a:cubicBezTo>
                    <a:pt x="22" y="30"/>
                    <a:pt x="22" y="30"/>
                    <a:pt x="22" y="30"/>
                  </a:cubicBezTo>
                  <a:cubicBezTo>
                    <a:pt x="22" y="30"/>
                    <a:pt x="22" y="30"/>
                    <a:pt x="22" y="30"/>
                  </a:cubicBezTo>
                  <a:cubicBezTo>
                    <a:pt x="22" y="30"/>
                    <a:pt x="22" y="31"/>
                    <a:pt x="22" y="31"/>
                  </a:cubicBezTo>
                  <a:cubicBezTo>
                    <a:pt x="22" y="31"/>
                    <a:pt x="21" y="31"/>
                    <a:pt x="21" y="31"/>
                  </a:cubicBezTo>
                  <a:cubicBezTo>
                    <a:pt x="20" y="32"/>
                    <a:pt x="20" y="32"/>
                    <a:pt x="19" y="32"/>
                  </a:cubicBezTo>
                  <a:cubicBezTo>
                    <a:pt x="18" y="33"/>
                    <a:pt x="17" y="33"/>
                    <a:pt x="16" y="33"/>
                  </a:cubicBezTo>
                  <a:cubicBezTo>
                    <a:pt x="15" y="33"/>
                    <a:pt x="14" y="33"/>
                    <a:pt x="13" y="33"/>
                  </a:cubicBezTo>
                  <a:cubicBezTo>
                    <a:pt x="11" y="33"/>
                    <a:pt x="9" y="33"/>
                    <a:pt x="8" y="32"/>
                  </a:cubicBezTo>
                  <a:cubicBezTo>
                    <a:pt x="6" y="32"/>
                    <a:pt x="5" y="31"/>
                    <a:pt x="4" y="30"/>
                  </a:cubicBezTo>
                  <a:cubicBezTo>
                    <a:pt x="3" y="28"/>
                    <a:pt x="2" y="27"/>
                    <a:pt x="1" y="25"/>
                  </a:cubicBezTo>
                  <a:cubicBezTo>
                    <a:pt x="1" y="23"/>
                    <a:pt x="0" y="21"/>
                    <a:pt x="0" y="18"/>
                  </a:cubicBezTo>
                  <a:cubicBezTo>
                    <a:pt x="0" y="16"/>
                    <a:pt x="1" y="14"/>
                    <a:pt x="1" y="12"/>
                  </a:cubicBezTo>
                  <a:cubicBezTo>
                    <a:pt x="2" y="10"/>
                    <a:pt x="3" y="8"/>
                    <a:pt x="4" y="7"/>
                  </a:cubicBezTo>
                  <a:cubicBezTo>
                    <a:pt x="5" y="5"/>
                    <a:pt x="7" y="4"/>
                    <a:pt x="8" y="3"/>
                  </a:cubicBezTo>
                  <a:cubicBezTo>
                    <a:pt x="10" y="3"/>
                    <a:pt x="12" y="2"/>
                    <a:pt x="14" y="2"/>
                  </a:cubicBezTo>
                  <a:cubicBezTo>
                    <a:pt x="15" y="2"/>
                    <a:pt x="15" y="2"/>
                    <a:pt x="16" y="3"/>
                  </a:cubicBezTo>
                  <a:cubicBezTo>
                    <a:pt x="17" y="3"/>
                    <a:pt x="18" y="3"/>
                    <a:pt x="19" y="3"/>
                  </a:cubicBezTo>
                  <a:cubicBezTo>
                    <a:pt x="19" y="3"/>
                    <a:pt x="20" y="4"/>
                    <a:pt x="20" y="4"/>
                  </a:cubicBezTo>
                  <a:cubicBezTo>
                    <a:pt x="21" y="4"/>
                    <a:pt x="21" y="5"/>
                    <a:pt x="22" y="5"/>
                  </a:cubicBezTo>
                  <a:cubicBezTo>
                    <a:pt x="22" y="5"/>
                    <a:pt x="22" y="5"/>
                    <a:pt x="22" y="5"/>
                  </a:cubicBezTo>
                  <a:cubicBezTo>
                    <a:pt x="22" y="5"/>
                    <a:pt x="22" y="6"/>
                    <a:pt x="22" y="6"/>
                  </a:cubicBezTo>
                  <a:cubicBezTo>
                    <a:pt x="22" y="6"/>
                    <a:pt x="22" y="6"/>
                    <a:pt x="22" y="6"/>
                  </a:cubicBezTo>
                  <a:cubicBezTo>
                    <a:pt x="22" y="7"/>
                    <a:pt x="22" y="7"/>
                    <a:pt x="22" y="7"/>
                  </a:cubicBezTo>
                  <a:cubicBezTo>
                    <a:pt x="22" y="7"/>
                    <a:pt x="22" y="8"/>
                    <a:pt x="22" y="8"/>
                  </a:cubicBezTo>
                  <a:cubicBezTo>
                    <a:pt x="22" y="8"/>
                    <a:pt x="22" y="8"/>
                    <a:pt x="22" y="8"/>
                  </a:cubicBezTo>
                  <a:cubicBezTo>
                    <a:pt x="22" y="9"/>
                    <a:pt x="22" y="9"/>
                    <a:pt x="22" y="9"/>
                  </a:cubicBezTo>
                  <a:cubicBezTo>
                    <a:pt x="22" y="9"/>
                    <a:pt x="22" y="9"/>
                    <a:pt x="21" y="9"/>
                  </a:cubicBezTo>
                  <a:cubicBezTo>
                    <a:pt x="21" y="9"/>
                    <a:pt x="21" y="9"/>
                    <a:pt x="21" y="8"/>
                  </a:cubicBezTo>
                  <a:cubicBezTo>
                    <a:pt x="20" y="8"/>
                    <a:pt x="20" y="8"/>
                    <a:pt x="19" y="7"/>
                  </a:cubicBezTo>
                  <a:cubicBezTo>
                    <a:pt x="18" y="7"/>
                    <a:pt x="18" y="7"/>
                    <a:pt x="17" y="6"/>
                  </a:cubicBezTo>
                  <a:cubicBezTo>
                    <a:pt x="16" y="6"/>
                    <a:pt x="15" y="6"/>
                    <a:pt x="14" y="6"/>
                  </a:cubicBezTo>
                  <a:cubicBezTo>
                    <a:pt x="12" y="6"/>
                    <a:pt x="11" y="6"/>
                    <a:pt x="10" y="7"/>
                  </a:cubicBezTo>
                  <a:cubicBezTo>
                    <a:pt x="9" y="7"/>
                    <a:pt x="8" y="8"/>
                    <a:pt x="7" y="9"/>
                  </a:cubicBezTo>
                  <a:cubicBezTo>
                    <a:pt x="6" y="10"/>
                    <a:pt x="6" y="11"/>
                    <a:pt x="5" y="13"/>
                  </a:cubicBezTo>
                  <a:cubicBezTo>
                    <a:pt x="5" y="14"/>
                    <a:pt x="5" y="16"/>
                    <a:pt x="5" y="18"/>
                  </a:cubicBezTo>
                  <a:cubicBezTo>
                    <a:pt x="5" y="20"/>
                    <a:pt x="5" y="22"/>
                    <a:pt x="5" y="23"/>
                  </a:cubicBezTo>
                  <a:cubicBezTo>
                    <a:pt x="6" y="25"/>
                    <a:pt x="6" y="26"/>
                    <a:pt x="7" y="27"/>
                  </a:cubicBezTo>
                  <a:cubicBezTo>
                    <a:pt x="8" y="28"/>
                    <a:pt x="9" y="29"/>
                    <a:pt x="10" y="29"/>
                  </a:cubicBezTo>
                  <a:cubicBezTo>
                    <a:pt x="11" y="30"/>
                    <a:pt x="12" y="30"/>
                    <a:pt x="14" y="30"/>
                  </a:cubicBezTo>
                  <a:cubicBezTo>
                    <a:pt x="15" y="30"/>
                    <a:pt x="16" y="30"/>
                    <a:pt x="17" y="29"/>
                  </a:cubicBezTo>
                  <a:cubicBezTo>
                    <a:pt x="18" y="29"/>
                    <a:pt x="19" y="29"/>
                    <a:pt x="19" y="28"/>
                  </a:cubicBezTo>
                  <a:cubicBezTo>
                    <a:pt x="20" y="28"/>
                    <a:pt x="20" y="28"/>
                    <a:pt x="21" y="27"/>
                  </a:cubicBezTo>
                  <a:cubicBezTo>
                    <a:pt x="21" y="27"/>
                    <a:pt x="21" y="27"/>
                    <a:pt x="22" y="27"/>
                  </a:cubicBezTo>
                  <a:cubicBezTo>
                    <a:pt x="22" y="27"/>
                    <a:pt x="22" y="27"/>
                    <a:pt x="22" y="27"/>
                  </a:cubicBezTo>
                  <a:cubicBezTo>
                    <a:pt x="22" y="27"/>
                    <a:pt x="22" y="27"/>
                    <a:pt x="22" y="27"/>
                  </a:cubicBezTo>
                  <a:cubicBezTo>
                    <a:pt x="22" y="27"/>
                    <a:pt x="22" y="28"/>
                    <a:pt x="22" y="28"/>
                  </a:cubicBezTo>
                  <a:cubicBezTo>
                    <a:pt x="22" y="28"/>
                    <a:pt x="22" y="28"/>
                    <a:pt x="22" y="29"/>
                  </a:cubicBezTo>
                  <a:close/>
                  <a:moveTo>
                    <a:pt x="47" y="22"/>
                  </a:moveTo>
                  <a:cubicBezTo>
                    <a:pt x="47" y="23"/>
                    <a:pt x="47" y="25"/>
                    <a:pt x="46" y="26"/>
                  </a:cubicBezTo>
                  <a:cubicBezTo>
                    <a:pt x="46" y="28"/>
                    <a:pt x="45" y="29"/>
                    <a:pt x="44" y="30"/>
                  </a:cubicBezTo>
                  <a:cubicBezTo>
                    <a:pt x="43" y="31"/>
                    <a:pt x="42" y="32"/>
                    <a:pt x="41" y="33"/>
                  </a:cubicBezTo>
                  <a:cubicBezTo>
                    <a:pt x="39" y="33"/>
                    <a:pt x="38" y="34"/>
                    <a:pt x="36" y="34"/>
                  </a:cubicBezTo>
                  <a:cubicBezTo>
                    <a:pt x="34" y="34"/>
                    <a:pt x="33" y="33"/>
                    <a:pt x="32" y="33"/>
                  </a:cubicBezTo>
                  <a:cubicBezTo>
                    <a:pt x="30" y="32"/>
                    <a:pt x="29" y="31"/>
                    <a:pt x="28" y="30"/>
                  </a:cubicBezTo>
                  <a:cubicBezTo>
                    <a:pt x="28" y="30"/>
                    <a:pt x="27" y="28"/>
                    <a:pt x="26" y="27"/>
                  </a:cubicBezTo>
                  <a:cubicBezTo>
                    <a:pt x="26" y="25"/>
                    <a:pt x="26" y="24"/>
                    <a:pt x="26" y="22"/>
                  </a:cubicBezTo>
                  <a:cubicBezTo>
                    <a:pt x="26" y="20"/>
                    <a:pt x="26" y="19"/>
                    <a:pt x="26" y="17"/>
                  </a:cubicBezTo>
                  <a:cubicBezTo>
                    <a:pt x="27" y="16"/>
                    <a:pt x="28" y="15"/>
                    <a:pt x="28" y="14"/>
                  </a:cubicBezTo>
                  <a:cubicBezTo>
                    <a:pt x="29" y="13"/>
                    <a:pt x="31" y="12"/>
                    <a:pt x="32" y="11"/>
                  </a:cubicBezTo>
                  <a:cubicBezTo>
                    <a:pt x="33" y="11"/>
                    <a:pt x="35" y="10"/>
                    <a:pt x="37" y="10"/>
                  </a:cubicBezTo>
                  <a:cubicBezTo>
                    <a:pt x="38" y="10"/>
                    <a:pt x="40" y="11"/>
                    <a:pt x="41" y="11"/>
                  </a:cubicBezTo>
                  <a:cubicBezTo>
                    <a:pt x="42" y="12"/>
                    <a:pt x="43" y="12"/>
                    <a:pt x="44" y="13"/>
                  </a:cubicBezTo>
                  <a:cubicBezTo>
                    <a:pt x="45" y="14"/>
                    <a:pt x="46" y="16"/>
                    <a:pt x="46" y="17"/>
                  </a:cubicBezTo>
                  <a:cubicBezTo>
                    <a:pt x="47" y="18"/>
                    <a:pt x="47" y="20"/>
                    <a:pt x="47" y="22"/>
                  </a:cubicBezTo>
                  <a:close/>
                  <a:moveTo>
                    <a:pt x="43" y="22"/>
                  </a:moveTo>
                  <a:cubicBezTo>
                    <a:pt x="43" y="21"/>
                    <a:pt x="43" y="20"/>
                    <a:pt x="43" y="19"/>
                  </a:cubicBezTo>
                  <a:cubicBezTo>
                    <a:pt x="42" y="18"/>
                    <a:pt x="42" y="17"/>
                    <a:pt x="42" y="16"/>
                  </a:cubicBezTo>
                  <a:cubicBezTo>
                    <a:pt x="41" y="15"/>
                    <a:pt x="40" y="15"/>
                    <a:pt x="40" y="14"/>
                  </a:cubicBezTo>
                  <a:cubicBezTo>
                    <a:pt x="39" y="14"/>
                    <a:pt x="38" y="14"/>
                    <a:pt x="36" y="14"/>
                  </a:cubicBezTo>
                  <a:cubicBezTo>
                    <a:pt x="35" y="14"/>
                    <a:pt x="34" y="14"/>
                    <a:pt x="33" y="14"/>
                  </a:cubicBezTo>
                  <a:cubicBezTo>
                    <a:pt x="33" y="15"/>
                    <a:pt x="32" y="15"/>
                    <a:pt x="31" y="16"/>
                  </a:cubicBezTo>
                  <a:cubicBezTo>
                    <a:pt x="31" y="17"/>
                    <a:pt x="30" y="18"/>
                    <a:pt x="30" y="19"/>
                  </a:cubicBezTo>
                  <a:cubicBezTo>
                    <a:pt x="30" y="20"/>
                    <a:pt x="30" y="21"/>
                    <a:pt x="30" y="22"/>
                  </a:cubicBezTo>
                  <a:cubicBezTo>
                    <a:pt x="30" y="23"/>
                    <a:pt x="30" y="24"/>
                    <a:pt x="30" y="25"/>
                  </a:cubicBezTo>
                  <a:cubicBezTo>
                    <a:pt x="30" y="26"/>
                    <a:pt x="31" y="27"/>
                    <a:pt x="31" y="28"/>
                  </a:cubicBezTo>
                  <a:cubicBezTo>
                    <a:pt x="32" y="29"/>
                    <a:pt x="32" y="29"/>
                    <a:pt x="33" y="30"/>
                  </a:cubicBezTo>
                  <a:cubicBezTo>
                    <a:pt x="34" y="30"/>
                    <a:pt x="35" y="30"/>
                    <a:pt x="36" y="30"/>
                  </a:cubicBezTo>
                  <a:cubicBezTo>
                    <a:pt x="37" y="30"/>
                    <a:pt x="38" y="30"/>
                    <a:pt x="39" y="30"/>
                  </a:cubicBezTo>
                  <a:cubicBezTo>
                    <a:pt x="40" y="29"/>
                    <a:pt x="41" y="29"/>
                    <a:pt x="41" y="28"/>
                  </a:cubicBezTo>
                  <a:cubicBezTo>
                    <a:pt x="42" y="27"/>
                    <a:pt x="42" y="26"/>
                    <a:pt x="43" y="25"/>
                  </a:cubicBezTo>
                  <a:cubicBezTo>
                    <a:pt x="43" y="24"/>
                    <a:pt x="43" y="23"/>
                    <a:pt x="43" y="22"/>
                  </a:cubicBezTo>
                  <a:close/>
                  <a:moveTo>
                    <a:pt x="71" y="32"/>
                  </a:moveTo>
                  <a:cubicBezTo>
                    <a:pt x="71" y="33"/>
                    <a:pt x="71" y="33"/>
                    <a:pt x="71" y="33"/>
                  </a:cubicBezTo>
                  <a:cubicBezTo>
                    <a:pt x="71" y="33"/>
                    <a:pt x="71" y="33"/>
                    <a:pt x="70" y="33"/>
                  </a:cubicBezTo>
                  <a:cubicBezTo>
                    <a:pt x="70" y="33"/>
                    <a:pt x="70" y="33"/>
                    <a:pt x="70" y="33"/>
                  </a:cubicBezTo>
                  <a:cubicBezTo>
                    <a:pt x="70" y="33"/>
                    <a:pt x="69" y="33"/>
                    <a:pt x="69" y="33"/>
                  </a:cubicBezTo>
                  <a:cubicBezTo>
                    <a:pt x="68" y="33"/>
                    <a:pt x="68" y="33"/>
                    <a:pt x="68" y="33"/>
                  </a:cubicBezTo>
                  <a:cubicBezTo>
                    <a:pt x="68" y="33"/>
                    <a:pt x="67" y="33"/>
                    <a:pt x="67" y="33"/>
                  </a:cubicBezTo>
                  <a:cubicBezTo>
                    <a:pt x="67" y="33"/>
                    <a:pt x="67" y="33"/>
                    <a:pt x="67" y="33"/>
                  </a:cubicBezTo>
                  <a:cubicBezTo>
                    <a:pt x="67" y="33"/>
                    <a:pt x="67" y="33"/>
                    <a:pt x="67" y="32"/>
                  </a:cubicBezTo>
                  <a:cubicBezTo>
                    <a:pt x="67" y="20"/>
                    <a:pt x="67" y="20"/>
                    <a:pt x="67" y="20"/>
                  </a:cubicBezTo>
                  <a:cubicBezTo>
                    <a:pt x="67" y="19"/>
                    <a:pt x="67" y="18"/>
                    <a:pt x="67" y="17"/>
                  </a:cubicBezTo>
                  <a:cubicBezTo>
                    <a:pt x="66" y="16"/>
                    <a:pt x="66" y="16"/>
                    <a:pt x="66" y="15"/>
                  </a:cubicBezTo>
                  <a:cubicBezTo>
                    <a:pt x="65" y="15"/>
                    <a:pt x="65" y="14"/>
                    <a:pt x="64" y="14"/>
                  </a:cubicBezTo>
                  <a:cubicBezTo>
                    <a:pt x="64" y="14"/>
                    <a:pt x="63" y="14"/>
                    <a:pt x="62" y="14"/>
                  </a:cubicBezTo>
                  <a:cubicBezTo>
                    <a:pt x="61" y="14"/>
                    <a:pt x="61" y="14"/>
                    <a:pt x="60" y="15"/>
                  </a:cubicBezTo>
                  <a:cubicBezTo>
                    <a:pt x="59" y="15"/>
                    <a:pt x="58" y="16"/>
                    <a:pt x="57" y="18"/>
                  </a:cubicBezTo>
                  <a:cubicBezTo>
                    <a:pt x="57" y="32"/>
                    <a:pt x="57" y="32"/>
                    <a:pt x="57" y="32"/>
                  </a:cubicBezTo>
                  <a:cubicBezTo>
                    <a:pt x="57" y="33"/>
                    <a:pt x="56" y="33"/>
                    <a:pt x="56" y="33"/>
                  </a:cubicBezTo>
                  <a:cubicBezTo>
                    <a:pt x="56" y="33"/>
                    <a:pt x="56" y="33"/>
                    <a:pt x="56" y="33"/>
                  </a:cubicBezTo>
                  <a:cubicBezTo>
                    <a:pt x="56" y="33"/>
                    <a:pt x="56" y="33"/>
                    <a:pt x="56" y="33"/>
                  </a:cubicBezTo>
                  <a:cubicBezTo>
                    <a:pt x="55" y="33"/>
                    <a:pt x="55" y="33"/>
                    <a:pt x="55" y="33"/>
                  </a:cubicBezTo>
                  <a:cubicBezTo>
                    <a:pt x="54" y="33"/>
                    <a:pt x="54" y="33"/>
                    <a:pt x="54" y="33"/>
                  </a:cubicBezTo>
                  <a:cubicBezTo>
                    <a:pt x="53" y="33"/>
                    <a:pt x="53" y="33"/>
                    <a:pt x="53" y="33"/>
                  </a:cubicBezTo>
                  <a:cubicBezTo>
                    <a:pt x="53" y="33"/>
                    <a:pt x="53" y="33"/>
                    <a:pt x="53" y="33"/>
                  </a:cubicBezTo>
                  <a:cubicBezTo>
                    <a:pt x="53" y="33"/>
                    <a:pt x="53" y="33"/>
                    <a:pt x="53" y="32"/>
                  </a:cubicBezTo>
                  <a:cubicBezTo>
                    <a:pt x="53" y="11"/>
                    <a:pt x="53" y="11"/>
                    <a:pt x="53" y="11"/>
                  </a:cubicBezTo>
                  <a:cubicBezTo>
                    <a:pt x="53" y="11"/>
                    <a:pt x="53" y="11"/>
                    <a:pt x="53" y="11"/>
                  </a:cubicBezTo>
                  <a:cubicBezTo>
                    <a:pt x="53" y="11"/>
                    <a:pt x="53" y="11"/>
                    <a:pt x="53" y="11"/>
                  </a:cubicBezTo>
                  <a:cubicBezTo>
                    <a:pt x="53" y="11"/>
                    <a:pt x="53" y="11"/>
                    <a:pt x="54" y="11"/>
                  </a:cubicBezTo>
                  <a:cubicBezTo>
                    <a:pt x="54" y="11"/>
                    <a:pt x="54" y="11"/>
                    <a:pt x="54" y="11"/>
                  </a:cubicBezTo>
                  <a:cubicBezTo>
                    <a:pt x="55" y="11"/>
                    <a:pt x="55" y="11"/>
                    <a:pt x="55" y="11"/>
                  </a:cubicBezTo>
                  <a:cubicBezTo>
                    <a:pt x="55" y="11"/>
                    <a:pt x="56" y="11"/>
                    <a:pt x="56" y="11"/>
                  </a:cubicBezTo>
                  <a:cubicBezTo>
                    <a:pt x="56" y="11"/>
                    <a:pt x="56" y="11"/>
                    <a:pt x="56" y="11"/>
                  </a:cubicBezTo>
                  <a:cubicBezTo>
                    <a:pt x="56" y="11"/>
                    <a:pt x="56" y="11"/>
                    <a:pt x="56" y="11"/>
                  </a:cubicBezTo>
                  <a:cubicBezTo>
                    <a:pt x="56" y="14"/>
                    <a:pt x="56" y="14"/>
                    <a:pt x="56" y="14"/>
                  </a:cubicBezTo>
                  <a:cubicBezTo>
                    <a:pt x="57" y="13"/>
                    <a:pt x="59" y="12"/>
                    <a:pt x="60" y="11"/>
                  </a:cubicBezTo>
                  <a:cubicBezTo>
                    <a:pt x="61" y="11"/>
                    <a:pt x="62" y="10"/>
                    <a:pt x="63" y="10"/>
                  </a:cubicBezTo>
                  <a:cubicBezTo>
                    <a:pt x="65" y="10"/>
                    <a:pt x="66" y="11"/>
                    <a:pt x="67" y="11"/>
                  </a:cubicBezTo>
                  <a:cubicBezTo>
                    <a:pt x="68" y="12"/>
                    <a:pt x="69" y="12"/>
                    <a:pt x="69" y="13"/>
                  </a:cubicBezTo>
                  <a:cubicBezTo>
                    <a:pt x="70" y="14"/>
                    <a:pt x="70" y="15"/>
                    <a:pt x="70" y="16"/>
                  </a:cubicBezTo>
                  <a:cubicBezTo>
                    <a:pt x="71" y="17"/>
                    <a:pt x="71" y="18"/>
                    <a:pt x="71" y="20"/>
                  </a:cubicBezTo>
                  <a:lnTo>
                    <a:pt x="71" y="32"/>
                  </a:lnTo>
                  <a:close/>
                  <a:moveTo>
                    <a:pt x="91" y="27"/>
                  </a:moveTo>
                  <a:cubicBezTo>
                    <a:pt x="91" y="28"/>
                    <a:pt x="91" y="29"/>
                    <a:pt x="91" y="30"/>
                  </a:cubicBezTo>
                  <a:cubicBezTo>
                    <a:pt x="90" y="30"/>
                    <a:pt x="90" y="31"/>
                    <a:pt x="89" y="32"/>
                  </a:cubicBezTo>
                  <a:cubicBezTo>
                    <a:pt x="88" y="32"/>
                    <a:pt x="87" y="33"/>
                    <a:pt x="86" y="33"/>
                  </a:cubicBezTo>
                  <a:cubicBezTo>
                    <a:pt x="85" y="33"/>
                    <a:pt x="84" y="34"/>
                    <a:pt x="83" y="34"/>
                  </a:cubicBezTo>
                  <a:cubicBezTo>
                    <a:pt x="82" y="34"/>
                    <a:pt x="81" y="33"/>
                    <a:pt x="81" y="33"/>
                  </a:cubicBezTo>
                  <a:cubicBezTo>
                    <a:pt x="80" y="33"/>
                    <a:pt x="79" y="33"/>
                    <a:pt x="79" y="33"/>
                  </a:cubicBezTo>
                  <a:cubicBezTo>
                    <a:pt x="78" y="33"/>
                    <a:pt x="78" y="33"/>
                    <a:pt x="78" y="32"/>
                  </a:cubicBezTo>
                  <a:cubicBezTo>
                    <a:pt x="77" y="32"/>
                    <a:pt x="77" y="32"/>
                    <a:pt x="77" y="32"/>
                  </a:cubicBezTo>
                  <a:cubicBezTo>
                    <a:pt x="77" y="32"/>
                    <a:pt x="76" y="31"/>
                    <a:pt x="76" y="31"/>
                  </a:cubicBezTo>
                  <a:cubicBezTo>
                    <a:pt x="76" y="31"/>
                    <a:pt x="76" y="30"/>
                    <a:pt x="76" y="30"/>
                  </a:cubicBezTo>
                  <a:cubicBezTo>
                    <a:pt x="76" y="30"/>
                    <a:pt x="76" y="29"/>
                    <a:pt x="76" y="29"/>
                  </a:cubicBezTo>
                  <a:cubicBezTo>
                    <a:pt x="76" y="29"/>
                    <a:pt x="76" y="29"/>
                    <a:pt x="76" y="29"/>
                  </a:cubicBezTo>
                  <a:cubicBezTo>
                    <a:pt x="76" y="29"/>
                    <a:pt x="77" y="29"/>
                    <a:pt x="77" y="28"/>
                  </a:cubicBezTo>
                  <a:cubicBezTo>
                    <a:pt x="77" y="28"/>
                    <a:pt x="77" y="28"/>
                    <a:pt x="77" y="28"/>
                  </a:cubicBezTo>
                  <a:cubicBezTo>
                    <a:pt x="77" y="28"/>
                    <a:pt x="77" y="29"/>
                    <a:pt x="78" y="29"/>
                  </a:cubicBezTo>
                  <a:cubicBezTo>
                    <a:pt x="78" y="29"/>
                    <a:pt x="78" y="29"/>
                    <a:pt x="79" y="29"/>
                  </a:cubicBezTo>
                  <a:cubicBezTo>
                    <a:pt x="79" y="30"/>
                    <a:pt x="80" y="30"/>
                    <a:pt x="81" y="30"/>
                  </a:cubicBezTo>
                  <a:cubicBezTo>
                    <a:pt x="81" y="30"/>
                    <a:pt x="82" y="30"/>
                    <a:pt x="83" y="30"/>
                  </a:cubicBezTo>
                  <a:cubicBezTo>
                    <a:pt x="84" y="30"/>
                    <a:pt x="84" y="30"/>
                    <a:pt x="85" y="30"/>
                  </a:cubicBezTo>
                  <a:cubicBezTo>
                    <a:pt x="85" y="30"/>
                    <a:pt x="86" y="30"/>
                    <a:pt x="86" y="30"/>
                  </a:cubicBezTo>
                  <a:cubicBezTo>
                    <a:pt x="87" y="29"/>
                    <a:pt x="87" y="29"/>
                    <a:pt x="87" y="29"/>
                  </a:cubicBezTo>
                  <a:cubicBezTo>
                    <a:pt x="87" y="28"/>
                    <a:pt x="87" y="28"/>
                    <a:pt x="87" y="27"/>
                  </a:cubicBezTo>
                  <a:cubicBezTo>
                    <a:pt x="87" y="26"/>
                    <a:pt x="87" y="26"/>
                    <a:pt x="87" y="26"/>
                  </a:cubicBezTo>
                  <a:cubicBezTo>
                    <a:pt x="87" y="25"/>
                    <a:pt x="86" y="25"/>
                    <a:pt x="86" y="24"/>
                  </a:cubicBezTo>
                  <a:cubicBezTo>
                    <a:pt x="85" y="24"/>
                    <a:pt x="85" y="24"/>
                    <a:pt x="84" y="24"/>
                  </a:cubicBezTo>
                  <a:cubicBezTo>
                    <a:pt x="83" y="23"/>
                    <a:pt x="83" y="23"/>
                    <a:pt x="82" y="23"/>
                  </a:cubicBezTo>
                  <a:cubicBezTo>
                    <a:pt x="81" y="23"/>
                    <a:pt x="81" y="22"/>
                    <a:pt x="80" y="22"/>
                  </a:cubicBezTo>
                  <a:cubicBezTo>
                    <a:pt x="79" y="22"/>
                    <a:pt x="79" y="21"/>
                    <a:pt x="78" y="21"/>
                  </a:cubicBezTo>
                  <a:cubicBezTo>
                    <a:pt x="78" y="20"/>
                    <a:pt x="78" y="20"/>
                    <a:pt x="77" y="19"/>
                  </a:cubicBezTo>
                  <a:cubicBezTo>
                    <a:pt x="77" y="18"/>
                    <a:pt x="77" y="18"/>
                    <a:pt x="77" y="17"/>
                  </a:cubicBezTo>
                  <a:cubicBezTo>
                    <a:pt x="77" y="16"/>
                    <a:pt x="77" y="15"/>
                    <a:pt x="77" y="14"/>
                  </a:cubicBezTo>
                  <a:cubicBezTo>
                    <a:pt x="78" y="13"/>
                    <a:pt x="78" y="13"/>
                    <a:pt x="79" y="12"/>
                  </a:cubicBezTo>
                  <a:cubicBezTo>
                    <a:pt x="79" y="12"/>
                    <a:pt x="80" y="11"/>
                    <a:pt x="81" y="11"/>
                  </a:cubicBezTo>
                  <a:cubicBezTo>
                    <a:pt x="82" y="11"/>
                    <a:pt x="83" y="10"/>
                    <a:pt x="84" y="10"/>
                  </a:cubicBezTo>
                  <a:cubicBezTo>
                    <a:pt x="85" y="10"/>
                    <a:pt x="86" y="10"/>
                    <a:pt x="86" y="10"/>
                  </a:cubicBezTo>
                  <a:cubicBezTo>
                    <a:pt x="87" y="11"/>
                    <a:pt x="87" y="11"/>
                    <a:pt x="88" y="11"/>
                  </a:cubicBezTo>
                  <a:cubicBezTo>
                    <a:pt x="88" y="11"/>
                    <a:pt x="88" y="11"/>
                    <a:pt x="89" y="11"/>
                  </a:cubicBezTo>
                  <a:cubicBezTo>
                    <a:pt x="89" y="11"/>
                    <a:pt x="89" y="12"/>
                    <a:pt x="90" y="12"/>
                  </a:cubicBezTo>
                  <a:cubicBezTo>
                    <a:pt x="90" y="12"/>
                    <a:pt x="90" y="12"/>
                    <a:pt x="90" y="12"/>
                  </a:cubicBezTo>
                  <a:cubicBezTo>
                    <a:pt x="90" y="12"/>
                    <a:pt x="90" y="12"/>
                    <a:pt x="90" y="12"/>
                  </a:cubicBezTo>
                  <a:cubicBezTo>
                    <a:pt x="90" y="12"/>
                    <a:pt x="90" y="13"/>
                    <a:pt x="90" y="13"/>
                  </a:cubicBezTo>
                  <a:cubicBezTo>
                    <a:pt x="90" y="13"/>
                    <a:pt x="90" y="13"/>
                    <a:pt x="90" y="13"/>
                  </a:cubicBezTo>
                  <a:cubicBezTo>
                    <a:pt x="90" y="14"/>
                    <a:pt x="90" y="14"/>
                    <a:pt x="90" y="14"/>
                  </a:cubicBezTo>
                  <a:cubicBezTo>
                    <a:pt x="90" y="14"/>
                    <a:pt x="90" y="14"/>
                    <a:pt x="90" y="15"/>
                  </a:cubicBezTo>
                  <a:cubicBezTo>
                    <a:pt x="90" y="15"/>
                    <a:pt x="90" y="15"/>
                    <a:pt x="90" y="15"/>
                  </a:cubicBezTo>
                  <a:cubicBezTo>
                    <a:pt x="90" y="15"/>
                    <a:pt x="90" y="15"/>
                    <a:pt x="89" y="15"/>
                  </a:cubicBezTo>
                  <a:cubicBezTo>
                    <a:pt x="89" y="15"/>
                    <a:pt x="89" y="15"/>
                    <a:pt x="89" y="15"/>
                  </a:cubicBezTo>
                  <a:cubicBezTo>
                    <a:pt x="89" y="15"/>
                    <a:pt x="88" y="14"/>
                    <a:pt x="88" y="14"/>
                  </a:cubicBezTo>
                  <a:cubicBezTo>
                    <a:pt x="87" y="14"/>
                    <a:pt x="87" y="14"/>
                    <a:pt x="86" y="14"/>
                  </a:cubicBezTo>
                  <a:cubicBezTo>
                    <a:pt x="86" y="13"/>
                    <a:pt x="85" y="13"/>
                    <a:pt x="84" y="13"/>
                  </a:cubicBezTo>
                  <a:cubicBezTo>
                    <a:pt x="84" y="13"/>
                    <a:pt x="83" y="13"/>
                    <a:pt x="83" y="14"/>
                  </a:cubicBezTo>
                  <a:cubicBezTo>
                    <a:pt x="82" y="14"/>
                    <a:pt x="82" y="14"/>
                    <a:pt x="81" y="14"/>
                  </a:cubicBezTo>
                  <a:cubicBezTo>
                    <a:pt x="81" y="14"/>
                    <a:pt x="81" y="15"/>
                    <a:pt x="81" y="15"/>
                  </a:cubicBezTo>
                  <a:cubicBezTo>
                    <a:pt x="81" y="16"/>
                    <a:pt x="80" y="16"/>
                    <a:pt x="80" y="16"/>
                  </a:cubicBezTo>
                  <a:cubicBezTo>
                    <a:pt x="80" y="17"/>
                    <a:pt x="81" y="17"/>
                    <a:pt x="81" y="18"/>
                  </a:cubicBezTo>
                  <a:cubicBezTo>
                    <a:pt x="81" y="18"/>
                    <a:pt x="82" y="19"/>
                    <a:pt x="82" y="19"/>
                  </a:cubicBezTo>
                  <a:cubicBezTo>
                    <a:pt x="83" y="19"/>
                    <a:pt x="83" y="20"/>
                    <a:pt x="84" y="20"/>
                  </a:cubicBezTo>
                  <a:cubicBezTo>
                    <a:pt x="84" y="20"/>
                    <a:pt x="85" y="20"/>
                    <a:pt x="86" y="21"/>
                  </a:cubicBezTo>
                  <a:cubicBezTo>
                    <a:pt x="86" y="21"/>
                    <a:pt x="87" y="21"/>
                    <a:pt x="88" y="22"/>
                  </a:cubicBezTo>
                  <a:cubicBezTo>
                    <a:pt x="88" y="22"/>
                    <a:pt x="89" y="22"/>
                    <a:pt x="89" y="23"/>
                  </a:cubicBezTo>
                  <a:cubicBezTo>
                    <a:pt x="90" y="23"/>
                    <a:pt x="90" y="24"/>
                    <a:pt x="91" y="24"/>
                  </a:cubicBezTo>
                  <a:cubicBezTo>
                    <a:pt x="91" y="25"/>
                    <a:pt x="91" y="26"/>
                    <a:pt x="91" y="27"/>
                  </a:cubicBezTo>
                  <a:close/>
                  <a:moveTo>
                    <a:pt x="115" y="32"/>
                  </a:moveTo>
                  <a:cubicBezTo>
                    <a:pt x="115" y="33"/>
                    <a:pt x="115" y="33"/>
                    <a:pt x="115" y="33"/>
                  </a:cubicBezTo>
                  <a:cubicBezTo>
                    <a:pt x="115" y="33"/>
                    <a:pt x="115" y="33"/>
                    <a:pt x="114" y="33"/>
                  </a:cubicBezTo>
                  <a:cubicBezTo>
                    <a:pt x="114" y="33"/>
                    <a:pt x="114" y="33"/>
                    <a:pt x="114" y="33"/>
                  </a:cubicBezTo>
                  <a:cubicBezTo>
                    <a:pt x="114" y="33"/>
                    <a:pt x="113" y="33"/>
                    <a:pt x="113" y="33"/>
                  </a:cubicBezTo>
                  <a:cubicBezTo>
                    <a:pt x="113" y="33"/>
                    <a:pt x="112" y="33"/>
                    <a:pt x="112" y="33"/>
                  </a:cubicBezTo>
                  <a:cubicBezTo>
                    <a:pt x="112" y="33"/>
                    <a:pt x="112" y="33"/>
                    <a:pt x="112" y="33"/>
                  </a:cubicBezTo>
                  <a:cubicBezTo>
                    <a:pt x="111" y="33"/>
                    <a:pt x="111" y="33"/>
                    <a:pt x="111" y="33"/>
                  </a:cubicBezTo>
                  <a:cubicBezTo>
                    <a:pt x="111" y="33"/>
                    <a:pt x="111" y="33"/>
                    <a:pt x="111" y="32"/>
                  </a:cubicBezTo>
                  <a:cubicBezTo>
                    <a:pt x="111" y="30"/>
                    <a:pt x="111" y="30"/>
                    <a:pt x="111" y="30"/>
                  </a:cubicBezTo>
                  <a:cubicBezTo>
                    <a:pt x="110" y="31"/>
                    <a:pt x="109" y="32"/>
                    <a:pt x="108" y="33"/>
                  </a:cubicBezTo>
                  <a:cubicBezTo>
                    <a:pt x="107" y="33"/>
                    <a:pt x="105" y="34"/>
                    <a:pt x="104" y="34"/>
                  </a:cubicBezTo>
                  <a:cubicBezTo>
                    <a:pt x="103" y="34"/>
                    <a:pt x="102" y="33"/>
                    <a:pt x="101" y="33"/>
                  </a:cubicBezTo>
                  <a:cubicBezTo>
                    <a:pt x="100" y="32"/>
                    <a:pt x="99" y="32"/>
                    <a:pt x="98" y="31"/>
                  </a:cubicBezTo>
                  <a:cubicBezTo>
                    <a:pt x="98" y="30"/>
                    <a:pt x="97" y="29"/>
                    <a:pt x="97" y="28"/>
                  </a:cubicBezTo>
                  <a:cubicBezTo>
                    <a:pt x="97" y="27"/>
                    <a:pt x="97" y="26"/>
                    <a:pt x="97" y="24"/>
                  </a:cubicBezTo>
                  <a:cubicBezTo>
                    <a:pt x="97" y="11"/>
                    <a:pt x="97" y="11"/>
                    <a:pt x="97" y="11"/>
                  </a:cubicBezTo>
                  <a:cubicBezTo>
                    <a:pt x="97" y="11"/>
                    <a:pt x="97" y="11"/>
                    <a:pt x="97" y="11"/>
                  </a:cubicBezTo>
                  <a:cubicBezTo>
                    <a:pt x="97" y="11"/>
                    <a:pt x="97" y="11"/>
                    <a:pt x="97" y="11"/>
                  </a:cubicBezTo>
                  <a:cubicBezTo>
                    <a:pt x="97" y="11"/>
                    <a:pt x="97" y="11"/>
                    <a:pt x="98" y="11"/>
                  </a:cubicBezTo>
                  <a:cubicBezTo>
                    <a:pt x="98" y="11"/>
                    <a:pt x="98" y="11"/>
                    <a:pt x="99" y="11"/>
                  </a:cubicBezTo>
                  <a:cubicBezTo>
                    <a:pt x="99" y="11"/>
                    <a:pt x="99" y="11"/>
                    <a:pt x="99" y="11"/>
                  </a:cubicBezTo>
                  <a:cubicBezTo>
                    <a:pt x="100" y="11"/>
                    <a:pt x="100" y="11"/>
                    <a:pt x="100" y="11"/>
                  </a:cubicBezTo>
                  <a:cubicBezTo>
                    <a:pt x="100" y="11"/>
                    <a:pt x="100" y="11"/>
                    <a:pt x="100" y="11"/>
                  </a:cubicBezTo>
                  <a:cubicBezTo>
                    <a:pt x="100" y="11"/>
                    <a:pt x="101" y="11"/>
                    <a:pt x="101" y="11"/>
                  </a:cubicBezTo>
                  <a:cubicBezTo>
                    <a:pt x="101" y="24"/>
                    <a:pt x="101" y="24"/>
                    <a:pt x="101" y="24"/>
                  </a:cubicBezTo>
                  <a:cubicBezTo>
                    <a:pt x="101" y="25"/>
                    <a:pt x="101" y="26"/>
                    <a:pt x="101" y="27"/>
                  </a:cubicBezTo>
                  <a:cubicBezTo>
                    <a:pt x="101" y="27"/>
                    <a:pt x="101" y="28"/>
                    <a:pt x="102" y="29"/>
                  </a:cubicBezTo>
                  <a:cubicBezTo>
                    <a:pt x="102" y="29"/>
                    <a:pt x="102" y="29"/>
                    <a:pt x="103" y="30"/>
                  </a:cubicBezTo>
                  <a:cubicBezTo>
                    <a:pt x="104" y="30"/>
                    <a:pt x="104" y="30"/>
                    <a:pt x="105" y="30"/>
                  </a:cubicBezTo>
                  <a:cubicBezTo>
                    <a:pt x="106" y="30"/>
                    <a:pt x="107" y="30"/>
                    <a:pt x="108" y="29"/>
                  </a:cubicBezTo>
                  <a:cubicBezTo>
                    <a:pt x="109" y="28"/>
                    <a:pt x="110" y="27"/>
                    <a:pt x="111" y="26"/>
                  </a:cubicBezTo>
                  <a:cubicBezTo>
                    <a:pt x="111" y="11"/>
                    <a:pt x="111" y="11"/>
                    <a:pt x="111" y="11"/>
                  </a:cubicBezTo>
                  <a:cubicBezTo>
                    <a:pt x="111" y="11"/>
                    <a:pt x="111" y="11"/>
                    <a:pt x="111" y="11"/>
                  </a:cubicBezTo>
                  <a:cubicBezTo>
                    <a:pt x="111" y="11"/>
                    <a:pt x="111" y="11"/>
                    <a:pt x="111" y="11"/>
                  </a:cubicBezTo>
                  <a:cubicBezTo>
                    <a:pt x="111" y="11"/>
                    <a:pt x="112" y="11"/>
                    <a:pt x="112" y="11"/>
                  </a:cubicBezTo>
                  <a:cubicBezTo>
                    <a:pt x="112" y="11"/>
                    <a:pt x="112" y="11"/>
                    <a:pt x="113" y="11"/>
                  </a:cubicBezTo>
                  <a:cubicBezTo>
                    <a:pt x="113" y="11"/>
                    <a:pt x="114" y="11"/>
                    <a:pt x="114" y="11"/>
                  </a:cubicBezTo>
                  <a:cubicBezTo>
                    <a:pt x="114" y="11"/>
                    <a:pt x="114" y="11"/>
                    <a:pt x="114" y="11"/>
                  </a:cubicBezTo>
                  <a:cubicBezTo>
                    <a:pt x="115" y="11"/>
                    <a:pt x="115" y="11"/>
                    <a:pt x="115" y="11"/>
                  </a:cubicBezTo>
                  <a:cubicBezTo>
                    <a:pt x="115" y="11"/>
                    <a:pt x="115" y="11"/>
                    <a:pt x="115" y="11"/>
                  </a:cubicBezTo>
                  <a:lnTo>
                    <a:pt x="115" y="32"/>
                  </a:lnTo>
                  <a:close/>
                  <a:moveTo>
                    <a:pt x="126" y="32"/>
                  </a:moveTo>
                  <a:cubicBezTo>
                    <a:pt x="126" y="33"/>
                    <a:pt x="126" y="33"/>
                    <a:pt x="126" y="33"/>
                  </a:cubicBezTo>
                  <a:cubicBezTo>
                    <a:pt x="126" y="33"/>
                    <a:pt x="126" y="33"/>
                    <a:pt x="125" y="33"/>
                  </a:cubicBezTo>
                  <a:cubicBezTo>
                    <a:pt x="125" y="33"/>
                    <a:pt x="125" y="33"/>
                    <a:pt x="125" y="33"/>
                  </a:cubicBezTo>
                  <a:cubicBezTo>
                    <a:pt x="125" y="33"/>
                    <a:pt x="124" y="33"/>
                    <a:pt x="124" y="33"/>
                  </a:cubicBezTo>
                  <a:cubicBezTo>
                    <a:pt x="124" y="33"/>
                    <a:pt x="123" y="33"/>
                    <a:pt x="123" y="33"/>
                  </a:cubicBezTo>
                  <a:cubicBezTo>
                    <a:pt x="123" y="33"/>
                    <a:pt x="123" y="33"/>
                    <a:pt x="122" y="33"/>
                  </a:cubicBezTo>
                  <a:cubicBezTo>
                    <a:pt x="122" y="33"/>
                    <a:pt x="122" y="33"/>
                    <a:pt x="122" y="33"/>
                  </a:cubicBezTo>
                  <a:cubicBezTo>
                    <a:pt x="122" y="33"/>
                    <a:pt x="122" y="33"/>
                    <a:pt x="122" y="32"/>
                  </a:cubicBezTo>
                  <a:cubicBezTo>
                    <a:pt x="122" y="1"/>
                    <a:pt x="122" y="1"/>
                    <a:pt x="122" y="1"/>
                  </a:cubicBezTo>
                  <a:cubicBezTo>
                    <a:pt x="122" y="1"/>
                    <a:pt x="122" y="1"/>
                    <a:pt x="122" y="1"/>
                  </a:cubicBezTo>
                  <a:cubicBezTo>
                    <a:pt x="122" y="1"/>
                    <a:pt x="122" y="1"/>
                    <a:pt x="122" y="1"/>
                  </a:cubicBezTo>
                  <a:cubicBezTo>
                    <a:pt x="123" y="1"/>
                    <a:pt x="123" y="0"/>
                    <a:pt x="123" y="0"/>
                  </a:cubicBezTo>
                  <a:cubicBezTo>
                    <a:pt x="123" y="0"/>
                    <a:pt x="124" y="0"/>
                    <a:pt x="124" y="0"/>
                  </a:cubicBezTo>
                  <a:cubicBezTo>
                    <a:pt x="124" y="0"/>
                    <a:pt x="125" y="0"/>
                    <a:pt x="125" y="0"/>
                  </a:cubicBezTo>
                  <a:cubicBezTo>
                    <a:pt x="125" y="0"/>
                    <a:pt x="125" y="1"/>
                    <a:pt x="125" y="1"/>
                  </a:cubicBezTo>
                  <a:cubicBezTo>
                    <a:pt x="126" y="1"/>
                    <a:pt x="126" y="1"/>
                    <a:pt x="126" y="1"/>
                  </a:cubicBezTo>
                  <a:cubicBezTo>
                    <a:pt x="126" y="1"/>
                    <a:pt x="126" y="1"/>
                    <a:pt x="126" y="1"/>
                  </a:cubicBezTo>
                  <a:lnTo>
                    <a:pt x="126" y="32"/>
                  </a:lnTo>
                  <a:close/>
                  <a:moveTo>
                    <a:pt x="151" y="11"/>
                  </a:moveTo>
                  <a:cubicBezTo>
                    <a:pt x="152" y="11"/>
                    <a:pt x="152" y="11"/>
                    <a:pt x="152" y="11"/>
                  </a:cubicBezTo>
                  <a:cubicBezTo>
                    <a:pt x="153" y="11"/>
                    <a:pt x="153" y="12"/>
                    <a:pt x="153" y="12"/>
                  </a:cubicBezTo>
                  <a:cubicBezTo>
                    <a:pt x="153" y="32"/>
                    <a:pt x="153" y="32"/>
                    <a:pt x="153" y="32"/>
                  </a:cubicBezTo>
                  <a:cubicBezTo>
                    <a:pt x="153" y="33"/>
                    <a:pt x="153" y="33"/>
                    <a:pt x="153" y="33"/>
                  </a:cubicBezTo>
                  <a:cubicBezTo>
                    <a:pt x="152" y="33"/>
                    <a:pt x="152" y="33"/>
                    <a:pt x="152" y="33"/>
                  </a:cubicBezTo>
                  <a:cubicBezTo>
                    <a:pt x="152" y="33"/>
                    <a:pt x="152" y="33"/>
                    <a:pt x="152" y="33"/>
                  </a:cubicBezTo>
                  <a:cubicBezTo>
                    <a:pt x="151" y="33"/>
                    <a:pt x="151" y="33"/>
                    <a:pt x="151" y="33"/>
                  </a:cubicBezTo>
                  <a:cubicBezTo>
                    <a:pt x="150" y="33"/>
                    <a:pt x="150" y="33"/>
                    <a:pt x="150" y="33"/>
                  </a:cubicBezTo>
                  <a:cubicBezTo>
                    <a:pt x="149" y="33"/>
                    <a:pt x="149" y="33"/>
                    <a:pt x="149" y="33"/>
                  </a:cubicBezTo>
                  <a:cubicBezTo>
                    <a:pt x="149" y="33"/>
                    <a:pt x="149" y="33"/>
                    <a:pt x="149" y="33"/>
                  </a:cubicBezTo>
                  <a:cubicBezTo>
                    <a:pt x="149" y="33"/>
                    <a:pt x="149" y="33"/>
                    <a:pt x="149" y="32"/>
                  </a:cubicBezTo>
                  <a:cubicBezTo>
                    <a:pt x="149" y="14"/>
                    <a:pt x="149" y="14"/>
                    <a:pt x="149" y="14"/>
                  </a:cubicBezTo>
                  <a:cubicBezTo>
                    <a:pt x="138" y="14"/>
                    <a:pt x="138" y="14"/>
                    <a:pt x="138" y="14"/>
                  </a:cubicBezTo>
                  <a:cubicBezTo>
                    <a:pt x="138" y="26"/>
                    <a:pt x="138" y="26"/>
                    <a:pt x="138" y="26"/>
                  </a:cubicBezTo>
                  <a:cubicBezTo>
                    <a:pt x="138" y="27"/>
                    <a:pt x="138" y="28"/>
                    <a:pt x="138" y="29"/>
                  </a:cubicBezTo>
                  <a:cubicBezTo>
                    <a:pt x="139" y="30"/>
                    <a:pt x="140" y="30"/>
                    <a:pt x="141" y="30"/>
                  </a:cubicBezTo>
                  <a:cubicBezTo>
                    <a:pt x="141" y="30"/>
                    <a:pt x="141" y="30"/>
                    <a:pt x="142" y="30"/>
                  </a:cubicBezTo>
                  <a:cubicBezTo>
                    <a:pt x="142" y="30"/>
                    <a:pt x="142" y="30"/>
                    <a:pt x="143" y="30"/>
                  </a:cubicBezTo>
                  <a:cubicBezTo>
                    <a:pt x="143" y="30"/>
                    <a:pt x="143" y="30"/>
                    <a:pt x="143" y="30"/>
                  </a:cubicBezTo>
                  <a:cubicBezTo>
                    <a:pt x="143" y="30"/>
                    <a:pt x="143" y="30"/>
                    <a:pt x="143" y="30"/>
                  </a:cubicBezTo>
                  <a:cubicBezTo>
                    <a:pt x="144" y="30"/>
                    <a:pt x="144" y="30"/>
                    <a:pt x="144" y="30"/>
                  </a:cubicBezTo>
                  <a:cubicBezTo>
                    <a:pt x="144" y="30"/>
                    <a:pt x="144" y="30"/>
                    <a:pt x="144" y="30"/>
                  </a:cubicBezTo>
                  <a:cubicBezTo>
                    <a:pt x="144" y="30"/>
                    <a:pt x="144" y="30"/>
                    <a:pt x="144" y="30"/>
                  </a:cubicBezTo>
                  <a:cubicBezTo>
                    <a:pt x="144" y="30"/>
                    <a:pt x="144" y="31"/>
                    <a:pt x="144" y="31"/>
                  </a:cubicBezTo>
                  <a:cubicBezTo>
                    <a:pt x="144" y="31"/>
                    <a:pt x="144" y="32"/>
                    <a:pt x="144" y="32"/>
                  </a:cubicBezTo>
                  <a:cubicBezTo>
                    <a:pt x="144" y="32"/>
                    <a:pt x="144" y="32"/>
                    <a:pt x="144" y="33"/>
                  </a:cubicBezTo>
                  <a:cubicBezTo>
                    <a:pt x="144" y="33"/>
                    <a:pt x="143" y="33"/>
                    <a:pt x="143" y="33"/>
                  </a:cubicBezTo>
                  <a:cubicBezTo>
                    <a:pt x="143" y="33"/>
                    <a:pt x="143" y="33"/>
                    <a:pt x="142" y="33"/>
                  </a:cubicBezTo>
                  <a:cubicBezTo>
                    <a:pt x="142" y="33"/>
                    <a:pt x="142" y="33"/>
                    <a:pt x="141" y="33"/>
                  </a:cubicBezTo>
                  <a:cubicBezTo>
                    <a:pt x="141" y="33"/>
                    <a:pt x="140" y="33"/>
                    <a:pt x="140" y="33"/>
                  </a:cubicBezTo>
                  <a:cubicBezTo>
                    <a:pt x="139" y="33"/>
                    <a:pt x="138" y="33"/>
                    <a:pt x="137" y="33"/>
                  </a:cubicBezTo>
                  <a:cubicBezTo>
                    <a:pt x="137" y="33"/>
                    <a:pt x="136" y="32"/>
                    <a:pt x="135" y="32"/>
                  </a:cubicBezTo>
                  <a:cubicBezTo>
                    <a:pt x="135" y="31"/>
                    <a:pt x="135" y="30"/>
                    <a:pt x="134" y="29"/>
                  </a:cubicBezTo>
                  <a:cubicBezTo>
                    <a:pt x="134" y="29"/>
                    <a:pt x="134" y="28"/>
                    <a:pt x="134" y="26"/>
                  </a:cubicBezTo>
                  <a:cubicBezTo>
                    <a:pt x="134" y="14"/>
                    <a:pt x="134" y="14"/>
                    <a:pt x="134" y="14"/>
                  </a:cubicBezTo>
                  <a:cubicBezTo>
                    <a:pt x="131" y="14"/>
                    <a:pt x="131" y="14"/>
                    <a:pt x="131" y="14"/>
                  </a:cubicBezTo>
                  <a:cubicBezTo>
                    <a:pt x="131" y="14"/>
                    <a:pt x="131" y="14"/>
                    <a:pt x="130" y="14"/>
                  </a:cubicBezTo>
                  <a:cubicBezTo>
                    <a:pt x="130" y="13"/>
                    <a:pt x="130" y="13"/>
                    <a:pt x="130" y="12"/>
                  </a:cubicBezTo>
                  <a:cubicBezTo>
                    <a:pt x="130" y="12"/>
                    <a:pt x="130" y="12"/>
                    <a:pt x="130" y="12"/>
                  </a:cubicBezTo>
                  <a:cubicBezTo>
                    <a:pt x="130" y="11"/>
                    <a:pt x="130" y="11"/>
                    <a:pt x="130" y="11"/>
                  </a:cubicBezTo>
                  <a:cubicBezTo>
                    <a:pt x="131" y="11"/>
                    <a:pt x="131" y="11"/>
                    <a:pt x="131" y="11"/>
                  </a:cubicBezTo>
                  <a:cubicBezTo>
                    <a:pt x="131" y="11"/>
                    <a:pt x="131" y="11"/>
                    <a:pt x="131" y="11"/>
                  </a:cubicBezTo>
                  <a:cubicBezTo>
                    <a:pt x="134" y="11"/>
                    <a:pt x="134" y="11"/>
                    <a:pt x="134" y="11"/>
                  </a:cubicBezTo>
                  <a:cubicBezTo>
                    <a:pt x="134" y="6"/>
                    <a:pt x="134" y="6"/>
                    <a:pt x="134" y="6"/>
                  </a:cubicBezTo>
                  <a:cubicBezTo>
                    <a:pt x="134" y="6"/>
                    <a:pt x="134" y="6"/>
                    <a:pt x="134" y="5"/>
                  </a:cubicBezTo>
                  <a:cubicBezTo>
                    <a:pt x="134" y="5"/>
                    <a:pt x="134" y="5"/>
                    <a:pt x="134" y="5"/>
                  </a:cubicBezTo>
                  <a:cubicBezTo>
                    <a:pt x="135" y="5"/>
                    <a:pt x="135" y="5"/>
                    <a:pt x="135" y="5"/>
                  </a:cubicBezTo>
                  <a:cubicBezTo>
                    <a:pt x="135" y="5"/>
                    <a:pt x="136" y="5"/>
                    <a:pt x="136" y="5"/>
                  </a:cubicBezTo>
                  <a:cubicBezTo>
                    <a:pt x="136" y="5"/>
                    <a:pt x="137" y="5"/>
                    <a:pt x="137" y="5"/>
                  </a:cubicBezTo>
                  <a:cubicBezTo>
                    <a:pt x="137" y="5"/>
                    <a:pt x="137" y="5"/>
                    <a:pt x="137" y="5"/>
                  </a:cubicBezTo>
                  <a:cubicBezTo>
                    <a:pt x="138" y="5"/>
                    <a:pt x="138" y="5"/>
                    <a:pt x="138" y="5"/>
                  </a:cubicBezTo>
                  <a:cubicBezTo>
                    <a:pt x="138" y="6"/>
                    <a:pt x="138" y="6"/>
                    <a:pt x="138" y="6"/>
                  </a:cubicBezTo>
                  <a:cubicBezTo>
                    <a:pt x="138" y="11"/>
                    <a:pt x="138" y="11"/>
                    <a:pt x="138" y="11"/>
                  </a:cubicBezTo>
                  <a:lnTo>
                    <a:pt x="151" y="11"/>
                  </a:lnTo>
                  <a:close/>
                  <a:moveTo>
                    <a:pt x="145" y="11"/>
                  </a:moveTo>
                  <a:cubicBezTo>
                    <a:pt x="145" y="11"/>
                    <a:pt x="145" y="11"/>
                    <a:pt x="145" y="11"/>
                  </a:cubicBezTo>
                  <a:moveTo>
                    <a:pt x="153" y="4"/>
                  </a:moveTo>
                  <a:cubicBezTo>
                    <a:pt x="153" y="5"/>
                    <a:pt x="153" y="6"/>
                    <a:pt x="153" y="6"/>
                  </a:cubicBezTo>
                  <a:cubicBezTo>
                    <a:pt x="152" y="6"/>
                    <a:pt x="152" y="7"/>
                    <a:pt x="151" y="7"/>
                  </a:cubicBezTo>
                  <a:cubicBezTo>
                    <a:pt x="150" y="7"/>
                    <a:pt x="149" y="6"/>
                    <a:pt x="149" y="6"/>
                  </a:cubicBezTo>
                  <a:cubicBezTo>
                    <a:pt x="148" y="6"/>
                    <a:pt x="148" y="5"/>
                    <a:pt x="148" y="4"/>
                  </a:cubicBezTo>
                  <a:cubicBezTo>
                    <a:pt x="148" y="3"/>
                    <a:pt x="148" y="3"/>
                    <a:pt x="149" y="2"/>
                  </a:cubicBezTo>
                  <a:cubicBezTo>
                    <a:pt x="149" y="2"/>
                    <a:pt x="150" y="2"/>
                    <a:pt x="151" y="2"/>
                  </a:cubicBezTo>
                  <a:cubicBezTo>
                    <a:pt x="152" y="2"/>
                    <a:pt x="152" y="2"/>
                    <a:pt x="153" y="2"/>
                  </a:cubicBezTo>
                  <a:cubicBezTo>
                    <a:pt x="153" y="3"/>
                    <a:pt x="153" y="3"/>
                    <a:pt x="153" y="4"/>
                  </a:cubicBezTo>
                  <a:close/>
                  <a:moveTo>
                    <a:pt x="178" y="32"/>
                  </a:moveTo>
                  <a:cubicBezTo>
                    <a:pt x="178" y="33"/>
                    <a:pt x="178" y="33"/>
                    <a:pt x="178" y="33"/>
                  </a:cubicBezTo>
                  <a:cubicBezTo>
                    <a:pt x="178" y="33"/>
                    <a:pt x="178" y="33"/>
                    <a:pt x="178" y="33"/>
                  </a:cubicBezTo>
                  <a:cubicBezTo>
                    <a:pt x="177" y="33"/>
                    <a:pt x="177" y="33"/>
                    <a:pt x="177" y="33"/>
                  </a:cubicBezTo>
                  <a:cubicBezTo>
                    <a:pt x="177" y="33"/>
                    <a:pt x="176" y="33"/>
                    <a:pt x="176" y="33"/>
                  </a:cubicBezTo>
                  <a:cubicBezTo>
                    <a:pt x="176" y="33"/>
                    <a:pt x="175" y="33"/>
                    <a:pt x="175" y="33"/>
                  </a:cubicBezTo>
                  <a:cubicBezTo>
                    <a:pt x="175" y="33"/>
                    <a:pt x="175" y="33"/>
                    <a:pt x="175" y="33"/>
                  </a:cubicBezTo>
                  <a:cubicBezTo>
                    <a:pt x="174" y="33"/>
                    <a:pt x="174" y="33"/>
                    <a:pt x="174" y="33"/>
                  </a:cubicBezTo>
                  <a:cubicBezTo>
                    <a:pt x="174" y="33"/>
                    <a:pt x="174" y="33"/>
                    <a:pt x="174" y="32"/>
                  </a:cubicBezTo>
                  <a:cubicBezTo>
                    <a:pt x="174" y="20"/>
                    <a:pt x="174" y="20"/>
                    <a:pt x="174" y="20"/>
                  </a:cubicBezTo>
                  <a:cubicBezTo>
                    <a:pt x="174" y="19"/>
                    <a:pt x="174" y="18"/>
                    <a:pt x="174" y="17"/>
                  </a:cubicBezTo>
                  <a:cubicBezTo>
                    <a:pt x="174" y="16"/>
                    <a:pt x="173" y="16"/>
                    <a:pt x="173" y="15"/>
                  </a:cubicBezTo>
                  <a:cubicBezTo>
                    <a:pt x="173" y="15"/>
                    <a:pt x="172" y="14"/>
                    <a:pt x="172" y="14"/>
                  </a:cubicBezTo>
                  <a:cubicBezTo>
                    <a:pt x="171" y="14"/>
                    <a:pt x="170" y="14"/>
                    <a:pt x="170" y="14"/>
                  </a:cubicBezTo>
                  <a:cubicBezTo>
                    <a:pt x="169" y="14"/>
                    <a:pt x="168" y="14"/>
                    <a:pt x="167" y="15"/>
                  </a:cubicBezTo>
                  <a:cubicBezTo>
                    <a:pt x="166" y="15"/>
                    <a:pt x="165" y="16"/>
                    <a:pt x="164" y="18"/>
                  </a:cubicBezTo>
                  <a:cubicBezTo>
                    <a:pt x="164" y="32"/>
                    <a:pt x="164" y="32"/>
                    <a:pt x="164" y="32"/>
                  </a:cubicBezTo>
                  <a:cubicBezTo>
                    <a:pt x="164" y="33"/>
                    <a:pt x="164" y="33"/>
                    <a:pt x="164" y="33"/>
                  </a:cubicBezTo>
                  <a:cubicBezTo>
                    <a:pt x="164" y="33"/>
                    <a:pt x="163" y="33"/>
                    <a:pt x="163" y="33"/>
                  </a:cubicBezTo>
                  <a:cubicBezTo>
                    <a:pt x="163" y="33"/>
                    <a:pt x="163" y="33"/>
                    <a:pt x="163" y="33"/>
                  </a:cubicBezTo>
                  <a:cubicBezTo>
                    <a:pt x="162" y="33"/>
                    <a:pt x="162" y="33"/>
                    <a:pt x="162" y="33"/>
                  </a:cubicBezTo>
                  <a:cubicBezTo>
                    <a:pt x="161" y="33"/>
                    <a:pt x="161" y="33"/>
                    <a:pt x="161" y="33"/>
                  </a:cubicBezTo>
                  <a:cubicBezTo>
                    <a:pt x="161" y="33"/>
                    <a:pt x="160" y="33"/>
                    <a:pt x="160" y="33"/>
                  </a:cubicBezTo>
                  <a:cubicBezTo>
                    <a:pt x="160" y="33"/>
                    <a:pt x="160" y="33"/>
                    <a:pt x="160" y="33"/>
                  </a:cubicBezTo>
                  <a:cubicBezTo>
                    <a:pt x="160" y="33"/>
                    <a:pt x="160" y="33"/>
                    <a:pt x="160" y="32"/>
                  </a:cubicBezTo>
                  <a:cubicBezTo>
                    <a:pt x="160" y="11"/>
                    <a:pt x="160" y="11"/>
                    <a:pt x="160" y="11"/>
                  </a:cubicBezTo>
                  <a:cubicBezTo>
                    <a:pt x="160" y="11"/>
                    <a:pt x="160" y="11"/>
                    <a:pt x="160" y="11"/>
                  </a:cubicBezTo>
                  <a:cubicBezTo>
                    <a:pt x="160" y="11"/>
                    <a:pt x="160" y="11"/>
                    <a:pt x="160" y="11"/>
                  </a:cubicBezTo>
                  <a:cubicBezTo>
                    <a:pt x="160" y="11"/>
                    <a:pt x="161" y="11"/>
                    <a:pt x="161" y="11"/>
                  </a:cubicBezTo>
                  <a:cubicBezTo>
                    <a:pt x="161" y="11"/>
                    <a:pt x="161" y="11"/>
                    <a:pt x="162" y="11"/>
                  </a:cubicBezTo>
                  <a:cubicBezTo>
                    <a:pt x="162" y="11"/>
                    <a:pt x="162" y="11"/>
                    <a:pt x="162" y="11"/>
                  </a:cubicBezTo>
                  <a:cubicBezTo>
                    <a:pt x="163" y="11"/>
                    <a:pt x="163" y="11"/>
                    <a:pt x="163" y="11"/>
                  </a:cubicBezTo>
                  <a:cubicBezTo>
                    <a:pt x="163" y="11"/>
                    <a:pt x="163" y="11"/>
                    <a:pt x="163" y="11"/>
                  </a:cubicBezTo>
                  <a:cubicBezTo>
                    <a:pt x="163" y="11"/>
                    <a:pt x="163" y="11"/>
                    <a:pt x="163" y="11"/>
                  </a:cubicBezTo>
                  <a:cubicBezTo>
                    <a:pt x="163" y="14"/>
                    <a:pt x="163" y="14"/>
                    <a:pt x="163" y="14"/>
                  </a:cubicBezTo>
                  <a:cubicBezTo>
                    <a:pt x="165" y="13"/>
                    <a:pt x="166" y="12"/>
                    <a:pt x="167" y="11"/>
                  </a:cubicBezTo>
                  <a:cubicBezTo>
                    <a:pt x="168" y="11"/>
                    <a:pt x="169" y="10"/>
                    <a:pt x="170" y="10"/>
                  </a:cubicBezTo>
                  <a:cubicBezTo>
                    <a:pt x="172" y="10"/>
                    <a:pt x="173" y="11"/>
                    <a:pt x="174" y="11"/>
                  </a:cubicBezTo>
                  <a:cubicBezTo>
                    <a:pt x="175" y="12"/>
                    <a:pt x="176" y="12"/>
                    <a:pt x="176" y="13"/>
                  </a:cubicBezTo>
                  <a:cubicBezTo>
                    <a:pt x="177" y="14"/>
                    <a:pt x="177" y="15"/>
                    <a:pt x="178" y="16"/>
                  </a:cubicBezTo>
                  <a:cubicBezTo>
                    <a:pt x="178" y="17"/>
                    <a:pt x="178" y="18"/>
                    <a:pt x="178" y="20"/>
                  </a:cubicBezTo>
                  <a:lnTo>
                    <a:pt x="178" y="32"/>
                  </a:lnTo>
                  <a:close/>
                  <a:moveTo>
                    <a:pt x="203" y="12"/>
                  </a:moveTo>
                  <a:cubicBezTo>
                    <a:pt x="203" y="13"/>
                    <a:pt x="203" y="13"/>
                    <a:pt x="203" y="14"/>
                  </a:cubicBezTo>
                  <a:cubicBezTo>
                    <a:pt x="202" y="14"/>
                    <a:pt x="202" y="14"/>
                    <a:pt x="202" y="14"/>
                  </a:cubicBezTo>
                  <a:cubicBezTo>
                    <a:pt x="199" y="14"/>
                    <a:pt x="199" y="14"/>
                    <a:pt x="199" y="14"/>
                  </a:cubicBezTo>
                  <a:cubicBezTo>
                    <a:pt x="199" y="14"/>
                    <a:pt x="200" y="15"/>
                    <a:pt x="200" y="16"/>
                  </a:cubicBezTo>
                  <a:cubicBezTo>
                    <a:pt x="200" y="16"/>
                    <a:pt x="200" y="17"/>
                    <a:pt x="200" y="18"/>
                  </a:cubicBezTo>
                  <a:cubicBezTo>
                    <a:pt x="200" y="19"/>
                    <a:pt x="200" y="20"/>
                    <a:pt x="200" y="21"/>
                  </a:cubicBezTo>
                  <a:cubicBezTo>
                    <a:pt x="199" y="22"/>
                    <a:pt x="199" y="23"/>
                    <a:pt x="198" y="23"/>
                  </a:cubicBezTo>
                  <a:cubicBezTo>
                    <a:pt x="197" y="24"/>
                    <a:pt x="197" y="25"/>
                    <a:pt x="196" y="25"/>
                  </a:cubicBezTo>
                  <a:cubicBezTo>
                    <a:pt x="195" y="25"/>
                    <a:pt x="193" y="25"/>
                    <a:pt x="192" y="25"/>
                  </a:cubicBezTo>
                  <a:cubicBezTo>
                    <a:pt x="191" y="25"/>
                    <a:pt x="191" y="25"/>
                    <a:pt x="190" y="25"/>
                  </a:cubicBezTo>
                  <a:cubicBezTo>
                    <a:pt x="189" y="25"/>
                    <a:pt x="188" y="25"/>
                    <a:pt x="188" y="24"/>
                  </a:cubicBezTo>
                  <a:cubicBezTo>
                    <a:pt x="188" y="25"/>
                    <a:pt x="187" y="25"/>
                    <a:pt x="187" y="25"/>
                  </a:cubicBezTo>
                  <a:cubicBezTo>
                    <a:pt x="187" y="26"/>
                    <a:pt x="187" y="26"/>
                    <a:pt x="187" y="27"/>
                  </a:cubicBezTo>
                  <a:cubicBezTo>
                    <a:pt x="187" y="27"/>
                    <a:pt x="187" y="28"/>
                    <a:pt x="188" y="28"/>
                  </a:cubicBezTo>
                  <a:cubicBezTo>
                    <a:pt x="188" y="28"/>
                    <a:pt x="189" y="28"/>
                    <a:pt x="190" y="28"/>
                  </a:cubicBezTo>
                  <a:cubicBezTo>
                    <a:pt x="195" y="29"/>
                    <a:pt x="195" y="29"/>
                    <a:pt x="195" y="29"/>
                  </a:cubicBezTo>
                  <a:cubicBezTo>
                    <a:pt x="196" y="29"/>
                    <a:pt x="197" y="29"/>
                    <a:pt x="198" y="29"/>
                  </a:cubicBezTo>
                  <a:cubicBezTo>
                    <a:pt x="199" y="29"/>
                    <a:pt x="200" y="30"/>
                    <a:pt x="200" y="30"/>
                  </a:cubicBezTo>
                  <a:cubicBezTo>
                    <a:pt x="201" y="31"/>
                    <a:pt x="202" y="31"/>
                    <a:pt x="202" y="32"/>
                  </a:cubicBezTo>
                  <a:cubicBezTo>
                    <a:pt x="202" y="33"/>
                    <a:pt x="203" y="33"/>
                    <a:pt x="203" y="34"/>
                  </a:cubicBezTo>
                  <a:cubicBezTo>
                    <a:pt x="203" y="35"/>
                    <a:pt x="202" y="36"/>
                    <a:pt x="202" y="37"/>
                  </a:cubicBezTo>
                  <a:cubicBezTo>
                    <a:pt x="201" y="38"/>
                    <a:pt x="201" y="39"/>
                    <a:pt x="200" y="39"/>
                  </a:cubicBezTo>
                  <a:cubicBezTo>
                    <a:pt x="199" y="40"/>
                    <a:pt x="198" y="41"/>
                    <a:pt x="197" y="41"/>
                  </a:cubicBezTo>
                  <a:cubicBezTo>
                    <a:pt x="196" y="41"/>
                    <a:pt x="194" y="42"/>
                    <a:pt x="192" y="42"/>
                  </a:cubicBezTo>
                  <a:cubicBezTo>
                    <a:pt x="191" y="42"/>
                    <a:pt x="189" y="41"/>
                    <a:pt x="188" y="41"/>
                  </a:cubicBezTo>
                  <a:cubicBezTo>
                    <a:pt x="187" y="41"/>
                    <a:pt x="186" y="41"/>
                    <a:pt x="185" y="40"/>
                  </a:cubicBezTo>
                  <a:cubicBezTo>
                    <a:pt x="184" y="40"/>
                    <a:pt x="184" y="39"/>
                    <a:pt x="183" y="38"/>
                  </a:cubicBezTo>
                  <a:cubicBezTo>
                    <a:pt x="183" y="38"/>
                    <a:pt x="183" y="37"/>
                    <a:pt x="183" y="36"/>
                  </a:cubicBezTo>
                  <a:cubicBezTo>
                    <a:pt x="183" y="35"/>
                    <a:pt x="183" y="35"/>
                    <a:pt x="183" y="34"/>
                  </a:cubicBezTo>
                  <a:cubicBezTo>
                    <a:pt x="183" y="34"/>
                    <a:pt x="183" y="34"/>
                    <a:pt x="184" y="33"/>
                  </a:cubicBezTo>
                  <a:cubicBezTo>
                    <a:pt x="184" y="33"/>
                    <a:pt x="184" y="32"/>
                    <a:pt x="184" y="32"/>
                  </a:cubicBezTo>
                  <a:cubicBezTo>
                    <a:pt x="185" y="31"/>
                    <a:pt x="185" y="31"/>
                    <a:pt x="186" y="31"/>
                  </a:cubicBezTo>
                  <a:cubicBezTo>
                    <a:pt x="185" y="30"/>
                    <a:pt x="184" y="30"/>
                    <a:pt x="184" y="29"/>
                  </a:cubicBezTo>
                  <a:cubicBezTo>
                    <a:pt x="184" y="29"/>
                    <a:pt x="184" y="28"/>
                    <a:pt x="184" y="27"/>
                  </a:cubicBezTo>
                  <a:cubicBezTo>
                    <a:pt x="184" y="26"/>
                    <a:pt x="184" y="25"/>
                    <a:pt x="184" y="25"/>
                  </a:cubicBezTo>
                  <a:cubicBezTo>
                    <a:pt x="185" y="24"/>
                    <a:pt x="185" y="23"/>
                    <a:pt x="186" y="23"/>
                  </a:cubicBezTo>
                  <a:cubicBezTo>
                    <a:pt x="185" y="22"/>
                    <a:pt x="185" y="21"/>
                    <a:pt x="184" y="21"/>
                  </a:cubicBezTo>
                  <a:cubicBezTo>
                    <a:pt x="184" y="20"/>
                    <a:pt x="184" y="19"/>
                    <a:pt x="184" y="18"/>
                  </a:cubicBezTo>
                  <a:cubicBezTo>
                    <a:pt x="184" y="17"/>
                    <a:pt x="184" y="16"/>
                    <a:pt x="185" y="15"/>
                  </a:cubicBezTo>
                  <a:cubicBezTo>
                    <a:pt x="185" y="14"/>
                    <a:pt x="186" y="13"/>
                    <a:pt x="186" y="12"/>
                  </a:cubicBezTo>
                  <a:cubicBezTo>
                    <a:pt x="187" y="12"/>
                    <a:pt x="188" y="11"/>
                    <a:pt x="189" y="11"/>
                  </a:cubicBezTo>
                  <a:cubicBezTo>
                    <a:pt x="190" y="11"/>
                    <a:pt x="191" y="10"/>
                    <a:pt x="192" y="10"/>
                  </a:cubicBezTo>
                  <a:cubicBezTo>
                    <a:pt x="193" y="10"/>
                    <a:pt x="193" y="10"/>
                    <a:pt x="194" y="10"/>
                  </a:cubicBezTo>
                  <a:cubicBezTo>
                    <a:pt x="195" y="11"/>
                    <a:pt x="195" y="11"/>
                    <a:pt x="196" y="11"/>
                  </a:cubicBezTo>
                  <a:cubicBezTo>
                    <a:pt x="202" y="11"/>
                    <a:pt x="202" y="11"/>
                    <a:pt x="202" y="11"/>
                  </a:cubicBezTo>
                  <a:cubicBezTo>
                    <a:pt x="202" y="11"/>
                    <a:pt x="202" y="11"/>
                    <a:pt x="203" y="11"/>
                  </a:cubicBezTo>
                  <a:cubicBezTo>
                    <a:pt x="203" y="11"/>
                    <a:pt x="203" y="12"/>
                    <a:pt x="203" y="12"/>
                  </a:cubicBezTo>
                  <a:close/>
                  <a:moveTo>
                    <a:pt x="199" y="35"/>
                  </a:moveTo>
                  <a:cubicBezTo>
                    <a:pt x="199" y="34"/>
                    <a:pt x="198" y="33"/>
                    <a:pt x="198" y="33"/>
                  </a:cubicBezTo>
                  <a:cubicBezTo>
                    <a:pt x="197" y="32"/>
                    <a:pt x="196" y="32"/>
                    <a:pt x="195" y="32"/>
                  </a:cubicBezTo>
                  <a:cubicBezTo>
                    <a:pt x="189" y="32"/>
                    <a:pt x="189" y="32"/>
                    <a:pt x="189" y="32"/>
                  </a:cubicBezTo>
                  <a:cubicBezTo>
                    <a:pt x="189" y="32"/>
                    <a:pt x="188" y="32"/>
                    <a:pt x="188" y="33"/>
                  </a:cubicBezTo>
                  <a:cubicBezTo>
                    <a:pt x="188" y="33"/>
                    <a:pt x="187" y="33"/>
                    <a:pt x="187" y="34"/>
                  </a:cubicBezTo>
                  <a:cubicBezTo>
                    <a:pt x="187" y="34"/>
                    <a:pt x="187" y="34"/>
                    <a:pt x="187" y="35"/>
                  </a:cubicBezTo>
                  <a:cubicBezTo>
                    <a:pt x="187" y="35"/>
                    <a:pt x="187" y="35"/>
                    <a:pt x="187" y="36"/>
                  </a:cubicBezTo>
                  <a:cubicBezTo>
                    <a:pt x="187" y="37"/>
                    <a:pt x="187" y="37"/>
                    <a:pt x="188" y="38"/>
                  </a:cubicBezTo>
                  <a:cubicBezTo>
                    <a:pt x="189" y="38"/>
                    <a:pt x="191" y="39"/>
                    <a:pt x="192" y="39"/>
                  </a:cubicBezTo>
                  <a:cubicBezTo>
                    <a:pt x="194" y="39"/>
                    <a:pt x="195" y="39"/>
                    <a:pt x="195" y="38"/>
                  </a:cubicBezTo>
                  <a:cubicBezTo>
                    <a:pt x="196" y="38"/>
                    <a:pt x="197" y="38"/>
                    <a:pt x="197" y="37"/>
                  </a:cubicBezTo>
                  <a:cubicBezTo>
                    <a:pt x="198" y="37"/>
                    <a:pt x="198" y="37"/>
                    <a:pt x="198" y="36"/>
                  </a:cubicBezTo>
                  <a:cubicBezTo>
                    <a:pt x="199" y="36"/>
                    <a:pt x="199" y="35"/>
                    <a:pt x="199" y="35"/>
                  </a:cubicBezTo>
                  <a:close/>
                  <a:moveTo>
                    <a:pt x="197" y="18"/>
                  </a:moveTo>
                  <a:cubicBezTo>
                    <a:pt x="197" y="16"/>
                    <a:pt x="196" y="15"/>
                    <a:pt x="196" y="15"/>
                  </a:cubicBezTo>
                  <a:cubicBezTo>
                    <a:pt x="195" y="14"/>
                    <a:pt x="194" y="13"/>
                    <a:pt x="192" y="13"/>
                  </a:cubicBezTo>
                  <a:cubicBezTo>
                    <a:pt x="191" y="13"/>
                    <a:pt x="191" y="13"/>
                    <a:pt x="190" y="14"/>
                  </a:cubicBezTo>
                  <a:cubicBezTo>
                    <a:pt x="190" y="14"/>
                    <a:pt x="189" y="14"/>
                    <a:pt x="189" y="15"/>
                  </a:cubicBezTo>
                  <a:cubicBezTo>
                    <a:pt x="188" y="15"/>
                    <a:pt x="188" y="16"/>
                    <a:pt x="188" y="16"/>
                  </a:cubicBezTo>
                  <a:cubicBezTo>
                    <a:pt x="188" y="17"/>
                    <a:pt x="188" y="17"/>
                    <a:pt x="188" y="18"/>
                  </a:cubicBezTo>
                  <a:cubicBezTo>
                    <a:pt x="188" y="19"/>
                    <a:pt x="188" y="21"/>
                    <a:pt x="189" y="21"/>
                  </a:cubicBezTo>
                  <a:cubicBezTo>
                    <a:pt x="190" y="22"/>
                    <a:pt x="191" y="23"/>
                    <a:pt x="192" y="23"/>
                  </a:cubicBezTo>
                  <a:cubicBezTo>
                    <a:pt x="193" y="23"/>
                    <a:pt x="194" y="22"/>
                    <a:pt x="194" y="22"/>
                  </a:cubicBezTo>
                  <a:cubicBezTo>
                    <a:pt x="195" y="22"/>
                    <a:pt x="195" y="22"/>
                    <a:pt x="196" y="21"/>
                  </a:cubicBezTo>
                  <a:cubicBezTo>
                    <a:pt x="196" y="21"/>
                    <a:pt x="196" y="20"/>
                    <a:pt x="196" y="20"/>
                  </a:cubicBezTo>
                  <a:cubicBezTo>
                    <a:pt x="197" y="19"/>
                    <a:pt x="197" y="19"/>
                    <a:pt x="197" y="18"/>
                  </a:cubicBezTo>
                  <a:close/>
                  <a:moveTo>
                    <a:pt x="213" y="30"/>
                  </a:moveTo>
                  <a:cubicBezTo>
                    <a:pt x="213" y="30"/>
                    <a:pt x="213" y="31"/>
                    <a:pt x="213" y="31"/>
                  </a:cubicBezTo>
                  <a:cubicBezTo>
                    <a:pt x="213" y="31"/>
                    <a:pt x="213" y="32"/>
                    <a:pt x="213" y="32"/>
                  </a:cubicBezTo>
                  <a:cubicBezTo>
                    <a:pt x="212" y="33"/>
                    <a:pt x="212" y="33"/>
                    <a:pt x="212" y="33"/>
                  </a:cubicBezTo>
                  <a:cubicBezTo>
                    <a:pt x="212" y="34"/>
                    <a:pt x="212" y="34"/>
                    <a:pt x="211" y="34"/>
                  </a:cubicBezTo>
                  <a:cubicBezTo>
                    <a:pt x="208" y="39"/>
                    <a:pt x="208" y="39"/>
                    <a:pt x="208" y="39"/>
                  </a:cubicBezTo>
                  <a:cubicBezTo>
                    <a:pt x="208" y="39"/>
                    <a:pt x="208" y="39"/>
                    <a:pt x="208" y="39"/>
                  </a:cubicBezTo>
                  <a:cubicBezTo>
                    <a:pt x="208" y="40"/>
                    <a:pt x="208" y="40"/>
                    <a:pt x="208" y="40"/>
                  </a:cubicBezTo>
                  <a:cubicBezTo>
                    <a:pt x="207" y="40"/>
                    <a:pt x="207" y="40"/>
                    <a:pt x="207" y="40"/>
                  </a:cubicBezTo>
                  <a:cubicBezTo>
                    <a:pt x="207" y="40"/>
                    <a:pt x="207" y="40"/>
                    <a:pt x="206" y="40"/>
                  </a:cubicBezTo>
                  <a:cubicBezTo>
                    <a:pt x="206" y="40"/>
                    <a:pt x="206" y="40"/>
                    <a:pt x="206" y="40"/>
                  </a:cubicBezTo>
                  <a:cubicBezTo>
                    <a:pt x="206" y="40"/>
                    <a:pt x="205" y="40"/>
                    <a:pt x="205" y="40"/>
                  </a:cubicBezTo>
                  <a:cubicBezTo>
                    <a:pt x="205" y="40"/>
                    <a:pt x="205" y="40"/>
                    <a:pt x="205" y="39"/>
                  </a:cubicBezTo>
                  <a:cubicBezTo>
                    <a:pt x="205" y="39"/>
                    <a:pt x="205" y="39"/>
                    <a:pt x="205" y="39"/>
                  </a:cubicBezTo>
                  <a:cubicBezTo>
                    <a:pt x="208" y="33"/>
                    <a:pt x="208" y="33"/>
                    <a:pt x="208" y="33"/>
                  </a:cubicBezTo>
                  <a:cubicBezTo>
                    <a:pt x="208" y="30"/>
                    <a:pt x="208" y="30"/>
                    <a:pt x="208" y="30"/>
                  </a:cubicBezTo>
                  <a:cubicBezTo>
                    <a:pt x="208" y="29"/>
                    <a:pt x="208" y="29"/>
                    <a:pt x="208" y="29"/>
                  </a:cubicBezTo>
                  <a:cubicBezTo>
                    <a:pt x="209" y="28"/>
                    <a:pt x="209" y="28"/>
                    <a:pt x="209" y="28"/>
                  </a:cubicBezTo>
                  <a:cubicBezTo>
                    <a:pt x="209" y="28"/>
                    <a:pt x="209" y="28"/>
                    <a:pt x="210" y="28"/>
                  </a:cubicBezTo>
                  <a:cubicBezTo>
                    <a:pt x="210" y="28"/>
                    <a:pt x="210" y="28"/>
                    <a:pt x="211" y="28"/>
                  </a:cubicBezTo>
                  <a:cubicBezTo>
                    <a:pt x="211" y="28"/>
                    <a:pt x="211" y="28"/>
                    <a:pt x="212" y="28"/>
                  </a:cubicBezTo>
                  <a:cubicBezTo>
                    <a:pt x="212" y="28"/>
                    <a:pt x="212" y="28"/>
                    <a:pt x="212" y="28"/>
                  </a:cubicBezTo>
                  <a:cubicBezTo>
                    <a:pt x="213" y="28"/>
                    <a:pt x="213" y="28"/>
                    <a:pt x="213" y="29"/>
                  </a:cubicBezTo>
                  <a:cubicBezTo>
                    <a:pt x="213" y="29"/>
                    <a:pt x="213" y="29"/>
                    <a:pt x="213" y="30"/>
                  </a:cubicBezTo>
                  <a:close/>
                  <a:moveTo>
                    <a:pt x="216" y="33"/>
                  </a:moveTo>
                  <a:cubicBezTo>
                    <a:pt x="216" y="33"/>
                    <a:pt x="216" y="33"/>
                    <a:pt x="216" y="33"/>
                  </a:cubicBezTo>
                  <a:moveTo>
                    <a:pt x="247" y="25"/>
                  </a:moveTo>
                  <a:cubicBezTo>
                    <a:pt x="247" y="26"/>
                    <a:pt x="247" y="27"/>
                    <a:pt x="247" y="28"/>
                  </a:cubicBezTo>
                  <a:cubicBezTo>
                    <a:pt x="246" y="29"/>
                    <a:pt x="245" y="30"/>
                    <a:pt x="244" y="31"/>
                  </a:cubicBezTo>
                  <a:cubicBezTo>
                    <a:pt x="244" y="32"/>
                    <a:pt x="242" y="33"/>
                    <a:pt x="241" y="33"/>
                  </a:cubicBezTo>
                  <a:cubicBezTo>
                    <a:pt x="240" y="33"/>
                    <a:pt x="239" y="34"/>
                    <a:pt x="237" y="34"/>
                  </a:cubicBezTo>
                  <a:cubicBezTo>
                    <a:pt x="236" y="34"/>
                    <a:pt x="235" y="33"/>
                    <a:pt x="234" y="33"/>
                  </a:cubicBezTo>
                  <a:cubicBezTo>
                    <a:pt x="233" y="33"/>
                    <a:pt x="233" y="33"/>
                    <a:pt x="232" y="33"/>
                  </a:cubicBezTo>
                  <a:cubicBezTo>
                    <a:pt x="231" y="32"/>
                    <a:pt x="231" y="32"/>
                    <a:pt x="230" y="32"/>
                  </a:cubicBezTo>
                  <a:cubicBezTo>
                    <a:pt x="230" y="32"/>
                    <a:pt x="229" y="31"/>
                    <a:pt x="229" y="31"/>
                  </a:cubicBezTo>
                  <a:cubicBezTo>
                    <a:pt x="229" y="31"/>
                    <a:pt x="229" y="31"/>
                    <a:pt x="229" y="30"/>
                  </a:cubicBezTo>
                  <a:cubicBezTo>
                    <a:pt x="229" y="30"/>
                    <a:pt x="229" y="30"/>
                    <a:pt x="229" y="29"/>
                  </a:cubicBezTo>
                  <a:cubicBezTo>
                    <a:pt x="229" y="29"/>
                    <a:pt x="229" y="29"/>
                    <a:pt x="229" y="28"/>
                  </a:cubicBezTo>
                  <a:cubicBezTo>
                    <a:pt x="229" y="28"/>
                    <a:pt x="229" y="28"/>
                    <a:pt x="229" y="28"/>
                  </a:cubicBezTo>
                  <a:cubicBezTo>
                    <a:pt x="229" y="28"/>
                    <a:pt x="229" y="28"/>
                    <a:pt x="229" y="28"/>
                  </a:cubicBezTo>
                  <a:cubicBezTo>
                    <a:pt x="229" y="28"/>
                    <a:pt x="229" y="28"/>
                    <a:pt x="230" y="28"/>
                  </a:cubicBezTo>
                  <a:cubicBezTo>
                    <a:pt x="230" y="28"/>
                    <a:pt x="230" y="28"/>
                    <a:pt x="230" y="28"/>
                  </a:cubicBezTo>
                  <a:cubicBezTo>
                    <a:pt x="231" y="28"/>
                    <a:pt x="231" y="28"/>
                    <a:pt x="232" y="29"/>
                  </a:cubicBezTo>
                  <a:cubicBezTo>
                    <a:pt x="233" y="29"/>
                    <a:pt x="233" y="29"/>
                    <a:pt x="234" y="30"/>
                  </a:cubicBezTo>
                  <a:cubicBezTo>
                    <a:pt x="235" y="30"/>
                    <a:pt x="236" y="30"/>
                    <a:pt x="237" y="30"/>
                  </a:cubicBezTo>
                  <a:cubicBezTo>
                    <a:pt x="238" y="30"/>
                    <a:pt x="239" y="30"/>
                    <a:pt x="240" y="30"/>
                  </a:cubicBezTo>
                  <a:cubicBezTo>
                    <a:pt x="240" y="29"/>
                    <a:pt x="241" y="29"/>
                    <a:pt x="242" y="29"/>
                  </a:cubicBezTo>
                  <a:cubicBezTo>
                    <a:pt x="242" y="28"/>
                    <a:pt x="242" y="28"/>
                    <a:pt x="243" y="27"/>
                  </a:cubicBezTo>
                  <a:cubicBezTo>
                    <a:pt x="243" y="27"/>
                    <a:pt x="243" y="26"/>
                    <a:pt x="243" y="25"/>
                  </a:cubicBezTo>
                  <a:cubicBezTo>
                    <a:pt x="243" y="24"/>
                    <a:pt x="243" y="23"/>
                    <a:pt x="243" y="23"/>
                  </a:cubicBezTo>
                  <a:cubicBezTo>
                    <a:pt x="242" y="22"/>
                    <a:pt x="242" y="22"/>
                    <a:pt x="241" y="21"/>
                  </a:cubicBezTo>
                  <a:cubicBezTo>
                    <a:pt x="240" y="21"/>
                    <a:pt x="240" y="20"/>
                    <a:pt x="239" y="20"/>
                  </a:cubicBezTo>
                  <a:cubicBezTo>
                    <a:pt x="238" y="20"/>
                    <a:pt x="237" y="19"/>
                    <a:pt x="236" y="19"/>
                  </a:cubicBezTo>
                  <a:cubicBezTo>
                    <a:pt x="235" y="18"/>
                    <a:pt x="235" y="18"/>
                    <a:pt x="234" y="17"/>
                  </a:cubicBezTo>
                  <a:cubicBezTo>
                    <a:pt x="233" y="17"/>
                    <a:pt x="232" y="16"/>
                    <a:pt x="232" y="16"/>
                  </a:cubicBezTo>
                  <a:cubicBezTo>
                    <a:pt x="231" y="15"/>
                    <a:pt x="231" y="14"/>
                    <a:pt x="230" y="13"/>
                  </a:cubicBezTo>
                  <a:cubicBezTo>
                    <a:pt x="230" y="13"/>
                    <a:pt x="230" y="11"/>
                    <a:pt x="230" y="10"/>
                  </a:cubicBezTo>
                  <a:cubicBezTo>
                    <a:pt x="230" y="9"/>
                    <a:pt x="230" y="8"/>
                    <a:pt x="230" y="7"/>
                  </a:cubicBezTo>
                  <a:cubicBezTo>
                    <a:pt x="231" y="6"/>
                    <a:pt x="231" y="5"/>
                    <a:pt x="232" y="4"/>
                  </a:cubicBezTo>
                  <a:cubicBezTo>
                    <a:pt x="233" y="4"/>
                    <a:pt x="234" y="3"/>
                    <a:pt x="235" y="3"/>
                  </a:cubicBezTo>
                  <a:cubicBezTo>
                    <a:pt x="236" y="2"/>
                    <a:pt x="237" y="2"/>
                    <a:pt x="239" y="2"/>
                  </a:cubicBezTo>
                  <a:cubicBezTo>
                    <a:pt x="239" y="2"/>
                    <a:pt x="240" y="2"/>
                    <a:pt x="241" y="2"/>
                  </a:cubicBezTo>
                  <a:cubicBezTo>
                    <a:pt x="241" y="3"/>
                    <a:pt x="242" y="3"/>
                    <a:pt x="243" y="3"/>
                  </a:cubicBezTo>
                  <a:cubicBezTo>
                    <a:pt x="243" y="3"/>
                    <a:pt x="244" y="3"/>
                    <a:pt x="244" y="4"/>
                  </a:cubicBezTo>
                  <a:cubicBezTo>
                    <a:pt x="245" y="4"/>
                    <a:pt x="245" y="4"/>
                    <a:pt x="245" y="4"/>
                  </a:cubicBezTo>
                  <a:cubicBezTo>
                    <a:pt x="245" y="4"/>
                    <a:pt x="245" y="4"/>
                    <a:pt x="245" y="5"/>
                  </a:cubicBezTo>
                  <a:cubicBezTo>
                    <a:pt x="246" y="5"/>
                    <a:pt x="246" y="5"/>
                    <a:pt x="246" y="5"/>
                  </a:cubicBezTo>
                  <a:cubicBezTo>
                    <a:pt x="246" y="5"/>
                    <a:pt x="246" y="5"/>
                    <a:pt x="246" y="5"/>
                  </a:cubicBezTo>
                  <a:cubicBezTo>
                    <a:pt x="246" y="6"/>
                    <a:pt x="246" y="6"/>
                    <a:pt x="246" y="6"/>
                  </a:cubicBezTo>
                  <a:cubicBezTo>
                    <a:pt x="246" y="6"/>
                    <a:pt x="246" y="7"/>
                    <a:pt x="246" y="7"/>
                  </a:cubicBezTo>
                  <a:cubicBezTo>
                    <a:pt x="246" y="7"/>
                    <a:pt x="246" y="7"/>
                    <a:pt x="246" y="7"/>
                  </a:cubicBezTo>
                  <a:cubicBezTo>
                    <a:pt x="246" y="8"/>
                    <a:pt x="245" y="8"/>
                    <a:pt x="245" y="8"/>
                  </a:cubicBezTo>
                  <a:cubicBezTo>
                    <a:pt x="245" y="8"/>
                    <a:pt x="245" y="8"/>
                    <a:pt x="245" y="8"/>
                  </a:cubicBezTo>
                  <a:cubicBezTo>
                    <a:pt x="245" y="8"/>
                    <a:pt x="245" y="8"/>
                    <a:pt x="244" y="7"/>
                  </a:cubicBezTo>
                  <a:cubicBezTo>
                    <a:pt x="244" y="7"/>
                    <a:pt x="243" y="7"/>
                    <a:pt x="243" y="7"/>
                  </a:cubicBezTo>
                  <a:cubicBezTo>
                    <a:pt x="242" y="6"/>
                    <a:pt x="242" y="6"/>
                    <a:pt x="241" y="6"/>
                  </a:cubicBezTo>
                  <a:cubicBezTo>
                    <a:pt x="240" y="6"/>
                    <a:pt x="239" y="6"/>
                    <a:pt x="239" y="6"/>
                  </a:cubicBezTo>
                  <a:cubicBezTo>
                    <a:pt x="238" y="6"/>
                    <a:pt x="237" y="6"/>
                    <a:pt x="236" y="6"/>
                  </a:cubicBezTo>
                  <a:cubicBezTo>
                    <a:pt x="236" y="6"/>
                    <a:pt x="235" y="7"/>
                    <a:pt x="235" y="7"/>
                  </a:cubicBezTo>
                  <a:cubicBezTo>
                    <a:pt x="234" y="7"/>
                    <a:pt x="234" y="8"/>
                    <a:pt x="234" y="8"/>
                  </a:cubicBezTo>
                  <a:cubicBezTo>
                    <a:pt x="234" y="9"/>
                    <a:pt x="234" y="9"/>
                    <a:pt x="234" y="10"/>
                  </a:cubicBezTo>
                  <a:cubicBezTo>
                    <a:pt x="234" y="11"/>
                    <a:pt x="234" y="11"/>
                    <a:pt x="234" y="12"/>
                  </a:cubicBezTo>
                  <a:cubicBezTo>
                    <a:pt x="235" y="13"/>
                    <a:pt x="235" y="13"/>
                    <a:pt x="236" y="14"/>
                  </a:cubicBezTo>
                  <a:cubicBezTo>
                    <a:pt x="236" y="14"/>
                    <a:pt x="237" y="15"/>
                    <a:pt x="238" y="15"/>
                  </a:cubicBezTo>
                  <a:cubicBezTo>
                    <a:pt x="239" y="15"/>
                    <a:pt x="240" y="16"/>
                    <a:pt x="241" y="16"/>
                  </a:cubicBezTo>
                  <a:cubicBezTo>
                    <a:pt x="241" y="17"/>
                    <a:pt x="242" y="17"/>
                    <a:pt x="243" y="17"/>
                  </a:cubicBezTo>
                  <a:cubicBezTo>
                    <a:pt x="244" y="18"/>
                    <a:pt x="245" y="18"/>
                    <a:pt x="245" y="19"/>
                  </a:cubicBezTo>
                  <a:cubicBezTo>
                    <a:pt x="246" y="20"/>
                    <a:pt x="246" y="21"/>
                    <a:pt x="247" y="21"/>
                  </a:cubicBezTo>
                  <a:cubicBezTo>
                    <a:pt x="247" y="22"/>
                    <a:pt x="247" y="23"/>
                    <a:pt x="247" y="25"/>
                  </a:cubicBezTo>
                  <a:close/>
                  <a:moveTo>
                    <a:pt x="264" y="31"/>
                  </a:moveTo>
                  <a:cubicBezTo>
                    <a:pt x="264" y="31"/>
                    <a:pt x="264" y="32"/>
                    <a:pt x="264" y="32"/>
                  </a:cubicBezTo>
                  <a:cubicBezTo>
                    <a:pt x="264" y="32"/>
                    <a:pt x="264" y="32"/>
                    <a:pt x="263" y="33"/>
                  </a:cubicBezTo>
                  <a:cubicBezTo>
                    <a:pt x="263" y="33"/>
                    <a:pt x="263" y="33"/>
                    <a:pt x="263" y="33"/>
                  </a:cubicBezTo>
                  <a:cubicBezTo>
                    <a:pt x="263" y="33"/>
                    <a:pt x="262" y="33"/>
                    <a:pt x="262" y="33"/>
                  </a:cubicBezTo>
                  <a:cubicBezTo>
                    <a:pt x="262" y="33"/>
                    <a:pt x="261" y="33"/>
                    <a:pt x="261" y="33"/>
                  </a:cubicBezTo>
                  <a:cubicBezTo>
                    <a:pt x="261" y="33"/>
                    <a:pt x="260" y="33"/>
                    <a:pt x="260" y="33"/>
                  </a:cubicBezTo>
                  <a:cubicBezTo>
                    <a:pt x="259" y="33"/>
                    <a:pt x="258" y="33"/>
                    <a:pt x="257" y="33"/>
                  </a:cubicBezTo>
                  <a:cubicBezTo>
                    <a:pt x="256" y="33"/>
                    <a:pt x="256" y="32"/>
                    <a:pt x="255" y="32"/>
                  </a:cubicBezTo>
                  <a:cubicBezTo>
                    <a:pt x="255" y="31"/>
                    <a:pt x="254" y="30"/>
                    <a:pt x="254" y="29"/>
                  </a:cubicBezTo>
                  <a:cubicBezTo>
                    <a:pt x="254" y="29"/>
                    <a:pt x="254" y="28"/>
                    <a:pt x="254" y="26"/>
                  </a:cubicBezTo>
                  <a:cubicBezTo>
                    <a:pt x="254" y="14"/>
                    <a:pt x="254" y="14"/>
                    <a:pt x="254" y="14"/>
                  </a:cubicBezTo>
                  <a:cubicBezTo>
                    <a:pt x="251" y="14"/>
                    <a:pt x="251" y="14"/>
                    <a:pt x="251" y="14"/>
                  </a:cubicBezTo>
                  <a:cubicBezTo>
                    <a:pt x="251" y="14"/>
                    <a:pt x="250" y="14"/>
                    <a:pt x="250" y="14"/>
                  </a:cubicBezTo>
                  <a:cubicBezTo>
                    <a:pt x="250" y="13"/>
                    <a:pt x="250" y="13"/>
                    <a:pt x="250" y="12"/>
                  </a:cubicBezTo>
                  <a:cubicBezTo>
                    <a:pt x="250" y="12"/>
                    <a:pt x="250" y="12"/>
                    <a:pt x="250" y="12"/>
                  </a:cubicBezTo>
                  <a:cubicBezTo>
                    <a:pt x="250" y="11"/>
                    <a:pt x="250" y="11"/>
                    <a:pt x="250" y="11"/>
                  </a:cubicBezTo>
                  <a:cubicBezTo>
                    <a:pt x="250" y="11"/>
                    <a:pt x="250" y="11"/>
                    <a:pt x="250" y="11"/>
                  </a:cubicBezTo>
                  <a:cubicBezTo>
                    <a:pt x="251" y="11"/>
                    <a:pt x="251" y="11"/>
                    <a:pt x="251" y="11"/>
                  </a:cubicBezTo>
                  <a:cubicBezTo>
                    <a:pt x="254" y="11"/>
                    <a:pt x="254" y="11"/>
                    <a:pt x="254" y="11"/>
                  </a:cubicBezTo>
                  <a:cubicBezTo>
                    <a:pt x="254" y="6"/>
                    <a:pt x="254" y="6"/>
                    <a:pt x="254" y="6"/>
                  </a:cubicBezTo>
                  <a:cubicBezTo>
                    <a:pt x="254" y="6"/>
                    <a:pt x="254" y="6"/>
                    <a:pt x="254" y="5"/>
                  </a:cubicBezTo>
                  <a:cubicBezTo>
                    <a:pt x="254" y="5"/>
                    <a:pt x="254" y="5"/>
                    <a:pt x="254" y="5"/>
                  </a:cubicBezTo>
                  <a:cubicBezTo>
                    <a:pt x="254" y="5"/>
                    <a:pt x="254" y="5"/>
                    <a:pt x="255" y="5"/>
                  </a:cubicBezTo>
                  <a:cubicBezTo>
                    <a:pt x="255" y="5"/>
                    <a:pt x="255" y="5"/>
                    <a:pt x="256" y="5"/>
                  </a:cubicBezTo>
                  <a:cubicBezTo>
                    <a:pt x="256" y="5"/>
                    <a:pt x="256" y="5"/>
                    <a:pt x="257" y="5"/>
                  </a:cubicBezTo>
                  <a:cubicBezTo>
                    <a:pt x="257" y="5"/>
                    <a:pt x="257" y="5"/>
                    <a:pt x="257" y="5"/>
                  </a:cubicBezTo>
                  <a:cubicBezTo>
                    <a:pt x="257" y="5"/>
                    <a:pt x="257" y="5"/>
                    <a:pt x="257" y="5"/>
                  </a:cubicBezTo>
                  <a:cubicBezTo>
                    <a:pt x="258" y="6"/>
                    <a:pt x="258" y="6"/>
                    <a:pt x="258" y="6"/>
                  </a:cubicBezTo>
                  <a:cubicBezTo>
                    <a:pt x="258" y="11"/>
                    <a:pt x="258" y="11"/>
                    <a:pt x="258" y="11"/>
                  </a:cubicBezTo>
                  <a:cubicBezTo>
                    <a:pt x="263" y="11"/>
                    <a:pt x="263" y="11"/>
                    <a:pt x="263" y="11"/>
                  </a:cubicBezTo>
                  <a:cubicBezTo>
                    <a:pt x="263" y="11"/>
                    <a:pt x="263" y="11"/>
                    <a:pt x="263" y="11"/>
                  </a:cubicBezTo>
                  <a:cubicBezTo>
                    <a:pt x="263" y="11"/>
                    <a:pt x="263" y="11"/>
                    <a:pt x="264" y="11"/>
                  </a:cubicBezTo>
                  <a:cubicBezTo>
                    <a:pt x="264" y="11"/>
                    <a:pt x="264" y="11"/>
                    <a:pt x="264" y="12"/>
                  </a:cubicBezTo>
                  <a:cubicBezTo>
                    <a:pt x="264" y="12"/>
                    <a:pt x="264" y="12"/>
                    <a:pt x="264" y="12"/>
                  </a:cubicBezTo>
                  <a:cubicBezTo>
                    <a:pt x="264" y="13"/>
                    <a:pt x="264" y="13"/>
                    <a:pt x="264" y="14"/>
                  </a:cubicBezTo>
                  <a:cubicBezTo>
                    <a:pt x="263" y="14"/>
                    <a:pt x="263" y="14"/>
                    <a:pt x="263" y="14"/>
                  </a:cubicBezTo>
                  <a:cubicBezTo>
                    <a:pt x="258" y="14"/>
                    <a:pt x="258" y="14"/>
                    <a:pt x="258" y="14"/>
                  </a:cubicBezTo>
                  <a:cubicBezTo>
                    <a:pt x="258" y="26"/>
                    <a:pt x="258" y="26"/>
                    <a:pt x="258" y="26"/>
                  </a:cubicBezTo>
                  <a:cubicBezTo>
                    <a:pt x="258" y="27"/>
                    <a:pt x="258" y="28"/>
                    <a:pt x="258" y="29"/>
                  </a:cubicBezTo>
                  <a:cubicBezTo>
                    <a:pt x="259" y="30"/>
                    <a:pt x="259" y="30"/>
                    <a:pt x="261" y="30"/>
                  </a:cubicBezTo>
                  <a:cubicBezTo>
                    <a:pt x="261" y="30"/>
                    <a:pt x="261" y="30"/>
                    <a:pt x="261" y="30"/>
                  </a:cubicBezTo>
                  <a:cubicBezTo>
                    <a:pt x="262" y="30"/>
                    <a:pt x="262" y="30"/>
                    <a:pt x="262" y="30"/>
                  </a:cubicBezTo>
                  <a:cubicBezTo>
                    <a:pt x="262" y="30"/>
                    <a:pt x="263" y="30"/>
                    <a:pt x="263" y="30"/>
                  </a:cubicBezTo>
                  <a:cubicBezTo>
                    <a:pt x="263" y="30"/>
                    <a:pt x="263" y="30"/>
                    <a:pt x="263" y="30"/>
                  </a:cubicBezTo>
                  <a:cubicBezTo>
                    <a:pt x="263" y="30"/>
                    <a:pt x="263" y="30"/>
                    <a:pt x="263" y="30"/>
                  </a:cubicBezTo>
                  <a:cubicBezTo>
                    <a:pt x="264" y="30"/>
                    <a:pt x="264" y="30"/>
                    <a:pt x="264" y="30"/>
                  </a:cubicBezTo>
                  <a:cubicBezTo>
                    <a:pt x="264" y="30"/>
                    <a:pt x="264" y="30"/>
                    <a:pt x="264" y="30"/>
                  </a:cubicBezTo>
                  <a:cubicBezTo>
                    <a:pt x="264" y="30"/>
                    <a:pt x="264" y="31"/>
                    <a:pt x="264" y="31"/>
                  </a:cubicBezTo>
                  <a:close/>
                  <a:moveTo>
                    <a:pt x="281" y="13"/>
                  </a:moveTo>
                  <a:cubicBezTo>
                    <a:pt x="281" y="13"/>
                    <a:pt x="281" y="13"/>
                    <a:pt x="281" y="14"/>
                  </a:cubicBezTo>
                  <a:cubicBezTo>
                    <a:pt x="281" y="14"/>
                    <a:pt x="281" y="14"/>
                    <a:pt x="281" y="14"/>
                  </a:cubicBezTo>
                  <a:cubicBezTo>
                    <a:pt x="281" y="14"/>
                    <a:pt x="281" y="14"/>
                    <a:pt x="281" y="14"/>
                  </a:cubicBezTo>
                  <a:cubicBezTo>
                    <a:pt x="281" y="15"/>
                    <a:pt x="281" y="15"/>
                    <a:pt x="281" y="15"/>
                  </a:cubicBezTo>
                  <a:cubicBezTo>
                    <a:pt x="281" y="15"/>
                    <a:pt x="280" y="15"/>
                    <a:pt x="280" y="14"/>
                  </a:cubicBezTo>
                  <a:cubicBezTo>
                    <a:pt x="280" y="14"/>
                    <a:pt x="280" y="14"/>
                    <a:pt x="280" y="14"/>
                  </a:cubicBezTo>
                  <a:cubicBezTo>
                    <a:pt x="279" y="14"/>
                    <a:pt x="279" y="14"/>
                    <a:pt x="279" y="14"/>
                  </a:cubicBezTo>
                  <a:cubicBezTo>
                    <a:pt x="279" y="14"/>
                    <a:pt x="278" y="14"/>
                    <a:pt x="278" y="14"/>
                  </a:cubicBezTo>
                  <a:cubicBezTo>
                    <a:pt x="278" y="14"/>
                    <a:pt x="277" y="14"/>
                    <a:pt x="277" y="14"/>
                  </a:cubicBezTo>
                  <a:cubicBezTo>
                    <a:pt x="276" y="14"/>
                    <a:pt x="276" y="15"/>
                    <a:pt x="276" y="15"/>
                  </a:cubicBezTo>
                  <a:cubicBezTo>
                    <a:pt x="275" y="15"/>
                    <a:pt x="275" y="16"/>
                    <a:pt x="274" y="16"/>
                  </a:cubicBezTo>
                  <a:cubicBezTo>
                    <a:pt x="274" y="17"/>
                    <a:pt x="273" y="18"/>
                    <a:pt x="273" y="19"/>
                  </a:cubicBezTo>
                  <a:cubicBezTo>
                    <a:pt x="273" y="32"/>
                    <a:pt x="273" y="32"/>
                    <a:pt x="273" y="32"/>
                  </a:cubicBezTo>
                  <a:cubicBezTo>
                    <a:pt x="273" y="33"/>
                    <a:pt x="273" y="33"/>
                    <a:pt x="273" y="33"/>
                  </a:cubicBezTo>
                  <a:cubicBezTo>
                    <a:pt x="273" y="33"/>
                    <a:pt x="273" y="33"/>
                    <a:pt x="272" y="33"/>
                  </a:cubicBezTo>
                  <a:cubicBezTo>
                    <a:pt x="272" y="33"/>
                    <a:pt x="272" y="33"/>
                    <a:pt x="272" y="33"/>
                  </a:cubicBezTo>
                  <a:cubicBezTo>
                    <a:pt x="272" y="33"/>
                    <a:pt x="271" y="33"/>
                    <a:pt x="271" y="33"/>
                  </a:cubicBezTo>
                  <a:cubicBezTo>
                    <a:pt x="270" y="33"/>
                    <a:pt x="270" y="33"/>
                    <a:pt x="270" y="33"/>
                  </a:cubicBezTo>
                  <a:cubicBezTo>
                    <a:pt x="270" y="33"/>
                    <a:pt x="269" y="33"/>
                    <a:pt x="269" y="33"/>
                  </a:cubicBezTo>
                  <a:cubicBezTo>
                    <a:pt x="269" y="33"/>
                    <a:pt x="269" y="33"/>
                    <a:pt x="269" y="33"/>
                  </a:cubicBezTo>
                  <a:cubicBezTo>
                    <a:pt x="269" y="33"/>
                    <a:pt x="269" y="33"/>
                    <a:pt x="269" y="32"/>
                  </a:cubicBezTo>
                  <a:cubicBezTo>
                    <a:pt x="269" y="11"/>
                    <a:pt x="269" y="11"/>
                    <a:pt x="269" y="11"/>
                  </a:cubicBezTo>
                  <a:cubicBezTo>
                    <a:pt x="269" y="11"/>
                    <a:pt x="269" y="11"/>
                    <a:pt x="269" y="11"/>
                  </a:cubicBezTo>
                  <a:cubicBezTo>
                    <a:pt x="269" y="11"/>
                    <a:pt x="269" y="11"/>
                    <a:pt x="269" y="11"/>
                  </a:cubicBezTo>
                  <a:cubicBezTo>
                    <a:pt x="269" y="11"/>
                    <a:pt x="270" y="11"/>
                    <a:pt x="270" y="11"/>
                  </a:cubicBezTo>
                  <a:cubicBezTo>
                    <a:pt x="270" y="11"/>
                    <a:pt x="270" y="11"/>
                    <a:pt x="271" y="11"/>
                  </a:cubicBezTo>
                  <a:cubicBezTo>
                    <a:pt x="271" y="11"/>
                    <a:pt x="271" y="11"/>
                    <a:pt x="272" y="11"/>
                  </a:cubicBezTo>
                  <a:cubicBezTo>
                    <a:pt x="272" y="11"/>
                    <a:pt x="272" y="11"/>
                    <a:pt x="272" y="11"/>
                  </a:cubicBezTo>
                  <a:cubicBezTo>
                    <a:pt x="272" y="11"/>
                    <a:pt x="272" y="11"/>
                    <a:pt x="272" y="11"/>
                  </a:cubicBezTo>
                  <a:cubicBezTo>
                    <a:pt x="272" y="11"/>
                    <a:pt x="272" y="11"/>
                    <a:pt x="272" y="11"/>
                  </a:cubicBezTo>
                  <a:cubicBezTo>
                    <a:pt x="272" y="14"/>
                    <a:pt x="272" y="14"/>
                    <a:pt x="272" y="14"/>
                  </a:cubicBezTo>
                  <a:cubicBezTo>
                    <a:pt x="273" y="14"/>
                    <a:pt x="274" y="13"/>
                    <a:pt x="274" y="12"/>
                  </a:cubicBezTo>
                  <a:cubicBezTo>
                    <a:pt x="275" y="12"/>
                    <a:pt x="275" y="11"/>
                    <a:pt x="275" y="11"/>
                  </a:cubicBezTo>
                  <a:cubicBezTo>
                    <a:pt x="276" y="11"/>
                    <a:pt x="276" y="11"/>
                    <a:pt x="277" y="11"/>
                  </a:cubicBezTo>
                  <a:cubicBezTo>
                    <a:pt x="277" y="10"/>
                    <a:pt x="278" y="10"/>
                    <a:pt x="278" y="10"/>
                  </a:cubicBezTo>
                  <a:cubicBezTo>
                    <a:pt x="278" y="10"/>
                    <a:pt x="279" y="10"/>
                    <a:pt x="279" y="10"/>
                  </a:cubicBezTo>
                  <a:cubicBezTo>
                    <a:pt x="279" y="10"/>
                    <a:pt x="279" y="10"/>
                    <a:pt x="280" y="10"/>
                  </a:cubicBezTo>
                  <a:cubicBezTo>
                    <a:pt x="280" y="11"/>
                    <a:pt x="280" y="11"/>
                    <a:pt x="280" y="11"/>
                  </a:cubicBezTo>
                  <a:cubicBezTo>
                    <a:pt x="281" y="11"/>
                    <a:pt x="281" y="11"/>
                    <a:pt x="281" y="11"/>
                  </a:cubicBezTo>
                  <a:cubicBezTo>
                    <a:pt x="281" y="11"/>
                    <a:pt x="281" y="11"/>
                    <a:pt x="281" y="11"/>
                  </a:cubicBezTo>
                  <a:cubicBezTo>
                    <a:pt x="281" y="11"/>
                    <a:pt x="281" y="11"/>
                    <a:pt x="281" y="11"/>
                  </a:cubicBezTo>
                  <a:cubicBezTo>
                    <a:pt x="281" y="12"/>
                    <a:pt x="281" y="12"/>
                    <a:pt x="281" y="12"/>
                  </a:cubicBezTo>
                  <a:cubicBezTo>
                    <a:pt x="281" y="12"/>
                    <a:pt x="281" y="12"/>
                    <a:pt x="281" y="13"/>
                  </a:cubicBezTo>
                  <a:close/>
                  <a:moveTo>
                    <a:pt x="302" y="33"/>
                  </a:moveTo>
                  <a:cubicBezTo>
                    <a:pt x="302" y="33"/>
                    <a:pt x="302" y="33"/>
                    <a:pt x="301" y="33"/>
                  </a:cubicBezTo>
                  <a:cubicBezTo>
                    <a:pt x="301" y="33"/>
                    <a:pt x="301" y="33"/>
                    <a:pt x="301" y="33"/>
                  </a:cubicBezTo>
                  <a:cubicBezTo>
                    <a:pt x="301" y="33"/>
                    <a:pt x="300" y="33"/>
                    <a:pt x="300" y="33"/>
                  </a:cubicBezTo>
                  <a:cubicBezTo>
                    <a:pt x="300" y="33"/>
                    <a:pt x="299" y="33"/>
                    <a:pt x="299" y="33"/>
                  </a:cubicBezTo>
                  <a:cubicBezTo>
                    <a:pt x="299" y="33"/>
                    <a:pt x="299" y="33"/>
                    <a:pt x="298" y="33"/>
                  </a:cubicBezTo>
                  <a:cubicBezTo>
                    <a:pt x="298" y="33"/>
                    <a:pt x="298" y="33"/>
                    <a:pt x="298" y="33"/>
                  </a:cubicBezTo>
                  <a:cubicBezTo>
                    <a:pt x="298" y="30"/>
                    <a:pt x="298" y="30"/>
                    <a:pt x="298" y="30"/>
                  </a:cubicBezTo>
                  <a:cubicBezTo>
                    <a:pt x="297" y="31"/>
                    <a:pt x="296" y="32"/>
                    <a:pt x="295" y="33"/>
                  </a:cubicBezTo>
                  <a:cubicBezTo>
                    <a:pt x="294" y="33"/>
                    <a:pt x="293" y="34"/>
                    <a:pt x="292" y="34"/>
                  </a:cubicBezTo>
                  <a:cubicBezTo>
                    <a:pt x="290" y="34"/>
                    <a:pt x="289" y="33"/>
                    <a:pt x="289" y="33"/>
                  </a:cubicBezTo>
                  <a:cubicBezTo>
                    <a:pt x="288" y="33"/>
                    <a:pt x="287" y="32"/>
                    <a:pt x="286" y="32"/>
                  </a:cubicBezTo>
                  <a:cubicBezTo>
                    <a:pt x="286" y="31"/>
                    <a:pt x="285" y="31"/>
                    <a:pt x="285" y="30"/>
                  </a:cubicBezTo>
                  <a:cubicBezTo>
                    <a:pt x="284" y="29"/>
                    <a:pt x="284" y="28"/>
                    <a:pt x="284" y="27"/>
                  </a:cubicBezTo>
                  <a:cubicBezTo>
                    <a:pt x="284" y="26"/>
                    <a:pt x="285" y="25"/>
                    <a:pt x="285" y="24"/>
                  </a:cubicBezTo>
                  <a:cubicBezTo>
                    <a:pt x="285" y="23"/>
                    <a:pt x="286" y="22"/>
                    <a:pt x="287" y="22"/>
                  </a:cubicBezTo>
                  <a:cubicBezTo>
                    <a:pt x="288" y="21"/>
                    <a:pt x="289" y="21"/>
                    <a:pt x="290" y="21"/>
                  </a:cubicBezTo>
                  <a:cubicBezTo>
                    <a:pt x="292" y="20"/>
                    <a:pt x="293" y="20"/>
                    <a:pt x="295" y="20"/>
                  </a:cubicBezTo>
                  <a:cubicBezTo>
                    <a:pt x="298" y="20"/>
                    <a:pt x="298" y="20"/>
                    <a:pt x="298" y="20"/>
                  </a:cubicBezTo>
                  <a:cubicBezTo>
                    <a:pt x="298" y="18"/>
                    <a:pt x="298" y="18"/>
                    <a:pt x="298" y="18"/>
                  </a:cubicBezTo>
                  <a:cubicBezTo>
                    <a:pt x="298" y="18"/>
                    <a:pt x="298" y="17"/>
                    <a:pt x="297" y="16"/>
                  </a:cubicBezTo>
                  <a:cubicBezTo>
                    <a:pt x="297" y="16"/>
                    <a:pt x="297" y="15"/>
                    <a:pt x="297" y="15"/>
                  </a:cubicBezTo>
                  <a:cubicBezTo>
                    <a:pt x="296" y="14"/>
                    <a:pt x="296" y="14"/>
                    <a:pt x="295" y="14"/>
                  </a:cubicBezTo>
                  <a:cubicBezTo>
                    <a:pt x="295" y="14"/>
                    <a:pt x="294" y="13"/>
                    <a:pt x="293" y="13"/>
                  </a:cubicBezTo>
                  <a:cubicBezTo>
                    <a:pt x="292" y="13"/>
                    <a:pt x="291" y="14"/>
                    <a:pt x="290" y="14"/>
                  </a:cubicBezTo>
                  <a:cubicBezTo>
                    <a:pt x="290" y="14"/>
                    <a:pt x="289" y="14"/>
                    <a:pt x="288" y="15"/>
                  </a:cubicBezTo>
                  <a:cubicBezTo>
                    <a:pt x="288" y="15"/>
                    <a:pt x="287" y="15"/>
                    <a:pt x="287" y="15"/>
                  </a:cubicBezTo>
                  <a:cubicBezTo>
                    <a:pt x="287" y="16"/>
                    <a:pt x="286" y="16"/>
                    <a:pt x="286" y="16"/>
                  </a:cubicBezTo>
                  <a:cubicBezTo>
                    <a:pt x="286" y="16"/>
                    <a:pt x="286" y="16"/>
                    <a:pt x="286" y="16"/>
                  </a:cubicBezTo>
                  <a:cubicBezTo>
                    <a:pt x="286" y="15"/>
                    <a:pt x="286" y="15"/>
                    <a:pt x="285" y="15"/>
                  </a:cubicBezTo>
                  <a:cubicBezTo>
                    <a:pt x="285" y="15"/>
                    <a:pt x="285" y="15"/>
                    <a:pt x="285" y="15"/>
                  </a:cubicBezTo>
                  <a:cubicBezTo>
                    <a:pt x="285" y="15"/>
                    <a:pt x="285" y="14"/>
                    <a:pt x="285" y="14"/>
                  </a:cubicBezTo>
                  <a:cubicBezTo>
                    <a:pt x="285" y="14"/>
                    <a:pt x="285" y="13"/>
                    <a:pt x="285" y="13"/>
                  </a:cubicBezTo>
                  <a:cubicBezTo>
                    <a:pt x="285" y="13"/>
                    <a:pt x="286" y="13"/>
                    <a:pt x="286" y="13"/>
                  </a:cubicBezTo>
                  <a:cubicBezTo>
                    <a:pt x="286" y="12"/>
                    <a:pt x="286" y="12"/>
                    <a:pt x="287" y="12"/>
                  </a:cubicBezTo>
                  <a:cubicBezTo>
                    <a:pt x="287" y="12"/>
                    <a:pt x="288" y="11"/>
                    <a:pt x="289" y="11"/>
                  </a:cubicBezTo>
                  <a:cubicBezTo>
                    <a:pt x="289" y="11"/>
                    <a:pt x="290" y="11"/>
                    <a:pt x="291" y="11"/>
                  </a:cubicBezTo>
                  <a:cubicBezTo>
                    <a:pt x="292" y="10"/>
                    <a:pt x="292" y="10"/>
                    <a:pt x="293" y="10"/>
                  </a:cubicBezTo>
                  <a:cubicBezTo>
                    <a:pt x="295" y="10"/>
                    <a:pt x="296" y="11"/>
                    <a:pt x="297" y="11"/>
                  </a:cubicBezTo>
                  <a:cubicBezTo>
                    <a:pt x="298" y="11"/>
                    <a:pt x="299" y="12"/>
                    <a:pt x="300" y="12"/>
                  </a:cubicBezTo>
                  <a:cubicBezTo>
                    <a:pt x="300" y="13"/>
                    <a:pt x="301" y="14"/>
                    <a:pt x="301" y="15"/>
                  </a:cubicBezTo>
                  <a:cubicBezTo>
                    <a:pt x="301" y="16"/>
                    <a:pt x="302" y="17"/>
                    <a:pt x="302" y="18"/>
                  </a:cubicBezTo>
                  <a:lnTo>
                    <a:pt x="302" y="33"/>
                  </a:lnTo>
                  <a:close/>
                  <a:moveTo>
                    <a:pt x="298" y="23"/>
                  </a:moveTo>
                  <a:cubicBezTo>
                    <a:pt x="294" y="23"/>
                    <a:pt x="294" y="23"/>
                    <a:pt x="294" y="23"/>
                  </a:cubicBezTo>
                  <a:cubicBezTo>
                    <a:pt x="293" y="23"/>
                    <a:pt x="292" y="23"/>
                    <a:pt x="292" y="23"/>
                  </a:cubicBezTo>
                  <a:cubicBezTo>
                    <a:pt x="291" y="23"/>
                    <a:pt x="290" y="24"/>
                    <a:pt x="290" y="24"/>
                  </a:cubicBezTo>
                  <a:cubicBezTo>
                    <a:pt x="289" y="24"/>
                    <a:pt x="289" y="25"/>
                    <a:pt x="289" y="25"/>
                  </a:cubicBezTo>
                  <a:cubicBezTo>
                    <a:pt x="288" y="26"/>
                    <a:pt x="288" y="26"/>
                    <a:pt x="288" y="27"/>
                  </a:cubicBezTo>
                  <a:cubicBezTo>
                    <a:pt x="288" y="28"/>
                    <a:pt x="289" y="29"/>
                    <a:pt x="289" y="30"/>
                  </a:cubicBezTo>
                  <a:cubicBezTo>
                    <a:pt x="290" y="30"/>
                    <a:pt x="291" y="30"/>
                    <a:pt x="292" y="30"/>
                  </a:cubicBezTo>
                  <a:cubicBezTo>
                    <a:pt x="293" y="30"/>
                    <a:pt x="294" y="30"/>
                    <a:pt x="295" y="30"/>
                  </a:cubicBezTo>
                  <a:cubicBezTo>
                    <a:pt x="296" y="29"/>
                    <a:pt x="297" y="28"/>
                    <a:pt x="298" y="27"/>
                  </a:cubicBezTo>
                  <a:lnTo>
                    <a:pt x="298" y="23"/>
                  </a:lnTo>
                  <a:close/>
                  <a:moveTo>
                    <a:pt x="320" y="31"/>
                  </a:moveTo>
                  <a:cubicBezTo>
                    <a:pt x="320" y="31"/>
                    <a:pt x="320" y="32"/>
                    <a:pt x="320" y="32"/>
                  </a:cubicBezTo>
                  <a:cubicBezTo>
                    <a:pt x="320" y="32"/>
                    <a:pt x="319" y="32"/>
                    <a:pt x="319" y="33"/>
                  </a:cubicBezTo>
                  <a:cubicBezTo>
                    <a:pt x="319" y="33"/>
                    <a:pt x="319" y="33"/>
                    <a:pt x="319" y="33"/>
                  </a:cubicBezTo>
                  <a:cubicBezTo>
                    <a:pt x="319" y="33"/>
                    <a:pt x="318" y="33"/>
                    <a:pt x="318" y="33"/>
                  </a:cubicBezTo>
                  <a:cubicBezTo>
                    <a:pt x="318" y="33"/>
                    <a:pt x="317" y="33"/>
                    <a:pt x="317" y="33"/>
                  </a:cubicBezTo>
                  <a:cubicBezTo>
                    <a:pt x="317" y="33"/>
                    <a:pt x="316" y="33"/>
                    <a:pt x="316" y="33"/>
                  </a:cubicBezTo>
                  <a:cubicBezTo>
                    <a:pt x="315" y="33"/>
                    <a:pt x="314" y="33"/>
                    <a:pt x="313" y="33"/>
                  </a:cubicBezTo>
                  <a:cubicBezTo>
                    <a:pt x="312" y="33"/>
                    <a:pt x="312" y="32"/>
                    <a:pt x="311" y="32"/>
                  </a:cubicBezTo>
                  <a:cubicBezTo>
                    <a:pt x="311" y="31"/>
                    <a:pt x="310" y="30"/>
                    <a:pt x="310" y="29"/>
                  </a:cubicBezTo>
                  <a:cubicBezTo>
                    <a:pt x="310" y="29"/>
                    <a:pt x="310" y="28"/>
                    <a:pt x="310" y="26"/>
                  </a:cubicBezTo>
                  <a:cubicBezTo>
                    <a:pt x="310" y="14"/>
                    <a:pt x="310" y="14"/>
                    <a:pt x="310" y="14"/>
                  </a:cubicBezTo>
                  <a:cubicBezTo>
                    <a:pt x="307" y="14"/>
                    <a:pt x="307" y="14"/>
                    <a:pt x="307" y="14"/>
                  </a:cubicBezTo>
                  <a:cubicBezTo>
                    <a:pt x="306" y="14"/>
                    <a:pt x="306" y="14"/>
                    <a:pt x="306" y="14"/>
                  </a:cubicBezTo>
                  <a:cubicBezTo>
                    <a:pt x="306" y="13"/>
                    <a:pt x="306" y="13"/>
                    <a:pt x="306" y="12"/>
                  </a:cubicBezTo>
                  <a:cubicBezTo>
                    <a:pt x="306" y="12"/>
                    <a:pt x="306" y="12"/>
                    <a:pt x="306" y="12"/>
                  </a:cubicBezTo>
                  <a:cubicBezTo>
                    <a:pt x="306" y="11"/>
                    <a:pt x="306" y="11"/>
                    <a:pt x="306" y="11"/>
                  </a:cubicBezTo>
                  <a:cubicBezTo>
                    <a:pt x="306" y="11"/>
                    <a:pt x="306" y="11"/>
                    <a:pt x="306" y="11"/>
                  </a:cubicBezTo>
                  <a:cubicBezTo>
                    <a:pt x="306" y="11"/>
                    <a:pt x="307" y="11"/>
                    <a:pt x="307" y="11"/>
                  </a:cubicBezTo>
                  <a:cubicBezTo>
                    <a:pt x="310" y="11"/>
                    <a:pt x="310" y="11"/>
                    <a:pt x="310" y="11"/>
                  </a:cubicBezTo>
                  <a:cubicBezTo>
                    <a:pt x="310" y="6"/>
                    <a:pt x="310" y="6"/>
                    <a:pt x="310" y="6"/>
                  </a:cubicBezTo>
                  <a:cubicBezTo>
                    <a:pt x="310" y="6"/>
                    <a:pt x="310" y="6"/>
                    <a:pt x="310" y="5"/>
                  </a:cubicBezTo>
                  <a:cubicBezTo>
                    <a:pt x="310" y="5"/>
                    <a:pt x="310" y="5"/>
                    <a:pt x="310" y="5"/>
                  </a:cubicBezTo>
                  <a:cubicBezTo>
                    <a:pt x="310" y="5"/>
                    <a:pt x="310" y="5"/>
                    <a:pt x="311" y="5"/>
                  </a:cubicBezTo>
                  <a:cubicBezTo>
                    <a:pt x="311" y="5"/>
                    <a:pt x="311" y="5"/>
                    <a:pt x="312" y="5"/>
                  </a:cubicBezTo>
                  <a:cubicBezTo>
                    <a:pt x="312" y="5"/>
                    <a:pt x="312" y="5"/>
                    <a:pt x="313" y="5"/>
                  </a:cubicBezTo>
                  <a:cubicBezTo>
                    <a:pt x="313" y="5"/>
                    <a:pt x="313" y="5"/>
                    <a:pt x="313" y="5"/>
                  </a:cubicBezTo>
                  <a:cubicBezTo>
                    <a:pt x="313" y="5"/>
                    <a:pt x="313" y="5"/>
                    <a:pt x="313" y="5"/>
                  </a:cubicBezTo>
                  <a:cubicBezTo>
                    <a:pt x="313" y="6"/>
                    <a:pt x="314" y="6"/>
                    <a:pt x="314" y="6"/>
                  </a:cubicBezTo>
                  <a:cubicBezTo>
                    <a:pt x="314" y="11"/>
                    <a:pt x="314" y="11"/>
                    <a:pt x="314" y="11"/>
                  </a:cubicBezTo>
                  <a:cubicBezTo>
                    <a:pt x="319" y="11"/>
                    <a:pt x="319" y="11"/>
                    <a:pt x="319" y="11"/>
                  </a:cubicBezTo>
                  <a:cubicBezTo>
                    <a:pt x="319" y="11"/>
                    <a:pt x="319" y="11"/>
                    <a:pt x="319" y="11"/>
                  </a:cubicBezTo>
                  <a:cubicBezTo>
                    <a:pt x="319" y="11"/>
                    <a:pt x="319" y="11"/>
                    <a:pt x="320" y="11"/>
                  </a:cubicBezTo>
                  <a:cubicBezTo>
                    <a:pt x="320" y="11"/>
                    <a:pt x="320" y="11"/>
                    <a:pt x="320" y="12"/>
                  </a:cubicBezTo>
                  <a:cubicBezTo>
                    <a:pt x="320" y="12"/>
                    <a:pt x="320" y="12"/>
                    <a:pt x="320" y="12"/>
                  </a:cubicBezTo>
                  <a:cubicBezTo>
                    <a:pt x="320" y="13"/>
                    <a:pt x="320" y="13"/>
                    <a:pt x="319" y="14"/>
                  </a:cubicBezTo>
                  <a:cubicBezTo>
                    <a:pt x="319" y="14"/>
                    <a:pt x="319" y="14"/>
                    <a:pt x="319" y="14"/>
                  </a:cubicBezTo>
                  <a:cubicBezTo>
                    <a:pt x="314" y="14"/>
                    <a:pt x="314" y="14"/>
                    <a:pt x="314" y="14"/>
                  </a:cubicBezTo>
                  <a:cubicBezTo>
                    <a:pt x="314" y="26"/>
                    <a:pt x="314" y="26"/>
                    <a:pt x="314" y="26"/>
                  </a:cubicBezTo>
                  <a:cubicBezTo>
                    <a:pt x="314" y="27"/>
                    <a:pt x="314" y="28"/>
                    <a:pt x="314" y="29"/>
                  </a:cubicBezTo>
                  <a:cubicBezTo>
                    <a:pt x="315" y="30"/>
                    <a:pt x="315" y="30"/>
                    <a:pt x="316" y="30"/>
                  </a:cubicBezTo>
                  <a:cubicBezTo>
                    <a:pt x="317" y="30"/>
                    <a:pt x="317" y="30"/>
                    <a:pt x="317" y="30"/>
                  </a:cubicBezTo>
                  <a:cubicBezTo>
                    <a:pt x="318" y="30"/>
                    <a:pt x="318" y="30"/>
                    <a:pt x="318" y="30"/>
                  </a:cubicBezTo>
                  <a:cubicBezTo>
                    <a:pt x="318" y="30"/>
                    <a:pt x="319" y="30"/>
                    <a:pt x="319" y="30"/>
                  </a:cubicBezTo>
                  <a:cubicBezTo>
                    <a:pt x="319" y="30"/>
                    <a:pt x="319" y="30"/>
                    <a:pt x="319" y="30"/>
                  </a:cubicBezTo>
                  <a:cubicBezTo>
                    <a:pt x="319" y="30"/>
                    <a:pt x="319" y="30"/>
                    <a:pt x="319" y="30"/>
                  </a:cubicBezTo>
                  <a:cubicBezTo>
                    <a:pt x="319" y="30"/>
                    <a:pt x="320" y="30"/>
                    <a:pt x="320" y="30"/>
                  </a:cubicBezTo>
                  <a:cubicBezTo>
                    <a:pt x="320" y="30"/>
                    <a:pt x="320" y="30"/>
                    <a:pt x="320" y="30"/>
                  </a:cubicBezTo>
                  <a:cubicBezTo>
                    <a:pt x="320" y="30"/>
                    <a:pt x="320" y="31"/>
                    <a:pt x="320" y="31"/>
                  </a:cubicBezTo>
                  <a:close/>
                  <a:moveTo>
                    <a:pt x="343" y="21"/>
                  </a:moveTo>
                  <a:cubicBezTo>
                    <a:pt x="343" y="22"/>
                    <a:pt x="343" y="22"/>
                    <a:pt x="342" y="22"/>
                  </a:cubicBezTo>
                  <a:cubicBezTo>
                    <a:pt x="342" y="23"/>
                    <a:pt x="342" y="23"/>
                    <a:pt x="341" y="23"/>
                  </a:cubicBezTo>
                  <a:cubicBezTo>
                    <a:pt x="327" y="23"/>
                    <a:pt x="327" y="23"/>
                    <a:pt x="327" y="23"/>
                  </a:cubicBezTo>
                  <a:cubicBezTo>
                    <a:pt x="327" y="24"/>
                    <a:pt x="328" y="25"/>
                    <a:pt x="328" y="26"/>
                  </a:cubicBezTo>
                  <a:cubicBezTo>
                    <a:pt x="328" y="27"/>
                    <a:pt x="328" y="28"/>
                    <a:pt x="329" y="28"/>
                  </a:cubicBezTo>
                  <a:cubicBezTo>
                    <a:pt x="330" y="29"/>
                    <a:pt x="330" y="29"/>
                    <a:pt x="331" y="30"/>
                  </a:cubicBezTo>
                  <a:cubicBezTo>
                    <a:pt x="332" y="30"/>
                    <a:pt x="333" y="30"/>
                    <a:pt x="334" y="30"/>
                  </a:cubicBezTo>
                  <a:cubicBezTo>
                    <a:pt x="335" y="30"/>
                    <a:pt x="336" y="30"/>
                    <a:pt x="337" y="30"/>
                  </a:cubicBezTo>
                  <a:cubicBezTo>
                    <a:pt x="338" y="30"/>
                    <a:pt x="339" y="30"/>
                    <a:pt x="339" y="30"/>
                  </a:cubicBezTo>
                  <a:cubicBezTo>
                    <a:pt x="340" y="29"/>
                    <a:pt x="340" y="29"/>
                    <a:pt x="340" y="29"/>
                  </a:cubicBezTo>
                  <a:cubicBezTo>
                    <a:pt x="341" y="29"/>
                    <a:pt x="341" y="29"/>
                    <a:pt x="341" y="29"/>
                  </a:cubicBezTo>
                  <a:cubicBezTo>
                    <a:pt x="341" y="29"/>
                    <a:pt x="342" y="29"/>
                    <a:pt x="342" y="29"/>
                  </a:cubicBezTo>
                  <a:cubicBezTo>
                    <a:pt x="342" y="29"/>
                    <a:pt x="342" y="29"/>
                    <a:pt x="342" y="29"/>
                  </a:cubicBezTo>
                  <a:cubicBezTo>
                    <a:pt x="342" y="29"/>
                    <a:pt x="342" y="29"/>
                    <a:pt x="342" y="30"/>
                  </a:cubicBezTo>
                  <a:cubicBezTo>
                    <a:pt x="342" y="30"/>
                    <a:pt x="342" y="30"/>
                    <a:pt x="342" y="30"/>
                  </a:cubicBezTo>
                  <a:cubicBezTo>
                    <a:pt x="342" y="30"/>
                    <a:pt x="342" y="31"/>
                    <a:pt x="342" y="31"/>
                  </a:cubicBezTo>
                  <a:cubicBezTo>
                    <a:pt x="342" y="31"/>
                    <a:pt x="342" y="31"/>
                    <a:pt x="342" y="31"/>
                  </a:cubicBezTo>
                  <a:cubicBezTo>
                    <a:pt x="342" y="31"/>
                    <a:pt x="342" y="31"/>
                    <a:pt x="342" y="32"/>
                  </a:cubicBezTo>
                  <a:cubicBezTo>
                    <a:pt x="342" y="32"/>
                    <a:pt x="342" y="32"/>
                    <a:pt x="342" y="32"/>
                  </a:cubicBezTo>
                  <a:cubicBezTo>
                    <a:pt x="341" y="32"/>
                    <a:pt x="341" y="32"/>
                    <a:pt x="341" y="32"/>
                  </a:cubicBezTo>
                  <a:cubicBezTo>
                    <a:pt x="340" y="32"/>
                    <a:pt x="340" y="33"/>
                    <a:pt x="339" y="33"/>
                  </a:cubicBezTo>
                  <a:cubicBezTo>
                    <a:pt x="338" y="33"/>
                    <a:pt x="338" y="33"/>
                    <a:pt x="337" y="33"/>
                  </a:cubicBezTo>
                  <a:cubicBezTo>
                    <a:pt x="336" y="33"/>
                    <a:pt x="335" y="34"/>
                    <a:pt x="334" y="34"/>
                  </a:cubicBezTo>
                  <a:cubicBezTo>
                    <a:pt x="332" y="34"/>
                    <a:pt x="331" y="33"/>
                    <a:pt x="329" y="33"/>
                  </a:cubicBezTo>
                  <a:cubicBezTo>
                    <a:pt x="328" y="32"/>
                    <a:pt x="327" y="32"/>
                    <a:pt x="326" y="31"/>
                  </a:cubicBezTo>
                  <a:cubicBezTo>
                    <a:pt x="325" y="30"/>
                    <a:pt x="325" y="28"/>
                    <a:pt x="324" y="27"/>
                  </a:cubicBezTo>
                  <a:cubicBezTo>
                    <a:pt x="324" y="26"/>
                    <a:pt x="323" y="24"/>
                    <a:pt x="323" y="22"/>
                  </a:cubicBezTo>
                  <a:cubicBezTo>
                    <a:pt x="323" y="20"/>
                    <a:pt x="324" y="19"/>
                    <a:pt x="324" y="17"/>
                  </a:cubicBezTo>
                  <a:cubicBezTo>
                    <a:pt x="325" y="16"/>
                    <a:pt x="325" y="14"/>
                    <a:pt x="326" y="13"/>
                  </a:cubicBezTo>
                  <a:cubicBezTo>
                    <a:pt x="327" y="12"/>
                    <a:pt x="328" y="12"/>
                    <a:pt x="329" y="11"/>
                  </a:cubicBezTo>
                  <a:cubicBezTo>
                    <a:pt x="331" y="11"/>
                    <a:pt x="332" y="10"/>
                    <a:pt x="334" y="10"/>
                  </a:cubicBezTo>
                  <a:cubicBezTo>
                    <a:pt x="335" y="10"/>
                    <a:pt x="337" y="11"/>
                    <a:pt x="338" y="11"/>
                  </a:cubicBezTo>
                  <a:cubicBezTo>
                    <a:pt x="339" y="12"/>
                    <a:pt x="340" y="12"/>
                    <a:pt x="341" y="13"/>
                  </a:cubicBezTo>
                  <a:cubicBezTo>
                    <a:pt x="341" y="14"/>
                    <a:pt x="342" y="15"/>
                    <a:pt x="342" y="16"/>
                  </a:cubicBezTo>
                  <a:cubicBezTo>
                    <a:pt x="343" y="18"/>
                    <a:pt x="343" y="19"/>
                    <a:pt x="343" y="20"/>
                  </a:cubicBezTo>
                  <a:lnTo>
                    <a:pt x="343" y="21"/>
                  </a:lnTo>
                  <a:close/>
                  <a:moveTo>
                    <a:pt x="339" y="20"/>
                  </a:moveTo>
                  <a:cubicBezTo>
                    <a:pt x="339" y="18"/>
                    <a:pt x="339" y="16"/>
                    <a:pt x="338" y="15"/>
                  </a:cubicBezTo>
                  <a:cubicBezTo>
                    <a:pt x="337" y="14"/>
                    <a:pt x="335" y="13"/>
                    <a:pt x="333" y="13"/>
                  </a:cubicBezTo>
                  <a:cubicBezTo>
                    <a:pt x="332" y="13"/>
                    <a:pt x="332" y="14"/>
                    <a:pt x="331" y="14"/>
                  </a:cubicBezTo>
                  <a:cubicBezTo>
                    <a:pt x="330" y="14"/>
                    <a:pt x="330" y="15"/>
                    <a:pt x="329" y="15"/>
                  </a:cubicBezTo>
                  <a:cubicBezTo>
                    <a:pt x="329" y="16"/>
                    <a:pt x="328" y="17"/>
                    <a:pt x="328" y="17"/>
                  </a:cubicBezTo>
                  <a:cubicBezTo>
                    <a:pt x="328" y="18"/>
                    <a:pt x="327" y="19"/>
                    <a:pt x="327" y="20"/>
                  </a:cubicBezTo>
                  <a:lnTo>
                    <a:pt x="339" y="20"/>
                  </a:lnTo>
                  <a:close/>
                  <a:moveTo>
                    <a:pt x="366" y="12"/>
                  </a:moveTo>
                  <a:cubicBezTo>
                    <a:pt x="366" y="13"/>
                    <a:pt x="366" y="13"/>
                    <a:pt x="366" y="14"/>
                  </a:cubicBezTo>
                  <a:cubicBezTo>
                    <a:pt x="366" y="14"/>
                    <a:pt x="366" y="14"/>
                    <a:pt x="366" y="14"/>
                  </a:cubicBezTo>
                  <a:cubicBezTo>
                    <a:pt x="363" y="14"/>
                    <a:pt x="363" y="14"/>
                    <a:pt x="363" y="14"/>
                  </a:cubicBezTo>
                  <a:cubicBezTo>
                    <a:pt x="363" y="14"/>
                    <a:pt x="364" y="15"/>
                    <a:pt x="364" y="16"/>
                  </a:cubicBezTo>
                  <a:cubicBezTo>
                    <a:pt x="364" y="16"/>
                    <a:pt x="364" y="17"/>
                    <a:pt x="364" y="18"/>
                  </a:cubicBezTo>
                  <a:cubicBezTo>
                    <a:pt x="364" y="19"/>
                    <a:pt x="364" y="20"/>
                    <a:pt x="363" y="21"/>
                  </a:cubicBezTo>
                  <a:cubicBezTo>
                    <a:pt x="363" y="22"/>
                    <a:pt x="363" y="23"/>
                    <a:pt x="362" y="23"/>
                  </a:cubicBezTo>
                  <a:cubicBezTo>
                    <a:pt x="361" y="24"/>
                    <a:pt x="360" y="25"/>
                    <a:pt x="359" y="25"/>
                  </a:cubicBezTo>
                  <a:cubicBezTo>
                    <a:pt x="358" y="25"/>
                    <a:pt x="357" y="25"/>
                    <a:pt x="356" y="25"/>
                  </a:cubicBezTo>
                  <a:cubicBezTo>
                    <a:pt x="355" y="25"/>
                    <a:pt x="354" y="25"/>
                    <a:pt x="353" y="25"/>
                  </a:cubicBezTo>
                  <a:cubicBezTo>
                    <a:pt x="353" y="25"/>
                    <a:pt x="352" y="25"/>
                    <a:pt x="352" y="24"/>
                  </a:cubicBezTo>
                  <a:cubicBezTo>
                    <a:pt x="351" y="25"/>
                    <a:pt x="351" y="25"/>
                    <a:pt x="351" y="25"/>
                  </a:cubicBezTo>
                  <a:cubicBezTo>
                    <a:pt x="351" y="26"/>
                    <a:pt x="351" y="26"/>
                    <a:pt x="351" y="27"/>
                  </a:cubicBezTo>
                  <a:cubicBezTo>
                    <a:pt x="351" y="27"/>
                    <a:pt x="351" y="28"/>
                    <a:pt x="351" y="28"/>
                  </a:cubicBezTo>
                  <a:cubicBezTo>
                    <a:pt x="352" y="28"/>
                    <a:pt x="353" y="28"/>
                    <a:pt x="353" y="28"/>
                  </a:cubicBezTo>
                  <a:cubicBezTo>
                    <a:pt x="359" y="29"/>
                    <a:pt x="359" y="29"/>
                    <a:pt x="359" y="29"/>
                  </a:cubicBezTo>
                  <a:cubicBezTo>
                    <a:pt x="360" y="29"/>
                    <a:pt x="361" y="29"/>
                    <a:pt x="362" y="29"/>
                  </a:cubicBezTo>
                  <a:cubicBezTo>
                    <a:pt x="363" y="29"/>
                    <a:pt x="364" y="30"/>
                    <a:pt x="364" y="30"/>
                  </a:cubicBezTo>
                  <a:cubicBezTo>
                    <a:pt x="365" y="31"/>
                    <a:pt x="365" y="31"/>
                    <a:pt x="366" y="32"/>
                  </a:cubicBezTo>
                  <a:cubicBezTo>
                    <a:pt x="366" y="33"/>
                    <a:pt x="366" y="33"/>
                    <a:pt x="366" y="34"/>
                  </a:cubicBezTo>
                  <a:cubicBezTo>
                    <a:pt x="366" y="35"/>
                    <a:pt x="366" y="36"/>
                    <a:pt x="366" y="37"/>
                  </a:cubicBezTo>
                  <a:cubicBezTo>
                    <a:pt x="365" y="38"/>
                    <a:pt x="365" y="39"/>
                    <a:pt x="364" y="39"/>
                  </a:cubicBezTo>
                  <a:cubicBezTo>
                    <a:pt x="363" y="40"/>
                    <a:pt x="362" y="41"/>
                    <a:pt x="361" y="41"/>
                  </a:cubicBezTo>
                  <a:cubicBezTo>
                    <a:pt x="359" y="41"/>
                    <a:pt x="358" y="42"/>
                    <a:pt x="356" y="42"/>
                  </a:cubicBezTo>
                  <a:cubicBezTo>
                    <a:pt x="354" y="42"/>
                    <a:pt x="353" y="41"/>
                    <a:pt x="352" y="41"/>
                  </a:cubicBezTo>
                  <a:cubicBezTo>
                    <a:pt x="350" y="41"/>
                    <a:pt x="349" y="41"/>
                    <a:pt x="349" y="40"/>
                  </a:cubicBezTo>
                  <a:cubicBezTo>
                    <a:pt x="348" y="40"/>
                    <a:pt x="347" y="39"/>
                    <a:pt x="347" y="38"/>
                  </a:cubicBezTo>
                  <a:cubicBezTo>
                    <a:pt x="347" y="38"/>
                    <a:pt x="346" y="37"/>
                    <a:pt x="346" y="36"/>
                  </a:cubicBezTo>
                  <a:cubicBezTo>
                    <a:pt x="346" y="35"/>
                    <a:pt x="347" y="35"/>
                    <a:pt x="347" y="34"/>
                  </a:cubicBezTo>
                  <a:cubicBezTo>
                    <a:pt x="347" y="34"/>
                    <a:pt x="347" y="34"/>
                    <a:pt x="347" y="33"/>
                  </a:cubicBezTo>
                  <a:cubicBezTo>
                    <a:pt x="347" y="33"/>
                    <a:pt x="348" y="32"/>
                    <a:pt x="348" y="32"/>
                  </a:cubicBezTo>
                  <a:cubicBezTo>
                    <a:pt x="349" y="31"/>
                    <a:pt x="349" y="31"/>
                    <a:pt x="349" y="31"/>
                  </a:cubicBezTo>
                  <a:cubicBezTo>
                    <a:pt x="349" y="30"/>
                    <a:pt x="348" y="30"/>
                    <a:pt x="348" y="29"/>
                  </a:cubicBezTo>
                  <a:cubicBezTo>
                    <a:pt x="347" y="29"/>
                    <a:pt x="347" y="28"/>
                    <a:pt x="347" y="27"/>
                  </a:cubicBezTo>
                  <a:cubicBezTo>
                    <a:pt x="347" y="26"/>
                    <a:pt x="347" y="25"/>
                    <a:pt x="348" y="25"/>
                  </a:cubicBezTo>
                  <a:cubicBezTo>
                    <a:pt x="348" y="24"/>
                    <a:pt x="349" y="23"/>
                    <a:pt x="349" y="23"/>
                  </a:cubicBezTo>
                  <a:cubicBezTo>
                    <a:pt x="349" y="22"/>
                    <a:pt x="348" y="21"/>
                    <a:pt x="348" y="21"/>
                  </a:cubicBezTo>
                  <a:cubicBezTo>
                    <a:pt x="348" y="20"/>
                    <a:pt x="348" y="19"/>
                    <a:pt x="348" y="18"/>
                  </a:cubicBezTo>
                  <a:cubicBezTo>
                    <a:pt x="348" y="17"/>
                    <a:pt x="348" y="16"/>
                    <a:pt x="348" y="15"/>
                  </a:cubicBezTo>
                  <a:cubicBezTo>
                    <a:pt x="349" y="14"/>
                    <a:pt x="349" y="13"/>
                    <a:pt x="350" y="12"/>
                  </a:cubicBezTo>
                  <a:cubicBezTo>
                    <a:pt x="351" y="12"/>
                    <a:pt x="352" y="11"/>
                    <a:pt x="353" y="11"/>
                  </a:cubicBezTo>
                  <a:cubicBezTo>
                    <a:pt x="354" y="11"/>
                    <a:pt x="355" y="10"/>
                    <a:pt x="356" y="10"/>
                  </a:cubicBezTo>
                  <a:cubicBezTo>
                    <a:pt x="357" y="10"/>
                    <a:pt x="357" y="10"/>
                    <a:pt x="358" y="10"/>
                  </a:cubicBezTo>
                  <a:cubicBezTo>
                    <a:pt x="358" y="11"/>
                    <a:pt x="359" y="11"/>
                    <a:pt x="359" y="11"/>
                  </a:cubicBezTo>
                  <a:cubicBezTo>
                    <a:pt x="366" y="11"/>
                    <a:pt x="366" y="11"/>
                    <a:pt x="366" y="11"/>
                  </a:cubicBezTo>
                  <a:cubicBezTo>
                    <a:pt x="366" y="11"/>
                    <a:pt x="366" y="11"/>
                    <a:pt x="366" y="11"/>
                  </a:cubicBezTo>
                  <a:cubicBezTo>
                    <a:pt x="366" y="11"/>
                    <a:pt x="366" y="12"/>
                    <a:pt x="366" y="12"/>
                  </a:cubicBezTo>
                  <a:close/>
                  <a:moveTo>
                    <a:pt x="362" y="35"/>
                  </a:moveTo>
                  <a:cubicBezTo>
                    <a:pt x="362" y="34"/>
                    <a:pt x="362" y="33"/>
                    <a:pt x="361" y="33"/>
                  </a:cubicBezTo>
                  <a:cubicBezTo>
                    <a:pt x="360" y="32"/>
                    <a:pt x="359" y="32"/>
                    <a:pt x="358" y="32"/>
                  </a:cubicBezTo>
                  <a:cubicBezTo>
                    <a:pt x="353" y="32"/>
                    <a:pt x="353" y="32"/>
                    <a:pt x="353" y="32"/>
                  </a:cubicBezTo>
                  <a:cubicBezTo>
                    <a:pt x="352" y="32"/>
                    <a:pt x="352" y="32"/>
                    <a:pt x="351" y="33"/>
                  </a:cubicBezTo>
                  <a:cubicBezTo>
                    <a:pt x="351" y="33"/>
                    <a:pt x="351" y="33"/>
                    <a:pt x="351" y="34"/>
                  </a:cubicBezTo>
                  <a:cubicBezTo>
                    <a:pt x="351" y="34"/>
                    <a:pt x="350" y="34"/>
                    <a:pt x="350" y="35"/>
                  </a:cubicBezTo>
                  <a:cubicBezTo>
                    <a:pt x="350" y="35"/>
                    <a:pt x="350" y="35"/>
                    <a:pt x="350" y="36"/>
                  </a:cubicBezTo>
                  <a:cubicBezTo>
                    <a:pt x="350" y="37"/>
                    <a:pt x="351" y="37"/>
                    <a:pt x="352" y="38"/>
                  </a:cubicBezTo>
                  <a:cubicBezTo>
                    <a:pt x="353" y="38"/>
                    <a:pt x="354" y="39"/>
                    <a:pt x="356" y="39"/>
                  </a:cubicBezTo>
                  <a:cubicBezTo>
                    <a:pt x="357" y="39"/>
                    <a:pt x="358" y="39"/>
                    <a:pt x="359" y="38"/>
                  </a:cubicBezTo>
                  <a:cubicBezTo>
                    <a:pt x="360" y="38"/>
                    <a:pt x="360" y="38"/>
                    <a:pt x="361" y="37"/>
                  </a:cubicBezTo>
                  <a:cubicBezTo>
                    <a:pt x="361" y="37"/>
                    <a:pt x="362" y="37"/>
                    <a:pt x="362" y="36"/>
                  </a:cubicBezTo>
                  <a:cubicBezTo>
                    <a:pt x="362" y="36"/>
                    <a:pt x="362" y="35"/>
                    <a:pt x="362" y="35"/>
                  </a:cubicBezTo>
                  <a:close/>
                  <a:moveTo>
                    <a:pt x="360" y="18"/>
                  </a:moveTo>
                  <a:cubicBezTo>
                    <a:pt x="360" y="16"/>
                    <a:pt x="360" y="15"/>
                    <a:pt x="359" y="15"/>
                  </a:cubicBezTo>
                  <a:cubicBezTo>
                    <a:pt x="358" y="14"/>
                    <a:pt x="357" y="13"/>
                    <a:pt x="356" y="13"/>
                  </a:cubicBezTo>
                  <a:cubicBezTo>
                    <a:pt x="355" y="13"/>
                    <a:pt x="354" y="13"/>
                    <a:pt x="354" y="14"/>
                  </a:cubicBezTo>
                  <a:cubicBezTo>
                    <a:pt x="353" y="14"/>
                    <a:pt x="353" y="14"/>
                    <a:pt x="352" y="15"/>
                  </a:cubicBezTo>
                  <a:cubicBezTo>
                    <a:pt x="352" y="15"/>
                    <a:pt x="352" y="16"/>
                    <a:pt x="352" y="16"/>
                  </a:cubicBezTo>
                  <a:cubicBezTo>
                    <a:pt x="351" y="17"/>
                    <a:pt x="351" y="17"/>
                    <a:pt x="351" y="18"/>
                  </a:cubicBezTo>
                  <a:cubicBezTo>
                    <a:pt x="351" y="19"/>
                    <a:pt x="352" y="21"/>
                    <a:pt x="353" y="21"/>
                  </a:cubicBezTo>
                  <a:cubicBezTo>
                    <a:pt x="353" y="22"/>
                    <a:pt x="354" y="23"/>
                    <a:pt x="356" y="23"/>
                  </a:cubicBezTo>
                  <a:cubicBezTo>
                    <a:pt x="357" y="23"/>
                    <a:pt x="357" y="22"/>
                    <a:pt x="358" y="22"/>
                  </a:cubicBezTo>
                  <a:cubicBezTo>
                    <a:pt x="358" y="22"/>
                    <a:pt x="359" y="22"/>
                    <a:pt x="359" y="21"/>
                  </a:cubicBezTo>
                  <a:cubicBezTo>
                    <a:pt x="360" y="21"/>
                    <a:pt x="360" y="20"/>
                    <a:pt x="360" y="20"/>
                  </a:cubicBezTo>
                  <a:cubicBezTo>
                    <a:pt x="360" y="19"/>
                    <a:pt x="360" y="19"/>
                    <a:pt x="360" y="18"/>
                  </a:cubicBezTo>
                  <a:close/>
                  <a:moveTo>
                    <a:pt x="381" y="33"/>
                  </a:moveTo>
                  <a:cubicBezTo>
                    <a:pt x="378" y="41"/>
                    <a:pt x="378" y="41"/>
                    <a:pt x="378" y="41"/>
                  </a:cubicBezTo>
                  <a:cubicBezTo>
                    <a:pt x="378" y="41"/>
                    <a:pt x="378" y="41"/>
                    <a:pt x="378" y="41"/>
                  </a:cubicBezTo>
                  <a:cubicBezTo>
                    <a:pt x="377" y="42"/>
                    <a:pt x="377" y="42"/>
                    <a:pt x="376" y="42"/>
                  </a:cubicBezTo>
                  <a:cubicBezTo>
                    <a:pt x="375" y="42"/>
                    <a:pt x="375" y="42"/>
                    <a:pt x="375" y="42"/>
                  </a:cubicBezTo>
                  <a:cubicBezTo>
                    <a:pt x="375" y="41"/>
                    <a:pt x="374" y="41"/>
                    <a:pt x="374" y="41"/>
                  </a:cubicBezTo>
                  <a:cubicBezTo>
                    <a:pt x="374" y="41"/>
                    <a:pt x="374" y="41"/>
                    <a:pt x="374" y="41"/>
                  </a:cubicBezTo>
                  <a:cubicBezTo>
                    <a:pt x="374" y="41"/>
                    <a:pt x="374" y="41"/>
                    <a:pt x="374" y="40"/>
                  </a:cubicBezTo>
                  <a:cubicBezTo>
                    <a:pt x="377" y="33"/>
                    <a:pt x="377" y="33"/>
                    <a:pt x="377" y="33"/>
                  </a:cubicBezTo>
                  <a:cubicBezTo>
                    <a:pt x="377" y="33"/>
                    <a:pt x="377" y="33"/>
                    <a:pt x="377" y="33"/>
                  </a:cubicBezTo>
                  <a:cubicBezTo>
                    <a:pt x="376" y="33"/>
                    <a:pt x="376" y="32"/>
                    <a:pt x="376" y="32"/>
                  </a:cubicBezTo>
                  <a:cubicBezTo>
                    <a:pt x="369" y="12"/>
                    <a:pt x="369" y="12"/>
                    <a:pt x="369" y="12"/>
                  </a:cubicBezTo>
                  <a:cubicBezTo>
                    <a:pt x="369" y="12"/>
                    <a:pt x="369" y="12"/>
                    <a:pt x="369" y="11"/>
                  </a:cubicBezTo>
                  <a:cubicBezTo>
                    <a:pt x="369" y="11"/>
                    <a:pt x="369" y="11"/>
                    <a:pt x="369" y="11"/>
                  </a:cubicBezTo>
                  <a:cubicBezTo>
                    <a:pt x="369" y="11"/>
                    <a:pt x="369" y="11"/>
                    <a:pt x="369" y="11"/>
                  </a:cubicBezTo>
                  <a:cubicBezTo>
                    <a:pt x="370" y="11"/>
                    <a:pt x="370" y="11"/>
                    <a:pt x="371" y="11"/>
                  </a:cubicBezTo>
                  <a:cubicBezTo>
                    <a:pt x="371" y="11"/>
                    <a:pt x="371" y="11"/>
                    <a:pt x="372" y="11"/>
                  </a:cubicBezTo>
                  <a:cubicBezTo>
                    <a:pt x="372" y="11"/>
                    <a:pt x="372" y="11"/>
                    <a:pt x="372" y="11"/>
                  </a:cubicBezTo>
                  <a:cubicBezTo>
                    <a:pt x="372" y="11"/>
                    <a:pt x="373" y="11"/>
                    <a:pt x="373" y="11"/>
                  </a:cubicBezTo>
                  <a:cubicBezTo>
                    <a:pt x="373" y="11"/>
                    <a:pt x="373" y="11"/>
                    <a:pt x="373" y="12"/>
                  </a:cubicBezTo>
                  <a:cubicBezTo>
                    <a:pt x="379" y="28"/>
                    <a:pt x="379" y="28"/>
                    <a:pt x="379" y="28"/>
                  </a:cubicBezTo>
                  <a:cubicBezTo>
                    <a:pt x="379" y="28"/>
                    <a:pt x="379" y="28"/>
                    <a:pt x="379" y="28"/>
                  </a:cubicBezTo>
                  <a:cubicBezTo>
                    <a:pt x="385" y="11"/>
                    <a:pt x="385" y="11"/>
                    <a:pt x="385" y="11"/>
                  </a:cubicBezTo>
                  <a:cubicBezTo>
                    <a:pt x="385" y="11"/>
                    <a:pt x="385" y="11"/>
                    <a:pt x="385" y="11"/>
                  </a:cubicBezTo>
                  <a:cubicBezTo>
                    <a:pt x="385" y="11"/>
                    <a:pt x="385" y="11"/>
                    <a:pt x="386" y="11"/>
                  </a:cubicBezTo>
                  <a:cubicBezTo>
                    <a:pt x="386" y="11"/>
                    <a:pt x="386" y="11"/>
                    <a:pt x="387" y="11"/>
                  </a:cubicBezTo>
                  <a:cubicBezTo>
                    <a:pt x="387" y="11"/>
                    <a:pt x="388" y="11"/>
                    <a:pt x="388" y="11"/>
                  </a:cubicBezTo>
                  <a:cubicBezTo>
                    <a:pt x="388" y="11"/>
                    <a:pt x="388" y="11"/>
                    <a:pt x="389" y="11"/>
                  </a:cubicBezTo>
                  <a:cubicBezTo>
                    <a:pt x="389" y="11"/>
                    <a:pt x="389" y="11"/>
                    <a:pt x="389" y="11"/>
                  </a:cubicBezTo>
                  <a:cubicBezTo>
                    <a:pt x="389" y="12"/>
                    <a:pt x="389" y="12"/>
                    <a:pt x="389" y="12"/>
                  </a:cubicBezTo>
                  <a:lnTo>
                    <a:pt x="381" y="33"/>
                  </a:lnTo>
                  <a:close/>
                  <a:moveTo>
                    <a:pt x="390" y="33"/>
                  </a:moveTo>
                  <a:cubicBezTo>
                    <a:pt x="390" y="33"/>
                    <a:pt x="390" y="33"/>
                    <a:pt x="390" y="33"/>
                  </a:cubicBezTo>
                  <a:moveTo>
                    <a:pt x="401" y="3"/>
                  </a:moveTo>
                  <a:cubicBezTo>
                    <a:pt x="401" y="3"/>
                    <a:pt x="401" y="3"/>
                    <a:pt x="401" y="3"/>
                  </a:cubicBezTo>
                  <a:moveTo>
                    <a:pt x="403" y="25"/>
                  </a:moveTo>
                  <a:cubicBezTo>
                    <a:pt x="403" y="24"/>
                    <a:pt x="403" y="23"/>
                    <a:pt x="403" y="23"/>
                  </a:cubicBezTo>
                  <a:cubicBezTo>
                    <a:pt x="404" y="22"/>
                    <a:pt x="404" y="21"/>
                    <a:pt x="405" y="20"/>
                  </a:cubicBezTo>
                  <a:cubicBezTo>
                    <a:pt x="405" y="20"/>
                    <a:pt x="406" y="19"/>
                    <a:pt x="406" y="18"/>
                  </a:cubicBezTo>
                  <a:cubicBezTo>
                    <a:pt x="407" y="18"/>
                    <a:pt x="408" y="17"/>
                    <a:pt x="409" y="16"/>
                  </a:cubicBezTo>
                  <a:cubicBezTo>
                    <a:pt x="409" y="15"/>
                    <a:pt x="408" y="15"/>
                    <a:pt x="408" y="14"/>
                  </a:cubicBezTo>
                  <a:cubicBezTo>
                    <a:pt x="407" y="13"/>
                    <a:pt x="407" y="13"/>
                    <a:pt x="407" y="12"/>
                  </a:cubicBezTo>
                  <a:cubicBezTo>
                    <a:pt x="406" y="11"/>
                    <a:pt x="406" y="11"/>
                    <a:pt x="406" y="10"/>
                  </a:cubicBezTo>
                  <a:cubicBezTo>
                    <a:pt x="406" y="10"/>
                    <a:pt x="406" y="9"/>
                    <a:pt x="406" y="9"/>
                  </a:cubicBezTo>
                  <a:cubicBezTo>
                    <a:pt x="406" y="8"/>
                    <a:pt x="406" y="7"/>
                    <a:pt x="406" y="6"/>
                  </a:cubicBezTo>
                  <a:cubicBezTo>
                    <a:pt x="407" y="5"/>
                    <a:pt x="407" y="4"/>
                    <a:pt x="408" y="4"/>
                  </a:cubicBezTo>
                  <a:cubicBezTo>
                    <a:pt x="409" y="3"/>
                    <a:pt x="410" y="2"/>
                    <a:pt x="411" y="2"/>
                  </a:cubicBezTo>
                  <a:cubicBezTo>
                    <a:pt x="412" y="2"/>
                    <a:pt x="413" y="1"/>
                    <a:pt x="415" y="1"/>
                  </a:cubicBezTo>
                  <a:cubicBezTo>
                    <a:pt x="416" y="1"/>
                    <a:pt x="417" y="1"/>
                    <a:pt x="418" y="2"/>
                  </a:cubicBezTo>
                  <a:cubicBezTo>
                    <a:pt x="419" y="2"/>
                    <a:pt x="420" y="2"/>
                    <a:pt x="421" y="3"/>
                  </a:cubicBezTo>
                  <a:cubicBezTo>
                    <a:pt x="422" y="4"/>
                    <a:pt x="422" y="4"/>
                    <a:pt x="422" y="5"/>
                  </a:cubicBezTo>
                  <a:cubicBezTo>
                    <a:pt x="423" y="6"/>
                    <a:pt x="423" y="7"/>
                    <a:pt x="423" y="8"/>
                  </a:cubicBezTo>
                  <a:cubicBezTo>
                    <a:pt x="423" y="9"/>
                    <a:pt x="423" y="9"/>
                    <a:pt x="423" y="10"/>
                  </a:cubicBezTo>
                  <a:cubicBezTo>
                    <a:pt x="422" y="11"/>
                    <a:pt x="422" y="12"/>
                    <a:pt x="421" y="12"/>
                  </a:cubicBezTo>
                  <a:cubicBezTo>
                    <a:pt x="420" y="13"/>
                    <a:pt x="420" y="14"/>
                    <a:pt x="419" y="15"/>
                  </a:cubicBezTo>
                  <a:cubicBezTo>
                    <a:pt x="418" y="15"/>
                    <a:pt x="416" y="16"/>
                    <a:pt x="415" y="17"/>
                  </a:cubicBezTo>
                  <a:cubicBezTo>
                    <a:pt x="415" y="17"/>
                    <a:pt x="416" y="18"/>
                    <a:pt x="417" y="19"/>
                  </a:cubicBezTo>
                  <a:cubicBezTo>
                    <a:pt x="417" y="19"/>
                    <a:pt x="418" y="20"/>
                    <a:pt x="419" y="21"/>
                  </a:cubicBezTo>
                  <a:cubicBezTo>
                    <a:pt x="419" y="22"/>
                    <a:pt x="420" y="22"/>
                    <a:pt x="421" y="23"/>
                  </a:cubicBezTo>
                  <a:cubicBezTo>
                    <a:pt x="421" y="24"/>
                    <a:pt x="422" y="24"/>
                    <a:pt x="423" y="25"/>
                  </a:cubicBezTo>
                  <a:cubicBezTo>
                    <a:pt x="423" y="24"/>
                    <a:pt x="423" y="24"/>
                    <a:pt x="424" y="23"/>
                  </a:cubicBezTo>
                  <a:cubicBezTo>
                    <a:pt x="424" y="23"/>
                    <a:pt x="424" y="22"/>
                    <a:pt x="424" y="22"/>
                  </a:cubicBezTo>
                  <a:cubicBezTo>
                    <a:pt x="424" y="21"/>
                    <a:pt x="425" y="21"/>
                    <a:pt x="425" y="20"/>
                  </a:cubicBezTo>
                  <a:cubicBezTo>
                    <a:pt x="425" y="19"/>
                    <a:pt x="425" y="19"/>
                    <a:pt x="425" y="18"/>
                  </a:cubicBezTo>
                  <a:cubicBezTo>
                    <a:pt x="425" y="17"/>
                    <a:pt x="425" y="17"/>
                    <a:pt x="425" y="17"/>
                  </a:cubicBezTo>
                  <a:cubicBezTo>
                    <a:pt x="425" y="17"/>
                    <a:pt x="425" y="17"/>
                    <a:pt x="425" y="17"/>
                  </a:cubicBezTo>
                  <a:cubicBezTo>
                    <a:pt x="425" y="17"/>
                    <a:pt x="425" y="17"/>
                    <a:pt x="425" y="17"/>
                  </a:cubicBezTo>
                  <a:cubicBezTo>
                    <a:pt x="425" y="16"/>
                    <a:pt x="425" y="16"/>
                    <a:pt x="426" y="16"/>
                  </a:cubicBezTo>
                  <a:cubicBezTo>
                    <a:pt x="426" y="16"/>
                    <a:pt x="426" y="16"/>
                    <a:pt x="427" y="16"/>
                  </a:cubicBezTo>
                  <a:cubicBezTo>
                    <a:pt x="427" y="16"/>
                    <a:pt x="427" y="16"/>
                    <a:pt x="428" y="16"/>
                  </a:cubicBezTo>
                  <a:cubicBezTo>
                    <a:pt x="428" y="16"/>
                    <a:pt x="428" y="16"/>
                    <a:pt x="428" y="16"/>
                  </a:cubicBezTo>
                  <a:cubicBezTo>
                    <a:pt x="428" y="16"/>
                    <a:pt x="428" y="17"/>
                    <a:pt x="428" y="17"/>
                  </a:cubicBezTo>
                  <a:cubicBezTo>
                    <a:pt x="429" y="17"/>
                    <a:pt x="429" y="17"/>
                    <a:pt x="429" y="17"/>
                  </a:cubicBezTo>
                  <a:cubicBezTo>
                    <a:pt x="429" y="18"/>
                    <a:pt x="429" y="18"/>
                    <a:pt x="429" y="18"/>
                  </a:cubicBezTo>
                  <a:cubicBezTo>
                    <a:pt x="429" y="19"/>
                    <a:pt x="429" y="19"/>
                    <a:pt x="428" y="20"/>
                  </a:cubicBezTo>
                  <a:cubicBezTo>
                    <a:pt x="428" y="21"/>
                    <a:pt x="428" y="22"/>
                    <a:pt x="428" y="23"/>
                  </a:cubicBezTo>
                  <a:cubicBezTo>
                    <a:pt x="427" y="24"/>
                    <a:pt x="427" y="24"/>
                    <a:pt x="427" y="25"/>
                  </a:cubicBezTo>
                  <a:cubicBezTo>
                    <a:pt x="426" y="26"/>
                    <a:pt x="426" y="27"/>
                    <a:pt x="426" y="27"/>
                  </a:cubicBezTo>
                  <a:cubicBezTo>
                    <a:pt x="426" y="28"/>
                    <a:pt x="427" y="28"/>
                    <a:pt x="427" y="29"/>
                  </a:cubicBezTo>
                  <a:cubicBezTo>
                    <a:pt x="428" y="29"/>
                    <a:pt x="428" y="29"/>
                    <a:pt x="429" y="29"/>
                  </a:cubicBezTo>
                  <a:cubicBezTo>
                    <a:pt x="429" y="30"/>
                    <a:pt x="429" y="30"/>
                    <a:pt x="430" y="30"/>
                  </a:cubicBezTo>
                  <a:cubicBezTo>
                    <a:pt x="430" y="30"/>
                    <a:pt x="430" y="30"/>
                    <a:pt x="430" y="30"/>
                  </a:cubicBezTo>
                  <a:cubicBezTo>
                    <a:pt x="430" y="30"/>
                    <a:pt x="430" y="30"/>
                    <a:pt x="431" y="30"/>
                  </a:cubicBezTo>
                  <a:cubicBezTo>
                    <a:pt x="431" y="30"/>
                    <a:pt x="431" y="30"/>
                    <a:pt x="431" y="30"/>
                  </a:cubicBezTo>
                  <a:cubicBezTo>
                    <a:pt x="431" y="30"/>
                    <a:pt x="431" y="30"/>
                    <a:pt x="431" y="31"/>
                  </a:cubicBezTo>
                  <a:cubicBezTo>
                    <a:pt x="431" y="31"/>
                    <a:pt x="431" y="31"/>
                    <a:pt x="431" y="31"/>
                  </a:cubicBezTo>
                  <a:cubicBezTo>
                    <a:pt x="431" y="32"/>
                    <a:pt x="431" y="32"/>
                    <a:pt x="431" y="32"/>
                  </a:cubicBezTo>
                  <a:cubicBezTo>
                    <a:pt x="431" y="33"/>
                    <a:pt x="431" y="33"/>
                    <a:pt x="431" y="33"/>
                  </a:cubicBezTo>
                  <a:cubicBezTo>
                    <a:pt x="431" y="33"/>
                    <a:pt x="431" y="33"/>
                    <a:pt x="431" y="33"/>
                  </a:cubicBezTo>
                  <a:cubicBezTo>
                    <a:pt x="431" y="33"/>
                    <a:pt x="431" y="33"/>
                    <a:pt x="430" y="33"/>
                  </a:cubicBezTo>
                  <a:cubicBezTo>
                    <a:pt x="430" y="33"/>
                    <a:pt x="430" y="33"/>
                    <a:pt x="429" y="33"/>
                  </a:cubicBezTo>
                  <a:cubicBezTo>
                    <a:pt x="429" y="33"/>
                    <a:pt x="429" y="33"/>
                    <a:pt x="428" y="33"/>
                  </a:cubicBezTo>
                  <a:cubicBezTo>
                    <a:pt x="428" y="33"/>
                    <a:pt x="428" y="33"/>
                    <a:pt x="427" y="33"/>
                  </a:cubicBezTo>
                  <a:cubicBezTo>
                    <a:pt x="427" y="32"/>
                    <a:pt x="426" y="32"/>
                    <a:pt x="425" y="32"/>
                  </a:cubicBezTo>
                  <a:cubicBezTo>
                    <a:pt x="425" y="31"/>
                    <a:pt x="424" y="31"/>
                    <a:pt x="423" y="30"/>
                  </a:cubicBezTo>
                  <a:cubicBezTo>
                    <a:pt x="422" y="30"/>
                    <a:pt x="422" y="31"/>
                    <a:pt x="421" y="31"/>
                  </a:cubicBezTo>
                  <a:cubicBezTo>
                    <a:pt x="420" y="32"/>
                    <a:pt x="419" y="32"/>
                    <a:pt x="419" y="32"/>
                  </a:cubicBezTo>
                  <a:cubicBezTo>
                    <a:pt x="418" y="33"/>
                    <a:pt x="417" y="33"/>
                    <a:pt x="416" y="33"/>
                  </a:cubicBezTo>
                  <a:cubicBezTo>
                    <a:pt x="415" y="33"/>
                    <a:pt x="414" y="33"/>
                    <a:pt x="413" y="33"/>
                  </a:cubicBezTo>
                  <a:cubicBezTo>
                    <a:pt x="412" y="33"/>
                    <a:pt x="411" y="33"/>
                    <a:pt x="410" y="33"/>
                  </a:cubicBezTo>
                  <a:cubicBezTo>
                    <a:pt x="409" y="33"/>
                    <a:pt x="409" y="33"/>
                    <a:pt x="408" y="32"/>
                  </a:cubicBezTo>
                  <a:cubicBezTo>
                    <a:pt x="407" y="32"/>
                    <a:pt x="406" y="32"/>
                    <a:pt x="406" y="31"/>
                  </a:cubicBezTo>
                  <a:cubicBezTo>
                    <a:pt x="405" y="31"/>
                    <a:pt x="405" y="30"/>
                    <a:pt x="404" y="30"/>
                  </a:cubicBezTo>
                  <a:cubicBezTo>
                    <a:pt x="404" y="29"/>
                    <a:pt x="404" y="28"/>
                    <a:pt x="403" y="28"/>
                  </a:cubicBezTo>
                  <a:cubicBezTo>
                    <a:pt x="403" y="27"/>
                    <a:pt x="403" y="26"/>
                    <a:pt x="403" y="25"/>
                  </a:cubicBezTo>
                  <a:close/>
                  <a:moveTo>
                    <a:pt x="407" y="25"/>
                  </a:moveTo>
                  <a:cubicBezTo>
                    <a:pt x="407" y="25"/>
                    <a:pt x="407" y="26"/>
                    <a:pt x="408" y="27"/>
                  </a:cubicBezTo>
                  <a:cubicBezTo>
                    <a:pt x="408" y="28"/>
                    <a:pt x="408" y="28"/>
                    <a:pt x="409" y="29"/>
                  </a:cubicBezTo>
                  <a:cubicBezTo>
                    <a:pt x="409" y="29"/>
                    <a:pt x="410" y="30"/>
                    <a:pt x="411" y="30"/>
                  </a:cubicBezTo>
                  <a:cubicBezTo>
                    <a:pt x="412" y="30"/>
                    <a:pt x="413" y="30"/>
                    <a:pt x="414" y="30"/>
                  </a:cubicBezTo>
                  <a:cubicBezTo>
                    <a:pt x="414" y="30"/>
                    <a:pt x="415" y="30"/>
                    <a:pt x="415" y="30"/>
                  </a:cubicBezTo>
                  <a:cubicBezTo>
                    <a:pt x="416" y="30"/>
                    <a:pt x="417" y="30"/>
                    <a:pt x="417" y="29"/>
                  </a:cubicBezTo>
                  <a:cubicBezTo>
                    <a:pt x="418" y="29"/>
                    <a:pt x="418" y="29"/>
                    <a:pt x="419" y="29"/>
                  </a:cubicBezTo>
                  <a:cubicBezTo>
                    <a:pt x="419" y="28"/>
                    <a:pt x="420" y="28"/>
                    <a:pt x="420" y="28"/>
                  </a:cubicBezTo>
                  <a:cubicBezTo>
                    <a:pt x="419" y="27"/>
                    <a:pt x="419" y="26"/>
                    <a:pt x="418" y="25"/>
                  </a:cubicBezTo>
                  <a:cubicBezTo>
                    <a:pt x="417" y="25"/>
                    <a:pt x="416" y="24"/>
                    <a:pt x="415" y="23"/>
                  </a:cubicBezTo>
                  <a:cubicBezTo>
                    <a:pt x="415" y="22"/>
                    <a:pt x="414" y="22"/>
                    <a:pt x="413" y="21"/>
                  </a:cubicBezTo>
                  <a:cubicBezTo>
                    <a:pt x="413" y="20"/>
                    <a:pt x="412" y="19"/>
                    <a:pt x="411" y="19"/>
                  </a:cubicBezTo>
                  <a:cubicBezTo>
                    <a:pt x="411" y="19"/>
                    <a:pt x="410" y="20"/>
                    <a:pt x="409" y="20"/>
                  </a:cubicBezTo>
                  <a:cubicBezTo>
                    <a:pt x="409" y="21"/>
                    <a:pt x="408" y="21"/>
                    <a:pt x="408" y="22"/>
                  </a:cubicBezTo>
                  <a:cubicBezTo>
                    <a:pt x="408" y="22"/>
                    <a:pt x="408" y="23"/>
                    <a:pt x="407" y="23"/>
                  </a:cubicBezTo>
                  <a:cubicBezTo>
                    <a:pt x="407" y="24"/>
                    <a:pt x="407" y="24"/>
                    <a:pt x="407" y="25"/>
                  </a:cubicBezTo>
                  <a:close/>
                  <a:moveTo>
                    <a:pt x="410" y="8"/>
                  </a:moveTo>
                  <a:cubicBezTo>
                    <a:pt x="410" y="9"/>
                    <a:pt x="410" y="9"/>
                    <a:pt x="410" y="10"/>
                  </a:cubicBezTo>
                  <a:cubicBezTo>
                    <a:pt x="410" y="10"/>
                    <a:pt x="410" y="11"/>
                    <a:pt x="411" y="11"/>
                  </a:cubicBezTo>
                  <a:cubicBezTo>
                    <a:pt x="411" y="11"/>
                    <a:pt x="411" y="12"/>
                    <a:pt x="412" y="13"/>
                  </a:cubicBezTo>
                  <a:cubicBezTo>
                    <a:pt x="412" y="13"/>
                    <a:pt x="412" y="14"/>
                    <a:pt x="413" y="14"/>
                  </a:cubicBezTo>
                  <a:cubicBezTo>
                    <a:pt x="414" y="14"/>
                    <a:pt x="415" y="13"/>
                    <a:pt x="416" y="13"/>
                  </a:cubicBezTo>
                  <a:cubicBezTo>
                    <a:pt x="416" y="12"/>
                    <a:pt x="417" y="12"/>
                    <a:pt x="418" y="11"/>
                  </a:cubicBezTo>
                  <a:cubicBezTo>
                    <a:pt x="418" y="11"/>
                    <a:pt x="418" y="10"/>
                    <a:pt x="419" y="10"/>
                  </a:cubicBezTo>
                  <a:cubicBezTo>
                    <a:pt x="419" y="9"/>
                    <a:pt x="419" y="9"/>
                    <a:pt x="419" y="8"/>
                  </a:cubicBezTo>
                  <a:cubicBezTo>
                    <a:pt x="419" y="8"/>
                    <a:pt x="419" y="7"/>
                    <a:pt x="419" y="7"/>
                  </a:cubicBezTo>
                  <a:cubicBezTo>
                    <a:pt x="418" y="6"/>
                    <a:pt x="418" y="6"/>
                    <a:pt x="418" y="6"/>
                  </a:cubicBezTo>
                  <a:cubicBezTo>
                    <a:pt x="418" y="5"/>
                    <a:pt x="417" y="5"/>
                    <a:pt x="417" y="5"/>
                  </a:cubicBezTo>
                  <a:cubicBezTo>
                    <a:pt x="416" y="5"/>
                    <a:pt x="415" y="5"/>
                    <a:pt x="415" y="5"/>
                  </a:cubicBezTo>
                  <a:cubicBezTo>
                    <a:pt x="414" y="5"/>
                    <a:pt x="413" y="5"/>
                    <a:pt x="412" y="5"/>
                  </a:cubicBezTo>
                  <a:cubicBezTo>
                    <a:pt x="412" y="5"/>
                    <a:pt x="411" y="5"/>
                    <a:pt x="411" y="6"/>
                  </a:cubicBezTo>
                  <a:cubicBezTo>
                    <a:pt x="411" y="6"/>
                    <a:pt x="410" y="6"/>
                    <a:pt x="410" y="7"/>
                  </a:cubicBezTo>
                  <a:cubicBezTo>
                    <a:pt x="410" y="7"/>
                    <a:pt x="410" y="8"/>
                    <a:pt x="410" y="8"/>
                  </a:cubicBezTo>
                  <a:close/>
                  <a:moveTo>
                    <a:pt x="433" y="33"/>
                  </a:moveTo>
                  <a:cubicBezTo>
                    <a:pt x="433" y="33"/>
                    <a:pt x="433" y="33"/>
                    <a:pt x="433" y="33"/>
                  </a:cubicBezTo>
                  <a:moveTo>
                    <a:pt x="467" y="4"/>
                  </a:moveTo>
                  <a:cubicBezTo>
                    <a:pt x="467" y="5"/>
                    <a:pt x="467" y="5"/>
                    <a:pt x="467" y="5"/>
                  </a:cubicBezTo>
                  <a:cubicBezTo>
                    <a:pt x="467" y="5"/>
                    <a:pt x="467" y="6"/>
                    <a:pt x="467" y="6"/>
                  </a:cubicBezTo>
                  <a:cubicBezTo>
                    <a:pt x="467" y="6"/>
                    <a:pt x="467" y="6"/>
                    <a:pt x="467" y="6"/>
                  </a:cubicBezTo>
                  <a:cubicBezTo>
                    <a:pt x="467" y="6"/>
                    <a:pt x="467" y="6"/>
                    <a:pt x="466" y="6"/>
                  </a:cubicBezTo>
                  <a:cubicBezTo>
                    <a:pt x="458" y="6"/>
                    <a:pt x="458" y="6"/>
                    <a:pt x="458" y="6"/>
                  </a:cubicBezTo>
                  <a:cubicBezTo>
                    <a:pt x="458" y="32"/>
                    <a:pt x="458" y="32"/>
                    <a:pt x="458" y="32"/>
                  </a:cubicBezTo>
                  <a:cubicBezTo>
                    <a:pt x="458" y="33"/>
                    <a:pt x="458" y="33"/>
                    <a:pt x="458" y="33"/>
                  </a:cubicBezTo>
                  <a:cubicBezTo>
                    <a:pt x="458" y="33"/>
                    <a:pt x="458" y="33"/>
                    <a:pt x="457" y="33"/>
                  </a:cubicBezTo>
                  <a:cubicBezTo>
                    <a:pt x="457" y="33"/>
                    <a:pt x="457" y="33"/>
                    <a:pt x="457" y="33"/>
                  </a:cubicBezTo>
                  <a:cubicBezTo>
                    <a:pt x="457" y="33"/>
                    <a:pt x="456" y="33"/>
                    <a:pt x="456" y="33"/>
                  </a:cubicBezTo>
                  <a:cubicBezTo>
                    <a:pt x="456" y="33"/>
                    <a:pt x="455" y="33"/>
                    <a:pt x="455" y="33"/>
                  </a:cubicBezTo>
                  <a:cubicBezTo>
                    <a:pt x="455" y="33"/>
                    <a:pt x="454" y="33"/>
                    <a:pt x="454" y="33"/>
                  </a:cubicBezTo>
                  <a:cubicBezTo>
                    <a:pt x="454" y="33"/>
                    <a:pt x="454" y="33"/>
                    <a:pt x="454" y="33"/>
                  </a:cubicBezTo>
                  <a:cubicBezTo>
                    <a:pt x="454" y="33"/>
                    <a:pt x="454" y="33"/>
                    <a:pt x="454" y="32"/>
                  </a:cubicBezTo>
                  <a:cubicBezTo>
                    <a:pt x="454" y="6"/>
                    <a:pt x="454" y="6"/>
                    <a:pt x="454" y="6"/>
                  </a:cubicBezTo>
                  <a:cubicBezTo>
                    <a:pt x="445" y="6"/>
                    <a:pt x="445" y="6"/>
                    <a:pt x="445" y="6"/>
                  </a:cubicBezTo>
                  <a:cubicBezTo>
                    <a:pt x="445" y="6"/>
                    <a:pt x="445" y="6"/>
                    <a:pt x="445" y="6"/>
                  </a:cubicBezTo>
                  <a:cubicBezTo>
                    <a:pt x="445" y="6"/>
                    <a:pt x="445" y="6"/>
                    <a:pt x="445" y="6"/>
                  </a:cubicBezTo>
                  <a:cubicBezTo>
                    <a:pt x="445" y="6"/>
                    <a:pt x="445" y="5"/>
                    <a:pt x="445" y="5"/>
                  </a:cubicBezTo>
                  <a:cubicBezTo>
                    <a:pt x="445" y="5"/>
                    <a:pt x="445" y="5"/>
                    <a:pt x="445" y="4"/>
                  </a:cubicBezTo>
                  <a:cubicBezTo>
                    <a:pt x="445" y="4"/>
                    <a:pt x="445" y="4"/>
                    <a:pt x="445" y="4"/>
                  </a:cubicBezTo>
                  <a:cubicBezTo>
                    <a:pt x="445" y="3"/>
                    <a:pt x="445" y="3"/>
                    <a:pt x="445" y="3"/>
                  </a:cubicBezTo>
                  <a:cubicBezTo>
                    <a:pt x="445" y="3"/>
                    <a:pt x="445" y="3"/>
                    <a:pt x="445" y="3"/>
                  </a:cubicBezTo>
                  <a:cubicBezTo>
                    <a:pt x="445" y="3"/>
                    <a:pt x="445" y="3"/>
                    <a:pt x="445" y="3"/>
                  </a:cubicBezTo>
                  <a:cubicBezTo>
                    <a:pt x="466" y="3"/>
                    <a:pt x="466" y="3"/>
                    <a:pt x="466" y="3"/>
                  </a:cubicBezTo>
                  <a:cubicBezTo>
                    <a:pt x="467" y="3"/>
                    <a:pt x="467" y="3"/>
                    <a:pt x="467" y="3"/>
                  </a:cubicBezTo>
                  <a:cubicBezTo>
                    <a:pt x="467" y="3"/>
                    <a:pt x="467" y="3"/>
                    <a:pt x="467" y="3"/>
                  </a:cubicBezTo>
                  <a:cubicBezTo>
                    <a:pt x="467" y="3"/>
                    <a:pt x="467" y="3"/>
                    <a:pt x="467" y="4"/>
                  </a:cubicBezTo>
                  <a:cubicBezTo>
                    <a:pt x="467" y="4"/>
                    <a:pt x="467" y="4"/>
                    <a:pt x="467" y="4"/>
                  </a:cubicBezTo>
                  <a:close/>
                  <a:moveTo>
                    <a:pt x="484" y="13"/>
                  </a:moveTo>
                  <a:cubicBezTo>
                    <a:pt x="484" y="13"/>
                    <a:pt x="484" y="13"/>
                    <a:pt x="484" y="14"/>
                  </a:cubicBezTo>
                  <a:cubicBezTo>
                    <a:pt x="484" y="14"/>
                    <a:pt x="483" y="14"/>
                    <a:pt x="483" y="14"/>
                  </a:cubicBezTo>
                  <a:cubicBezTo>
                    <a:pt x="483" y="14"/>
                    <a:pt x="483" y="14"/>
                    <a:pt x="483" y="14"/>
                  </a:cubicBezTo>
                  <a:cubicBezTo>
                    <a:pt x="483" y="15"/>
                    <a:pt x="483" y="15"/>
                    <a:pt x="483" y="15"/>
                  </a:cubicBezTo>
                  <a:cubicBezTo>
                    <a:pt x="483" y="15"/>
                    <a:pt x="483" y="15"/>
                    <a:pt x="483" y="14"/>
                  </a:cubicBezTo>
                  <a:cubicBezTo>
                    <a:pt x="482" y="14"/>
                    <a:pt x="482" y="14"/>
                    <a:pt x="482" y="14"/>
                  </a:cubicBezTo>
                  <a:cubicBezTo>
                    <a:pt x="482" y="14"/>
                    <a:pt x="481" y="14"/>
                    <a:pt x="481" y="14"/>
                  </a:cubicBezTo>
                  <a:cubicBezTo>
                    <a:pt x="481" y="14"/>
                    <a:pt x="481" y="14"/>
                    <a:pt x="480" y="14"/>
                  </a:cubicBezTo>
                  <a:cubicBezTo>
                    <a:pt x="480" y="14"/>
                    <a:pt x="479" y="14"/>
                    <a:pt x="479" y="14"/>
                  </a:cubicBezTo>
                  <a:cubicBezTo>
                    <a:pt x="479" y="14"/>
                    <a:pt x="478" y="15"/>
                    <a:pt x="478" y="15"/>
                  </a:cubicBezTo>
                  <a:cubicBezTo>
                    <a:pt x="477" y="15"/>
                    <a:pt x="477" y="16"/>
                    <a:pt x="477" y="16"/>
                  </a:cubicBezTo>
                  <a:cubicBezTo>
                    <a:pt x="476" y="17"/>
                    <a:pt x="476" y="18"/>
                    <a:pt x="475" y="19"/>
                  </a:cubicBezTo>
                  <a:cubicBezTo>
                    <a:pt x="475" y="32"/>
                    <a:pt x="475" y="32"/>
                    <a:pt x="475" y="32"/>
                  </a:cubicBezTo>
                  <a:cubicBezTo>
                    <a:pt x="475" y="33"/>
                    <a:pt x="475" y="33"/>
                    <a:pt x="475" y="33"/>
                  </a:cubicBezTo>
                  <a:cubicBezTo>
                    <a:pt x="475" y="33"/>
                    <a:pt x="475" y="33"/>
                    <a:pt x="475" y="33"/>
                  </a:cubicBezTo>
                  <a:cubicBezTo>
                    <a:pt x="475" y="33"/>
                    <a:pt x="474" y="33"/>
                    <a:pt x="474" y="33"/>
                  </a:cubicBezTo>
                  <a:cubicBezTo>
                    <a:pt x="474" y="33"/>
                    <a:pt x="474" y="33"/>
                    <a:pt x="473" y="33"/>
                  </a:cubicBezTo>
                  <a:cubicBezTo>
                    <a:pt x="473" y="33"/>
                    <a:pt x="472" y="33"/>
                    <a:pt x="472" y="33"/>
                  </a:cubicBezTo>
                  <a:cubicBezTo>
                    <a:pt x="472" y="33"/>
                    <a:pt x="472" y="33"/>
                    <a:pt x="472" y="33"/>
                  </a:cubicBezTo>
                  <a:cubicBezTo>
                    <a:pt x="471" y="33"/>
                    <a:pt x="471" y="33"/>
                    <a:pt x="471" y="33"/>
                  </a:cubicBezTo>
                  <a:cubicBezTo>
                    <a:pt x="471" y="33"/>
                    <a:pt x="471" y="33"/>
                    <a:pt x="471" y="32"/>
                  </a:cubicBezTo>
                  <a:cubicBezTo>
                    <a:pt x="471" y="11"/>
                    <a:pt x="471" y="11"/>
                    <a:pt x="471" y="11"/>
                  </a:cubicBezTo>
                  <a:cubicBezTo>
                    <a:pt x="471" y="11"/>
                    <a:pt x="471" y="11"/>
                    <a:pt x="471" y="11"/>
                  </a:cubicBezTo>
                  <a:cubicBezTo>
                    <a:pt x="471" y="11"/>
                    <a:pt x="471" y="11"/>
                    <a:pt x="472" y="11"/>
                  </a:cubicBezTo>
                  <a:cubicBezTo>
                    <a:pt x="472" y="11"/>
                    <a:pt x="472" y="11"/>
                    <a:pt x="472" y="11"/>
                  </a:cubicBezTo>
                  <a:cubicBezTo>
                    <a:pt x="472" y="11"/>
                    <a:pt x="473" y="11"/>
                    <a:pt x="473" y="11"/>
                  </a:cubicBezTo>
                  <a:cubicBezTo>
                    <a:pt x="473" y="11"/>
                    <a:pt x="474" y="11"/>
                    <a:pt x="474" y="11"/>
                  </a:cubicBezTo>
                  <a:cubicBezTo>
                    <a:pt x="474" y="11"/>
                    <a:pt x="474" y="11"/>
                    <a:pt x="474" y="11"/>
                  </a:cubicBezTo>
                  <a:cubicBezTo>
                    <a:pt x="474" y="11"/>
                    <a:pt x="475" y="11"/>
                    <a:pt x="475" y="11"/>
                  </a:cubicBezTo>
                  <a:cubicBezTo>
                    <a:pt x="475" y="11"/>
                    <a:pt x="475" y="11"/>
                    <a:pt x="475" y="11"/>
                  </a:cubicBezTo>
                  <a:cubicBezTo>
                    <a:pt x="475" y="14"/>
                    <a:pt x="475" y="14"/>
                    <a:pt x="475" y="14"/>
                  </a:cubicBezTo>
                  <a:cubicBezTo>
                    <a:pt x="475" y="14"/>
                    <a:pt x="476" y="13"/>
                    <a:pt x="476" y="12"/>
                  </a:cubicBezTo>
                  <a:cubicBezTo>
                    <a:pt x="477" y="12"/>
                    <a:pt x="477" y="11"/>
                    <a:pt x="478" y="11"/>
                  </a:cubicBezTo>
                  <a:cubicBezTo>
                    <a:pt x="478" y="11"/>
                    <a:pt x="479" y="11"/>
                    <a:pt x="479" y="11"/>
                  </a:cubicBezTo>
                  <a:cubicBezTo>
                    <a:pt x="480" y="10"/>
                    <a:pt x="480" y="10"/>
                    <a:pt x="480" y="10"/>
                  </a:cubicBezTo>
                  <a:cubicBezTo>
                    <a:pt x="481" y="10"/>
                    <a:pt x="481" y="10"/>
                    <a:pt x="481" y="10"/>
                  </a:cubicBezTo>
                  <a:cubicBezTo>
                    <a:pt x="481" y="10"/>
                    <a:pt x="482" y="10"/>
                    <a:pt x="482" y="10"/>
                  </a:cubicBezTo>
                  <a:cubicBezTo>
                    <a:pt x="482" y="11"/>
                    <a:pt x="483" y="11"/>
                    <a:pt x="483" y="11"/>
                  </a:cubicBezTo>
                  <a:cubicBezTo>
                    <a:pt x="483" y="11"/>
                    <a:pt x="483" y="11"/>
                    <a:pt x="483" y="11"/>
                  </a:cubicBezTo>
                  <a:cubicBezTo>
                    <a:pt x="483" y="11"/>
                    <a:pt x="483" y="11"/>
                    <a:pt x="483" y="11"/>
                  </a:cubicBezTo>
                  <a:cubicBezTo>
                    <a:pt x="483" y="11"/>
                    <a:pt x="483" y="11"/>
                    <a:pt x="484" y="11"/>
                  </a:cubicBezTo>
                  <a:cubicBezTo>
                    <a:pt x="484" y="12"/>
                    <a:pt x="484" y="12"/>
                    <a:pt x="484" y="12"/>
                  </a:cubicBezTo>
                  <a:cubicBezTo>
                    <a:pt x="484" y="12"/>
                    <a:pt x="484" y="12"/>
                    <a:pt x="484" y="13"/>
                  </a:cubicBezTo>
                  <a:close/>
                  <a:moveTo>
                    <a:pt x="504" y="33"/>
                  </a:moveTo>
                  <a:cubicBezTo>
                    <a:pt x="504" y="33"/>
                    <a:pt x="504" y="33"/>
                    <a:pt x="504" y="33"/>
                  </a:cubicBezTo>
                  <a:cubicBezTo>
                    <a:pt x="504" y="33"/>
                    <a:pt x="503" y="33"/>
                    <a:pt x="503" y="33"/>
                  </a:cubicBezTo>
                  <a:cubicBezTo>
                    <a:pt x="503" y="33"/>
                    <a:pt x="503" y="33"/>
                    <a:pt x="502" y="33"/>
                  </a:cubicBezTo>
                  <a:cubicBezTo>
                    <a:pt x="502" y="33"/>
                    <a:pt x="502" y="33"/>
                    <a:pt x="501" y="33"/>
                  </a:cubicBezTo>
                  <a:cubicBezTo>
                    <a:pt x="501" y="33"/>
                    <a:pt x="501" y="33"/>
                    <a:pt x="501" y="33"/>
                  </a:cubicBezTo>
                  <a:cubicBezTo>
                    <a:pt x="501" y="33"/>
                    <a:pt x="501" y="33"/>
                    <a:pt x="501" y="33"/>
                  </a:cubicBezTo>
                  <a:cubicBezTo>
                    <a:pt x="501" y="30"/>
                    <a:pt x="501" y="30"/>
                    <a:pt x="501" y="30"/>
                  </a:cubicBezTo>
                  <a:cubicBezTo>
                    <a:pt x="500" y="31"/>
                    <a:pt x="499" y="32"/>
                    <a:pt x="497" y="33"/>
                  </a:cubicBezTo>
                  <a:cubicBezTo>
                    <a:pt x="496" y="33"/>
                    <a:pt x="495" y="34"/>
                    <a:pt x="494" y="34"/>
                  </a:cubicBezTo>
                  <a:cubicBezTo>
                    <a:pt x="493" y="34"/>
                    <a:pt x="492" y="33"/>
                    <a:pt x="491" y="33"/>
                  </a:cubicBezTo>
                  <a:cubicBezTo>
                    <a:pt x="490" y="33"/>
                    <a:pt x="489" y="32"/>
                    <a:pt x="489" y="32"/>
                  </a:cubicBezTo>
                  <a:cubicBezTo>
                    <a:pt x="488" y="31"/>
                    <a:pt x="487" y="31"/>
                    <a:pt x="487" y="30"/>
                  </a:cubicBezTo>
                  <a:cubicBezTo>
                    <a:pt x="487" y="29"/>
                    <a:pt x="487" y="28"/>
                    <a:pt x="487" y="27"/>
                  </a:cubicBezTo>
                  <a:cubicBezTo>
                    <a:pt x="487" y="26"/>
                    <a:pt x="487" y="25"/>
                    <a:pt x="487" y="24"/>
                  </a:cubicBezTo>
                  <a:cubicBezTo>
                    <a:pt x="488" y="23"/>
                    <a:pt x="488" y="22"/>
                    <a:pt x="489" y="22"/>
                  </a:cubicBezTo>
                  <a:cubicBezTo>
                    <a:pt x="490" y="21"/>
                    <a:pt x="491" y="21"/>
                    <a:pt x="493" y="21"/>
                  </a:cubicBezTo>
                  <a:cubicBezTo>
                    <a:pt x="494" y="20"/>
                    <a:pt x="496" y="20"/>
                    <a:pt x="497" y="20"/>
                  </a:cubicBezTo>
                  <a:cubicBezTo>
                    <a:pt x="500" y="20"/>
                    <a:pt x="500" y="20"/>
                    <a:pt x="500" y="20"/>
                  </a:cubicBezTo>
                  <a:cubicBezTo>
                    <a:pt x="500" y="18"/>
                    <a:pt x="500" y="18"/>
                    <a:pt x="500" y="18"/>
                  </a:cubicBezTo>
                  <a:cubicBezTo>
                    <a:pt x="500" y="18"/>
                    <a:pt x="500" y="17"/>
                    <a:pt x="500" y="16"/>
                  </a:cubicBezTo>
                  <a:cubicBezTo>
                    <a:pt x="500" y="16"/>
                    <a:pt x="499" y="15"/>
                    <a:pt x="499" y="15"/>
                  </a:cubicBezTo>
                  <a:cubicBezTo>
                    <a:pt x="499" y="14"/>
                    <a:pt x="498" y="14"/>
                    <a:pt x="497" y="14"/>
                  </a:cubicBezTo>
                  <a:cubicBezTo>
                    <a:pt x="497" y="14"/>
                    <a:pt x="496" y="13"/>
                    <a:pt x="495" y="13"/>
                  </a:cubicBezTo>
                  <a:cubicBezTo>
                    <a:pt x="494" y="13"/>
                    <a:pt x="493" y="14"/>
                    <a:pt x="493" y="14"/>
                  </a:cubicBezTo>
                  <a:cubicBezTo>
                    <a:pt x="492" y="14"/>
                    <a:pt x="491" y="14"/>
                    <a:pt x="491" y="15"/>
                  </a:cubicBezTo>
                  <a:cubicBezTo>
                    <a:pt x="490" y="15"/>
                    <a:pt x="490" y="15"/>
                    <a:pt x="489" y="15"/>
                  </a:cubicBezTo>
                  <a:cubicBezTo>
                    <a:pt x="489" y="16"/>
                    <a:pt x="489" y="16"/>
                    <a:pt x="488" y="16"/>
                  </a:cubicBezTo>
                  <a:cubicBezTo>
                    <a:pt x="488" y="16"/>
                    <a:pt x="488" y="16"/>
                    <a:pt x="488" y="16"/>
                  </a:cubicBezTo>
                  <a:cubicBezTo>
                    <a:pt x="488" y="15"/>
                    <a:pt x="488" y="15"/>
                    <a:pt x="488" y="15"/>
                  </a:cubicBezTo>
                  <a:cubicBezTo>
                    <a:pt x="488" y="15"/>
                    <a:pt x="488" y="15"/>
                    <a:pt x="488" y="15"/>
                  </a:cubicBezTo>
                  <a:cubicBezTo>
                    <a:pt x="488" y="15"/>
                    <a:pt x="488" y="14"/>
                    <a:pt x="488" y="14"/>
                  </a:cubicBezTo>
                  <a:cubicBezTo>
                    <a:pt x="488" y="14"/>
                    <a:pt x="488" y="13"/>
                    <a:pt x="488" y="13"/>
                  </a:cubicBezTo>
                  <a:cubicBezTo>
                    <a:pt x="488" y="13"/>
                    <a:pt x="488" y="13"/>
                    <a:pt x="488" y="13"/>
                  </a:cubicBezTo>
                  <a:cubicBezTo>
                    <a:pt x="488" y="12"/>
                    <a:pt x="489" y="12"/>
                    <a:pt x="489" y="12"/>
                  </a:cubicBezTo>
                  <a:cubicBezTo>
                    <a:pt x="490" y="12"/>
                    <a:pt x="490" y="11"/>
                    <a:pt x="491" y="11"/>
                  </a:cubicBezTo>
                  <a:cubicBezTo>
                    <a:pt x="492" y="11"/>
                    <a:pt x="492" y="11"/>
                    <a:pt x="493" y="11"/>
                  </a:cubicBezTo>
                  <a:cubicBezTo>
                    <a:pt x="494" y="10"/>
                    <a:pt x="495" y="10"/>
                    <a:pt x="496" y="10"/>
                  </a:cubicBezTo>
                  <a:cubicBezTo>
                    <a:pt x="497" y="10"/>
                    <a:pt x="498" y="11"/>
                    <a:pt x="499" y="11"/>
                  </a:cubicBezTo>
                  <a:cubicBezTo>
                    <a:pt x="501" y="11"/>
                    <a:pt x="501" y="12"/>
                    <a:pt x="502" y="12"/>
                  </a:cubicBezTo>
                  <a:cubicBezTo>
                    <a:pt x="503" y="13"/>
                    <a:pt x="503" y="14"/>
                    <a:pt x="503" y="15"/>
                  </a:cubicBezTo>
                  <a:cubicBezTo>
                    <a:pt x="504" y="16"/>
                    <a:pt x="504" y="17"/>
                    <a:pt x="504" y="18"/>
                  </a:cubicBezTo>
                  <a:lnTo>
                    <a:pt x="504" y="33"/>
                  </a:lnTo>
                  <a:close/>
                  <a:moveTo>
                    <a:pt x="500" y="23"/>
                  </a:moveTo>
                  <a:cubicBezTo>
                    <a:pt x="497" y="23"/>
                    <a:pt x="497" y="23"/>
                    <a:pt x="497" y="23"/>
                  </a:cubicBezTo>
                  <a:cubicBezTo>
                    <a:pt x="496" y="23"/>
                    <a:pt x="495" y="23"/>
                    <a:pt x="494" y="23"/>
                  </a:cubicBezTo>
                  <a:cubicBezTo>
                    <a:pt x="493" y="23"/>
                    <a:pt x="493" y="24"/>
                    <a:pt x="492" y="24"/>
                  </a:cubicBezTo>
                  <a:cubicBezTo>
                    <a:pt x="492" y="24"/>
                    <a:pt x="491" y="25"/>
                    <a:pt x="491" y="25"/>
                  </a:cubicBezTo>
                  <a:cubicBezTo>
                    <a:pt x="491" y="26"/>
                    <a:pt x="491" y="26"/>
                    <a:pt x="491" y="27"/>
                  </a:cubicBezTo>
                  <a:cubicBezTo>
                    <a:pt x="491" y="28"/>
                    <a:pt x="491" y="29"/>
                    <a:pt x="492" y="30"/>
                  </a:cubicBezTo>
                  <a:cubicBezTo>
                    <a:pt x="492" y="30"/>
                    <a:pt x="493" y="30"/>
                    <a:pt x="495" y="30"/>
                  </a:cubicBezTo>
                  <a:cubicBezTo>
                    <a:pt x="496" y="30"/>
                    <a:pt x="496" y="30"/>
                    <a:pt x="497" y="30"/>
                  </a:cubicBezTo>
                  <a:cubicBezTo>
                    <a:pt x="498" y="29"/>
                    <a:pt x="499" y="28"/>
                    <a:pt x="500" y="27"/>
                  </a:cubicBezTo>
                  <a:lnTo>
                    <a:pt x="500" y="23"/>
                  </a:lnTo>
                  <a:close/>
                  <a:moveTo>
                    <a:pt x="529" y="32"/>
                  </a:moveTo>
                  <a:cubicBezTo>
                    <a:pt x="529" y="33"/>
                    <a:pt x="529" y="33"/>
                    <a:pt x="529" y="33"/>
                  </a:cubicBezTo>
                  <a:cubicBezTo>
                    <a:pt x="529" y="33"/>
                    <a:pt x="529" y="33"/>
                    <a:pt x="529" y="33"/>
                  </a:cubicBezTo>
                  <a:cubicBezTo>
                    <a:pt x="529" y="33"/>
                    <a:pt x="528" y="33"/>
                    <a:pt x="528" y="33"/>
                  </a:cubicBezTo>
                  <a:cubicBezTo>
                    <a:pt x="528" y="33"/>
                    <a:pt x="528" y="33"/>
                    <a:pt x="527" y="33"/>
                  </a:cubicBezTo>
                  <a:cubicBezTo>
                    <a:pt x="527" y="33"/>
                    <a:pt x="527" y="33"/>
                    <a:pt x="526" y="33"/>
                  </a:cubicBezTo>
                  <a:cubicBezTo>
                    <a:pt x="526" y="33"/>
                    <a:pt x="526" y="33"/>
                    <a:pt x="526" y="33"/>
                  </a:cubicBezTo>
                  <a:cubicBezTo>
                    <a:pt x="526" y="33"/>
                    <a:pt x="526" y="33"/>
                    <a:pt x="525" y="33"/>
                  </a:cubicBezTo>
                  <a:cubicBezTo>
                    <a:pt x="525" y="33"/>
                    <a:pt x="525" y="33"/>
                    <a:pt x="525" y="32"/>
                  </a:cubicBezTo>
                  <a:cubicBezTo>
                    <a:pt x="525" y="20"/>
                    <a:pt x="525" y="20"/>
                    <a:pt x="525" y="20"/>
                  </a:cubicBezTo>
                  <a:cubicBezTo>
                    <a:pt x="525" y="19"/>
                    <a:pt x="525" y="18"/>
                    <a:pt x="525" y="17"/>
                  </a:cubicBezTo>
                  <a:cubicBezTo>
                    <a:pt x="525" y="16"/>
                    <a:pt x="525" y="16"/>
                    <a:pt x="524" y="15"/>
                  </a:cubicBezTo>
                  <a:cubicBezTo>
                    <a:pt x="524" y="15"/>
                    <a:pt x="523" y="14"/>
                    <a:pt x="523" y="14"/>
                  </a:cubicBezTo>
                  <a:cubicBezTo>
                    <a:pt x="522" y="14"/>
                    <a:pt x="522" y="14"/>
                    <a:pt x="521" y="14"/>
                  </a:cubicBezTo>
                  <a:cubicBezTo>
                    <a:pt x="520" y="14"/>
                    <a:pt x="519" y="14"/>
                    <a:pt x="518" y="15"/>
                  </a:cubicBezTo>
                  <a:cubicBezTo>
                    <a:pt x="517" y="15"/>
                    <a:pt x="516" y="16"/>
                    <a:pt x="515" y="18"/>
                  </a:cubicBezTo>
                  <a:cubicBezTo>
                    <a:pt x="515" y="32"/>
                    <a:pt x="515" y="32"/>
                    <a:pt x="515" y="32"/>
                  </a:cubicBezTo>
                  <a:cubicBezTo>
                    <a:pt x="515" y="33"/>
                    <a:pt x="515" y="33"/>
                    <a:pt x="515" y="33"/>
                  </a:cubicBezTo>
                  <a:cubicBezTo>
                    <a:pt x="515" y="33"/>
                    <a:pt x="515" y="33"/>
                    <a:pt x="515" y="33"/>
                  </a:cubicBezTo>
                  <a:cubicBezTo>
                    <a:pt x="514" y="33"/>
                    <a:pt x="514" y="33"/>
                    <a:pt x="514" y="33"/>
                  </a:cubicBezTo>
                  <a:cubicBezTo>
                    <a:pt x="514" y="33"/>
                    <a:pt x="513" y="33"/>
                    <a:pt x="513" y="33"/>
                  </a:cubicBezTo>
                  <a:cubicBezTo>
                    <a:pt x="513" y="33"/>
                    <a:pt x="512" y="33"/>
                    <a:pt x="512" y="33"/>
                  </a:cubicBezTo>
                  <a:cubicBezTo>
                    <a:pt x="512" y="33"/>
                    <a:pt x="512" y="33"/>
                    <a:pt x="511" y="33"/>
                  </a:cubicBezTo>
                  <a:cubicBezTo>
                    <a:pt x="511" y="33"/>
                    <a:pt x="511" y="33"/>
                    <a:pt x="511" y="33"/>
                  </a:cubicBezTo>
                  <a:cubicBezTo>
                    <a:pt x="511" y="33"/>
                    <a:pt x="511" y="33"/>
                    <a:pt x="511" y="32"/>
                  </a:cubicBezTo>
                  <a:cubicBezTo>
                    <a:pt x="511" y="11"/>
                    <a:pt x="511" y="11"/>
                    <a:pt x="511" y="11"/>
                  </a:cubicBezTo>
                  <a:cubicBezTo>
                    <a:pt x="511" y="11"/>
                    <a:pt x="511" y="11"/>
                    <a:pt x="511" y="11"/>
                  </a:cubicBezTo>
                  <a:cubicBezTo>
                    <a:pt x="511" y="11"/>
                    <a:pt x="511" y="11"/>
                    <a:pt x="511" y="11"/>
                  </a:cubicBezTo>
                  <a:cubicBezTo>
                    <a:pt x="512" y="11"/>
                    <a:pt x="512" y="11"/>
                    <a:pt x="512" y="11"/>
                  </a:cubicBezTo>
                  <a:cubicBezTo>
                    <a:pt x="512" y="11"/>
                    <a:pt x="512" y="11"/>
                    <a:pt x="513" y="11"/>
                  </a:cubicBezTo>
                  <a:cubicBezTo>
                    <a:pt x="513" y="11"/>
                    <a:pt x="513" y="11"/>
                    <a:pt x="514" y="11"/>
                  </a:cubicBezTo>
                  <a:cubicBezTo>
                    <a:pt x="514" y="11"/>
                    <a:pt x="514" y="11"/>
                    <a:pt x="514" y="11"/>
                  </a:cubicBezTo>
                  <a:cubicBezTo>
                    <a:pt x="514" y="11"/>
                    <a:pt x="514" y="11"/>
                    <a:pt x="514" y="11"/>
                  </a:cubicBezTo>
                  <a:cubicBezTo>
                    <a:pt x="515" y="11"/>
                    <a:pt x="515" y="11"/>
                    <a:pt x="515" y="11"/>
                  </a:cubicBezTo>
                  <a:cubicBezTo>
                    <a:pt x="515" y="14"/>
                    <a:pt x="515" y="14"/>
                    <a:pt x="515" y="14"/>
                  </a:cubicBezTo>
                  <a:cubicBezTo>
                    <a:pt x="516" y="13"/>
                    <a:pt x="517" y="12"/>
                    <a:pt x="518" y="11"/>
                  </a:cubicBezTo>
                  <a:cubicBezTo>
                    <a:pt x="519" y="11"/>
                    <a:pt x="520" y="10"/>
                    <a:pt x="522" y="10"/>
                  </a:cubicBezTo>
                  <a:cubicBezTo>
                    <a:pt x="523" y="10"/>
                    <a:pt x="524" y="11"/>
                    <a:pt x="525" y="11"/>
                  </a:cubicBezTo>
                  <a:cubicBezTo>
                    <a:pt x="526" y="12"/>
                    <a:pt x="527" y="12"/>
                    <a:pt x="528" y="13"/>
                  </a:cubicBezTo>
                  <a:cubicBezTo>
                    <a:pt x="528" y="14"/>
                    <a:pt x="529" y="15"/>
                    <a:pt x="529" y="16"/>
                  </a:cubicBezTo>
                  <a:cubicBezTo>
                    <a:pt x="529" y="17"/>
                    <a:pt x="529" y="18"/>
                    <a:pt x="529" y="20"/>
                  </a:cubicBezTo>
                  <a:lnTo>
                    <a:pt x="529" y="32"/>
                  </a:lnTo>
                  <a:close/>
                  <a:moveTo>
                    <a:pt x="550" y="27"/>
                  </a:moveTo>
                  <a:cubicBezTo>
                    <a:pt x="550" y="28"/>
                    <a:pt x="549" y="29"/>
                    <a:pt x="549" y="30"/>
                  </a:cubicBezTo>
                  <a:cubicBezTo>
                    <a:pt x="549" y="30"/>
                    <a:pt x="548" y="31"/>
                    <a:pt x="547" y="32"/>
                  </a:cubicBezTo>
                  <a:cubicBezTo>
                    <a:pt x="547" y="32"/>
                    <a:pt x="546" y="33"/>
                    <a:pt x="545" y="33"/>
                  </a:cubicBezTo>
                  <a:cubicBezTo>
                    <a:pt x="544" y="33"/>
                    <a:pt x="543" y="34"/>
                    <a:pt x="541" y="34"/>
                  </a:cubicBezTo>
                  <a:cubicBezTo>
                    <a:pt x="541" y="34"/>
                    <a:pt x="540" y="33"/>
                    <a:pt x="539" y="33"/>
                  </a:cubicBezTo>
                  <a:cubicBezTo>
                    <a:pt x="538" y="33"/>
                    <a:pt x="538" y="33"/>
                    <a:pt x="537" y="33"/>
                  </a:cubicBezTo>
                  <a:cubicBezTo>
                    <a:pt x="537" y="33"/>
                    <a:pt x="536" y="33"/>
                    <a:pt x="536" y="32"/>
                  </a:cubicBezTo>
                  <a:cubicBezTo>
                    <a:pt x="536" y="32"/>
                    <a:pt x="535" y="32"/>
                    <a:pt x="535" y="32"/>
                  </a:cubicBezTo>
                  <a:cubicBezTo>
                    <a:pt x="535" y="32"/>
                    <a:pt x="535" y="31"/>
                    <a:pt x="535" y="31"/>
                  </a:cubicBezTo>
                  <a:cubicBezTo>
                    <a:pt x="535" y="31"/>
                    <a:pt x="535" y="30"/>
                    <a:pt x="535" y="30"/>
                  </a:cubicBezTo>
                  <a:cubicBezTo>
                    <a:pt x="535" y="30"/>
                    <a:pt x="535" y="29"/>
                    <a:pt x="535" y="29"/>
                  </a:cubicBezTo>
                  <a:cubicBezTo>
                    <a:pt x="535" y="29"/>
                    <a:pt x="535" y="29"/>
                    <a:pt x="535" y="29"/>
                  </a:cubicBezTo>
                  <a:cubicBezTo>
                    <a:pt x="535" y="29"/>
                    <a:pt x="535" y="29"/>
                    <a:pt x="535" y="28"/>
                  </a:cubicBezTo>
                  <a:cubicBezTo>
                    <a:pt x="535" y="28"/>
                    <a:pt x="535" y="28"/>
                    <a:pt x="535" y="28"/>
                  </a:cubicBezTo>
                  <a:cubicBezTo>
                    <a:pt x="535" y="28"/>
                    <a:pt x="536" y="29"/>
                    <a:pt x="536" y="29"/>
                  </a:cubicBezTo>
                  <a:cubicBezTo>
                    <a:pt x="536" y="29"/>
                    <a:pt x="537" y="29"/>
                    <a:pt x="537" y="29"/>
                  </a:cubicBezTo>
                  <a:cubicBezTo>
                    <a:pt x="538" y="30"/>
                    <a:pt x="538" y="30"/>
                    <a:pt x="539" y="30"/>
                  </a:cubicBezTo>
                  <a:cubicBezTo>
                    <a:pt x="540" y="30"/>
                    <a:pt x="540" y="30"/>
                    <a:pt x="541" y="30"/>
                  </a:cubicBezTo>
                  <a:cubicBezTo>
                    <a:pt x="542" y="30"/>
                    <a:pt x="543" y="30"/>
                    <a:pt x="543" y="30"/>
                  </a:cubicBezTo>
                  <a:cubicBezTo>
                    <a:pt x="544" y="30"/>
                    <a:pt x="544" y="30"/>
                    <a:pt x="545" y="30"/>
                  </a:cubicBezTo>
                  <a:cubicBezTo>
                    <a:pt x="545" y="29"/>
                    <a:pt x="545" y="29"/>
                    <a:pt x="545" y="29"/>
                  </a:cubicBezTo>
                  <a:cubicBezTo>
                    <a:pt x="546" y="28"/>
                    <a:pt x="546" y="28"/>
                    <a:pt x="546" y="27"/>
                  </a:cubicBezTo>
                  <a:cubicBezTo>
                    <a:pt x="546" y="26"/>
                    <a:pt x="546" y="26"/>
                    <a:pt x="545" y="26"/>
                  </a:cubicBezTo>
                  <a:cubicBezTo>
                    <a:pt x="545" y="25"/>
                    <a:pt x="545" y="25"/>
                    <a:pt x="544" y="24"/>
                  </a:cubicBezTo>
                  <a:cubicBezTo>
                    <a:pt x="544" y="24"/>
                    <a:pt x="543" y="24"/>
                    <a:pt x="542" y="24"/>
                  </a:cubicBezTo>
                  <a:cubicBezTo>
                    <a:pt x="542" y="23"/>
                    <a:pt x="541" y="23"/>
                    <a:pt x="540" y="23"/>
                  </a:cubicBezTo>
                  <a:cubicBezTo>
                    <a:pt x="540" y="23"/>
                    <a:pt x="539" y="22"/>
                    <a:pt x="539" y="22"/>
                  </a:cubicBezTo>
                  <a:cubicBezTo>
                    <a:pt x="538" y="22"/>
                    <a:pt x="537" y="21"/>
                    <a:pt x="537" y="21"/>
                  </a:cubicBezTo>
                  <a:cubicBezTo>
                    <a:pt x="536" y="20"/>
                    <a:pt x="536" y="20"/>
                    <a:pt x="536" y="19"/>
                  </a:cubicBezTo>
                  <a:cubicBezTo>
                    <a:pt x="535" y="18"/>
                    <a:pt x="535" y="18"/>
                    <a:pt x="535" y="17"/>
                  </a:cubicBezTo>
                  <a:cubicBezTo>
                    <a:pt x="535" y="16"/>
                    <a:pt x="535" y="15"/>
                    <a:pt x="536" y="14"/>
                  </a:cubicBezTo>
                  <a:cubicBezTo>
                    <a:pt x="536" y="13"/>
                    <a:pt x="536" y="13"/>
                    <a:pt x="537" y="12"/>
                  </a:cubicBezTo>
                  <a:cubicBezTo>
                    <a:pt x="538" y="12"/>
                    <a:pt x="539" y="11"/>
                    <a:pt x="539" y="11"/>
                  </a:cubicBezTo>
                  <a:cubicBezTo>
                    <a:pt x="540" y="11"/>
                    <a:pt x="542" y="10"/>
                    <a:pt x="543" y="10"/>
                  </a:cubicBezTo>
                  <a:cubicBezTo>
                    <a:pt x="543" y="10"/>
                    <a:pt x="544" y="10"/>
                    <a:pt x="545" y="10"/>
                  </a:cubicBezTo>
                  <a:cubicBezTo>
                    <a:pt x="545" y="11"/>
                    <a:pt x="546" y="11"/>
                    <a:pt x="546" y="11"/>
                  </a:cubicBezTo>
                  <a:cubicBezTo>
                    <a:pt x="547" y="11"/>
                    <a:pt x="547" y="11"/>
                    <a:pt x="547" y="11"/>
                  </a:cubicBezTo>
                  <a:cubicBezTo>
                    <a:pt x="548" y="11"/>
                    <a:pt x="548" y="12"/>
                    <a:pt x="548" y="12"/>
                  </a:cubicBezTo>
                  <a:cubicBezTo>
                    <a:pt x="548" y="12"/>
                    <a:pt x="548" y="12"/>
                    <a:pt x="548" y="12"/>
                  </a:cubicBezTo>
                  <a:cubicBezTo>
                    <a:pt x="548" y="12"/>
                    <a:pt x="548" y="12"/>
                    <a:pt x="548" y="12"/>
                  </a:cubicBezTo>
                  <a:cubicBezTo>
                    <a:pt x="548" y="12"/>
                    <a:pt x="548" y="13"/>
                    <a:pt x="548" y="13"/>
                  </a:cubicBezTo>
                  <a:cubicBezTo>
                    <a:pt x="548" y="13"/>
                    <a:pt x="548" y="13"/>
                    <a:pt x="548" y="13"/>
                  </a:cubicBezTo>
                  <a:cubicBezTo>
                    <a:pt x="548" y="14"/>
                    <a:pt x="548" y="14"/>
                    <a:pt x="548" y="14"/>
                  </a:cubicBezTo>
                  <a:cubicBezTo>
                    <a:pt x="548" y="14"/>
                    <a:pt x="548" y="14"/>
                    <a:pt x="548" y="15"/>
                  </a:cubicBezTo>
                  <a:cubicBezTo>
                    <a:pt x="548" y="15"/>
                    <a:pt x="548" y="15"/>
                    <a:pt x="548" y="15"/>
                  </a:cubicBezTo>
                  <a:cubicBezTo>
                    <a:pt x="548" y="15"/>
                    <a:pt x="548" y="15"/>
                    <a:pt x="548" y="15"/>
                  </a:cubicBezTo>
                  <a:cubicBezTo>
                    <a:pt x="548" y="15"/>
                    <a:pt x="548" y="15"/>
                    <a:pt x="547" y="15"/>
                  </a:cubicBezTo>
                  <a:cubicBezTo>
                    <a:pt x="547" y="15"/>
                    <a:pt x="547" y="14"/>
                    <a:pt x="546" y="14"/>
                  </a:cubicBezTo>
                  <a:cubicBezTo>
                    <a:pt x="546" y="14"/>
                    <a:pt x="545" y="14"/>
                    <a:pt x="545" y="14"/>
                  </a:cubicBezTo>
                  <a:cubicBezTo>
                    <a:pt x="544" y="13"/>
                    <a:pt x="544" y="13"/>
                    <a:pt x="543" y="13"/>
                  </a:cubicBezTo>
                  <a:cubicBezTo>
                    <a:pt x="542" y="13"/>
                    <a:pt x="542" y="13"/>
                    <a:pt x="541" y="14"/>
                  </a:cubicBezTo>
                  <a:cubicBezTo>
                    <a:pt x="541" y="14"/>
                    <a:pt x="540" y="14"/>
                    <a:pt x="540" y="14"/>
                  </a:cubicBezTo>
                  <a:cubicBezTo>
                    <a:pt x="540" y="14"/>
                    <a:pt x="539" y="15"/>
                    <a:pt x="539" y="15"/>
                  </a:cubicBezTo>
                  <a:cubicBezTo>
                    <a:pt x="539" y="16"/>
                    <a:pt x="539" y="16"/>
                    <a:pt x="539" y="16"/>
                  </a:cubicBezTo>
                  <a:cubicBezTo>
                    <a:pt x="539" y="17"/>
                    <a:pt x="539" y="17"/>
                    <a:pt x="539" y="18"/>
                  </a:cubicBezTo>
                  <a:cubicBezTo>
                    <a:pt x="540" y="18"/>
                    <a:pt x="540" y="19"/>
                    <a:pt x="541" y="19"/>
                  </a:cubicBezTo>
                  <a:cubicBezTo>
                    <a:pt x="541" y="19"/>
                    <a:pt x="542" y="20"/>
                    <a:pt x="542" y="20"/>
                  </a:cubicBezTo>
                  <a:cubicBezTo>
                    <a:pt x="543" y="20"/>
                    <a:pt x="544" y="20"/>
                    <a:pt x="544" y="21"/>
                  </a:cubicBezTo>
                  <a:cubicBezTo>
                    <a:pt x="545" y="21"/>
                    <a:pt x="546" y="21"/>
                    <a:pt x="546" y="22"/>
                  </a:cubicBezTo>
                  <a:cubicBezTo>
                    <a:pt x="547" y="22"/>
                    <a:pt x="547" y="22"/>
                    <a:pt x="548" y="23"/>
                  </a:cubicBezTo>
                  <a:cubicBezTo>
                    <a:pt x="548" y="23"/>
                    <a:pt x="549" y="24"/>
                    <a:pt x="549" y="24"/>
                  </a:cubicBezTo>
                  <a:cubicBezTo>
                    <a:pt x="549" y="25"/>
                    <a:pt x="550" y="26"/>
                    <a:pt x="550" y="27"/>
                  </a:cubicBezTo>
                  <a:close/>
                  <a:moveTo>
                    <a:pt x="567" y="3"/>
                  </a:moveTo>
                  <a:cubicBezTo>
                    <a:pt x="567" y="3"/>
                    <a:pt x="567" y="3"/>
                    <a:pt x="567" y="3"/>
                  </a:cubicBezTo>
                  <a:cubicBezTo>
                    <a:pt x="567" y="4"/>
                    <a:pt x="567" y="4"/>
                    <a:pt x="567" y="4"/>
                  </a:cubicBezTo>
                  <a:cubicBezTo>
                    <a:pt x="567" y="4"/>
                    <a:pt x="566" y="4"/>
                    <a:pt x="566" y="4"/>
                  </a:cubicBezTo>
                  <a:cubicBezTo>
                    <a:pt x="566" y="4"/>
                    <a:pt x="566" y="4"/>
                    <a:pt x="566" y="4"/>
                  </a:cubicBezTo>
                  <a:cubicBezTo>
                    <a:pt x="566" y="4"/>
                    <a:pt x="566" y="4"/>
                    <a:pt x="566" y="4"/>
                  </a:cubicBezTo>
                  <a:cubicBezTo>
                    <a:pt x="566" y="4"/>
                    <a:pt x="565" y="4"/>
                    <a:pt x="565" y="4"/>
                  </a:cubicBezTo>
                  <a:cubicBezTo>
                    <a:pt x="565" y="4"/>
                    <a:pt x="565" y="4"/>
                    <a:pt x="564" y="4"/>
                  </a:cubicBezTo>
                  <a:cubicBezTo>
                    <a:pt x="564" y="3"/>
                    <a:pt x="564" y="3"/>
                    <a:pt x="563" y="3"/>
                  </a:cubicBezTo>
                  <a:cubicBezTo>
                    <a:pt x="563" y="3"/>
                    <a:pt x="562" y="4"/>
                    <a:pt x="562" y="4"/>
                  </a:cubicBezTo>
                  <a:cubicBezTo>
                    <a:pt x="561" y="4"/>
                    <a:pt x="561" y="4"/>
                    <a:pt x="561" y="5"/>
                  </a:cubicBezTo>
                  <a:cubicBezTo>
                    <a:pt x="560" y="5"/>
                    <a:pt x="560" y="6"/>
                    <a:pt x="560" y="6"/>
                  </a:cubicBezTo>
                  <a:cubicBezTo>
                    <a:pt x="560" y="7"/>
                    <a:pt x="560" y="8"/>
                    <a:pt x="560" y="8"/>
                  </a:cubicBezTo>
                  <a:cubicBezTo>
                    <a:pt x="560" y="11"/>
                    <a:pt x="560" y="11"/>
                    <a:pt x="560" y="11"/>
                  </a:cubicBezTo>
                  <a:cubicBezTo>
                    <a:pt x="565" y="11"/>
                    <a:pt x="565" y="11"/>
                    <a:pt x="565" y="11"/>
                  </a:cubicBezTo>
                  <a:cubicBezTo>
                    <a:pt x="565" y="11"/>
                    <a:pt x="565" y="11"/>
                    <a:pt x="565" y="11"/>
                  </a:cubicBezTo>
                  <a:cubicBezTo>
                    <a:pt x="565" y="11"/>
                    <a:pt x="565" y="11"/>
                    <a:pt x="565" y="11"/>
                  </a:cubicBezTo>
                  <a:cubicBezTo>
                    <a:pt x="565" y="11"/>
                    <a:pt x="565" y="11"/>
                    <a:pt x="565" y="12"/>
                  </a:cubicBezTo>
                  <a:cubicBezTo>
                    <a:pt x="566" y="12"/>
                    <a:pt x="566" y="12"/>
                    <a:pt x="566" y="12"/>
                  </a:cubicBezTo>
                  <a:cubicBezTo>
                    <a:pt x="566" y="13"/>
                    <a:pt x="565" y="13"/>
                    <a:pt x="565" y="14"/>
                  </a:cubicBezTo>
                  <a:cubicBezTo>
                    <a:pt x="565" y="14"/>
                    <a:pt x="565" y="14"/>
                    <a:pt x="565" y="14"/>
                  </a:cubicBezTo>
                  <a:cubicBezTo>
                    <a:pt x="560" y="14"/>
                    <a:pt x="560" y="14"/>
                    <a:pt x="560" y="14"/>
                  </a:cubicBezTo>
                  <a:cubicBezTo>
                    <a:pt x="560" y="32"/>
                    <a:pt x="560" y="32"/>
                    <a:pt x="560" y="32"/>
                  </a:cubicBezTo>
                  <a:cubicBezTo>
                    <a:pt x="560" y="33"/>
                    <a:pt x="560" y="33"/>
                    <a:pt x="560" y="33"/>
                  </a:cubicBezTo>
                  <a:cubicBezTo>
                    <a:pt x="560" y="33"/>
                    <a:pt x="560" y="33"/>
                    <a:pt x="560" y="33"/>
                  </a:cubicBezTo>
                  <a:cubicBezTo>
                    <a:pt x="559" y="33"/>
                    <a:pt x="559" y="33"/>
                    <a:pt x="559" y="33"/>
                  </a:cubicBezTo>
                  <a:cubicBezTo>
                    <a:pt x="559" y="33"/>
                    <a:pt x="558" y="33"/>
                    <a:pt x="558" y="33"/>
                  </a:cubicBezTo>
                  <a:cubicBezTo>
                    <a:pt x="558" y="33"/>
                    <a:pt x="557" y="33"/>
                    <a:pt x="557" y="33"/>
                  </a:cubicBezTo>
                  <a:cubicBezTo>
                    <a:pt x="557" y="33"/>
                    <a:pt x="557" y="33"/>
                    <a:pt x="557" y="33"/>
                  </a:cubicBezTo>
                  <a:cubicBezTo>
                    <a:pt x="556" y="33"/>
                    <a:pt x="556" y="33"/>
                    <a:pt x="556" y="33"/>
                  </a:cubicBezTo>
                  <a:cubicBezTo>
                    <a:pt x="556" y="33"/>
                    <a:pt x="556" y="33"/>
                    <a:pt x="556" y="32"/>
                  </a:cubicBezTo>
                  <a:cubicBezTo>
                    <a:pt x="556" y="14"/>
                    <a:pt x="556" y="14"/>
                    <a:pt x="556" y="14"/>
                  </a:cubicBezTo>
                  <a:cubicBezTo>
                    <a:pt x="553" y="14"/>
                    <a:pt x="553" y="14"/>
                    <a:pt x="553" y="14"/>
                  </a:cubicBezTo>
                  <a:cubicBezTo>
                    <a:pt x="553" y="14"/>
                    <a:pt x="553" y="14"/>
                    <a:pt x="553" y="14"/>
                  </a:cubicBezTo>
                  <a:cubicBezTo>
                    <a:pt x="552" y="13"/>
                    <a:pt x="552" y="13"/>
                    <a:pt x="552" y="12"/>
                  </a:cubicBezTo>
                  <a:cubicBezTo>
                    <a:pt x="552" y="12"/>
                    <a:pt x="552" y="12"/>
                    <a:pt x="552" y="12"/>
                  </a:cubicBezTo>
                  <a:cubicBezTo>
                    <a:pt x="553" y="11"/>
                    <a:pt x="553" y="11"/>
                    <a:pt x="553" y="11"/>
                  </a:cubicBezTo>
                  <a:cubicBezTo>
                    <a:pt x="553" y="11"/>
                    <a:pt x="553" y="11"/>
                    <a:pt x="553" y="11"/>
                  </a:cubicBezTo>
                  <a:cubicBezTo>
                    <a:pt x="553" y="11"/>
                    <a:pt x="553" y="11"/>
                    <a:pt x="553" y="11"/>
                  </a:cubicBezTo>
                  <a:cubicBezTo>
                    <a:pt x="556" y="11"/>
                    <a:pt x="556" y="11"/>
                    <a:pt x="556" y="11"/>
                  </a:cubicBezTo>
                  <a:cubicBezTo>
                    <a:pt x="556" y="9"/>
                    <a:pt x="556" y="9"/>
                    <a:pt x="556" y="9"/>
                  </a:cubicBezTo>
                  <a:cubicBezTo>
                    <a:pt x="556" y="7"/>
                    <a:pt x="556" y="6"/>
                    <a:pt x="557" y="5"/>
                  </a:cubicBezTo>
                  <a:cubicBezTo>
                    <a:pt x="557" y="4"/>
                    <a:pt x="557" y="3"/>
                    <a:pt x="558" y="2"/>
                  </a:cubicBezTo>
                  <a:cubicBezTo>
                    <a:pt x="558" y="2"/>
                    <a:pt x="559" y="1"/>
                    <a:pt x="560" y="1"/>
                  </a:cubicBezTo>
                  <a:cubicBezTo>
                    <a:pt x="561" y="0"/>
                    <a:pt x="562" y="0"/>
                    <a:pt x="563" y="0"/>
                  </a:cubicBezTo>
                  <a:cubicBezTo>
                    <a:pt x="563" y="0"/>
                    <a:pt x="564" y="0"/>
                    <a:pt x="565" y="0"/>
                  </a:cubicBezTo>
                  <a:cubicBezTo>
                    <a:pt x="565" y="1"/>
                    <a:pt x="565" y="1"/>
                    <a:pt x="566" y="1"/>
                  </a:cubicBezTo>
                  <a:cubicBezTo>
                    <a:pt x="566" y="1"/>
                    <a:pt x="566" y="1"/>
                    <a:pt x="566" y="1"/>
                  </a:cubicBezTo>
                  <a:cubicBezTo>
                    <a:pt x="566" y="1"/>
                    <a:pt x="566" y="1"/>
                    <a:pt x="567" y="1"/>
                  </a:cubicBezTo>
                  <a:cubicBezTo>
                    <a:pt x="567" y="2"/>
                    <a:pt x="567" y="2"/>
                    <a:pt x="567" y="2"/>
                  </a:cubicBezTo>
                  <a:cubicBezTo>
                    <a:pt x="567" y="2"/>
                    <a:pt x="567" y="2"/>
                    <a:pt x="567" y="3"/>
                  </a:cubicBezTo>
                  <a:close/>
                  <a:moveTo>
                    <a:pt x="589" y="22"/>
                  </a:moveTo>
                  <a:cubicBezTo>
                    <a:pt x="589" y="23"/>
                    <a:pt x="589" y="25"/>
                    <a:pt x="589" y="26"/>
                  </a:cubicBezTo>
                  <a:cubicBezTo>
                    <a:pt x="588" y="28"/>
                    <a:pt x="588" y="29"/>
                    <a:pt x="587" y="30"/>
                  </a:cubicBezTo>
                  <a:cubicBezTo>
                    <a:pt x="586" y="31"/>
                    <a:pt x="585" y="32"/>
                    <a:pt x="583" y="33"/>
                  </a:cubicBezTo>
                  <a:cubicBezTo>
                    <a:pt x="582" y="33"/>
                    <a:pt x="580" y="34"/>
                    <a:pt x="579" y="34"/>
                  </a:cubicBezTo>
                  <a:cubicBezTo>
                    <a:pt x="577" y="34"/>
                    <a:pt x="575" y="33"/>
                    <a:pt x="574" y="33"/>
                  </a:cubicBezTo>
                  <a:cubicBezTo>
                    <a:pt x="573" y="32"/>
                    <a:pt x="572" y="31"/>
                    <a:pt x="571" y="30"/>
                  </a:cubicBezTo>
                  <a:cubicBezTo>
                    <a:pt x="570" y="30"/>
                    <a:pt x="569" y="28"/>
                    <a:pt x="569" y="27"/>
                  </a:cubicBezTo>
                  <a:cubicBezTo>
                    <a:pt x="569" y="25"/>
                    <a:pt x="568" y="24"/>
                    <a:pt x="568" y="22"/>
                  </a:cubicBezTo>
                  <a:cubicBezTo>
                    <a:pt x="568" y="20"/>
                    <a:pt x="569" y="19"/>
                    <a:pt x="569" y="17"/>
                  </a:cubicBezTo>
                  <a:cubicBezTo>
                    <a:pt x="569" y="16"/>
                    <a:pt x="570" y="15"/>
                    <a:pt x="571" y="14"/>
                  </a:cubicBezTo>
                  <a:cubicBezTo>
                    <a:pt x="572" y="13"/>
                    <a:pt x="573" y="12"/>
                    <a:pt x="574" y="11"/>
                  </a:cubicBezTo>
                  <a:cubicBezTo>
                    <a:pt x="576" y="11"/>
                    <a:pt x="577" y="10"/>
                    <a:pt x="579" y="10"/>
                  </a:cubicBezTo>
                  <a:cubicBezTo>
                    <a:pt x="581" y="10"/>
                    <a:pt x="582" y="11"/>
                    <a:pt x="584" y="11"/>
                  </a:cubicBezTo>
                  <a:cubicBezTo>
                    <a:pt x="585" y="12"/>
                    <a:pt x="586" y="12"/>
                    <a:pt x="587" y="13"/>
                  </a:cubicBezTo>
                  <a:cubicBezTo>
                    <a:pt x="588" y="14"/>
                    <a:pt x="588" y="16"/>
                    <a:pt x="589" y="17"/>
                  </a:cubicBezTo>
                  <a:cubicBezTo>
                    <a:pt x="589" y="18"/>
                    <a:pt x="589" y="20"/>
                    <a:pt x="589" y="22"/>
                  </a:cubicBezTo>
                  <a:close/>
                  <a:moveTo>
                    <a:pt x="585" y="22"/>
                  </a:moveTo>
                  <a:cubicBezTo>
                    <a:pt x="585" y="21"/>
                    <a:pt x="585" y="20"/>
                    <a:pt x="585" y="19"/>
                  </a:cubicBezTo>
                  <a:cubicBezTo>
                    <a:pt x="585" y="18"/>
                    <a:pt x="585" y="17"/>
                    <a:pt x="584" y="16"/>
                  </a:cubicBezTo>
                  <a:cubicBezTo>
                    <a:pt x="584" y="15"/>
                    <a:pt x="583" y="15"/>
                    <a:pt x="582" y="14"/>
                  </a:cubicBezTo>
                  <a:cubicBezTo>
                    <a:pt x="581" y="14"/>
                    <a:pt x="580" y="14"/>
                    <a:pt x="579" y="14"/>
                  </a:cubicBezTo>
                  <a:cubicBezTo>
                    <a:pt x="578" y="14"/>
                    <a:pt x="577" y="14"/>
                    <a:pt x="576" y="14"/>
                  </a:cubicBezTo>
                  <a:cubicBezTo>
                    <a:pt x="575" y="15"/>
                    <a:pt x="574" y="15"/>
                    <a:pt x="574" y="16"/>
                  </a:cubicBezTo>
                  <a:cubicBezTo>
                    <a:pt x="573" y="17"/>
                    <a:pt x="573" y="18"/>
                    <a:pt x="573" y="19"/>
                  </a:cubicBezTo>
                  <a:cubicBezTo>
                    <a:pt x="572" y="20"/>
                    <a:pt x="572" y="21"/>
                    <a:pt x="572" y="22"/>
                  </a:cubicBezTo>
                  <a:cubicBezTo>
                    <a:pt x="572" y="23"/>
                    <a:pt x="572" y="24"/>
                    <a:pt x="573" y="25"/>
                  </a:cubicBezTo>
                  <a:cubicBezTo>
                    <a:pt x="573" y="26"/>
                    <a:pt x="573" y="27"/>
                    <a:pt x="574" y="28"/>
                  </a:cubicBezTo>
                  <a:cubicBezTo>
                    <a:pt x="574" y="29"/>
                    <a:pt x="575" y="29"/>
                    <a:pt x="576" y="30"/>
                  </a:cubicBezTo>
                  <a:cubicBezTo>
                    <a:pt x="577" y="30"/>
                    <a:pt x="578" y="30"/>
                    <a:pt x="579" y="30"/>
                  </a:cubicBezTo>
                  <a:cubicBezTo>
                    <a:pt x="580" y="30"/>
                    <a:pt x="581" y="30"/>
                    <a:pt x="582" y="30"/>
                  </a:cubicBezTo>
                  <a:cubicBezTo>
                    <a:pt x="583" y="29"/>
                    <a:pt x="583" y="29"/>
                    <a:pt x="584" y="28"/>
                  </a:cubicBezTo>
                  <a:cubicBezTo>
                    <a:pt x="584" y="27"/>
                    <a:pt x="585" y="26"/>
                    <a:pt x="585" y="25"/>
                  </a:cubicBezTo>
                  <a:cubicBezTo>
                    <a:pt x="585" y="24"/>
                    <a:pt x="585" y="23"/>
                    <a:pt x="585" y="22"/>
                  </a:cubicBezTo>
                  <a:close/>
                  <a:moveTo>
                    <a:pt x="608" y="13"/>
                  </a:moveTo>
                  <a:cubicBezTo>
                    <a:pt x="608" y="13"/>
                    <a:pt x="608" y="13"/>
                    <a:pt x="608" y="14"/>
                  </a:cubicBezTo>
                  <a:cubicBezTo>
                    <a:pt x="607" y="14"/>
                    <a:pt x="607" y="14"/>
                    <a:pt x="607" y="14"/>
                  </a:cubicBezTo>
                  <a:cubicBezTo>
                    <a:pt x="607" y="14"/>
                    <a:pt x="607" y="14"/>
                    <a:pt x="607" y="14"/>
                  </a:cubicBezTo>
                  <a:cubicBezTo>
                    <a:pt x="607" y="15"/>
                    <a:pt x="607" y="15"/>
                    <a:pt x="607" y="15"/>
                  </a:cubicBezTo>
                  <a:cubicBezTo>
                    <a:pt x="607" y="15"/>
                    <a:pt x="607" y="15"/>
                    <a:pt x="606" y="14"/>
                  </a:cubicBezTo>
                  <a:cubicBezTo>
                    <a:pt x="606" y="14"/>
                    <a:pt x="606" y="14"/>
                    <a:pt x="606" y="14"/>
                  </a:cubicBezTo>
                  <a:cubicBezTo>
                    <a:pt x="606" y="14"/>
                    <a:pt x="605" y="14"/>
                    <a:pt x="605" y="14"/>
                  </a:cubicBezTo>
                  <a:cubicBezTo>
                    <a:pt x="605" y="14"/>
                    <a:pt x="605" y="14"/>
                    <a:pt x="604" y="14"/>
                  </a:cubicBezTo>
                  <a:cubicBezTo>
                    <a:pt x="604" y="14"/>
                    <a:pt x="603" y="14"/>
                    <a:pt x="603" y="14"/>
                  </a:cubicBezTo>
                  <a:cubicBezTo>
                    <a:pt x="603" y="14"/>
                    <a:pt x="602" y="15"/>
                    <a:pt x="602" y="15"/>
                  </a:cubicBezTo>
                  <a:cubicBezTo>
                    <a:pt x="601" y="15"/>
                    <a:pt x="601" y="16"/>
                    <a:pt x="601" y="16"/>
                  </a:cubicBezTo>
                  <a:cubicBezTo>
                    <a:pt x="600" y="17"/>
                    <a:pt x="600" y="18"/>
                    <a:pt x="599" y="19"/>
                  </a:cubicBezTo>
                  <a:cubicBezTo>
                    <a:pt x="599" y="32"/>
                    <a:pt x="599" y="32"/>
                    <a:pt x="599" y="32"/>
                  </a:cubicBezTo>
                  <a:cubicBezTo>
                    <a:pt x="599" y="33"/>
                    <a:pt x="599" y="33"/>
                    <a:pt x="599" y="33"/>
                  </a:cubicBezTo>
                  <a:cubicBezTo>
                    <a:pt x="599" y="33"/>
                    <a:pt x="599" y="33"/>
                    <a:pt x="599" y="33"/>
                  </a:cubicBezTo>
                  <a:cubicBezTo>
                    <a:pt x="599" y="33"/>
                    <a:pt x="598" y="33"/>
                    <a:pt x="598" y="33"/>
                  </a:cubicBezTo>
                  <a:cubicBezTo>
                    <a:pt x="598" y="33"/>
                    <a:pt x="598" y="33"/>
                    <a:pt x="597" y="33"/>
                  </a:cubicBezTo>
                  <a:cubicBezTo>
                    <a:pt x="597" y="33"/>
                    <a:pt x="596" y="33"/>
                    <a:pt x="596" y="33"/>
                  </a:cubicBezTo>
                  <a:cubicBezTo>
                    <a:pt x="596" y="33"/>
                    <a:pt x="596" y="33"/>
                    <a:pt x="596" y="33"/>
                  </a:cubicBezTo>
                  <a:cubicBezTo>
                    <a:pt x="595" y="33"/>
                    <a:pt x="595" y="33"/>
                    <a:pt x="595" y="33"/>
                  </a:cubicBezTo>
                  <a:cubicBezTo>
                    <a:pt x="595" y="33"/>
                    <a:pt x="595" y="33"/>
                    <a:pt x="595" y="32"/>
                  </a:cubicBezTo>
                  <a:cubicBezTo>
                    <a:pt x="595" y="11"/>
                    <a:pt x="595" y="11"/>
                    <a:pt x="595" y="11"/>
                  </a:cubicBezTo>
                  <a:cubicBezTo>
                    <a:pt x="595" y="11"/>
                    <a:pt x="595" y="11"/>
                    <a:pt x="595" y="11"/>
                  </a:cubicBezTo>
                  <a:cubicBezTo>
                    <a:pt x="595" y="11"/>
                    <a:pt x="595" y="11"/>
                    <a:pt x="596" y="11"/>
                  </a:cubicBezTo>
                  <a:cubicBezTo>
                    <a:pt x="596" y="11"/>
                    <a:pt x="596" y="11"/>
                    <a:pt x="596" y="11"/>
                  </a:cubicBezTo>
                  <a:cubicBezTo>
                    <a:pt x="596" y="11"/>
                    <a:pt x="597" y="11"/>
                    <a:pt x="597" y="11"/>
                  </a:cubicBezTo>
                  <a:cubicBezTo>
                    <a:pt x="597" y="11"/>
                    <a:pt x="598" y="11"/>
                    <a:pt x="598" y="11"/>
                  </a:cubicBezTo>
                  <a:cubicBezTo>
                    <a:pt x="598" y="11"/>
                    <a:pt x="598" y="11"/>
                    <a:pt x="598" y="11"/>
                  </a:cubicBezTo>
                  <a:cubicBezTo>
                    <a:pt x="598" y="11"/>
                    <a:pt x="599" y="11"/>
                    <a:pt x="599" y="11"/>
                  </a:cubicBezTo>
                  <a:cubicBezTo>
                    <a:pt x="599" y="11"/>
                    <a:pt x="599" y="11"/>
                    <a:pt x="599" y="11"/>
                  </a:cubicBezTo>
                  <a:cubicBezTo>
                    <a:pt x="599" y="14"/>
                    <a:pt x="599" y="14"/>
                    <a:pt x="599" y="14"/>
                  </a:cubicBezTo>
                  <a:cubicBezTo>
                    <a:pt x="599" y="14"/>
                    <a:pt x="600" y="13"/>
                    <a:pt x="600" y="12"/>
                  </a:cubicBezTo>
                  <a:cubicBezTo>
                    <a:pt x="601" y="12"/>
                    <a:pt x="601" y="11"/>
                    <a:pt x="602" y="11"/>
                  </a:cubicBezTo>
                  <a:cubicBezTo>
                    <a:pt x="602" y="11"/>
                    <a:pt x="603" y="11"/>
                    <a:pt x="603" y="11"/>
                  </a:cubicBezTo>
                  <a:cubicBezTo>
                    <a:pt x="604" y="10"/>
                    <a:pt x="604" y="10"/>
                    <a:pt x="604" y="10"/>
                  </a:cubicBezTo>
                  <a:cubicBezTo>
                    <a:pt x="605" y="10"/>
                    <a:pt x="605" y="10"/>
                    <a:pt x="605" y="10"/>
                  </a:cubicBezTo>
                  <a:cubicBezTo>
                    <a:pt x="605" y="10"/>
                    <a:pt x="606" y="10"/>
                    <a:pt x="606" y="10"/>
                  </a:cubicBezTo>
                  <a:cubicBezTo>
                    <a:pt x="606" y="11"/>
                    <a:pt x="606" y="11"/>
                    <a:pt x="607" y="11"/>
                  </a:cubicBezTo>
                  <a:cubicBezTo>
                    <a:pt x="607" y="11"/>
                    <a:pt x="607" y="11"/>
                    <a:pt x="607" y="11"/>
                  </a:cubicBezTo>
                  <a:cubicBezTo>
                    <a:pt x="607" y="11"/>
                    <a:pt x="607" y="11"/>
                    <a:pt x="607" y="11"/>
                  </a:cubicBezTo>
                  <a:cubicBezTo>
                    <a:pt x="607" y="11"/>
                    <a:pt x="607" y="11"/>
                    <a:pt x="607" y="11"/>
                  </a:cubicBezTo>
                  <a:cubicBezTo>
                    <a:pt x="607" y="12"/>
                    <a:pt x="608" y="12"/>
                    <a:pt x="608" y="12"/>
                  </a:cubicBezTo>
                  <a:cubicBezTo>
                    <a:pt x="608" y="12"/>
                    <a:pt x="608" y="12"/>
                    <a:pt x="608" y="13"/>
                  </a:cubicBezTo>
                  <a:close/>
                  <a:moveTo>
                    <a:pt x="643" y="32"/>
                  </a:moveTo>
                  <a:cubicBezTo>
                    <a:pt x="643" y="33"/>
                    <a:pt x="643" y="33"/>
                    <a:pt x="643" y="33"/>
                  </a:cubicBezTo>
                  <a:cubicBezTo>
                    <a:pt x="643" y="33"/>
                    <a:pt x="643" y="33"/>
                    <a:pt x="643" y="33"/>
                  </a:cubicBezTo>
                  <a:cubicBezTo>
                    <a:pt x="643" y="33"/>
                    <a:pt x="643" y="33"/>
                    <a:pt x="642" y="33"/>
                  </a:cubicBezTo>
                  <a:cubicBezTo>
                    <a:pt x="642" y="33"/>
                    <a:pt x="642" y="33"/>
                    <a:pt x="641" y="33"/>
                  </a:cubicBezTo>
                  <a:cubicBezTo>
                    <a:pt x="641" y="33"/>
                    <a:pt x="641" y="33"/>
                    <a:pt x="640" y="33"/>
                  </a:cubicBezTo>
                  <a:cubicBezTo>
                    <a:pt x="640" y="33"/>
                    <a:pt x="640" y="33"/>
                    <a:pt x="640" y="33"/>
                  </a:cubicBezTo>
                  <a:cubicBezTo>
                    <a:pt x="640" y="33"/>
                    <a:pt x="640" y="33"/>
                    <a:pt x="639" y="33"/>
                  </a:cubicBezTo>
                  <a:cubicBezTo>
                    <a:pt x="639" y="33"/>
                    <a:pt x="639" y="33"/>
                    <a:pt x="639" y="32"/>
                  </a:cubicBezTo>
                  <a:cubicBezTo>
                    <a:pt x="639" y="20"/>
                    <a:pt x="639" y="20"/>
                    <a:pt x="639" y="20"/>
                  </a:cubicBezTo>
                  <a:cubicBezTo>
                    <a:pt x="639" y="19"/>
                    <a:pt x="639" y="18"/>
                    <a:pt x="639" y="17"/>
                  </a:cubicBezTo>
                  <a:cubicBezTo>
                    <a:pt x="639" y="16"/>
                    <a:pt x="639" y="16"/>
                    <a:pt x="638" y="15"/>
                  </a:cubicBezTo>
                  <a:cubicBezTo>
                    <a:pt x="638" y="15"/>
                    <a:pt x="638" y="14"/>
                    <a:pt x="637" y="14"/>
                  </a:cubicBezTo>
                  <a:cubicBezTo>
                    <a:pt x="637" y="14"/>
                    <a:pt x="636" y="14"/>
                    <a:pt x="635" y="14"/>
                  </a:cubicBezTo>
                  <a:cubicBezTo>
                    <a:pt x="634" y="14"/>
                    <a:pt x="633" y="14"/>
                    <a:pt x="633" y="15"/>
                  </a:cubicBezTo>
                  <a:cubicBezTo>
                    <a:pt x="632" y="15"/>
                    <a:pt x="631" y="16"/>
                    <a:pt x="630" y="18"/>
                  </a:cubicBezTo>
                  <a:cubicBezTo>
                    <a:pt x="630" y="32"/>
                    <a:pt x="630" y="32"/>
                    <a:pt x="630" y="32"/>
                  </a:cubicBezTo>
                  <a:cubicBezTo>
                    <a:pt x="630" y="33"/>
                    <a:pt x="630" y="33"/>
                    <a:pt x="629" y="33"/>
                  </a:cubicBezTo>
                  <a:cubicBezTo>
                    <a:pt x="629" y="33"/>
                    <a:pt x="629" y="33"/>
                    <a:pt x="629" y="33"/>
                  </a:cubicBezTo>
                  <a:cubicBezTo>
                    <a:pt x="629" y="33"/>
                    <a:pt x="629" y="33"/>
                    <a:pt x="629" y="33"/>
                  </a:cubicBezTo>
                  <a:cubicBezTo>
                    <a:pt x="628" y="33"/>
                    <a:pt x="628" y="33"/>
                    <a:pt x="628" y="33"/>
                  </a:cubicBezTo>
                  <a:cubicBezTo>
                    <a:pt x="627" y="33"/>
                    <a:pt x="627" y="33"/>
                    <a:pt x="627" y="33"/>
                  </a:cubicBezTo>
                  <a:cubicBezTo>
                    <a:pt x="626" y="33"/>
                    <a:pt x="626" y="33"/>
                    <a:pt x="626" y="33"/>
                  </a:cubicBezTo>
                  <a:cubicBezTo>
                    <a:pt x="626" y="33"/>
                    <a:pt x="626" y="33"/>
                    <a:pt x="626" y="33"/>
                  </a:cubicBezTo>
                  <a:cubicBezTo>
                    <a:pt x="626" y="33"/>
                    <a:pt x="626" y="33"/>
                    <a:pt x="626" y="32"/>
                  </a:cubicBezTo>
                  <a:cubicBezTo>
                    <a:pt x="626" y="20"/>
                    <a:pt x="626" y="20"/>
                    <a:pt x="626" y="20"/>
                  </a:cubicBezTo>
                  <a:cubicBezTo>
                    <a:pt x="626" y="19"/>
                    <a:pt x="626" y="18"/>
                    <a:pt x="625" y="17"/>
                  </a:cubicBezTo>
                  <a:cubicBezTo>
                    <a:pt x="625" y="16"/>
                    <a:pt x="625" y="16"/>
                    <a:pt x="625" y="15"/>
                  </a:cubicBezTo>
                  <a:cubicBezTo>
                    <a:pt x="624" y="15"/>
                    <a:pt x="624" y="14"/>
                    <a:pt x="623" y="14"/>
                  </a:cubicBezTo>
                  <a:cubicBezTo>
                    <a:pt x="623" y="14"/>
                    <a:pt x="622" y="14"/>
                    <a:pt x="621" y="14"/>
                  </a:cubicBezTo>
                  <a:cubicBezTo>
                    <a:pt x="621" y="14"/>
                    <a:pt x="620" y="14"/>
                    <a:pt x="619" y="15"/>
                  </a:cubicBezTo>
                  <a:cubicBezTo>
                    <a:pt x="618" y="15"/>
                    <a:pt x="617" y="16"/>
                    <a:pt x="616" y="18"/>
                  </a:cubicBezTo>
                  <a:cubicBezTo>
                    <a:pt x="616" y="32"/>
                    <a:pt x="616" y="32"/>
                    <a:pt x="616" y="32"/>
                  </a:cubicBezTo>
                  <a:cubicBezTo>
                    <a:pt x="616" y="33"/>
                    <a:pt x="616" y="33"/>
                    <a:pt x="616" y="33"/>
                  </a:cubicBezTo>
                  <a:cubicBezTo>
                    <a:pt x="616" y="33"/>
                    <a:pt x="616" y="33"/>
                    <a:pt x="615" y="33"/>
                  </a:cubicBezTo>
                  <a:cubicBezTo>
                    <a:pt x="615" y="33"/>
                    <a:pt x="615" y="33"/>
                    <a:pt x="615" y="33"/>
                  </a:cubicBezTo>
                  <a:cubicBezTo>
                    <a:pt x="615" y="33"/>
                    <a:pt x="614" y="33"/>
                    <a:pt x="614" y="33"/>
                  </a:cubicBezTo>
                  <a:cubicBezTo>
                    <a:pt x="614" y="33"/>
                    <a:pt x="613" y="33"/>
                    <a:pt x="613" y="33"/>
                  </a:cubicBezTo>
                  <a:cubicBezTo>
                    <a:pt x="613" y="33"/>
                    <a:pt x="613" y="33"/>
                    <a:pt x="612" y="33"/>
                  </a:cubicBezTo>
                  <a:cubicBezTo>
                    <a:pt x="612" y="33"/>
                    <a:pt x="612" y="33"/>
                    <a:pt x="612" y="33"/>
                  </a:cubicBezTo>
                  <a:cubicBezTo>
                    <a:pt x="612" y="33"/>
                    <a:pt x="612" y="33"/>
                    <a:pt x="612" y="32"/>
                  </a:cubicBezTo>
                  <a:cubicBezTo>
                    <a:pt x="612" y="11"/>
                    <a:pt x="612" y="11"/>
                    <a:pt x="612" y="11"/>
                  </a:cubicBezTo>
                  <a:cubicBezTo>
                    <a:pt x="612" y="11"/>
                    <a:pt x="612" y="11"/>
                    <a:pt x="612" y="11"/>
                  </a:cubicBezTo>
                  <a:cubicBezTo>
                    <a:pt x="612" y="11"/>
                    <a:pt x="612" y="11"/>
                    <a:pt x="612" y="11"/>
                  </a:cubicBezTo>
                  <a:cubicBezTo>
                    <a:pt x="612" y="11"/>
                    <a:pt x="613" y="11"/>
                    <a:pt x="613" y="11"/>
                  </a:cubicBezTo>
                  <a:cubicBezTo>
                    <a:pt x="613" y="11"/>
                    <a:pt x="613" y="11"/>
                    <a:pt x="614" y="11"/>
                  </a:cubicBezTo>
                  <a:cubicBezTo>
                    <a:pt x="614" y="11"/>
                    <a:pt x="614" y="11"/>
                    <a:pt x="615" y="11"/>
                  </a:cubicBezTo>
                  <a:cubicBezTo>
                    <a:pt x="615" y="11"/>
                    <a:pt x="615" y="11"/>
                    <a:pt x="615" y="11"/>
                  </a:cubicBezTo>
                  <a:cubicBezTo>
                    <a:pt x="615" y="11"/>
                    <a:pt x="615" y="11"/>
                    <a:pt x="615" y="11"/>
                  </a:cubicBezTo>
                  <a:cubicBezTo>
                    <a:pt x="615" y="11"/>
                    <a:pt x="615" y="11"/>
                    <a:pt x="615" y="11"/>
                  </a:cubicBezTo>
                  <a:cubicBezTo>
                    <a:pt x="615" y="14"/>
                    <a:pt x="615" y="14"/>
                    <a:pt x="615" y="14"/>
                  </a:cubicBezTo>
                  <a:cubicBezTo>
                    <a:pt x="617" y="13"/>
                    <a:pt x="618" y="12"/>
                    <a:pt x="619" y="11"/>
                  </a:cubicBezTo>
                  <a:cubicBezTo>
                    <a:pt x="620" y="11"/>
                    <a:pt x="621" y="10"/>
                    <a:pt x="622" y="10"/>
                  </a:cubicBezTo>
                  <a:cubicBezTo>
                    <a:pt x="623" y="10"/>
                    <a:pt x="624" y="10"/>
                    <a:pt x="625" y="11"/>
                  </a:cubicBezTo>
                  <a:cubicBezTo>
                    <a:pt x="625" y="11"/>
                    <a:pt x="626" y="11"/>
                    <a:pt x="627" y="11"/>
                  </a:cubicBezTo>
                  <a:cubicBezTo>
                    <a:pt x="627" y="12"/>
                    <a:pt x="627" y="12"/>
                    <a:pt x="628" y="13"/>
                  </a:cubicBezTo>
                  <a:cubicBezTo>
                    <a:pt x="628" y="13"/>
                    <a:pt x="629" y="14"/>
                    <a:pt x="629" y="15"/>
                  </a:cubicBezTo>
                  <a:cubicBezTo>
                    <a:pt x="630" y="14"/>
                    <a:pt x="630" y="13"/>
                    <a:pt x="631" y="13"/>
                  </a:cubicBezTo>
                  <a:cubicBezTo>
                    <a:pt x="631" y="12"/>
                    <a:pt x="632" y="12"/>
                    <a:pt x="633" y="11"/>
                  </a:cubicBezTo>
                  <a:cubicBezTo>
                    <a:pt x="633" y="11"/>
                    <a:pt x="634" y="11"/>
                    <a:pt x="634" y="11"/>
                  </a:cubicBezTo>
                  <a:cubicBezTo>
                    <a:pt x="635" y="10"/>
                    <a:pt x="635" y="10"/>
                    <a:pt x="636" y="10"/>
                  </a:cubicBezTo>
                  <a:cubicBezTo>
                    <a:pt x="637" y="10"/>
                    <a:pt x="639" y="11"/>
                    <a:pt x="639" y="11"/>
                  </a:cubicBezTo>
                  <a:cubicBezTo>
                    <a:pt x="640" y="12"/>
                    <a:pt x="641" y="12"/>
                    <a:pt x="642" y="13"/>
                  </a:cubicBezTo>
                  <a:cubicBezTo>
                    <a:pt x="642" y="14"/>
                    <a:pt x="643" y="15"/>
                    <a:pt x="643" y="16"/>
                  </a:cubicBezTo>
                  <a:cubicBezTo>
                    <a:pt x="643" y="17"/>
                    <a:pt x="643" y="18"/>
                    <a:pt x="643" y="19"/>
                  </a:cubicBezTo>
                  <a:lnTo>
                    <a:pt x="643" y="32"/>
                  </a:lnTo>
                  <a:close/>
                  <a:moveTo>
                    <a:pt x="666" y="33"/>
                  </a:moveTo>
                  <a:cubicBezTo>
                    <a:pt x="666" y="33"/>
                    <a:pt x="666" y="33"/>
                    <a:pt x="666" y="33"/>
                  </a:cubicBezTo>
                  <a:cubicBezTo>
                    <a:pt x="666" y="33"/>
                    <a:pt x="666" y="33"/>
                    <a:pt x="666" y="33"/>
                  </a:cubicBezTo>
                  <a:cubicBezTo>
                    <a:pt x="665" y="33"/>
                    <a:pt x="665" y="33"/>
                    <a:pt x="665" y="33"/>
                  </a:cubicBezTo>
                  <a:cubicBezTo>
                    <a:pt x="664" y="33"/>
                    <a:pt x="664" y="33"/>
                    <a:pt x="664" y="33"/>
                  </a:cubicBezTo>
                  <a:cubicBezTo>
                    <a:pt x="663" y="33"/>
                    <a:pt x="663" y="33"/>
                    <a:pt x="663" y="33"/>
                  </a:cubicBezTo>
                  <a:cubicBezTo>
                    <a:pt x="663" y="33"/>
                    <a:pt x="663" y="33"/>
                    <a:pt x="663" y="33"/>
                  </a:cubicBezTo>
                  <a:cubicBezTo>
                    <a:pt x="663" y="30"/>
                    <a:pt x="663" y="30"/>
                    <a:pt x="663" y="30"/>
                  </a:cubicBezTo>
                  <a:cubicBezTo>
                    <a:pt x="662" y="31"/>
                    <a:pt x="661" y="32"/>
                    <a:pt x="660" y="33"/>
                  </a:cubicBezTo>
                  <a:cubicBezTo>
                    <a:pt x="659" y="33"/>
                    <a:pt x="658" y="34"/>
                    <a:pt x="656" y="34"/>
                  </a:cubicBezTo>
                  <a:cubicBezTo>
                    <a:pt x="655" y="34"/>
                    <a:pt x="654" y="33"/>
                    <a:pt x="653" y="33"/>
                  </a:cubicBezTo>
                  <a:cubicBezTo>
                    <a:pt x="652" y="33"/>
                    <a:pt x="652" y="32"/>
                    <a:pt x="651" y="32"/>
                  </a:cubicBezTo>
                  <a:cubicBezTo>
                    <a:pt x="650" y="31"/>
                    <a:pt x="650" y="31"/>
                    <a:pt x="649" y="30"/>
                  </a:cubicBezTo>
                  <a:cubicBezTo>
                    <a:pt x="649" y="29"/>
                    <a:pt x="649" y="28"/>
                    <a:pt x="649" y="27"/>
                  </a:cubicBezTo>
                  <a:cubicBezTo>
                    <a:pt x="649" y="26"/>
                    <a:pt x="649" y="25"/>
                    <a:pt x="650" y="24"/>
                  </a:cubicBezTo>
                  <a:cubicBezTo>
                    <a:pt x="650" y="23"/>
                    <a:pt x="651" y="22"/>
                    <a:pt x="652" y="22"/>
                  </a:cubicBezTo>
                  <a:cubicBezTo>
                    <a:pt x="653" y="21"/>
                    <a:pt x="654" y="21"/>
                    <a:pt x="655" y="21"/>
                  </a:cubicBezTo>
                  <a:cubicBezTo>
                    <a:pt x="656" y="20"/>
                    <a:pt x="658" y="20"/>
                    <a:pt x="660" y="20"/>
                  </a:cubicBezTo>
                  <a:cubicBezTo>
                    <a:pt x="662" y="20"/>
                    <a:pt x="662" y="20"/>
                    <a:pt x="662" y="20"/>
                  </a:cubicBezTo>
                  <a:cubicBezTo>
                    <a:pt x="662" y="18"/>
                    <a:pt x="662" y="18"/>
                    <a:pt x="662" y="18"/>
                  </a:cubicBezTo>
                  <a:cubicBezTo>
                    <a:pt x="662" y="18"/>
                    <a:pt x="662" y="17"/>
                    <a:pt x="662" y="16"/>
                  </a:cubicBezTo>
                  <a:cubicBezTo>
                    <a:pt x="662" y="16"/>
                    <a:pt x="662" y="15"/>
                    <a:pt x="661" y="15"/>
                  </a:cubicBezTo>
                  <a:cubicBezTo>
                    <a:pt x="661" y="14"/>
                    <a:pt x="660" y="14"/>
                    <a:pt x="660" y="14"/>
                  </a:cubicBezTo>
                  <a:cubicBezTo>
                    <a:pt x="659" y="14"/>
                    <a:pt x="658" y="13"/>
                    <a:pt x="658" y="13"/>
                  </a:cubicBezTo>
                  <a:cubicBezTo>
                    <a:pt x="657" y="13"/>
                    <a:pt x="656" y="14"/>
                    <a:pt x="655" y="14"/>
                  </a:cubicBezTo>
                  <a:cubicBezTo>
                    <a:pt x="654" y="14"/>
                    <a:pt x="654" y="14"/>
                    <a:pt x="653" y="15"/>
                  </a:cubicBezTo>
                  <a:cubicBezTo>
                    <a:pt x="652" y="15"/>
                    <a:pt x="652" y="15"/>
                    <a:pt x="652" y="15"/>
                  </a:cubicBezTo>
                  <a:cubicBezTo>
                    <a:pt x="651" y="16"/>
                    <a:pt x="651" y="16"/>
                    <a:pt x="651" y="16"/>
                  </a:cubicBezTo>
                  <a:cubicBezTo>
                    <a:pt x="651" y="16"/>
                    <a:pt x="651" y="16"/>
                    <a:pt x="650" y="16"/>
                  </a:cubicBezTo>
                  <a:cubicBezTo>
                    <a:pt x="650" y="15"/>
                    <a:pt x="650" y="15"/>
                    <a:pt x="650" y="15"/>
                  </a:cubicBezTo>
                  <a:cubicBezTo>
                    <a:pt x="650" y="15"/>
                    <a:pt x="650" y="15"/>
                    <a:pt x="650" y="15"/>
                  </a:cubicBezTo>
                  <a:cubicBezTo>
                    <a:pt x="650" y="15"/>
                    <a:pt x="650" y="14"/>
                    <a:pt x="650" y="14"/>
                  </a:cubicBezTo>
                  <a:cubicBezTo>
                    <a:pt x="650" y="14"/>
                    <a:pt x="650" y="13"/>
                    <a:pt x="650" y="13"/>
                  </a:cubicBezTo>
                  <a:cubicBezTo>
                    <a:pt x="650" y="13"/>
                    <a:pt x="650" y="13"/>
                    <a:pt x="650" y="13"/>
                  </a:cubicBezTo>
                  <a:cubicBezTo>
                    <a:pt x="651" y="12"/>
                    <a:pt x="651" y="12"/>
                    <a:pt x="652" y="12"/>
                  </a:cubicBezTo>
                  <a:cubicBezTo>
                    <a:pt x="652" y="12"/>
                    <a:pt x="653" y="11"/>
                    <a:pt x="653" y="11"/>
                  </a:cubicBezTo>
                  <a:cubicBezTo>
                    <a:pt x="654" y="11"/>
                    <a:pt x="655" y="11"/>
                    <a:pt x="656" y="11"/>
                  </a:cubicBezTo>
                  <a:cubicBezTo>
                    <a:pt x="656" y="10"/>
                    <a:pt x="657" y="10"/>
                    <a:pt x="658" y="10"/>
                  </a:cubicBezTo>
                  <a:cubicBezTo>
                    <a:pt x="659" y="10"/>
                    <a:pt x="661" y="11"/>
                    <a:pt x="662" y="11"/>
                  </a:cubicBezTo>
                  <a:cubicBezTo>
                    <a:pt x="663" y="11"/>
                    <a:pt x="664" y="12"/>
                    <a:pt x="664" y="12"/>
                  </a:cubicBezTo>
                  <a:cubicBezTo>
                    <a:pt x="665" y="13"/>
                    <a:pt x="666" y="14"/>
                    <a:pt x="666" y="15"/>
                  </a:cubicBezTo>
                  <a:cubicBezTo>
                    <a:pt x="666" y="16"/>
                    <a:pt x="666" y="17"/>
                    <a:pt x="666" y="18"/>
                  </a:cubicBezTo>
                  <a:lnTo>
                    <a:pt x="666" y="33"/>
                  </a:lnTo>
                  <a:close/>
                  <a:moveTo>
                    <a:pt x="662" y="23"/>
                  </a:moveTo>
                  <a:cubicBezTo>
                    <a:pt x="659" y="23"/>
                    <a:pt x="659" y="23"/>
                    <a:pt x="659" y="23"/>
                  </a:cubicBezTo>
                  <a:cubicBezTo>
                    <a:pt x="658" y="23"/>
                    <a:pt x="657" y="23"/>
                    <a:pt x="656" y="23"/>
                  </a:cubicBezTo>
                  <a:cubicBezTo>
                    <a:pt x="656" y="23"/>
                    <a:pt x="655" y="24"/>
                    <a:pt x="654" y="24"/>
                  </a:cubicBezTo>
                  <a:cubicBezTo>
                    <a:pt x="654" y="24"/>
                    <a:pt x="654" y="25"/>
                    <a:pt x="653" y="25"/>
                  </a:cubicBezTo>
                  <a:cubicBezTo>
                    <a:pt x="653" y="26"/>
                    <a:pt x="653" y="26"/>
                    <a:pt x="653" y="27"/>
                  </a:cubicBezTo>
                  <a:cubicBezTo>
                    <a:pt x="653" y="28"/>
                    <a:pt x="653" y="29"/>
                    <a:pt x="654" y="30"/>
                  </a:cubicBezTo>
                  <a:cubicBezTo>
                    <a:pt x="655" y="30"/>
                    <a:pt x="656" y="30"/>
                    <a:pt x="657" y="30"/>
                  </a:cubicBezTo>
                  <a:cubicBezTo>
                    <a:pt x="658" y="30"/>
                    <a:pt x="659" y="30"/>
                    <a:pt x="660" y="30"/>
                  </a:cubicBezTo>
                  <a:cubicBezTo>
                    <a:pt x="661" y="29"/>
                    <a:pt x="661" y="28"/>
                    <a:pt x="662" y="27"/>
                  </a:cubicBezTo>
                  <a:lnTo>
                    <a:pt x="662" y="23"/>
                  </a:lnTo>
                  <a:close/>
                  <a:moveTo>
                    <a:pt x="692" y="11"/>
                  </a:moveTo>
                  <a:cubicBezTo>
                    <a:pt x="692" y="11"/>
                    <a:pt x="693" y="11"/>
                    <a:pt x="693" y="11"/>
                  </a:cubicBezTo>
                  <a:cubicBezTo>
                    <a:pt x="693" y="11"/>
                    <a:pt x="693" y="12"/>
                    <a:pt x="693" y="12"/>
                  </a:cubicBezTo>
                  <a:cubicBezTo>
                    <a:pt x="693" y="32"/>
                    <a:pt x="693" y="32"/>
                    <a:pt x="693" y="32"/>
                  </a:cubicBezTo>
                  <a:cubicBezTo>
                    <a:pt x="693" y="33"/>
                    <a:pt x="693" y="33"/>
                    <a:pt x="693" y="33"/>
                  </a:cubicBezTo>
                  <a:cubicBezTo>
                    <a:pt x="693" y="33"/>
                    <a:pt x="693" y="33"/>
                    <a:pt x="693" y="33"/>
                  </a:cubicBezTo>
                  <a:cubicBezTo>
                    <a:pt x="692" y="33"/>
                    <a:pt x="692" y="33"/>
                    <a:pt x="692" y="33"/>
                  </a:cubicBezTo>
                  <a:cubicBezTo>
                    <a:pt x="692" y="33"/>
                    <a:pt x="691" y="33"/>
                    <a:pt x="691" y="33"/>
                  </a:cubicBezTo>
                  <a:cubicBezTo>
                    <a:pt x="691" y="33"/>
                    <a:pt x="690" y="33"/>
                    <a:pt x="690" y="33"/>
                  </a:cubicBezTo>
                  <a:cubicBezTo>
                    <a:pt x="690" y="33"/>
                    <a:pt x="690" y="33"/>
                    <a:pt x="690" y="33"/>
                  </a:cubicBezTo>
                  <a:cubicBezTo>
                    <a:pt x="689" y="33"/>
                    <a:pt x="689" y="33"/>
                    <a:pt x="689" y="33"/>
                  </a:cubicBezTo>
                  <a:cubicBezTo>
                    <a:pt x="689" y="33"/>
                    <a:pt x="689" y="33"/>
                    <a:pt x="689" y="32"/>
                  </a:cubicBezTo>
                  <a:cubicBezTo>
                    <a:pt x="689" y="14"/>
                    <a:pt x="689" y="14"/>
                    <a:pt x="689" y="14"/>
                  </a:cubicBezTo>
                  <a:cubicBezTo>
                    <a:pt x="678" y="14"/>
                    <a:pt x="678" y="14"/>
                    <a:pt x="678" y="14"/>
                  </a:cubicBezTo>
                  <a:cubicBezTo>
                    <a:pt x="678" y="26"/>
                    <a:pt x="678" y="26"/>
                    <a:pt x="678" y="26"/>
                  </a:cubicBezTo>
                  <a:cubicBezTo>
                    <a:pt x="678" y="27"/>
                    <a:pt x="678" y="28"/>
                    <a:pt x="679" y="29"/>
                  </a:cubicBezTo>
                  <a:cubicBezTo>
                    <a:pt x="679" y="30"/>
                    <a:pt x="680" y="30"/>
                    <a:pt x="681" y="30"/>
                  </a:cubicBezTo>
                  <a:cubicBezTo>
                    <a:pt x="682" y="30"/>
                    <a:pt x="682" y="30"/>
                    <a:pt x="682" y="30"/>
                  </a:cubicBezTo>
                  <a:cubicBezTo>
                    <a:pt x="682" y="30"/>
                    <a:pt x="683" y="30"/>
                    <a:pt x="683" y="30"/>
                  </a:cubicBezTo>
                  <a:cubicBezTo>
                    <a:pt x="683" y="30"/>
                    <a:pt x="683" y="30"/>
                    <a:pt x="683" y="30"/>
                  </a:cubicBezTo>
                  <a:cubicBezTo>
                    <a:pt x="684" y="30"/>
                    <a:pt x="684" y="30"/>
                    <a:pt x="684" y="30"/>
                  </a:cubicBezTo>
                  <a:cubicBezTo>
                    <a:pt x="684" y="30"/>
                    <a:pt x="684" y="30"/>
                    <a:pt x="684" y="30"/>
                  </a:cubicBezTo>
                  <a:cubicBezTo>
                    <a:pt x="684" y="30"/>
                    <a:pt x="684" y="30"/>
                    <a:pt x="684" y="30"/>
                  </a:cubicBezTo>
                  <a:cubicBezTo>
                    <a:pt x="684" y="30"/>
                    <a:pt x="684" y="30"/>
                    <a:pt x="684" y="30"/>
                  </a:cubicBezTo>
                  <a:cubicBezTo>
                    <a:pt x="684" y="30"/>
                    <a:pt x="684" y="31"/>
                    <a:pt x="684" y="31"/>
                  </a:cubicBezTo>
                  <a:cubicBezTo>
                    <a:pt x="684" y="31"/>
                    <a:pt x="684" y="32"/>
                    <a:pt x="684" y="32"/>
                  </a:cubicBezTo>
                  <a:cubicBezTo>
                    <a:pt x="684" y="32"/>
                    <a:pt x="684" y="32"/>
                    <a:pt x="684" y="33"/>
                  </a:cubicBezTo>
                  <a:cubicBezTo>
                    <a:pt x="684" y="33"/>
                    <a:pt x="684" y="33"/>
                    <a:pt x="683" y="33"/>
                  </a:cubicBezTo>
                  <a:cubicBezTo>
                    <a:pt x="683" y="33"/>
                    <a:pt x="683" y="33"/>
                    <a:pt x="683" y="33"/>
                  </a:cubicBezTo>
                  <a:cubicBezTo>
                    <a:pt x="682" y="33"/>
                    <a:pt x="682" y="33"/>
                    <a:pt x="682" y="33"/>
                  </a:cubicBezTo>
                  <a:cubicBezTo>
                    <a:pt x="681" y="33"/>
                    <a:pt x="681" y="33"/>
                    <a:pt x="680" y="33"/>
                  </a:cubicBezTo>
                  <a:cubicBezTo>
                    <a:pt x="679" y="33"/>
                    <a:pt x="678" y="33"/>
                    <a:pt x="678" y="33"/>
                  </a:cubicBezTo>
                  <a:cubicBezTo>
                    <a:pt x="677" y="33"/>
                    <a:pt x="676" y="32"/>
                    <a:pt x="676" y="32"/>
                  </a:cubicBezTo>
                  <a:cubicBezTo>
                    <a:pt x="675" y="31"/>
                    <a:pt x="675" y="30"/>
                    <a:pt x="675" y="29"/>
                  </a:cubicBezTo>
                  <a:cubicBezTo>
                    <a:pt x="674" y="29"/>
                    <a:pt x="674" y="28"/>
                    <a:pt x="674" y="26"/>
                  </a:cubicBezTo>
                  <a:cubicBezTo>
                    <a:pt x="674" y="14"/>
                    <a:pt x="674" y="14"/>
                    <a:pt x="674" y="14"/>
                  </a:cubicBezTo>
                  <a:cubicBezTo>
                    <a:pt x="671" y="14"/>
                    <a:pt x="671" y="14"/>
                    <a:pt x="671" y="14"/>
                  </a:cubicBezTo>
                  <a:cubicBezTo>
                    <a:pt x="671" y="14"/>
                    <a:pt x="671" y="14"/>
                    <a:pt x="671" y="14"/>
                  </a:cubicBezTo>
                  <a:cubicBezTo>
                    <a:pt x="671" y="13"/>
                    <a:pt x="671" y="13"/>
                    <a:pt x="671" y="12"/>
                  </a:cubicBezTo>
                  <a:cubicBezTo>
                    <a:pt x="671" y="12"/>
                    <a:pt x="671" y="12"/>
                    <a:pt x="671" y="12"/>
                  </a:cubicBezTo>
                  <a:cubicBezTo>
                    <a:pt x="671" y="11"/>
                    <a:pt x="671" y="11"/>
                    <a:pt x="671" y="11"/>
                  </a:cubicBezTo>
                  <a:cubicBezTo>
                    <a:pt x="671" y="11"/>
                    <a:pt x="671" y="11"/>
                    <a:pt x="671" y="11"/>
                  </a:cubicBezTo>
                  <a:cubicBezTo>
                    <a:pt x="671" y="11"/>
                    <a:pt x="671" y="11"/>
                    <a:pt x="671" y="11"/>
                  </a:cubicBezTo>
                  <a:cubicBezTo>
                    <a:pt x="674" y="11"/>
                    <a:pt x="674" y="11"/>
                    <a:pt x="674" y="11"/>
                  </a:cubicBezTo>
                  <a:cubicBezTo>
                    <a:pt x="674" y="6"/>
                    <a:pt x="674" y="6"/>
                    <a:pt x="674" y="6"/>
                  </a:cubicBezTo>
                  <a:cubicBezTo>
                    <a:pt x="674" y="6"/>
                    <a:pt x="674" y="6"/>
                    <a:pt x="674" y="5"/>
                  </a:cubicBezTo>
                  <a:cubicBezTo>
                    <a:pt x="674" y="5"/>
                    <a:pt x="675" y="5"/>
                    <a:pt x="675" y="5"/>
                  </a:cubicBezTo>
                  <a:cubicBezTo>
                    <a:pt x="675" y="5"/>
                    <a:pt x="675" y="5"/>
                    <a:pt x="675" y="5"/>
                  </a:cubicBezTo>
                  <a:cubicBezTo>
                    <a:pt x="676" y="5"/>
                    <a:pt x="676" y="5"/>
                    <a:pt x="676" y="5"/>
                  </a:cubicBezTo>
                  <a:cubicBezTo>
                    <a:pt x="677" y="5"/>
                    <a:pt x="677" y="5"/>
                    <a:pt x="677" y="5"/>
                  </a:cubicBezTo>
                  <a:cubicBezTo>
                    <a:pt x="677" y="5"/>
                    <a:pt x="678" y="5"/>
                    <a:pt x="678" y="5"/>
                  </a:cubicBezTo>
                  <a:cubicBezTo>
                    <a:pt x="678" y="5"/>
                    <a:pt x="678" y="5"/>
                    <a:pt x="678" y="5"/>
                  </a:cubicBezTo>
                  <a:cubicBezTo>
                    <a:pt x="678" y="6"/>
                    <a:pt x="678" y="6"/>
                    <a:pt x="678" y="6"/>
                  </a:cubicBezTo>
                  <a:cubicBezTo>
                    <a:pt x="678" y="11"/>
                    <a:pt x="678" y="11"/>
                    <a:pt x="678" y="11"/>
                  </a:cubicBezTo>
                  <a:lnTo>
                    <a:pt x="692" y="11"/>
                  </a:lnTo>
                  <a:close/>
                  <a:moveTo>
                    <a:pt x="686" y="11"/>
                  </a:moveTo>
                  <a:cubicBezTo>
                    <a:pt x="686" y="11"/>
                    <a:pt x="686" y="11"/>
                    <a:pt x="686" y="11"/>
                  </a:cubicBezTo>
                  <a:moveTo>
                    <a:pt x="693" y="4"/>
                  </a:moveTo>
                  <a:cubicBezTo>
                    <a:pt x="693" y="5"/>
                    <a:pt x="693" y="6"/>
                    <a:pt x="693" y="6"/>
                  </a:cubicBezTo>
                  <a:cubicBezTo>
                    <a:pt x="693" y="6"/>
                    <a:pt x="692" y="7"/>
                    <a:pt x="691" y="7"/>
                  </a:cubicBezTo>
                  <a:cubicBezTo>
                    <a:pt x="690" y="7"/>
                    <a:pt x="689" y="6"/>
                    <a:pt x="689" y="6"/>
                  </a:cubicBezTo>
                  <a:cubicBezTo>
                    <a:pt x="689" y="6"/>
                    <a:pt x="689" y="5"/>
                    <a:pt x="689" y="4"/>
                  </a:cubicBezTo>
                  <a:cubicBezTo>
                    <a:pt x="689" y="3"/>
                    <a:pt x="689" y="3"/>
                    <a:pt x="689" y="2"/>
                  </a:cubicBezTo>
                  <a:cubicBezTo>
                    <a:pt x="690" y="2"/>
                    <a:pt x="690" y="2"/>
                    <a:pt x="691" y="2"/>
                  </a:cubicBezTo>
                  <a:cubicBezTo>
                    <a:pt x="692" y="2"/>
                    <a:pt x="693" y="2"/>
                    <a:pt x="693" y="2"/>
                  </a:cubicBezTo>
                  <a:cubicBezTo>
                    <a:pt x="693" y="3"/>
                    <a:pt x="693" y="3"/>
                    <a:pt x="693" y="4"/>
                  </a:cubicBezTo>
                  <a:close/>
                  <a:moveTo>
                    <a:pt x="720" y="22"/>
                  </a:moveTo>
                  <a:cubicBezTo>
                    <a:pt x="720" y="23"/>
                    <a:pt x="720" y="25"/>
                    <a:pt x="719" y="26"/>
                  </a:cubicBezTo>
                  <a:cubicBezTo>
                    <a:pt x="719" y="28"/>
                    <a:pt x="718" y="29"/>
                    <a:pt x="717" y="30"/>
                  </a:cubicBezTo>
                  <a:cubicBezTo>
                    <a:pt x="716" y="31"/>
                    <a:pt x="715" y="32"/>
                    <a:pt x="714" y="33"/>
                  </a:cubicBezTo>
                  <a:cubicBezTo>
                    <a:pt x="712" y="33"/>
                    <a:pt x="711" y="34"/>
                    <a:pt x="709" y="34"/>
                  </a:cubicBezTo>
                  <a:cubicBezTo>
                    <a:pt x="707" y="34"/>
                    <a:pt x="706" y="33"/>
                    <a:pt x="705" y="33"/>
                  </a:cubicBezTo>
                  <a:cubicBezTo>
                    <a:pt x="703" y="32"/>
                    <a:pt x="702" y="31"/>
                    <a:pt x="701" y="30"/>
                  </a:cubicBezTo>
                  <a:cubicBezTo>
                    <a:pt x="700" y="30"/>
                    <a:pt x="700" y="28"/>
                    <a:pt x="699" y="27"/>
                  </a:cubicBezTo>
                  <a:cubicBezTo>
                    <a:pt x="699" y="25"/>
                    <a:pt x="699" y="24"/>
                    <a:pt x="699" y="22"/>
                  </a:cubicBezTo>
                  <a:cubicBezTo>
                    <a:pt x="699" y="20"/>
                    <a:pt x="699" y="19"/>
                    <a:pt x="699" y="17"/>
                  </a:cubicBezTo>
                  <a:cubicBezTo>
                    <a:pt x="700" y="16"/>
                    <a:pt x="701" y="15"/>
                    <a:pt x="701" y="14"/>
                  </a:cubicBezTo>
                  <a:cubicBezTo>
                    <a:pt x="702" y="13"/>
                    <a:pt x="703" y="12"/>
                    <a:pt x="705" y="11"/>
                  </a:cubicBezTo>
                  <a:cubicBezTo>
                    <a:pt x="706" y="11"/>
                    <a:pt x="708" y="10"/>
                    <a:pt x="709" y="10"/>
                  </a:cubicBezTo>
                  <a:cubicBezTo>
                    <a:pt x="711" y="10"/>
                    <a:pt x="713" y="11"/>
                    <a:pt x="714" y="11"/>
                  </a:cubicBezTo>
                  <a:cubicBezTo>
                    <a:pt x="715" y="12"/>
                    <a:pt x="716" y="12"/>
                    <a:pt x="717" y="13"/>
                  </a:cubicBezTo>
                  <a:cubicBezTo>
                    <a:pt x="718" y="14"/>
                    <a:pt x="719" y="16"/>
                    <a:pt x="719" y="17"/>
                  </a:cubicBezTo>
                  <a:cubicBezTo>
                    <a:pt x="720" y="18"/>
                    <a:pt x="720" y="20"/>
                    <a:pt x="720" y="22"/>
                  </a:cubicBezTo>
                  <a:close/>
                  <a:moveTo>
                    <a:pt x="716" y="22"/>
                  </a:moveTo>
                  <a:cubicBezTo>
                    <a:pt x="716" y="21"/>
                    <a:pt x="716" y="20"/>
                    <a:pt x="715" y="19"/>
                  </a:cubicBezTo>
                  <a:cubicBezTo>
                    <a:pt x="715" y="18"/>
                    <a:pt x="715" y="17"/>
                    <a:pt x="714" y="16"/>
                  </a:cubicBezTo>
                  <a:cubicBezTo>
                    <a:pt x="714" y="15"/>
                    <a:pt x="713" y="15"/>
                    <a:pt x="712" y="14"/>
                  </a:cubicBezTo>
                  <a:cubicBezTo>
                    <a:pt x="712" y="14"/>
                    <a:pt x="711" y="14"/>
                    <a:pt x="709" y="14"/>
                  </a:cubicBezTo>
                  <a:cubicBezTo>
                    <a:pt x="708" y="14"/>
                    <a:pt x="707" y="14"/>
                    <a:pt x="706" y="14"/>
                  </a:cubicBezTo>
                  <a:cubicBezTo>
                    <a:pt x="706" y="15"/>
                    <a:pt x="705" y="15"/>
                    <a:pt x="704" y="16"/>
                  </a:cubicBezTo>
                  <a:cubicBezTo>
                    <a:pt x="704" y="17"/>
                    <a:pt x="703" y="18"/>
                    <a:pt x="703" y="19"/>
                  </a:cubicBezTo>
                  <a:cubicBezTo>
                    <a:pt x="703" y="20"/>
                    <a:pt x="703" y="21"/>
                    <a:pt x="703" y="22"/>
                  </a:cubicBezTo>
                  <a:cubicBezTo>
                    <a:pt x="703" y="23"/>
                    <a:pt x="703" y="24"/>
                    <a:pt x="703" y="25"/>
                  </a:cubicBezTo>
                  <a:cubicBezTo>
                    <a:pt x="703" y="26"/>
                    <a:pt x="704" y="27"/>
                    <a:pt x="704" y="28"/>
                  </a:cubicBezTo>
                  <a:cubicBezTo>
                    <a:pt x="705" y="29"/>
                    <a:pt x="705" y="29"/>
                    <a:pt x="706" y="30"/>
                  </a:cubicBezTo>
                  <a:cubicBezTo>
                    <a:pt x="707" y="30"/>
                    <a:pt x="708" y="30"/>
                    <a:pt x="709" y="30"/>
                  </a:cubicBezTo>
                  <a:cubicBezTo>
                    <a:pt x="710" y="30"/>
                    <a:pt x="711" y="30"/>
                    <a:pt x="712" y="30"/>
                  </a:cubicBezTo>
                  <a:cubicBezTo>
                    <a:pt x="713" y="29"/>
                    <a:pt x="714" y="29"/>
                    <a:pt x="714" y="28"/>
                  </a:cubicBezTo>
                  <a:cubicBezTo>
                    <a:pt x="715" y="27"/>
                    <a:pt x="715" y="26"/>
                    <a:pt x="715" y="25"/>
                  </a:cubicBezTo>
                  <a:cubicBezTo>
                    <a:pt x="716" y="24"/>
                    <a:pt x="716" y="23"/>
                    <a:pt x="716" y="22"/>
                  </a:cubicBezTo>
                  <a:close/>
                  <a:moveTo>
                    <a:pt x="744" y="32"/>
                  </a:moveTo>
                  <a:cubicBezTo>
                    <a:pt x="744" y="33"/>
                    <a:pt x="744" y="33"/>
                    <a:pt x="744" y="33"/>
                  </a:cubicBezTo>
                  <a:cubicBezTo>
                    <a:pt x="744" y="33"/>
                    <a:pt x="743" y="33"/>
                    <a:pt x="743" y="33"/>
                  </a:cubicBezTo>
                  <a:cubicBezTo>
                    <a:pt x="743" y="33"/>
                    <a:pt x="743" y="33"/>
                    <a:pt x="743" y="33"/>
                  </a:cubicBezTo>
                  <a:cubicBezTo>
                    <a:pt x="742" y="33"/>
                    <a:pt x="742" y="33"/>
                    <a:pt x="742" y="33"/>
                  </a:cubicBezTo>
                  <a:cubicBezTo>
                    <a:pt x="741" y="33"/>
                    <a:pt x="741" y="33"/>
                    <a:pt x="741" y="33"/>
                  </a:cubicBezTo>
                  <a:cubicBezTo>
                    <a:pt x="741" y="33"/>
                    <a:pt x="740" y="33"/>
                    <a:pt x="740" y="33"/>
                  </a:cubicBezTo>
                  <a:cubicBezTo>
                    <a:pt x="740" y="33"/>
                    <a:pt x="740" y="33"/>
                    <a:pt x="740" y="33"/>
                  </a:cubicBezTo>
                  <a:cubicBezTo>
                    <a:pt x="740" y="33"/>
                    <a:pt x="740" y="33"/>
                    <a:pt x="740" y="32"/>
                  </a:cubicBezTo>
                  <a:cubicBezTo>
                    <a:pt x="740" y="20"/>
                    <a:pt x="740" y="20"/>
                    <a:pt x="740" y="20"/>
                  </a:cubicBezTo>
                  <a:cubicBezTo>
                    <a:pt x="740" y="19"/>
                    <a:pt x="740" y="18"/>
                    <a:pt x="740" y="17"/>
                  </a:cubicBezTo>
                  <a:cubicBezTo>
                    <a:pt x="739" y="16"/>
                    <a:pt x="739" y="16"/>
                    <a:pt x="739" y="15"/>
                  </a:cubicBezTo>
                  <a:cubicBezTo>
                    <a:pt x="738" y="15"/>
                    <a:pt x="738" y="14"/>
                    <a:pt x="737" y="14"/>
                  </a:cubicBezTo>
                  <a:cubicBezTo>
                    <a:pt x="737" y="14"/>
                    <a:pt x="736" y="14"/>
                    <a:pt x="735" y="14"/>
                  </a:cubicBezTo>
                  <a:cubicBezTo>
                    <a:pt x="734" y="14"/>
                    <a:pt x="733" y="14"/>
                    <a:pt x="732" y="15"/>
                  </a:cubicBezTo>
                  <a:cubicBezTo>
                    <a:pt x="732" y="15"/>
                    <a:pt x="730" y="16"/>
                    <a:pt x="729" y="18"/>
                  </a:cubicBezTo>
                  <a:cubicBezTo>
                    <a:pt x="729" y="32"/>
                    <a:pt x="729" y="32"/>
                    <a:pt x="729" y="32"/>
                  </a:cubicBezTo>
                  <a:cubicBezTo>
                    <a:pt x="729" y="33"/>
                    <a:pt x="729" y="33"/>
                    <a:pt x="729" y="33"/>
                  </a:cubicBezTo>
                  <a:cubicBezTo>
                    <a:pt x="729" y="33"/>
                    <a:pt x="729" y="33"/>
                    <a:pt x="729" y="33"/>
                  </a:cubicBezTo>
                  <a:cubicBezTo>
                    <a:pt x="729" y="33"/>
                    <a:pt x="729" y="33"/>
                    <a:pt x="728" y="33"/>
                  </a:cubicBezTo>
                  <a:cubicBezTo>
                    <a:pt x="728" y="33"/>
                    <a:pt x="728" y="33"/>
                    <a:pt x="727" y="33"/>
                  </a:cubicBezTo>
                  <a:cubicBezTo>
                    <a:pt x="727" y="33"/>
                    <a:pt x="727" y="33"/>
                    <a:pt x="727" y="33"/>
                  </a:cubicBezTo>
                  <a:cubicBezTo>
                    <a:pt x="726" y="33"/>
                    <a:pt x="726" y="33"/>
                    <a:pt x="726" y="33"/>
                  </a:cubicBezTo>
                  <a:cubicBezTo>
                    <a:pt x="726" y="33"/>
                    <a:pt x="726" y="33"/>
                    <a:pt x="726" y="33"/>
                  </a:cubicBezTo>
                  <a:cubicBezTo>
                    <a:pt x="726" y="33"/>
                    <a:pt x="726" y="33"/>
                    <a:pt x="726" y="32"/>
                  </a:cubicBezTo>
                  <a:cubicBezTo>
                    <a:pt x="726" y="11"/>
                    <a:pt x="726" y="11"/>
                    <a:pt x="726" y="11"/>
                  </a:cubicBezTo>
                  <a:cubicBezTo>
                    <a:pt x="726" y="11"/>
                    <a:pt x="726" y="11"/>
                    <a:pt x="726" y="11"/>
                  </a:cubicBezTo>
                  <a:cubicBezTo>
                    <a:pt x="726" y="11"/>
                    <a:pt x="726" y="11"/>
                    <a:pt x="726" y="11"/>
                  </a:cubicBezTo>
                  <a:cubicBezTo>
                    <a:pt x="726" y="11"/>
                    <a:pt x="726" y="11"/>
                    <a:pt x="726" y="11"/>
                  </a:cubicBezTo>
                  <a:cubicBezTo>
                    <a:pt x="727" y="11"/>
                    <a:pt x="727" y="11"/>
                    <a:pt x="727" y="11"/>
                  </a:cubicBezTo>
                  <a:cubicBezTo>
                    <a:pt x="728" y="11"/>
                    <a:pt x="728" y="11"/>
                    <a:pt x="728" y="11"/>
                  </a:cubicBezTo>
                  <a:cubicBezTo>
                    <a:pt x="728" y="11"/>
                    <a:pt x="729" y="11"/>
                    <a:pt x="729" y="11"/>
                  </a:cubicBezTo>
                  <a:cubicBezTo>
                    <a:pt x="729" y="11"/>
                    <a:pt x="729" y="11"/>
                    <a:pt x="729" y="11"/>
                  </a:cubicBezTo>
                  <a:cubicBezTo>
                    <a:pt x="729" y="11"/>
                    <a:pt x="729" y="11"/>
                    <a:pt x="729" y="11"/>
                  </a:cubicBezTo>
                  <a:cubicBezTo>
                    <a:pt x="729" y="14"/>
                    <a:pt x="729" y="14"/>
                    <a:pt x="729" y="14"/>
                  </a:cubicBezTo>
                  <a:cubicBezTo>
                    <a:pt x="730" y="13"/>
                    <a:pt x="731" y="12"/>
                    <a:pt x="733" y="11"/>
                  </a:cubicBezTo>
                  <a:cubicBezTo>
                    <a:pt x="734" y="11"/>
                    <a:pt x="735" y="10"/>
                    <a:pt x="736" y="10"/>
                  </a:cubicBezTo>
                  <a:cubicBezTo>
                    <a:pt x="738" y="10"/>
                    <a:pt x="739" y="11"/>
                    <a:pt x="740" y="11"/>
                  </a:cubicBezTo>
                  <a:cubicBezTo>
                    <a:pt x="741" y="12"/>
                    <a:pt x="741" y="12"/>
                    <a:pt x="742" y="13"/>
                  </a:cubicBezTo>
                  <a:cubicBezTo>
                    <a:pt x="743" y="14"/>
                    <a:pt x="743" y="15"/>
                    <a:pt x="743" y="16"/>
                  </a:cubicBezTo>
                  <a:cubicBezTo>
                    <a:pt x="744" y="17"/>
                    <a:pt x="744" y="18"/>
                    <a:pt x="744" y="20"/>
                  </a:cubicBezTo>
                  <a:lnTo>
                    <a:pt x="744" y="32"/>
                  </a:ln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Freeform 123">
              <a:extLst>
                <a:ext uri="{FF2B5EF4-FFF2-40B4-BE49-F238E27FC236}">
                  <a16:creationId xmlns:a16="http://schemas.microsoft.com/office/drawing/2014/main" id="{0AAA5851-549E-4C4C-BBF9-FF67BBB062C0}"/>
                </a:ext>
              </a:extLst>
            </p:cNvPr>
            <p:cNvSpPr>
              <a:spLocks/>
            </p:cNvSpPr>
            <p:nvPr/>
          </p:nvSpPr>
          <p:spPr bwMode="auto">
            <a:xfrm>
              <a:off x="4707980" y="3445586"/>
              <a:ext cx="5113687" cy="326099"/>
            </a:xfrm>
            <a:custGeom>
              <a:avLst/>
              <a:gdLst>
                <a:gd name="T0" fmla="*/ 3 w 1493"/>
                <a:gd name="T1" fmla="*/ 18 h 95"/>
                <a:gd name="T2" fmla="*/ 6 w 1493"/>
                <a:gd name="T3" fmla="*/ 18 h 95"/>
                <a:gd name="T4" fmla="*/ 18 w 1493"/>
                <a:gd name="T5" fmla="*/ 6 h 95"/>
                <a:gd name="T6" fmla="*/ 1475 w 1493"/>
                <a:gd name="T7" fmla="*/ 6 h 95"/>
                <a:gd name="T8" fmla="*/ 1487 w 1493"/>
                <a:gd name="T9" fmla="*/ 18 h 95"/>
                <a:gd name="T10" fmla="*/ 1487 w 1493"/>
                <a:gd name="T11" fmla="*/ 77 h 95"/>
                <a:gd name="T12" fmla="*/ 1475 w 1493"/>
                <a:gd name="T13" fmla="*/ 89 h 95"/>
                <a:gd name="T14" fmla="*/ 18 w 1493"/>
                <a:gd name="T15" fmla="*/ 89 h 95"/>
                <a:gd name="T16" fmla="*/ 6 w 1493"/>
                <a:gd name="T17" fmla="*/ 77 h 95"/>
                <a:gd name="T18" fmla="*/ 6 w 1493"/>
                <a:gd name="T19" fmla="*/ 18 h 95"/>
                <a:gd name="T20" fmla="*/ 3 w 1493"/>
                <a:gd name="T21" fmla="*/ 18 h 95"/>
                <a:gd name="T22" fmla="*/ 0 w 1493"/>
                <a:gd name="T23" fmla="*/ 18 h 95"/>
                <a:gd name="T24" fmla="*/ 0 w 1493"/>
                <a:gd name="T25" fmla="*/ 77 h 95"/>
                <a:gd name="T26" fmla="*/ 18 w 1493"/>
                <a:gd name="T27" fmla="*/ 95 h 95"/>
                <a:gd name="T28" fmla="*/ 1475 w 1493"/>
                <a:gd name="T29" fmla="*/ 95 h 95"/>
                <a:gd name="T30" fmla="*/ 1493 w 1493"/>
                <a:gd name="T31" fmla="*/ 77 h 95"/>
                <a:gd name="T32" fmla="*/ 1493 w 1493"/>
                <a:gd name="T33" fmla="*/ 18 h 95"/>
                <a:gd name="T34" fmla="*/ 1475 w 1493"/>
                <a:gd name="T35" fmla="*/ 0 h 95"/>
                <a:gd name="T36" fmla="*/ 18 w 1493"/>
                <a:gd name="T37" fmla="*/ 0 h 95"/>
                <a:gd name="T38" fmla="*/ 0 w 1493"/>
                <a:gd name="T39" fmla="*/ 18 h 95"/>
                <a:gd name="T40" fmla="*/ 3 w 1493"/>
                <a:gd name="T4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3" h="95">
                  <a:moveTo>
                    <a:pt x="3" y="18"/>
                  </a:moveTo>
                  <a:cubicBezTo>
                    <a:pt x="6" y="18"/>
                    <a:pt x="6" y="18"/>
                    <a:pt x="6" y="18"/>
                  </a:cubicBezTo>
                  <a:cubicBezTo>
                    <a:pt x="6" y="11"/>
                    <a:pt x="12" y="6"/>
                    <a:pt x="18" y="6"/>
                  </a:cubicBezTo>
                  <a:cubicBezTo>
                    <a:pt x="1475" y="6"/>
                    <a:pt x="1475" y="6"/>
                    <a:pt x="1475" y="6"/>
                  </a:cubicBezTo>
                  <a:cubicBezTo>
                    <a:pt x="1482" y="6"/>
                    <a:pt x="1487" y="11"/>
                    <a:pt x="1487" y="18"/>
                  </a:cubicBezTo>
                  <a:cubicBezTo>
                    <a:pt x="1487" y="77"/>
                    <a:pt x="1487" y="77"/>
                    <a:pt x="1487" y="77"/>
                  </a:cubicBezTo>
                  <a:cubicBezTo>
                    <a:pt x="1487" y="84"/>
                    <a:pt x="1482" y="89"/>
                    <a:pt x="1475" y="89"/>
                  </a:cubicBezTo>
                  <a:cubicBezTo>
                    <a:pt x="18" y="89"/>
                    <a:pt x="18" y="89"/>
                    <a:pt x="18" y="89"/>
                  </a:cubicBezTo>
                  <a:cubicBezTo>
                    <a:pt x="12" y="89"/>
                    <a:pt x="6" y="84"/>
                    <a:pt x="6" y="77"/>
                  </a:cubicBezTo>
                  <a:cubicBezTo>
                    <a:pt x="6" y="18"/>
                    <a:pt x="6" y="18"/>
                    <a:pt x="6" y="18"/>
                  </a:cubicBezTo>
                  <a:cubicBezTo>
                    <a:pt x="3" y="18"/>
                    <a:pt x="3" y="18"/>
                    <a:pt x="3" y="18"/>
                  </a:cubicBezTo>
                  <a:cubicBezTo>
                    <a:pt x="0" y="18"/>
                    <a:pt x="0" y="18"/>
                    <a:pt x="0" y="18"/>
                  </a:cubicBezTo>
                  <a:cubicBezTo>
                    <a:pt x="0" y="77"/>
                    <a:pt x="0" y="77"/>
                    <a:pt x="0" y="77"/>
                  </a:cubicBezTo>
                  <a:cubicBezTo>
                    <a:pt x="0" y="87"/>
                    <a:pt x="8" y="95"/>
                    <a:pt x="18" y="95"/>
                  </a:cubicBezTo>
                  <a:cubicBezTo>
                    <a:pt x="1475" y="95"/>
                    <a:pt x="1475" y="95"/>
                    <a:pt x="1475" y="95"/>
                  </a:cubicBezTo>
                  <a:cubicBezTo>
                    <a:pt x="1485" y="95"/>
                    <a:pt x="1493" y="87"/>
                    <a:pt x="1493" y="77"/>
                  </a:cubicBezTo>
                  <a:cubicBezTo>
                    <a:pt x="1493" y="18"/>
                    <a:pt x="1493" y="18"/>
                    <a:pt x="1493" y="18"/>
                  </a:cubicBezTo>
                  <a:cubicBezTo>
                    <a:pt x="1493" y="8"/>
                    <a:pt x="1485" y="0"/>
                    <a:pt x="1475" y="0"/>
                  </a:cubicBezTo>
                  <a:cubicBezTo>
                    <a:pt x="18" y="0"/>
                    <a:pt x="18" y="0"/>
                    <a:pt x="18" y="0"/>
                  </a:cubicBezTo>
                  <a:cubicBezTo>
                    <a:pt x="8" y="0"/>
                    <a:pt x="0" y="8"/>
                    <a:pt x="0" y="18"/>
                  </a:cubicBezTo>
                  <a:lnTo>
                    <a:pt x="3" y="18"/>
                  </a:ln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Freeform 124">
              <a:extLst>
                <a:ext uri="{FF2B5EF4-FFF2-40B4-BE49-F238E27FC236}">
                  <a16:creationId xmlns:a16="http://schemas.microsoft.com/office/drawing/2014/main" id="{E1352990-63B3-45BF-9843-6691C46C26F7}"/>
                </a:ext>
              </a:extLst>
            </p:cNvPr>
            <p:cNvSpPr>
              <a:spLocks/>
            </p:cNvSpPr>
            <p:nvPr/>
          </p:nvSpPr>
          <p:spPr bwMode="auto">
            <a:xfrm>
              <a:off x="6502964" y="3027141"/>
              <a:ext cx="1523717" cy="330428"/>
            </a:xfrm>
            <a:custGeom>
              <a:avLst/>
              <a:gdLst>
                <a:gd name="T0" fmla="*/ 3 w 445"/>
                <a:gd name="T1" fmla="*/ 18 h 96"/>
                <a:gd name="T2" fmla="*/ 6 w 445"/>
                <a:gd name="T3" fmla="*/ 18 h 96"/>
                <a:gd name="T4" fmla="*/ 18 w 445"/>
                <a:gd name="T5" fmla="*/ 6 h 96"/>
                <a:gd name="T6" fmla="*/ 428 w 445"/>
                <a:gd name="T7" fmla="*/ 6 h 96"/>
                <a:gd name="T8" fmla="*/ 439 w 445"/>
                <a:gd name="T9" fmla="*/ 18 h 96"/>
                <a:gd name="T10" fmla="*/ 439 w 445"/>
                <a:gd name="T11" fmla="*/ 78 h 96"/>
                <a:gd name="T12" fmla="*/ 428 w 445"/>
                <a:gd name="T13" fmla="*/ 90 h 96"/>
                <a:gd name="T14" fmla="*/ 18 w 445"/>
                <a:gd name="T15" fmla="*/ 90 h 96"/>
                <a:gd name="T16" fmla="*/ 6 w 445"/>
                <a:gd name="T17" fmla="*/ 78 h 96"/>
                <a:gd name="T18" fmla="*/ 6 w 445"/>
                <a:gd name="T19" fmla="*/ 18 h 96"/>
                <a:gd name="T20" fmla="*/ 3 w 445"/>
                <a:gd name="T21" fmla="*/ 18 h 96"/>
                <a:gd name="T22" fmla="*/ 0 w 445"/>
                <a:gd name="T23" fmla="*/ 18 h 96"/>
                <a:gd name="T24" fmla="*/ 0 w 445"/>
                <a:gd name="T25" fmla="*/ 78 h 96"/>
                <a:gd name="T26" fmla="*/ 18 w 445"/>
                <a:gd name="T27" fmla="*/ 96 h 96"/>
                <a:gd name="T28" fmla="*/ 428 w 445"/>
                <a:gd name="T29" fmla="*/ 96 h 96"/>
                <a:gd name="T30" fmla="*/ 445 w 445"/>
                <a:gd name="T31" fmla="*/ 78 h 96"/>
                <a:gd name="T32" fmla="*/ 445 w 445"/>
                <a:gd name="T33" fmla="*/ 18 h 96"/>
                <a:gd name="T34" fmla="*/ 428 w 445"/>
                <a:gd name="T35" fmla="*/ 0 h 96"/>
                <a:gd name="T36" fmla="*/ 18 w 445"/>
                <a:gd name="T37" fmla="*/ 0 h 96"/>
                <a:gd name="T38" fmla="*/ 0 w 445"/>
                <a:gd name="T39" fmla="*/ 18 h 96"/>
                <a:gd name="T40" fmla="*/ 3 w 445"/>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5" h="96">
                  <a:moveTo>
                    <a:pt x="3" y="18"/>
                  </a:moveTo>
                  <a:cubicBezTo>
                    <a:pt x="6" y="18"/>
                    <a:pt x="6" y="18"/>
                    <a:pt x="6" y="18"/>
                  </a:cubicBezTo>
                  <a:cubicBezTo>
                    <a:pt x="6" y="12"/>
                    <a:pt x="11" y="6"/>
                    <a:pt x="18" y="6"/>
                  </a:cubicBezTo>
                  <a:cubicBezTo>
                    <a:pt x="428" y="6"/>
                    <a:pt x="428" y="6"/>
                    <a:pt x="428" y="6"/>
                  </a:cubicBezTo>
                  <a:cubicBezTo>
                    <a:pt x="434" y="6"/>
                    <a:pt x="439" y="12"/>
                    <a:pt x="439" y="18"/>
                  </a:cubicBezTo>
                  <a:cubicBezTo>
                    <a:pt x="439" y="78"/>
                    <a:pt x="439" y="78"/>
                    <a:pt x="439" y="78"/>
                  </a:cubicBezTo>
                  <a:cubicBezTo>
                    <a:pt x="439" y="84"/>
                    <a:pt x="434" y="90"/>
                    <a:pt x="428" y="90"/>
                  </a:cubicBezTo>
                  <a:cubicBezTo>
                    <a:pt x="18" y="90"/>
                    <a:pt x="18" y="90"/>
                    <a:pt x="18" y="90"/>
                  </a:cubicBezTo>
                  <a:cubicBezTo>
                    <a:pt x="11"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428" y="96"/>
                    <a:pt x="428" y="96"/>
                    <a:pt x="428" y="96"/>
                  </a:cubicBezTo>
                  <a:cubicBezTo>
                    <a:pt x="437" y="96"/>
                    <a:pt x="445" y="88"/>
                    <a:pt x="445" y="78"/>
                  </a:cubicBezTo>
                  <a:cubicBezTo>
                    <a:pt x="445" y="18"/>
                    <a:pt x="445" y="18"/>
                    <a:pt x="445" y="18"/>
                  </a:cubicBezTo>
                  <a:cubicBezTo>
                    <a:pt x="445" y="8"/>
                    <a:pt x="437" y="0"/>
                    <a:pt x="428" y="0"/>
                  </a:cubicBezTo>
                  <a:cubicBezTo>
                    <a:pt x="18" y="0"/>
                    <a:pt x="18" y="0"/>
                    <a:pt x="18" y="0"/>
                  </a:cubicBezTo>
                  <a:cubicBezTo>
                    <a:pt x="8" y="0"/>
                    <a:pt x="0" y="8"/>
                    <a:pt x="0" y="18"/>
                  </a:cubicBezTo>
                  <a:lnTo>
                    <a:pt x="3" y="18"/>
                  </a:ln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Freeform 125">
              <a:extLst>
                <a:ext uri="{FF2B5EF4-FFF2-40B4-BE49-F238E27FC236}">
                  <a16:creationId xmlns:a16="http://schemas.microsoft.com/office/drawing/2014/main" id="{0E6DA13C-E761-4B0D-929F-286F98B77E28}"/>
                </a:ext>
              </a:extLst>
            </p:cNvPr>
            <p:cNvSpPr>
              <a:spLocks/>
            </p:cNvSpPr>
            <p:nvPr/>
          </p:nvSpPr>
          <p:spPr bwMode="auto">
            <a:xfrm>
              <a:off x="7002213" y="3126702"/>
              <a:ext cx="62046" cy="106776"/>
            </a:xfrm>
            <a:custGeom>
              <a:avLst/>
              <a:gdLst>
                <a:gd name="T0" fmla="*/ 18 w 18"/>
                <a:gd name="T1" fmla="*/ 19 h 31"/>
                <a:gd name="T2" fmla="*/ 16 w 18"/>
                <a:gd name="T3" fmla="*/ 17 h 31"/>
                <a:gd name="T4" fmla="*/ 14 w 18"/>
                <a:gd name="T5" fmla="*/ 15 h 31"/>
                <a:gd name="T6" fmla="*/ 11 w 18"/>
                <a:gd name="T7" fmla="*/ 14 h 31"/>
                <a:gd name="T8" fmla="*/ 9 w 18"/>
                <a:gd name="T9" fmla="*/ 13 h 31"/>
                <a:gd name="T10" fmla="*/ 7 w 18"/>
                <a:gd name="T11" fmla="*/ 12 h 31"/>
                <a:gd name="T12" fmla="*/ 5 w 18"/>
                <a:gd name="T13" fmla="*/ 10 h 31"/>
                <a:gd name="T14" fmla="*/ 4 w 18"/>
                <a:gd name="T15" fmla="*/ 8 h 31"/>
                <a:gd name="T16" fmla="*/ 5 w 18"/>
                <a:gd name="T17" fmla="*/ 6 h 31"/>
                <a:gd name="T18" fmla="*/ 6 w 18"/>
                <a:gd name="T19" fmla="*/ 5 h 31"/>
                <a:gd name="T20" fmla="*/ 7 w 18"/>
                <a:gd name="T21" fmla="*/ 4 h 31"/>
                <a:gd name="T22" fmla="*/ 9 w 18"/>
                <a:gd name="T23" fmla="*/ 4 h 31"/>
                <a:gd name="T24" fmla="*/ 12 w 18"/>
                <a:gd name="T25" fmla="*/ 4 h 31"/>
                <a:gd name="T26" fmla="*/ 14 w 18"/>
                <a:gd name="T27" fmla="*/ 5 h 31"/>
                <a:gd name="T28" fmla="*/ 15 w 18"/>
                <a:gd name="T29" fmla="*/ 5 h 31"/>
                <a:gd name="T30" fmla="*/ 16 w 18"/>
                <a:gd name="T31" fmla="*/ 6 h 31"/>
                <a:gd name="T32" fmla="*/ 16 w 18"/>
                <a:gd name="T33" fmla="*/ 6 h 31"/>
                <a:gd name="T34" fmla="*/ 16 w 18"/>
                <a:gd name="T35" fmla="*/ 5 h 31"/>
                <a:gd name="T36" fmla="*/ 16 w 18"/>
                <a:gd name="T37" fmla="*/ 5 h 31"/>
                <a:gd name="T38" fmla="*/ 17 w 18"/>
                <a:gd name="T39" fmla="*/ 4 h 31"/>
                <a:gd name="T40" fmla="*/ 16 w 18"/>
                <a:gd name="T41" fmla="*/ 3 h 31"/>
                <a:gd name="T42" fmla="*/ 16 w 18"/>
                <a:gd name="T43" fmla="*/ 3 h 31"/>
                <a:gd name="T44" fmla="*/ 16 w 18"/>
                <a:gd name="T45" fmla="*/ 2 h 31"/>
                <a:gd name="T46" fmla="*/ 16 w 18"/>
                <a:gd name="T47" fmla="*/ 2 h 31"/>
                <a:gd name="T48" fmla="*/ 15 w 18"/>
                <a:gd name="T49" fmla="*/ 2 h 31"/>
                <a:gd name="T50" fmla="*/ 13 w 18"/>
                <a:gd name="T51" fmla="*/ 1 h 31"/>
                <a:gd name="T52" fmla="*/ 12 w 18"/>
                <a:gd name="T53" fmla="*/ 0 h 31"/>
                <a:gd name="T54" fmla="*/ 10 w 18"/>
                <a:gd name="T55" fmla="*/ 0 h 31"/>
                <a:gd name="T56" fmla="*/ 6 w 18"/>
                <a:gd name="T57" fmla="*/ 1 h 31"/>
                <a:gd name="T58" fmla="*/ 3 w 18"/>
                <a:gd name="T59" fmla="*/ 2 h 31"/>
                <a:gd name="T60" fmla="*/ 1 w 18"/>
                <a:gd name="T61" fmla="*/ 5 h 31"/>
                <a:gd name="T62" fmla="*/ 0 w 18"/>
                <a:gd name="T63" fmla="*/ 8 h 31"/>
                <a:gd name="T64" fmla="*/ 1 w 18"/>
                <a:gd name="T65" fmla="*/ 11 h 31"/>
                <a:gd name="T66" fmla="*/ 2 w 18"/>
                <a:gd name="T67" fmla="*/ 14 h 31"/>
                <a:gd name="T68" fmla="*/ 5 w 18"/>
                <a:gd name="T69" fmla="*/ 15 h 31"/>
                <a:gd name="T70" fmla="*/ 7 w 18"/>
                <a:gd name="T71" fmla="*/ 17 h 31"/>
                <a:gd name="T72" fmla="*/ 10 w 18"/>
                <a:gd name="T73" fmla="*/ 18 h 31"/>
                <a:gd name="T74" fmla="*/ 12 w 18"/>
                <a:gd name="T75" fmla="*/ 19 h 31"/>
                <a:gd name="T76" fmla="*/ 13 w 18"/>
                <a:gd name="T77" fmla="*/ 21 h 31"/>
                <a:gd name="T78" fmla="*/ 14 w 18"/>
                <a:gd name="T79" fmla="*/ 23 h 31"/>
                <a:gd name="T80" fmla="*/ 14 w 18"/>
                <a:gd name="T81" fmla="*/ 25 h 31"/>
                <a:gd name="T82" fmla="*/ 12 w 18"/>
                <a:gd name="T83" fmla="*/ 27 h 31"/>
                <a:gd name="T84" fmla="*/ 11 w 18"/>
                <a:gd name="T85" fmla="*/ 28 h 31"/>
                <a:gd name="T86" fmla="*/ 8 w 18"/>
                <a:gd name="T87" fmla="*/ 28 h 31"/>
                <a:gd name="T88" fmla="*/ 5 w 18"/>
                <a:gd name="T89" fmla="*/ 28 h 31"/>
                <a:gd name="T90" fmla="*/ 3 w 18"/>
                <a:gd name="T91" fmla="*/ 27 h 31"/>
                <a:gd name="T92" fmla="*/ 1 w 18"/>
                <a:gd name="T93" fmla="*/ 26 h 31"/>
                <a:gd name="T94" fmla="*/ 0 w 18"/>
                <a:gd name="T95" fmla="*/ 25 h 31"/>
                <a:gd name="T96" fmla="*/ 0 w 18"/>
                <a:gd name="T97" fmla="*/ 26 h 31"/>
                <a:gd name="T98" fmla="*/ 0 w 18"/>
                <a:gd name="T99" fmla="*/ 26 h 31"/>
                <a:gd name="T100" fmla="*/ 0 w 18"/>
                <a:gd name="T101" fmla="*/ 26 h 31"/>
                <a:gd name="T102" fmla="*/ 0 w 18"/>
                <a:gd name="T103" fmla="*/ 27 h 31"/>
                <a:gd name="T104" fmla="*/ 0 w 18"/>
                <a:gd name="T105" fmla="*/ 28 h 31"/>
                <a:gd name="T106" fmla="*/ 0 w 18"/>
                <a:gd name="T107" fmla="*/ 29 h 31"/>
                <a:gd name="T108" fmla="*/ 1 w 18"/>
                <a:gd name="T109" fmla="*/ 30 h 31"/>
                <a:gd name="T110" fmla="*/ 3 w 18"/>
                <a:gd name="T111" fmla="*/ 31 h 31"/>
                <a:gd name="T112" fmla="*/ 5 w 18"/>
                <a:gd name="T113" fmla="*/ 31 h 31"/>
                <a:gd name="T114" fmla="*/ 8 w 18"/>
                <a:gd name="T115" fmla="*/ 31 h 31"/>
                <a:gd name="T116" fmla="*/ 12 w 18"/>
                <a:gd name="T117" fmla="*/ 31 h 31"/>
                <a:gd name="T118" fmla="*/ 15 w 18"/>
                <a:gd name="T119" fmla="*/ 29 h 31"/>
                <a:gd name="T120" fmla="*/ 17 w 18"/>
                <a:gd name="T121" fmla="*/ 26 h 31"/>
                <a:gd name="T122" fmla="*/ 18 w 18"/>
                <a:gd name="T123" fmla="*/ 22 h 31"/>
                <a:gd name="T124" fmla="*/ 18 w 18"/>
                <a:gd name="T12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 h="31">
                  <a:moveTo>
                    <a:pt x="18" y="19"/>
                  </a:moveTo>
                  <a:cubicBezTo>
                    <a:pt x="17" y="18"/>
                    <a:pt x="17" y="18"/>
                    <a:pt x="16" y="17"/>
                  </a:cubicBezTo>
                  <a:cubicBezTo>
                    <a:pt x="15" y="16"/>
                    <a:pt x="15" y="16"/>
                    <a:pt x="14" y="15"/>
                  </a:cubicBezTo>
                  <a:cubicBezTo>
                    <a:pt x="13" y="15"/>
                    <a:pt x="12" y="14"/>
                    <a:pt x="11" y="14"/>
                  </a:cubicBezTo>
                  <a:cubicBezTo>
                    <a:pt x="10" y="14"/>
                    <a:pt x="10" y="13"/>
                    <a:pt x="9" y="13"/>
                  </a:cubicBezTo>
                  <a:cubicBezTo>
                    <a:pt x="8" y="12"/>
                    <a:pt x="7" y="12"/>
                    <a:pt x="7" y="12"/>
                  </a:cubicBezTo>
                  <a:cubicBezTo>
                    <a:pt x="6" y="11"/>
                    <a:pt x="5" y="11"/>
                    <a:pt x="5" y="10"/>
                  </a:cubicBezTo>
                  <a:cubicBezTo>
                    <a:pt x="5" y="9"/>
                    <a:pt x="4" y="9"/>
                    <a:pt x="4" y="8"/>
                  </a:cubicBezTo>
                  <a:cubicBezTo>
                    <a:pt x="4" y="7"/>
                    <a:pt x="5" y="7"/>
                    <a:pt x="5" y="6"/>
                  </a:cubicBezTo>
                  <a:cubicBezTo>
                    <a:pt x="5" y="6"/>
                    <a:pt x="5" y="5"/>
                    <a:pt x="6" y="5"/>
                  </a:cubicBezTo>
                  <a:cubicBezTo>
                    <a:pt x="6" y="4"/>
                    <a:pt x="7" y="4"/>
                    <a:pt x="7" y="4"/>
                  </a:cubicBezTo>
                  <a:cubicBezTo>
                    <a:pt x="8" y="4"/>
                    <a:pt x="9" y="4"/>
                    <a:pt x="9" y="4"/>
                  </a:cubicBezTo>
                  <a:cubicBezTo>
                    <a:pt x="10" y="4"/>
                    <a:pt x="11" y="4"/>
                    <a:pt x="12" y="4"/>
                  </a:cubicBezTo>
                  <a:cubicBezTo>
                    <a:pt x="13" y="4"/>
                    <a:pt x="13" y="4"/>
                    <a:pt x="14" y="5"/>
                  </a:cubicBezTo>
                  <a:cubicBezTo>
                    <a:pt x="14" y="5"/>
                    <a:pt x="15" y="5"/>
                    <a:pt x="15" y="5"/>
                  </a:cubicBezTo>
                  <a:cubicBezTo>
                    <a:pt x="15" y="6"/>
                    <a:pt x="16" y="6"/>
                    <a:pt x="16" y="6"/>
                  </a:cubicBezTo>
                  <a:cubicBezTo>
                    <a:pt x="16" y="6"/>
                    <a:pt x="16" y="6"/>
                    <a:pt x="16" y="6"/>
                  </a:cubicBezTo>
                  <a:cubicBezTo>
                    <a:pt x="16" y="6"/>
                    <a:pt x="16" y="5"/>
                    <a:pt x="16" y="5"/>
                  </a:cubicBezTo>
                  <a:cubicBezTo>
                    <a:pt x="16" y="5"/>
                    <a:pt x="16" y="5"/>
                    <a:pt x="16" y="5"/>
                  </a:cubicBezTo>
                  <a:cubicBezTo>
                    <a:pt x="17" y="5"/>
                    <a:pt x="17" y="4"/>
                    <a:pt x="17" y="4"/>
                  </a:cubicBezTo>
                  <a:cubicBezTo>
                    <a:pt x="17" y="4"/>
                    <a:pt x="17" y="3"/>
                    <a:pt x="16" y="3"/>
                  </a:cubicBezTo>
                  <a:cubicBezTo>
                    <a:pt x="16" y="3"/>
                    <a:pt x="16" y="3"/>
                    <a:pt x="16" y="3"/>
                  </a:cubicBezTo>
                  <a:cubicBezTo>
                    <a:pt x="16" y="3"/>
                    <a:pt x="16" y="3"/>
                    <a:pt x="16" y="2"/>
                  </a:cubicBezTo>
                  <a:cubicBezTo>
                    <a:pt x="16" y="2"/>
                    <a:pt x="16" y="2"/>
                    <a:pt x="16" y="2"/>
                  </a:cubicBezTo>
                  <a:cubicBezTo>
                    <a:pt x="16" y="2"/>
                    <a:pt x="16" y="2"/>
                    <a:pt x="15" y="2"/>
                  </a:cubicBezTo>
                  <a:cubicBezTo>
                    <a:pt x="15" y="1"/>
                    <a:pt x="14" y="1"/>
                    <a:pt x="13" y="1"/>
                  </a:cubicBezTo>
                  <a:cubicBezTo>
                    <a:pt x="13" y="1"/>
                    <a:pt x="12" y="1"/>
                    <a:pt x="12" y="0"/>
                  </a:cubicBezTo>
                  <a:cubicBezTo>
                    <a:pt x="11" y="0"/>
                    <a:pt x="10" y="0"/>
                    <a:pt x="10" y="0"/>
                  </a:cubicBezTo>
                  <a:cubicBezTo>
                    <a:pt x="8" y="0"/>
                    <a:pt x="7" y="0"/>
                    <a:pt x="6" y="1"/>
                  </a:cubicBezTo>
                  <a:cubicBezTo>
                    <a:pt x="5" y="1"/>
                    <a:pt x="4" y="2"/>
                    <a:pt x="3" y="2"/>
                  </a:cubicBezTo>
                  <a:cubicBezTo>
                    <a:pt x="2" y="3"/>
                    <a:pt x="1" y="4"/>
                    <a:pt x="1" y="5"/>
                  </a:cubicBezTo>
                  <a:cubicBezTo>
                    <a:pt x="1" y="6"/>
                    <a:pt x="0" y="7"/>
                    <a:pt x="0" y="8"/>
                  </a:cubicBezTo>
                  <a:cubicBezTo>
                    <a:pt x="0" y="9"/>
                    <a:pt x="1" y="10"/>
                    <a:pt x="1" y="11"/>
                  </a:cubicBezTo>
                  <a:cubicBezTo>
                    <a:pt x="1" y="12"/>
                    <a:pt x="2" y="13"/>
                    <a:pt x="2" y="14"/>
                  </a:cubicBezTo>
                  <a:cubicBezTo>
                    <a:pt x="3" y="14"/>
                    <a:pt x="4" y="15"/>
                    <a:pt x="5" y="15"/>
                  </a:cubicBezTo>
                  <a:cubicBezTo>
                    <a:pt x="5" y="16"/>
                    <a:pt x="6" y="16"/>
                    <a:pt x="7" y="17"/>
                  </a:cubicBezTo>
                  <a:cubicBezTo>
                    <a:pt x="8" y="17"/>
                    <a:pt x="9" y="17"/>
                    <a:pt x="10" y="18"/>
                  </a:cubicBezTo>
                  <a:cubicBezTo>
                    <a:pt x="11" y="18"/>
                    <a:pt x="11" y="19"/>
                    <a:pt x="12" y="19"/>
                  </a:cubicBezTo>
                  <a:cubicBezTo>
                    <a:pt x="13" y="20"/>
                    <a:pt x="13" y="20"/>
                    <a:pt x="13" y="21"/>
                  </a:cubicBezTo>
                  <a:cubicBezTo>
                    <a:pt x="14" y="21"/>
                    <a:pt x="14" y="22"/>
                    <a:pt x="14" y="23"/>
                  </a:cubicBezTo>
                  <a:cubicBezTo>
                    <a:pt x="14" y="24"/>
                    <a:pt x="14" y="24"/>
                    <a:pt x="14" y="25"/>
                  </a:cubicBezTo>
                  <a:cubicBezTo>
                    <a:pt x="13" y="26"/>
                    <a:pt x="13" y="26"/>
                    <a:pt x="12" y="27"/>
                  </a:cubicBezTo>
                  <a:cubicBezTo>
                    <a:pt x="12" y="27"/>
                    <a:pt x="11" y="27"/>
                    <a:pt x="11" y="28"/>
                  </a:cubicBezTo>
                  <a:cubicBezTo>
                    <a:pt x="10" y="28"/>
                    <a:pt x="9" y="28"/>
                    <a:pt x="8" y="28"/>
                  </a:cubicBezTo>
                  <a:cubicBezTo>
                    <a:pt x="7" y="28"/>
                    <a:pt x="6" y="28"/>
                    <a:pt x="5" y="28"/>
                  </a:cubicBezTo>
                  <a:cubicBezTo>
                    <a:pt x="4" y="27"/>
                    <a:pt x="3" y="27"/>
                    <a:pt x="3" y="27"/>
                  </a:cubicBezTo>
                  <a:cubicBezTo>
                    <a:pt x="2" y="26"/>
                    <a:pt x="2" y="26"/>
                    <a:pt x="1" y="26"/>
                  </a:cubicBezTo>
                  <a:cubicBezTo>
                    <a:pt x="1" y="26"/>
                    <a:pt x="1" y="25"/>
                    <a:pt x="0" y="25"/>
                  </a:cubicBezTo>
                  <a:cubicBezTo>
                    <a:pt x="0" y="25"/>
                    <a:pt x="0" y="25"/>
                    <a:pt x="0" y="26"/>
                  </a:cubicBezTo>
                  <a:cubicBezTo>
                    <a:pt x="0" y="26"/>
                    <a:pt x="0" y="26"/>
                    <a:pt x="0" y="26"/>
                  </a:cubicBezTo>
                  <a:cubicBezTo>
                    <a:pt x="0" y="26"/>
                    <a:pt x="0" y="26"/>
                    <a:pt x="0" y="26"/>
                  </a:cubicBezTo>
                  <a:cubicBezTo>
                    <a:pt x="0" y="27"/>
                    <a:pt x="0" y="27"/>
                    <a:pt x="0" y="27"/>
                  </a:cubicBezTo>
                  <a:cubicBezTo>
                    <a:pt x="0" y="28"/>
                    <a:pt x="0" y="28"/>
                    <a:pt x="0" y="28"/>
                  </a:cubicBezTo>
                  <a:cubicBezTo>
                    <a:pt x="0" y="29"/>
                    <a:pt x="0" y="29"/>
                    <a:pt x="0" y="29"/>
                  </a:cubicBezTo>
                  <a:cubicBezTo>
                    <a:pt x="0" y="29"/>
                    <a:pt x="1" y="30"/>
                    <a:pt x="1" y="30"/>
                  </a:cubicBezTo>
                  <a:cubicBezTo>
                    <a:pt x="2" y="30"/>
                    <a:pt x="2" y="30"/>
                    <a:pt x="3" y="31"/>
                  </a:cubicBezTo>
                  <a:cubicBezTo>
                    <a:pt x="3" y="31"/>
                    <a:pt x="4" y="31"/>
                    <a:pt x="5" y="31"/>
                  </a:cubicBezTo>
                  <a:cubicBezTo>
                    <a:pt x="6" y="31"/>
                    <a:pt x="7" y="31"/>
                    <a:pt x="8" y="31"/>
                  </a:cubicBezTo>
                  <a:cubicBezTo>
                    <a:pt x="9" y="31"/>
                    <a:pt x="11" y="31"/>
                    <a:pt x="12" y="31"/>
                  </a:cubicBezTo>
                  <a:cubicBezTo>
                    <a:pt x="13" y="30"/>
                    <a:pt x="14" y="30"/>
                    <a:pt x="15" y="29"/>
                  </a:cubicBezTo>
                  <a:cubicBezTo>
                    <a:pt x="16" y="28"/>
                    <a:pt x="17" y="27"/>
                    <a:pt x="17" y="26"/>
                  </a:cubicBezTo>
                  <a:cubicBezTo>
                    <a:pt x="18" y="25"/>
                    <a:pt x="18" y="24"/>
                    <a:pt x="18" y="22"/>
                  </a:cubicBezTo>
                  <a:cubicBezTo>
                    <a:pt x="18" y="21"/>
                    <a:pt x="18" y="20"/>
                    <a:pt x="18" y="1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126">
              <a:extLst>
                <a:ext uri="{FF2B5EF4-FFF2-40B4-BE49-F238E27FC236}">
                  <a16:creationId xmlns:a16="http://schemas.microsoft.com/office/drawing/2014/main" id="{F6CB54D2-6089-4A3B-99F1-F54ADD511C57}"/>
                </a:ext>
              </a:extLst>
            </p:cNvPr>
            <p:cNvSpPr>
              <a:spLocks noEditPoints="1"/>
            </p:cNvSpPr>
            <p:nvPr/>
          </p:nvSpPr>
          <p:spPr bwMode="auto">
            <a:xfrm>
              <a:off x="7078687" y="3154117"/>
              <a:ext cx="67817" cy="79361"/>
            </a:xfrm>
            <a:custGeom>
              <a:avLst/>
              <a:gdLst>
                <a:gd name="T0" fmla="*/ 20 w 20"/>
                <a:gd name="T1" fmla="*/ 10 h 23"/>
                <a:gd name="T2" fmla="*/ 19 w 20"/>
                <a:gd name="T3" fmla="*/ 6 h 23"/>
                <a:gd name="T4" fmla="*/ 17 w 20"/>
                <a:gd name="T5" fmla="*/ 3 h 23"/>
                <a:gd name="T6" fmla="*/ 14 w 20"/>
                <a:gd name="T7" fmla="*/ 1 h 23"/>
                <a:gd name="T8" fmla="*/ 10 w 20"/>
                <a:gd name="T9" fmla="*/ 0 h 23"/>
                <a:gd name="T10" fmla="*/ 6 w 20"/>
                <a:gd name="T11" fmla="*/ 1 h 23"/>
                <a:gd name="T12" fmla="*/ 3 w 20"/>
                <a:gd name="T13" fmla="*/ 3 h 23"/>
                <a:gd name="T14" fmla="*/ 1 w 20"/>
                <a:gd name="T15" fmla="*/ 7 h 23"/>
                <a:gd name="T16" fmla="*/ 0 w 20"/>
                <a:gd name="T17" fmla="*/ 12 h 23"/>
                <a:gd name="T18" fmla="*/ 1 w 20"/>
                <a:gd name="T19" fmla="*/ 17 h 23"/>
                <a:gd name="T20" fmla="*/ 3 w 20"/>
                <a:gd name="T21" fmla="*/ 21 h 23"/>
                <a:gd name="T22" fmla="*/ 6 w 20"/>
                <a:gd name="T23" fmla="*/ 23 h 23"/>
                <a:gd name="T24" fmla="*/ 11 w 20"/>
                <a:gd name="T25" fmla="*/ 23 h 23"/>
                <a:gd name="T26" fmla="*/ 14 w 20"/>
                <a:gd name="T27" fmla="*/ 23 h 23"/>
                <a:gd name="T28" fmla="*/ 16 w 20"/>
                <a:gd name="T29" fmla="*/ 23 h 23"/>
                <a:gd name="T30" fmla="*/ 17 w 20"/>
                <a:gd name="T31" fmla="*/ 22 h 23"/>
                <a:gd name="T32" fmla="*/ 18 w 20"/>
                <a:gd name="T33" fmla="*/ 22 h 23"/>
                <a:gd name="T34" fmla="*/ 18 w 20"/>
                <a:gd name="T35" fmla="*/ 21 h 23"/>
                <a:gd name="T36" fmla="*/ 19 w 20"/>
                <a:gd name="T37" fmla="*/ 21 h 23"/>
                <a:gd name="T38" fmla="*/ 19 w 20"/>
                <a:gd name="T39" fmla="*/ 21 h 23"/>
                <a:gd name="T40" fmla="*/ 19 w 20"/>
                <a:gd name="T41" fmla="*/ 20 h 23"/>
                <a:gd name="T42" fmla="*/ 19 w 20"/>
                <a:gd name="T43" fmla="*/ 19 h 23"/>
                <a:gd name="T44" fmla="*/ 19 w 20"/>
                <a:gd name="T45" fmla="*/ 19 h 23"/>
                <a:gd name="T46" fmla="*/ 18 w 20"/>
                <a:gd name="T47" fmla="*/ 19 h 23"/>
                <a:gd name="T48" fmla="*/ 18 w 20"/>
                <a:gd name="T49" fmla="*/ 19 h 23"/>
                <a:gd name="T50" fmla="*/ 17 w 20"/>
                <a:gd name="T51" fmla="*/ 19 h 23"/>
                <a:gd name="T52" fmla="*/ 16 w 20"/>
                <a:gd name="T53" fmla="*/ 19 h 23"/>
                <a:gd name="T54" fmla="*/ 14 w 20"/>
                <a:gd name="T55" fmla="*/ 20 h 23"/>
                <a:gd name="T56" fmla="*/ 11 w 20"/>
                <a:gd name="T57" fmla="*/ 20 h 23"/>
                <a:gd name="T58" fmla="*/ 8 w 20"/>
                <a:gd name="T59" fmla="*/ 20 h 23"/>
                <a:gd name="T60" fmla="*/ 6 w 20"/>
                <a:gd name="T61" fmla="*/ 18 h 23"/>
                <a:gd name="T62" fmla="*/ 5 w 20"/>
                <a:gd name="T63" fmla="*/ 16 h 23"/>
                <a:gd name="T64" fmla="*/ 4 w 20"/>
                <a:gd name="T65" fmla="*/ 13 h 23"/>
                <a:gd name="T66" fmla="*/ 18 w 20"/>
                <a:gd name="T67" fmla="*/ 13 h 23"/>
                <a:gd name="T68" fmla="*/ 19 w 20"/>
                <a:gd name="T69" fmla="*/ 12 h 23"/>
                <a:gd name="T70" fmla="*/ 20 w 20"/>
                <a:gd name="T71" fmla="*/ 11 h 23"/>
                <a:gd name="T72" fmla="*/ 20 w 20"/>
                <a:gd name="T73" fmla="*/ 10 h 23"/>
                <a:gd name="T74" fmla="*/ 4 w 20"/>
                <a:gd name="T75" fmla="*/ 10 h 23"/>
                <a:gd name="T76" fmla="*/ 5 w 20"/>
                <a:gd name="T77" fmla="*/ 7 h 23"/>
                <a:gd name="T78" fmla="*/ 6 w 20"/>
                <a:gd name="T79" fmla="*/ 5 h 23"/>
                <a:gd name="T80" fmla="*/ 8 w 20"/>
                <a:gd name="T81" fmla="*/ 4 h 23"/>
                <a:gd name="T82" fmla="*/ 10 w 20"/>
                <a:gd name="T83" fmla="*/ 3 h 23"/>
                <a:gd name="T84" fmla="*/ 14 w 20"/>
                <a:gd name="T85" fmla="*/ 5 h 23"/>
                <a:gd name="T86" fmla="*/ 16 w 20"/>
                <a:gd name="T87" fmla="*/ 10 h 23"/>
                <a:gd name="T88" fmla="*/ 4 w 20"/>
                <a:gd name="T89"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 h="23">
                  <a:moveTo>
                    <a:pt x="20" y="10"/>
                  </a:moveTo>
                  <a:cubicBezTo>
                    <a:pt x="20" y="9"/>
                    <a:pt x="19" y="8"/>
                    <a:pt x="19" y="6"/>
                  </a:cubicBezTo>
                  <a:cubicBezTo>
                    <a:pt x="19" y="5"/>
                    <a:pt x="18" y="4"/>
                    <a:pt x="17" y="3"/>
                  </a:cubicBezTo>
                  <a:cubicBezTo>
                    <a:pt x="17" y="2"/>
                    <a:pt x="16" y="2"/>
                    <a:pt x="14" y="1"/>
                  </a:cubicBezTo>
                  <a:cubicBezTo>
                    <a:pt x="13" y="1"/>
                    <a:pt x="12" y="0"/>
                    <a:pt x="10" y="0"/>
                  </a:cubicBezTo>
                  <a:cubicBezTo>
                    <a:pt x="9" y="0"/>
                    <a:pt x="7" y="1"/>
                    <a:pt x="6" y="1"/>
                  </a:cubicBezTo>
                  <a:cubicBezTo>
                    <a:pt x="5" y="2"/>
                    <a:pt x="4" y="2"/>
                    <a:pt x="3" y="3"/>
                  </a:cubicBezTo>
                  <a:cubicBezTo>
                    <a:pt x="2" y="4"/>
                    <a:pt x="1" y="6"/>
                    <a:pt x="1" y="7"/>
                  </a:cubicBezTo>
                  <a:cubicBezTo>
                    <a:pt x="0" y="9"/>
                    <a:pt x="0" y="10"/>
                    <a:pt x="0" y="12"/>
                  </a:cubicBezTo>
                  <a:cubicBezTo>
                    <a:pt x="0" y="14"/>
                    <a:pt x="0" y="16"/>
                    <a:pt x="1" y="17"/>
                  </a:cubicBezTo>
                  <a:cubicBezTo>
                    <a:pt x="1" y="18"/>
                    <a:pt x="2" y="20"/>
                    <a:pt x="3" y="21"/>
                  </a:cubicBezTo>
                  <a:cubicBezTo>
                    <a:pt x="4" y="22"/>
                    <a:pt x="5" y="22"/>
                    <a:pt x="6" y="23"/>
                  </a:cubicBezTo>
                  <a:cubicBezTo>
                    <a:pt x="7" y="23"/>
                    <a:pt x="9" y="23"/>
                    <a:pt x="11" y="23"/>
                  </a:cubicBezTo>
                  <a:cubicBezTo>
                    <a:pt x="12" y="23"/>
                    <a:pt x="13" y="23"/>
                    <a:pt x="14" y="23"/>
                  </a:cubicBezTo>
                  <a:cubicBezTo>
                    <a:pt x="14" y="23"/>
                    <a:pt x="15" y="23"/>
                    <a:pt x="16" y="23"/>
                  </a:cubicBezTo>
                  <a:cubicBezTo>
                    <a:pt x="17" y="23"/>
                    <a:pt x="17" y="22"/>
                    <a:pt x="17" y="22"/>
                  </a:cubicBezTo>
                  <a:cubicBezTo>
                    <a:pt x="18" y="22"/>
                    <a:pt x="18" y="22"/>
                    <a:pt x="18" y="22"/>
                  </a:cubicBezTo>
                  <a:cubicBezTo>
                    <a:pt x="18" y="22"/>
                    <a:pt x="18" y="22"/>
                    <a:pt x="18" y="21"/>
                  </a:cubicBezTo>
                  <a:cubicBezTo>
                    <a:pt x="19" y="21"/>
                    <a:pt x="19" y="21"/>
                    <a:pt x="19" y="21"/>
                  </a:cubicBezTo>
                  <a:cubicBezTo>
                    <a:pt x="19" y="21"/>
                    <a:pt x="19" y="21"/>
                    <a:pt x="19" y="21"/>
                  </a:cubicBezTo>
                  <a:cubicBezTo>
                    <a:pt x="19" y="21"/>
                    <a:pt x="19" y="20"/>
                    <a:pt x="19" y="20"/>
                  </a:cubicBezTo>
                  <a:cubicBezTo>
                    <a:pt x="19" y="20"/>
                    <a:pt x="19" y="20"/>
                    <a:pt x="19" y="19"/>
                  </a:cubicBezTo>
                  <a:cubicBezTo>
                    <a:pt x="19" y="19"/>
                    <a:pt x="19" y="19"/>
                    <a:pt x="19" y="19"/>
                  </a:cubicBezTo>
                  <a:cubicBezTo>
                    <a:pt x="18" y="19"/>
                    <a:pt x="18" y="19"/>
                    <a:pt x="18" y="19"/>
                  </a:cubicBezTo>
                  <a:cubicBezTo>
                    <a:pt x="18" y="19"/>
                    <a:pt x="18" y="19"/>
                    <a:pt x="18" y="19"/>
                  </a:cubicBezTo>
                  <a:cubicBezTo>
                    <a:pt x="18" y="19"/>
                    <a:pt x="18" y="19"/>
                    <a:pt x="17" y="19"/>
                  </a:cubicBezTo>
                  <a:cubicBezTo>
                    <a:pt x="17" y="19"/>
                    <a:pt x="16" y="19"/>
                    <a:pt x="16" y="19"/>
                  </a:cubicBezTo>
                  <a:cubicBezTo>
                    <a:pt x="15" y="20"/>
                    <a:pt x="15" y="20"/>
                    <a:pt x="14" y="20"/>
                  </a:cubicBezTo>
                  <a:cubicBezTo>
                    <a:pt x="13" y="20"/>
                    <a:pt x="12" y="20"/>
                    <a:pt x="11" y="20"/>
                  </a:cubicBezTo>
                  <a:cubicBezTo>
                    <a:pt x="10" y="20"/>
                    <a:pt x="9" y="20"/>
                    <a:pt x="8" y="20"/>
                  </a:cubicBezTo>
                  <a:cubicBezTo>
                    <a:pt x="7" y="19"/>
                    <a:pt x="6" y="19"/>
                    <a:pt x="6" y="18"/>
                  </a:cubicBezTo>
                  <a:cubicBezTo>
                    <a:pt x="5" y="18"/>
                    <a:pt x="5" y="17"/>
                    <a:pt x="5" y="16"/>
                  </a:cubicBezTo>
                  <a:cubicBezTo>
                    <a:pt x="4" y="15"/>
                    <a:pt x="4" y="14"/>
                    <a:pt x="4" y="13"/>
                  </a:cubicBezTo>
                  <a:cubicBezTo>
                    <a:pt x="18" y="13"/>
                    <a:pt x="18" y="13"/>
                    <a:pt x="18" y="13"/>
                  </a:cubicBezTo>
                  <a:cubicBezTo>
                    <a:pt x="18" y="13"/>
                    <a:pt x="19" y="13"/>
                    <a:pt x="19" y="12"/>
                  </a:cubicBezTo>
                  <a:cubicBezTo>
                    <a:pt x="19" y="12"/>
                    <a:pt x="20" y="12"/>
                    <a:pt x="20" y="11"/>
                  </a:cubicBezTo>
                  <a:cubicBezTo>
                    <a:pt x="20" y="10"/>
                    <a:pt x="20" y="10"/>
                    <a:pt x="20" y="10"/>
                  </a:cubicBezTo>
                  <a:close/>
                  <a:moveTo>
                    <a:pt x="4" y="10"/>
                  </a:moveTo>
                  <a:cubicBezTo>
                    <a:pt x="4" y="9"/>
                    <a:pt x="4" y="8"/>
                    <a:pt x="5" y="7"/>
                  </a:cubicBezTo>
                  <a:cubicBezTo>
                    <a:pt x="5" y="7"/>
                    <a:pt x="5" y="6"/>
                    <a:pt x="6" y="5"/>
                  </a:cubicBezTo>
                  <a:cubicBezTo>
                    <a:pt x="6" y="5"/>
                    <a:pt x="7" y="4"/>
                    <a:pt x="8" y="4"/>
                  </a:cubicBezTo>
                  <a:cubicBezTo>
                    <a:pt x="8" y="3"/>
                    <a:pt x="9" y="3"/>
                    <a:pt x="10" y="3"/>
                  </a:cubicBezTo>
                  <a:cubicBezTo>
                    <a:pt x="12" y="3"/>
                    <a:pt x="13" y="4"/>
                    <a:pt x="14" y="5"/>
                  </a:cubicBezTo>
                  <a:cubicBezTo>
                    <a:pt x="15" y="6"/>
                    <a:pt x="16" y="8"/>
                    <a:pt x="16" y="10"/>
                  </a:cubicBezTo>
                  <a:cubicBezTo>
                    <a:pt x="4" y="10"/>
                    <a:pt x="4" y="10"/>
                    <a:pt x="4"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Freeform 127">
              <a:extLst>
                <a:ext uri="{FF2B5EF4-FFF2-40B4-BE49-F238E27FC236}">
                  <a16:creationId xmlns:a16="http://schemas.microsoft.com/office/drawing/2014/main" id="{0E98FBF0-36E3-4A7E-9913-DAC139F7080C}"/>
                </a:ext>
              </a:extLst>
            </p:cNvPr>
            <p:cNvSpPr>
              <a:spLocks/>
            </p:cNvSpPr>
            <p:nvPr/>
          </p:nvSpPr>
          <p:spPr bwMode="auto">
            <a:xfrm>
              <a:off x="7160933" y="3154117"/>
              <a:ext cx="57717" cy="79361"/>
            </a:xfrm>
            <a:custGeom>
              <a:avLst/>
              <a:gdLst>
                <a:gd name="T0" fmla="*/ 17 w 17"/>
                <a:gd name="T1" fmla="*/ 18 h 23"/>
                <a:gd name="T2" fmla="*/ 17 w 17"/>
                <a:gd name="T3" fmla="*/ 18 h 23"/>
                <a:gd name="T4" fmla="*/ 16 w 17"/>
                <a:gd name="T5" fmla="*/ 18 h 23"/>
                <a:gd name="T6" fmla="*/ 16 w 17"/>
                <a:gd name="T7" fmla="*/ 17 h 23"/>
                <a:gd name="T8" fmla="*/ 15 w 17"/>
                <a:gd name="T9" fmla="*/ 18 h 23"/>
                <a:gd name="T10" fmla="*/ 14 w 17"/>
                <a:gd name="T11" fmla="*/ 19 h 23"/>
                <a:gd name="T12" fmla="*/ 12 w 17"/>
                <a:gd name="T13" fmla="*/ 20 h 23"/>
                <a:gd name="T14" fmla="*/ 10 w 17"/>
                <a:gd name="T15" fmla="*/ 20 h 23"/>
                <a:gd name="T16" fmla="*/ 7 w 17"/>
                <a:gd name="T17" fmla="*/ 20 h 23"/>
                <a:gd name="T18" fmla="*/ 6 w 17"/>
                <a:gd name="T19" fmla="*/ 18 h 23"/>
                <a:gd name="T20" fmla="*/ 4 w 17"/>
                <a:gd name="T21" fmla="*/ 15 h 23"/>
                <a:gd name="T22" fmla="*/ 4 w 17"/>
                <a:gd name="T23" fmla="*/ 12 h 23"/>
                <a:gd name="T24" fmla="*/ 6 w 17"/>
                <a:gd name="T25" fmla="*/ 6 h 23"/>
                <a:gd name="T26" fmla="*/ 10 w 17"/>
                <a:gd name="T27" fmla="*/ 4 h 23"/>
                <a:gd name="T28" fmla="*/ 12 w 17"/>
                <a:gd name="T29" fmla="*/ 4 h 23"/>
                <a:gd name="T30" fmla="*/ 14 w 17"/>
                <a:gd name="T31" fmla="*/ 5 h 23"/>
                <a:gd name="T32" fmla="*/ 15 w 17"/>
                <a:gd name="T33" fmla="*/ 6 h 23"/>
                <a:gd name="T34" fmla="*/ 16 w 17"/>
                <a:gd name="T35" fmla="*/ 6 h 23"/>
                <a:gd name="T36" fmla="*/ 16 w 17"/>
                <a:gd name="T37" fmla="*/ 6 h 23"/>
                <a:gd name="T38" fmla="*/ 17 w 17"/>
                <a:gd name="T39" fmla="*/ 4 h 23"/>
                <a:gd name="T40" fmla="*/ 17 w 17"/>
                <a:gd name="T41" fmla="*/ 4 h 23"/>
                <a:gd name="T42" fmla="*/ 16 w 17"/>
                <a:gd name="T43" fmla="*/ 3 h 23"/>
                <a:gd name="T44" fmla="*/ 16 w 17"/>
                <a:gd name="T45" fmla="*/ 3 h 23"/>
                <a:gd name="T46" fmla="*/ 16 w 17"/>
                <a:gd name="T47" fmla="*/ 2 h 23"/>
                <a:gd name="T48" fmla="*/ 15 w 17"/>
                <a:gd name="T49" fmla="*/ 2 h 23"/>
                <a:gd name="T50" fmla="*/ 14 w 17"/>
                <a:gd name="T51" fmla="*/ 1 h 23"/>
                <a:gd name="T52" fmla="*/ 12 w 17"/>
                <a:gd name="T53" fmla="*/ 0 h 23"/>
                <a:gd name="T54" fmla="*/ 10 w 17"/>
                <a:gd name="T55" fmla="*/ 0 h 23"/>
                <a:gd name="T56" fmla="*/ 6 w 17"/>
                <a:gd name="T57" fmla="*/ 1 h 23"/>
                <a:gd name="T58" fmla="*/ 3 w 17"/>
                <a:gd name="T59" fmla="*/ 3 h 23"/>
                <a:gd name="T60" fmla="*/ 1 w 17"/>
                <a:gd name="T61" fmla="*/ 7 h 23"/>
                <a:gd name="T62" fmla="*/ 0 w 17"/>
                <a:gd name="T63" fmla="*/ 12 h 23"/>
                <a:gd name="T64" fmla="*/ 1 w 17"/>
                <a:gd name="T65" fmla="*/ 17 h 23"/>
                <a:gd name="T66" fmla="*/ 2 w 17"/>
                <a:gd name="T67" fmla="*/ 20 h 23"/>
                <a:gd name="T68" fmla="*/ 5 w 17"/>
                <a:gd name="T69" fmla="*/ 23 h 23"/>
                <a:gd name="T70" fmla="*/ 9 w 17"/>
                <a:gd name="T71" fmla="*/ 23 h 23"/>
                <a:gd name="T72" fmla="*/ 12 w 17"/>
                <a:gd name="T73" fmla="*/ 23 h 23"/>
                <a:gd name="T74" fmla="*/ 13 w 17"/>
                <a:gd name="T75" fmla="*/ 23 h 23"/>
                <a:gd name="T76" fmla="*/ 15 w 17"/>
                <a:gd name="T77" fmla="*/ 22 h 23"/>
                <a:gd name="T78" fmla="*/ 16 w 17"/>
                <a:gd name="T79" fmla="*/ 21 h 23"/>
                <a:gd name="T80" fmla="*/ 16 w 17"/>
                <a:gd name="T81" fmla="*/ 21 h 23"/>
                <a:gd name="T82" fmla="*/ 17 w 17"/>
                <a:gd name="T83" fmla="*/ 20 h 23"/>
                <a:gd name="T84" fmla="*/ 17 w 17"/>
                <a:gd name="T85" fmla="*/ 20 h 23"/>
                <a:gd name="T86" fmla="*/ 17 w 17"/>
                <a:gd name="T87" fmla="*/ 19 h 23"/>
                <a:gd name="T88" fmla="*/ 17 w 17"/>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 h="23">
                  <a:moveTo>
                    <a:pt x="17" y="18"/>
                  </a:moveTo>
                  <a:cubicBezTo>
                    <a:pt x="17" y="18"/>
                    <a:pt x="17" y="18"/>
                    <a:pt x="17" y="18"/>
                  </a:cubicBezTo>
                  <a:cubicBezTo>
                    <a:pt x="16" y="18"/>
                    <a:pt x="16" y="18"/>
                    <a:pt x="16" y="18"/>
                  </a:cubicBezTo>
                  <a:cubicBezTo>
                    <a:pt x="16" y="17"/>
                    <a:pt x="16" y="17"/>
                    <a:pt x="16" y="17"/>
                  </a:cubicBezTo>
                  <a:cubicBezTo>
                    <a:pt x="16" y="17"/>
                    <a:pt x="16" y="18"/>
                    <a:pt x="15" y="18"/>
                  </a:cubicBezTo>
                  <a:cubicBezTo>
                    <a:pt x="15" y="18"/>
                    <a:pt x="15" y="18"/>
                    <a:pt x="14" y="19"/>
                  </a:cubicBezTo>
                  <a:cubicBezTo>
                    <a:pt x="14" y="19"/>
                    <a:pt x="13" y="19"/>
                    <a:pt x="12" y="20"/>
                  </a:cubicBezTo>
                  <a:cubicBezTo>
                    <a:pt x="12" y="20"/>
                    <a:pt x="11" y="20"/>
                    <a:pt x="10" y="20"/>
                  </a:cubicBezTo>
                  <a:cubicBezTo>
                    <a:pt x="9" y="20"/>
                    <a:pt x="8" y="20"/>
                    <a:pt x="7" y="20"/>
                  </a:cubicBezTo>
                  <a:cubicBezTo>
                    <a:pt x="7" y="19"/>
                    <a:pt x="6" y="19"/>
                    <a:pt x="6" y="18"/>
                  </a:cubicBezTo>
                  <a:cubicBezTo>
                    <a:pt x="5" y="17"/>
                    <a:pt x="5" y="17"/>
                    <a:pt x="4" y="15"/>
                  </a:cubicBezTo>
                  <a:cubicBezTo>
                    <a:pt x="4" y="14"/>
                    <a:pt x="4" y="13"/>
                    <a:pt x="4" y="12"/>
                  </a:cubicBezTo>
                  <a:cubicBezTo>
                    <a:pt x="4" y="9"/>
                    <a:pt x="5" y="7"/>
                    <a:pt x="6" y="6"/>
                  </a:cubicBezTo>
                  <a:cubicBezTo>
                    <a:pt x="7" y="4"/>
                    <a:pt x="8" y="4"/>
                    <a:pt x="10" y="4"/>
                  </a:cubicBezTo>
                  <a:cubicBezTo>
                    <a:pt x="11" y="4"/>
                    <a:pt x="12" y="4"/>
                    <a:pt x="12" y="4"/>
                  </a:cubicBezTo>
                  <a:cubicBezTo>
                    <a:pt x="13" y="4"/>
                    <a:pt x="13" y="4"/>
                    <a:pt x="14" y="5"/>
                  </a:cubicBezTo>
                  <a:cubicBezTo>
                    <a:pt x="14" y="5"/>
                    <a:pt x="15" y="5"/>
                    <a:pt x="15" y="6"/>
                  </a:cubicBezTo>
                  <a:cubicBezTo>
                    <a:pt x="15" y="6"/>
                    <a:pt x="16" y="6"/>
                    <a:pt x="16" y="6"/>
                  </a:cubicBezTo>
                  <a:cubicBezTo>
                    <a:pt x="16" y="6"/>
                    <a:pt x="16" y="6"/>
                    <a:pt x="16" y="6"/>
                  </a:cubicBezTo>
                  <a:cubicBezTo>
                    <a:pt x="17" y="5"/>
                    <a:pt x="17" y="5"/>
                    <a:pt x="17" y="4"/>
                  </a:cubicBezTo>
                  <a:cubicBezTo>
                    <a:pt x="17" y="4"/>
                    <a:pt x="17" y="4"/>
                    <a:pt x="17" y="4"/>
                  </a:cubicBezTo>
                  <a:cubicBezTo>
                    <a:pt x="17" y="3"/>
                    <a:pt x="17" y="3"/>
                    <a:pt x="16" y="3"/>
                  </a:cubicBezTo>
                  <a:cubicBezTo>
                    <a:pt x="16" y="3"/>
                    <a:pt x="16" y="3"/>
                    <a:pt x="16" y="3"/>
                  </a:cubicBezTo>
                  <a:cubicBezTo>
                    <a:pt x="16" y="3"/>
                    <a:pt x="16" y="3"/>
                    <a:pt x="16" y="2"/>
                  </a:cubicBezTo>
                  <a:cubicBezTo>
                    <a:pt x="16" y="2"/>
                    <a:pt x="15" y="2"/>
                    <a:pt x="15" y="2"/>
                  </a:cubicBezTo>
                  <a:cubicBezTo>
                    <a:pt x="15" y="1"/>
                    <a:pt x="14" y="1"/>
                    <a:pt x="14" y="1"/>
                  </a:cubicBezTo>
                  <a:cubicBezTo>
                    <a:pt x="13" y="1"/>
                    <a:pt x="12" y="1"/>
                    <a:pt x="12" y="0"/>
                  </a:cubicBezTo>
                  <a:cubicBezTo>
                    <a:pt x="11" y="0"/>
                    <a:pt x="11" y="0"/>
                    <a:pt x="10" y="0"/>
                  </a:cubicBezTo>
                  <a:cubicBezTo>
                    <a:pt x="8" y="0"/>
                    <a:pt x="7" y="1"/>
                    <a:pt x="6" y="1"/>
                  </a:cubicBezTo>
                  <a:cubicBezTo>
                    <a:pt x="5" y="1"/>
                    <a:pt x="4" y="2"/>
                    <a:pt x="3" y="3"/>
                  </a:cubicBezTo>
                  <a:cubicBezTo>
                    <a:pt x="2" y="4"/>
                    <a:pt x="1" y="5"/>
                    <a:pt x="1" y="7"/>
                  </a:cubicBezTo>
                  <a:cubicBezTo>
                    <a:pt x="0" y="8"/>
                    <a:pt x="0" y="10"/>
                    <a:pt x="0" y="12"/>
                  </a:cubicBezTo>
                  <a:cubicBezTo>
                    <a:pt x="0" y="14"/>
                    <a:pt x="0" y="16"/>
                    <a:pt x="1" y="17"/>
                  </a:cubicBezTo>
                  <a:cubicBezTo>
                    <a:pt x="1" y="18"/>
                    <a:pt x="2" y="20"/>
                    <a:pt x="2" y="20"/>
                  </a:cubicBezTo>
                  <a:cubicBezTo>
                    <a:pt x="3" y="21"/>
                    <a:pt x="4" y="22"/>
                    <a:pt x="5" y="23"/>
                  </a:cubicBezTo>
                  <a:cubicBezTo>
                    <a:pt x="7" y="23"/>
                    <a:pt x="8" y="23"/>
                    <a:pt x="9" y="23"/>
                  </a:cubicBezTo>
                  <a:cubicBezTo>
                    <a:pt x="10" y="23"/>
                    <a:pt x="11" y="23"/>
                    <a:pt x="12" y="23"/>
                  </a:cubicBezTo>
                  <a:cubicBezTo>
                    <a:pt x="12" y="23"/>
                    <a:pt x="13" y="23"/>
                    <a:pt x="13" y="23"/>
                  </a:cubicBezTo>
                  <a:cubicBezTo>
                    <a:pt x="14" y="22"/>
                    <a:pt x="15" y="22"/>
                    <a:pt x="15" y="22"/>
                  </a:cubicBezTo>
                  <a:cubicBezTo>
                    <a:pt x="16" y="22"/>
                    <a:pt x="16" y="21"/>
                    <a:pt x="16" y="21"/>
                  </a:cubicBezTo>
                  <a:cubicBezTo>
                    <a:pt x="16" y="21"/>
                    <a:pt x="16" y="21"/>
                    <a:pt x="16" y="21"/>
                  </a:cubicBezTo>
                  <a:cubicBezTo>
                    <a:pt x="16" y="21"/>
                    <a:pt x="17" y="21"/>
                    <a:pt x="17" y="20"/>
                  </a:cubicBezTo>
                  <a:cubicBezTo>
                    <a:pt x="17" y="20"/>
                    <a:pt x="17" y="20"/>
                    <a:pt x="17" y="20"/>
                  </a:cubicBezTo>
                  <a:cubicBezTo>
                    <a:pt x="17" y="20"/>
                    <a:pt x="17" y="19"/>
                    <a:pt x="17" y="19"/>
                  </a:cubicBezTo>
                  <a:cubicBezTo>
                    <a:pt x="17" y="19"/>
                    <a:pt x="17" y="19"/>
                    <a:pt x="17" y="18"/>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128">
              <a:extLst>
                <a:ext uri="{FF2B5EF4-FFF2-40B4-BE49-F238E27FC236}">
                  <a16:creationId xmlns:a16="http://schemas.microsoft.com/office/drawing/2014/main" id="{5C3242B1-F499-4F8A-BEE0-09A332056891}"/>
                </a:ext>
              </a:extLst>
            </p:cNvPr>
            <p:cNvSpPr>
              <a:spLocks/>
            </p:cNvSpPr>
            <p:nvPr/>
          </p:nvSpPr>
          <p:spPr bwMode="auto">
            <a:xfrm>
              <a:off x="7235965" y="3158447"/>
              <a:ext cx="60602" cy="75032"/>
            </a:xfrm>
            <a:custGeom>
              <a:avLst/>
              <a:gdLst>
                <a:gd name="T0" fmla="*/ 18 w 18"/>
                <a:gd name="T1" fmla="*/ 0 h 22"/>
                <a:gd name="T2" fmla="*/ 18 w 18"/>
                <a:gd name="T3" fmla="*/ 0 h 22"/>
                <a:gd name="T4" fmla="*/ 17 w 18"/>
                <a:gd name="T5" fmla="*/ 0 h 22"/>
                <a:gd name="T6" fmla="*/ 17 w 18"/>
                <a:gd name="T7" fmla="*/ 0 h 22"/>
                <a:gd name="T8" fmla="*/ 16 w 18"/>
                <a:gd name="T9" fmla="*/ 0 h 22"/>
                <a:gd name="T10" fmla="*/ 15 w 18"/>
                <a:gd name="T11" fmla="*/ 0 h 22"/>
                <a:gd name="T12" fmla="*/ 14 w 18"/>
                <a:gd name="T13" fmla="*/ 0 h 22"/>
                <a:gd name="T14" fmla="*/ 14 w 18"/>
                <a:gd name="T15" fmla="*/ 0 h 22"/>
                <a:gd name="T16" fmla="*/ 14 w 18"/>
                <a:gd name="T17" fmla="*/ 0 h 22"/>
                <a:gd name="T18" fmla="*/ 14 w 18"/>
                <a:gd name="T19" fmla="*/ 15 h 22"/>
                <a:gd name="T20" fmla="*/ 11 w 18"/>
                <a:gd name="T21" fmla="*/ 18 h 22"/>
                <a:gd name="T22" fmla="*/ 8 w 18"/>
                <a:gd name="T23" fmla="*/ 19 h 22"/>
                <a:gd name="T24" fmla="*/ 6 w 18"/>
                <a:gd name="T25" fmla="*/ 19 h 22"/>
                <a:gd name="T26" fmla="*/ 5 w 18"/>
                <a:gd name="T27" fmla="*/ 17 h 22"/>
                <a:gd name="T28" fmla="*/ 4 w 18"/>
                <a:gd name="T29" fmla="*/ 16 h 22"/>
                <a:gd name="T30" fmla="*/ 3 w 18"/>
                <a:gd name="T31" fmla="*/ 13 h 22"/>
                <a:gd name="T32" fmla="*/ 3 w 18"/>
                <a:gd name="T33" fmla="*/ 0 h 22"/>
                <a:gd name="T34" fmla="*/ 3 w 18"/>
                <a:gd name="T35" fmla="*/ 0 h 22"/>
                <a:gd name="T36" fmla="*/ 3 w 18"/>
                <a:gd name="T37" fmla="*/ 0 h 22"/>
                <a:gd name="T38" fmla="*/ 2 w 18"/>
                <a:gd name="T39" fmla="*/ 0 h 22"/>
                <a:gd name="T40" fmla="*/ 2 w 18"/>
                <a:gd name="T41" fmla="*/ 0 h 22"/>
                <a:gd name="T42" fmla="*/ 1 w 18"/>
                <a:gd name="T43" fmla="*/ 0 h 22"/>
                <a:gd name="T44" fmla="*/ 0 w 18"/>
                <a:gd name="T45" fmla="*/ 0 h 22"/>
                <a:gd name="T46" fmla="*/ 0 w 18"/>
                <a:gd name="T47" fmla="*/ 0 h 22"/>
                <a:gd name="T48" fmla="*/ 0 w 18"/>
                <a:gd name="T49" fmla="*/ 0 h 22"/>
                <a:gd name="T50" fmla="*/ 0 w 18"/>
                <a:gd name="T51" fmla="*/ 13 h 22"/>
                <a:gd name="T52" fmla="*/ 0 w 18"/>
                <a:gd name="T53" fmla="*/ 17 h 22"/>
                <a:gd name="T54" fmla="*/ 1 w 18"/>
                <a:gd name="T55" fmla="*/ 20 h 22"/>
                <a:gd name="T56" fmla="*/ 4 w 18"/>
                <a:gd name="T57" fmla="*/ 22 h 22"/>
                <a:gd name="T58" fmla="*/ 7 w 18"/>
                <a:gd name="T59" fmla="*/ 22 h 22"/>
                <a:gd name="T60" fmla="*/ 11 w 18"/>
                <a:gd name="T61" fmla="*/ 22 h 22"/>
                <a:gd name="T62" fmla="*/ 14 w 18"/>
                <a:gd name="T63" fmla="*/ 19 h 22"/>
                <a:gd name="T64" fmla="*/ 14 w 18"/>
                <a:gd name="T65" fmla="*/ 21 h 22"/>
                <a:gd name="T66" fmla="*/ 14 w 18"/>
                <a:gd name="T67" fmla="*/ 22 h 22"/>
                <a:gd name="T68" fmla="*/ 15 w 18"/>
                <a:gd name="T69" fmla="*/ 22 h 22"/>
                <a:gd name="T70" fmla="*/ 15 w 18"/>
                <a:gd name="T71" fmla="*/ 22 h 22"/>
                <a:gd name="T72" fmla="*/ 16 w 18"/>
                <a:gd name="T73" fmla="*/ 22 h 22"/>
                <a:gd name="T74" fmla="*/ 17 w 18"/>
                <a:gd name="T75" fmla="*/ 22 h 22"/>
                <a:gd name="T76" fmla="*/ 17 w 18"/>
                <a:gd name="T77" fmla="*/ 22 h 22"/>
                <a:gd name="T78" fmla="*/ 18 w 18"/>
                <a:gd name="T79" fmla="*/ 22 h 22"/>
                <a:gd name="T80" fmla="*/ 18 w 18"/>
                <a:gd name="T81" fmla="*/ 21 h 22"/>
                <a:gd name="T82" fmla="*/ 18 w 18"/>
                <a:gd name="T8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2">
                  <a:moveTo>
                    <a:pt x="18" y="0"/>
                  </a:moveTo>
                  <a:cubicBezTo>
                    <a:pt x="18" y="0"/>
                    <a:pt x="18" y="0"/>
                    <a:pt x="18" y="0"/>
                  </a:cubicBezTo>
                  <a:cubicBezTo>
                    <a:pt x="18" y="0"/>
                    <a:pt x="18" y="0"/>
                    <a:pt x="17" y="0"/>
                  </a:cubicBezTo>
                  <a:cubicBezTo>
                    <a:pt x="17" y="0"/>
                    <a:pt x="17" y="0"/>
                    <a:pt x="17" y="0"/>
                  </a:cubicBezTo>
                  <a:cubicBezTo>
                    <a:pt x="17" y="0"/>
                    <a:pt x="16" y="0"/>
                    <a:pt x="16" y="0"/>
                  </a:cubicBezTo>
                  <a:cubicBezTo>
                    <a:pt x="15" y="0"/>
                    <a:pt x="15" y="0"/>
                    <a:pt x="15" y="0"/>
                  </a:cubicBezTo>
                  <a:cubicBezTo>
                    <a:pt x="15" y="0"/>
                    <a:pt x="14" y="0"/>
                    <a:pt x="14" y="0"/>
                  </a:cubicBezTo>
                  <a:cubicBezTo>
                    <a:pt x="14" y="0"/>
                    <a:pt x="14" y="0"/>
                    <a:pt x="14" y="0"/>
                  </a:cubicBezTo>
                  <a:cubicBezTo>
                    <a:pt x="14" y="0"/>
                    <a:pt x="14" y="0"/>
                    <a:pt x="14" y="0"/>
                  </a:cubicBezTo>
                  <a:cubicBezTo>
                    <a:pt x="14" y="15"/>
                    <a:pt x="14" y="15"/>
                    <a:pt x="14" y="15"/>
                  </a:cubicBezTo>
                  <a:cubicBezTo>
                    <a:pt x="13" y="16"/>
                    <a:pt x="12" y="17"/>
                    <a:pt x="11" y="18"/>
                  </a:cubicBezTo>
                  <a:cubicBezTo>
                    <a:pt x="10" y="19"/>
                    <a:pt x="9" y="19"/>
                    <a:pt x="8" y="19"/>
                  </a:cubicBezTo>
                  <a:cubicBezTo>
                    <a:pt x="7" y="19"/>
                    <a:pt x="7" y="19"/>
                    <a:pt x="6" y="19"/>
                  </a:cubicBezTo>
                  <a:cubicBezTo>
                    <a:pt x="5" y="18"/>
                    <a:pt x="5" y="18"/>
                    <a:pt x="5" y="17"/>
                  </a:cubicBezTo>
                  <a:cubicBezTo>
                    <a:pt x="4" y="17"/>
                    <a:pt x="4" y="16"/>
                    <a:pt x="4" y="16"/>
                  </a:cubicBezTo>
                  <a:cubicBezTo>
                    <a:pt x="4" y="15"/>
                    <a:pt x="3" y="14"/>
                    <a:pt x="3" y="13"/>
                  </a:cubicBezTo>
                  <a:cubicBezTo>
                    <a:pt x="3" y="0"/>
                    <a:pt x="3" y="0"/>
                    <a:pt x="3" y="0"/>
                  </a:cubicBezTo>
                  <a:cubicBezTo>
                    <a:pt x="3" y="0"/>
                    <a:pt x="3" y="0"/>
                    <a:pt x="3" y="0"/>
                  </a:cubicBezTo>
                  <a:cubicBezTo>
                    <a:pt x="3" y="0"/>
                    <a:pt x="3" y="0"/>
                    <a:pt x="3" y="0"/>
                  </a:cubicBezTo>
                  <a:cubicBezTo>
                    <a:pt x="3" y="0"/>
                    <a:pt x="3" y="0"/>
                    <a:pt x="2" y="0"/>
                  </a:cubicBezTo>
                  <a:cubicBezTo>
                    <a:pt x="2" y="0"/>
                    <a:pt x="2" y="0"/>
                    <a:pt x="2" y="0"/>
                  </a:cubicBezTo>
                  <a:cubicBezTo>
                    <a:pt x="1" y="0"/>
                    <a:pt x="1" y="0"/>
                    <a:pt x="1" y="0"/>
                  </a:cubicBezTo>
                  <a:cubicBezTo>
                    <a:pt x="0" y="0"/>
                    <a:pt x="0" y="0"/>
                    <a:pt x="0" y="0"/>
                  </a:cubicBezTo>
                  <a:cubicBezTo>
                    <a:pt x="0" y="0"/>
                    <a:pt x="0" y="0"/>
                    <a:pt x="0" y="0"/>
                  </a:cubicBezTo>
                  <a:cubicBezTo>
                    <a:pt x="0" y="0"/>
                    <a:pt x="0" y="0"/>
                    <a:pt x="0" y="0"/>
                  </a:cubicBezTo>
                  <a:cubicBezTo>
                    <a:pt x="0" y="13"/>
                    <a:pt x="0" y="13"/>
                    <a:pt x="0" y="13"/>
                  </a:cubicBezTo>
                  <a:cubicBezTo>
                    <a:pt x="0" y="15"/>
                    <a:pt x="0" y="16"/>
                    <a:pt x="0" y="17"/>
                  </a:cubicBezTo>
                  <a:cubicBezTo>
                    <a:pt x="0" y="18"/>
                    <a:pt x="1" y="19"/>
                    <a:pt x="1" y="20"/>
                  </a:cubicBezTo>
                  <a:cubicBezTo>
                    <a:pt x="2" y="21"/>
                    <a:pt x="3" y="21"/>
                    <a:pt x="4" y="22"/>
                  </a:cubicBezTo>
                  <a:cubicBezTo>
                    <a:pt x="5" y="22"/>
                    <a:pt x="6" y="22"/>
                    <a:pt x="7" y="22"/>
                  </a:cubicBezTo>
                  <a:cubicBezTo>
                    <a:pt x="8" y="22"/>
                    <a:pt x="10" y="22"/>
                    <a:pt x="11" y="22"/>
                  </a:cubicBezTo>
                  <a:cubicBezTo>
                    <a:pt x="12" y="21"/>
                    <a:pt x="13" y="20"/>
                    <a:pt x="14" y="19"/>
                  </a:cubicBezTo>
                  <a:cubicBezTo>
                    <a:pt x="14" y="21"/>
                    <a:pt x="14" y="21"/>
                    <a:pt x="14" y="21"/>
                  </a:cubicBezTo>
                  <a:cubicBezTo>
                    <a:pt x="14" y="22"/>
                    <a:pt x="14" y="22"/>
                    <a:pt x="14" y="22"/>
                  </a:cubicBezTo>
                  <a:cubicBezTo>
                    <a:pt x="14" y="22"/>
                    <a:pt x="14" y="22"/>
                    <a:pt x="15" y="22"/>
                  </a:cubicBezTo>
                  <a:cubicBezTo>
                    <a:pt x="15" y="22"/>
                    <a:pt x="15" y="22"/>
                    <a:pt x="15" y="22"/>
                  </a:cubicBezTo>
                  <a:cubicBezTo>
                    <a:pt x="15" y="22"/>
                    <a:pt x="16" y="22"/>
                    <a:pt x="16" y="22"/>
                  </a:cubicBezTo>
                  <a:cubicBezTo>
                    <a:pt x="16" y="22"/>
                    <a:pt x="17" y="22"/>
                    <a:pt x="17" y="22"/>
                  </a:cubicBezTo>
                  <a:cubicBezTo>
                    <a:pt x="17" y="22"/>
                    <a:pt x="17" y="22"/>
                    <a:pt x="17" y="22"/>
                  </a:cubicBezTo>
                  <a:cubicBezTo>
                    <a:pt x="18" y="22"/>
                    <a:pt x="18" y="22"/>
                    <a:pt x="18" y="22"/>
                  </a:cubicBezTo>
                  <a:cubicBezTo>
                    <a:pt x="18" y="22"/>
                    <a:pt x="18" y="22"/>
                    <a:pt x="18" y="21"/>
                  </a:cubicBezTo>
                  <a:cubicBezTo>
                    <a:pt x="18" y="0"/>
                    <a:pt x="18" y="0"/>
                    <a:pt x="18"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129">
              <a:extLst>
                <a:ext uri="{FF2B5EF4-FFF2-40B4-BE49-F238E27FC236}">
                  <a16:creationId xmlns:a16="http://schemas.microsoft.com/office/drawing/2014/main" id="{D8243922-8B30-4C3B-A7BB-3FE0B6F2CE09}"/>
                </a:ext>
              </a:extLst>
            </p:cNvPr>
            <p:cNvSpPr>
              <a:spLocks/>
            </p:cNvSpPr>
            <p:nvPr/>
          </p:nvSpPr>
          <p:spPr bwMode="auto">
            <a:xfrm>
              <a:off x="7321096" y="3154117"/>
              <a:ext cx="41845" cy="79361"/>
            </a:xfrm>
            <a:custGeom>
              <a:avLst/>
              <a:gdLst>
                <a:gd name="T0" fmla="*/ 12 w 12"/>
                <a:gd name="T1" fmla="*/ 2 h 23"/>
                <a:gd name="T2" fmla="*/ 12 w 12"/>
                <a:gd name="T3" fmla="*/ 1 h 23"/>
                <a:gd name="T4" fmla="*/ 12 w 12"/>
                <a:gd name="T5" fmla="*/ 1 h 23"/>
                <a:gd name="T6" fmla="*/ 12 w 12"/>
                <a:gd name="T7" fmla="*/ 1 h 23"/>
                <a:gd name="T8" fmla="*/ 12 w 12"/>
                <a:gd name="T9" fmla="*/ 1 h 23"/>
                <a:gd name="T10" fmla="*/ 11 w 12"/>
                <a:gd name="T11" fmla="*/ 0 h 23"/>
                <a:gd name="T12" fmla="*/ 10 w 12"/>
                <a:gd name="T13" fmla="*/ 0 h 23"/>
                <a:gd name="T14" fmla="*/ 9 w 12"/>
                <a:gd name="T15" fmla="*/ 0 h 23"/>
                <a:gd name="T16" fmla="*/ 8 w 12"/>
                <a:gd name="T17" fmla="*/ 0 h 23"/>
                <a:gd name="T18" fmla="*/ 7 w 12"/>
                <a:gd name="T19" fmla="*/ 1 h 23"/>
                <a:gd name="T20" fmla="*/ 5 w 12"/>
                <a:gd name="T21" fmla="*/ 2 h 23"/>
                <a:gd name="T22" fmla="*/ 4 w 12"/>
                <a:gd name="T23" fmla="*/ 4 h 23"/>
                <a:gd name="T24" fmla="*/ 4 w 12"/>
                <a:gd name="T25" fmla="*/ 1 h 23"/>
                <a:gd name="T26" fmla="*/ 4 w 12"/>
                <a:gd name="T27" fmla="*/ 1 h 23"/>
                <a:gd name="T28" fmla="*/ 3 w 12"/>
                <a:gd name="T29" fmla="*/ 1 h 23"/>
                <a:gd name="T30" fmla="*/ 3 w 12"/>
                <a:gd name="T31" fmla="*/ 1 h 23"/>
                <a:gd name="T32" fmla="*/ 2 w 12"/>
                <a:gd name="T33" fmla="*/ 1 h 23"/>
                <a:gd name="T34" fmla="*/ 1 w 12"/>
                <a:gd name="T35" fmla="*/ 1 h 23"/>
                <a:gd name="T36" fmla="*/ 0 w 12"/>
                <a:gd name="T37" fmla="*/ 1 h 23"/>
                <a:gd name="T38" fmla="*/ 0 w 12"/>
                <a:gd name="T39" fmla="*/ 1 h 23"/>
                <a:gd name="T40" fmla="*/ 0 w 12"/>
                <a:gd name="T41" fmla="*/ 1 h 23"/>
                <a:gd name="T42" fmla="*/ 0 w 12"/>
                <a:gd name="T43" fmla="*/ 22 h 23"/>
                <a:gd name="T44" fmla="*/ 0 w 12"/>
                <a:gd name="T45" fmla="*/ 23 h 23"/>
                <a:gd name="T46" fmla="*/ 1 w 12"/>
                <a:gd name="T47" fmla="*/ 23 h 23"/>
                <a:gd name="T48" fmla="*/ 1 w 12"/>
                <a:gd name="T49" fmla="*/ 23 h 23"/>
                <a:gd name="T50" fmla="*/ 2 w 12"/>
                <a:gd name="T51" fmla="*/ 23 h 23"/>
                <a:gd name="T52" fmla="*/ 3 w 12"/>
                <a:gd name="T53" fmla="*/ 23 h 23"/>
                <a:gd name="T54" fmla="*/ 4 w 12"/>
                <a:gd name="T55" fmla="*/ 23 h 23"/>
                <a:gd name="T56" fmla="*/ 4 w 12"/>
                <a:gd name="T57" fmla="*/ 23 h 23"/>
                <a:gd name="T58" fmla="*/ 4 w 12"/>
                <a:gd name="T59" fmla="*/ 22 h 23"/>
                <a:gd name="T60" fmla="*/ 4 w 12"/>
                <a:gd name="T61" fmla="*/ 9 h 23"/>
                <a:gd name="T62" fmla="*/ 6 w 12"/>
                <a:gd name="T63" fmla="*/ 6 h 23"/>
                <a:gd name="T64" fmla="*/ 7 w 12"/>
                <a:gd name="T65" fmla="*/ 5 h 23"/>
                <a:gd name="T66" fmla="*/ 8 w 12"/>
                <a:gd name="T67" fmla="*/ 4 h 23"/>
                <a:gd name="T68" fmla="*/ 9 w 12"/>
                <a:gd name="T69" fmla="*/ 4 h 23"/>
                <a:gd name="T70" fmla="*/ 10 w 12"/>
                <a:gd name="T71" fmla="*/ 4 h 23"/>
                <a:gd name="T72" fmla="*/ 11 w 12"/>
                <a:gd name="T73" fmla="*/ 4 h 23"/>
                <a:gd name="T74" fmla="*/ 11 w 12"/>
                <a:gd name="T75" fmla="*/ 4 h 23"/>
                <a:gd name="T76" fmla="*/ 12 w 12"/>
                <a:gd name="T77" fmla="*/ 5 h 23"/>
                <a:gd name="T78" fmla="*/ 12 w 12"/>
                <a:gd name="T79" fmla="*/ 4 h 23"/>
                <a:gd name="T80" fmla="*/ 12 w 12"/>
                <a:gd name="T81" fmla="*/ 4 h 23"/>
                <a:gd name="T82" fmla="*/ 12 w 12"/>
                <a:gd name="T83" fmla="*/ 4 h 23"/>
                <a:gd name="T84" fmla="*/ 12 w 12"/>
                <a:gd name="T85" fmla="*/ 3 h 23"/>
                <a:gd name="T86" fmla="*/ 12 w 12"/>
                <a:gd name="T8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2"/>
                  </a:moveTo>
                  <a:cubicBezTo>
                    <a:pt x="12" y="2"/>
                    <a:pt x="12" y="1"/>
                    <a:pt x="12" y="1"/>
                  </a:cubicBezTo>
                  <a:cubicBezTo>
                    <a:pt x="12" y="1"/>
                    <a:pt x="12" y="1"/>
                    <a:pt x="12" y="1"/>
                  </a:cubicBezTo>
                  <a:cubicBezTo>
                    <a:pt x="12" y="1"/>
                    <a:pt x="12" y="1"/>
                    <a:pt x="12" y="1"/>
                  </a:cubicBezTo>
                  <a:cubicBezTo>
                    <a:pt x="12" y="1"/>
                    <a:pt x="12" y="1"/>
                    <a:pt x="12" y="1"/>
                  </a:cubicBezTo>
                  <a:cubicBezTo>
                    <a:pt x="11" y="1"/>
                    <a:pt x="11" y="0"/>
                    <a:pt x="11" y="0"/>
                  </a:cubicBezTo>
                  <a:cubicBezTo>
                    <a:pt x="11" y="0"/>
                    <a:pt x="10" y="0"/>
                    <a:pt x="10" y="0"/>
                  </a:cubicBezTo>
                  <a:cubicBezTo>
                    <a:pt x="10" y="0"/>
                    <a:pt x="10" y="0"/>
                    <a:pt x="9" y="0"/>
                  </a:cubicBezTo>
                  <a:cubicBezTo>
                    <a:pt x="9" y="0"/>
                    <a:pt x="8" y="0"/>
                    <a:pt x="8" y="0"/>
                  </a:cubicBezTo>
                  <a:cubicBezTo>
                    <a:pt x="8" y="1"/>
                    <a:pt x="7" y="1"/>
                    <a:pt x="7" y="1"/>
                  </a:cubicBezTo>
                  <a:cubicBezTo>
                    <a:pt x="6" y="1"/>
                    <a:pt x="6" y="2"/>
                    <a:pt x="5" y="2"/>
                  </a:cubicBezTo>
                  <a:cubicBezTo>
                    <a:pt x="5" y="3"/>
                    <a:pt x="4" y="4"/>
                    <a:pt x="4" y="4"/>
                  </a:cubicBezTo>
                  <a:cubicBezTo>
                    <a:pt x="4" y="1"/>
                    <a:pt x="4" y="1"/>
                    <a:pt x="4" y="1"/>
                  </a:cubicBezTo>
                  <a:cubicBezTo>
                    <a:pt x="4" y="1"/>
                    <a:pt x="4" y="1"/>
                    <a:pt x="4" y="1"/>
                  </a:cubicBezTo>
                  <a:cubicBezTo>
                    <a:pt x="3" y="1"/>
                    <a:pt x="3" y="1"/>
                    <a:pt x="3" y="1"/>
                  </a:cubicBezTo>
                  <a:cubicBezTo>
                    <a:pt x="3" y="1"/>
                    <a:pt x="3" y="1"/>
                    <a:pt x="3" y="1"/>
                  </a:cubicBezTo>
                  <a:cubicBezTo>
                    <a:pt x="3" y="1"/>
                    <a:pt x="2" y="1"/>
                    <a:pt x="2" y="1"/>
                  </a:cubicBezTo>
                  <a:cubicBezTo>
                    <a:pt x="2" y="1"/>
                    <a:pt x="1" y="1"/>
                    <a:pt x="1" y="1"/>
                  </a:cubicBezTo>
                  <a:cubicBezTo>
                    <a:pt x="1" y="1"/>
                    <a:pt x="1" y="1"/>
                    <a:pt x="0" y="1"/>
                  </a:cubicBezTo>
                  <a:cubicBezTo>
                    <a:pt x="0" y="1"/>
                    <a:pt x="0" y="1"/>
                    <a:pt x="0" y="1"/>
                  </a:cubicBezTo>
                  <a:cubicBezTo>
                    <a:pt x="0" y="1"/>
                    <a:pt x="0" y="1"/>
                    <a:pt x="0" y="1"/>
                  </a:cubicBezTo>
                  <a:cubicBezTo>
                    <a:pt x="0" y="22"/>
                    <a:pt x="0" y="22"/>
                    <a:pt x="0" y="22"/>
                  </a:cubicBezTo>
                  <a:cubicBezTo>
                    <a:pt x="0" y="23"/>
                    <a:pt x="0" y="23"/>
                    <a:pt x="0" y="23"/>
                  </a:cubicBezTo>
                  <a:cubicBezTo>
                    <a:pt x="0" y="23"/>
                    <a:pt x="0" y="23"/>
                    <a:pt x="1" y="23"/>
                  </a:cubicBezTo>
                  <a:cubicBezTo>
                    <a:pt x="1" y="23"/>
                    <a:pt x="1" y="23"/>
                    <a:pt x="1" y="23"/>
                  </a:cubicBezTo>
                  <a:cubicBezTo>
                    <a:pt x="1" y="23"/>
                    <a:pt x="2" y="23"/>
                    <a:pt x="2" y="23"/>
                  </a:cubicBezTo>
                  <a:cubicBezTo>
                    <a:pt x="2" y="23"/>
                    <a:pt x="3" y="23"/>
                    <a:pt x="3" y="23"/>
                  </a:cubicBezTo>
                  <a:cubicBezTo>
                    <a:pt x="3" y="23"/>
                    <a:pt x="3" y="23"/>
                    <a:pt x="4" y="23"/>
                  </a:cubicBezTo>
                  <a:cubicBezTo>
                    <a:pt x="4" y="23"/>
                    <a:pt x="4" y="23"/>
                    <a:pt x="4" y="23"/>
                  </a:cubicBezTo>
                  <a:cubicBezTo>
                    <a:pt x="4" y="23"/>
                    <a:pt x="4" y="23"/>
                    <a:pt x="4" y="22"/>
                  </a:cubicBezTo>
                  <a:cubicBezTo>
                    <a:pt x="4" y="9"/>
                    <a:pt x="4" y="9"/>
                    <a:pt x="4" y="9"/>
                  </a:cubicBezTo>
                  <a:cubicBezTo>
                    <a:pt x="5" y="8"/>
                    <a:pt x="5" y="7"/>
                    <a:pt x="6" y="6"/>
                  </a:cubicBezTo>
                  <a:cubicBezTo>
                    <a:pt x="6" y="6"/>
                    <a:pt x="6" y="5"/>
                    <a:pt x="7" y="5"/>
                  </a:cubicBezTo>
                  <a:cubicBezTo>
                    <a:pt x="7" y="5"/>
                    <a:pt x="8" y="4"/>
                    <a:pt x="8" y="4"/>
                  </a:cubicBezTo>
                  <a:cubicBezTo>
                    <a:pt x="8" y="4"/>
                    <a:pt x="9" y="4"/>
                    <a:pt x="9" y="4"/>
                  </a:cubicBezTo>
                  <a:cubicBezTo>
                    <a:pt x="9" y="4"/>
                    <a:pt x="10" y="4"/>
                    <a:pt x="10" y="4"/>
                  </a:cubicBezTo>
                  <a:cubicBezTo>
                    <a:pt x="10" y="4"/>
                    <a:pt x="11" y="4"/>
                    <a:pt x="11" y="4"/>
                  </a:cubicBezTo>
                  <a:cubicBezTo>
                    <a:pt x="11" y="4"/>
                    <a:pt x="11" y="4"/>
                    <a:pt x="11" y="4"/>
                  </a:cubicBezTo>
                  <a:cubicBezTo>
                    <a:pt x="12" y="4"/>
                    <a:pt x="12" y="5"/>
                    <a:pt x="12" y="5"/>
                  </a:cubicBezTo>
                  <a:cubicBezTo>
                    <a:pt x="12" y="5"/>
                    <a:pt x="12" y="4"/>
                    <a:pt x="12" y="4"/>
                  </a:cubicBezTo>
                  <a:cubicBezTo>
                    <a:pt x="12" y="4"/>
                    <a:pt x="12" y="4"/>
                    <a:pt x="12" y="4"/>
                  </a:cubicBezTo>
                  <a:cubicBezTo>
                    <a:pt x="12" y="4"/>
                    <a:pt x="12" y="4"/>
                    <a:pt x="12" y="4"/>
                  </a:cubicBezTo>
                  <a:cubicBezTo>
                    <a:pt x="12" y="3"/>
                    <a:pt x="12" y="3"/>
                    <a:pt x="12" y="3"/>
                  </a:cubicBezTo>
                  <a:cubicBezTo>
                    <a:pt x="12" y="2"/>
                    <a:pt x="12" y="2"/>
                    <a:pt x="12" y="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130">
              <a:extLst>
                <a:ext uri="{FF2B5EF4-FFF2-40B4-BE49-F238E27FC236}">
                  <a16:creationId xmlns:a16="http://schemas.microsoft.com/office/drawing/2014/main" id="{F1E8603A-19C6-4233-BD7B-0F82C59626DA}"/>
                </a:ext>
              </a:extLst>
            </p:cNvPr>
            <p:cNvSpPr>
              <a:spLocks noEditPoints="1"/>
            </p:cNvSpPr>
            <p:nvPr/>
          </p:nvSpPr>
          <p:spPr bwMode="auto">
            <a:xfrm>
              <a:off x="7375927" y="3126702"/>
              <a:ext cx="17315" cy="106776"/>
            </a:xfrm>
            <a:custGeom>
              <a:avLst/>
              <a:gdLst>
                <a:gd name="T0" fmla="*/ 5 w 5"/>
                <a:gd name="T1" fmla="*/ 9 h 31"/>
                <a:gd name="T2" fmla="*/ 5 w 5"/>
                <a:gd name="T3" fmla="*/ 9 h 31"/>
                <a:gd name="T4" fmla="*/ 4 w 5"/>
                <a:gd name="T5" fmla="*/ 9 h 31"/>
                <a:gd name="T6" fmla="*/ 4 w 5"/>
                <a:gd name="T7" fmla="*/ 9 h 31"/>
                <a:gd name="T8" fmla="*/ 3 w 5"/>
                <a:gd name="T9" fmla="*/ 9 h 31"/>
                <a:gd name="T10" fmla="*/ 2 w 5"/>
                <a:gd name="T11" fmla="*/ 9 h 31"/>
                <a:gd name="T12" fmla="*/ 1 w 5"/>
                <a:gd name="T13" fmla="*/ 9 h 31"/>
                <a:gd name="T14" fmla="*/ 1 w 5"/>
                <a:gd name="T15" fmla="*/ 9 h 31"/>
                <a:gd name="T16" fmla="*/ 1 w 5"/>
                <a:gd name="T17" fmla="*/ 9 h 31"/>
                <a:gd name="T18" fmla="*/ 1 w 5"/>
                <a:gd name="T19" fmla="*/ 30 h 31"/>
                <a:gd name="T20" fmla="*/ 1 w 5"/>
                <a:gd name="T21" fmla="*/ 31 h 31"/>
                <a:gd name="T22" fmla="*/ 1 w 5"/>
                <a:gd name="T23" fmla="*/ 31 h 31"/>
                <a:gd name="T24" fmla="*/ 2 w 5"/>
                <a:gd name="T25" fmla="*/ 31 h 31"/>
                <a:gd name="T26" fmla="*/ 3 w 5"/>
                <a:gd name="T27" fmla="*/ 31 h 31"/>
                <a:gd name="T28" fmla="*/ 4 w 5"/>
                <a:gd name="T29" fmla="*/ 31 h 31"/>
                <a:gd name="T30" fmla="*/ 4 w 5"/>
                <a:gd name="T31" fmla="*/ 31 h 31"/>
                <a:gd name="T32" fmla="*/ 5 w 5"/>
                <a:gd name="T33" fmla="*/ 31 h 31"/>
                <a:gd name="T34" fmla="*/ 5 w 5"/>
                <a:gd name="T35" fmla="*/ 30 h 31"/>
                <a:gd name="T36" fmla="*/ 5 w 5"/>
                <a:gd name="T37" fmla="*/ 9 h 31"/>
                <a:gd name="T38" fmla="*/ 5 w 5"/>
                <a:gd name="T39" fmla="*/ 0 h 31"/>
                <a:gd name="T40" fmla="*/ 3 w 5"/>
                <a:gd name="T41" fmla="*/ 0 h 31"/>
                <a:gd name="T42" fmla="*/ 1 w 5"/>
                <a:gd name="T43" fmla="*/ 0 h 31"/>
                <a:gd name="T44" fmla="*/ 0 w 5"/>
                <a:gd name="T45" fmla="*/ 2 h 31"/>
                <a:gd name="T46" fmla="*/ 1 w 5"/>
                <a:gd name="T47" fmla="*/ 4 h 31"/>
                <a:gd name="T48" fmla="*/ 3 w 5"/>
                <a:gd name="T49" fmla="*/ 5 h 31"/>
                <a:gd name="T50" fmla="*/ 5 w 5"/>
                <a:gd name="T51" fmla="*/ 4 h 31"/>
                <a:gd name="T52" fmla="*/ 5 w 5"/>
                <a:gd name="T53" fmla="*/ 2 h 31"/>
                <a:gd name="T54" fmla="*/ 5 w 5"/>
                <a:gd name="T5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5" y="9"/>
                  </a:moveTo>
                  <a:cubicBezTo>
                    <a:pt x="5" y="9"/>
                    <a:pt x="5" y="9"/>
                    <a:pt x="5" y="9"/>
                  </a:cubicBezTo>
                  <a:cubicBezTo>
                    <a:pt x="5" y="9"/>
                    <a:pt x="5" y="9"/>
                    <a:pt x="4" y="9"/>
                  </a:cubicBezTo>
                  <a:cubicBezTo>
                    <a:pt x="4" y="9"/>
                    <a:pt x="4" y="9"/>
                    <a:pt x="4" y="9"/>
                  </a:cubicBezTo>
                  <a:cubicBezTo>
                    <a:pt x="4" y="9"/>
                    <a:pt x="3" y="9"/>
                    <a:pt x="3" y="9"/>
                  </a:cubicBezTo>
                  <a:cubicBezTo>
                    <a:pt x="2" y="9"/>
                    <a:pt x="2" y="9"/>
                    <a:pt x="2" y="9"/>
                  </a:cubicBezTo>
                  <a:cubicBezTo>
                    <a:pt x="2" y="9"/>
                    <a:pt x="1" y="9"/>
                    <a:pt x="1" y="9"/>
                  </a:cubicBezTo>
                  <a:cubicBezTo>
                    <a:pt x="1" y="9"/>
                    <a:pt x="1" y="9"/>
                    <a:pt x="1" y="9"/>
                  </a:cubicBezTo>
                  <a:cubicBezTo>
                    <a:pt x="1" y="9"/>
                    <a:pt x="1" y="9"/>
                    <a:pt x="1" y="9"/>
                  </a:cubicBezTo>
                  <a:cubicBezTo>
                    <a:pt x="1" y="30"/>
                    <a:pt x="1" y="30"/>
                    <a:pt x="1" y="30"/>
                  </a:cubicBezTo>
                  <a:cubicBezTo>
                    <a:pt x="1" y="31"/>
                    <a:pt x="1" y="31"/>
                    <a:pt x="1" y="31"/>
                  </a:cubicBezTo>
                  <a:cubicBezTo>
                    <a:pt x="1" y="31"/>
                    <a:pt x="1" y="31"/>
                    <a:pt x="1" y="31"/>
                  </a:cubicBezTo>
                  <a:cubicBezTo>
                    <a:pt x="1" y="31"/>
                    <a:pt x="2" y="31"/>
                    <a:pt x="2" y="31"/>
                  </a:cubicBezTo>
                  <a:cubicBezTo>
                    <a:pt x="2" y="31"/>
                    <a:pt x="2" y="31"/>
                    <a:pt x="3" y="31"/>
                  </a:cubicBezTo>
                  <a:cubicBezTo>
                    <a:pt x="3" y="31"/>
                    <a:pt x="4" y="31"/>
                    <a:pt x="4" y="31"/>
                  </a:cubicBezTo>
                  <a:cubicBezTo>
                    <a:pt x="4" y="31"/>
                    <a:pt x="4" y="31"/>
                    <a:pt x="4" y="31"/>
                  </a:cubicBezTo>
                  <a:cubicBezTo>
                    <a:pt x="5" y="31"/>
                    <a:pt x="5" y="31"/>
                    <a:pt x="5" y="31"/>
                  </a:cubicBezTo>
                  <a:cubicBezTo>
                    <a:pt x="5" y="31"/>
                    <a:pt x="5" y="31"/>
                    <a:pt x="5" y="30"/>
                  </a:cubicBezTo>
                  <a:cubicBezTo>
                    <a:pt x="5" y="9"/>
                    <a:pt x="5" y="9"/>
                    <a:pt x="5" y="9"/>
                  </a:cubicBezTo>
                  <a:close/>
                  <a:moveTo>
                    <a:pt x="5" y="0"/>
                  </a:moveTo>
                  <a:cubicBezTo>
                    <a:pt x="4" y="0"/>
                    <a:pt x="4" y="0"/>
                    <a:pt x="3" y="0"/>
                  </a:cubicBezTo>
                  <a:cubicBezTo>
                    <a:pt x="2" y="0"/>
                    <a:pt x="1" y="0"/>
                    <a:pt x="1" y="0"/>
                  </a:cubicBezTo>
                  <a:cubicBezTo>
                    <a:pt x="1" y="1"/>
                    <a:pt x="0" y="1"/>
                    <a:pt x="0" y="2"/>
                  </a:cubicBezTo>
                  <a:cubicBezTo>
                    <a:pt x="0" y="3"/>
                    <a:pt x="1" y="4"/>
                    <a:pt x="1" y="4"/>
                  </a:cubicBezTo>
                  <a:cubicBezTo>
                    <a:pt x="1" y="4"/>
                    <a:pt x="2" y="5"/>
                    <a:pt x="3" y="5"/>
                  </a:cubicBezTo>
                  <a:cubicBezTo>
                    <a:pt x="4" y="5"/>
                    <a:pt x="4" y="4"/>
                    <a:pt x="5" y="4"/>
                  </a:cubicBezTo>
                  <a:cubicBezTo>
                    <a:pt x="5" y="4"/>
                    <a:pt x="5" y="3"/>
                    <a:pt x="5" y="2"/>
                  </a:cubicBezTo>
                  <a:cubicBezTo>
                    <a:pt x="5" y="1"/>
                    <a:pt x="5" y="1"/>
                    <a:pt x="5"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131">
              <a:extLst>
                <a:ext uri="{FF2B5EF4-FFF2-40B4-BE49-F238E27FC236}">
                  <a16:creationId xmlns:a16="http://schemas.microsoft.com/office/drawing/2014/main" id="{8B421391-39C3-48D0-A85E-6E4730049BB3}"/>
                </a:ext>
              </a:extLst>
            </p:cNvPr>
            <p:cNvSpPr>
              <a:spLocks/>
            </p:cNvSpPr>
            <p:nvPr/>
          </p:nvSpPr>
          <p:spPr bwMode="auto">
            <a:xfrm>
              <a:off x="7406228" y="3136802"/>
              <a:ext cx="49059" cy="96676"/>
            </a:xfrm>
            <a:custGeom>
              <a:avLst/>
              <a:gdLst>
                <a:gd name="T0" fmla="*/ 14 w 14"/>
                <a:gd name="T1" fmla="*/ 25 h 28"/>
                <a:gd name="T2" fmla="*/ 14 w 14"/>
                <a:gd name="T3" fmla="*/ 25 h 28"/>
                <a:gd name="T4" fmla="*/ 14 w 14"/>
                <a:gd name="T5" fmla="*/ 24 h 28"/>
                <a:gd name="T6" fmla="*/ 13 w 14"/>
                <a:gd name="T7" fmla="*/ 24 h 28"/>
                <a:gd name="T8" fmla="*/ 13 w 14"/>
                <a:gd name="T9" fmla="*/ 25 h 28"/>
                <a:gd name="T10" fmla="*/ 12 w 14"/>
                <a:gd name="T11" fmla="*/ 25 h 28"/>
                <a:gd name="T12" fmla="*/ 12 w 14"/>
                <a:gd name="T13" fmla="*/ 25 h 28"/>
                <a:gd name="T14" fmla="*/ 11 w 14"/>
                <a:gd name="T15" fmla="*/ 25 h 28"/>
                <a:gd name="T16" fmla="*/ 8 w 14"/>
                <a:gd name="T17" fmla="*/ 24 h 28"/>
                <a:gd name="T18" fmla="*/ 8 w 14"/>
                <a:gd name="T19" fmla="*/ 21 h 28"/>
                <a:gd name="T20" fmla="*/ 8 w 14"/>
                <a:gd name="T21" fmla="*/ 9 h 28"/>
                <a:gd name="T22" fmla="*/ 13 w 14"/>
                <a:gd name="T23" fmla="*/ 9 h 28"/>
                <a:gd name="T24" fmla="*/ 14 w 14"/>
                <a:gd name="T25" fmla="*/ 9 h 28"/>
                <a:gd name="T26" fmla="*/ 14 w 14"/>
                <a:gd name="T27" fmla="*/ 7 h 28"/>
                <a:gd name="T28" fmla="*/ 14 w 14"/>
                <a:gd name="T29" fmla="*/ 7 h 28"/>
                <a:gd name="T30" fmla="*/ 14 w 14"/>
                <a:gd name="T31" fmla="*/ 6 h 28"/>
                <a:gd name="T32" fmla="*/ 13 w 14"/>
                <a:gd name="T33" fmla="*/ 6 h 28"/>
                <a:gd name="T34" fmla="*/ 13 w 14"/>
                <a:gd name="T35" fmla="*/ 6 h 28"/>
                <a:gd name="T36" fmla="*/ 8 w 14"/>
                <a:gd name="T37" fmla="*/ 6 h 28"/>
                <a:gd name="T38" fmla="*/ 8 w 14"/>
                <a:gd name="T39" fmla="*/ 1 h 28"/>
                <a:gd name="T40" fmla="*/ 8 w 14"/>
                <a:gd name="T41" fmla="*/ 0 h 28"/>
                <a:gd name="T42" fmla="*/ 7 w 14"/>
                <a:gd name="T43" fmla="*/ 0 h 28"/>
                <a:gd name="T44" fmla="*/ 7 w 14"/>
                <a:gd name="T45" fmla="*/ 0 h 28"/>
                <a:gd name="T46" fmla="*/ 6 w 14"/>
                <a:gd name="T47" fmla="*/ 0 h 28"/>
                <a:gd name="T48" fmla="*/ 5 w 14"/>
                <a:gd name="T49" fmla="*/ 0 h 28"/>
                <a:gd name="T50" fmla="*/ 4 w 14"/>
                <a:gd name="T51" fmla="*/ 0 h 28"/>
                <a:gd name="T52" fmla="*/ 4 w 14"/>
                <a:gd name="T53" fmla="*/ 0 h 28"/>
                <a:gd name="T54" fmla="*/ 4 w 14"/>
                <a:gd name="T55" fmla="*/ 1 h 28"/>
                <a:gd name="T56" fmla="*/ 4 w 14"/>
                <a:gd name="T57" fmla="*/ 6 h 28"/>
                <a:gd name="T58" fmla="*/ 1 w 14"/>
                <a:gd name="T59" fmla="*/ 6 h 28"/>
                <a:gd name="T60" fmla="*/ 1 w 14"/>
                <a:gd name="T61" fmla="*/ 6 h 28"/>
                <a:gd name="T62" fmla="*/ 0 w 14"/>
                <a:gd name="T63" fmla="*/ 6 h 28"/>
                <a:gd name="T64" fmla="*/ 0 w 14"/>
                <a:gd name="T65" fmla="*/ 7 h 28"/>
                <a:gd name="T66" fmla="*/ 0 w 14"/>
                <a:gd name="T67" fmla="*/ 7 h 28"/>
                <a:gd name="T68" fmla="*/ 0 w 14"/>
                <a:gd name="T69" fmla="*/ 9 h 28"/>
                <a:gd name="T70" fmla="*/ 1 w 14"/>
                <a:gd name="T71" fmla="*/ 9 h 28"/>
                <a:gd name="T72" fmla="*/ 4 w 14"/>
                <a:gd name="T73" fmla="*/ 9 h 28"/>
                <a:gd name="T74" fmla="*/ 4 w 14"/>
                <a:gd name="T75" fmla="*/ 21 h 28"/>
                <a:gd name="T76" fmla="*/ 4 w 14"/>
                <a:gd name="T77" fmla="*/ 24 h 28"/>
                <a:gd name="T78" fmla="*/ 5 w 14"/>
                <a:gd name="T79" fmla="*/ 27 h 28"/>
                <a:gd name="T80" fmla="*/ 7 w 14"/>
                <a:gd name="T81" fmla="*/ 28 h 28"/>
                <a:gd name="T82" fmla="*/ 10 w 14"/>
                <a:gd name="T83" fmla="*/ 28 h 28"/>
                <a:gd name="T84" fmla="*/ 11 w 14"/>
                <a:gd name="T85" fmla="*/ 28 h 28"/>
                <a:gd name="T86" fmla="*/ 12 w 14"/>
                <a:gd name="T87" fmla="*/ 28 h 28"/>
                <a:gd name="T88" fmla="*/ 13 w 14"/>
                <a:gd name="T89" fmla="*/ 28 h 28"/>
                <a:gd name="T90" fmla="*/ 14 w 14"/>
                <a:gd name="T91" fmla="*/ 28 h 28"/>
                <a:gd name="T92" fmla="*/ 14 w 14"/>
                <a:gd name="T93" fmla="*/ 27 h 28"/>
                <a:gd name="T94" fmla="*/ 14 w 14"/>
                <a:gd name="T95" fmla="*/ 26 h 28"/>
                <a:gd name="T96" fmla="*/ 14 w 14"/>
                <a:gd name="T9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 h="28">
                  <a:moveTo>
                    <a:pt x="14" y="25"/>
                  </a:moveTo>
                  <a:cubicBezTo>
                    <a:pt x="14" y="25"/>
                    <a:pt x="14" y="25"/>
                    <a:pt x="14" y="25"/>
                  </a:cubicBezTo>
                  <a:cubicBezTo>
                    <a:pt x="14" y="25"/>
                    <a:pt x="14" y="25"/>
                    <a:pt x="14" y="24"/>
                  </a:cubicBezTo>
                  <a:cubicBezTo>
                    <a:pt x="14" y="24"/>
                    <a:pt x="13" y="24"/>
                    <a:pt x="13" y="24"/>
                  </a:cubicBezTo>
                  <a:cubicBezTo>
                    <a:pt x="13" y="24"/>
                    <a:pt x="13" y="24"/>
                    <a:pt x="13" y="25"/>
                  </a:cubicBezTo>
                  <a:cubicBezTo>
                    <a:pt x="13" y="25"/>
                    <a:pt x="13" y="25"/>
                    <a:pt x="12" y="25"/>
                  </a:cubicBezTo>
                  <a:cubicBezTo>
                    <a:pt x="12" y="25"/>
                    <a:pt x="12" y="25"/>
                    <a:pt x="12" y="25"/>
                  </a:cubicBezTo>
                  <a:cubicBezTo>
                    <a:pt x="11" y="25"/>
                    <a:pt x="11" y="25"/>
                    <a:pt x="11" y="25"/>
                  </a:cubicBezTo>
                  <a:cubicBezTo>
                    <a:pt x="10" y="25"/>
                    <a:pt x="9" y="25"/>
                    <a:pt x="8" y="24"/>
                  </a:cubicBezTo>
                  <a:cubicBezTo>
                    <a:pt x="8" y="23"/>
                    <a:pt x="8" y="22"/>
                    <a:pt x="8" y="21"/>
                  </a:cubicBezTo>
                  <a:cubicBezTo>
                    <a:pt x="8" y="9"/>
                    <a:pt x="8" y="9"/>
                    <a:pt x="8" y="9"/>
                  </a:cubicBezTo>
                  <a:cubicBezTo>
                    <a:pt x="13" y="9"/>
                    <a:pt x="13" y="9"/>
                    <a:pt x="13" y="9"/>
                  </a:cubicBezTo>
                  <a:cubicBezTo>
                    <a:pt x="13" y="9"/>
                    <a:pt x="14" y="9"/>
                    <a:pt x="14" y="9"/>
                  </a:cubicBezTo>
                  <a:cubicBezTo>
                    <a:pt x="14" y="8"/>
                    <a:pt x="14" y="8"/>
                    <a:pt x="14" y="7"/>
                  </a:cubicBezTo>
                  <a:cubicBezTo>
                    <a:pt x="14" y="7"/>
                    <a:pt x="14" y="7"/>
                    <a:pt x="14" y="7"/>
                  </a:cubicBezTo>
                  <a:cubicBezTo>
                    <a:pt x="14" y="6"/>
                    <a:pt x="14" y="6"/>
                    <a:pt x="14" y="6"/>
                  </a:cubicBezTo>
                  <a:cubicBezTo>
                    <a:pt x="14" y="6"/>
                    <a:pt x="14" y="6"/>
                    <a:pt x="13" y="6"/>
                  </a:cubicBezTo>
                  <a:cubicBezTo>
                    <a:pt x="13" y="6"/>
                    <a:pt x="13" y="6"/>
                    <a:pt x="13" y="6"/>
                  </a:cubicBezTo>
                  <a:cubicBezTo>
                    <a:pt x="8" y="6"/>
                    <a:pt x="8" y="6"/>
                    <a:pt x="8" y="6"/>
                  </a:cubicBezTo>
                  <a:cubicBezTo>
                    <a:pt x="8" y="1"/>
                    <a:pt x="8" y="1"/>
                    <a:pt x="8" y="1"/>
                  </a:cubicBezTo>
                  <a:cubicBezTo>
                    <a:pt x="8" y="1"/>
                    <a:pt x="8" y="0"/>
                    <a:pt x="8" y="0"/>
                  </a:cubicBezTo>
                  <a:cubicBezTo>
                    <a:pt x="8" y="0"/>
                    <a:pt x="7" y="0"/>
                    <a:pt x="7" y="0"/>
                  </a:cubicBezTo>
                  <a:cubicBezTo>
                    <a:pt x="7" y="0"/>
                    <a:pt x="7" y="0"/>
                    <a:pt x="7" y="0"/>
                  </a:cubicBezTo>
                  <a:cubicBezTo>
                    <a:pt x="6" y="0"/>
                    <a:pt x="6" y="0"/>
                    <a:pt x="6" y="0"/>
                  </a:cubicBezTo>
                  <a:cubicBezTo>
                    <a:pt x="5" y="0"/>
                    <a:pt x="5" y="0"/>
                    <a:pt x="5" y="0"/>
                  </a:cubicBezTo>
                  <a:cubicBezTo>
                    <a:pt x="5" y="0"/>
                    <a:pt x="4" y="0"/>
                    <a:pt x="4" y="0"/>
                  </a:cubicBezTo>
                  <a:cubicBezTo>
                    <a:pt x="4" y="0"/>
                    <a:pt x="4" y="0"/>
                    <a:pt x="4" y="0"/>
                  </a:cubicBezTo>
                  <a:cubicBezTo>
                    <a:pt x="4" y="0"/>
                    <a:pt x="4" y="1"/>
                    <a:pt x="4" y="1"/>
                  </a:cubicBezTo>
                  <a:cubicBezTo>
                    <a:pt x="4" y="6"/>
                    <a:pt x="4" y="6"/>
                    <a:pt x="4" y="6"/>
                  </a:cubicBezTo>
                  <a:cubicBezTo>
                    <a:pt x="1" y="6"/>
                    <a:pt x="1" y="6"/>
                    <a:pt x="1" y="6"/>
                  </a:cubicBezTo>
                  <a:cubicBezTo>
                    <a:pt x="1" y="6"/>
                    <a:pt x="1" y="6"/>
                    <a:pt x="1" y="6"/>
                  </a:cubicBezTo>
                  <a:cubicBezTo>
                    <a:pt x="0" y="6"/>
                    <a:pt x="0" y="6"/>
                    <a:pt x="0" y="6"/>
                  </a:cubicBezTo>
                  <a:cubicBezTo>
                    <a:pt x="0" y="6"/>
                    <a:pt x="0" y="6"/>
                    <a:pt x="0" y="7"/>
                  </a:cubicBezTo>
                  <a:cubicBezTo>
                    <a:pt x="0" y="7"/>
                    <a:pt x="0" y="7"/>
                    <a:pt x="0" y="7"/>
                  </a:cubicBezTo>
                  <a:cubicBezTo>
                    <a:pt x="0" y="8"/>
                    <a:pt x="0" y="8"/>
                    <a:pt x="0" y="9"/>
                  </a:cubicBezTo>
                  <a:cubicBezTo>
                    <a:pt x="0" y="9"/>
                    <a:pt x="1" y="9"/>
                    <a:pt x="1" y="9"/>
                  </a:cubicBezTo>
                  <a:cubicBezTo>
                    <a:pt x="4" y="9"/>
                    <a:pt x="4" y="9"/>
                    <a:pt x="4" y="9"/>
                  </a:cubicBezTo>
                  <a:cubicBezTo>
                    <a:pt x="4" y="21"/>
                    <a:pt x="4" y="21"/>
                    <a:pt x="4" y="21"/>
                  </a:cubicBezTo>
                  <a:cubicBezTo>
                    <a:pt x="4" y="22"/>
                    <a:pt x="4" y="24"/>
                    <a:pt x="4" y="24"/>
                  </a:cubicBezTo>
                  <a:cubicBezTo>
                    <a:pt x="4" y="25"/>
                    <a:pt x="5" y="26"/>
                    <a:pt x="5" y="27"/>
                  </a:cubicBezTo>
                  <a:cubicBezTo>
                    <a:pt x="6" y="27"/>
                    <a:pt x="6" y="28"/>
                    <a:pt x="7" y="28"/>
                  </a:cubicBezTo>
                  <a:cubicBezTo>
                    <a:pt x="8" y="28"/>
                    <a:pt x="9" y="28"/>
                    <a:pt x="10" y="28"/>
                  </a:cubicBezTo>
                  <a:cubicBezTo>
                    <a:pt x="10" y="28"/>
                    <a:pt x="11" y="28"/>
                    <a:pt x="11" y="28"/>
                  </a:cubicBezTo>
                  <a:cubicBezTo>
                    <a:pt x="11" y="28"/>
                    <a:pt x="12" y="28"/>
                    <a:pt x="12" y="28"/>
                  </a:cubicBezTo>
                  <a:cubicBezTo>
                    <a:pt x="12" y="28"/>
                    <a:pt x="13" y="28"/>
                    <a:pt x="13" y="28"/>
                  </a:cubicBezTo>
                  <a:cubicBezTo>
                    <a:pt x="13" y="28"/>
                    <a:pt x="13" y="28"/>
                    <a:pt x="14" y="28"/>
                  </a:cubicBezTo>
                  <a:cubicBezTo>
                    <a:pt x="14" y="27"/>
                    <a:pt x="14" y="27"/>
                    <a:pt x="14" y="27"/>
                  </a:cubicBezTo>
                  <a:cubicBezTo>
                    <a:pt x="14" y="27"/>
                    <a:pt x="14" y="26"/>
                    <a:pt x="14" y="26"/>
                  </a:cubicBezTo>
                  <a:cubicBezTo>
                    <a:pt x="14" y="26"/>
                    <a:pt x="14" y="25"/>
                    <a:pt x="14" y="25"/>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132">
              <a:extLst>
                <a:ext uri="{FF2B5EF4-FFF2-40B4-BE49-F238E27FC236}">
                  <a16:creationId xmlns:a16="http://schemas.microsoft.com/office/drawing/2014/main" id="{C5A0CF91-51EF-4A30-9EBF-50D76F1DBD84}"/>
                </a:ext>
              </a:extLst>
            </p:cNvPr>
            <p:cNvSpPr>
              <a:spLocks/>
            </p:cNvSpPr>
            <p:nvPr/>
          </p:nvSpPr>
          <p:spPr bwMode="auto">
            <a:xfrm>
              <a:off x="7461059" y="3158447"/>
              <a:ext cx="72146" cy="105333"/>
            </a:xfrm>
            <a:custGeom>
              <a:avLst/>
              <a:gdLst>
                <a:gd name="T0" fmla="*/ 20 w 21"/>
                <a:gd name="T1" fmla="*/ 1 h 31"/>
                <a:gd name="T2" fmla="*/ 21 w 21"/>
                <a:gd name="T3" fmla="*/ 0 h 31"/>
                <a:gd name="T4" fmla="*/ 20 w 21"/>
                <a:gd name="T5" fmla="*/ 0 h 31"/>
                <a:gd name="T6" fmla="*/ 20 w 21"/>
                <a:gd name="T7" fmla="*/ 0 h 31"/>
                <a:gd name="T8" fmla="*/ 19 w 21"/>
                <a:gd name="T9" fmla="*/ 0 h 31"/>
                <a:gd name="T10" fmla="*/ 18 w 21"/>
                <a:gd name="T11" fmla="*/ 0 h 31"/>
                <a:gd name="T12" fmla="*/ 17 w 21"/>
                <a:gd name="T13" fmla="*/ 0 h 31"/>
                <a:gd name="T14" fmla="*/ 17 w 21"/>
                <a:gd name="T15" fmla="*/ 0 h 31"/>
                <a:gd name="T16" fmla="*/ 11 w 21"/>
                <a:gd name="T17" fmla="*/ 17 h 31"/>
                <a:gd name="T18" fmla="*/ 11 w 21"/>
                <a:gd name="T19" fmla="*/ 17 h 31"/>
                <a:gd name="T20" fmla="*/ 5 w 21"/>
                <a:gd name="T21" fmla="*/ 0 h 31"/>
                <a:gd name="T22" fmla="*/ 4 w 21"/>
                <a:gd name="T23" fmla="*/ 0 h 31"/>
                <a:gd name="T24" fmla="*/ 4 w 21"/>
                <a:gd name="T25" fmla="*/ 0 h 31"/>
                <a:gd name="T26" fmla="*/ 3 w 21"/>
                <a:gd name="T27" fmla="*/ 0 h 31"/>
                <a:gd name="T28" fmla="*/ 2 w 21"/>
                <a:gd name="T29" fmla="*/ 0 h 31"/>
                <a:gd name="T30" fmla="*/ 1 w 21"/>
                <a:gd name="T31" fmla="*/ 0 h 31"/>
                <a:gd name="T32" fmla="*/ 1 w 21"/>
                <a:gd name="T33" fmla="*/ 0 h 31"/>
                <a:gd name="T34" fmla="*/ 0 w 21"/>
                <a:gd name="T35" fmla="*/ 0 h 31"/>
                <a:gd name="T36" fmla="*/ 1 w 21"/>
                <a:gd name="T37" fmla="*/ 1 h 31"/>
                <a:gd name="T38" fmla="*/ 8 w 21"/>
                <a:gd name="T39" fmla="*/ 21 h 31"/>
                <a:gd name="T40" fmla="*/ 8 w 21"/>
                <a:gd name="T41" fmla="*/ 22 h 31"/>
                <a:gd name="T42" fmla="*/ 9 w 21"/>
                <a:gd name="T43" fmla="*/ 22 h 31"/>
                <a:gd name="T44" fmla="*/ 6 w 21"/>
                <a:gd name="T45" fmla="*/ 29 h 31"/>
                <a:gd name="T46" fmla="*/ 6 w 21"/>
                <a:gd name="T47" fmla="*/ 30 h 31"/>
                <a:gd name="T48" fmla="*/ 6 w 21"/>
                <a:gd name="T49" fmla="*/ 30 h 31"/>
                <a:gd name="T50" fmla="*/ 7 w 21"/>
                <a:gd name="T51" fmla="*/ 30 h 31"/>
                <a:gd name="T52" fmla="*/ 8 w 21"/>
                <a:gd name="T53" fmla="*/ 31 h 31"/>
                <a:gd name="T54" fmla="*/ 9 w 21"/>
                <a:gd name="T55" fmla="*/ 30 h 31"/>
                <a:gd name="T56" fmla="*/ 10 w 21"/>
                <a:gd name="T57" fmla="*/ 30 h 31"/>
                <a:gd name="T58" fmla="*/ 13 w 21"/>
                <a:gd name="T59" fmla="*/ 22 h 31"/>
                <a:gd name="T60" fmla="*/ 20 w 21"/>
                <a:gd name="T61"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 h="31">
                  <a:moveTo>
                    <a:pt x="20" y="1"/>
                  </a:moveTo>
                  <a:cubicBezTo>
                    <a:pt x="21" y="1"/>
                    <a:pt x="21" y="0"/>
                    <a:pt x="21" y="0"/>
                  </a:cubicBezTo>
                  <a:cubicBezTo>
                    <a:pt x="21" y="0"/>
                    <a:pt x="21" y="0"/>
                    <a:pt x="20" y="0"/>
                  </a:cubicBezTo>
                  <a:cubicBezTo>
                    <a:pt x="20" y="0"/>
                    <a:pt x="20" y="0"/>
                    <a:pt x="20" y="0"/>
                  </a:cubicBezTo>
                  <a:cubicBezTo>
                    <a:pt x="19" y="0"/>
                    <a:pt x="19" y="0"/>
                    <a:pt x="19" y="0"/>
                  </a:cubicBezTo>
                  <a:cubicBezTo>
                    <a:pt x="18" y="0"/>
                    <a:pt x="18" y="0"/>
                    <a:pt x="18" y="0"/>
                  </a:cubicBezTo>
                  <a:cubicBezTo>
                    <a:pt x="17" y="0"/>
                    <a:pt x="17" y="0"/>
                    <a:pt x="17" y="0"/>
                  </a:cubicBezTo>
                  <a:cubicBezTo>
                    <a:pt x="17" y="0"/>
                    <a:pt x="17" y="0"/>
                    <a:pt x="17" y="0"/>
                  </a:cubicBezTo>
                  <a:cubicBezTo>
                    <a:pt x="11" y="17"/>
                    <a:pt x="11" y="17"/>
                    <a:pt x="11" y="17"/>
                  </a:cubicBezTo>
                  <a:cubicBezTo>
                    <a:pt x="11" y="17"/>
                    <a:pt x="11" y="17"/>
                    <a:pt x="11" y="17"/>
                  </a:cubicBezTo>
                  <a:cubicBezTo>
                    <a:pt x="5" y="0"/>
                    <a:pt x="5" y="0"/>
                    <a:pt x="5" y="0"/>
                  </a:cubicBezTo>
                  <a:cubicBezTo>
                    <a:pt x="5" y="0"/>
                    <a:pt x="5" y="0"/>
                    <a:pt x="4" y="0"/>
                  </a:cubicBezTo>
                  <a:cubicBezTo>
                    <a:pt x="4" y="0"/>
                    <a:pt x="4" y="0"/>
                    <a:pt x="4" y="0"/>
                  </a:cubicBezTo>
                  <a:cubicBezTo>
                    <a:pt x="4" y="0"/>
                    <a:pt x="4" y="0"/>
                    <a:pt x="3" y="0"/>
                  </a:cubicBezTo>
                  <a:cubicBezTo>
                    <a:pt x="3" y="0"/>
                    <a:pt x="3" y="0"/>
                    <a:pt x="2" y="0"/>
                  </a:cubicBezTo>
                  <a:cubicBezTo>
                    <a:pt x="2" y="0"/>
                    <a:pt x="2" y="0"/>
                    <a:pt x="1" y="0"/>
                  </a:cubicBezTo>
                  <a:cubicBezTo>
                    <a:pt x="1" y="0"/>
                    <a:pt x="1" y="0"/>
                    <a:pt x="1" y="0"/>
                  </a:cubicBezTo>
                  <a:cubicBezTo>
                    <a:pt x="1" y="0"/>
                    <a:pt x="0" y="0"/>
                    <a:pt x="0" y="0"/>
                  </a:cubicBezTo>
                  <a:cubicBezTo>
                    <a:pt x="0" y="0"/>
                    <a:pt x="1" y="1"/>
                    <a:pt x="1" y="1"/>
                  </a:cubicBezTo>
                  <a:cubicBezTo>
                    <a:pt x="8" y="21"/>
                    <a:pt x="8" y="21"/>
                    <a:pt x="8" y="21"/>
                  </a:cubicBezTo>
                  <a:cubicBezTo>
                    <a:pt x="8" y="21"/>
                    <a:pt x="8" y="22"/>
                    <a:pt x="8" y="22"/>
                  </a:cubicBezTo>
                  <a:cubicBezTo>
                    <a:pt x="9" y="22"/>
                    <a:pt x="9" y="22"/>
                    <a:pt x="9" y="22"/>
                  </a:cubicBezTo>
                  <a:cubicBezTo>
                    <a:pt x="6" y="29"/>
                    <a:pt x="6" y="29"/>
                    <a:pt x="6" y="29"/>
                  </a:cubicBezTo>
                  <a:cubicBezTo>
                    <a:pt x="6" y="30"/>
                    <a:pt x="6" y="30"/>
                    <a:pt x="6" y="30"/>
                  </a:cubicBezTo>
                  <a:cubicBezTo>
                    <a:pt x="6" y="30"/>
                    <a:pt x="6" y="30"/>
                    <a:pt x="6" y="30"/>
                  </a:cubicBezTo>
                  <a:cubicBezTo>
                    <a:pt x="6" y="30"/>
                    <a:pt x="6" y="30"/>
                    <a:pt x="7" y="30"/>
                  </a:cubicBezTo>
                  <a:cubicBezTo>
                    <a:pt x="7" y="31"/>
                    <a:pt x="7" y="31"/>
                    <a:pt x="8" y="31"/>
                  </a:cubicBezTo>
                  <a:cubicBezTo>
                    <a:pt x="8" y="31"/>
                    <a:pt x="9" y="30"/>
                    <a:pt x="9" y="30"/>
                  </a:cubicBezTo>
                  <a:cubicBezTo>
                    <a:pt x="10" y="30"/>
                    <a:pt x="10" y="30"/>
                    <a:pt x="10" y="30"/>
                  </a:cubicBezTo>
                  <a:cubicBezTo>
                    <a:pt x="13" y="22"/>
                    <a:pt x="13" y="22"/>
                    <a:pt x="13" y="22"/>
                  </a:cubicBezTo>
                  <a:cubicBezTo>
                    <a:pt x="20" y="1"/>
                    <a:pt x="20" y="1"/>
                    <a:pt x="20"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133">
              <a:extLst>
                <a:ext uri="{FF2B5EF4-FFF2-40B4-BE49-F238E27FC236}">
                  <a16:creationId xmlns:a16="http://schemas.microsoft.com/office/drawing/2014/main" id="{83AD2F3E-4767-4671-8E2B-ADA05CDBDFF4}"/>
                </a:ext>
              </a:extLst>
            </p:cNvPr>
            <p:cNvSpPr>
              <a:spLocks/>
            </p:cNvSpPr>
            <p:nvPr/>
          </p:nvSpPr>
          <p:spPr bwMode="auto">
            <a:xfrm>
              <a:off x="7455288" y="6188566"/>
              <a:ext cx="2366379" cy="328984"/>
            </a:xfrm>
            <a:custGeom>
              <a:avLst/>
              <a:gdLst>
                <a:gd name="T0" fmla="*/ 3 w 691"/>
                <a:gd name="T1" fmla="*/ 18 h 96"/>
                <a:gd name="T2" fmla="*/ 6 w 691"/>
                <a:gd name="T3" fmla="*/ 18 h 96"/>
                <a:gd name="T4" fmla="*/ 18 w 691"/>
                <a:gd name="T5" fmla="*/ 6 h 96"/>
                <a:gd name="T6" fmla="*/ 673 w 691"/>
                <a:gd name="T7" fmla="*/ 6 h 96"/>
                <a:gd name="T8" fmla="*/ 685 w 691"/>
                <a:gd name="T9" fmla="*/ 18 h 96"/>
                <a:gd name="T10" fmla="*/ 685 w 691"/>
                <a:gd name="T11" fmla="*/ 78 h 96"/>
                <a:gd name="T12" fmla="*/ 673 w 691"/>
                <a:gd name="T13" fmla="*/ 90 h 96"/>
                <a:gd name="T14" fmla="*/ 18 w 691"/>
                <a:gd name="T15" fmla="*/ 90 h 96"/>
                <a:gd name="T16" fmla="*/ 6 w 691"/>
                <a:gd name="T17" fmla="*/ 78 h 96"/>
                <a:gd name="T18" fmla="*/ 6 w 691"/>
                <a:gd name="T19" fmla="*/ 18 h 96"/>
                <a:gd name="T20" fmla="*/ 3 w 691"/>
                <a:gd name="T21" fmla="*/ 18 h 96"/>
                <a:gd name="T22" fmla="*/ 0 w 691"/>
                <a:gd name="T23" fmla="*/ 18 h 96"/>
                <a:gd name="T24" fmla="*/ 0 w 691"/>
                <a:gd name="T25" fmla="*/ 78 h 96"/>
                <a:gd name="T26" fmla="*/ 18 w 691"/>
                <a:gd name="T27" fmla="*/ 96 h 96"/>
                <a:gd name="T28" fmla="*/ 673 w 691"/>
                <a:gd name="T29" fmla="*/ 96 h 96"/>
                <a:gd name="T30" fmla="*/ 691 w 691"/>
                <a:gd name="T31" fmla="*/ 78 h 96"/>
                <a:gd name="T32" fmla="*/ 691 w 691"/>
                <a:gd name="T33" fmla="*/ 18 h 96"/>
                <a:gd name="T34" fmla="*/ 673 w 691"/>
                <a:gd name="T35" fmla="*/ 0 h 96"/>
                <a:gd name="T36" fmla="*/ 18 w 691"/>
                <a:gd name="T37" fmla="*/ 0 h 96"/>
                <a:gd name="T38" fmla="*/ 0 w 691"/>
                <a:gd name="T39" fmla="*/ 18 h 96"/>
                <a:gd name="T40" fmla="*/ 3 w 691"/>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1" h="96">
                  <a:moveTo>
                    <a:pt x="3" y="18"/>
                  </a:moveTo>
                  <a:cubicBezTo>
                    <a:pt x="6" y="18"/>
                    <a:pt x="6" y="18"/>
                    <a:pt x="6" y="18"/>
                  </a:cubicBezTo>
                  <a:cubicBezTo>
                    <a:pt x="6" y="11"/>
                    <a:pt x="11" y="6"/>
                    <a:pt x="18" y="6"/>
                  </a:cubicBezTo>
                  <a:cubicBezTo>
                    <a:pt x="673" y="6"/>
                    <a:pt x="673" y="6"/>
                    <a:pt x="673" y="6"/>
                  </a:cubicBezTo>
                  <a:cubicBezTo>
                    <a:pt x="680" y="6"/>
                    <a:pt x="685" y="11"/>
                    <a:pt x="685" y="18"/>
                  </a:cubicBezTo>
                  <a:cubicBezTo>
                    <a:pt x="685" y="78"/>
                    <a:pt x="685" y="78"/>
                    <a:pt x="685" y="78"/>
                  </a:cubicBezTo>
                  <a:cubicBezTo>
                    <a:pt x="685" y="84"/>
                    <a:pt x="680" y="90"/>
                    <a:pt x="673" y="90"/>
                  </a:cubicBezTo>
                  <a:cubicBezTo>
                    <a:pt x="18" y="90"/>
                    <a:pt x="18" y="90"/>
                    <a:pt x="18" y="90"/>
                  </a:cubicBezTo>
                  <a:cubicBezTo>
                    <a:pt x="11"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673" y="96"/>
                    <a:pt x="673" y="96"/>
                    <a:pt x="673" y="96"/>
                  </a:cubicBezTo>
                  <a:cubicBezTo>
                    <a:pt x="683" y="96"/>
                    <a:pt x="691" y="88"/>
                    <a:pt x="691" y="78"/>
                  </a:cubicBezTo>
                  <a:cubicBezTo>
                    <a:pt x="691" y="18"/>
                    <a:pt x="691" y="18"/>
                    <a:pt x="691" y="18"/>
                  </a:cubicBezTo>
                  <a:cubicBezTo>
                    <a:pt x="691" y="8"/>
                    <a:pt x="683" y="0"/>
                    <a:pt x="673" y="0"/>
                  </a:cubicBezTo>
                  <a:cubicBezTo>
                    <a:pt x="18" y="0"/>
                    <a:pt x="18" y="0"/>
                    <a:pt x="18" y="0"/>
                  </a:cubicBezTo>
                  <a:cubicBezTo>
                    <a:pt x="8" y="0"/>
                    <a:pt x="0" y="8"/>
                    <a:pt x="0" y="18"/>
                  </a:cubicBezTo>
                  <a:lnTo>
                    <a:pt x="3" y="18"/>
                  </a:ln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134">
              <a:extLst>
                <a:ext uri="{FF2B5EF4-FFF2-40B4-BE49-F238E27FC236}">
                  <a16:creationId xmlns:a16="http://schemas.microsoft.com/office/drawing/2014/main" id="{FB2A712C-D4BC-4288-A9BC-6CA20AF019FB}"/>
                </a:ext>
              </a:extLst>
            </p:cNvPr>
            <p:cNvSpPr>
              <a:spLocks noEditPoints="1"/>
            </p:cNvSpPr>
            <p:nvPr/>
          </p:nvSpPr>
          <p:spPr bwMode="auto">
            <a:xfrm>
              <a:off x="8064197" y="6292456"/>
              <a:ext cx="79361" cy="102447"/>
            </a:xfrm>
            <a:custGeom>
              <a:avLst/>
              <a:gdLst>
                <a:gd name="T0" fmla="*/ 22 w 23"/>
                <a:gd name="T1" fmla="*/ 8 h 30"/>
                <a:gd name="T2" fmla="*/ 20 w 23"/>
                <a:gd name="T3" fmla="*/ 4 h 30"/>
                <a:gd name="T4" fmla="*/ 15 w 23"/>
                <a:gd name="T5" fmla="*/ 1 h 30"/>
                <a:gd name="T6" fmla="*/ 8 w 23"/>
                <a:gd name="T7" fmla="*/ 0 h 30"/>
                <a:gd name="T8" fmla="*/ 2 w 23"/>
                <a:gd name="T9" fmla="*/ 0 h 30"/>
                <a:gd name="T10" fmla="*/ 1 w 23"/>
                <a:gd name="T11" fmla="*/ 0 h 30"/>
                <a:gd name="T12" fmla="*/ 0 w 23"/>
                <a:gd name="T13" fmla="*/ 1 h 30"/>
                <a:gd name="T14" fmla="*/ 0 w 23"/>
                <a:gd name="T15" fmla="*/ 28 h 30"/>
                <a:gd name="T16" fmla="*/ 1 w 23"/>
                <a:gd name="T17" fmla="*/ 30 h 30"/>
                <a:gd name="T18" fmla="*/ 2 w 23"/>
                <a:gd name="T19" fmla="*/ 30 h 30"/>
                <a:gd name="T20" fmla="*/ 8 w 23"/>
                <a:gd name="T21" fmla="*/ 30 h 30"/>
                <a:gd name="T22" fmla="*/ 15 w 23"/>
                <a:gd name="T23" fmla="*/ 29 h 30"/>
                <a:gd name="T24" fmla="*/ 19 w 23"/>
                <a:gd name="T25" fmla="*/ 26 h 30"/>
                <a:gd name="T26" fmla="*/ 22 w 23"/>
                <a:gd name="T27" fmla="*/ 21 h 30"/>
                <a:gd name="T28" fmla="*/ 23 w 23"/>
                <a:gd name="T29" fmla="*/ 14 h 30"/>
                <a:gd name="T30" fmla="*/ 22 w 23"/>
                <a:gd name="T31" fmla="*/ 8 h 30"/>
                <a:gd name="T32" fmla="*/ 18 w 23"/>
                <a:gd name="T33" fmla="*/ 20 h 30"/>
                <a:gd name="T34" fmla="*/ 16 w 23"/>
                <a:gd name="T35" fmla="*/ 24 h 30"/>
                <a:gd name="T36" fmla="*/ 13 w 23"/>
                <a:gd name="T37" fmla="*/ 26 h 30"/>
                <a:gd name="T38" fmla="*/ 8 w 23"/>
                <a:gd name="T39" fmla="*/ 27 h 30"/>
                <a:gd name="T40" fmla="*/ 4 w 23"/>
                <a:gd name="T41" fmla="*/ 27 h 30"/>
                <a:gd name="T42" fmla="*/ 4 w 23"/>
                <a:gd name="T43" fmla="*/ 3 h 30"/>
                <a:gd name="T44" fmla="*/ 8 w 23"/>
                <a:gd name="T45" fmla="*/ 3 h 30"/>
                <a:gd name="T46" fmla="*/ 13 w 23"/>
                <a:gd name="T47" fmla="*/ 4 h 30"/>
                <a:gd name="T48" fmla="*/ 17 w 23"/>
                <a:gd name="T49" fmla="*/ 6 h 30"/>
                <a:gd name="T50" fmla="*/ 18 w 23"/>
                <a:gd name="T51" fmla="*/ 10 h 30"/>
                <a:gd name="T52" fmla="*/ 19 w 23"/>
                <a:gd name="T53" fmla="*/ 15 h 30"/>
                <a:gd name="T54" fmla="*/ 18 w 23"/>
                <a:gd name="T55"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30">
                  <a:moveTo>
                    <a:pt x="22" y="8"/>
                  </a:moveTo>
                  <a:cubicBezTo>
                    <a:pt x="22" y="6"/>
                    <a:pt x="21" y="5"/>
                    <a:pt x="20" y="4"/>
                  </a:cubicBezTo>
                  <a:cubicBezTo>
                    <a:pt x="18" y="2"/>
                    <a:pt x="17" y="1"/>
                    <a:pt x="15" y="1"/>
                  </a:cubicBezTo>
                  <a:cubicBezTo>
                    <a:pt x="13" y="0"/>
                    <a:pt x="11" y="0"/>
                    <a:pt x="8" y="0"/>
                  </a:cubicBezTo>
                  <a:cubicBezTo>
                    <a:pt x="2" y="0"/>
                    <a:pt x="2" y="0"/>
                    <a:pt x="2" y="0"/>
                  </a:cubicBezTo>
                  <a:cubicBezTo>
                    <a:pt x="1" y="0"/>
                    <a:pt x="1" y="0"/>
                    <a:pt x="1" y="0"/>
                  </a:cubicBezTo>
                  <a:cubicBezTo>
                    <a:pt x="0" y="0"/>
                    <a:pt x="0" y="1"/>
                    <a:pt x="0" y="1"/>
                  </a:cubicBezTo>
                  <a:cubicBezTo>
                    <a:pt x="0" y="28"/>
                    <a:pt x="0" y="28"/>
                    <a:pt x="0" y="28"/>
                  </a:cubicBezTo>
                  <a:cubicBezTo>
                    <a:pt x="0" y="29"/>
                    <a:pt x="0" y="29"/>
                    <a:pt x="1" y="30"/>
                  </a:cubicBezTo>
                  <a:cubicBezTo>
                    <a:pt x="1" y="30"/>
                    <a:pt x="1" y="30"/>
                    <a:pt x="2" y="30"/>
                  </a:cubicBezTo>
                  <a:cubicBezTo>
                    <a:pt x="8" y="30"/>
                    <a:pt x="8" y="30"/>
                    <a:pt x="8" y="30"/>
                  </a:cubicBezTo>
                  <a:cubicBezTo>
                    <a:pt x="11" y="30"/>
                    <a:pt x="13" y="30"/>
                    <a:pt x="15" y="29"/>
                  </a:cubicBezTo>
                  <a:cubicBezTo>
                    <a:pt x="17" y="28"/>
                    <a:pt x="18" y="27"/>
                    <a:pt x="19" y="26"/>
                  </a:cubicBezTo>
                  <a:cubicBezTo>
                    <a:pt x="21" y="25"/>
                    <a:pt x="22" y="23"/>
                    <a:pt x="22" y="21"/>
                  </a:cubicBezTo>
                  <a:cubicBezTo>
                    <a:pt x="23" y="19"/>
                    <a:pt x="23" y="17"/>
                    <a:pt x="23" y="14"/>
                  </a:cubicBezTo>
                  <a:cubicBezTo>
                    <a:pt x="23" y="12"/>
                    <a:pt x="23" y="10"/>
                    <a:pt x="22" y="8"/>
                  </a:cubicBezTo>
                  <a:close/>
                  <a:moveTo>
                    <a:pt x="18" y="20"/>
                  </a:moveTo>
                  <a:cubicBezTo>
                    <a:pt x="18" y="21"/>
                    <a:pt x="17" y="23"/>
                    <a:pt x="16" y="24"/>
                  </a:cubicBezTo>
                  <a:cubicBezTo>
                    <a:pt x="16" y="25"/>
                    <a:pt x="14" y="25"/>
                    <a:pt x="13" y="26"/>
                  </a:cubicBezTo>
                  <a:cubicBezTo>
                    <a:pt x="12" y="26"/>
                    <a:pt x="10" y="27"/>
                    <a:pt x="8" y="27"/>
                  </a:cubicBezTo>
                  <a:cubicBezTo>
                    <a:pt x="4" y="27"/>
                    <a:pt x="4" y="27"/>
                    <a:pt x="4" y="27"/>
                  </a:cubicBezTo>
                  <a:cubicBezTo>
                    <a:pt x="4" y="3"/>
                    <a:pt x="4" y="3"/>
                    <a:pt x="4" y="3"/>
                  </a:cubicBezTo>
                  <a:cubicBezTo>
                    <a:pt x="8" y="3"/>
                    <a:pt x="8" y="3"/>
                    <a:pt x="8" y="3"/>
                  </a:cubicBezTo>
                  <a:cubicBezTo>
                    <a:pt x="10" y="3"/>
                    <a:pt x="12" y="3"/>
                    <a:pt x="13" y="4"/>
                  </a:cubicBezTo>
                  <a:cubicBezTo>
                    <a:pt x="15" y="4"/>
                    <a:pt x="16" y="5"/>
                    <a:pt x="17" y="6"/>
                  </a:cubicBezTo>
                  <a:cubicBezTo>
                    <a:pt x="17" y="7"/>
                    <a:pt x="18" y="9"/>
                    <a:pt x="18" y="10"/>
                  </a:cubicBezTo>
                  <a:cubicBezTo>
                    <a:pt x="19" y="11"/>
                    <a:pt x="19" y="13"/>
                    <a:pt x="19" y="15"/>
                  </a:cubicBezTo>
                  <a:cubicBezTo>
                    <a:pt x="19" y="17"/>
                    <a:pt x="19" y="18"/>
                    <a:pt x="18" y="2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135">
              <a:extLst>
                <a:ext uri="{FF2B5EF4-FFF2-40B4-BE49-F238E27FC236}">
                  <a16:creationId xmlns:a16="http://schemas.microsoft.com/office/drawing/2014/main" id="{3E738ECF-ECB9-4ACA-ADD0-FB6FBEFD9232}"/>
                </a:ext>
              </a:extLst>
            </p:cNvPr>
            <p:cNvSpPr>
              <a:spLocks noEditPoints="1"/>
            </p:cNvSpPr>
            <p:nvPr/>
          </p:nvSpPr>
          <p:spPr bwMode="auto">
            <a:xfrm>
              <a:off x="8163758" y="6288127"/>
              <a:ext cx="17315" cy="106776"/>
            </a:xfrm>
            <a:custGeom>
              <a:avLst/>
              <a:gdLst>
                <a:gd name="T0" fmla="*/ 4 w 5"/>
                <a:gd name="T1" fmla="*/ 9 h 31"/>
                <a:gd name="T2" fmla="*/ 4 w 5"/>
                <a:gd name="T3" fmla="*/ 9 h 31"/>
                <a:gd name="T4" fmla="*/ 4 w 5"/>
                <a:gd name="T5" fmla="*/ 9 h 31"/>
                <a:gd name="T6" fmla="*/ 3 w 5"/>
                <a:gd name="T7" fmla="*/ 9 h 31"/>
                <a:gd name="T8" fmla="*/ 2 w 5"/>
                <a:gd name="T9" fmla="*/ 9 h 31"/>
                <a:gd name="T10" fmla="*/ 1 w 5"/>
                <a:gd name="T11" fmla="*/ 9 h 31"/>
                <a:gd name="T12" fmla="*/ 1 w 5"/>
                <a:gd name="T13" fmla="*/ 9 h 31"/>
                <a:gd name="T14" fmla="*/ 0 w 5"/>
                <a:gd name="T15" fmla="*/ 9 h 31"/>
                <a:gd name="T16" fmla="*/ 0 w 5"/>
                <a:gd name="T17" fmla="*/ 9 h 31"/>
                <a:gd name="T18" fmla="*/ 0 w 5"/>
                <a:gd name="T19" fmla="*/ 30 h 31"/>
                <a:gd name="T20" fmla="*/ 0 w 5"/>
                <a:gd name="T21" fmla="*/ 31 h 31"/>
                <a:gd name="T22" fmla="*/ 1 w 5"/>
                <a:gd name="T23" fmla="*/ 31 h 31"/>
                <a:gd name="T24" fmla="*/ 1 w 5"/>
                <a:gd name="T25" fmla="*/ 31 h 31"/>
                <a:gd name="T26" fmla="*/ 2 w 5"/>
                <a:gd name="T27" fmla="*/ 31 h 31"/>
                <a:gd name="T28" fmla="*/ 3 w 5"/>
                <a:gd name="T29" fmla="*/ 31 h 31"/>
                <a:gd name="T30" fmla="*/ 4 w 5"/>
                <a:gd name="T31" fmla="*/ 31 h 31"/>
                <a:gd name="T32" fmla="*/ 4 w 5"/>
                <a:gd name="T33" fmla="*/ 31 h 31"/>
                <a:gd name="T34" fmla="*/ 4 w 5"/>
                <a:gd name="T35" fmla="*/ 30 h 31"/>
                <a:gd name="T36" fmla="*/ 4 w 5"/>
                <a:gd name="T37" fmla="*/ 9 h 31"/>
                <a:gd name="T38" fmla="*/ 4 w 5"/>
                <a:gd name="T39" fmla="*/ 0 h 31"/>
                <a:gd name="T40" fmla="*/ 2 w 5"/>
                <a:gd name="T41" fmla="*/ 0 h 31"/>
                <a:gd name="T42" fmla="*/ 0 w 5"/>
                <a:gd name="T43" fmla="*/ 0 h 31"/>
                <a:gd name="T44" fmla="*/ 0 w 5"/>
                <a:gd name="T45" fmla="*/ 2 h 31"/>
                <a:gd name="T46" fmla="*/ 0 w 5"/>
                <a:gd name="T47" fmla="*/ 4 h 31"/>
                <a:gd name="T48" fmla="*/ 2 w 5"/>
                <a:gd name="T49" fmla="*/ 5 h 31"/>
                <a:gd name="T50" fmla="*/ 4 w 5"/>
                <a:gd name="T51" fmla="*/ 4 h 31"/>
                <a:gd name="T52" fmla="*/ 5 w 5"/>
                <a:gd name="T53" fmla="*/ 2 h 31"/>
                <a:gd name="T54" fmla="*/ 4 w 5"/>
                <a:gd name="T5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4" y="9"/>
                  </a:moveTo>
                  <a:cubicBezTo>
                    <a:pt x="4" y="9"/>
                    <a:pt x="4" y="9"/>
                    <a:pt x="4" y="9"/>
                  </a:cubicBezTo>
                  <a:cubicBezTo>
                    <a:pt x="4" y="9"/>
                    <a:pt x="4" y="9"/>
                    <a:pt x="4" y="9"/>
                  </a:cubicBezTo>
                  <a:cubicBezTo>
                    <a:pt x="4" y="9"/>
                    <a:pt x="3" y="9"/>
                    <a:pt x="3" y="9"/>
                  </a:cubicBezTo>
                  <a:cubicBezTo>
                    <a:pt x="3" y="9"/>
                    <a:pt x="3" y="9"/>
                    <a:pt x="2" y="9"/>
                  </a:cubicBezTo>
                  <a:cubicBezTo>
                    <a:pt x="2" y="9"/>
                    <a:pt x="2" y="9"/>
                    <a:pt x="1" y="9"/>
                  </a:cubicBezTo>
                  <a:cubicBezTo>
                    <a:pt x="1" y="9"/>
                    <a:pt x="1" y="9"/>
                    <a:pt x="1" y="9"/>
                  </a:cubicBezTo>
                  <a:cubicBezTo>
                    <a:pt x="1" y="9"/>
                    <a:pt x="0" y="9"/>
                    <a:pt x="0" y="9"/>
                  </a:cubicBezTo>
                  <a:cubicBezTo>
                    <a:pt x="0" y="9"/>
                    <a:pt x="0" y="9"/>
                    <a:pt x="0" y="9"/>
                  </a:cubicBezTo>
                  <a:cubicBezTo>
                    <a:pt x="0" y="30"/>
                    <a:pt x="0" y="30"/>
                    <a:pt x="0" y="30"/>
                  </a:cubicBezTo>
                  <a:cubicBezTo>
                    <a:pt x="0" y="31"/>
                    <a:pt x="0" y="31"/>
                    <a:pt x="0" y="31"/>
                  </a:cubicBezTo>
                  <a:cubicBezTo>
                    <a:pt x="0" y="31"/>
                    <a:pt x="1" y="31"/>
                    <a:pt x="1" y="31"/>
                  </a:cubicBezTo>
                  <a:cubicBezTo>
                    <a:pt x="1" y="31"/>
                    <a:pt x="1" y="31"/>
                    <a:pt x="1" y="31"/>
                  </a:cubicBezTo>
                  <a:cubicBezTo>
                    <a:pt x="2" y="31"/>
                    <a:pt x="2" y="31"/>
                    <a:pt x="2" y="31"/>
                  </a:cubicBezTo>
                  <a:cubicBezTo>
                    <a:pt x="3" y="31"/>
                    <a:pt x="3" y="31"/>
                    <a:pt x="3" y="31"/>
                  </a:cubicBezTo>
                  <a:cubicBezTo>
                    <a:pt x="3" y="31"/>
                    <a:pt x="4" y="31"/>
                    <a:pt x="4" y="31"/>
                  </a:cubicBezTo>
                  <a:cubicBezTo>
                    <a:pt x="4" y="31"/>
                    <a:pt x="4" y="31"/>
                    <a:pt x="4" y="31"/>
                  </a:cubicBezTo>
                  <a:cubicBezTo>
                    <a:pt x="4" y="31"/>
                    <a:pt x="4" y="31"/>
                    <a:pt x="4" y="30"/>
                  </a:cubicBezTo>
                  <a:cubicBezTo>
                    <a:pt x="4" y="9"/>
                    <a:pt x="4" y="9"/>
                    <a:pt x="4" y="9"/>
                  </a:cubicBezTo>
                  <a:close/>
                  <a:moveTo>
                    <a:pt x="4" y="0"/>
                  </a:moveTo>
                  <a:cubicBezTo>
                    <a:pt x="4" y="0"/>
                    <a:pt x="3" y="0"/>
                    <a:pt x="2" y="0"/>
                  </a:cubicBezTo>
                  <a:cubicBezTo>
                    <a:pt x="1" y="0"/>
                    <a:pt x="1" y="0"/>
                    <a:pt x="0" y="0"/>
                  </a:cubicBezTo>
                  <a:cubicBezTo>
                    <a:pt x="0" y="1"/>
                    <a:pt x="0" y="1"/>
                    <a:pt x="0" y="2"/>
                  </a:cubicBezTo>
                  <a:cubicBezTo>
                    <a:pt x="0" y="3"/>
                    <a:pt x="0" y="4"/>
                    <a:pt x="0" y="4"/>
                  </a:cubicBezTo>
                  <a:cubicBezTo>
                    <a:pt x="1" y="4"/>
                    <a:pt x="1" y="5"/>
                    <a:pt x="2" y="5"/>
                  </a:cubicBezTo>
                  <a:cubicBezTo>
                    <a:pt x="3" y="5"/>
                    <a:pt x="4" y="4"/>
                    <a:pt x="4" y="4"/>
                  </a:cubicBezTo>
                  <a:cubicBezTo>
                    <a:pt x="4" y="4"/>
                    <a:pt x="5" y="3"/>
                    <a:pt x="5" y="2"/>
                  </a:cubicBezTo>
                  <a:cubicBezTo>
                    <a:pt x="5" y="1"/>
                    <a:pt x="4" y="1"/>
                    <a:pt x="4"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136">
              <a:extLst>
                <a:ext uri="{FF2B5EF4-FFF2-40B4-BE49-F238E27FC236}">
                  <a16:creationId xmlns:a16="http://schemas.microsoft.com/office/drawing/2014/main" id="{67BA8F08-B2AD-4821-AB7B-E8F4F5021977}"/>
                </a:ext>
              </a:extLst>
            </p:cNvPr>
            <p:cNvSpPr>
              <a:spLocks noEditPoints="1"/>
            </p:cNvSpPr>
            <p:nvPr/>
          </p:nvSpPr>
          <p:spPr bwMode="auto">
            <a:xfrm>
              <a:off x="8194059" y="6315543"/>
              <a:ext cx="69260" cy="109661"/>
            </a:xfrm>
            <a:custGeom>
              <a:avLst/>
              <a:gdLst>
                <a:gd name="T0" fmla="*/ 19 w 20"/>
                <a:gd name="T1" fmla="*/ 1 h 32"/>
                <a:gd name="T2" fmla="*/ 11 w 20"/>
                <a:gd name="T3" fmla="*/ 0 h 32"/>
                <a:gd name="T4" fmla="*/ 6 w 20"/>
                <a:gd name="T5" fmla="*/ 1 h 32"/>
                <a:gd name="T6" fmla="*/ 2 w 20"/>
                <a:gd name="T7" fmla="*/ 5 h 32"/>
                <a:gd name="T8" fmla="*/ 2 w 20"/>
                <a:gd name="T9" fmla="*/ 11 h 32"/>
                <a:gd name="T10" fmla="*/ 1 w 20"/>
                <a:gd name="T11" fmla="*/ 15 h 32"/>
                <a:gd name="T12" fmla="*/ 1 w 20"/>
                <a:gd name="T13" fmla="*/ 19 h 32"/>
                <a:gd name="T14" fmla="*/ 2 w 20"/>
                <a:gd name="T15" fmla="*/ 22 h 32"/>
                <a:gd name="T16" fmla="*/ 0 w 20"/>
                <a:gd name="T17" fmla="*/ 24 h 32"/>
                <a:gd name="T18" fmla="*/ 0 w 20"/>
                <a:gd name="T19" fmla="*/ 28 h 32"/>
                <a:gd name="T20" fmla="*/ 5 w 20"/>
                <a:gd name="T21" fmla="*/ 31 h 32"/>
                <a:gd name="T22" fmla="*/ 14 w 20"/>
                <a:gd name="T23" fmla="*/ 31 h 32"/>
                <a:gd name="T24" fmla="*/ 19 w 20"/>
                <a:gd name="T25" fmla="*/ 27 h 32"/>
                <a:gd name="T26" fmla="*/ 19 w 20"/>
                <a:gd name="T27" fmla="*/ 22 h 32"/>
                <a:gd name="T28" fmla="*/ 15 w 20"/>
                <a:gd name="T29" fmla="*/ 19 h 32"/>
                <a:gd name="T30" fmla="*/ 7 w 20"/>
                <a:gd name="T31" fmla="*/ 18 h 32"/>
                <a:gd name="T32" fmla="*/ 4 w 20"/>
                <a:gd name="T33" fmla="*/ 16 h 32"/>
                <a:gd name="T34" fmla="*/ 5 w 20"/>
                <a:gd name="T35" fmla="*/ 14 h 32"/>
                <a:gd name="T36" fmla="*/ 9 w 20"/>
                <a:gd name="T37" fmla="*/ 15 h 32"/>
                <a:gd name="T38" fmla="*/ 15 w 20"/>
                <a:gd name="T39" fmla="*/ 13 h 32"/>
                <a:gd name="T40" fmla="*/ 18 w 20"/>
                <a:gd name="T41" fmla="*/ 8 h 32"/>
                <a:gd name="T42" fmla="*/ 16 w 20"/>
                <a:gd name="T43" fmla="*/ 4 h 32"/>
                <a:gd name="T44" fmla="*/ 20 w 20"/>
                <a:gd name="T45" fmla="*/ 3 h 32"/>
                <a:gd name="T46" fmla="*/ 20 w 20"/>
                <a:gd name="T47" fmla="*/ 1 h 32"/>
                <a:gd name="T48" fmla="*/ 13 w 20"/>
                <a:gd name="T49" fmla="*/ 11 h 32"/>
                <a:gd name="T50" fmla="*/ 9 w 20"/>
                <a:gd name="T51" fmla="*/ 12 h 32"/>
                <a:gd name="T52" fmla="*/ 5 w 20"/>
                <a:gd name="T53" fmla="*/ 8 h 32"/>
                <a:gd name="T54" fmla="*/ 6 w 20"/>
                <a:gd name="T55" fmla="*/ 5 h 32"/>
                <a:gd name="T56" fmla="*/ 9 w 20"/>
                <a:gd name="T57" fmla="*/ 3 h 32"/>
                <a:gd name="T58" fmla="*/ 14 w 20"/>
                <a:gd name="T59" fmla="*/ 8 h 32"/>
                <a:gd name="T60" fmla="*/ 16 w 20"/>
                <a:gd name="T61" fmla="*/ 26 h 32"/>
                <a:gd name="T62" fmla="*/ 13 w 20"/>
                <a:gd name="T63" fmla="*/ 28 h 32"/>
                <a:gd name="T64" fmla="*/ 5 w 20"/>
                <a:gd name="T65" fmla="*/ 28 h 32"/>
                <a:gd name="T66" fmla="*/ 4 w 20"/>
                <a:gd name="T67" fmla="*/ 25 h 32"/>
                <a:gd name="T68" fmla="*/ 5 w 20"/>
                <a:gd name="T69" fmla="*/ 23 h 32"/>
                <a:gd name="T70" fmla="*/ 12 w 20"/>
                <a:gd name="T71" fmla="*/ 22 h 32"/>
                <a:gd name="T72" fmla="*/ 16 w 20"/>
                <a:gd name="T73"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32">
                  <a:moveTo>
                    <a:pt x="20" y="1"/>
                  </a:moveTo>
                  <a:cubicBezTo>
                    <a:pt x="20" y="1"/>
                    <a:pt x="19" y="1"/>
                    <a:pt x="19" y="1"/>
                  </a:cubicBezTo>
                  <a:cubicBezTo>
                    <a:pt x="13" y="1"/>
                    <a:pt x="13" y="1"/>
                    <a:pt x="13" y="1"/>
                  </a:cubicBezTo>
                  <a:cubicBezTo>
                    <a:pt x="12" y="1"/>
                    <a:pt x="12" y="0"/>
                    <a:pt x="11" y="0"/>
                  </a:cubicBezTo>
                  <a:cubicBezTo>
                    <a:pt x="11" y="0"/>
                    <a:pt x="10" y="0"/>
                    <a:pt x="9" y="0"/>
                  </a:cubicBezTo>
                  <a:cubicBezTo>
                    <a:pt x="8" y="0"/>
                    <a:pt x="7" y="0"/>
                    <a:pt x="6" y="1"/>
                  </a:cubicBezTo>
                  <a:cubicBezTo>
                    <a:pt x="5" y="1"/>
                    <a:pt x="4" y="2"/>
                    <a:pt x="4" y="2"/>
                  </a:cubicBezTo>
                  <a:cubicBezTo>
                    <a:pt x="3" y="3"/>
                    <a:pt x="2" y="4"/>
                    <a:pt x="2" y="5"/>
                  </a:cubicBezTo>
                  <a:cubicBezTo>
                    <a:pt x="1" y="6"/>
                    <a:pt x="1" y="7"/>
                    <a:pt x="1" y="8"/>
                  </a:cubicBezTo>
                  <a:cubicBezTo>
                    <a:pt x="1" y="9"/>
                    <a:pt x="1" y="10"/>
                    <a:pt x="2" y="11"/>
                  </a:cubicBezTo>
                  <a:cubicBezTo>
                    <a:pt x="2" y="11"/>
                    <a:pt x="2" y="12"/>
                    <a:pt x="3" y="13"/>
                  </a:cubicBezTo>
                  <a:cubicBezTo>
                    <a:pt x="2" y="13"/>
                    <a:pt x="2" y="14"/>
                    <a:pt x="1" y="15"/>
                  </a:cubicBezTo>
                  <a:cubicBezTo>
                    <a:pt x="1" y="15"/>
                    <a:pt x="1" y="16"/>
                    <a:pt x="1" y="17"/>
                  </a:cubicBezTo>
                  <a:cubicBezTo>
                    <a:pt x="1" y="18"/>
                    <a:pt x="1" y="19"/>
                    <a:pt x="1" y="19"/>
                  </a:cubicBezTo>
                  <a:cubicBezTo>
                    <a:pt x="2" y="20"/>
                    <a:pt x="2" y="20"/>
                    <a:pt x="3" y="21"/>
                  </a:cubicBezTo>
                  <a:cubicBezTo>
                    <a:pt x="3" y="21"/>
                    <a:pt x="2" y="21"/>
                    <a:pt x="2" y="22"/>
                  </a:cubicBezTo>
                  <a:cubicBezTo>
                    <a:pt x="1" y="22"/>
                    <a:pt x="1" y="23"/>
                    <a:pt x="1" y="23"/>
                  </a:cubicBezTo>
                  <a:cubicBezTo>
                    <a:pt x="0" y="23"/>
                    <a:pt x="0" y="24"/>
                    <a:pt x="0" y="24"/>
                  </a:cubicBezTo>
                  <a:cubicBezTo>
                    <a:pt x="0" y="25"/>
                    <a:pt x="0" y="25"/>
                    <a:pt x="0" y="26"/>
                  </a:cubicBezTo>
                  <a:cubicBezTo>
                    <a:pt x="0" y="27"/>
                    <a:pt x="0" y="27"/>
                    <a:pt x="0" y="28"/>
                  </a:cubicBezTo>
                  <a:cubicBezTo>
                    <a:pt x="1" y="29"/>
                    <a:pt x="1" y="29"/>
                    <a:pt x="2" y="30"/>
                  </a:cubicBezTo>
                  <a:cubicBezTo>
                    <a:pt x="3" y="30"/>
                    <a:pt x="4" y="31"/>
                    <a:pt x="5" y="31"/>
                  </a:cubicBezTo>
                  <a:cubicBezTo>
                    <a:pt x="6" y="31"/>
                    <a:pt x="8" y="32"/>
                    <a:pt x="9" y="32"/>
                  </a:cubicBezTo>
                  <a:cubicBezTo>
                    <a:pt x="11" y="32"/>
                    <a:pt x="13" y="31"/>
                    <a:pt x="14" y="31"/>
                  </a:cubicBezTo>
                  <a:cubicBezTo>
                    <a:pt x="15" y="31"/>
                    <a:pt x="16" y="30"/>
                    <a:pt x="17" y="29"/>
                  </a:cubicBezTo>
                  <a:cubicBezTo>
                    <a:pt x="18" y="29"/>
                    <a:pt x="19" y="28"/>
                    <a:pt x="19" y="27"/>
                  </a:cubicBezTo>
                  <a:cubicBezTo>
                    <a:pt x="19" y="26"/>
                    <a:pt x="20" y="25"/>
                    <a:pt x="20" y="24"/>
                  </a:cubicBezTo>
                  <a:cubicBezTo>
                    <a:pt x="20" y="23"/>
                    <a:pt x="20" y="23"/>
                    <a:pt x="19" y="22"/>
                  </a:cubicBezTo>
                  <a:cubicBezTo>
                    <a:pt x="19" y="21"/>
                    <a:pt x="18" y="21"/>
                    <a:pt x="18" y="20"/>
                  </a:cubicBezTo>
                  <a:cubicBezTo>
                    <a:pt x="17" y="20"/>
                    <a:pt x="16" y="19"/>
                    <a:pt x="15" y="19"/>
                  </a:cubicBezTo>
                  <a:cubicBezTo>
                    <a:pt x="15" y="19"/>
                    <a:pt x="14" y="19"/>
                    <a:pt x="13" y="19"/>
                  </a:cubicBezTo>
                  <a:cubicBezTo>
                    <a:pt x="7" y="18"/>
                    <a:pt x="7" y="18"/>
                    <a:pt x="7" y="18"/>
                  </a:cubicBezTo>
                  <a:cubicBezTo>
                    <a:pt x="6" y="18"/>
                    <a:pt x="5" y="18"/>
                    <a:pt x="5" y="18"/>
                  </a:cubicBezTo>
                  <a:cubicBezTo>
                    <a:pt x="4" y="17"/>
                    <a:pt x="4" y="17"/>
                    <a:pt x="4" y="16"/>
                  </a:cubicBezTo>
                  <a:cubicBezTo>
                    <a:pt x="4" y="16"/>
                    <a:pt x="4" y="16"/>
                    <a:pt x="4" y="15"/>
                  </a:cubicBezTo>
                  <a:cubicBezTo>
                    <a:pt x="5" y="15"/>
                    <a:pt x="5" y="15"/>
                    <a:pt x="5" y="14"/>
                  </a:cubicBezTo>
                  <a:cubicBezTo>
                    <a:pt x="6" y="15"/>
                    <a:pt x="6" y="15"/>
                    <a:pt x="7" y="15"/>
                  </a:cubicBezTo>
                  <a:cubicBezTo>
                    <a:pt x="8" y="15"/>
                    <a:pt x="9" y="15"/>
                    <a:pt x="9" y="15"/>
                  </a:cubicBezTo>
                  <a:cubicBezTo>
                    <a:pt x="11" y="15"/>
                    <a:pt x="12" y="15"/>
                    <a:pt x="13" y="15"/>
                  </a:cubicBezTo>
                  <a:cubicBezTo>
                    <a:pt x="14" y="15"/>
                    <a:pt x="15" y="14"/>
                    <a:pt x="15" y="13"/>
                  </a:cubicBezTo>
                  <a:cubicBezTo>
                    <a:pt x="16" y="13"/>
                    <a:pt x="17" y="12"/>
                    <a:pt x="17" y="11"/>
                  </a:cubicBezTo>
                  <a:cubicBezTo>
                    <a:pt x="17" y="10"/>
                    <a:pt x="18" y="9"/>
                    <a:pt x="18" y="8"/>
                  </a:cubicBezTo>
                  <a:cubicBezTo>
                    <a:pt x="18" y="7"/>
                    <a:pt x="17" y="6"/>
                    <a:pt x="17" y="6"/>
                  </a:cubicBezTo>
                  <a:cubicBezTo>
                    <a:pt x="17" y="5"/>
                    <a:pt x="17" y="4"/>
                    <a:pt x="16" y="4"/>
                  </a:cubicBezTo>
                  <a:cubicBezTo>
                    <a:pt x="19" y="4"/>
                    <a:pt x="19" y="4"/>
                    <a:pt x="19" y="4"/>
                  </a:cubicBezTo>
                  <a:cubicBezTo>
                    <a:pt x="19" y="4"/>
                    <a:pt x="20" y="4"/>
                    <a:pt x="20" y="3"/>
                  </a:cubicBezTo>
                  <a:cubicBezTo>
                    <a:pt x="20" y="3"/>
                    <a:pt x="20" y="3"/>
                    <a:pt x="20" y="2"/>
                  </a:cubicBezTo>
                  <a:cubicBezTo>
                    <a:pt x="20" y="2"/>
                    <a:pt x="20" y="1"/>
                    <a:pt x="20" y="1"/>
                  </a:cubicBezTo>
                  <a:close/>
                  <a:moveTo>
                    <a:pt x="14" y="10"/>
                  </a:moveTo>
                  <a:cubicBezTo>
                    <a:pt x="13" y="10"/>
                    <a:pt x="13" y="11"/>
                    <a:pt x="13" y="11"/>
                  </a:cubicBezTo>
                  <a:cubicBezTo>
                    <a:pt x="12" y="12"/>
                    <a:pt x="12" y="12"/>
                    <a:pt x="11" y="12"/>
                  </a:cubicBezTo>
                  <a:cubicBezTo>
                    <a:pt x="11" y="12"/>
                    <a:pt x="10" y="12"/>
                    <a:pt x="9" y="12"/>
                  </a:cubicBezTo>
                  <a:cubicBezTo>
                    <a:pt x="8" y="12"/>
                    <a:pt x="7" y="12"/>
                    <a:pt x="6" y="11"/>
                  </a:cubicBezTo>
                  <a:cubicBezTo>
                    <a:pt x="5" y="10"/>
                    <a:pt x="5" y="9"/>
                    <a:pt x="5" y="8"/>
                  </a:cubicBezTo>
                  <a:cubicBezTo>
                    <a:pt x="5" y="7"/>
                    <a:pt x="5" y="7"/>
                    <a:pt x="5" y="6"/>
                  </a:cubicBezTo>
                  <a:cubicBezTo>
                    <a:pt x="5" y="6"/>
                    <a:pt x="6" y="5"/>
                    <a:pt x="6" y="5"/>
                  </a:cubicBezTo>
                  <a:cubicBezTo>
                    <a:pt x="6" y="4"/>
                    <a:pt x="7" y="4"/>
                    <a:pt x="7" y="4"/>
                  </a:cubicBezTo>
                  <a:cubicBezTo>
                    <a:pt x="8" y="3"/>
                    <a:pt x="9" y="3"/>
                    <a:pt x="9" y="3"/>
                  </a:cubicBezTo>
                  <a:cubicBezTo>
                    <a:pt x="11" y="3"/>
                    <a:pt x="12" y="4"/>
                    <a:pt x="13" y="4"/>
                  </a:cubicBezTo>
                  <a:cubicBezTo>
                    <a:pt x="13" y="5"/>
                    <a:pt x="14" y="6"/>
                    <a:pt x="14" y="8"/>
                  </a:cubicBezTo>
                  <a:cubicBezTo>
                    <a:pt x="14" y="8"/>
                    <a:pt x="14" y="9"/>
                    <a:pt x="14" y="10"/>
                  </a:cubicBezTo>
                  <a:close/>
                  <a:moveTo>
                    <a:pt x="16" y="26"/>
                  </a:moveTo>
                  <a:cubicBezTo>
                    <a:pt x="15" y="27"/>
                    <a:pt x="15" y="27"/>
                    <a:pt x="14" y="27"/>
                  </a:cubicBezTo>
                  <a:cubicBezTo>
                    <a:pt x="14" y="28"/>
                    <a:pt x="13" y="28"/>
                    <a:pt x="13" y="28"/>
                  </a:cubicBezTo>
                  <a:cubicBezTo>
                    <a:pt x="12" y="28"/>
                    <a:pt x="11" y="29"/>
                    <a:pt x="10" y="29"/>
                  </a:cubicBezTo>
                  <a:cubicBezTo>
                    <a:pt x="8" y="29"/>
                    <a:pt x="6" y="28"/>
                    <a:pt x="5" y="28"/>
                  </a:cubicBezTo>
                  <a:cubicBezTo>
                    <a:pt x="4" y="27"/>
                    <a:pt x="4" y="27"/>
                    <a:pt x="4" y="26"/>
                  </a:cubicBezTo>
                  <a:cubicBezTo>
                    <a:pt x="4" y="25"/>
                    <a:pt x="4" y="25"/>
                    <a:pt x="4" y="25"/>
                  </a:cubicBezTo>
                  <a:cubicBezTo>
                    <a:pt x="4" y="24"/>
                    <a:pt x="4" y="24"/>
                    <a:pt x="4" y="24"/>
                  </a:cubicBezTo>
                  <a:cubicBezTo>
                    <a:pt x="4" y="23"/>
                    <a:pt x="5" y="23"/>
                    <a:pt x="5" y="23"/>
                  </a:cubicBezTo>
                  <a:cubicBezTo>
                    <a:pt x="5" y="22"/>
                    <a:pt x="6" y="22"/>
                    <a:pt x="6" y="21"/>
                  </a:cubicBezTo>
                  <a:cubicBezTo>
                    <a:pt x="12" y="22"/>
                    <a:pt x="12" y="22"/>
                    <a:pt x="12" y="22"/>
                  </a:cubicBezTo>
                  <a:cubicBezTo>
                    <a:pt x="13" y="22"/>
                    <a:pt x="14" y="22"/>
                    <a:pt x="15" y="22"/>
                  </a:cubicBezTo>
                  <a:cubicBezTo>
                    <a:pt x="15" y="23"/>
                    <a:pt x="16" y="24"/>
                    <a:pt x="16" y="25"/>
                  </a:cubicBezTo>
                  <a:cubicBezTo>
                    <a:pt x="16" y="25"/>
                    <a:pt x="16" y="26"/>
                    <a:pt x="16" y="26"/>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137">
              <a:extLst>
                <a:ext uri="{FF2B5EF4-FFF2-40B4-BE49-F238E27FC236}">
                  <a16:creationId xmlns:a16="http://schemas.microsoft.com/office/drawing/2014/main" id="{9983C00B-E410-43A1-A263-579D37A65AD9}"/>
                </a:ext>
              </a:extLst>
            </p:cNvPr>
            <p:cNvSpPr>
              <a:spLocks noEditPoints="1"/>
            </p:cNvSpPr>
            <p:nvPr/>
          </p:nvSpPr>
          <p:spPr bwMode="auto">
            <a:xfrm>
              <a:off x="8276305" y="6288127"/>
              <a:ext cx="17315" cy="106776"/>
            </a:xfrm>
            <a:custGeom>
              <a:avLst/>
              <a:gdLst>
                <a:gd name="T0" fmla="*/ 5 w 5"/>
                <a:gd name="T1" fmla="*/ 9 h 31"/>
                <a:gd name="T2" fmla="*/ 5 w 5"/>
                <a:gd name="T3" fmla="*/ 9 h 31"/>
                <a:gd name="T4" fmla="*/ 4 w 5"/>
                <a:gd name="T5" fmla="*/ 9 h 31"/>
                <a:gd name="T6" fmla="*/ 4 w 5"/>
                <a:gd name="T7" fmla="*/ 9 h 31"/>
                <a:gd name="T8" fmla="*/ 3 w 5"/>
                <a:gd name="T9" fmla="*/ 9 h 31"/>
                <a:gd name="T10" fmla="*/ 2 w 5"/>
                <a:gd name="T11" fmla="*/ 9 h 31"/>
                <a:gd name="T12" fmla="*/ 1 w 5"/>
                <a:gd name="T13" fmla="*/ 9 h 31"/>
                <a:gd name="T14" fmla="*/ 1 w 5"/>
                <a:gd name="T15" fmla="*/ 9 h 31"/>
                <a:gd name="T16" fmla="*/ 1 w 5"/>
                <a:gd name="T17" fmla="*/ 9 h 31"/>
                <a:gd name="T18" fmla="*/ 1 w 5"/>
                <a:gd name="T19" fmla="*/ 30 h 31"/>
                <a:gd name="T20" fmla="*/ 1 w 5"/>
                <a:gd name="T21" fmla="*/ 31 h 31"/>
                <a:gd name="T22" fmla="*/ 1 w 5"/>
                <a:gd name="T23" fmla="*/ 31 h 31"/>
                <a:gd name="T24" fmla="*/ 2 w 5"/>
                <a:gd name="T25" fmla="*/ 31 h 31"/>
                <a:gd name="T26" fmla="*/ 3 w 5"/>
                <a:gd name="T27" fmla="*/ 31 h 31"/>
                <a:gd name="T28" fmla="*/ 4 w 5"/>
                <a:gd name="T29" fmla="*/ 31 h 31"/>
                <a:gd name="T30" fmla="*/ 4 w 5"/>
                <a:gd name="T31" fmla="*/ 31 h 31"/>
                <a:gd name="T32" fmla="*/ 5 w 5"/>
                <a:gd name="T33" fmla="*/ 31 h 31"/>
                <a:gd name="T34" fmla="*/ 5 w 5"/>
                <a:gd name="T35" fmla="*/ 30 h 31"/>
                <a:gd name="T36" fmla="*/ 5 w 5"/>
                <a:gd name="T37" fmla="*/ 9 h 31"/>
                <a:gd name="T38" fmla="*/ 5 w 5"/>
                <a:gd name="T39" fmla="*/ 0 h 31"/>
                <a:gd name="T40" fmla="*/ 3 w 5"/>
                <a:gd name="T41" fmla="*/ 0 h 31"/>
                <a:gd name="T42" fmla="*/ 1 w 5"/>
                <a:gd name="T43" fmla="*/ 0 h 31"/>
                <a:gd name="T44" fmla="*/ 0 w 5"/>
                <a:gd name="T45" fmla="*/ 2 h 31"/>
                <a:gd name="T46" fmla="*/ 1 w 5"/>
                <a:gd name="T47" fmla="*/ 4 h 31"/>
                <a:gd name="T48" fmla="*/ 3 w 5"/>
                <a:gd name="T49" fmla="*/ 5 h 31"/>
                <a:gd name="T50" fmla="*/ 5 w 5"/>
                <a:gd name="T51" fmla="*/ 4 h 31"/>
                <a:gd name="T52" fmla="*/ 5 w 5"/>
                <a:gd name="T53" fmla="*/ 2 h 31"/>
                <a:gd name="T54" fmla="*/ 5 w 5"/>
                <a:gd name="T5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5" y="9"/>
                  </a:moveTo>
                  <a:cubicBezTo>
                    <a:pt x="5" y="9"/>
                    <a:pt x="5" y="9"/>
                    <a:pt x="5" y="9"/>
                  </a:cubicBezTo>
                  <a:cubicBezTo>
                    <a:pt x="5" y="9"/>
                    <a:pt x="5" y="9"/>
                    <a:pt x="4" y="9"/>
                  </a:cubicBezTo>
                  <a:cubicBezTo>
                    <a:pt x="4" y="9"/>
                    <a:pt x="4" y="9"/>
                    <a:pt x="4" y="9"/>
                  </a:cubicBezTo>
                  <a:cubicBezTo>
                    <a:pt x="4" y="9"/>
                    <a:pt x="3" y="9"/>
                    <a:pt x="3" y="9"/>
                  </a:cubicBezTo>
                  <a:cubicBezTo>
                    <a:pt x="2" y="9"/>
                    <a:pt x="2" y="9"/>
                    <a:pt x="2" y="9"/>
                  </a:cubicBezTo>
                  <a:cubicBezTo>
                    <a:pt x="2" y="9"/>
                    <a:pt x="1" y="9"/>
                    <a:pt x="1" y="9"/>
                  </a:cubicBezTo>
                  <a:cubicBezTo>
                    <a:pt x="1" y="9"/>
                    <a:pt x="1" y="9"/>
                    <a:pt x="1" y="9"/>
                  </a:cubicBezTo>
                  <a:cubicBezTo>
                    <a:pt x="1" y="9"/>
                    <a:pt x="1" y="9"/>
                    <a:pt x="1" y="9"/>
                  </a:cubicBezTo>
                  <a:cubicBezTo>
                    <a:pt x="1" y="30"/>
                    <a:pt x="1" y="30"/>
                    <a:pt x="1" y="30"/>
                  </a:cubicBezTo>
                  <a:cubicBezTo>
                    <a:pt x="1" y="31"/>
                    <a:pt x="1" y="31"/>
                    <a:pt x="1" y="31"/>
                  </a:cubicBezTo>
                  <a:cubicBezTo>
                    <a:pt x="1" y="31"/>
                    <a:pt x="1" y="31"/>
                    <a:pt x="1" y="31"/>
                  </a:cubicBezTo>
                  <a:cubicBezTo>
                    <a:pt x="1" y="31"/>
                    <a:pt x="2" y="31"/>
                    <a:pt x="2" y="31"/>
                  </a:cubicBezTo>
                  <a:cubicBezTo>
                    <a:pt x="2" y="31"/>
                    <a:pt x="2" y="31"/>
                    <a:pt x="3" y="31"/>
                  </a:cubicBezTo>
                  <a:cubicBezTo>
                    <a:pt x="3" y="31"/>
                    <a:pt x="4" y="31"/>
                    <a:pt x="4" y="31"/>
                  </a:cubicBezTo>
                  <a:cubicBezTo>
                    <a:pt x="4" y="31"/>
                    <a:pt x="4" y="31"/>
                    <a:pt x="4" y="31"/>
                  </a:cubicBezTo>
                  <a:cubicBezTo>
                    <a:pt x="5" y="31"/>
                    <a:pt x="5" y="31"/>
                    <a:pt x="5" y="31"/>
                  </a:cubicBezTo>
                  <a:cubicBezTo>
                    <a:pt x="5" y="31"/>
                    <a:pt x="5" y="31"/>
                    <a:pt x="5" y="30"/>
                  </a:cubicBezTo>
                  <a:cubicBezTo>
                    <a:pt x="5" y="9"/>
                    <a:pt x="5" y="9"/>
                    <a:pt x="5" y="9"/>
                  </a:cubicBezTo>
                  <a:close/>
                  <a:moveTo>
                    <a:pt x="5" y="0"/>
                  </a:moveTo>
                  <a:cubicBezTo>
                    <a:pt x="4" y="0"/>
                    <a:pt x="4" y="0"/>
                    <a:pt x="3" y="0"/>
                  </a:cubicBezTo>
                  <a:cubicBezTo>
                    <a:pt x="2" y="0"/>
                    <a:pt x="1" y="0"/>
                    <a:pt x="1" y="0"/>
                  </a:cubicBezTo>
                  <a:cubicBezTo>
                    <a:pt x="1" y="1"/>
                    <a:pt x="0" y="1"/>
                    <a:pt x="0" y="2"/>
                  </a:cubicBezTo>
                  <a:cubicBezTo>
                    <a:pt x="0" y="3"/>
                    <a:pt x="1" y="4"/>
                    <a:pt x="1" y="4"/>
                  </a:cubicBezTo>
                  <a:cubicBezTo>
                    <a:pt x="1" y="4"/>
                    <a:pt x="2" y="5"/>
                    <a:pt x="3" y="5"/>
                  </a:cubicBezTo>
                  <a:cubicBezTo>
                    <a:pt x="4" y="5"/>
                    <a:pt x="4" y="4"/>
                    <a:pt x="5" y="4"/>
                  </a:cubicBezTo>
                  <a:cubicBezTo>
                    <a:pt x="5" y="4"/>
                    <a:pt x="5" y="3"/>
                    <a:pt x="5" y="2"/>
                  </a:cubicBezTo>
                  <a:cubicBezTo>
                    <a:pt x="5" y="1"/>
                    <a:pt x="5" y="1"/>
                    <a:pt x="5"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138">
              <a:extLst>
                <a:ext uri="{FF2B5EF4-FFF2-40B4-BE49-F238E27FC236}">
                  <a16:creationId xmlns:a16="http://schemas.microsoft.com/office/drawing/2014/main" id="{0ED86D9D-BC96-4871-9BC1-02D5BE34C567}"/>
                </a:ext>
              </a:extLst>
            </p:cNvPr>
            <p:cNvSpPr>
              <a:spLocks/>
            </p:cNvSpPr>
            <p:nvPr/>
          </p:nvSpPr>
          <p:spPr bwMode="auto">
            <a:xfrm>
              <a:off x="8308049" y="6298228"/>
              <a:ext cx="47617" cy="96676"/>
            </a:xfrm>
            <a:custGeom>
              <a:avLst/>
              <a:gdLst>
                <a:gd name="T0" fmla="*/ 14 w 14"/>
                <a:gd name="T1" fmla="*/ 25 h 28"/>
                <a:gd name="T2" fmla="*/ 14 w 14"/>
                <a:gd name="T3" fmla="*/ 25 h 28"/>
                <a:gd name="T4" fmla="*/ 14 w 14"/>
                <a:gd name="T5" fmla="*/ 25 h 28"/>
                <a:gd name="T6" fmla="*/ 13 w 14"/>
                <a:gd name="T7" fmla="*/ 24 h 28"/>
                <a:gd name="T8" fmla="*/ 13 w 14"/>
                <a:gd name="T9" fmla="*/ 25 h 28"/>
                <a:gd name="T10" fmla="*/ 12 w 14"/>
                <a:gd name="T11" fmla="*/ 25 h 28"/>
                <a:gd name="T12" fmla="*/ 12 w 14"/>
                <a:gd name="T13" fmla="*/ 25 h 28"/>
                <a:gd name="T14" fmla="*/ 11 w 14"/>
                <a:gd name="T15" fmla="*/ 25 h 28"/>
                <a:gd name="T16" fmla="*/ 8 w 14"/>
                <a:gd name="T17" fmla="*/ 24 h 28"/>
                <a:gd name="T18" fmla="*/ 8 w 14"/>
                <a:gd name="T19" fmla="*/ 21 h 28"/>
                <a:gd name="T20" fmla="*/ 8 w 14"/>
                <a:gd name="T21" fmla="*/ 9 h 28"/>
                <a:gd name="T22" fmla="*/ 13 w 14"/>
                <a:gd name="T23" fmla="*/ 9 h 28"/>
                <a:gd name="T24" fmla="*/ 14 w 14"/>
                <a:gd name="T25" fmla="*/ 9 h 28"/>
                <a:gd name="T26" fmla="*/ 14 w 14"/>
                <a:gd name="T27" fmla="*/ 7 h 28"/>
                <a:gd name="T28" fmla="*/ 14 w 14"/>
                <a:gd name="T29" fmla="*/ 7 h 28"/>
                <a:gd name="T30" fmla="*/ 14 w 14"/>
                <a:gd name="T31" fmla="*/ 6 h 28"/>
                <a:gd name="T32" fmla="*/ 13 w 14"/>
                <a:gd name="T33" fmla="*/ 6 h 28"/>
                <a:gd name="T34" fmla="*/ 13 w 14"/>
                <a:gd name="T35" fmla="*/ 6 h 28"/>
                <a:gd name="T36" fmla="*/ 8 w 14"/>
                <a:gd name="T37" fmla="*/ 6 h 28"/>
                <a:gd name="T38" fmla="*/ 8 w 14"/>
                <a:gd name="T39" fmla="*/ 1 h 28"/>
                <a:gd name="T40" fmla="*/ 8 w 14"/>
                <a:gd name="T41" fmla="*/ 0 h 28"/>
                <a:gd name="T42" fmla="*/ 7 w 14"/>
                <a:gd name="T43" fmla="*/ 0 h 28"/>
                <a:gd name="T44" fmla="*/ 7 w 14"/>
                <a:gd name="T45" fmla="*/ 0 h 28"/>
                <a:gd name="T46" fmla="*/ 6 w 14"/>
                <a:gd name="T47" fmla="*/ 0 h 28"/>
                <a:gd name="T48" fmla="*/ 5 w 14"/>
                <a:gd name="T49" fmla="*/ 0 h 28"/>
                <a:gd name="T50" fmla="*/ 4 w 14"/>
                <a:gd name="T51" fmla="*/ 0 h 28"/>
                <a:gd name="T52" fmla="*/ 4 w 14"/>
                <a:gd name="T53" fmla="*/ 0 h 28"/>
                <a:gd name="T54" fmla="*/ 4 w 14"/>
                <a:gd name="T55" fmla="*/ 1 h 28"/>
                <a:gd name="T56" fmla="*/ 4 w 14"/>
                <a:gd name="T57" fmla="*/ 6 h 28"/>
                <a:gd name="T58" fmla="*/ 1 w 14"/>
                <a:gd name="T59" fmla="*/ 6 h 28"/>
                <a:gd name="T60" fmla="*/ 1 w 14"/>
                <a:gd name="T61" fmla="*/ 6 h 28"/>
                <a:gd name="T62" fmla="*/ 0 w 14"/>
                <a:gd name="T63" fmla="*/ 6 h 28"/>
                <a:gd name="T64" fmla="*/ 0 w 14"/>
                <a:gd name="T65" fmla="*/ 7 h 28"/>
                <a:gd name="T66" fmla="*/ 0 w 14"/>
                <a:gd name="T67" fmla="*/ 7 h 28"/>
                <a:gd name="T68" fmla="*/ 0 w 14"/>
                <a:gd name="T69" fmla="*/ 9 h 28"/>
                <a:gd name="T70" fmla="*/ 1 w 14"/>
                <a:gd name="T71" fmla="*/ 9 h 28"/>
                <a:gd name="T72" fmla="*/ 4 w 14"/>
                <a:gd name="T73" fmla="*/ 9 h 28"/>
                <a:gd name="T74" fmla="*/ 4 w 14"/>
                <a:gd name="T75" fmla="*/ 21 h 28"/>
                <a:gd name="T76" fmla="*/ 4 w 14"/>
                <a:gd name="T77" fmla="*/ 24 h 28"/>
                <a:gd name="T78" fmla="*/ 5 w 14"/>
                <a:gd name="T79" fmla="*/ 27 h 28"/>
                <a:gd name="T80" fmla="*/ 7 w 14"/>
                <a:gd name="T81" fmla="*/ 28 h 28"/>
                <a:gd name="T82" fmla="*/ 10 w 14"/>
                <a:gd name="T83" fmla="*/ 28 h 28"/>
                <a:gd name="T84" fmla="*/ 11 w 14"/>
                <a:gd name="T85" fmla="*/ 28 h 28"/>
                <a:gd name="T86" fmla="*/ 12 w 14"/>
                <a:gd name="T87" fmla="*/ 28 h 28"/>
                <a:gd name="T88" fmla="*/ 13 w 14"/>
                <a:gd name="T89" fmla="*/ 28 h 28"/>
                <a:gd name="T90" fmla="*/ 14 w 14"/>
                <a:gd name="T91" fmla="*/ 28 h 28"/>
                <a:gd name="T92" fmla="*/ 14 w 14"/>
                <a:gd name="T93" fmla="*/ 27 h 28"/>
                <a:gd name="T94" fmla="*/ 14 w 14"/>
                <a:gd name="T95" fmla="*/ 26 h 28"/>
                <a:gd name="T96" fmla="*/ 14 w 14"/>
                <a:gd name="T9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 h="28">
                  <a:moveTo>
                    <a:pt x="14" y="25"/>
                  </a:moveTo>
                  <a:cubicBezTo>
                    <a:pt x="14" y="25"/>
                    <a:pt x="14" y="25"/>
                    <a:pt x="14" y="25"/>
                  </a:cubicBezTo>
                  <a:cubicBezTo>
                    <a:pt x="14" y="25"/>
                    <a:pt x="14" y="25"/>
                    <a:pt x="14" y="25"/>
                  </a:cubicBezTo>
                  <a:cubicBezTo>
                    <a:pt x="14" y="24"/>
                    <a:pt x="13" y="24"/>
                    <a:pt x="13" y="24"/>
                  </a:cubicBezTo>
                  <a:cubicBezTo>
                    <a:pt x="13" y="24"/>
                    <a:pt x="13" y="24"/>
                    <a:pt x="13" y="25"/>
                  </a:cubicBezTo>
                  <a:cubicBezTo>
                    <a:pt x="13" y="25"/>
                    <a:pt x="13" y="25"/>
                    <a:pt x="12" y="25"/>
                  </a:cubicBezTo>
                  <a:cubicBezTo>
                    <a:pt x="12" y="25"/>
                    <a:pt x="12" y="25"/>
                    <a:pt x="12" y="25"/>
                  </a:cubicBezTo>
                  <a:cubicBezTo>
                    <a:pt x="11" y="25"/>
                    <a:pt x="11" y="25"/>
                    <a:pt x="11" y="25"/>
                  </a:cubicBezTo>
                  <a:cubicBezTo>
                    <a:pt x="10" y="25"/>
                    <a:pt x="9" y="25"/>
                    <a:pt x="8" y="24"/>
                  </a:cubicBezTo>
                  <a:cubicBezTo>
                    <a:pt x="8" y="23"/>
                    <a:pt x="8" y="22"/>
                    <a:pt x="8" y="21"/>
                  </a:cubicBezTo>
                  <a:cubicBezTo>
                    <a:pt x="8" y="9"/>
                    <a:pt x="8" y="9"/>
                    <a:pt x="8" y="9"/>
                  </a:cubicBezTo>
                  <a:cubicBezTo>
                    <a:pt x="13" y="9"/>
                    <a:pt x="13" y="9"/>
                    <a:pt x="13" y="9"/>
                  </a:cubicBezTo>
                  <a:cubicBezTo>
                    <a:pt x="13" y="9"/>
                    <a:pt x="14" y="9"/>
                    <a:pt x="14" y="9"/>
                  </a:cubicBezTo>
                  <a:cubicBezTo>
                    <a:pt x="14" y="8"/>
                    <a:pt x="14" y="8"/>
                    <a:pt x="14" y="7"/>
                  </a:cubicBezTo>
                  <a:cubicBezTo>
                    <a:pt x="14" y="7"/>
                    <a:pt x="14" y="7"/>
                    <a:pt x="14" y="7"/>
                  </a:cubicBezTo>
                  <a:cubicBezTo>
                    <a:pt x="14" y="6"/>
                    <a:pt x="14" y="6"/>
                    <a:pt x="14" y="6"/>
                  </a:cubicBezTo>
                  <a:cubicBezTo>
                    <a:pt x="14" y="6"/>
                    <a:pt x="14" y="6"/>
                    <a:pt x="13" y="6"/>
                  </a:cubicBezTo>
                  <a:cubicBezTo>
                    <a:pt x="13" y="6"/>
                    <a:pt x="13" y="6"/>
                    <a:pt x="13" y="6"/>
                  </a:cubicBezTo>
                  <a:cubicBezTo>
                    <a:pt x="8" y="6"/>
                    <a:pt x="8" y="6"/>
                    <a:pt x="8" y="6"/>
                  </a:cubicBezTo>
                  <a:cubicBezTo>
                    <a:pt x="8" y="1"/>
                    <a:pt x="8" y="1"/>
                    <a:pt x="8" y="1"/>
                  </a:cubicBezTo>
                  <a:cubicBezTo>
                    <a:pt x="8" y="1"/>
                    <a:pt x="8" y="0"/>
                    <a:pt x="8" y="0"/>
                  </a:cubicBezTo>
                  <a:cubicBezTo>
                    <a:pt x="8" y="0"/>
                    <a:pt x="7" y="0"/>
                    <a:pt x="7" y="0"/>
                  </a:cubicBezTo>
                  <a:cubicBezTo>
                    <a:pt x="7" y="0"/>
                    <a:pt x="7" y="0"/>
                    <a:pt x="7" y="0"/>
                  </a:cubicBezTo>
                  <a:cubicBezTo>
                    <a:pt x="6" y="0"/>
                    <a:pt x="6" y="0"/>
                    <a:pt x="6" y="0"/>
                  </a:cubicBezTo>
                  <a:cubicBezTo>
                    <a:pt x="5" y="0"/>
                    <a:pt x="5" y="0"/>
                    <a:pt x="5" y="0"/>
                  </a:cubicBezTo>
                  <a:cubicBezTo>
                    <a:pt x="5" y="0"/>
                    <a:pt x="4" y="0"/>
                    <a:pt x="4" y="0"/>
                  </a:cubicBezTo>
                  <a:cubicBezTo>
                    <a:pt x="4" y="0"/>
                    <a:pt x="4" y="0"/>
                    <a:pt x="4" y="0"/>
                  </a:cubicBezTo>
                  <a:cubicBezTo>
                    <a:pt x="4" y="0"/>
                    <a:pt x="4" y="1"/>
                    <a:pt x="4" y="1"/>
                  </a:cubicBezTo>
                  <a:cubicBezTo>
                    <a:pt x="4" y="6"/>
                    <a:pt x="4" y="6"/>
                    <a:pt x="4" y="6"/>
                  </a:cubicBezTo>
                  <a:cubicBezTo>
                    <a:pt x="1" y="6"/>
                    <a:pt x="1" y="6"/>
                    <a:pt x="1" y="6"/>
                  </a:cubicBezTo>
                  <a:cubicBezTo>
                    <a:pt x="1" y="6"/>
                    <a:pt x="1" y="6"/>
                    <a:pt x="1" y="6"/>
                  </a:cubicBezTo>
                  <a:cubicBezTo>
                    <a:pt x="0" y="6"/>
                    <a:pt x="0" y="6"/>
                    <a:pt x="0" y="6"/>
                  </a:cubicBezTo>
                  <a:cubicBezTo>
                    <a:pt x="0" y="6"/>
                    <a:pt x="0" y="6"/>
                    <a:pt x="0" y="7"/>
                  </a:cubicBezTo>
                  <a:cubicBezTo>
                    <a:pt x="0" y="7"/>
                    <a:pt x="0" y="7"/>
                    <a:pt x="0" y="7"/>
                  </a:cubicBezTo>
                  <a:cubicBezTo>
                    <a:pt x="0" y="8"/>
                    <a:pt x="0" y="8"/>
                    <a:pt x="0" y="9"/>
                  </a:cubicBezTo>
                  <a:cubicBezTo>
                    <a:pt x="0" y="9"/>
                    <a:pt x="1" y="9"/>
                    <a:pt x="1" y="9"/>
                  </a:cubicBezTo>
                  <a:cubicBezTo>
                    <a:pt x="4" y="9"/>
                    <a:pt x="4" y="9"/>
                    <a:pt x="4" y="9"/>
                  </a:cubicBezTo>
                  <a:cubicBezTo>
                    <a:pt x="4" y="21"/>
                    <a:pt x="4" y="21"/>
                    <a:pt x="4" y="21"/>
                  </a:cubicBezTo>
                  <a:cubicBezTo>
                    <a:pt x="4" y="22"/>
                    <a:pt x="4" y="24"/>
                    <a:pt x="4" y="24"/>
                  </a:cubicBezTo>
                  <a:cubicBezTo>
                    <a:pt x="4" y="25"/>
                    <a:pt x="5" y="26"/>
                    <a:pt x="5" y="27"/>
                  </a:cubicBezTo>
                  <a:cubicBezTo>
                    <a:pt x="6" y="27"/>
                    <a:pt x="6" y="28"/>
                    <a:pt x="7" y="28"/>
                  </a:cubicBezTo>
                  <a:cubicBezTo>
                    <a:pt x="8" y="28"/>
                    <a:pt x="9" y="28"/>
                    <a:pt x="10" y="28"/>
                  </a:cubicBezTo>
                  <a:cubicBezTo>
                    <a:pt x="10" y="28"/>
                    <a:pt x="11" y="28"/>
                    <a:pt x="11" y="28"/>
                  </a:cubicBezTo>
                  <a:cubicBezTo>
                    <a:pt x="11" y="28"/>
                    <a:pt x="12" y="28"/>
                    <a:pt x="12" y="28"/>
                  </a:cubicBezTo>
                  <a:cubicBezTo>
                    <a:pt x="12" y="28"/>
                    <a:pt x="13" y="28"/>
                    <a:pt x="13" y="28"/>
                  </a:cubicBezTo>
                  <a:cubicBezTo>
                    <a:pt x="13" y="28"/>
                    <a:pt x="13" y="28"/>
                    <a:pt x="14" y="28"/>
                  </a:cubicBezTo>
                  <a:cubicBezTo>
                    <a:pt x="14" y="27"/>
                    <a:pt x="14" y="27"/>
                    <a:pt x="14" y="27"/>
                  </a:cubicBezTo>
                  <a:cubicBezTo>
                    <a:pt x="14" y="27"/>
                    <a:pt x="14" y="26"/>
                    <a:pt x="14" y="26"/>
                  </a:cubicBezTo>
                  <a:cubicBezTo>
                    <a:pt x="14" y="26"/>
                    <a:pt x="14" y="25"/>
                    <a:pt x="14" y="25"/>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139">
              <a:extLst>
                <a:ext uri="{FF2B5EF4-FFF2-40B4-BE49-F238E27FC236}">
                  <a16:creationId xmlns:a16="http://schemas.microsoft.com/office/drawing/2014/main" id="{F9825D49-2A9B-48E8-B3D9-26E656A4B7F5}"/>
                </a:ext>
              </a:extLst>
            </p:cNvPr>
            <p:cNvSpPr>
              <a:spLocks noEditPoints="1"/>
            </p:cNvSpPr>
            <p:nvPr/>
          </p:nvSpPr>
          <p:spPr bwMode="auto">
            <a:xfrm>
              <a:off x="8365766" y="6315543"/>
              <a:ext cx="62046" cy="79361"/>
            </a:xfrm>
            <a:custGeom>
              <a:avLst/>
              <a:gdLst>
                <a:gd name="T0" fmla="*/ 18 w 18"/>
                <a:gd name="T1" fmla="*/ 8 h 23"/>
                <a:gd name="T2" fmla="*/ 17 w 18"/>
                <a:gd name="T3" fmla="*/ 5 h 23"/>
                <a:gd name="T4" fmla="*/ 16 w 18"/>
                <a:gd name="T5" fmla="*/ 2 h 23"/>
                <a:gd name="T6" fmla="*/ 13 w 18"/>
                <a:gd name="T7" fmla="*/ 1 h 23"/>
                <a:gd name="T8" fmla="*/ 9 w 18"/>
                <a:gd name="T9" fmla="*/ 0 h 23"/>
                <a:gd name="T10" fmla="*/ 7 w 18"/>
                <a:gd name="T11" fmla="*/ 0 h 23"/>
                <a:gd name="T12" fmla="*/ 5 w 18"/>
                <a:gd name="T13" fmla="*/ 1 h 23"/>
                <a:gd name="T14" fmla="*/ 3 w 18"/>
                <a:gd name="T15" fmla="*/ 2 h 23"/>
                <a:gd name="T16" fmla="*/ 2 w 18"/>
                <a:gd name="T17" fmla="*/ 3 h 23"/>
                <a:gd name="T18" fmla="*/ 1 w 18"/>
                <a:gd name="T19" fmla="*/ 3 h 23"/>
                <a:gd name="T20" fmla="*/ 1 w 18"/>
                <a:gd name="T21" fmla="*/ 4 h 23"/>
                <a:gd name="T22" fmla="*/ 1 w 18"/>
                <a:gd name="T23" fmla="*/ 5 h 23"/>
                <a:gd name="T24" fmla="*/ 2 w 18"/>
                <a:gd name="T25" fmla="*/ 5 h 23"/>
                <a:gd name="T26" fmla="*/ 2 w 18"/>
                <a:gd name="T27" fmla="*/ 6 h 23"/>
                <a:gd name="T28" fmla="*/ 2 w 18"/>
                <a:gd name="T29" fmla="*/ 6 h 23"/>
                <a:gd name="T30" fmla="*/ 3 w 18"/>
                <a:gd name="T31" fmla="*/ 5 h 23"/>
                <a:gd name="T32" fmla="*/ 4 w 18"/>
                <a:gd name="T33" fmla="*/ 5 h 23"/>
                <a:gd name="T34" fmla="*/ 6 w 18"/>
                <a:gd name="T35" fmla="*/ 4 h 23"/>
                <a:gd name="T36" fmla="*/ 9 w 18"/>
                <a:gd name="T37" fmla="*/ 3 h 23"/>
                <a:gd name="T38" fmla="*/ 11 w 18"/>
                <a:gd name="T39" fmla="*/ 4 h 23"/>
                <a:gd name="T40" fmla="*/ 13 w 18"/>
                <a:gd name="T41" fmla="*/ 5 h 23"/>
                <a:gd name="T42" fmla="*/ 14 w 18"/>
                <a:gd name="T43" fmla="*/ 6 h 23"/>
                <a:gd name="T44" fmla="*/ 14 w 18"/>
                <a:gd name="T45" fmla="*/ 8 h 23"/>
                <a:gd name="T46" fmla="*/ 14 w 18"/>
                <a:gd name="T47" fmla="*/ 10 h 23"/>
                <a:gd name="T48" fmla="*/ 11 w 18"/>
                <a:gd name="T49" fmla="*/ 10 h 23"/>
                <a:gd name="T50" fmla="*/ 7 w 18"/>
                <a:gd name="T51" fmla="*/ 10 h 23"/>
                <a:gd name="T52" fmla="*/ 3 w 18"/>
                <a:gd name="T53" fmla="*/ 12 h 23"/>
                <a:gd name="T54" fmla="*/ 1 w 18"/>
                <a:gd name="T55" fmla="*/ 14 h 23"/>
                <a:gd name="T56" fmla="*/ 0 w 18"/>
                <a:gd name="T57" fmla="*/ 17 h 23"/>
                <a:gd name="T58" fmla="*/ 1 w 18"/>
                <a:gd name="T59" fmla="*/ 20 h 23"/>
                <a:gd name="T60" fmla="*/ 2 w 18"/>
                <a:gd name="T61" fmla="*/ 22 h 23"/>
                <a:gd name="T62" fmla="*/ 5 w 18"/>
                <a:gd name="T63" fmla="*/ 23 h 23"/>
                <a:gd name="T64" fmla="*/ 8 w 18"/>
                <a:gd name="T65" fmla="*/ 23 h 23"/>
                <a:gd name="T66" fmla="*/ 11 w 18"/>
                <a:gd name="T67" fmla="*/ 23 h 23"/>
                <a:gd name="T68" fmla="*/ 14 w 18"/>
                <a:gd name="T69" fmla="*/ 20 h 23"/>
                <a:gd name="T70" fmla="*/ 14 w 18"/>
                <a:gd name="T71" fmla="*/ 22 h 23"/>
                <a:gd name="T72" fmla="*/ 15 w 18"/>
                <a:gd name="T73" fmla="*/ 23 h 23"/>
                <a:gd name="T74" fmla="*/ 15 w 18"/>
                <a:gd name="T75" fmla="*/ 23 h 23"/>
                <a:gd name="T76" fmla="*/ 16 w 18"/>
                <a:gd name="T77" fmla="*/ 23 h 23"/>
                <a:gd name="T78" fmla="*/ 17 w 18"/>
                <a:gd name="T79" fmla="*/ 23 h 23"/>
                <a:gd name="T80" fmla="*/ 18 w 18"/>
                <a:gd name="T81" fmla="*/ 23 h 23"/>
                <a:gd name="T82" fmla="*/ 18 w 18"/>
                <a:gd name="T83" fmla="*/ 22 h 23"/>
                <a:gd name="T84" fmla="*/ 18 w 18"/>
                <a:gd name="T85" fmla="*/ 8 h 23"/>
                <a:gd name="T86" fmla="*/ 14 w 18"/>
                <a:gd name="T87" fmla="*/ 17 h 23"/>
                <a:gd name="T88" fmla="*/ 11 w 18"/>
                <a:gd name="T89" fmla="*/ 20 h 23"/>
                <a:gd name="T90" fmla="*/ 8 w 18"/>
                <a:gd name="T91" fmla="*/ 20 h 23"/>
                <a:gd name="T92" fmla="*/ 5 w 18"/>
                <a:gd name="T93" fmla="*/ 19 h 23"/>
                <a:gd name="T94" fmla="*/ 4 w 18"/>
                <a:gd name="T95" fmla="*/ 17 h 23"/>
                <a:gd name="T96" fmla="*/ 5 w 18"/>
                <a:gd name="T97" fmla="*/ 15 h 23"/>
                <a:gd name="T98" fmla="*/ 6 w 18"/>
                <a:gd name="T99" fmla="*/ 14 h 23"/>
                <a:gd name="T100" fmla="*/ 8 w 18"/>
                <a:gd name="T101" fmla="*/ 13 h 23"/>
                <a:gd name="T102" fmla="*/ 11 w 18"/>
                <a:gd name="T103" fmla="*/ 13 h 23"/>
                <a:gd name="T104" fmla="*/ 14 w 18"/>
                <a:gd name="T105" fmla="*/ 13 h 23"/>
                <a:gd name="T106" fmla="*/ 14 w 18"/>
                <a:gd name="T10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 h="23">
                  <a:moveTo>
                    <a:pt x="18" y="8"/>
                  </a:moveTo>
                  <a:cubicBezTo>
                    <a:pt x="18" y="7"/>
                    <a:pt x="18" y="6"/>
                    <a:pt x="17" y="5"/>
                  </a:cubicBezTo>
                  <a:cubicBezTo>
                    <a:pt x="17" y="4"/>
                    <a:pt x="16" y="3"/>
                    <a:pt x="16" y="2"/>
                  </a:cubicBezTo>
                  <a:cubicBezTo>
                    <a:pt x="15" y="2"/>
                    <a:pt x="14" y="1"/>
                    <a:pt x="13" y="1"/>
                  </a:cubicBezTo>
                  <a:cubicBezTo>
                    <a:pt x="12" y="0"/>
                    <a:pt x="11" y="0"/>
                    <a:pt x="9" y="0"/>
                  </a:cubicBezTo>
                  <a:cubicBezTo>
                    <a:pt x="9" y="0"/>
                    <a:pt x="8" y="0"/>
                    <a:pt x="7" y="0"/>
                  </a:cubicBezTo>
                  <a:cubicBezTo>
                    <a:pt x="6" y="1"/>
                    <a:pt x="5" y="1"/>
                    <a:pt x="5" y="1"/>
                  </a:cubicBezTo>
                  <a:cubicBezTo>
                    <a:pt x="4" y="1"/>
                    <a:pt x="3" y="2"/>
                    <a:pt x="3" y="2"/>
                  </a:cubicBezTo>
                  <a:cubicBezTo>
                    <a:pt x="2" y="2"/>
                    <a:pt x="2" y="2"/>
                    <a:pt x="2" y="3"/>
                  </a:cubicBezTo>
                  <a:cubicBezTo>
                    <a:pt x="2" y="3"/>
                    <a:pt x="2" y="3"/>
                    <a:pt x="1" y="3"/>
                  </a:cubicBezTo>
                  <a:cubicBezTo>
                    <a:pt x="1" y="3"/>
                    <a:pt x="1" y="4"/>
                    <a:pt x="1" y="4"/>
                  </a:cubicBezTo>
                  <a:cubicBezTo>
                    <a:pt x="1" y="4"/>
                    <a:pt x="1" y="5"/>
                    <a:pt x="1" y="5"/>
                  </a:cubicBezTo>
                  <a:cubicBezTo>
                    <a:pt x="1" y="5"/>
                    <a:pt x="2" y="5"/>
                    <a:pt x="2" y="5"/>
                  </a:cubicBezTo>
                  <a:cubicBezTo>
                    <a:pt x="2" y="5"/>
                    <a:pt x="2" y="5"/>
                    <a:pt x="2" y="6"/>
                  </a:cubicBezTo>
                  <a:cubicBezTo>
                    <a:pt x="2" y="6"/>
                    <a:pt x="2" y="6"/>
                    <a:pt x="2" y="6"/>
                  </a:cubicBezTo>
                  <a:cubicBezTo>
                    <a:pt x="2" y="6"/>
                    <a:pt x="3" y="5"/>
                    <a:pt x="3" y="5"/>
                  </a:cubicBezTo>
                  <a:cubicBezTo>
                    <a:pt x="3" y="5"/>
                    <a:pt x="4" y="5"/>
                    <a:pt x="4" y="5"/>
                  </a:cubicBezTo>
                  <a:cubicBezTo>
                    <a:pt x="5" y="4"/>
                    <a:pt x="6" y="4"/>
                    <a:pt x="6" y="4"/>
                  </a:cubicBezTo>
                  <a:cubicBezTo>
                    <a:pt x="7" y="4"/>
                    <a:pt x="8" y="3"/>
                    <a:pt x="9" y="3"/>
                  </a:cubicBezTo>
                  <a:cubicBezTo>
                    <a:pt x="10" y="3"/>
                    <a:pt x="11" y="4"/>
                    <a:pt x="11" y="4"/>
                  </a:cubicBezTo>
                  <a:cubicBezTo>
                    <a:pt x="12" y="4"/>
                    <a:pt x="12" y="4"/>
                    <a:pt x="13" y="5"/>
                  </a:cubicBezTo>
                  <a:cubicBezTo>
                    <a:pt x="13" y="5"/>
                    <a:pt x="13" y="6"/>
                    <a:pt x="14" y="6"/>
                  </a:cubicBezTo>
                  <a:cubicBezTo>
                    <a:pt x="14" y="7"/>
                    <a:pt x="14" y="8"/>
                    <a:pt x="14" y="8"/>
                  </a:cubicBezTo>
                  <a:cubicBezTo>
                    <a:pt x="14" y="10"/>
                    <a:pt x="14" y="10"/>
                    <a:pt x="14" y="10"/>
                  </a:cubicBezTo>
                  <a:cubicBezTo>
                    <a:pt x="11" y="10"/>
                    <a:pt x="11" y="10"/>
                    <a:pt x="11" y="10"/>
                  </a:cubicBezTo>
                  <a:cubicBezTo>
                    <a:pt x="9" y="10"/>
                    <a:pt x="8" y="10"/>
                    <a:pt x="7" y="10"/>
                  </a:cubicBezTo>
                  <a:cubicBezTo>
                    <a:pt x="5" y="11"/>
                    <a:pt x="4" y="11"/>
                    <a:pt x="3" y="12"/>
                  </a:cubicBezTo>
                  <a:cubicBezTo>
                    <a:pt x="2" y="12"/>
                    <a:pt x="2" y="13"/>
                    <a:pt x="1" y="14"/>
                  </a:cubicBezTo>
                  <a:cubicBezTo>
                    <a:pt x="1" y="15"/>
                    <a:pt x="0" y="16"/>
                    <a:pt x="0" y="17"/>
                  </a:cubicBezTo>
                  <a:cubicBezTo>
                    <a:pt x="0" y="18"/>
                    <a:pt x="1" y="19"/>
                    <a:pt x="1" y="20"/>
                  </a:cubicBezTo>
                  <a:cubicBezTo>
                    <a:pt x="1" y="21"/>
                    <a:pt x="2" y="21"/>
                    <a:pt x="2" y="22"/>
                  </a:cubicBezTo>
                  <a:cubicBezTo>
                    <a:pt x="3" y="22"/>
                    <a:pt x="4" y="23"/>
                    <a:pt x="5" y="23"/>
                  </a:cubicBezTo>
                  <a:cubicBezTo>
                    <a:pt x="6" y="23"/>
                    <a:pt x="7" y="23"/>
                    <a:pt x="8" y="23"/>
                  </a:cubicBezTo>
                  <a:cubicBezTo>
                    <a:pt x="9" y="23"/>
                    <a:pt x="10" y="23"/>
                    <a:pt x="11" y="23"/>
                  </a:cubicBezTo>
                  <a:cubicBezTo>
                    <a:pt x="12" y="22"/>
                    <a:pt x="13" y="21"/>
                    <a:pt x="14" y="20"/>
                  </a:cubicBezTo>
                  <a:cubicBezTo>
                    <a:pt x="14" y="22"/>
                    <a:pt x="14" y="22"/>
                    <a:pt x="14" y="22"/>
                  </a:cubicBezTo>
                  <a:cubicBezTo>
                    <a:pt x="14" y="23"/>
                    <a:pt x="14" y="23"/>
                    <a:pt x="15" y="23"/>
                  </a:cubicBezTo>
                  <a:cubicBezTo>
                    <a:pt x="15" y="23"/>
                    <a:pt x="15" y="23"/>
                    <a:pt x="15" y="23"/>
                  </a:cubicBezTo>
                  <a:cubicBezTo>
                    <a:pt x="15" y="23"/>
                    <a:pt x="16" y="23"/>
                    <a:pt x="16" y="23"/>
                  </a:cubicBezTo>
                  <a:cubicBezTo>
                    <a:pt x="16" y="23"/>
                    <a:pt x="17" y="23"/>
                    <a:pt x="17" y="23"/>
                  </a:cubicBezTo>
                  <a:cubicBezTo>
                    <a:pt x="17" y="23"/>
                    <a:pt x="17" y="23"/>
                    <a:pt x="18" y="23"/>
                  </a:cubicBezTo>
                  <a:cubicBezTo>
                    <a:pt x="18" y="23"/>
                    <a:pt x="18" y="23"/>
                    <a:pt x="18" y="22"/>
                  </a:cubicBezTo>
                  <a:cubicBezTo>
                    <a:pt x="18" y="8"/>
                    <a:pt x="18" y="8"/>
                    <a:pt x="18" y="8"/>
                  </a:cubicBezTo>
                  <a:close/>
                  <a:moveTo>
                    <a:pt x="14" y="17"/>
                  </a:moveTo>
                  <a:cubicBezTo>
                    <a:pt x="13" y="18"/>
                    <a:pt x="12" y="19"/>
                    <a:pt x="11" y="20"/>
                  </a:cubicBezTo>
                  <a:cubicBezTo>
                    <a:pt x="10" y="20"/>
                    <a:pt x="9" y="20"/>
                    <a:pt x="8" y="20"/>
                  </a:cubicBezTo>
                  <a:cubicBezTo>
                    <a:pt x="7" y="20"/>
                    <a:pt x="6" y="20"/>
                    <a:pt x="5" y="19"/>
                  </a:cubicBezTo>
                  <a:cubicBezTo>
                    <a:pt x="5" y="19"/>
                    <a:pt x="4" y="18"/>
                    <a:pt x="4" y="17"/>
                  </a:cubicBezTo>
                  <a:cubicBezTo>
                    <a:pt x="4" y="16"/>
                    <a:pt x="4" y="16"/>
                    <a:pt x="5" y="15"/>
                  </a:cubicBezTo>
                  <a:cubicBezTo>
                    <a:pt x="5" y="15"/>
                    <a:pt x="5" y="14"/>
                    <a:pt x="6" y="14"/>
                  </a:cubicBezTo>
                  <a:cubicBezTo>
                    <a:pt x="6" y="14"/>
                    <a:pt x="7" y="13"/>
                    <a:pt x="8" y="13"/>
                  </a:cubicBezTo>
                  <a:cubicBezTo>
                    <a:pt x="9" y="13"/>
                    <a:pt x="9" y="13"/>
                    <a:pt x="11" y="13"/>
                  </a:cubicBezTo>
                  <a:cubicBezTo>
                    <a:pt x="14" y="13"/>
                    <a:pt x="14" y="13"/>
                    <a:pt x="14" y="13"/>
                  </a:cubicBezTo>
                  <a:cubicBezTo>
                    <a:pt x="14" y="17"/>
                    <a:pt x="14" y="17"/>
                    <a:pt x="14" y="17"/>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140">
              <a:extLst>
                <a:ext uri="{FF2B5EF4-FFF2-40B4-BE49-F238E27FC236}">
                  <a16:creationId xmlns:a16="http://schemas.microsoft.com/office/drawing/2014/main" id="{0928EA2B-8616-4FFB-967C-9068DF855F0D}"/>
                </a:ext>
              </a:extLst>
            </p:cNvPr>
            <p:cNvSpPr>
              <a:spLocks/>
            </p:cNvSpPr>
            <p:nvPr/>
          </p:nvSpPr>
          <p:spPr bwMode="auto">
            <a:xfrm>
              <a:off x="8450898" y="6280913"/>
              <a:ext cx="14429" cy="113991"/>
            </a:xfrm>
            <a:custGeom>
              <a:avLst/>
              <a:gdLst>
                <a:gd name="T0" fmla="*/ 4 w 4"/>
                <a:gd name="T1" fmla="*/ 1 h 33"/>
                <a:gd name="T2" fmla="*/ 4 w 4"/>
                <a:gd name="T3" fmla="*/ 1 h 33"/>
                <a:gd name="T4" fmla="*/ 3 w 4"/>
                <a:gd name="T5" fmla="*/ 1 h 33"/>
                <a:gd name="T6" fmla="*/ 3 w 4"/>
                <a:gd name="T7" fmla="*/ 0 h 33"/>
                <a:gd name="T8" fmla="*/ 2 w 4"/>
                <a:gd name="T9" fmla="*/ 0 h 33"/>
                <a:gd name="T10" fmla="*/ 1 w 4"/>
                <a:gd name="T11" fmla="*/ 0 h 33"/>
                <a:gd name="T12" fmla="*/ 0 w 4"/>
                <a:gd name="T13" fmla="*/ 1 h 33"/>
                <a:gd name="T14" fmla="*/ 0 w 4"/>
                <a:gd name="T15" fmla="*/ 1 h 33"/>
                <a:gd name="T16" fmla="*/ 0 w 4"/>
                <a:gd name="T17" fmla="*/ 1 h 33"/>
                <a:gd name="T18" fmla="*/ 0 w 4"/>
                <a:gd name="T19" fmla="*/ 32 h 33"/>
                <a:gd name="T20" fmla="*/ 0 w 4"/>
                <a:gd name="T21" fmla="*/ 33 h 33"/>
                <a:gd name="T22" fmla="*/ 0 w 4"/>
                <a:gd name="T23" fmla="*/ 33 h 33"/>
                <a:gd name="T24" fmla="*/ 1 w 4"/>
                <a:gd name="T25" fmla="*/ 33 h 33"/>
                <a:gd name="T26" fmla="*/ 2 w 4"/>
                <a:gd name="T27" fmla="*/ 33 h 33"/>
                <a:gd name="T28" fmla="*/ 3 w 4"/>
                <a:gd name="T29" fmla="*/ 33 h 33"/>
                <a:gd name="T30" fmla="*/ 3 w 4"/>
                <a:gd name="T31" fmla="*/ 33 h 33"/>
                <a:gd name="T32" fmla="*/ 4 w 4"/>
                <a:gd name="T33" fmla="*/ 33 h 33"/>
                <a:gd name="T34" fmla="*/ 4 w 4"/>
                <a:gd name="T35" fmla="*/ 32 h 33"/>
                <a:gd name="T36" fmla="*/ 4 w 4"/>
                <a:gd name="T3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3">
                  <a:moveTo>
                    <a:pt x="4" y="1"/>
                  </a:moveTo>
                  <a:cubicBezTo>
                    <a:pt x="4" y="1"/>
                    <a:pt x="4" y="1"/>
                    <a:pt x="4" y="1"/>
                  </a:cubicBezTo>
                  <a:cubicBezTo>
                    <a:pt x="4" y="1"/>
                    <a:pt x="3" y="1"/>
                    <a:pt x="3" y="1"/>
                  </a:cubicBezTo>
                  <a:cubicBezTo>
                    <a:pt x="3" y="0"/>
                    <a:pt x="3" y="0"/>
                    <a:pt x="3" y="0"/>
                  </a:cubicBezTo>
                  <a:cubicBezTo>
                    <a:pt x="2" y="0"/>
                    <a:pt x="2" y="0"/>
                    <a:pt x="2" y="0"/>
                  </a:cubicBezTo>
                  <a:cubicBezTo>
                    <a:pt x="1" y="0"/>
                    <a:pt x="1" y="0"/>
                    <a:pt x="1" y="0"/>
                  </a:cubicBezTo>
                  <a:cubicBezTo>
                    <a:pt x="1" y="0"/>
                    <a:pt x="0" y="0"/>
                    <a:pt x="0" y="1"/>
                  </a:cubicBezTo>
                  <a:cubicBezTo>
                    <a:pt x="0" y="1"/>
                    <a:pt x="0" y="1"/>
                    <a:pt x="0" y="1"/>
                  </a:cubicBezTo>
                  <a:cubicBezTo>
                    <a:pt x="0" y="1"/>
                    <a:pt x="0" y="1"/>
                    <a:pt x="0" y="1"/>
                  </a:cubicBezTo>
                  <a:cubicBezTo>
                    <a:pt x="0" y="32"/>
                    <a:pt x="0" y="32"/>
                    <a:pt x="0" y="32"/>
                  </a:cubicBezTo>
                  <a:cubicBezTo>
                    <a:pt x="0" y="33"/>
                    <a:pt x="0" y="33"/>
                    <a:pt x="0" y="33"/>
                  </a:cubicBezTo>
                  <a:cubicBezTo>
                    <a:pt x="0" y="33"/>
                    <a:pt x="0" y="33"/>
                    <a:pt x="0" y="33"/>
                  </a:cubicBezTo>
                  <a:cubicBezTo>
                    <a:pt x="0" y="33"/>
                    <a:pt x="1" y="33"/>
                    <a:pt x="1" y="33"/>
                  </a:cubicBezTo>
                  <a:cubicBezTo>
                    <a:pt x="1" y="33"/>
                    <a:pt x="1" y="33"/>
                    <a:pt x="2" y="33"/>
                  </a:cubicBezTo>
                  <a:cubicBezTo>
                    <a:pt x="2" y="33"/>
                    <a:pt x="2" y="33"/>
                    <a:pt x="3" y="33"/>
                  </a:cubicBezTo>
                  <a:cubicBezTo>
                    <a:pt x="3" y="33"/>
                    <a:pt x="3" y="33"/>
                    <a:pt x="3" y="33"/>
                  </a:cubicBezTo>
                  <a:cubicBezTo>
                    <a:pt x="3" y="33"/>
                    <a:pt x="4" y="33"/>
                    <a:pt x="4" y="33"/>
                  </a:cubicBezTo>
                  <a:cubicBezTo>
                    <a:pt x="4" y="33"/>
                    <a:pt x="4" y="33"/>
                    <a:pt x="4" y="32"/>
                  </a:cubicBezTo>
                  <a:cubicBezTo>
                    <a:pt x="4" y="1"/>
                    <a:pt x="4"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141">
              <a:extLst>
                <a:ext uri="{FF2B5EF4-FFF2-40B4-BE49-F238E27FC236}">
                  <a16:creationId xmlns:a16="http://schemas.microsoft.com/office/drawing/2014/main" id="{2800FF65-E516-4C00-B948-99B8BF67FC3F}"/>
                </a:ext>
              </a:extLst>
            </p:cNvPr>
            <p:cNvSpPr>
              <a:spLocks/>
            </p:cNvSpPr>
            <p:nvPr/>
          </p:nvSpPr>
          <p:spPr bwMode="auto">
            <a:xfrm>
              <a:off x="8517272" y="6292456"/>
              <a:ext cx="137077" cy="102447"/>
            </a:xfrm>
            <a:custGeom>
              <a:avLst/>
              <a:gdLst>
                <a:gd name="T0" fmla="*/ 39 w 40"/>
                <a:gd name="T1" fmla="*/ 1 h 30"/>
                <a:gd name="T2" fmla="*/ 40 w 40"/>
                <a:gd name="T3" fmla="*/ 0 h 30"/>
                <a:gd name="T4" fmla="*/ 39 w 40"/>
                <a:gd name="T5" fmla="*/ 0 h 30"/>
                <a:gd name="T6" fmla="*/ 39 w 40"/>
                <a:gd name="T7" fmla="*/ 0 h 30"/>
                <a:gd name="T8" fmla="*/ 38 w 40"/>
                <a:gd name="T9" fmla="*/ 0 h 30"/>
                <a:gd name="T10" fmla="*/ 37 w 40"/>
                <a:gd name="T11" fmla="*/ 0 h 30"/>
                <a:gd name="T12" fmla="*/ 36 w 40"/>
                <a:gd name="T13" fmla="*/ 0 h 30"/>
                <a:gd name="T14" fmla="*/ 36 w 40"/>
                <a:gd name="T15" fmla="*/ 0 h 30"/>
                <a:gd name="T16" fmla="*/ 36 w 40"/>
                <a:gd name="T17" fmla="*/ 0 h 30"/>
                <a:gd name="T18" fmla="*/ 29 w 40"/>
                <a:gd name="T19" fmla="*/ 26 h 30"/>
                <a:gd name="T20" fmla="*/ 29 w 40"/>
                <a:gd name="T21" fmla="*/ 26 h 30"/>
                <a:gd name="T22" fmla="*/ 22 w 40"/>
                <a:gd name="T23" fmla="*/ 0 h 30"/>
                <a:gd name="T24" fmla="*/ 22 w 40"/>
                <a:gd name="T25" fmla="*/ 0 h 30"/>
                <a:gd name="T26" fmla="*/ 21 w 40"/>
                <a:gd name="T27" fmla="*/ 0 h 30"/>
                <a:gd name="T28" fmla="*/ 21 w 40"/>
                <a:gd name="T29" fmla="*/ 0 h 30"/>
                <a:gd name="T30" fmla="*/ 20 w 40"/>
                <a:gd name="T31" fmla="*/ 0 h 30"/>
                <a:gd name="T32" fmla="*/ 19 w 40"/>
                <a:gd name="T33" fmla="*/ 0 h 30"/>
                <a:gd name="T34" fmla="*/ 18 w 40"/>
                <a:gd name="T35" fmla="*/ 0 h 30"/>
                <a:gd name="T36" fmla="*/ 18 w 40"/>
                <a:gd name="T37" fmla="*/ 0 h 30"/>
                <a:gd name="T38" fmla="*/ 17 w 40"/>
                <a:gd name="T39" fmla="*/ 0 h 30"/>
                <a:gd name="T40" fmla="*/ 11 w 40"/>
                <a:gd name="T41" fmla="*/ 26 h 30"/>
                <a:gd name="T42" fmla="*/ 11 w 40"/>
                <a:gd name="T43" fmla="*/ 26 h 30"/>
                <a:gd name="T44" fmla="*/ 4 w 40"/>
                <a:gd name="T45" fmla="*/ 0 h 30"/>
                <a:gd name="T46" fmla="*/ 4 w 40"/>
                <a:gd name="T47" fmla="*/ 0 h 30"/>
                <a:gd name="T48" fmla="*/ 4 w 40"/>
                <a:gd name="T49" fmla="*/ 0 h 30"/>
                <a:gd name="T50" fmla="*/ 3 w 40"/>
                <a:gd name="T51" fmla="*/ 0 h 30"/>
                <a:gd name="T52" fmla="*/ 2 w 40"/>
                <a:gd name="T53" fmla="*/ 0 h 30"/>
                <a:gd name="T54" fmla="*/ 1 w 40"/>
                <a:gd name="T55" fmla="*/ 0 h 30"/>
                <a:gd name="T56" fmla="*/ 0 w 40"/>
                <a:gd name="T57" fmla="*/ 0 h 30"/>
                <a:gd name="T58" fmla="*/ 0 w 40"/>
                <a:gd name="T59" fmla="*/ 0 h 30"/>
                <a:gd name="T60" fmla="*/ 0 w 40"/>
                <a:gd name="T61" fmla="*/ 1 h 30"/>
                <a:gd name="T62" fmla="*/ 8 w 40"/>
                <a:gd name="T63" fmla="*/ 29 h 30"/>
                <a:gd name="T64" fmla="*/ 8 w 40"/>
                <a:gd name="T65" fmla="*/ 30 h 30"/>
                <a:gd name="T66" fmla="*/ 9 w 40"/>
                <a:gd name="T67" fmla="*/ 30 h 30"/>
                <a:gd name="T68" fmla="*/ 10 w 40"/>
                <a:gd name="T69" fmla="*/ 30 h 30"/>
                <a:gd name="T70" fmla="*/ 11 w 40"/>
                <a:gd name="T71" fmla="*/ 30 h 30"/>
                <a:gd name="T72" fmla="*/ 12 w 40"/>
                <a:gd name="T73" fmla="*/ 30 h 30"/>
                <a:gd name="T74" fmla="*/ 13 w 40"/>
                <a:gd name="T75" fmla="*/ 30 h 30"/>
                <a:gd name="T76" fmla="*/ 13 w 40"/>
                <a:gd name="T77" fmla="*/ 30 h 30"/>
                <a:gd name="T78" fmla="*/ 14 w 40"/>
                <a:gd name="T79" fmla="*/ 29 h 30"/>
                <a:gd name="T80" fmla="*/ 19 w 40"/>
                <a:gd name="T81" fmla="*/ 6 h 30"/>
                <a:gd name="T82" fmla="*/ 19 w 40"/>
                <a:gd name="T83" fmla="*/ 6 h 30"/>
                <a:gd name="T84" fmla="*/ 26 w 40"/>
                <a:gd name="T85" fmla="*/ 29 h 30"/>
                <a:gd name="T86" fmla="*/ 26 w 40"/>
                <a:gd name="T87" fmla="*/ 30 h 30"/>
                <a:gd name="T88" fmla="*/ 27 w 40"/>
                <a:gd name="T89" fmla="*/ 30 h 30"/>
                <a:gd name="T90" fmla="*/ 27 w 40"/>
                <a:gd name="T91" fmla="*/ 30 h 30"/>
                <a:gd name="T92" fmla="*/ 29 w 40"/>
                <a:gd name="T93" fmla="*/ 30 h 30"/>
                <a:gd name="T94" fmla="*/ 30 w 40"/>
                <a:gd name="T95" fmla="*/ 30 h 30"/>
                <a:gd name="T96" fmla="*/ 31 w 40"/>
                <a:gd name="T97" fmla="*/ 30 h 30"/>
                <a:gd name="T98" fmla="*/ 31 w 40"/>
                <a:gd name="T99" fmla="*/ 30 h 30"/>
                <a:gd name="T100" fmla="*/ 31 w 40"/>
                <a:gd name="T101" fmla="*/ 29 h 30"/>
                <a:gd name="T102" fmla="*/ 39 w 40"/>
                <a:gd name="T10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30">
                  <a:moveTo>
                    <a:pt x="39" y="1"/>
                  </a:moveTo>
                  <a:cubicBezTo>
                    <a:pt x="40" y="1"/>
                    <a:pt x="40" y="0"/>
                    <a:pt x="40" y="0"/>
                  </a:cubicBezTo>
                  <a:cubicBezTo>
                    <a:pt x="40" y="0"/>
                    <a:pt x="40" y="0"/>
                    <a:pt x="39" y="0"/>
                  </a:cubicBezTo>
                  <a:cubicBezTo>
                    <a:pt x="39" y="0"/>
                    <a:pt x="39" y="0"/>
                    <a:pt x="39" y="0"/>
                  </a:cubicBezTo>
                  <a:cubicBezTo>
                    <a:pt x="39" y="0"/>
                    <a:pt x="38" y="0"/>
                    <a:pt x="38" y="0"/>
                  </a:cubicBezTo>
                  <a:cubicBezTo>
                    <a:pt x="37" y="0"/>
                    <a:pt x="37" y="0"/>
                    <a:pt x="37" y="0"/>
                  </a:cubicBezTo>
                  <a:cubicBezTo>
                    <a:pt x="36" y="0"/>
                    <a:pt x="36" y="0"/>
                    <a:pt x="36" y="0"/>
                  </a:cubicBezTo>
                  <a:cubicBezTo>
                    <a:pt x="36" y="0"/>
                    <a:pt x="36" y="0"/>
                    <a:pt x="36" y="0"/>
                  </a:cubicBezTo>
                  <a:cubicBezTo>
                    <a:pt x="36" y="0"/>
                    <a:pt x="36" y="0"/>
                    <a:pt x="36" y="0"/>
                  </a:cubicBezTo>
                  <a:cubicBezTo>
                    <a:pt x="29" y="26"/>
                    <a:pt x="29" y="26"/>
                    <a:pt x="29" y="26"/>
                  </a:cubicBezTo>
                  <a:cubicBezTo>
                    <a:pt x="29" y="26"/>
                    <a:pt x="29" y="26"/>
                    <a:pt x="29" y="26"/>
                  </a:cubicBezTo>
                  <a:cubicBezTo>
                    <a:pt x="22" y="0"/>
                    <a:pt x="22" y="0"/>
                    <a:pt x="22" y="0"/>
                  </a:cubicBezTo>
                  <a:cubicBezTo>
                    <a:pt x="22" y="0"/>
                    <a:pt x="22" y="0"/>
                    <a:pt x="22" y="0"/>
                  </a:cubicBezTo>
                  <a:cubicBezTo>
                    <a:pt x="22" y="0"/>
                    <a:pt x="21" y="0"/>
                    <a:pt x="21" y="0"/>
                  </a:cubicBezTo>
                  <a:cubicBezTo>
                    <a:pt x="21" y="0"/>
                    <a:pt x="21" y="0"/>
                    <a:pt x="21" y="0"/>
                  </a:cubicBezTo>
                  <a:cubicBezTo>
                    <a:pt x="20" y="0"/>
                    <a:pt x="20" y="0"/>
                    <a:pt x="20" y="0"/>
                  </a:cubicBezTo>
                  <a:cubicBezTo>
                    <a:pt x="19" y="0"/>
                    <a:pt x="19" y="0"/>
                    <a:pt x="19" y="0"/>
                  </a:cubicBezTo>
                  <a:cubicBezTo>
                    <a:pt x="18" y="0"/>
                    <a:pt x="18" y="0"/>
                    <a:pt x="18" y="0"/>
                  </a:cubicBezTo>
                  <a:cubicBezTo>
                    <a:pt x="18" y="0"/>
                    <a:pt x="18" y="0"/>
                    <a:pt x="18" y="0"/>
                  </a:cubicBezTo>
                  <a:cubicBezTo>
                    <a:pt x="17" y="0"/>
                    <a:pt x="17" y="0"/>
                    <a:pt x="17" y="0"/>
                  </a:cubicBezTo>
                  <a:cubicBezTo>
                    <a:pt x="11" y="26"/>
                    <a:pt x="11" y="26"/>
                    <a:pt x="11" y="26"/>
                  </a:cubicBezTo>
                  <a:cubicBezTo>
                    <a:pt x="11" y="26"/>
                    <a:pt x="11" y="26"/>
                    <a:pt x="11" y="26"/>
                  </a:cubicBezTo>
                  <a:cubicBezTo>
                    <a:pt x="4" y="0"/>
                    <a:pt x="4" y="0"/>
                    <a:pt x="4" y="0"/>
                  </a:cubicBezTo>
                  <a:cubicBezTo>
                    <a:pt x="4" y="0"/>
                    <a:pt x="4" y="0"/>
                    <a:pt x="4" y="0"/>
                  </a:cubicBezTo>
                  <a:cubicBezTo>
                    <a:pt x="4" y="0"/>
                    <a:pt x="4" y="0"/>
                    <a:pt x="4" y="0"/>
                  </a:cubicBezTo>
                  <a:cubicBezTo>
                    <a:pt x="3" y="0"/>
                    <a:pt x="3" y="0"/>
                    <a:pt x="3" y="0"/>
                  </a:cubicBezTo>
                  <a:cubicBezTo>
                    <a:pt x="3" y="0"/>
                    <a:pt x="2" y="0"/>
                    <a:pt x="2" y="0"/>
                  </a:cubicBezTo>
                  <a:cubicBezTo>
                    <a:pt x="1" y="0"/>
                    <a:pt x="1" y="0"/>
                    <a:pt x="1" y="0"/>
                  </a:cubicBezTo>
                  <a:cubicBezTo>
                    <a:pt x="0" y="0"/>
                    <a:pt x="0" y="0"/>
                    <a:pt x="0" y="0"/>
                  </a:cubicBezTo>
                  <a:cubicBezTo>
                    <a:pt x="0" y="0"/>
                    <a:pt x="0" y="0"/>
                    <a:pt x="0" y="0"/>
                  </a:cubicBezTo>
                  <a:cubicBezTo>
                    <a:pt x="0" y="0"/>
                    <a:pt x="0" y="1"/>
                    <a:pt x="0" y="1"/>
                  </a:cubicBezTo>
                  <a:cubicBezTo>
                    <a:pt x="8" y="29"/>
                    <a:pt x="8" y="29"/>
                    <a:pt x="8" y="29"/>
                  </a:cubicBezTo>
                  <a:cubicBezTo>
                    <a:pt x="8" y="29"/>
                    <a:pt x="8" y="30"/>
                    <a:pt x="8" y="30"/>
                  </a:cubicBezTo>
                  <a:cubicBezTo>
                    <a:pt x="8" y="30"/>
                    <a:pt x="8" y="30"/>
                    <a:pt x="9" y="30"/>
                  </a:cubicBezTo>
                  <a:cubicBezTo>
                    <a:pt x="9" y="30"/>
                    <a:pt x="9" y="30"/>
                    <a:pt x="10" y="30"/>
                  </a:cubicBezTo>
                  <a:cubicBezTo>
                    <a:pt x="10" y="30"/>
                    <a:pt x="10" y="30"/>
                    <a:pt x="11" y="30"/>
                  </a:cubicBezTo>
                  <a:cubicBezTo>
                    <a:pt x="11" y="30"/>
                    <a:pt x="12" y="30"/>
                    <a:pt x="12" y="30"/>
                  </a:cubicBezTo>
                  <a:cubicBezTo>
                    <a:pt x="12" y="30"/>
                    <a:pt x="13" y="30"/>
                    <a:pt x="13" y="30"/>
                  </a:cubicBezTo>
                  <a:cubicBezTo>
                    <a:pt x="13" y="30"/>
                    <a:pt x="13" y="30"/>
                    <a:pt x="13" y="30"/>
                  </a:cubicBezTo>
                  <a:cubicBezTo>
                    <a:pt x="13" y="30"/>
                    <a:pt x="13" y="29"/>
                    <a:pt x="14" y="29"/>
                  </a:cubicBezTo>
                  <a:cubicBezTo>
                    <a:pt x="19" y="6"/>
                    <a:pt x="19" y="6"/>
                    <a:pt x="19" y="6"/>
                  </a:cubicBezTo>
                  <a:cubicBezTo>
                    <a:pt x="19" y="6"/>
                    <a:pt x="19" y="6"/>
                    <a:pt x="19" y="6"/>
                  </a:cubicBezTo>
                  <a:cubicBezTo>
                    <a:pt x="26" y="29"/>
                    <a:pt x="26" y="29"/>
                    <a:pt x="26" y="29"/>
                  </a:cubicBezTo>
                  <a:cubicBezTo>
                    <a:pt x="26" y="29"/>
                    <a:pt x="26" y="30"/>
                    <a:pt x="26" y="30"/>
                  </a:cubicBezTo>
                  <a:cubicBezTo>
                    <a:pt x="26" y="30"/>
                    <a:pt x="26" y="30"/>
                    <a:pt x="27" y="30"/>
                  </a:cubicBezTo>
                  <a:cubicBezTo>
                    <a:pt x="27" y="30"/>
                    <a:pt x="27" y="30"/>
                    <a:pt x="27" y="30"/>
                  </a:cubicBezTo>
                  <a:cubicBezTo>
                    <a:pt x="28" y="30"/>
                    <a:pt x="28" y="30"/>
                    <a:pt x="29" y="30"/>
                  </a:cubicBezTo>
                  <a:cubicBezTo>
                    <a:pt x="29" y="30"/>
                    <a:pt x="29" y="30"/>
                    <a:pt x="30" y="30"/>
                  </a:cubicBezTo>
                  <a:cubicBezTo>
                    <a:pt x="30" y="30"/>
                    <a:pt x="30" y="30"/>
                    <a:pt x="31" y="30"/>
                  </a:cubicBezTo>
                  <a:cubicBezTo>
                    <a:pt x="31" y="30"/>
                    <a:pt x="31" y="30"/>
                    <a:pt x="31" y="30"/>
                  </a:cubicBezTo>
                  <a:cubicBezTo>
                    <a:pt x="31" y="30"/>
                    <a:pt x="31" y="29"/>
                    <a:pt x="31" y="29"/>
                  </a:cubicBezTo>
                  <a:cubicBezTo>
                    <a:pt x="39" y="1"/>
                    <a:pt x="39" y="1"/>
                    <a:pt x="39"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142">
              <a:extLst>
                <a:ext uri="{FF2B5EF4-FFF2-40B4-BE49-F238E27FC236}">
                  <a16:creationId xmlns:a16="http://schemas.microsoft.com/office/drawing/2014/main" id="{090F45A4-E983-4F4D-BDE1-C099E689598C}"/>
                </a:ext>
              </a:extLst>
            </p:cNvPr>
            <p:cNvSpPr>
              <a:spLocks noEditPoints="1"/>
            </p:cNvSpPr>
            <p:nvPr/>
          </p:nvSpPr>
          <p:spPr bwMode="auto">
            <a:xfrm>
              <a:off x="8657234" y="6315543"/>
              <a:ext cx="72146" cy="79361"/>
            </a:xfrm>
            <a:custGeom>
              <a:avLst/>
              <a:gdLst>
                <a:gd name="T0" fmla="*/ 21 w 21"/>
                <a:gd name="T1" fmla="*/ 7 h 23"/>
                <a:gd name="T2" fmla="*/ 19 w 21"/>
                <a:gd name="T3" fmla="*/ 3 h 23"/>
                <a:gd name="T4" fmla="*/ 16 w 21"/>
                <a:gd name="T5" fmla="*/ 1 h 23"/>
                <a:gd name="T6" fmla="*/ 11 w 21"/>
                <a:gd name="T7" fmla="*/ 0 h 23"/>
                <a:gd name="T8" fmla="*/ 6 w 21"/>
                <a:gd name="T9" fmla="*/ 1 h 23"/>
                <a:gd name="T10" fmla="*/ 3 w 21"/>
                <a:gd name="T11" fmla="*/ 4 h 23"/>
                <a:gd name="T12" fmla="*/ 1 w 21"/>
                <a:gd name="T13" fmla="*/ 7 h 23"/>
                <a:gd name="T14" fmla="*/ 0 w 21"/>
                <a:gd name="T15" fmla="*/ 12 h 23"/>
                <a:gd name="T16" fmla="*/ 1 w 21"/>
                <a:gd name="T17" fmla="*/ 17 h 23"/>
                <a:gd name="T18" fmla="*/ 3 w 21"/>
                <a:gd name="T19" fmla="*/ 20 h 23"/>
                <a:gd name="T20" fmla="*/ 6 w 21"/>
                <a:gd name="T21" fmla="*/ 23 h 23"/>
                <a:gd name="T22" fmla="*/ 11 w 21"/>
                <a:gd name="T23" fmla="*/ 23 h 23"/>
                <a:gd name="T24" fmla="*/ 15 w 21"/>
                <a:gd name="T25" fmla="*/ 23 h 23"/>
                <a:gd name="T26" fmla="*/ 19 w 21"/>
                <a:gd name="T27" fmla="*/ 20 h 23"/>
                <a:gd name="T28" fmla="*/ 21 w 21"/>
                <a:gd name="T29" fmla="*/ 16 h 23"/>
                <a:gd name="T30" fmla="*/ 21 w 21"/>
                <a:gd name="T31" fmla="*/ 12 h 23"/>
                <a:gd name="T32" fmla="*/ 21 w 21"/>
                <a:gd name="T33" fmla="*/ 7 h 23"/>
                <a:gd name="T34" fmla="*/ 17 w 21"/>
                <a:gd name="T35" fmla="*/ 15 h 23"/>
                <a:gd name="T36" fmla="*/ 16 w 21"/>
                <a:gd name="T37" fmla="*/ 18 h 23"/>
                <a:gd name="T38" fmla="*/ 14 w 21"/>
                <a:gd name="T39" fmla="*/ 20 h 23"/>
                <a:gd name="T40" fmla="*/ 11 w 21"/>
                <a:gd name="T41" fmla="*/ 20 h 23"/>
                <a:gd name="T42" fmla="*/ 8 w 21"/>
                <a:gd name="T43" fmla="*/ 20 h 23"/>
                <a:gd name="T44" fmla="*/ 6 w 21"/>
                <a:gd name="T45" fmla="*/ 18 h 23"/>
                <a:gd name="T46" fmla="*/ 5 w 21"/>
                <a:gd name="T47" fmla="*/ 15 h 23"/>
                <a:gd name="T48" fmla="*/ 4 w 21"/>
                <a:gd name="T49" fmla="*/ 12 h 23"/>
                <a:gd name="T50" fmla="*/ 5 w 21"/>
                <a:gd name="T51" fmla="*/ 8 h 23"/>
                <a:gd name="T52" fmla="*/ 6 w 21"/>
                <a:gd name="T53" fmla="*/ 6 h 23"/>
                <a:gd name="T54" fmla="*/ 8 w 21"/>
                <a:gd name="T55" fmla="*/ 4 h 23"/>
                <a:gd name="T56" fmla="*/ 11 w 21"/>
                <a:gd name="T57" fmla="*/ 4 h 23"/>
                <a:gd name="T58" fmla="*/ 14 w 21"/>
                <a:gd name="T59" fmla="*/ 4 h 23"/>
                <a:gd name="T60" fmla="*/ 16 w 21"/>
                <a:gd name="T61" fmla="*/ 6 h 23"/>
                <a:gd name="T62" fmla="*/ 17 w 21"/>
                <a:gd name="T63" fmla="*/ 9 h 23"/>
                <a:gd name="T64" fmla="*/ 17 w 21"/>
                <a:gd name="T65" fmla="*/ 12 h 23"/>
                <a:gd name="T66" fmla="*/ 17 w 21"/>
                <a:gd name="T67"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3">
                  <a:moveTo>
                    <a:pt x="21" y="7"/>
                  </a:moveTo>
                  <a:cubicBezTo>
                    <a:pt x="20" y="5"/>
                    <a:pt x="20" y="4"/>
                    <a:pt x="19" y="3"/>
                  </a:cubicBezTo>
                  <a:cubicBezTo>
                    <a:pt x="18" y="2"/>
                    <a:pt x="17" y="2"/>
                    <a:pt x="16" y="1"/>
                  </a:cubicBezTo>
                  <a:cubicBezTo>
                    <a:pt x="14" y="1"/>
                    <a:pt x="13" y="0"/>
                    <a:pt x="11" y="0"/>
                  </a:cubicBezTo>
                  <a:cubicBezTo>
                    <a:pt x="9" y="0"/>
                    <a:pt x="8" y="1"/>
                    <a:pt x="6" y="1"/>
                  </a:cubicBezTo>
                  <a:cubicBezTo>
                    <a:pt x="5" y="2"/>
                    <a:pt x="4" y="3"/>
                    <a:pt x="3" y="4"/>
                  </a:cubicBezTo>
                  <a:cubicBezTo>
                    <a:pt x="2" y="5"/>
                    <a:pt x="1" y="6"/>
                    <a:pt x="1" y="7"/>
                  </a:cubicBezTo>
                  <a:cubicBezTo>
                    <a:pt x="0" y="9"/>
                    <a:pt x="0" y="10"/>
                    <a:pt x="0" y="12"/>
                  </a:cubicBezTo>
                  <a:cubicBezTo>
                    <a:pt x="0" y="14"/>
                    <a:pt x="0" y="15"/>
                    <a:pt x="1" y="17"/>
                  </a:cubicBezTo>
                  <a:cubicBezTo>
                    <a:pt x="1" y="18"/>
                    <a:pt x="2" y="19"/>
                    <a:pt x="3" y="20"/>
                  </a:cubicBezTo>
                  <a:cubicBezTo>
                    <a:pt x="4" y="21"/>
                    <a:pt x="5" y="22"/>
                    <a:pt x="6" y="23"/>
                  </a:cubicBezTo>
                  <a:cubicBezTo>
                    <a:pt x="7" y="23"/>
                    <a:pt x="9" y="23"/>
                    <a:pt x="11" y="23"/>
                  </a:cubicBezTo>
                  <a:cubicBezTo>
                    <a:pt x="12" y="23"/>
                    <a:pt x="14" y="23"/>
                    <a:pt x="15" y="23"/>
                  </a:cubicBezTo>
                  <a:cubicBezTo>
                    <a:pt x="17" y="22"/>
                    <a:pt x="18" y="21"/>
                    <a:pt x="19" y="20"/>
                  </a:cubicBezTo>
                  <a:cubicBezTo>
                    <a:pt x="20" y="19"/>
                    <a:pt x="20" y="18"/>
                    <a:pt x="21" y="16"/>
                  </a:cubicBezTo>
                  <a:cubicBezTo>
                    <a:pt x="21" y="15"/>
                    <a:pt x="21" y="13"/>
                    <a:pt x="21" y="12"/>
                  </a:cubicBezTo>
                  <a:cubicBezTo>
                    <a:pt x="21" y="10"/>
                    <a:pt x="21" y="8"/>
                    <a:pt x="21" y="7"/>
                  </a:cubicBezTo>
                  <a:close/>
                  <a:moveTo>
                    <a:pt x="17" y="15"/>
                  </a:moveTo>
                  <a:cubicBezTo>
                    <a:pt x="17" y="16"/>
                    <a:pt x="16" y="17"/>
                    <a:pt x="16" y="18"/>
                  </a:cubicBezTo>
                  <a:cubicBezTo>
                    <a:pt x="15" y="19"/>
                    <a:pt x="15" y="19"/>
                    <a:pt x="14" y="20"/>
                  </a:cubicBezTo>
                  <a:cubicBezTo>
                    <a:pt x="13" y="20"/>
                    <a:pt x="12" y="20"/>
                    <a:pt x="11" y="20"/>
                  </a:cubicBezTo>
                  <a:cubicBezTo>
                    <a:pt x="10" y="20"/>
                    <a:pt x="8" y="20"/>
                    <a:pt x="8" y="20"/>
                  </a:cubicBezTo>
                  <a:cubicBezTo>
                    <a:pt x="7" y="19"/>
                    <a:pt x="6" y="18"/>
                    <a:pt x="6" y="18"/>
                  </a:cubicBezTo>
                  <a:cubicBezTo>
                    <a:pt x="5" y="17"/>
                    <a:pt x="5" y="16"/>
                    <a:pt x="5" y="15"/>
                  </a:cubicBezTo>
                  <a:cubicBezTo>
                    <a:pt x="4" y="14"/>
                    <a:pt x="4" y="13"/>
                    <a:pt x="4" y="12"/>
                  </a:cubicBezTo>
                  <a:cubicBezTo>
                    <a:pt x="4" y="11"/>
                    <a:pt x="4" y="9"/>
                    <a:pt x="5" y="8"/>
                  </a:cubicBezTo>
                  <a:cubicBezTo>
                    <a:pt x="5" y="7"/>
                    <a:pt x="5" y="7"/>
                    <a:pt x="6" y="6"/>
                  </a:cubicBezTo>
                  <a:cubicBezTo>
                    <a:pt x="6" y="5"/>
                    <a:pt x="7" y="5"/>
                    <a:pt x="8" y="4"/>
                  </a:cubicBezTo>
                  <a:cubicBezTo>
                    <a:pt x="9" y="4"/>
                    <a:pt x="10" y="4"/>
                    <a:pt x="11" y="4"/>
                  </a:cubicBezTo>
                  <a:cubicBezTo>
                    <a:pt x="12" y="4"/>
                    <a:pt x="13" y="4"/>
                    <a:pt x="14" y="4"/>
                  </a:cubicBezTo>
                  <a:cubicBezTo>
                    <a:pt x="15" y="5"/>
                    <a:pt x="15" y="5"/>
                    <a:pt x="16" y="6"/>
                  </a:cubicBezTo>
                  <a:cubicBezTo>
                    <a:pt x="16" y="7"/>
                    <a:pt x="17" y="8"/>
                    <a:pt x="17" y="9"/>
                  </a:cubicBezTo>
                  <a:cubicBezTo>
                    <a:pt x="17" y="10"/>
                    <a:pt x="17" y="11"/>
                    <a:pt x="17" y="12"/>
                  </a:cubicBezTo>
                  <a:cubicBezTo>
                    <a:pt x="17" y="13"/>
                    <a:pt x="17" y="14"/>
                    <a:pt x="17" y="15"/>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143">
              <a:extLst>
                <a:ext uri="{FF2B5EF4-FFF2-40B4-BE49-F238E27FC236}">
                  <a16:creationId xmlns:a16="http://schemas.microsoft.com/office/drawing/2014/main" id="{417451F6-CC2F-4A0D-ACAD-77D8332BCA5E}"/>
                </a:ext>
              </a:extLst>
            </p:cNvPr>
            <p:cNvSpPr>
              <a:spLocks/>
            </p:cNvSpPr>
            <p:nvPr/>
          </p:nvSpPr>
          <p:spPr bwMode="auto">
            <a:xfrm>
              <a:off x="8749581" y="6315543"/>
              <a:ext cx="40402" cy="79361"/>
            </a:xfrm>
            <a:custGeom>
              <a:avLst/>
              <a:gdLst>
                <a:gd name="T0" fmla="*/ 12 w 12"/>
                <a:gd name="T1" fmla="*/ 2 h 23"/>
                <a:gd name="T2" fmla="*/ 12 w 12"/>
                <a:gd name="T3" fmla="*/ 1 h 23"/>
                <a:gd name="T4" fmla="*/ 12 w 12"/>
                <a:gd name="T5" fmla="*/ 1 h 23"/>
                <a:gd name="T6" fmla="*/ 12 w 12"/>
                <a:gd name="T7" fmla="*/ 1 h 23"/>
                <a:gd name="T8" fmla="*/ 12 w 12"/>
                <a:gd name="T9" fmla="*/ 1 h 23"/>
                <a:gd name="T10" fmla="*/ 11 w 12"/>
                <a:gd name="T11" fmla="*/ 0 h 23"/>
                <a:gd name="T12" fmla="*/ 10 w 12"/>
                <a:gd name="T13" fmla="*/ 0 h 23"/>
                <a:gd name="T14" fmla="*/ 9 w 12"/>
                <a:gd name="T15" fmla="*/ 0 h 23"/>
                <a:gd name="T16" fmla="*/ 8 w 12"/>
                <a:gd name="T17" fmla="*/ 0 h 23"/>
                <a:gd name="T18" fmla="*/ 7 w 12"/>
                <a:gd name="T19" fmla="*/ 1 h 23"/>
                <a:gd name="T20" fmla="*/ 5 w 12"/>
                <a:gd name="T21" fmla="*/ 2 h 23"/>
                <a:gd name="T22" fmla="*/ 4 w 12"/>
                <a:gd name="T23" fmla="*/ 4 h 23"/>
                <a:gd name="T24" fmla="*/ 4 w 12"/>
                <a:gd name="T25" fmla="*/ 1 h 23"/>
                <a:gd name="T26" fmla="*/ 4 w 12"/>
                <a:gd name="T27" fmla="*/ 1 h 23"/>
                <a:gd name="T28" fmla="*/ 3 w 12"/>
                <a:gd name="T29" fmla="*/ 1 h 23"/>
                <a:gd name="T30" fmla="*/ 3 w 12"/>
                <a:gd name="T31" fmla="*/ 1 h 23"/>
                <a:gd name="T32" fmla="*/ 2 w 12"/>
                <a:gd name="T33" fmla="*/ 1 h 23"/>
                <a:gd name="T34" fmla="*/ 1 w 12"/>
                <a:gd name="T35" fmla="*/ 1 h 23"/>
                <a:gd name="T36" fmla="*/ 0 w 12"/>
                <a:gd name="T37" fmla="*/ 1 h 23"/>
                <a:gd name="T38" fmla="*/ 0 w 12"/>
                <a:gd name="T39" fmla="*/ 1 h 23"/>
                <a:gd name="T40" fmla="*/ 0 w 12"/>
                <a:gd name="T41" fmla="*/ 1 h 23"/>
                <a:gd name="T42" fmla="*/ 0 w 12"/>
                <a:gd name="T43" fmla="*/ 22 h 23"/>
                <a:gd name="T44" fmla="*/ 0 w 12"/>
                <a:gd name="T45" fmla="*/ 23 h 23"/>
                <a:gd name="T46" fmla="*/ 1 w 12"/>
                <a:gd name="T47" fmla="*/ 23 h 23"/>
                <a:gd name="T48" fmla="*/ 1 w 12"/>
                <a:gd name="T49" fmla="*/ 23 h 23"/>
                <a:gd name="T50" fmla="*/ 2 w 12"/>
                <a:gd name="T51" fmla="*/ 23 h 23"/>
                <a:gd name="T52" fmla="*/ 3 w 12"/>
                <a:gd name="T53" fmla="*/ 23 h 23"/>
                <a:gd name="T54" fmla="*/ 4 w 12"/>
                <a:gd name="T55" fmla="*/ 23 h 23"/>
                <a:gd name="T56" fmla="*/ 4 w 12"/>
                <a:gd name="T57" fmla="*/ 23 h 23"/>
                <a:gd name="T58" fmla="*/ 4 w 12"/>
                <a:gd name="T59" fmla="*/ 22 h 23"/>
                <a:gd name="T60" fmla="*/ 4 w 12"/>
                <a:gd name="T61" fmla="*/ 9 h 23"/>
                <a:gd name="T62" fmla="*/ 6 w 12"/>
                <a:gd name="T63" fmla="*/ 6 h 23"/>
                <a:gd name="T64" fmla="*/ 7 w 12"/>
                <a:gd name="T65" fmla="*/ 5 h 23"/>
                <a:gd name="T66" fmla="*/ 8 w 12"/>
                <a:gd name="T67" fmla="*/ 4 h 23"/>
                <a:gd name="T68" fmla="*/ 9 w 12"/>
                <a:gd name="T69" fmla="*/ 4 h 23"/>
                <a:gd name="T70" fmla="*/ 10 w 12"/>
                <a:gd name="T71" fmla="*/ 4 h 23"/>
                <a:gd name="T72" fmla="*/ 11 w 12"/>
                <a:gd name="T73" fmla="*/ 4 h 23"/>
                <a:gd name="T74" fmla="*/ 11 w 12"/>
                <a:gd name="T75" fmla="*/ 4 h 23"/>
                <a:gd name="T76" fmla="*/ 12 w 12"/>
                <a:gd name="T77" fmla="*/ 5 h 23"/>
                <a:gd name="T78" fmla="*/ 12 w 12"/>
                <a:gd name="T79" fmla="*/ 4 h 23"/>
                <a:gd name="T80" fmla="*/ 12 w 12"/>
                <a:gd name="T81" fmla="*/ 4 h 23"/>
                <a:gd name="T82" fmla="*/ 12 w 12"/>
                <a:gd name="T83" fmla="*/ 4 h 23"/>
                <a:gd name="T84" fmla="*/ 12 w 12"/>
                <a:gd name="T85" fmla="*/ 3 h 23"/>
                <a:gd name="T86" fmla="*/ 12 w 12"/>
                <a:gd name="T8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2"/>
                  </a:moveTo>
                  <a:cubicBezTo>
                    <a:pt x="12" y="2"/>
                    <a:pt x="12" y="1"/>
                    <a:pt x="12" y="1"/>
                  </a:cubicBezTo>
                  <a:cubicBezTo>
                    <a:pt x="12" y="1"/>
                    <a:pt x="12" y="1"/>
                    <a:pt x="12" y="1"/>
                  </a:cubicBezTo>
                  <a:cubicBezTo>
                    <a:pt x="12" y="1"/>
                    <a:pt x="12" y="1"/>
                    <a:pt x="12" y="1"/>
                  </a:cubicBezTo>
                  <a:cubicBezTo>
                    <a:pt x="12" y="1"/>
                    <a:pt x="12" y="1"/>
                    <a:pt x="12" y="1"/>
                  </a:cubicBezTo>
                  <a:cubicBezTo>
                    <a:pt x="11" y="1"/>
                    <a:pt x="11" y="1"/>
                    <a:pt x="11" y="0"/>
                  </a:cubicBezTo>
                  <a:cubicBezTo>
                    <a:pt x="11" y="0"/>
                    <a:pt x="10" y="0"/>
                    <a:pt x="10" y="0"/>
                  </a:cubicBezTo>
                  <a:cubicBezTo>
                    <a:pt x="10" y="0"/>
                    <a:pt x="10" y="0"/>
                    <a:pt x="9" y="0"/>
                  </a:cubicBezTo>
                  <a:cubicBezTo>
                    <a:pt x="9" y="0"/>
                    <a:pt x="8" y="0"/>
                    <a:pt x="8" y="0"/>
                  </a:cubicBezTo>
                  <a:cubicBezTo>
                    <a:pt x="8" y="1"/>
                    <a:pt x="7" y="1"/>
                    <a:pt x="7" y="1"/>
                  </a:cubicBezTo>
                  <a:cubicBezTo>
                    <a:pt x="6" y="1"/>
                    <a:pt x="6" y="2"/>
                    <a:pt x="5" y="2"/>
                  </a:cubicBezTo>
                  <a:cubicBezTo>
                    <a:pt x="5" y="3"/>
                    <a:pt x="4" y="4"/>
                    <a:pt x="4" y="4"/>
                  </a:cubicBezTo>
                  <a:cubicBezTo>
                    <a:pt x="4" y="1"/>
                    <a:pt x="4" y="1"/>
                    <a:pt x="4" y="1"/>
                  </a:cubicBezTo>
                  <a:cubicBezTo>
                    <a:pt x="4" y="1"/>
                    <a:pt x="4" y="1"/>
                    <a:pt x="4" y="1"/>
                  </a:cubicBezTo>
                  <a:cubicBezTo>
                    <a:pt x="3" y="1"/>
                    <a:pt x="3" y="1"/>
                    <a:pt x="3" y="1"/>
                  </a:cubicBezTo>
                  <a:cubicBezTo>
                    <a:pt x="3" y="1"/>
                    <a:pt x="3" y="1"/>
                    <a:pt x="3" y="1"/>
                  </a:cubicBezTo>
                  <a:cubicBezTo>
                    <a:pt x="3" y="1"/>
                    <a:pt x="2" y="1"/>
                    <a:pt x="2" y="1"/>
                  </a:cubicBezTo>
                  <a:cubicBezTo>
                    <a:pt x="2" y="1"/>
                    <a:pt x="1" y="1"/>
                    <a:pt x="1" y="1"/>
                  </a:cubicBezTo>
                  <a:cubicBezTo>
                    <a:pt x="1" y="1"/>
                    <a:pt x="1" y="1"/>
                    <a:pt x="0" y="1"/>
                  </a:cubicBezTo>
                  <a:cubicBezTo>
                    <a:pt x="0" y="1"/>
                    <a:pt x="0" y="1"/>
                    <a:pt x="0" y="1"/>
                  </a:cubicBezTo>
                  <a:cubicBezTo>
                    <a:pt x="0" y="1"/>
                    <a:pt x="0" y="1"/>
                    <a:pt x="0" y="1"/>
                  </a:cubicBezTo>
                  <a:cubicBezTo>
                    <a:pt x="0" y="22"/>
                    <a:pt x="0" y="22"/>
                    <a:pt x="0" y="22"/>
                  </a:cubicBezTo>
                  <a:cubicBezTo>
                    <a:pt x="0" y="23"/>
                    <a:pt x="0" y="23"/>
                    <a:pt x="0" y="23"/>
                  </a:cubicBezTo>
                  <a:cubicBezTo>
                    <a:pt x="0" y="23"/>
                    <a:pt x="0" y="23"/>
                    <a:pt x="1" y="23"/>
                  </a:cubicBezTo>
                  <a:cubicBezTo>
                    <a:pt x="1" y="23"/>
                    <a:pt x="1" y="23"/>
                    <a:pt x="1" y="23"/>
                  </a:cubicBezTo>
                  <a:cubicBezTo>
                    <a:pt x="1" y="23"/>
                    <a:pt x="2" y="23"/>
                    <a:pt x="2" y="23"/>
                  </a:cubicBezTo>
                  <a:cubicBezTo>
                    <a:pt x="2" y="23"/>
                    <a:pt x="3" y="23"/>
                    <a:pt x="3" y="23"/>
                  </a:cubicBezTo>
                  <a:cubicBezTo>
                    <a:pt x="3" y="23"/>
                    <a:pt x="3" y="23"/>
                    <a:pt x="4" y="23"/>
                  </a:cubicBezTo>
                  <a:cubicBezTo>
                    <a:pt x="4" y="23"/>
                    <a:pt x="4" y="23"/>
                    <a:pt x="4" y="23"/>
                  </a:cubicBezTo>
                  <a:cubicBezTo>
                    <a:pt x="4" y="23"/>
                    <a:pt x="4" y="23"/>
                    <a:pt x="4" y="22"/>
                  </a:cubicBezTo>
                  <a:cubicBezTo>
                    <a:pt x="4" y="9"/>
                    <a:pt x="4" y="9"/>
                    <a:pt x="4" y="9"/>
                  </a:cubicBezTo>
                  <a:cubicBezTo>
                    <a:pt x="5" y="8"/>
                    <a:pt x="5" y="7"/>
                    <a:pt x="6" y="6"/>
                  </a:cubicBezTo>
                  <a:cubicBezTo>
                    <a:pt x="6" y="6"/>
                    <a:pt x="6" y="5"/>
                    <a:pt x="7" y="5"/>
                  </a:cubicBezTo>
                  <a:cubicBezTo>
                    <a:pt x="7" y="5"/>
                    <a:pt x="8" y="4"/>
                    <a:pt x="8" y="4"/>
                  </a:cubicBezTo>
                  <a:cubicBezTo>
                    <a:pt x="8" y="4"/>
                    <a:pt x="9" y="4"/>
                    <a:pt x="9" y="4"/>
                  </a:cubicBezTo>
                  <a:cubicBezTo>
                    <a:pt x="9" y="4"/>
                    <a:pt x="10" y="4"/>
                    <a:pt x="10" y="4"/>
                  </a:cubicBezTo>
                  <a:cubicBezTo>
                    <a:pt x="10" y="4"/>
                    <a:pt x="11" y="4"/>
                    <a:pt x="11" y="4"/>
                  </a:cubicBezTo>
                  <a:cubicBezTo>
                    <a:pt x="11" y="4"/>
                    <a:pt x="11" y="4"/>
                    <a:pt x="11" y="4"/>
                  </a:cubicBezTo>
                  <a:cubicBezTo>
                    <a:pt x="12" y="5"/>
                    <a:pt x="12" y="5"/>
                    <a:pt x="12" y="5"/>
                  </a:cubicBezTo>
                  <a:cubicBezTo>
                    <a:pt x="12" y="5"/>
                    <a:pt x="12" y="5"/>
                    <a:pt x="12" y="4"/>
                  </a:cubicBezTo>
                  <a:cubicBezTo>
                    <a:pt x="12" y="4"/>
                    <a:pt x="12" y="4"/>
                    <a:pt x="12" y="4"/>
                  </a:cubicBezTo>
                  <a:cubicBezTo>
                    <a:pt x="12" y="4"/>
                    <a:pt x="12" y="4"/>
                    <a:pt x="12" y="4"/>
                  </a:cubicBezTo>
                  <a:cubicBezTo>
                    <a:pt x="12" y="3"/>
                    <a:pt x="12" y="3"/>
                    <a:pt x="12" y="3"/>
                  </a:cubicBezTo>
                  <a:cubicBezTo>
                    <a:pt x="12" y="2"/>
                    <a:pt x="12" y="2"/>
                    <a:pt x="12" y="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144">
              <a:extLst>
                <a:ext uri="{FF2B5EF4-FFF2-40B4-BE49-F238E27FC236}">
                  <a16:creationId xmlns:a16="http://schemas.microsoft.com/office/drawing/2014/main" id="{E7CC03F8-1127-42DC-AD1C-C29D23B30530}"/>
                </a:ext>
              </a:extLst>
            </p:cNvPr>
            <p:cNvSpPr>
              <a:spLocks/>
            </p:cNvSpPr>
            <p:nvPr/>
          </p:nvSpPr>
          <p:spPr bwMode="auto">
            <a:xfrm>
              <a:off x="8807297" y="6280913"/>
              <a:ext cx="59160" cy="113991"/>
            </a:xfrm>
            <a:custGeom>
              <a:avLst/>
              <a:gdLst>
                <a:gd name="T0" fmla="*/ 17 w 17"/>
                <a:gd name="T1" fmla="*/ 32 h 33"/>
                <a:gd name="T2" fmla="*/ 17 w 17"/>
                <a:gd name="T3" fmla="*/ 31 h 33"/>
                <a:gd name="T4" fmla="*/ 8 w 17"/>
                <a:gd name="T5" fmla="*/ 20 h 33"/>
                <a:gd name="T6" fmla="*/ 16 w 17"/>
                <a:gd name="T7" fmla="*/ 13 h 33"/>
                <a:gd name="T8" fmla="*/ 16 w 17"/>
                <a:gd name="T9" fmla="*/ 12 h 33"/>
                <a:gd name="T10" fmla="*/ 16 w 17"/>
                <a:gd name="T11" fmla="*/ 11 h 33"/>
                <a:gd name="T12" fmla="*/ 16 w 17"/>
                <a:gd name="T13" fmla="*/ 11 h 33"/>
                <a:gd name="T14" fmla="*/ 16 w 17"/>
                <a:gd name="T15" fmla="*/ 11 h 33"/>
                <a:gd name="T16" fmla="*/ 15 w 17"/>
                <a:gd name="T17" fmla="*/ 11 h 33"/>
                <a:gd name="T18" fmla="*/ 14 w 17"/>
                <a:gd name="T19" fmla="*/ 11 h 33"/>
                <a:gd name="T20" fmla="*/ 13 w 17"/>
                <a:gd name="T21" fmla="*/ 11 h 33"/>
                <a:gd name="T22" fmla="*/ 13 w 17"/>
                <a:gd name="T23" fmla="*/ 11 h 33"/>
                <a:gd name="T24" fmla="*/ 12 w 17"/>
                <a:gd name="T25" fmla="*/ 11 h 33"/>
                <a:gd name="T26" fmla="*/ 12 w 17"/>
                <a:gd name="T27" fmla="*/ 11 h 33"/>
                <a:gd name="T28" fmla="*/ 4 w 17"/>
                <a:gd name="T29" fmla="*/ 20 h 33"/>
                <a:gd name="T30" fmla="*/ 4 w 17"/>
                <a:gd name="T31" fmla="*/ 1 h 33"/>
                <a:gd name="T32" fmla="*/ 4 w 17"/>
                <a:gd name="T33" fmla="*/ 1 h 33"/>
                <a:gd name="T34" fmla="*/ 3 w 17"/>
                <a:gd name="T35" fmla="*/ 1 h 33"/>
                <a:gd name="T36" fmla="*/ 3 w 17"/>
                <a:gd name="T37" fmla="*/ 0 h 33"/>
                <a:gd name="T38" fmla="*/ 2 w 17"/>
                <a:gd name="T39" fmla="*/ 0 h 33"/>
                <a:gd name="T40" fmla="*/ 1 w 17"/>
                <a:gd name="T41" fmla="*/ 0 h 33"/>
                <a:gd name="T42" fmla="*/ 0 w 17"/>
                <a:gd name="T43" fmla="*/ 1 h 33"/>
                <a:gd name="T44" fmla="*/ 0 w 17"/>
                <a:gd name="T45" fmla="*/ 1 h 33"/>
                <a:gd name="T46" fmla="*/ 0 w 17"/>
                <a:gd name="T47" fmla="*/ 1 h 33"/>
                <a:gd name="T48" fmla="*/ 0 w 17"/>
                <a:gd name="T49" fmla="*/ 32 h 33"/>
                <a:gd name="T50" fmla="*/ 0 w 17"/>
                <a:gd name="T51" fmla="*/ 33 h 33"/>
                <a:gd name="T52" fmla="*/ 0 w 17"/>
                <a:gd name="T53" fmla="*/ 33 h 33"/>
                <a:gd name="T54" fmla="*/ 1 w 17"/>
                <a:gd name="T55" fmla="*/ 33 h 33"/>
                <a:gd name="T56" fmla="*/ 2 w 17"/>
                <a:gd name="T57" fmla="*/ 33 h 33"/>
                <a:gd name="T58" fmla="*/ 3 w 17"/>
                <a:gd name="T59" fmla="*/ 33 h 33"/>
                <a:gd name="T60" fmla="*/ 3 w 17"/>
                <a:gd name="T61" fmla="*/ 33 h 33"/>
                <a:gd name="T62" fmla="*/ 4 w 17"/>
                <a:gd name="T63" fmla="*/ 33 h 33"/>
                <a:gd name="T64" fmla="*/ 4 w 17"/>
                <a:gd name="T65" fmla="*/ 32 h 33"/>
                <a:gd name="T66" fmla="*/ 4 w 17"/>
                <a:gd name="T67" fmla="*/ 21 h 33"/>
                <a:gd name="T68" fmla="*/ 13 w 17"/>
                <a:gd name="T69" fmla="*/ 32 h 33"/>
                <a:gd name="T70" fmla="*/ 13 w 17"/>
                <a:gd name="T71" fmla="*/ 33 h 33"/>
                <a:gd name="T72" fmla="*/ 13 w 17"/>
                <a:gd name="T73" fmla="*/ 33 h 33"/>
                <a:gd name="T74" fmla="*/ 14 w 17"/>
                <a:gd name="T75" fmla="*/ 33 h 33"/>
                <a:gd name="T76" fmla="*/ 15 w 17"/>
                <a:gd name="T77" fmla="*/ 33 h 33"/>
                <a:gd name="T78" fmla="*/ 16 w 17"/>
                <a:gd name="T79" fmla="*/ 33 h 33"/>
                <a:gd name="T80" fmla="*/ 17 w 17"/>
                <a:gd name="T81" fmla="*/ 33 h 33"/>
                <a:gd name="T82" fmla="*/ 17 w 17"/>
                <a:gd name="T83" fmla="*/ 33 h 33"/>
                <a:gd name="T84" fmla="*/ 17 w 17"/>
                <a:gd name="T85" fmla="*/ 32 h 33"/>
                <a:gd name="T86" fmla="*/ 17 w 17"/>
                <a:gd name="T8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33">
                  <a:moveTo>
                    <a:pt x="17" y="32"/>
                  </a:moveTo>
                  <a:cubicBezTo>
                    <a:pt x="17" y="32"/>
                    <a:pt x="17" y="32"/>
                    <a:pt x="17" y="31"/>
                  </a:cubicBezTo>
                  <a:cubicBezTo>
                    <a:pt x="8" y="20"/>
                    <a:pt x="8" y="20"/>
                    <a:pt x="8" y="20"/>
                  </a:cubicBezTo>
                  <a:cubicBezTo>
                    <a:pt x="16" y="13"/>
                    <a:pt x="16" y="13"/>
                    <a:pt x="16" y="13"/>
                  </a:cubicBezTo>
                  <a:cubicBezTo>
                    <a:pt x="16" y="12"/>
                    <a:pt x="16" y="12"/>
                    <a:pt x="16" y="12"/>
                  </a:cubicBezTo>
                  <a:cubicBezTo>
                    <a:pt x="16" y="12"/>
                    <a:pt x="16" y="11"/>
                    <a:pt x="16" y="11"/>
                  </a:cubicBezTo>
                  <a:cubicBezTo>
                    <a:pt x="16" y="11"/>
                    <a:pt x="16" y="11"/>
                    <a:pt x="16" y="11"/>
                  </a:cubicBezTo>
                  <a:cubicBezTo>
                    <a:pt x="16" y="11"/>
                    <a:pt x="16" y="11"/>
                    <a:pt x="16" y="11"/>
                  </a:cubicBezTo>
                  <a:cubicBezTo>
                    <a:pt x="16" y="11"/>
                    <a:pt x="16" y="11"/>
                    <a:pt x="15" y="11"/>
                  </a:cubicBezTo>
                  <a:cubicBezTo>
                    <a:pt x="15" y="11"/>
                    <a:pt x="15" y="11"/>
                    <a:pt x="14" y="11"/>
                  </a:cubicBezTo>
                  <a:cubicBezTo>
                    <a:pt x="14" y="11"/>
                    <a:pt x="14" y="11"/>
                    <a:pt x="13" y="11"/>
                  </a:cubicBezTo>
                  <a:cubicBezTo>
                    <a:pt x="13" y="11"/>
                    <a:pt x="13" y="11"/>
                    <a:pt x="13" y="11"/>
                  </a:cubicBezTo>
                  <a:cubicBezTo>
                    <a:pt x="12" y="11"/>
                    <a:pt x="12" y="11"/>
                    <a:pt x="12" y="11"/>
                  </a:cubicBezTo>
                  <a:cubicBezTo>
                    <a:pt x="12" y="11"/>
                    <a:pt x="12" y="11"/>
                    <a:pt x="12" y="11"/>
                  </a:cubicBezTo>
                  <a:cubicBezTo>
                    <a:pt x="4" y="20"/>
                    <a:pt x="4" y="20"/>
                    <a:pt x="4" y="20"/>
                  </a:cubicBezTo>
                  <a:cubicBezTo>
                    <a:pt x="4" y="1"/>
                    <a:pt x="4" y="1"/>
                    <a:pt x="4" y="1"/>
                  </a:cubicBezTo>
                  <a:cubicBezTo>
                    <a:pt x="4" y="1"/>
                    <a:pt x="4" y="1"/>
                    <a:pt x="4" y="1"/>
                  </a:cubicBezTo>
                  <a:cubicBezTo>
                    <a:pt x="4" y="1"/>
                    <a:pt x="4" y="1"/>
                    <a:pt x="3" y="1"/>
                  </a:cubicBezTo>
                  <a:cubicBezTo>
                    <a:pt x="3" y="0"/>
                    <a:pt x="3" y="0"/>
                    <a:pt x="3" y="0"/>
                  </a:cubicBezTo>
                  <a:cubicBezTo>
                    <a:pt x="3" y="0"/>
                    <a:pt x="2" y="0"/>
                    <a:pt x="2" y="0"/>
                  </a:cubicBezTo>
                  <a:cubicBezTo>
                    <a:pt x="1" y="0"/>
                    <a:pt x="1" y="0"/>
                    <a:pt x="1" y="0"/>
                  </a:cubicBezTo>
                  <a:cubicBezTo>
                    <a:pt x="1" y="0"/>
                    <a:pt x="0" y="0"/>
                    <a:pt x="0" y="1"/>
                  </a:cubicBezTo>
                  <a:cubicBezTo>
                    <a:pt x="0" y="1"/>
                    <a:pt x="0" y="1"/>
                    <a:pt x="0" y="1"/>
                  </a:cubicBezTo>
                  <a:cubicBezTo>
                    <a:pt x="0" y="1"/>
                    <a:pt x="0" y="1"/>
                    <a:pt x="0" y="1"/>
                  </a:cubicBezTo>
                  <a:cubicBezTo>
                    <a:pt x="0" y="32"/>
                    <a:pt x="0" y="32"/>
                    <a:pt x="0" y="32"/>
                  </a:cubicBezTo>
                  <a:cubicBezTo>
                    <a:pt x="0" y="33"/>
                    <a:pt x="0" y="33"/>
                    <a:pt x="0" y="33"/>
                  </a:cubicBezTo>
                  <a:cubicBezTo>
                    <a:pt x="0" y="33"/>
                    <a:pt x="0" y="33"/>
                    <a:pt x="0" y="33"/>
                  </a:cubicBezTo>
                  <a:cubicBezTo>
                    <a:pt x="0" y="33"/>
                    <a:pt x="1" y="33"/>
                    <a:pt x="1" y="33"/>
                  </a:cubicBezTo>
                  <a:cubicBezTo>
                    <a:pt x="1" y="33"/>
                    <a:pt x="1" y="33"/>
                    <a:pt x="2" y="33"/>
                  </a:cubicBezTo>
                  <a:cubicBezTo>
                    <a:pt x="2" y="33"/>
                    <a:pt x="3" y="33"/>
                    <a:pt x="3" y="33"/>
                  </a:cubicBezTo>
                  <a:cubicBezTo>
                    <a:pt x="3" y="33"/>
                    <a:pt x="3" y="33"/>
                    <a:pt x="3" y="33"/>
                  </a:cubicBezTo>
                  <a:cubicBezTo>
                    <a:pt x="4" y="33"/>
                    <a:pt x="4" y="33"/>
                    <a:pt x="4" y="33"/>
                  </a:cubicBezTo>
                  <a:cubicBezTo>
                    <a:pt x="4" y="33"/>
                    <a:pt x="4" y="33"/>
                    <a:pt x="4" y="32"/>
                  </a:cubicBezTo>
                  <a:cubicBezTo>
                    <a:pt x="4" y="21"/>
                    <a:pt x="4" y="21"/>
                    <a:pt x="4" y="21"/>
                  </a:cubicBezTo>
                  <a:cubicBezTo>
                    <a:pt x="13" y="32"/>
                    <a:pt x="13" y="32"/>
                    <a:pt x="13" y="32"/>
                  </a:cubicBezTo>
                  <a:cubicBezTo>
                    <a:pt x="13" y="33"/>
                    <a:pt x="13" y="33"/>
                    <a:pt x="13" y="33"/>
                  </a:cubicBezTo>
                  <a:cubicBezTo>
                    <a:pt x="13" y="33"/>
                    <a:pt x="13" y="33"/>
                    <a:pt x="13" y="33"/>
                  </a:cubicBezTo>
                  <a:cubicBezTo>
                    <a:pt x="14" y="33"/>
                    <a:pt x="14" y="33"/>
                    <a:pt x="14" y="33"/>
                  </a:cubicBezTo>
                  <a:cubicBezTo>
                    <a:pt x="14" y="33"/>
                    <a:pt x="15" y="33"/>
                    <a:pt x="15" y="33"/>
                  </a:cubicBezTo>
                  <a:cubicBezTo>
                    <a:pt x="16" y="33"/>
                    <a:pt x="16" y="33"/>
                    <a:pt x="16" y="33"/>
                  </a:cubicBezTo>
                  <a:cubicBezTo>
                    <a:pt x="16" y="33"/>
                    <a:pt x="17" y="33"/>
                    <a:pt x="17" y="33"/>
                  </a:cubicBezTo>
                  <a:cubicBezTo>
                    <a:pt x="17" y="33"/>
                    <a:pt x="17" y="33"/>
                    <a:pt x="17" y="33"/>
                  </a:cubicBezTo>
                  <a:cubicBezTo>
                    <a:pt x="17" y="33"/>
                    <a:pt x="17" y="33"/>
                    <a:pt x="17" y="32"/>
                  </a:cubicBezTo>
                  <a:cubicBezTo>
                    <a:pt x="17" y="32"/>
                    <a:pt x="17" y="32"/>
                    <a:pt x="17" y="3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145">
              <a:extLst>
                <a:ext uri="{FF2B5EF4-FFF2-40B4-BE49-F238E27FC236}">
                  <a16:creationId xmlns:a16="http://schemas.microsoft.com/office/drawing/2014/main" id="{7E7F108E-45A4-40F9-8188-A10F3519E414}"/>
                </a:ext>
              </a:extLst>
            </p:cNvPr>
            <p:cNvSpPr>
              <a:spLocks noEditPoints="1"/>
            </p:cNvSpPr>
            <p:nvPr/>
          </p:nvSpPr>
          <p:spPr bwMode="auto">
            <a:xfrm>
              <a:off x="8883772" y="6315543"/>
              <a:ext cx="64932" cy="109661"/>
            </a:xfrm>
            <a:custGeom>
              <a:avLst/>
              <a:gdLst>
                <a:gd name="T0" fmla="*/ 18 w 19"/>
                <a:gd name="T1" fmla="*/ 7 h 32"/>
                <a:gd name="T2" fmla="*/ 17 w 19"/>
                <a:gd name="T3" fmla="*/ 4 h 32"/>
                <a:gd name="T4" fmla="*/ 14 w 19"/>
                <a:gd name="T5" fmla="*/ 1 h 32"/>
                <a:gd name="T6" fmla="*/ 10 w 19"/>
                <a:gd name="T7" fmla="*/ 0 h 32"/>
                <a:gd name="T8" fmla="*/ 8 w 19"/>
                <a:gd name="T9" fmla="*/ 1 h 32"/>
                <a:gd name="T10" fmla="*/ 7 w 19"/>
                <a:gd name="T11" fmla="*/ 1 h 32"/>
                <a:gd name="T12" fmla="*/ 5 w 19"/>
                <a:gd name="T13" fmla="*/ 2 h 32"/>
                <a:gd name="T14" fmla="*/ 3 w 19"/>
                <a:gd name="T15" fmla="*/ 4 h 32"/>
                <a:gd name="T16" fmla="*/ 3 w 19"/>
                <a:gd name="T17" fmla="*/ 1 h 32"/>
                <a:gd name="T18" fmla="*/ 3 w 19"/>
                <a:gd name="T19" fmla="*/ 1 h 32"/>
                <a:gd name="T20" fmla="*/ 3 w 19"/>
                <a:gd name="T21" fmla="*/ 1 h 32"/>
                <a:gd name="T22" fmla="*/ 2 w 19"/>
                <a:gd name="T23" fmla="*/ 1 h 32"/>
                <a:gd name="T24" fmla="*/ 1 w 19"/>
                <a:gd name="T25" fmla="*/ 1 h 32"/>
                <a:gd name="T26" fmla="*/ 0 w 19"/>
                <a:gd name="T27" fmla="*/ 1 h 32"/>
                <a:gd name="T28" fmla="*/ 0 w 19"/>
                <a:gd name="T29" fmla="*/ 1 h 32"/>
                <a:gd name="T30" fmla="*/ 0 w 19"/>
                <a:gd name="T31" fmla="*/ 1 h 32"/>
                <a:gd name="T32" fmla="*/ 0 w 19"/>
                <a:gd name="T33" fmla="*/ 1 h 32"/>
                <a:gd name="T34" fmla="*/ 0 w 19"/>
                <a:gd name="T35" fmla="*/ 31 h 32"/>
                <a:gd name="T36" fmla="*/ 0 w 19"/>
                <a:gd name="T37" fmla="*/ 31 h 32"/>
                <a:gd name="T38" fmla="*/ 0 w 19"/>
                <a:gd name="T39" fmla="*/ 31 h 32"/>
                <a:gd name="T40" fmla="*/ 1 w 19"/>
                <a:gd name="T41" fmla="*/ 31 h 32"/>
                <a:gd name="T42" fmla="*/ 1 w 19"/>
                <a:gd name="T43" fmla="*/ 32 h 32"/>
                <a:gd name="T44" fmla="*/ 2 w 19"/>
                <a:gd name="T45" fmla="*/ 31 h 32"/>
                <a:gd name="T46" fmla="*/ 3 w 19"/>
                <a:gd name="T47" fmla="*/ 31 h 32"/>
                <a:gd name="T48" fmla="*/ 3 w 19"/>
                <a:gd name="T49" fmla="*/ 31 h 32"/>
                <a:gd name="T50" fmla="*/ 3 w 19"/>
                <a:gd name="T51" fmla="*/ 31 h 32"/>
                <a:gd name="T52" fmla="*/ 3 w 19"/>
                <a:gd name="T53" fmla="*/ 20 h 32"/>
                <a:gd name="T54" fmla="*/ 5 w 19"/>
                <a:gd name="T55" fmla="*/ 22 h 32"/>
                <a:gd name="T56" fmla="*/ 7 w 19"/>
                <a:gd name="T57" fmla="*/ 23 h 32"/>
                <a:gd name="T58" fmla="*/ 8 w 19"/>
                <a:gd name="T59" fmla="*/ 23 h 32"/>
                <a:gd name="T60" fmla="*/ 10 w 19"/>
                <a:gd name="T61" fmla="*/ 23 h 32"/>
                <a:gd name="T62" fmla="*/ 14 w 19"/>
                <a:gd name="T63" fmla="*/ 23 h 32"/>
                <a:gd name="T64" fmla="*/ 17 w 19"/>
                <a:gd name="T65" fmla="*/ 20 h 32"/>
                <a:gd name="T66" fmla="*/ 18 w 19"/>
                <a:gd name="T67" fmla="*/ 17 h 32"/>
                <a:gd name="T68" fmla="*/ 19 w 19"/>
                <a:gd name="T69" fmla="*/ 12 h 32"/>
                <a:gd name="T70" fmla="*/ 18 w 19"/>
                <a:gd name="T71" fmla="*/ 7 h 32"/>
                <a:gd name="T72" fmla="*/ 15 w 19"/>
                <a:gd name="T73" fmla="*/ 15 h 32"/>
                <a:gd name="T74" fmla="*/ 14 w 19"/>
                <a:gd name="T75" fmla="*/ 18 h 32"/>
                <a:gd name="T76" fmla="*/ 12 w 19"/>
                <a:gd name="T77" fmla="*/ 19 h 32"/>
                <a:gd name="T78" fmla="*/ 9 w 19"/>
                <a:gd name="T79" fmla="*/ 20 h 32"/>
                <a:gd name="T80" fmla="*/ 6 w 19"/>
                <a:gd name="T81" fmla="*/ 19 h 32"/>
                <a:gd name="T82" fmla="*/ 3 w 19"/>
                <a:gd name="T83" fmla="*/ 16 h 32"/>
                <a:gd name="T84" fmla="*/ 3 w 19"/>
                <a:gd name="T85" fmla="*/ 8 h 32"/>
                <a:gd name="T86" fmla="*/ 5 w 19"/>
                <a:gd name="T87" fmla="*/ 6 h 32"/>
                <a:gd name="T88" fmla="*/ 7 w 19"/>
                <a:gd name="T89" fmla="*/ 5 h 32"/>
                <a:gd name="T90" fmla="*/ 8 w 19"/>
                <a:gd name="T91" fmla="*/ 4 h 32"/>
                <a:gd name="T92" fmla="*/ 10 w 19"/>
                <a:gd name="T93" fmla="*/ 4 h 32"/>
                <a:gd name="T94" fmla="*/ 12 w 19"/>
                <a:gd name="T95" fmla="*/ 4 h 32"/>
                <a:gd name="T96" fmla="*/ 14 w 19"/>
                <a:gd name="T97" fmla="*/ 6 h 32"/>
                <a:gd name="T98" fmla="*/ 15 w 19"/>
                <a:gd name="T99" fmla="*/ 9 h 32"/>
                <a:gd name="T100" fmla="*/ 15 w 19"/>
                <a:gd name="T101" fmla="*/ 12 h 32"/>
                <a:gd name="T102" fmla="*/ 15 w 19"/>
                <a:gd name="T10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32">
                  <a:moveTo>
                    <a:pt x="18" y="7"/>
                  </a:moveTo>
                  <a:cubicBezTo>
                    <a:pt x="18" y="6"/>
                    <a:pt x="18" y="5"/>
                    <a:pt x="17" y="4"/>
                  </a:cubicBezTo>
                  <a:cubicBezTo>
                    <a:pt x="16" y="3"/>
                    <a:pt x="15" y="2"/>
                    <a:pt x="14" y="1"/>
                  </a:cubicBezTo>
                  <a:cubicBezTo>
                    <a:pt x="13" y="1"/>
                    <a:pt x="12" y="0"/>
                    <a:pt x="10" y="0"/>
                  </a:cubicBezTo>
                  <a:cubicBezTo>
                    <a:pt x="10" y="0"/>
                    <a:pt x="9" y="0"/>
                    <a:pt x="8" y="1"/>
                  </a:cubicBezTo>
                  <a:cubicBezTo>
                    <a:pt x="8" y="1"/>
                    <a:pt x="7" y="1"/>
                    <a:pt x="7" y="1"/>
                  </a:cubicBezTo>
                  <a:cubicBezTo>
                    <a:pt x="6" y="2"/>
                    <a:pt x="5" y="2"/>
                    <a:pt x="5" y="2"/>
                  </a:cubicBezTo>
                  <a:cubicBezTo>
                    <a:pt x="4" y="3"/>
                    <a:pt x="4" y="4"/>
                    <a:pt x="3" y="4"/>
                  </a:cubicBezTo>
                  <a:cubicBezTo>
                    <a:pt x="3" y="1"/>
                    <a:pt x="3" y="1"/>
                    <a:pt x="3" y="1"/>
                  </a:cubicBezTo>
                  <a:cubicBezTo>
                    <a:pt x="3" y="1"/>
                    <a:pt x="3" y="1"/>
                    <a:pt x="3" y="1"/>
                  </a:cubicBezTo>
                  <a:cubicBezTo>
                    <a:pt x="3" y="1"/>
                    <a:pt x="3" y="1"/>
                    <a:pt x="3" y="1"/>
                  </a:cubicBezTo>
                  <a:cubicBezTo>
                    <a:pt x="2" y="1"/>
                    <a:pt x="2" y="1"/>
                    <a:pt x="2" y="1"/>
                  </a:cubicBezTo>
                  <a:cubicBezTo>
                    <a:pt x="2" y="1"/>
                    <a:pt x="2" y="1"/>
                    <a:pt x="1" y="1"/>
                  </a:cubicBezTo>
                  <a:cubicBezTo>
                    <a:pt x="1" y="1"/>
                    <a:pt x="1" y="1"/>
                    <a:pt x="0" y="1"/>
                  </a:cubicBezTo>
                  <a:cubicBezTo>
                    <a:pt x="0" y="1"/>
                    <a:pt x="0" y="1"/>
                    <a:pt x="0" y="1"/>
                  </a:cubicBezTo>
                  <a:cubicBezTo>
                    <a:pt x="0" y="1"/>
                    <a:pt x="0" y="1"/>
                    <a:pt x="0" y="1"/>
                  </a:cubicBezTo>
                  <a:cubicBezTo>
                    <a:pt x="0" y="1"/>
                    <a:pt x="0" y="1"/>
                    <a:pt x="0" y="1"/>
                  </a:cubicBezTo>
                  <a:cubicBezTo>
                    <a:pt x="0" y="31"/>
                    <a:pt x="0" y="31"/>
                    <a:pt x="0" y="31"/>
                  </a:cubicBezTo>
                  <a:cubicBezTo>
                    <a:pt x="0" y="31"/>
                    <a:pt x="0" y="31"/>
                    <a:pt x="0" y="31"/>
                  </a:cubicBezTo>
                  <a:cubicBezTo>
                    <a:pt x="0" y="31"/>
                    <a:pt x="0" y="31"/>
                    <a:pt x="0" y="31"/>
                  </a:cubicBezTo>
                  <a:cubicBezTo>
                    <a:pt x="0" y="31"/>
                    <a:pt x="0" y="31"/>
                    <a:pt x="1" y="31"/>
                  </a:cubicBezTo>
                  <a:cubicBezTo>
                    <a:pt x="1" y="32"/>
                    <a:pt x="1" y="32"/>
                    <a:pt x="1" y="32"/>
                  </a:cubicBezTo>
                  <a:cubicBezTo>
                    <a:pt x="2" y="32"/>
                    <a:pt x="2" y="32"/>
                    <a:pt x="2" y="31"/>
                  </a:cubicBezTo>
                  <a:cubicBezTo>
                    <a:pt x="3" y="31"/>
                    <a:pt x="3" y="31"/>
                    <a:pt x="3" y="31"/>
                  </a:cubicBezTo>
                  <a:cubicBezTo>
                    <a:pt x="3" y="31"/>
                    <a:pt x="3" y="31"/>
                    <a:pt x="3" y="31"/>
                  </a:cubicBezTo>
                  <a:cubicBezTo>
                    <a:pt x="3" y="31"/>
                    <a:pt x="3" y="31"/>
                    <a:pt x="3" y="31"/>
                  </a:cubicBezTo>
                  <a:cubicBezTo>
                    <a:pt x="3" y="20"/>
                    <a:pt x="3" y="20"/>
                    <a:pt x="3" y="20"/>
                  </a:cubicBezTo>
                  <a:cubicBezTo>
                    <a:pt x="4" y="21"/>
                    <a:pt x="5" y="21"/>
                    <a:pt x="5" y="22"/>
                  </a:cubicBezTo>
                  <a:cubicBezTo>
                    <a:pt x="6" y="22"/>
                    <a:pt x="6" y="22"/>
                    <a:pt x="7" y="23"/>
                  </a:cubicBezTo>
                  <a:cubicBezTo>
                    <a:pt x="7" y="23"/>
                    <a:pt x="8" y="23"/>
                    <a:pt x="8" y="23"/>
                  </a:cubicBezTo>
                  <a:cubicBezTo>
                    <a:pt x="9" y="23"/>
                    <a:pt x="9" y="23"/>
                    <a:pt x="10" y="23"/>
                  </a:cubicBezTo>
                  <a:cubicBezTo>
                    <a:pt x="11" y="23"/>
                    <a:pt x="13" y="23"/>
                    <a:pt x="14" y="23"/>
                  </a:cubicBezTo>
                  <a:cubicBezTo>
                    <a:pt x="15" y="22"/>
                    <a:pt x="16" y="21"/>
                    <a:pt x="17" y="20"/>
                  </a:cubicBezTo>
                  <a:cubicBezTo>
                    <a:pt x="17" y="19"/>
                    <a:pt x="18" y="18"/>
                    <a:pt x="18" y="17"/>
                  </a:cubicBezTo>
                  <a:cubicBezTo>
                    <a:pt x="19" y="15"/>
                    <a:pt x="19" y="13"/>
                    <a:pt x="19" y="12"/>
                  </a:cubicBezTo>
                  <a:cubicBezTo>
                    <a:pt x="19" y="10"/>
                    <a:pt x="19" y="9"/>
                    <a:pt x="18" y="7"/>
                  </a:cubicBezTo>
                  <a:close/>
                  <a:moveTo>
                    <a:pt x="15" y="15"/>
                  </a:moveTo>
                  <a:cubicBezTo>
                    <a:pt x="14" y="16"/>
                    <a:pt x="14" y="17"/>
                    <a:pt x="14" y="18"/>
                  </a:cubicBezTo>
                  <a:cubicBezTo>
                    <a:pt x="13" y="18"/>
                    <a:pt x="13" y="19"/>
                    <a:pt x="12" y="19"/>
                  </a:cubicBezTo>
                  <a:cubicBezTo>
                    <a:pt x="11" y="20"/>
                    <a:pt x="10" y="20"/>
                    <a:pt x="9" y="20"/>
                  </a:cubicBezTo>
                  <a:cubicBezTo>
                    <a:pt x="8" y="20"/>
                    <a:pt x="7" y="20"/>
                    <a:pt x="6" y="19"/>
                  </a:cubicBezTo>
                  <a:cubicBezTo>
                    <a:pt x="5" y="18"/>
                    <a:pt x="4" y="17"/>
                    <a:pt x="3" y="16"/>
                  </a:cubicBezTo>
                  <a:cubicBezTo>
                    <a:pt x="3" y="8"/>
                    <a:pt x="3" y="8"/>
                    <a:pt x="3" y="8"/>
                  </a:cubicBezTo>
                  <a:cubicBezTo>
                    <a:pt x="4" y="7"/>
                    <a:pt x="5" y="6"/>
                    <a:pt x="5" y="6"/>
                  </a:cubicBezTo>
                  <a:cubicBezTo>
                    <a:pt x="6" y="5"/>
                    <a:pt x="6" y="5"/>
                    <a:pt x="7" y="5"/>
                  </a:cubicBezTo>
                  <a:cubicBezTo>
                    <a:pt x="7" y="4"/>
                    <a:pt x="8" y="4"/>
                    <a:pt x="8" y="4"/>
                  </a:cubicBezTo>
                  <a:cubicBezTo>
                    <a:pt x="9" y="4"/>
                    <a:pt x="9" y="4"/>
                    <a:pt x="10" y="4"/>
                  </a:cubicBezTo>
                  <a:cubicBezTo>
                    <a:pt x="11" y="4"/>
                    <a:pt x="12" y="4"/>
                    <a:pt x="12" y="4"/>
                  </a:cubicBezTo>
                  <a:cubicBezTo>
                    <a:pt x="13" y="5"/>
                    <a:pt x="13" y="5"/>
                    <a:pt x="14" y="6"/>
                  </a:cubicBezTo>
                  <a:cubicBezTo>
                    <a:pt x="14" y="7"/>
                    <a:pt x="15" y="8"/>
                    <a:pt x="15" y="9"/>
                  </a:cubicBezTo>
                  <a:cubicBezTo>
                    <a:pt x="15" y="10"/>
                    <a:pt x="15" y="11"/>
                    <a:pt x="15" y="12"/>
                  </a:cubicBezTo>
                  <a:cubicBezTo>
                    <a:pt x="15" y="13"/>
                    <a:pt x="15" y="14"/>
                    <a:pt x="15" y="15"/>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146">
              <a:extLst>
                <a:ext uri="{FF2B5EF4-FFF2-40B4-BE49-F238E27FC236}">
                  <a16:creationId xmlns:a16="http://schemas.microsoft.com/office/drawing/2014/main" id="{87F3A522-168E-4BA3-A54A-AC2F65409463}"/>
                </a:ext>
              </a:extLst>
            </p:cNvPr>
            <p:cNvSpPr>
              <a:spLocks/>
            </p:cNvSpPr>
            <p:nvPr/>
          </p:nvSpPr>
          <p:spPr bwMode="auto">
            <a:xfrm>
              <a:off x="8968904" y="6280913"/>
              <a:ext cx="12987" cy="113991"/>
            </a:xfrm>
            <a:custGeom>
              <a:avLst/>
              <a:gdLst>
                <a:gd name="T0" fmla="*/ 4 w 4"/>
                <a:gd name="T1" fmla="*/ 1 h 33"/>
                <a:gd name="T2" fmla="*/ 4 w 4"/>
                <a:gd name="T3" fmla="*/ 1 h 33"/>
                <a:gd name="T4" fmla="*/ 3 w 4"/>
                <a:gd name="T5" fmla="*/ 1 h 33"/>
                <a:gd name="T6" fmla="*/ 3 w 4"/>
                <a:gd name="T7" fmla="*/ 0 h 33"/>
                <a:gd name="T8" fmla="*/ 2 w 4"/>
                <a:gd name="T9" fmla="*/ 0 h 33"/>
                <a:gd name="T10" fmla="*/ 1 w 4"/>
                <a:gd name="T11" fmla="*/ 0 h 33"/>
                <a:gd name="T12" fmla="*/ 0 w 4"/>
                <a:gd name="T13" fmla="*/ 1 h 33"/>
                <a:gd name="T14" fmla="*/ 0 w 4"/>
                <a:gd name="T15" fmla="*/ 1 h 33"/>
                <a:gd name="T16" fmla="*/ 0 w 4"/>
                <a:gd name="T17" fmla="*/ 1 h 33"/>
                <a:gd name="T18" fmla="*/ 0 w 4"/>
                <a:gd name="T19" fmla="*/ 32 h 33"/>
                <a:gd name="T20" fmla="*/ 0 w 4"/>
                <a:gd name="T21" fmla="*/ 33 h 33"/>
                <a:gd name="T22" fmla="*/ 0 w 4"/>
                <a:gd name="T23" fmla="*/ 33 h 33"/>
                <a:gd name="T24" fmla="*/ 1 w 4"/>
                <a:gd name="T25" fmla="*/ 33 h 33"/>
                <a:gd name="T26" fmla="*/ 2 w 4"/>
                <a:gd name="T27" fmla="*/ 33 h 33"/>
                <a:gd name="T28" fmla="*/ 3 w 4"/>
                <a:gd name="T29" fmla="*/ 33 h 33"/>
                <a:gd name="T30" fmla="*/ 3 w 4"/>
                <a:gd name="T31" fmla="*/ 33 h 33"/>
                <a:gd name="T32" fmla="*/ 4 w 4"/>
                <a:gd name="T33" fmla="*/ 33 h 33"/>
                <a:gd name="T34" fmla="*/ 4 w 4"/>
                <a:gd name="T35" fmla="*/ 32 h 33"/>
                <a:gd name="T36" fmla="*/ 4 w 4"/>
                <a:gd name="T3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3">
                  <a:moveTo>
                    <a:pt x="4" y="1"/>
                  </a:moveTo>
                  <a:cubicBezTo>
                    <a:pt x="4" y="1"/>
                    <a:pt x="4" y="1"/>
                    <a:pt x="4" y="1"/>
                  </a:cubicBezTo>
                  <a:cubicBezTo>
                    <a:pt x="4" y="1"/>
                    <a:pt x="4" y="1"/>
                    <a:pt x="3" y="1"/>
                  </a:cubicBezTo>
                  <a:cubicBezTo>
                    <a:pt x="3" y="0"/>
                    <a:pt x="3" y="0"/>
                    <a:pt x="3" y="0"/>
                  </a:cubicBezTo>
                  <a:cubicBezTo>
                    <a:pt x="3" y="0"/>
                    <a:pt x="2" y="0"/>
                    <a:pt x="2" y="0"/>
                  </a:cubicBezTo>
                  <a:cubicBezTo>
                    <a:pt x="2" y="0"/>
                    <a:pt x="1" y="0"/>
                    <a:pt x="1" y="0"/>
                  </a:cubicBezTo>
                  <a:cubicBezTo>
                    <a:pt x="1" y="0"/>
                    <a:pt x="0" y="0"/>
                    <a:pt x="0" y="1"/>
                  </a:cubicBezTo>
                  <a:cubicBezTo>
                    <a:pt x="0" y="1"/>
                    <a:pt x="0" y="1"/>
                    <a:pt x="0" y="1"/>
                  </a:cubicBezTo>
                  <a:cubicBezTo>
                    <a:pt x="0" y="1"/>
                    <a:pt x="0" y="1"/>
                    <a:pt x="0" y="1"/>
                  </a:cubicBezTo>
                  <a:cubicBezTo>
                    <a:pt x="0" y="32"/>
                    <a:pt x="0" y="32"/>
                    <a:pt x="0" y="32"/>
                  </a:cubicBezTo>
                  <a:cubicBezTo>
                    <a:pt x="0" y="33"/>
                    <a:pt x="0" y="33"/>
                    <a:pt x="0" y="33"/>
                  </a:cubicBezTo>
                  <a:cubicBezTo>
                    <a:pt x="0" y="33"/>
                    <a:pt x="0" y="33"/>
                    <a:pt x="0" y="33"/>
                  </a:cubicBezTo>
                  <a:cubicBezTo>
                    <a:pt x="0" y="33"/>
                    <a:pt x="1" y="33"/>
                    <a:pt x="1" y="33"/>
                  </a:cubicBezTo>
                  <a:cubicBezTo>
                    <a:pt x="1" y="33"/>
                    <a:pt x="2" y="33"/>
                    <a:pt x="2" y="33"/>
                  </a:cubicBezTo>
                  <a:cubicBezTo>
                    <a:pt x="2" y="33"/>
                    <a:pt x="3" y="33"/>
                    <a:pt x="3" y="33"/>
                  </a:cubicBezTo>
                  <a:cubicBezTo>
                    <a:pt x="3" y="33"/>
                    <a:pt x="3" y="33"/>
                    <a:pt x="3" y="33"/>
                  </a:cubicBezTo>
                  <a:cubicBezTo>
                    <a:pt x="4" y="33"/>
                    <a:pt x="4" y="33"/>
                    <a:pt x="4" y="33"/>
                  </a:cubicBezTo>
                  <a:cubicBezTo>
                    <a:pt x="4" y="33"/>
                    <a:pt x="4" y="33"/>
                    <a:pt x="4" y="32"/>
                  </a:cubicBezTo>
                  <a:cubicBezTo>
                    <a:pt x="4" y="1"/>
                    <a:pt x="4"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147">
              <a:extLst>
                <a:ext uri="{FF2B5EF4-FFF2-40B4-BE49-F238E27FC236}">
                  <a16:creationId xmlns:a16="http://schemas.microsoft.com/office/drawing/2014/main" id="{2EC9D3A1-3813-4FC5-A993-532353D1621A}"/>
                </a:ext>
              </a:extLst>
            </p:cNvPr>
            <p:cNvSpPr>
              <a:spLocks noEditPoints="1"/>
            </p:cNvSpPr>
            <p:nvPr/>
          </p:nvSpPr>
          <p:spPr bwMode="auto">
            <a:xfrm>
              <a:off x="9003534" y="6315543"/>
              <a:ext cx="57717" cy="79361"/>
            </a:xfrm>
            <a:custGeom>
              <a:avLst/>
              <a:gdLst>
                <a:gd name="T0" fmla="*/ 17 w 17"/>
                <a:gd name="T1" fmla="*/ 8 h 23"/>
                <a:gd name="T2" fmla="*/ 16 w 17"/>
                <a:gd name="T3" fmla="*/ 5 h 23"/>
                <a:gd name="T4" fmla="*/ 15 w 17"/>
                <a:gd name="T5" fmla="*/ 2 h 23"/>
                <a:gd name="T6" fmla="*/ 12 w 17"/>
                <a:gd name="T7" fmla="*/ 1 h 23"/>
                <a:gd name="T8" fmla="*/ 9 w 17"/>
                <a:gd name="T9" fmla="*/ 0 h 23"/>
                <a:gd name="T10" fmla="*/ 6 w 17"/>
                <a:gd name="T11" fmla="*/ 0 h 23"/>
                <a:gd name="T12" fmla="*/ 4 w 17"/>
                <a:gd name="T13" fmla="*/ 1 h 23"/>
                <a:gd name="T14" fmla="*/ 2 w 17"/>
                <a:gd name="T15" fmla="*/ 2 h 23"/>
                <a:gd name="T16" fmla="*/ 1 w 17"/>
                <a:gd name="T17" fmla="*/ 3 h 23"/>
                <a:gd name="T18" fmla="*/ 1 w 17"/>
                <a:gd name="T19" fmla="*/ 3 h 23"/>
                <a:gd name="T20" fmla="*/ 1 w 17"/>
                <a:gd name="T21" fmla="*/ 4 h 23"/>
                <a:gd name="T22" fmla="*/ 1 w 17"/>
                <a:gd name="T23" fmla="*/ 5 h 23"/>
                <a:gd name="T24" fmla="*/ 1 w 17"/>
                <a:gd name="T25" fmla="*/ 5 h 23"/>
                <a:gd name="T26" fmla="*/ 1 w 17"/>
                <a:gd name="T27" fmla="*/ 6 h 23"/>
                <a:gd name="T28" fmla="*/ 1 w 17"/>
                <a:gd name="T29" fmla="*/ 6 h 23"/>
                <a:gd name="T30" fmla="*/ 2 w 17"/>
                <a:gd name="T31" fmla="*/ 5 h 23"/>
                <a:gd name="T32" fmla="*/ 4 w 17"/>
                <a:gd name="T33" fmla="*/ 5 h 23"/>
                <a:gd name="T34" fmla="*/ 6 w 17"/>
                <a:gd name="T35" fmla="*/ 4 h 23"/>
                <a:gd name="T36" fmla="*/ 8 w 17"/>
                <a:gd name="T37" fmla="*/ 3 h 23"/>
                <a:gd name="T38" fmla="*/ 10 w 17"/>
                <a:gd name="T39" fmla="*/ 4 h 23"/>
                <a:gd name="T40" fmla="*/ 12 w 17"/>
                <a:gd name="T41" fmla="*/ 5 h 23"/>
                <a:gd name="T42" fmla="*/ 13 w 17"/>
                <a:gd name="T43" fmla="*/ 6 h 23"/>
                <a:gd name="T44" fmla="*/ 13 w 17"/>
                <a:gd name="T45" fmla="*/ 8 h 23"/>
                <a:gd name="T46" fmla="*/ 13 w 17"/>
                <a:gd name="T47" fmla="*/ 10 h 23"/>
                <a:gd name="T48" fmla="*/ 10 w 17"/>
                <a:gd name="T49" fmla="*/ 10 h 23"/>
                <a:gd name="T50" fmla="*/ 6 w 17"/>
                <a:gd name="T51" fmla="*/ 10 h 23"/>
                <a:gd name="T52" fmla="*/ 2 w 17"/>
                <a:gd name="T53" fmla="*/ 12 h 23"/>
                <a:gd name="T54" fmla="*/ 0 w 17"/>
                <a:gd name="T55" fmla="*/ 14 h 23"/>
                <a:gd name="T56" fmla="*/ 0 w 17"/>
                <a:gd name="T57" fmla="*/ 17 h 23"/>
                <a:gd name="T58" fmla="*/ 0 w 17"/>
                <a:gd name="T59" fmla="*/ 20 h 23"/>
                <a:gd name="T60" fmla="*/ 2 w 17"/>
                <a:gd name="T61" fmla="*/ 22 h 23"/>
                <a:gd name="T62" fmla="*/ 4 w 17"/>
                <a:gd name="T63" fmla="*/ 23 h 23"/>
                <a:gd name="T64" fmla="*/ 7 w 17"/>
                <a:gd name="T65" fmla="*/ 23 h 23"/>
                <a:gd name="T66" fmla="*/ 10 w 17"/>
                <a:gd name="T67" fmla="*/ 23 h 23"/>
                <a:gd name="T68" fmla="*/ 14 w 17"/>
                <a:gd name="T69" fmla="*/ 20 h 23"/>
                <a:gd name="T70" fmla="*/ 14 w 17"/>
                <a:gd name="T71" fmla="*/ 22 h 23"/>
                <a:gd name="T72" fmla="*/ 14 w 17"/>
                <a:gd name="T73" fmla="*/ 23 h 23"/>
                <a:gd name="T74" fmla="*/ 14 w 17"/>
                <a:gd name="T75" fmla="*/ 23 h 23"/>
                <a:gd name="T76" fmla="*/ 15 w 17"/>
                <a:gd name="T77" fmla="*/ 23 h 23"/>
                <a:gd name="T78" fmla="*/ 16 w 17"/>
                <a:gd name="T79" fmla="*/ 23 h 23"/>
                <a:gd name="T80" fmla="*/ 17 w 17"/>
                <a:gd name="T81" fmla="*/ 23 h 23"/>
                <a:gd name="T82" fmla="*/ 17 w 17"/>
                <a:gd name="T83" fmla="*/ 22 h 23"/>
                <a:gd name="T84" fmla="*/ 17 w 17"/>
                <a:gd name="T85" fmla="*/ 8 h 23"/>
                <a:gd name="T86" fmla="*/ 13 w 17"/>
                <a:gd name="T87" fmla="*/ 17 h 23"/>
                <a:gd name="T88" fmla="*/ 10 w 17"/>
                <a:gd name="T89" fmla="*/ 20 h 23"/>
                <a:gd name="T90" fmla="*/ 7 w 17"/>
                <a:gd name="T91" fmla="*/ 20 h 23"/>
                <a:gd name="T92" fmla="*/ 5 w 17"/>
                <a:gd name="T93" fmla="*/ 19 h 23"/>
                <a:gd name="T94" fmla="*/ 4 w 17"/>
                <a:gd name="T95" fmla="*/ 17 h 23"/>
                <a:gd name="T96" fmla="*/ 4 w 17"/>
                <a:gd name="T97" fmla="*/ 15 h 23"/>
                <a:gd name="T98" fmla="*/ 5 w 17"/>
                <a:gd name="T99" fmla="*/ 14 h 23"/>
                <a:gd name="T100" fmla="*/ 7 w 17"/>
                <a:gd name="T101" fmla="*/ 13 h 23"/>
                <a:gd name="T102" fmla="*/ 10 w 17"/>
                <a:gd name="T103" fmla="*/ 13 h 23"/>
                <a:gd name="T104" fmla="*/ 13 w 17"/>
                <a:gd name="T105" fmla="*/ 13 h 23"/>
                <a:gd name="T106" fmla="*/ 13 w 17"/>
                <a:gd name="T10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 h="23">
                  <a:moveTo>
                    <a:pt x="17" y="8"/>
                  </a:moveTo>
                  <a:cubicBezTo>
                    <a:pt x="17" y="7"/>
                    <a:pt x="17" y="6"/>
                    <a:pt x="16" y="5"/>
                  </a:cubicBezTo>
                  <a:cubicBezTo>
                    <a:pt x="16" y="4"/>
                    <a:pt x="16" y="3"/>
                    <a:pt x="15" y="2"/>
                  </a:cubicBezTo>
                  <a:cubicBezTo>
                    <a:pt x="14" y="2"/>
                    <a:pt x="13" y="1"/>
                    <a:pt x="12" y="1"/>
                  </a:cubicBezTo>
                  <a:cubicBezTo>
                    <a:pt x="11" y="0"/>
                    <a:pt x="10" y="0"/>
                    <a:pt x="9" y="0"/>
                  </a:cubicBezTo>
                  <a:cubicBezTo>
                    <a:pt x="8" y="0"/>
                    <a:pt x="7" y="0"/>
                    <a:pt x="6" y="0"/>
                  </a:cubicBezTo>
                  <a:cubicBezTo>
                    <a:pt x="5" y="1"/>
                    <a:pt x="5" y="1"/>
                    <a:pt x="4" y="1"/>
                  </a:cubicBezTo>
                  <a:cubicBezTo>
                    <a:pt x="3" y="1"/>
                    <a:pt x="3" y="2"/>
                    <a:pt x="2" y="2"/>
                  </a:cubicBezTo>
                  <a:cubicBezTo>
                    <a:pt x="2" y="2"/>
                    <a:pt x="1" y="2"/>
                    <a:pt x="1" y="3"/>
                  </a:cubicBezTo>
                  <a:cubicBezTo>
                    <a:pt x="1" y="3"/>
                    <a:pt x="1" y="3"/>
                    <a:pt x="1" y="3"/>
                  </a:cubicBezTo>
                  <a:cubicBezTo>
                    <a:pt x="1" y="3"/>
                    <a:pt x="1" y="4"/>
                    <a:pt x="1" y="4"/>
                  </a:cubicBezTo>
                  <a:cubicBezTo>
                    <a:pt x="1" y="4"/>
                    <a:pt x="1" y="5"/>
                    <a:pt x="1" y="5"/>
                  </a:cubicBezTo>
                  <a:cubicBezTo>
                    <a:pt x="1" y="5"/>
                    <a:pt x="1" y="5"/>
                    <a:pt x="1" y="5"/>
                  </a:cubicBezTo>
                  <a:cubicBezTo>
                    <a:pt x="1" y="5"/>
                    <a:pt x="1" y="5"/>
                    <a:pt x="1" y="6"/>
                  </a:cubicBezTo>
                  <a:cubicBezTo>
                    <a:pt x="1" y="6"/>
                    <a:pt x="1" y="6"/>
                    <a:pt x="1" y="6"/>
                  </a:cubicBezTo>
                  <a:cubicBezTo>
                    <a:pt x="2" y="6"/>
                    <a:pt x="2" y="5"/>
                    <a:pt x="2" y="5"/>
                  </a:cubicBezTo>
                  <a:cubicBezTo>
                    <a:pt x="3" y="5"/>
                    <a:pt x="3" y="5"/>
                    <a:pt x="4" y="5"/>
                  </a:cubicBezTo>
                  <a:cubicBezTo>
                    <a:pt x="4" y="4"/>
                    <a:pt x="5" y="4"/>
                    <a:pt x="6" y="4"/>
                  </a:cubicBezTo>
                  <a:cubicBezTo>
                    <a:pt x="6" y="4"/>
                    <a:pt x="7" y="3"/>
                    <a:pt x="8" y="3"/>
                  </a:cubicBezTo>
                  <a:cubicBezTo>
                    <a:pt x="9" y="3"/>
                    <a:pt x="10" y="4"/>
                    <a:pt x="10" y="4"/>
                  </a:cubicBezTo>
                  <a:cubicBezTo>
                    <a:pt x="11" y="4"/>
                    <a:pt x="12" y="4"/>
                    <a:pt x="12" y="5"/>
                  </a:cubicBezTo>
                  <a:cubicBezTo>
                    <a:pt x="12" y="5"/>
                    <a:pt x="13" y="6"/>
                    <a:pt x="13" y="6"/>
                  </a:cubicBezTo>
                  <a:cubicBezTo>
                    <a:pt x="13" y="7"/>
                    <a:pt x="13" y="8"/>
                    <a:pt x="13" y="8"/>
                  </a:cubicBezTo>
                  <a:cubicBezTo>
                    <a:pt x="13" y="10"/>
                    <a:pt x="13" y="10"/>
                    <a:pt x="13" y="10"/>
                  </a:cubicBezTo>
                  <a:cubicBezTo>
                    <a:pt x="10" y="10"/>
                    <a:pt x="10" y="10"/>
                    <a:pt x="10" y="10"/>
                  </a:cubicBezTo>
                  <a:cubicBezTo>
                    <a:pt x="8" y="10"/>
                    <a:pt x="7" y="10"/>
                    <a:pt x="6" y="10"/>
                  </a:cubicBezTo>
                  <a:cubicBezTo>
                    <a:pt x="4" y="11"/>
                    <a:pt x="3" y="11"/>
                    <a:pt x="2" y="12"/>
                  </a:cubicBezTo>
                  <a:cubicBezTo>
                    <a:pt x="1" y="12"/>
                    <a:pt x="1" y="13"/>
                    <a:pt x="0" y="14"/>
                  </a:cubicBezTo>
                  <a:cubicBezTo>
                    <a:pt x="0" y="15"/>
                    <a:pt x="0" y="16"/>
                    <a:pt x="0" y="17"/>
                  </a:cubicBezTo>
                  <a:cubicBezTo>
                    <a:pt x="0" y="18"/>
                    <a:pt x="0" y="19"/>
                    <a:pt x="0" y="20"/>
                  </a:cubicBezTo>
                  <a:cubicBezTo>
                    <a:pt x="0" y="21"/>
                    <a:pt x="1" y="21"/>
                    <a:pt x="2" y="22"/>
                  </a:cubicBezTo>
                  <a:cubicBezTo>
                    <a:pt x="2" y="22"/>
                    <a:pt x="3" y="23"/>
                    <a:pt x="4" y="23"/>
                  </a:cubicBezTo>
                  <a:cubicBezTo>
                    <a:pt x="5" y="23"/>
                    <a:pt x="6" y="23"/>
                    <a:pt x="7" y="23"/>
                  </a:cubicBezTo>
                  <a:cubicBezTo>
                    <a:pt x="8" y="23"/>
                    <a:pt x="9" y="23"/>
                    <a:pt x="10" y="23"/>
                  </a:cubicBezTo>
                  <a:cubicBezTo>
                    <a:pt x="12" y="22"/>
                    <a:pt x="13" y="21"/>
                    <a:pt x="14" y="20"/>
                  </a:cubicBezTo>
                  <a:cubicBezTo>
                    <a:pt x="14" y="22"/>
                    <a:pt x="14" y="22"/>
                    <a:pt x="14" y="22"/>
                  </a:cubicBezTo>
                  <a:cubicBezTo>
                    <a:pt x="14" y="23"/>
                    <a:pt x="14" y="23"/>
                    <a:pt x="14" y="23"/>
                  </a:cubicBezTo>
                  <a:cubicBezTo>
                    <a:pt x="14" y="23"/>
                    <a:pt x="14" y="23"/>
                    <a:pt x="14" y="23"/>
                  </a:cubicBezTo>
                  <a:cubicBezTo>
                    <a:pt x="14" y="23"/>
                    <a:pt x="15" y="23"/>
                    <a:pt x="15" y="23"/>
                  </a:cubicBezTo>
                  <a:cubicBezTo>
                    <a:pt x="16" y="23"/>
                    <a:pt x="16" y="23"/>
                    <a:pt x="16" y="23"/>
                  </a:cubicBezTo>
                  <a:cubicBezTo>
                    <a:pt x="16" y="23"/>
                    <a:pt x="17" y="23"/>
                    <a:pt x="17" y="23"/>
                  </a:cubicBezTo>
                  <a:cubicBezTo>
                    <a:pt x="17" y="23"/>
                    <a:pt x="17" y="23"/>
                    <a:pt x="17" y="22"/>
                  </a:cubicBezTo>
                  <a:cubicBezTo>
                    <a:pt x="17" y="8"/>
                    <a:pt x="17" y="8"/>
                    <a:pt x="17" y="8"/>
                  </a:cubicBezTo>
                  <a:close/>
                  <a:moveTo>
                    <a:pt x="13" y="17"/>
                  </a:moveTo>
                  <a:cubicBezTo>
                    <a:pt x="12" y="18"/>
                    <a:pt x="11" y="19"/>
                    <a:pt x="10" y="20"/>
                  </a:cubicBezTo>
                  <a:cubicBezTo>
                    <a:pt x="9" y="20"/>
                    <a:pt x="8" y="20"/>
                    <a:pt x="7" y="20"/>
                  </a:cubicBezTo>
                  <a:cubicBezTo>
                    <a:pt x="6" y="20"/>
                    <a:pt x="5" y="20"/>
                    <a:pt x="5" y="19"/>
                  </a:cubicBezTo>
                  <a:cubicBezTo>
                    <a:pt x="4" y="19"/>
                    <a:pt x="4" y="18"/>
                    <a:pt x="4" y="17"/>
                  </a:cubicBezTo>
                  <a:cubicBezTo>
                    <a:pt x="4" y="16"/>
                    <a:pt x="4" y="16"/>
                    <a:pt x="4" y="15"/>
                  </a:cubicBezTo>
                  <a:cubicBezTo>
                    <a:pt x="4" y="15"/>
                    <a:pt x="4" y="14"/>
                    <a:pt x="5" y="14"/>
                  </a:cubicBezTo>
                  <a:cubicBezTo>
                    <a:pt x="6" y="14"/>
                    <a:pt x="6" y="13"/>
                    <a:pt x="7" y="13"/>
                  </a:cubicBezTo>
                  <a:cubicBezTo>
                    <a:pt x="8" y="13"/>
                    <a:pt x="9" y="13"/>
                    <a:pt x="10" y="13"/>
                  </a:cubicBezTo>
                  <a:cubicBezTo>
                    <a:pt x="13" y="13"/>
                    <a:pt x="13" y="13"/>
                    <a:pt x="13" y="13"/>
                  </a:cubicBezTo>
                  <a:cubicBezTo>
                    <a:pt x="13" y="17"/>
                    <a:pt x="13" y="17"/>
                    <a:pt x="13" y="17"/>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148">
              <a:extLst>
                <a:ext uri="{FF2B5EF4-FFF2-40B4-BE49-F238E27FC236}">
                  <a16:creationId xmlns:a16="http://schemas.microsoft.com/office/drawing/2014/main" id="{E4CFB807-4FC3-47FC-A94D-0D049A8FEE5E}"/>
                </a:ext>
              </a:extLst>
            </p:cNvPr>
            <p:cNvSpPr>
              <a:spLocks/>
            </p:cNvSpPr>
            <p:nvPr/>
          </p:nvSpPr>
          <p:spPr bwMode="auto">
            <a:xfrm>
              <a:off x="9078565" y="6315543"/>
              <a:ext cx="57717" cy="79361"/>
            </a:xfrm>
            <a:custGeom>
              <a:avLst/>
              <a:gdLst>
                <a:gd name="T0" fmla="*/ 17 w 17"/>
                <a:gd name="T1" fmla="*/ 18 h 23"/>
                <a:gd name="T2" fmla="*/ 17 w 17"/>
                <a:gd name="T3" fmla="*/ 18 h 23"/>
                <a:gd name="T4" fmla="*/ 17 w 17"/>
                <a:gd name="T5" fmla="*/ 18 h 23"/>
                <a:gd name="T6" fmla="*/ 16 w 17"/>
                <a:gd name="T7" fmla="*/ 17 h 23"/>
                <a:gd name="T8" fmla="*/ 16 w 17"/>
                <a:gd name="T9" fmla="*/ 18 h 23"/>
                <a:gd name="T10" fmla="*/ 14 w 17"/>
                <a:gd name="T11" fmla="*/ 19 h 23"/>
                <a:gd name="T12" fmla="*/ 13 w 17"/>
                <a:gd name="T13" fmla="*/ 20 h 23"/>
                <a:gd name="T14" fmla="*/ 10 w 17"/>
                <a:gd name="T15" fmla="*/ 20 h 23"/>
                <a:gd name="T16" fmla="*/ 8 w 17"/>
                <a:gd name="T17" fmla="*/ 20 h 23"/>
                <a:gd name="T18" fmla="*/ 6 w 17"/>
                <a:gd name="T19" fmla="*/ 18 h 23"/>
                <a:gd name="T20" fmla="*/ 5 w 17"/>
                <a:gd name="T21" fmla="*/ 15 h 23"/>
                <a:gd name="T22" fmla="*/ 5 w 17"/>
                <a:gd name="T23" fmla="*/ 12 h 23"/>
                <a:gd name="T24" fmla="*/ 6 w 17"/>
                <a:gd name="T25" fmla="*/ 6 h 23"/>
                <a:gd name="T26" fmla="*/ 10 w 17"/>
                <a:gd name="T27" fmla="*/ 4 h 23"/>
                <a:gd name="T28" fmla="*/ 13 w 17"/>
                <a:gd name="T29" fmla="*/ 4 h 23"/>
                <a:gd name="T30" fmla="*/ 14 w 17"/>
                <a:gd name="T31" fmla="*/ 5 h 23"/>
                <a:gd name="T32" fmla="*/ 16 w 17"/>
                <a:gd name="T33" fmla="*/ 6 h 23"/>
                <a:gd name="T34" fmla="*/ 16 w 17"/>
                <a:gd name="T35" fmla="*/ 6 h 23"/>
                <a:gd name="T36" fmla="*/ 17 w 17"/>
                <a:gd name="T37" fmla="*/ 6 h 23"/>
                <a:gd name="T38" fmla="*/ 17 w 17"/>
                <a:gd name="T39" fmla="*/ 4 h 23"/>
                <a:gd name="T40" fmla="*/ 17 w 17"/>
                <a:gd name="T41" fmla="*/ 4 h 23"/>
                <a:gd name="T42" fmla="*/ 17 w 17"/>
                <a:gd name="T43" fmla="*/ 3 h 23"/>
                <a:gd name="T44" fmla="*/ 17 w 17"/>
                <a:gd name="T45" fmla="*/ 3 h 23"/>
                <a:gd name="T46" fmla="*/ 16 w 17"/>
                <a:gd name="T47" fmla="*/ 2 h 23"/>
                <a:gd name="T48" fmla="*/ 15 w 17"/>
                <a:gd name="T49" fmla="*/ 2 h 23"/>
                <a:gd name="T50" fmla="*/ 14 w 17"/>
                <a:gd name="T51" fmla="*/ 1 h 23"/>
                <a:gd name="T52" fmla="*/ 12 w 17"/>
                <a:gd name="T53" fmla="*/ 0 h 23"/>
                <a:gd name="T54" fmla="*/ 10 w 17"/>
                <a:gd name="T55" fmla="*/ 0 h 23"/>
                <a:gd name="T56" fmla="*/ 6 w 17"/>
                <a:gd name="T57" fmla="*/ 1 h 23"/>
                <a:gd name="T58" fmla="*/ 3 w 17"/>
                <a:gd name="T59" fmla="*/ 3 h 23"/>
                <a:gd name="T60" fmla="*/ 1 w 17"/>
                <a:gd name="T61" fmla="*/ 7 h 23"/>
                <a:gd name="T62" fmla="*/ 0 w 17"/>
                <a:gd name="T63" fmla="*/ 12 h 23"/>
                <a:gd name="T64" fmla="*/ 1 w 17"/>
                <a:gd name="T65" fmla="*/ 17 h 23"/>
                <a:gd name="T66" fmla="*/ 3 w 17"/>
                <a:gd name="T67" fmla="*/ 21 h 23"/>
                <a:gd name="T68" fmla="*/ 6 w 17"/>
                <a:gd name="T69" fmla="*/ 23 h 23"/>
                <a:gd name="T70" fmla="*/ 10 w 17"/>
                <a:gd name="T71" fmla="*/ 23 h 23"/>
                <a:gd name="T72" fmla="*/ 12 w 17"/>
                <a:gd name="T73" fmla="*/ 23 h 23"/>
                <a:gd name="T74" fmla="*/ 14 w 17"/>
                <a:gd name="T75" fmla="*/ 23 h 23"/>
                <a:gd name="T76" fmla="*/ 16 w 17"/>
                <a:gd name="T77" fmla="*/ 22 h 23"/>
                <a:gd name="T78" fmla="*/ 17 w 17"/>
                <a:gd name="T79" fmla="*/ 21 h 23"/>
                <a:gd name="T80" fmla="*/ 17 w 17"/>
                <a:gd name="T81" fmla="*/ 21 h 23"/>
                <a:gd name="T82" fmla="*/ 17 w 17"/>
                <a:gd name="T83" fmla="*/ 20 h 23"/>
                <a:gd name="T84" fmla="*/ 17 w 17"/>
                <a:gd name="T85" fmla="*/ 20 h 23"/>
                <a:gd name="T86" fmla="*/ 17 w 17"/>
                <a:gd name="T87" fmla="*/ 19 h 23"/>
                <a:gd name="T88" fmla="*/ 17 w 17"/>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 h="23">
                  <a:moveTo>
                    <a:pt x="17" y="18"/>
                  </a:moveTo>
                  <a:cubicBezTo>
                    <a:pt x="17" y="18"/>
                    <a:pt x="17" y="18"/>
                    <a:pt x="17" y="18"/>
                  </a:cubicBezTo>
                  <a:cubicBezTo>
                    <a:pt x="17" y="18"/>
                    <a:pt x="17" y="18"/>
                    <a:pt x="17" y="18"/>
                  </a:cubicBezTo>
                  <a:cubicBezTo>
                    <a:pt x="17" y="17"/>
                    <a:pt x="17" y="17"/>
                    <a:pt x="16" y="17"/>
                  </a:cubicBezTo>
                  <a:cubicBezTo>
                    <a:pt x="16" y="17"/>
                    <a:pt x="16" y="18"/>
                    <a:pt x="16" y="18"/>
                  </a:cubicBezTo>
                  <a:cubicBezTo>
                    <a:pt x="15" y="18"/>
                    <a:pt x="15" y="18"/>
                    <a:pt x="14" y="19"/>
                  </a:cubicBezTo>
                  <a:cubicBezTo>
                    <a:pt x="14" y="19"/>
                    <a:pt x="13" y="19"/>
                    <a:pt x="13" y="20"/>
                  </a:cubicBezTo>
                  <a:cubicBezTo>
                    <a:pt x="12" y="20"/>
                    <a:pt x="11" y="20"/>
                    <a:pt x="10" y="20"/>
                  </a:cubicBezTo>
                  <a:cubicBezTo>
                    <a:pt x="9" y="20"/>
                    <a:pt x="9" y="20"/>
                    <a:pt x="8" y="20"/>
                  </a:cubicBezTo>
                  <a:cubicBezTo>
                    <a:pt x="7" y="19"/>
                    <a:pt x="7" y="19"/>
                    <a:pt x="6" y="18"/>
                  </a:cubicBezTo>
                  <a:cubicBezTo>
                    <a:pt x="6" y="17"/>
                    <a:pt x="5" y="17"/>
                    <a:pt x="5" y="15"/>
                  </a:cubicBezTo>
                  <a:cubicBezTo>
                    <a:pt x="5" y="14"/>
                    <a:pt x="5" y="13"/>
                    <a:pt x="5" y="12"/>
                  </a:cubicBezTo>
                  <a:cubicBezTo>
                    <a:pt x="5" y="9"/>
                    <a:pt x="5" y="7"/>
                    <a:pt x="6" y="6"/>
                  </a:cubicBezTo>
                  <a:cubicBezTo>
                    <a:pt x="7" y="4"/>
                    <a:pt x="8" y="4"/>
                    <a:pt x="10" y="4"/>
                  </a:cubicBezTo>
                  <a:cubicBezTo>
                    <a:pt x="11" y="4"/>
                    <a:pt x="12" y="4"/>
                    <a:pt x="13" y="4"/>
                  </a:cubicBezTo>
                  <a:cubicBezTo>
                    <a:pt x="13" y="4"/>
                    <a:pt x="14" y="4"/>
                    <a:pt x="14" y="5"/>
                  </a:cubicBezTo>
                  <a:cubicBezTo>
                    <a:pt x="15" y="5"/>
                    <a:pt x="15" y="5"/>
                    <a:pt x="16" y="6"/>
                  </a:cubicBezTo>
                  <a:cubicBezTo>
                    <a:pt x="16" y="6"/>
                    <a:pt x="16" y="6"/>
                    <a:pt x="16" y="6"/>
                  </a:cubicBezTo>
                  <a:cubicBezTo>
                    <a:pt x="17" y="6"/>
                    <a:pt x="17" y="6"/>
                    <a:pt x="17" y="6"/>
                  </a:cubicBezTo>
                  <a:cubicBezTo>
                    <a:pt x="17" y="5"/>
                    <a:pt x="17" y="5"/>
                    <a:pt x="17" y="4"/>
                  </a:cubicBezTo>
                  <a:cubicBezTo>
                    <a:pt x="17" y="4"/>
                    <a:pt x="17" y="4"/>
                    <a:pt x="17" y="4"/>
                  </a:cubicBezTo>
                  <a:cubicBezTo>
                    <a:pt x="17" y="4"/>
                    <a:pt x="17" y="3"/>
                    <a:pt x="17" y="3"/>
                  </a:cubicBezTo>
                  <a:cubicBezTo>
                    <a:pt x="17" y="3"/>
                    <a:pt x="17" y="3"/>
                    <a:pt x="17" y="3"/>
                  </a:cubicBezTo>
                  <a:cubicBezTo>
                    <a:pt x="17" y="3"/>
                    <a:pt x="17" y="3"/>
                    <a:pt x="16" y="2"/>
                  </a:cubicBezTo>
                  <a:cubicBezTo>
                    <a:pt x="16" y="2"/>
                    <a:pt x="16" y="2"/>
                    <a:pt x="15" y="2"/>
                  </a:cubicBezTo>
                  <a:cubicBezTo>
                    <a:pt x="15" y="1"/>
                    <a:pt x="15" y="1"/>
                    <a:pt x="14" y="1"/>
                  </a:cubicBezTo>
                  <a:cubicBezTo>
                    <a:pt x="14" y="1"/>
                    <a:pt x="13" y="1"/>
                    <a:pt x="12" y="0"/>
                  </a:cubicBezTo>
                  <a:cubicBezTo>
                    <a:pt x="12" y="0"/>
                    <a:pt x="11" y="0"/>
                    <a:pt x="10" y="0"/>
                  </a:cubicBezTo>
                  <a:cubicBezTo>
                    <a:pt x="9" y="0"/>
                    <a:pt x="8" y="1"/>
                    <a:pt x="6" y="1"/>
                  </a:cubicBezTo>
                  <a:cubicBezTo>
                    <a:pt x="5" y="1"/>
                    <a:pt x="4" y="2"/>
                    <a:pt x="3" y="3"/>
                  </a:cubicBezTo>
                  <a:cubicBezTo>
                    <a:pt x="2" y="4"/>
                    <a:pt x="2" y="5"/>
                    <a:pt x="1" y="7"/>
                  </a:cubicBezTo>
                  <a:cubicBezTo>
                    <a:pt x="1" y="8"/>
                    <a:pt x="0" y="10"/>
                    <a:pt x="0" y="12"/>
                  </a:cubicBezTo>
                  <a:cubicBezTo>
                    <a:pt x="0" y="14"/>
                    <a:pt x="1" y="16"/>
                    <a:pt x="1" y="17"/>
                  </a:cubicBezTo>
                  <a:cubicBezTo>
                    <a:pt x="2" y="18"/>
                    <a:pt x="2" y="20"/>
                    <a:pt x="3" y="21"/>
                  </a:cubicBezTo>
                  <a:cubicBezTo>
                    <a:pt x="4" y="21"/>
                    <a:pt x="5" y="22"/>
                    <a:pt x="6" y="23"/>
                  </a:cubicBezTo>
                  <a:cubicBezTo>
                    <a:pt x="7" y="23"/>
                    <a:pt x="8" y="23"/>
                    <a:pt x="10" y="23"/>
                  </a:cubicBezTo>
                  <a:cubicBezTo>
                    <a:pt x="11" y="23"/>
                    <a:pt x="11" y="23"/>
                    <a:pt x="12" y="23"/>
                  </a:cubicBezTo>
                  <a:cubicBezTo>
                    <a:pt x="13" y="23"/>
                    <a:pt x="13" y="23"/>
                    <a:pt x="14" y="23"/>
                  </a:cubicBezTo>
                  <a:cubicBezTo>
                    <a:pt x="15" y="22"/>
                    <a:pt x="15" y="22"/>
                    <a:pt x="16" y="22"/>
                  </a:cubicBezTo>
                  <a:cubicBezTo>
                    <a:pt x="16" y="22"/>
                    <a:pt x="16" y="21"/>
                    <a:pt x="17" y="21"/>
                  </a:cubicBezTo>
                  <a:cubicBezTo>
                    <a:pt x="17" y="21"/>
                    <a:pt x="17" y="21"/>
                    <a:pt x="17" y="21"/>
                  </a:cubicBezTo>
                  <a:cubicBezTo>
                    <a:pt x="17" y="21"/>
                    <a:pt x="17" y="21"/>
                    <a:pt x="17" y="20"/>
                  </a:cubicBezTo>
                  <a:cubicBezTo>
                    <a:pt x="17" y="20"/>
                    <a:pt x="17" y="20"/>
                    <a:pt x="17" y="20"/>
                  </a:cubicBezTo>
                  <a:cubicBezTo>
                    <a:pt x="17" y="20"/>
                    <a:pt x="17" y="19"/>
                    <a:pt x="17" y="19"/>
                  </a:cubicBezTo>
                  <a:cubicBezTo>
                    <a:pt x="17" y="19"/>
                    <a:pt x="17" y="19"/>
                    <a:pt x="17" y="18"/>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149">
              <a:extLst>
                <a:ext uri="{FF2B5EF4-FFF2-40B4-BE49-F238E27FC236}">
                  <a16:creationId xmlns:a16="http://schemas.microsoft.com/office/drawing/2014/main" id="{2EB495BE-9D94-4EC5-942A-F735D681AB3E}"/>
                </a:ext>
              </a:extLst>
            </p:cNvPr>
            <p:cNvSpPr>
              <a:spLocks noEditPoints="1"/>
            </p:cNvSpPr>
            <p:nvPr/>
          </p:nvSpPr>
          <p:spPr bwMode="auto">
            <a:xfrm>
              <a:off x="9150711" y="6315543"/>
              <a:ext cx="64932" cy="79361"/>
            </a:xfrm>
            <a:custGeom>
              <a:avLst/>
              <a:gdLst>
                <a:gd name="T0" fmla="*/ 19 w 19"/>
                <a:gd name="T1" fmla="*/ 10 h 23"/>
                <a:gd name="T2" fmla="*/ 19 w 19"/>
                <a:gd name="T3" fmla="*/ 6 h 23"/>
                <a:gd name="T4" fmla="*/ 17 w 19"/>
                <a:gd name="T5" fmla="*/ 3 h 23"/>
                <a:gd name="T6" fmla="*/ 14 w 19"/>
                <a:gd name="T7" fmla="*/ 1 h 23"/>
                <a:gd name="T8" fmla="*/ 10 w 19"/>
                <a:gd name="T9" fmla="*/ 0 h 23"/>
                <a:gd name="T10" fmla="*/ 6 w 19"/>
                <a:gd name="T11" fmla="*/ 1 h 23"/>
                <a:gd name="T12" fmla="*/ 2 w 19"/>
                <a:gd name="T13" fmla="*/ 3 h 23"/>
                <a:gd name="T14" fmla="*/ 0 w 19"/>
                <a:gd name="T15" fmla="*/ 7 h 23"/>
                <a:gd name="T16" fmla="*/ 0 w 19"/>
                <a:gd name="T17" fmla="*/ 12 h 23"/>
                <a:gd name="T18" fmla="*/ 0 w 19"/>
                <a:gd name="T19" fmla="*/ 17 h 23"/>
                <a:gd name="T20" fmla="*/ 2 w 19"/>
                <a:gd name="T21" fmla="*/ 21 h 23"/>
                <a:gd name="T22" fmla="*/ 6 w 19"/>
                <a:gd name="T23" fmla="*/ 23 h 23"/>
                <a:gd name="T24" fmla="*/ 10 w 19"/>
                <a:gd name="T25" fmla="*/ 23 h 23"/>
                <a:gd name="T26" fmla="*/ 13 w 19"/>
                <a:gd name="T27" fmla="*/ 23 h 23"/>
                <a:gd name="T28" fmla="*/ 15 w 19"/>
                <a:gd name="T29" fmla="*/ 23 h 23"/>
                <a:gd name="T30" fmla="*/ 17 w 19"/>
                <a:gd name="T31" fmla="*/ 22 h 23"/>
                <a:gd name="T32" fmla="*/ 18 w 19"/>
                <a:gd name="T33" fmla="*/ 22 h 23"/>
                <a:gd name="T34" fmla="*/ 18 w 19"/>
                <a:gd name="T35" fmla="*/ 21 h 23"/>
                <a:gd name="T36" fmla="*/ 18 w 19"/>
                <a:gd name="T37" fmla="*/ 21 h 23"/>
                <a:gd name="T38" fmla="*/ 18 w 19"/>
                <a:gd name="T39" fmla="*/ 21 h 23"/>
                <a:gd name="T40" fmla="*/ 18 w 19"/>
                <a:gd name="T41" fmla="*/ 20 h 23"/>
                <a:gd name="T42" fmla="*/ 18 w 19"/>
                <a:gd name="T43" fmla="*/ 20 h 23"/>
                <a:gd name="T44" fmla="*/ 18 w 19"/>
                <a:gd name="T45" fmla="*/ 19 h 23"/>
                <a:gd name="T46" fmla="*/ 18 w 19"/>
                <a:gd name="T47" fmla="*/ 19 h 23"/>
                <a:gd name="T48" fmla="*/ 18 w 19"/>
                <a:gd name="T49" fmla="*/ 19 h 23"/>
                <a:gd name="T50" fmla="*/ 17 w 19"/>
                <a:gd name="T51" fmla="*/ 19 h 23"/>
                <a:gd name="T52" fmla="*/ 15 w 19"/>
                <a:gd name="T53" fmla="*/ 20 h 23"/>
                <a:gd name="T54" fmla="*/ 13 w 19"/>
                <a:gd name="T55" fmla="*/ 20 h 23"/>
                <a:gd name="T56" fmla="*/ 11 w 19"/>
                <a:gd name="T57" fmla="*/ 20 h 23"/>
                <a:gd name="T58" fmla="*/ 7 w 19"/>
                <a:gd name="T59" fmla="*/ 20 h 23"/>
                <a:gd name="T60" fmla="*/ 5 w 19"/>
                <a:gd name="T61" fmla="*/ 18 h 23"/>
                <a:gd name="T62" fmla="*/ 4 w 19"/>
                <a:gd name="T63" fmla="*/ 16 h 23"/>
                <a:gd name="T64" fmla="*/ 4 w 19"/>
                <a:gd name="T65" fmla="*/ 13 h 23"/>
                <a:gd name="T66" fmla="*/ 18 w 19"/>
                <a:gd name="T67" fmla="*/ 13 h 23"/>
                <a:gd name="T68" fmla="*/ 19 w 19"/>
                <a:gd name="T69" fmla="*/ 12 h 23"/>
                <a:gd name="T70" fmla="*/ 19 w 19"/>
                <a:gd name="T71" fmla="*/ 11 h 23"/>
                <a:gd name="T72" fmla="*/ 19 w 19"/>
                <a:gd name="T73" fmla="*/ 10 h 23"/>
                <a:gd name="T74" fmla="*/ 4 w 19"/>
                <a:gd name="T75" fmla="*/ 10 h 23"/>
                <a:gd name="T76" fmla="*/ 4 w 19"/>
                <a:gd name="T77" fmla="*/ 7 h 23"/>
                <a:gd name="T78" fmla="*/ 5 w 19"/>
                <a:gd name="T79" fmla="*/ 5 h 23"/>
                <a:gd name="T80" fmla="*/ 7 w 19"/>
                <a:gd name="T81" fmla="*/ 4 h 23"/>
                <a:gd name="T82" fmla="*/ 10 w 19"/>
                <a:gd name="T83" fmla="*/ 3 h 23"/>
                <a:gd name="T84" fmla="*/ 14 w 19"/>
                <a:gd name="T85" fmla="*/ 5 h 23"/>
                <a:gd name="T86" fmla="*/ 15 w 19"/>
                <a:gd name="T87" fmla="*/ 10 h 23"/>
                <a:gd name="T88" fmla="*/ 4 w 19"/>
                <a:gd name="T89"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3">
                  <a:moveTo>
                    <a:pt x="19" y="10"/>
                  </a:moveTo>
                  <a:cubicBezTo>
                    <a:pt x="19" y="9"/>
                    <a:pt x="19" y="8"/>
                    <a:pt x="19" y="6"/>
                  </a:cubicBezTo>
                  <a:cubicBezTo>
                    <a:pt x="18" y="5"/>
                    <a:pt x="18" y="4"/>
                    <a:pt x="17" y="3"/>
                  </a:cubicBezTo>
                  <a:cubicBezTo>
                    <a:pt x="16" y="2"/>
                    <a:pt x="15" y="2"/>
                    <a:pt x="14" y="1"/>
                  </a:cubicBezTo>
                  <a:cubicBezTo>
                    <a:pt x="13" y="1"/>
                    <a:pt x="12" y="0"/>
                    <a:pt x="10" y="0"/>
                  </a:cubicBezTo>
                  <a:cubicBezTo>
                    <a:pt x="8" y="0"/>
                    <a:pt x="7" y="1"/>
                    <a:pt x="6" y="1"/>
                  </a:cubicBezTo>
                  <a:cubicBezTo>
                    <a:pt x="4" y="2"/>
                    <a:pt x="3" y="2"/>
                    <a:pt x="2" y="3"/>
                  </a:cubicBezTo>
                  <a:cubicBezTo>
                    <a:pt x="2" y="4"/>
                    <a:pt x="1" y="6"/>
                    <a:pt x="0" y="7"/>
                  </a:cubicBezTo>
                  <a:cubicBezTo>
                    <a:pt x="0" y="9"/>
                    <a:pt x="0" y="10"/>
                    <a:pt x="0" y="12"/>
                  </a:cubicBezTo>
                  <a:cubicBezTo>
                    <a:pt x="0" y="14"/>
                    <a:pt x="0" y="16"/>
                    <a:pt x="0" y="17"/>
                  </a:cubicBezTo>
                  <a:cubicBezTo>
                    <a:pt x="1" y="18"/>
                    <a:pt x="2" y="20"/>
                    <a:pt x="2" y="21"/>
                  </a:cubicBezTo>
                  <a:cubicBezTo>
                    <a:pt x="3" y="22"/>
                    <a:pt x="4" y="22"/>
                    <a:pt x="6" y="23"/>
                  </a:cubicBezTo>
                  <a:cubicBezTo>
                    <a:pt x="7" y="23"/>
                    <a:pt x="9" y="23"/>
                    <a:pt x="10" y="23"/>
                  </a:cubicBezTo>
                  <a:cubicBezTo>
                    <a:pt x="11" y="23"/>
                    <a:pt x="12" y="23"/>
                    <a:pt x="13" y="23"/>
                  </a:cubicBezTo>
                  <a:cubicBezTo>
                    <a:pt x="14" y="23"/>
                    <a:pt x="15" y="23"/>
                    <a:pt x="15" y="23"/>
                  </a:cubicBezTo>
                  <a:cubicBezTo>
                    <a:pt x="16" y="23"/>
                    <a:pt x="17" y="22"/>
                    <a:pt x="17" y="22"/>
                  </a:cubicBezTo>
                  <a:cubicBezTo>
                    <a:pt x="18" y="22"/>
                    <a:pt x="18" y="22"/>
                    <a:pt x="18" y="22"/>
                  </a:cubicBezTo>
                  <a:cubicBezTo>
                    <a:pt x="18" y="22"/>
                    <a:pt x="18" y="22"/>
                    <a:pt x="18" y="21"/>
                  </a:cubicBezTo>
                  <a:cubicBezTo>
                    <a:pt x="18" y="21"/>
                    <a:pt x="18" y="21"/>
                    <a:pt x="18" y="21"/>
                  </a:cubicBezTo>
                  <a:cubicBezTo>
                    <a:pt x="18" y="21"/>
                    <a:pt x="18" y="21"/>
                    <a:pt x="18" y="21"/>
                  </a:cubicBezTo>
                  <a:cubicBezTo>
                    <a:pt x="18" y="21"/>
                    <a:pt x="18" y="20"/>
                    <a:pt x="18" y="20"/>
                  </a:cubicBezTo>
                  <a:cubicBezTo>
                    <a:pt x="18" y="20"/>
                    <a:pt x="18" y="20"/>
                    <a:pt x="18" y="20"/>
                  </a:cubicBezTo>
                  <a:cubicBezTo>
                    <a:pt x="18" y="19"/>
                    <a:pt x="18" y="19"/>
                    <a:pt x="18" y="19"/>
                  </a:cubicBezTo>
                  <a:cubicBezTo>
                    <a:pt x="18" y="19"/>
                    <a:pt x="18" y="19"/>
                    <a:pt x="18" y="19"/>
                  </a:cubicBezTo>
                  <a:cubicBezTo>
                    <a:pt x="18" y="19"/>
                    <a:pt x="18" y="19"/>
                    <a:pt x="18" y="19"/>
                  </a:cubicBezTo>
                  <a:cubicBezTo>
                    <a:pt x="17" y="19"/>
                    <a:pt x="17" y="19"/>
                    <a:pt x="17" y="19"/>
                  </a:cubicBezTo>
                  <a:cubicBezTo>
                    <a:pt x="16" y="19"/>
                    <a:pt x="16" y="19"/>
                    <a:pt x="15" y="20"/>
                  </a:cubicBezTo>
                  <a:cubicBezTo>
                    <a:pt x="15" y="20"/>
                    <a:pt x="14" y="20"/>
                    <a:pt x="13" y="20"/>
                  </a:cubicBezTo>
                  <a:cubicBezTo>
                    <a:pt x="13" y="20"/>
                    <a:pt x="12" y="20"/>
                    <a:pt x="11" y="20"/>
                  </a:cubicBezTo>
                  <a:cubicBezTo>
                    <a:pt x="9" y="20"/>
                    <a:pt x="8" y="20"/>
                    <a:pt x="7" y="20"/>
                  </a:cubicBezTo>
                  <a:cubicBezTo>
                    <a:pt x="7" y="19"/>
                    <a:pt x="6" y="19"/>
                    <a:pt x="5" y="18"/>
                  </a:cubicBezTo>
                  <a:cubicBezTo>
                    <a:pt x="5" y="18"/>
                    <a:pt x="4" y="17"/>
                    <a:pt x="4" y="16"/>
                  </a:cubicBezTo>
                  <a:cubicBezTo>
                    <a:pt x="4" y="15"/>
                    <a:pt x="4" y="14"/>
                    <a:pt x="4" y="13"/>
                  </a:cubicBezTo>
                  <a:cubicBezTo>
                    <a:pt x="18" y="13"/>
                    <a:pt x="18" y="13"/>
                    <a:pt x="18" y="13"/>
                  </a:cubicBezTo>
                  <a:cubicBezTo>
                    <a:pt x="18" y="13"/>
                    <a:pt x="18" y="13"/>
                    <a:pt x="19" y="12"/>
                  </a:cubicBezTo>
                  <a:cubicBezTo>
                    <a:pt x="19" y="12"/>
                    <a:pt x="19" y="12"/>
                    <a:pt x="19" y="11"/>
                  </a:cubicBezTo>
                  <a:cubicBezTo>
                    <a:pt x="19" y="10"/>
                    <a:pt x="19" y="10"/>
                    <a:pt x="19" y="10"/>
                  </a:cubicBezTo>
                  <a:close/>
                  <a:moveTo>
                    <a:pt x="4" y="10"/>
                  </a:moveTo>
                  <a:cubicBezTo>
                    <a:pt x="4" y="9"/>
                    <a:pt x="4" y="8"/>
                    <a:pt x="4" y="7"/>
                  </a:cubicBezTo>
                  <a:cubicBezTo>
                    <a:pt x="4" y="7"/>
                    <a:pt x="5" y="6"/>
                    <a:pt x="5" y="5"/>
                  </a:cubicBezTo>
                  <a:cubicBezTo>
                    <a:pt x="6" y="5"/>
                    <a:pt x="6" y="4"/>
                    <a:pt x="7" y="4"/>
                  </a:cubicBezTo>
                  <a:cubicBezTo>
                    <a:pt x="8" y="3"/>
                    <a:pt x="9" y="3"/>
                    <a:pt x="10" y="3"/>
                  </a:cubicBezTo>
                  <a:cubicBezTo>
                    <a:pt x="12" y="3"/>
                    <a:pt x="13" y="4"/>
                    <a:pt x="14" y="5"/>
                  </a:cubicBezTo>
                  <a:cubicBezTo>
                    <a:pt x="15" y="6"/>
                    <a:pt x="15" y="8"/>
                    <a:pt x="15" y="10"/>
                  </a:cubicBezTo>
                  <a:cubicBezTo>
                    <a:pt x="4" y="10"/>
                    <a:pt x="4" y="10"/>
                    <a:pt x="4" y="1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150">
              <a:extLst>
                <a:ext uri="{FF2B5EF4-FFF2-40B4-BE49-F238E27FC236}">
                  <a16:creationId xmlns:a16="http://schemas.microsoft.com/office/drawing/2014/main" id="{F93EC55C-E5DD-474D-8F3D-645E86DC427A}"/>
                </a:ext>
              </a:extLst>
            </p:cNvPr>
            <p:cNvSpPr>
              <a:spLocks/>
            </p:cNvSpPr>
            <p:nvPr/>
          </p:nvSpPr>
          <p:spPr bwMode="auto">
            <a:xfrm>
              <a:off x="7455288" y="5770121"/>
              <a:ext cx="2366379" cy="330428"/>
            </a:xfrm>
            <a:custGeom>
              <a:avLst/>
              <a:gdLst>
                <a:gd name="T0" fmla="*/ 3 w 691"/>
                <a:gd name="T1" fmla="*/ 18 h 96"/>
                <a:gd name="T2" fmla="*/ 6 w 691"/>
                <a:gd name="T3" fmla="*/ 18 h 96"/>
                <a:gd name="T4" fmla="*/ 17 w 691"/>
                <a:gd name="T5" fmla="*/ 6 h 96"/>
                <a:gd name="T6" fmla="*/ 673 w 691"/>
                <a:gd name="T7" fmla="*/ 6 h 96"/>
                <a:gd name="T8" fmla="*/ 685 w 691"/>
                <a:gd name="T9" fmla="*/ 18 h 96"/>
                <a:gd name="T10" fmla="*/ 685 w 691"/>
                <a:gd name="T11" fmla="*/ 78 h 96"/>
                <a:gd name="T12" fmla="*/ 673 w 691"/>
                <a:gd name="T13" fmla="*/ 90 h 96"/>
                <a:gd name="T14" fmla="*/ 17 w 691"/>
                <a:gd name="T15" fmla="*/ 90 h 96"/>
                <a:gd name="T16" fmla="*/ 6 w 691"/>
                <a:gd name="T17" fmla="*/ 78 h 96"/>
                <a:gd name="T18" fmla="*/ 6 w 691"/>
                <a:gd name="T19" fmla="*/ 18 h 96"/>
                <a:gd name="T20" fmla="*/ 3 w 691"/>
                <a:gd name="T21" fmla="*/ 18 h 96"/>
                <a:gd name="T22" fmla="*/ 0 w 691"/>
                <a:gd name="T23" fmla="*/ 18 h 96"/>
                <a:gd name="T24" fmla="*/ 0 w 691"/>
                <a:gd name="T25" fmla="*/ 78 h 96"/>
                <a:gd name="T26" fmla="*/ 17 w 691"/>
                <a:gd name="T27" fmla="*/ 96 h 96"/>
                <a:gd name="T28" fmla="*/ 673 w 691"/>
                <a:gd name="T29" fmla="*/ 96 h 96"/>
                <a:gd name="T30" fmla="*/ 691 w 691"/>
                <a:gd name="T31" fmla="*/ 78 h 96"/>
                <a:gd name="T32" fmla="*/ 691 w 691"/>
                <a:gd name="T33" fmla="*/ 18 h 96"/>
                <a:gd name="T34" fmla="*/ 673 w 691"/>
                <a:gd name="T35" fmla="*/ 0 h 96"/>
                <a:gd name="T36" fmla="*/ 17 w 691"/>
                <a:gd name="T37" fmla="*/ 0 h 96"/>
                <a:gd name="T38" fmla="*/ 0 w 691"/>
                <a:gd name="T39" fmla="*/ 18 h 96"/>
                <a:gd name="T40" fmla="*/ 3 w 691"/>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1" h="96">
                  <a:moveTo>
                    <a:pt x="3" y="18"/>
                  </a:moveTo>
                  <a:cubicBezTo>
                    <a:pt x="6" y="18"/>
                    <a:pt x="6" y="18"/>
                    <a:pt x="6" y="18"/>
                  </a:cubicBezTo>
                  <a:cubicBezTo>
                    <a:pt x="6" y="12"/>
                    <a:pt x="11" y="6"/>
                    <a:pt x="17" y="6"/>
                  </a:cubicBezTo>
                  <a:cubicBezTo>
                    <a:pt x="673" y="6"/>
                    <a:pt x="673" y="6"/>
                    <a:pt x="673" y="6"/>
                  </a:cubicBezTo>
                  <a:cubicBezTo>
                    <a:pt x="680" y="6"/>
                    <a:pt x="685" y="12"/>
                    <a:pt x="685" y="18"/>
                  </a:cubicBezTo>
                  <a:cubicBezTo>
                    <a:pt x="685" y="78"/>
                    <a:pt x="685" y="78"/>
                    <a:pt x="685" y="78"/>
                  </a:cubicBezTo>
                  <a:cubicBezTo>
                    <a:pt x="685" y="84"/>
                    <a:pt x="680" y="90"/>
                    <a:pt x="673" y="90"/>
                  </a:cubicBezTo>
                  <a:cubicBezTo>
                    <a:pt x="17" y="90"/>
                    <a:pt x="17" y="90"/>
                    <a:pt x="17" y="90"/>
                  </a:cubicBezTo>
                  <a:cubicBezTo>
                    <a:pt x="11"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7" y="96"/>
                  </a:cubicBezTo>
                  <a:cubicBezTo>
                    <a:pt x="673" y="96"/>
                    <a:pt x="673" y="96"/>
                    <a:pt x="673" y="96"/>
                  </a:cubicBezTo>
                  <a:cubicBezTo>
                    <a:pt x="683" y="96"/>
                    <a:pt x="691" y="88"/>
                    <a:pt x="691" y="78"/>
                  </a:cubicBezTo>
                  <a:cubicBezTo>
                    <a:pt x="691" y="18"/>
                    <a:pt x="691" y="18"/>
                    <a:pt x="691" y="18"/>
                  </a:cubicBezTo>
                  <a:cubicBezTo>
                    <a:pt x="691" y="8"/>
                    <a:pt x="683" y="0"/>
                    <a:pt x="673" y="0"/>
                  </a:cubicBezTo>
                  <a:cubicBezTo>
                    <a:pt x="17" y="0"/>
                    <a:pt x="17" y="0"/>
                    <a:pt x="17" y="0"/>
                  </a:cubicBezTo>
                  <a:cubicBezTo>
                    <a:pt x="8" y="0"/>
                    <a:pt x="0" y="8"/>
                    <a:pt x="0" y="18"/>
                  </a:cubicBezTo>
                  <a:lnTo>
                    <a:pt x="3" y="18"/>
                  </a:ln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151">
              <a:extLst>
                <a:ext uri="{FF2B5EF4-FFF2-40B4-BE49-F238E27FC236}">
                  <a16:creationId xmlns:a16="http://schemas.microsoft.com/office/drawing/2014/main" id="{C00DFEDB-A821-44CB-BD5F-76959C885649}"/>
                </a:ext>
              </a:extLst>
            </p:cNvPr>
            <p:cNvSpPr>
              <a:spLocks noEditPoints="1"/>
            </p:cNvSpPr>
            <p:nvPr/>
          </p:nvSpPr>
          <p:spPr bwMode="auto">
            <a:xfrm>
              <a:off x="7797258" y="5874011"/>
              <a:ext cx="69260" cy="102447"/>
            </a:xfrm>
            <a:custGeom>
              <a:avLst/>
              <a:gdLst>
                <a:gd name="T0" fmla="*/ 20 w 20"/>
                <a:gd name="T1" fmla="*/ 19 h 30"/>
                <a:gd name="T2" fmla="*/ 19 w 20"/>
                <a:gd name="T3" fmla="*/ 17 h 30"/>
                <a:gd name="T4" fmla="*/ 17 w 20"/>
                <a:gd name="T5" fmla="*/ 15 h 30"/>
                <a:gd name="T6" fmla="*/ 14 w 20"/>
                <a:gd name="T7" fmla="*/ 14 h 30"/>
                <a:gd name="T8" fmla="*/ 16 w 20"/>
                <a:gd name="T9" fmla="*/ 13 h 30"/>
                <a:gd name="T10" fmla="*/ 17 w 20"/>
                <a:gd name="T11" fmla="*/ 12 h 30"/>
                <a:gd name="T12" fmla="*/ 18 w 20"/>
                <a:gd name="T13" fmla="*/ 10 h 30"/>
                <a:gd name="T14" fmla="*/ 19 w 20"/>
                <a:gd name="T15" fmla="*/ 8 h 30"/>
                <a:gd name="T16" fmla="*/ 18 w 20"/>
                <a:gd name="T17" fmla="*/ 5 h 30"/>
                <a:gd name="T18" fmla="*/ 16 w 20"/>
                <a:gd name="T19" fmla="*/ 2 h 30"/>
                <a:gd name="T20" fmla="*/ 13 w 20"/>
                <a:gd name="T21" fmla="*/ 1 h 30"/>
                <a:gd name="T22" fmla="*/ 9 w 20"/>
                <a:gd name="T23" fmla="*/ 0 h 30"/>
                <a:gd name="T24" fmla="*/ 2 w 20"/>
                <a:gd name="T25" fmla="*/ 0 h 30"/>
                <a:gd name="T26" fmla="*/ 1 w 20"/>
                <a:gd name="T27" fmla="*/ 1 h 30"/>
                <a:gd name="T28" fmla="*/ 0 w 20"/>
                <a:gd name="T29" fmla="*/ 2 h 30"/>
                <a:gd name="T30" fmla="*/ 0 w 20"/>
                <a:gd name="T31" fmla="*/ 29 h 30"/>
                <a:gd name="T32" fmla="*/ 1 w 20"/>
                <a:gd name="T33" fmla="*/ 30 h 30"/>
                <a:gd name="T34" fmla="*/ 2 w 20"/>
                <a:gd name="T35" fmla="*/ 30 h 30"/>
                <a:gd name="T36" fmla="*/ 10 w 20"/>
                <a:gd name="T37" fmla="*/ 30 h 30"/>
                <a:gd name="T38" fmla="*/ 13 w 20"/>
                <a:gd name="T39" fmla="*/ 30 h 30"/>
                <a:gd name="T40" fmla="*/ 15 w 20"/>
                <a:gd name="T41" fmla="*/ 29 h 30"/>
                <a:gd name="T42" fmla="*/ 17 w 20"/>
                <a:gd name="T43" fmla="*/ 28 h 30"/>
                <a:gd name="T44" fmla="*/ 19 w 20"/>
                <a:gd name="T45" fmla="*/ 27 h 30"/>
                <a:gd name="T46" fmla="*/ 20 w 20"/>
                <a:gd name="T47" fmla="*/ 24 h 30"/>
                <a:gd name="T48" fmla="*/ 20 w 20"/>
                <a:gd name="T49" fmla="*/ 22 h 30"/>
                <a:gd name="T50" fmla="*/ 20 w 20"/>
                <a:gd name="T51" fmla="*/ 19 h 30"/>
                <a:gd name="T52" fmla="*/ 14 w 20"/>
                <a:gd name="T53" fmla="*/ 10 h 30"/>
                <a:gd name="T54" fmla="*/ 13 w 20"/>
                <a:gd name="T55" fmla="*/ 12 h 30"/>
                <a:gd name="T56" fmla="*/ 12 w 20"/>
                <a:gd name="T57" fmla="*/ 13 h 30"/>
                <a:gd name="T58" fmla="*/ 9 w 20"/>
                <a:gd name="T59" fmla="*/ 13 h 30"/>
                <a:gd name="T60" fmla="*/ 4 w 20"/>
                <a:gd name="T61" fmla="*/ 13 h 30"/>
                <a:gd name="T62" fmla="*/ 4 w 20"/>
                <a:gd name="T63" fmla="*/ 3 h 30"/>
                <a:gd name="T64" fmla="*/ 9 w 20"/>
                <a:gd name="T65" fmla="*/ 3 h 30"/>
                <a:gd name="T66" fmla="*/ 11 w 20"/>
                <a:gd name="T67" fmla="*/ 4 h 30"/>
                <a:gd name="T68" fmla="*/ 13 w 20"/>
                <a:gd name="T69" fmla="*/ 5 h 30"/>
                <a:gd name="T70" fmla="*/ 14 w 20"/>
                <a:gd name="T71" fmla="*/ 6 h 30"/>
                <a:gd name="T72" fmla="*/ 14 w 20"/>
                <a:gd name="T73" fmla="*/ 8 h 30"/>
                <a:gd name="T74" fmla="*/ 14 w 20"/>
                <a:gd name="T75" fmla="*/ 10 h 30"/>
                <a:gd name="T76" fmla="*/ 16 w 20"/>
                <a:gd name="T77" fmla="*/ 24 h 30"/>
                <a:gd name="T78" fmla="*/ 15 w 20"/>
                <a:gd name="T79" fmla="*/ 26 h 30"/>
                <a:gd name="T80" fmla="*/ 13 w 20"/>
                <a:gd name="T81" fmla="*/ 27 h 30"/>
                <a:gd name="T82" fmla="*/ 10 w 20"/>
                <a:gd name="T83" fmla="*/ 27 h 30"/>
                <a:gd name="T84" fmla="*/ 4 w 20"/>
                <a:gd name="T85" fmla="*/ 27 h 30"/>
                <a:gd name="T86" fmla="*/ 4 w 20"/>
                <a:gd name="T87" fmla="*/ 16 h 30"/>
                <a:gd name="T88" fmla="*/ 9 w 20"/>
                <a:gd name="T89" fmla="*/ 16 h 30"/>
                <a:gd name="T90" fmla="*/ 12 w 20"/>
                <a:gd name="T91" fmla="*/ 17 h 30"/>
                <a:gd name="T92" fmla="*/ 14 w 20"/>
                <a:gd name="T93" fmla="*/ 18 h 30"/>
                <a:gd name="T94" fmla="*/ 16 w 20"/>
                <a:gd name="T95" fmla="*/ 20 h 30"/>
                <a:gd name="T96" fmla="*/ 16 w 20"/>
                <a:gd name="T97" fmla="*/ 22 h 30"/>
                <a:gd name="T98" fmla="*/ 16 w 20"/>
                <a:gd name="T99"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 h="30">
                  <a:moveTo>
                    <a:pt x="20" y="19"/>
                  </a:moveTo>
                  <a:cubicBezTo>
                    <a:pt x="20" y="18"/>
                    <a:pt x="19" y="17"/>
                    <a:pt x="19" y="17"/>
                  </a:cubicBezTo>
                  <a:cubicBezTo>
                    <a:pt x="18" y="16"/>
                    <a:pt x="18" y="16"/>
                    <a:pt x="17" y="15"/>
                  </a:cubicBezTo>
                  <a:cubicBezTo>
                    <a:pt x="16" y="15"/>
                    <a:pt x="15" y="14"/>
                    <a:pt x="14" y="14"/>
                  </a:cubicBezTo>
                  <a:cubicBezTo>
                    <a:pt x="15" y="14"/>
                    <a:pt x="16" y="14"/>
                    <a:pt x="16" y="13"/>
                  </a:cubicBezTo>
                  <a:cubicBezTo>
                    <a:pt x="17" y="13"/>
                    <a:pt x="17" y="12"/>
                    <a:pt x="17" y="12"/>
                  </a:cubicBezTo>
                  <a:cubicBezTo>
                    <a:pt x="18" y="11"/>
                    <a:pt x="18" y="11"/>
                    <a:pt x="18" y="10"/>
                  </a:cubicBezTo>
                  <a:cubicBezTo>
                    <a:pt x="18" y="9"/>
                    <a:pt x="19" y="9"/>
                    <a:pt x="19" y="8"/>
                  </a:cubicBezTo>
                  <a:cubicBezTo>
                    <a:pt x="19" y="7"/>
                    <a:pt x="18" y="6"/>
                    <a:pt x="18" y="5"/>
                  </a:cubicBezTo>
                  <a:cubicBezTo>
                    <a:pt x="18" y="4"/>
                    <a:pt x="17" y="3"/>
                    <a:pt x="16" y="2"/>
                  </a:cubicBezTo>
                  <a:cubicBezTo>
                    <a:pt x="15" y="1"/>
                    <a:pt x="14" y="1"/>
                    <a:pt x="13" y="1"/>
                  </a:cubicBezTo>
                  <a:cubicBezTo>
                    <a:pt x="12" y="0"/>
                    <a:pt x="11" y="0"/>
                    <a:pt x="9" y="0"/>
                  </a:cubicBezTo>
                  <a:cubicBezTo>
                    <a:pt x="2" y="0"/>
                    <a:pt x="2" y="0"/>
                    <a:pt x="2" y="0"/>
                  </a:cubicBezTo>
                  <a:cubicBezTo>
                    <a:pt x="2" y="0"/>
                    <a:pt x="1" y="0"/>
                    <a:pt x="1" y="1"/>
                  </a:cubicBezTo>
                  <a:cubicBezTo>
                    <a:pt x="1" y="1"/>
                    <a:pt x="0" y="1"/>
                    <a:pt x="0" y="2"/>
                  </a:cubicBezTo>
                  <a:cubicBezTo>
                    <a:pt x="0" y="29"/>
                    <a:pt x="0" y="29"/>
                    <a:pt x="0" y="29"/>
                  </a:cubicBezTo>
                  <a:cubicBezTo>
                    <a:pt x="0" y="29"/>
                    <a:pt x="1" y="30"/>
                    <a:pt x="1" y="30"/>
                  </a:cubicBezTo>
                  <a:cubicBezTo>
                    <a:pt x="1" y="30"/>
                    <a:pt x="2" y="30"/>
                    <a:pt x="2" y="30"/>
                  </a:cubicBezTo>
                  <a:cubicBezTo>
                    <a:pt x="10" y="30"/>
                    <a:pt x="10" y="30"/>
                    <a:pt x="10" y="30"/>
                  </a:cubicBezTo>
                  <a:cubicBezTo>
                    <a:pt x="11" y="30"/>
                    <a:pt x="12" y="30"/>
                    <a:pt x="13" y="30"/>
                  </a:cubicBezTo>
                  <a:cubicBezTo>
                    <a:pt x="14" y="30"/>
                    <a:pt x="15" y="30"/>
                    <a:pt x="15" y="29"/>
                  </a:cubicBezTo>
                  <a:cubicBezTo>
                    <a:pt x="16" y="29"/>
                    <a:pt x="17" y="29"/>
                    <a:pt x="17" y="28"/>
                  </a:cubicBezTo>
                  <a:cubicBezTo>
                    <a:pt x="18" y="28"/>
                    <a:pt x="19" y="27"/>
                    <a:pt x="19" y="27"/>
                  </a:cubicBezTo>
                  <a:cubicBezTo>
                    <a:pt x="19" y="26"/>
                    <a:pt x="20" y="25"/>
                    <a:pt x="20" y="24"/>
                  </a:cubicBezTo>
                  <a:cubicBezTo>
                    <a:pt x="20" y="24"/>
                    <a:pt x="20" y="23"/>
                    <a:pt x="20" y="22"/>
                  </a:cubicBezTo>
                  <a:cubicBezTo>
                    <a:pt x="20" y="21"/>
                    <a:pt x="20" y="20"/>
                    <a:pt x="20" y="19"/>
                  </a:cubicBezTo>
                  <a:close/>
                  <a:moveTo>
                    <a:pt x="14" y="10"/>
                  </a:moveTo>
                  <a:cubicBezTo>
                    <a:pt x="14" y="11"/>
                    <a:pt x="14" y="11"/>
                    <a:pt x="13" y="12"/>
                  </a:cubicBezTo>
                  <a:cubicBezTo>
                    <a:pt x="13" y="12"/>
                    <a:pt x="12" y="13"/>
                    <a:pt x="12" y="13"/>
                  </a:cubicBezTo>
                  <a:cubicBezTo>
                    <a:pt x="11" y="13"/>
                    <a:pt x="10" y="13"/>
                    <a:pt x="9" y="13"/>
                  </a:cubicBezTo>
                  <a:cubicBezTo>
                    <a:pt x="4" y="13"/>
                    <a:pt x="4" y="13"/>
                    <a:pt x="4" y="13"/>
                  </a:cubicBezTo>
                  <a:cubicBezTo>
                    <a:pt x="4" y="3"/>
                    <a:pt x="4" y="3"/>
                    <a:pt x="4" y="3"/>
                  </a:cubicBezTo>
                  <a:cubicBezTo>
                    <a:pt x="9" y="3"/>
                    <a:pt x="9" y="3"/>
                    <a:pt x="9" y="3"/>
                  </a:cubicBezTo>
                  <a:cubicBezTo>
                    <a:pt x="10" y="3"/>
                    <a:pt x="11" y="4"/>
                    <a:pt x="11" y="4"/>
                  </a:cubicBezTo>
                  <a:cubicBezTo>
                    <a:pt x="12" y="4"/>
                    <a:pt x="13" y="4"/>
                    <a:pt x="13" y="5"/>
                  </a:cubicBezTo>
                  <a:cubicBezTo>
                    <a:pt x="14" y="5"/>
                    <a:pt x="14" y="6"/>
                    <a:pt x="14" y="6"/>
                  </a:cubicBezTo>
                  <a:cubicBezTo>
                    <a:pt x="14" y="7"/>
                    <a:pt x="14" y="7"/>
                    <a:pt x="14" y="8"/>
                  </a:cubicBezTo>
                  <a:cubicBezTo>
                    <a:pt x="14" y="9"/>
                    <a:pt x="14" y="9"/>
                    <a:pt x="14" y="10"/>
                  </a:cubicBezTo>
                  <a:close/>
                  <a:moveTo>
                    <a:pt x="16" y="24"/>
                  </a:moveTo>
                  <a:cubicBezTo>
                    <a:pt x="15" y="25"/>
                    <a:pt x="15" y="25"/>
                    <a:pt x="15" y="26"/>
                  </a:cubicBezTo>
                  <a:cubicBezTo>
                    <a:pt x="14" y="26"/>
                    <a:pt x="13" y="27"/>
                    <a:pt x="13" y="27"/>
                  </a:cubicBezTo>
                  <a:cubicBezTo>
                    <a:pt x="12" y="27"/>
                    <a:pt x="11" y="27"/>
                    <a:pt x="10" y="27"/>
                  </a:cubicBezTo>
                  <a:cubicBezTo>
                    <a:pt x="4" y="27"/>
                    <a:pt x="4" y="27"/>
                    <a:pt x="4" y="27"/>
                  </a:cubicBezTo>
                  <a:cubicBezTo>
                    <a:pt x="4" y="16"/>
                    <a:pt x="4" y="16"/>
                    <a:pt x="4" y="16"/>
                  </a:cubicBezTo>
                  <a:cubicBezTo>
                    <a:pt x="9" y="16"/>
                    <a:pt x="9" y="16"/>
                    <a:pt x="9" y="16"/>
                  </a:cubicBezTo>
                  <a:cubicBezTo>
                    <a:pt x="11" y="16"/>
                    <a:pt x="12" y="17"/>
                    <a:pt x="12" y="17"/>
                  </a:cubicBezTo>
                  <a:cubicBezTo>
                    <a:pt x="13" y="17"/>
                    <a:pt x="14" y="17"/>
                    <a:pt x="14" y="18"/>
                  </a:cubicBezTo>
                  <a:cubicBezTo>
                    <a:pt x="15" y="18"/>
                    <a:pt x="15" y="19"/>
                    <a:pt x="16" y="20"/>
                  </a:cubicBezTo>
                  <a:cubicBezTo>
                    <a:pt x="16" y="20"/>
                    <a:pt x="16" y="21"/>
                    <a:pt x="16" y="22"/>
                  </a:cubicBezTo>
                  <a:cubicBezTo>
                    <a:pt x="16" y="23"/>
                    <a:pt x="16" y="24"/>
                    <a:pt x="16" y="2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152">
              <a:extLst>
                <a:ext uri="{FF2B5EF4-FFF2-40B4-BE49-F238E27FC236}">
                  <a16:creationId xmlns:a16="http://schemas.microsoft.com/office/drawing/2014/main" id="{8FB914B8-CEDD-4DB1-AEA0-75C6634921C5}"/>
                </a:ext>
              </a:extLst>
            </p:cNvPr>
            <p:cNvSpPr>
              <a:spLocks/>
            </p:cNvSpPr>
            <p:nvPr/>
          </p:nvSpPr>
          <p:spPr bwMode="auto">
            <a:xfrm>
              <a:off x="7886718" y="5901426"/>
              <a:ext cx="60602" cy="77917"/>
            </a:xfrm>
            <a:custGeom>
              <a:avLst/>
              <a:gdLst>
                <a:gd name="T0" fmla="*/ 18 w 18"/>
                <a:gd name="T1" fmla="*/ 1 h 23"/>
                <a:gd name="T2" fmla="*/ 18 w 18"/>
                <a:gd name="T3" fmla="*/ 0 h 23"/>
                <a:gd name="T4" fmla="*/ 18 w 18"/>
                <a:gd name="T5" fmla="*/ 0 h 23"/>
                <a:gd name="T6" fmla="*/ 17 w 18"/>
                <a:gd name="T7" fmla="*/ 0 h 23"/>
                <a:gd name="T8" fmla="*/ 16 w 18"/>
                <a:gd name="T9" fmla="*/ 0 h 23"/>
                <a:gd name="T10" fmla="*/ 15 w 18"/>
                <a:gd name="T11" fmla="*/ 0 h 23"/>
                <a:gd name="T12" fmla="*/ 15 w 18"/>
                <a:gd name="T13" fmla="*/ 0 h 23"/>
                <a:gd name="T14" fmla="*/ 14 w 18"/>
                <a:gd name="T15" fmla="*/ 0 h 23"/>
                <a:gd name="T16" fmla="*/ 14 w 18"/>
                <a:gd name="T17" fmla="*/ 1 h 23"/>
                <a:gd name="T18" fmla="*/ 14 w 18"/>
                <a:gd name="T19" fmla="*/ 16 h 23"/>
                <a:gd name="T20" fmla="*/ 11 w 18"/>
                <a:gd name="T21" fmla="*/ 19 h 23"/>
                <a:gd name="T22" fmla="*/ 8 w 18"/>
                <a:gd name="T23" fmla="*/ 20 h 23"/>
                <a:gd name="T24" fmla="*/ 6 w 18"/>
                <a:gd name="T25" fmla="*/ 19 h 23"/>
                <a:gd name="T26" fmla="*/ 5 w 18"/>
                <a:gd name="T27" fmla="*/ 18 h 23"/>
                <a:gd name="T28" fmla="*/ 4 w 18"/>
                <a:gd name="T29" fmla="*/ 16 h 23"/>
                <a:gd name="T30" fmla="*/ 4 w 18"/>
                <a:gd name="T31" fmla="*/ 13 h 23"/>
                <a:gd name="T32" fmla="*/ 4 w 18"/>
                <a:gd name="T33" fmla="*/ 1 h 23"/>
                <a:gd name="T34" fmla="*/ 4 w 18"/>
                <a:gd name="T35" fmla="*/ 0 h 23"/>
                <a:gd name="T36" fmla="*/ 3 w 18"/>
                <a:gd name="T37" fmla="*/ 0 h 23"/>
                <a:gd name="T38" fmla="*/ 3 w 18"/>
                <a:gd name="T39" fmla="*/ 0 h 23"/>
                <a:gd name="T40" fmla="*/ 2 w 18"/>
                <a:gd name="T41" fmla="*/ 0 h 23"/>
                <a:gd name="T42" fmla="*/ 1 w 18"/>
                <a:gd name="T43" fmla="*/ 0 h 23"/>
                <a:gd name="T44" fmla="*/ 0 w 18"/>
                <a:gd name="T45" fmla="*/ 0 h 23"/>
                <a:gd name="T46" fmla="*/ 0 w 18"/>
                <a:gd name="T47" fmla="*/ 0 h 23"/>
                <a:gd name="T48" fmla="*/ 0 w 18"/>
                <a:gd name="T49" fmla="*/ 1 h 23"/>
                <a:gd name="T50" fmla="*/ 0 w 18"/>
                <a:gd name="T51" fmla="*/ 14 h 23"/>
                <a:gd name="T52" fmla="*/ 0 w 18"/>
                <a:gd name="T53" fmla="*/ 17 h 23"/>
                <a:gd name="T54" fmla="*/ 2 w 18"/>
                <a:gd name="T55" fmla="*/ 20 h 23"/>
                <a:gd name="T56" fmla="*/ 4 w 18"/>
                <a:gd name="T57" fmla="*/ 22 h 23"/>
                <a:gd name="T58" fmla="*/ 7 w 18"/>
                <a:gd name="T59" fmla="*/ 23 h 23"/>
                <a:gd name="T60" fmla="*/ 11 w 18"/>
                <a:gd name="T61" fmla="*/ 22 h 23"/>
                <a:gd name="T62" fmla="*/ 15 w 18"/>
                <a:gd name="T63" fmla="*/ 19 h 23"/>
                <a:gd name="T64" fmla="*/ 15 w 18"/>
                <a:gd name="T65" fmla="*/ 22 h 23"/>
                <a:gd name="T66" fmla="*/ 15 w 18"/>
                <a:gd name="T67" fmla="*/ 22 h 23"/>
                <a:gd name="T68" fmla="*/ 15 w 18"/>
                <a:gd name="T69" fmla="*/ 22 h 23"/>
                <a:gd name="T70" fmla="*/ 15 w 18"/>
                <a:gd name="T71" fmla="*/ 23 h 23"/>
                <a:gd name="T72" fmla="*/ 16 w 18"/>
                <a:gd name="T73" fmla="*/ 23 h 23"/>
                <a:gd name="T74" fmla="*/ 17 w 18"/>
                <a:gd name="T75" fmla="*/ 23 h 23"/>
                <a:gd name="T76" fmla="*/ 18 w 18"/>
                <a:gd name="T77" fmla="*/ 22 h 23"/>
                <a:gd name="T78" fmla="*/ 18 w 18"/>
                <a:gd name="T79" fmla="*/ 22 h 23"/>
                <a:gd name="T80" fmla="*/ 18 w 18"/>
                <a:gd name="T81" fmla="*/ 22 h 23"/>
                <a:gd name="T82" fmla="*/ 18 w 18"/>
                <a:gd name="T8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
                  </a:moveTo>
                  <a:cubicBezTo>
                    <a:pt x="18" y="1"/>
                    <a:pt x="18" y="1"/>
                    <a:pt x="18" y="0"/>
                  </a:cubicBezTo>
                  <a:cubicBezTo>
                    <a:pt x="18" y="0"/>
                    <a:pt x="18" y="0"/>
                    <a:pt x="18" y="0"/>
                  </a:cubicBezTo>
                  <a:cubicBezTo>
                    <a:pt x="17" y="0"/>
                    <a:pt x="17" y="0"/>
                    <a:pt x="17" y="0"/>
                  </a:cubicBezTo>
                  <a:cubicBezTo>
                    <a:pt x="17" y="0"/>
                    <a:pt x="16" y="0"/>
                    <a:pt x="16" y="0"/>
                  </a:cubicBezTo>
                  <a:cubicBezTo>
                    <a:pt x="16" y="0"/>
                    <a:pt x="15" y="0"/>
                    <a:pt x="15" y="0"/>
                  </a:cubicBezTo>
                  <a:cubicBezTo>
                    <a:pt x="15" y="0"/>
                    <a:pt x="15" y="0"/>
                    <a:pt x="15" y="0"/>
                  </a:cubicBezTo>
                  <a:cubicBezTo>
                    <a:pt x="14" y="0"/>
                    <a:pt x="14" y="0"/>
                    <a:pt x="14" y="0"/>
                  </a:cubicBezTo>
                  <a:cubicBezTo>
                    <a:pt x="14" y="1"/>
                    <a:pt x="14" y="1"/>
                    <a:pt x="14" y="1"/>
                  </a:cubicBezTo>
                  <a:cubicBezTo>
                    <a:pt x="14" y="16"/>
                    <a:pt x="14" y="16"/>
                    <a:pt x="14" y="16"/>
                  </a:cubicBezTo>
                  <a:cubicBezTo>
                    <a:pt x="13" y="17"/>
                    <a:pt x="12" y="18"/>
                    <a:pt x="11" y="19"/>
                  </a:cubicBezTo>
                  <a:cubicBezTo>
                    <a:pt x="10" y="19"/>
                    <a:pt x="9" y="20"/>
                    <a:pt x="8" y="20"/>
                  </a:cubicBezTo>
                  <a:cubicBezTo>
                    <a:pt x="7" y="20"/>
                    <a:pt x="7" y="19"/>
                    <a:pt x="6" y="19"/>
                  </a:cubicBezTo>
                  <a:cubicBezTo>
                    <a:pt x="6" y="19"/>
                    <a:pt x="5" y="18"/>
                    <a:pt x="5" y="18"/>
                  </a:cubicBezTo>
                  <a:cubicBezTo>
                    <a:pt x="4" y="17"/>
                    <a:pt x="4" y="17"/>
                    <a:pt x="4" y="16"/>
                  </a:cubicBezTo>
                  <a:cubicBezTo>
                    <a:pt x="4" y="15"/>
                    <a:pt x="4" y="14"/>
                    <a:pt x="4" y="13"/>
                  </a:cubicBezTo>
                  <a:cubicBezTo>
                    <a:pt x="4" y="1"/>
                    <a:pt x="4" y="1"/>
                    <a:pt x="4" y="1"/>
                  </a:cubicBezTo>
                  <a:cubicBezTo>
                    <a:pt x="4" y="1"/>
                    <a:pt x="4" y="1"/>
                    <a:pt x="4" y="0"/>
                  </a:cubicBezTo>
                  <a:cubicBezTo>
                    <a:pt x="4" y="0"/>
                    <a:pt x="3" y="0"/>
                    <a:pt x="3" y="0"/>
                  </a:cubicBezTo>
                  <a:cubicBezTo>
                    <a:pt x="3" y="0"/>
                    <a:pt x="3" y="0"/>
                    <a:pt x="3" y="0"/>
                  </a:cubicBezTo>
                  <a:cubicBezTo>
                    <a:pt x="2" y="0"/>
                    <a:pt x="2" y="0"/>
                    <a:pt x="2" y="0"/>
                  </a:cubicBezTo>
                  <a:cubicBezTo>
                    <a:pt x="1" y="0"/>
                    <a:pt x="1" y="0"/>
                    <a:pt x="1" y="0"/>
                  </a:cubicBezTo>
                  <a:cubicBezTo>
                    <a:pt x="1" y="0"/>
                    <a:pt x="0" y="0"/>
                    <a:pt x="0" y="0"/>
                  </a:cubicBezTo>
                  <a:cubicBezTo>
                    <a:pt x="0" y="0"/>
                    <a:pt x="0" y="0"/>
                    <a:pt x="0" y="0"/>
                  </a:cubicBezTo>
                  <a:cubicBezTo>
                    <a:pt x="0" y="1"/>
                    <a:pt x="0" y="1"/>
                    <a:pt x="0" y="1"/>
                  </a:cubicBezTo>
                  <a:cubicBezTo>
                    <a:pt x="0" y="14"/>
                    <a:pt x="0" y="14"/>
                    <a:pt x="0" y="14"/>
                  </a:cubicBezTo>
                  <a:cubicBezTo>
                    <a:pt x="0" y="15"/>
                    <a:pt x="0" y="16"/>
                    <a:pt x="0" y="17"/>
                  </a:cubicBezTo>
                  <a:cubicBezTo>
                    <a:pt x="0" y="19"/>
                    <a:pt x="1" y="19"/>
                    <a:pt x="2" y="20"/>
                  </a:cubicBezTo>
                  <a:cubicBezTo>
                    <a:pt x="2" y="21"/>
                    <a:pt x="3" y="22"/>
                    <a:pt x="4" y="22"/>
                  </a:cubicBezTo>
                  <a:cubicBezTo>
                    <a:pt x="5" y="23"/>
                    <a:pt x="6" y="23"/>
                    <a:pt x="7" y="23"/>
                  </a:cubicBezTo>
                  <a:cubicBezTo>
                    <a:pt x="9" y="23"/>
                    <a:pt x="10" y="23"/>
                    <a:pt x="11" y="22"/>
                  </a:cubicBezTo>
                  <a:cubicBezTo>
                    <a:pt x="12" y="21"/>
                    <a:pt x="13" y="20"/>
                    <a:pt x="15" y="19"/>
                  </a:cubicBezTo>
                  <a:cubicBezTo>
                    <a:pt x="15" y="22"/>
                    <a:pt x="15" y="22"/>
                    <a:pt x="15" y="22"/>
                  </a:cubicBezTo>
                  <a:cubicBezTo>
                    <a:pt x="15" y="22"/>
                    <a:pt x="15" y="22"/>
                    <a:pt x="15" y="22"/>
                  </a:cubicBezTo>
                  <a:cubicBezTo>
                    <a:pt x="15" y="22"/>
                    <a:pt x="15" y="22"/>
                    <a:pt x="15" y="22"/>
                  </a:cubicBezTo>
                  <a:cubicBezTo>
                    <a:pt x="15" y="22"/>
                    <a:pt x="15" y="23"/>
                    <a:pt x="15" y="23"/>
                  </a:cubicBezTo>
                  <a:cubicBezTo>
                    <a:pt x="16" y="23"/>
                    <a:pt x="16" y="23"/>
                    <a:pt x="16" y="23"/>
                  </a:cubicBezTo>
                  <a:cubicBezTo>
                    <a:pt x="17" y="23"/>
                    <a:pt x="17" y="23"/>
                    <a:pt x="17" y="23"/>
                  </a:cubicBezTo>
                  <a:cubicBezTo>
                    <a:pt x="17" y="23"/>
                    <a:pt x="18" y="22"/>
                    <a:pt x="18" y="22"/>
                  </a:cubicBezTo>
                  <a:cubicBezTo>
                    <a:pt x="18" y="22"/>
                    <a:pt x="18" y="22"/>
                    <a:pt x="18" y="22"/>
                  </a:cubicBezTo>
                  <a:cubicBezTo>
                    <a:pt x="18" y="22"/>
                    <a:pt x="18" y="22"/>
                    <a:pt x="18" y="22"/>
                  </a:cubicBezTo>
                  <a:cubicBezTo>
                    <a:pt x="18" y="1"/>
                    <a:pt x="18" y="1"/>
                    <a:pt x="18"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153">
              <a:extLst>
                <a:ext uri="{FF2B5EF4-FFF2-40B4-BE49-F238E27FC236}">
                  <a16:creationId xmlns:a16="http://schemas.microsoft.com/office/drawing/2014/main" id="{DAC6709E-7437-40B4-8A6B-482963A8CCA7}"/>
                </a:ext>
              </a:extLst>
            </p:cNvPr>
            <p:cNvSpPr>
              <a:spLocks/>
            </p:cNvSpPr>
            <p:nvPr/>
          </p:nvSpPr>
          <p:spPr bwMode="auto">
            <a:xfrm>
              <a:off x="7968965" y="5901426"/>
              <a:ext cx="50502" cy="77917"/>
            </a:xfrm>
            <a:custGeom>
              <a:avLst/>
              <a:gdLst>
                <a:gd name="T0" fmla="*/ 14 w 15"/>
                <a:gd name="T1" fmla="*/ 14 h 23"/>
                <a:gd name="T2" fmla="*/ 13 w 15"/>
                <a:gd name="T3" fmla="*/ 12 h 23"/>
                <a:gd name="T4" fmla="*/ 11 w 15"/>
                <a:gd name="T5" fmla="*/ 11 h 23"/>
                <a:gd name="T6" fmla="*/ 9 w 15"/>
                <a:gd name="T7" fmla="*/ 10 h 23"/>
                <a:gd name="T8" fmla="*/ 7 w 15"/>
                <a:gd name="T9" fmla="*/ 9 h 23"/>
                <a:gd name="T10" fmla="*/ 6 w 15"/>
                <a:gd name="T11" fmla="*/ 8 h 23"/>
                <a:gd name="T12" fmla="*/ 4 w 15"/>
                <a:gd name="T13" fmla="*/ 7 h 23"/>
                <a:gd name="T14" fmla="*/ 4 w 15"/>
                <a:gd name="T15" fmla="*/ 6 h 23"/>
                <a:gd name="T16" fmla="*/ 4 w 15"/>
                <a:gd name="T17" fmla="*/ 5 h 23"/>
                <a:gd name="T18" fmla="*/ 5 w 15"/>
                <a:gd name="T19" fmla="*/ 4 h 23"/>
                <a:gd name="T20" fmla="*/ 6 w 15"/>
                <a:gd name="T21" fmla="*/ 3 h 23"/>
                <a:gd name="T22" fmla="*/ 8 w 15"/>
                <a:gd name="T23" fmla="*/ 3 h 23"/>
                <a:gd name="T24" fmla="*/ 10 w 15"/>
                <a:gd name="T25" fmla="*/ 3 h 23"/>
                <a:gd name="T26" fmla="*/ 11 w 15"/>
                <a:gd name="T27" fmla="*/ 4 h 23"/>
                <a:gd name="T28" fmla="*/ 12 w 15"/>
                <a:gd name="T29" fmla="*/ 4 h 23"/>
                <a:gd name="T30" fmla="*/ 13 w 15"/>
                <a:gd name="T31" fmla="*/ 4 h 23"/>
                <a:gd name="T32" fmla="*/ 13 w 15"/>
                <a:gd name="T33" fmla="*/ 4 h 23"/>
                <a:gd name="T34" fmla="*/ 13 w 15"/>
                <a:gd name="T35" fmla="*/ 4 h 23"/>
                <a:gd name="T36" fmla="*/ 13 w 15"/>
                <a:gd name="T37" fmla="*/ 4 h 23"/>
                <a:gd name="T38" fmla="*/ 14 w 15"/>
                <a:gd name="T39" fmla="*/ 3 h 23"/>
                <a:gd name="T40" fmla="*/ 13 w 15"/>
                <a:gd name="T41" fmla="*/ 2 h 23"/>
                <a:gd name="T42" fmla="*/ 13 w 15"/>
                <a:gd name="T43" fmla="*/ 2 h 23"/>
                <a:gd name="T44" fmla="*/ 13 w 15"/>
                <a:gd name="T45" fmla="*/ 1 h 23"/>
                <a:gd name="T46" fmla="*/ 13 w 15"/>
                <a:gd name="T47" fmla="*/ 1 h 23"/>
                <a:gd name="T48" fmla="*/ 12 w 15"/>
                <a:gd name="T49" fmla="*/ 1 h 23"/>
                <a:gd name="T50" fmla="*/ 11 w 15"/>
                <a:gd name="T51" fmla="*/ 0 h 23"/>
                <a:gd name="T52" fmla="*/ 10 w 15"/>
                <a:gd name="T53" fmla="*/ 0 h 23"/>
                <a:gd name="T54" fmla="*/ 8 w 15"/>
                <a:gd name="T55" fmla="*/ 0 h 23"/>
                <a:gd name="T56" fmla="*/ 5 w 15"/>
                <a:gd name="T57" fmla="*/ 0 h 23"/>
                <a:gd name="T58" fmla="*/ 2 w 15"/>
                <a:gd name="T59" fmla="*/ 2 h 23"/>
                <a:gd name="T60" fmla="*/ 1 w 15"/>
                <a:gd name="T61" fmla="*/ 4 h 23"/>
                <a:gd name="T62" fmla="*/ 0 w 15"/>
                <a:gd name="T63" fmla="*/ 6 h 23"/>
                <a:gd name="T64" fmla="*/ 1 w 15"/>
                <a:gd name="T65" fmla="*/ 8 h 23"/>
                <a:gd name="T66" fmla="*/ 2 w 15"/>
                <a:gd name="T67" fmla="*/ 10 h 23"/>
                <a:gd name="T68" fmla="*/ 4 w 15"/>
                <a:gd name="T69" fmla="*/ 11 h 23"/>
                <a:gd name="T70" fmla="*/ 6 w 15"/>
                <a:gd name="T71" fmla="*/ 12 h 23"/>
                <a:gd name="T72" fmla="*/ 7 w 15"/>
                <a:gd name="T73" fmla="*/ 13 h 23"/>
                <a:gd name="T74" fmla="*/ 9 w 15"/>
                <a:gd name="T75" fmla="*/ 14 h 23"/>
                <a:gd name="T76" fmla="*/ 10 w 15"/>
                <a:gd name="T77" fmla="*/ 15 h 23"/>
                <a:gd name="T78" fmla="*/ 11 w 15"/>
                <a:gd name="T79" fmla="*/ 16 h 23"/>
                <a:gd name="T80" fmla="*/ 10 w 15"/>
                <a:gd name="T81" fmla="*/ 18 h 23"/>
                <a:gd name="T82" fmla="*/ 10 w 15"/>
                <a:gd name="T83" fmla="*/ 19 h 23"/>
                <a:gd name="T84" fmla="*/ 8 w 15"/>
                <a:gd name="T85" fmla="*/ 20 h 23"/>
                <a:gd name="T86" fmla="*/ 6 w 15"/>
                <a:gd name="T87" fmla="*/ 20 h 23"/>
                <a:gd name="T88" fmla="*/ 4 w 15"/>
                <a:gd name="T89" fmla="*/ 20 h 23"/>
                <a:gd name="T90" fmla="*/ 2 w 15"/>
                <a:gd name="T91" fmla="*/ 19 h 23"/>
                <a:gd name="T92" fmla="*/ 1 w 15"/>
                <a:gd name="T93" fmla="*/ 18 h 23"/>
                <a:gd name="T94" fmla="*/ 0 w 15"/>
                <a:gd name="T95" fmla="*/ 18 h 23"/>
                <a:gd name="T96" fmla="*/ 0 w 15"/>
                <a:gd name="T97" fmla="*/ 18 h 23"/>
                <a:gd name="T98" fmla="*/ 0 w 15"/>
                <a:gd name="T99" fmla="*/ 18 h 23"/>
                <a:gd name="T100" fmla="*/ 0 w 15"/>
                <a:gd name="T101" fmla="*/ 19 h 23"/>
                <a:gd name="T102" fmla="*/ 0 w 15"/>
                <a:gd name="T103" fmla="*/ 19 h 23"/>
                <a:gd name="T104" fmla="*/ 0 w 15"/>
                <a:gd name="T105" fmla="*/ 21 h 23"/>
                <a:gd name="T106" fmla="*/ 0 w 15"/>
                <a:gd name="T107" fmla="*/ 21 h 23"/>
                <a:gd name="T108" fmla="*/ 1 w 15"/>
                <a:gd name="T109" fmla="*/ 22 h 23"/>
                <a:gd name="T110" fmla="*/ 2 w 15"/>
                <a:gd name="T111" fmla="*/ 22 h 23"/>
                <a:gd name="T112" fmla="*/ 4 w 15"/>
                <a:gd name="T113" fmla="*/ 23 h 23"/>
                <a:gd name="T114" fmla="*/ 6 w 15"/>
                <a:gd name="T115" fmla="*/ 23 h 23"/>
                <a:gd name="T116" fmla="*/ 10 w 15"/>
                <a:gd name="T117" fmla="*/ 22 h 23"/>
                <a:gd name="T118" fmla="*/ 12 w 15"/>
                <a:gd name="T119" fmla="*/ 21 h 23"/>
                <a:gd name="T120" fmla="*/ 14 w 15"/>
                <a:gd name="T121" fmla="*/ 19 h 23"/>
                <a:gd name="T122" fmla="*/ 15 w 15"/>
                <a:gd name="T123" fmla="*/ 16 h 23"/>
                <a:gd name="T124" fmla="*/ 14 w 15"/>
                <a:gd name="T1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3">
                  <a:moveTo>
                    <a:pt x="14" y="14"/>
                  </a:moveTo>
                  <a:cubicBezTo>
                    <a:pt x="14" y="13"/>
                    <a:pt x="13" y="13"/>
                    <a:pt x="13" y="12"/>
                  </a:cubicBezTo>
                  <a:cubicBezTo>
                    <a:pt x="12" y="12"/>
                    <a:pt x="12" y="11"/>
                    <a:pt x="11" y="11"/>
                  </a:cubicBezTo>
                  <a:cubicBezTo>
                    <a:pt x="11" y="11"/>
                    <a:pt x="10" y="10"/>
                    <a:pt x="9" y="10"/>
                  </a:cubicBezTo>
                  <a:cubicBezTo>
                    <a:pt x="9" y="10"/>
                    <a:pt x="8" y="9"/>
                    <a:pt x="7" y="9"/>
                  </a:cubicBezTo>
                  <a:cubicBezTo>
                    <a:pt x="7" y="9"/>
                    <a:pt x="6" y="9"/>
                    <a:pt x="6" y="8"/>
                  </a:cubicBezTo>
                  <a:cubicBezTo>
                    <a:pt x="5" y="8"/>
                    <a:pt x="5" y="8"/>
                    <a:pt x="4" y="7"/>
                  </a:cubicBezTo>
                  <a:cubicBezTo>
                    <a:pt x="4" y="7"/>
                    <a:pt x="4" y="6"/>
                    <a:pt x="4" y="6"/>
                  </a:cubicBezTo>
                  <a:cubicBezTo>
                    <a:pt x="4" y="5"/>
                    <a:pt x="4" y="5"/>
                    <a:pt x="4" y="5"/>
                  </a:cubicBezTo>
                  <a:cubicBezTo>
                    <a:pt x="4" y="4"/>
                    <a:pt x="5" y="4"/>
                    <a:pt x="5" y="4"/>
                  </a:cubicBezTo>
                  <a:cubicBezTo>
                    <a:pt x="5" y="3"/>
                    <a:pt x="6" y="3"/>
                    <a:pt x="6" y="3"/>
                  </a:cubicBezTo>
                  <a:cubicBezTo>
                    <a:pt x="7" y="3"/>
                    <a:pt x="7" y="3"/>
                    <a:pt x="8" y="3"/>
                  </a:cubicBezTo>
                  <a:cubicBezTo>
                    <a:pt x="9" y="3"/>
                    <a:pt x="9" y="3"/>
                    <a:pt x="10" y="3"/>
                  </a:cubicBezTo>
                  <a:cubicBezTo>
                    <a:pt x="10" y="3"/>
                    <a:pt x="11" y="3"/>
                    <a:pt x="11" y="4"/>
                  </a:cubicBezTo>
                  <a:cubicBezTo>
                    <a:pt x="12" y="4"/>
                    <a:pt x="12" y="4"/>
                    <a:pt x="12" y="4"/>
                  </a:cubicBezTo>
                  <a:cubicBezTo>
                    <a:pt x="13" y="4"/>
                    <a:pt x="13" y="4"/>
                    <a:pt x="13" y="4"/>
                  </a:cubicBezTo>
                  <a:cubicBezTo>
                    <a:pt x="13" y="4"/>
                    <a:pt x="13" y="4"/>
                    <a:pt x="13" y="4"/>
                  </a:cubicBezTo>
                  <a:cubicBezTo>
                    <a:pt x="13" y="4"/>
                    <a:pt x="13" y="4"/>
                    <a:pt x="13" y="4"/>
                  </a:cubicBezTo>
                  <a:cubicBezTo>
                    <a:pt x="13" y="4"/>
                    <a:pt x="13" y="4"/>
                    <a:pt x="13" y="4"/>
                  </a:cubicBezTo>
                  <a:cubicBezTo>
                    <a:pt x="14" y="3"/>
                    <a:pt x="14" y="3"/>
                    <a:pt x="14" y="3"/>
                  </a:cubicBezTo>
                  <a:cubicBezTo>
                    <a:pt x="14" y="3"/>
                    <a:pt x="14" y="2"/>
                    <a:pt x="13" y="2"/>
                  </a:cubicBezTo>
                  <a:cubicBezTo>
                    <a:pt x="13" y="2"/>
                    <a:pt x="13" y="2"/>
                    <a:pt x="13" y="2"/>
                  </a:cubicBezTo>
                  <a:cubicBezTo>
                    <a:pt x="13" y="2"/>
                    <a:pt x="13" y="2"/>
                    <a:pt x="13" y="1"/>
                  </a:cubicBezTo>
                  <a:cubicBezTo>
                    <a:pt x="13" y="1"/>
                    <a:pt x="13" y="1"/>
                    <a:pt x="13" y="1"/>
                  </a:cubicBezTo>
                  <a:cubicBezTo>
                    <a:pt x="13" y="1"/>
                    <a:pt x="13" y="1"/>
                    <a:pt x="12" y="1"/>
                  </a:cubicBezTo>
                  <a:cubicBezTo>
                    <a:pt x="12" y="1"/>
                    <a:pt x="12" y="0"/>
                    <a:pt x="11" y="0"/>
                  </a:cubicBezTo>
                  <a:cubicBezTo>
                    <a:pt x="11" y="0"/>
                    <a:pt x="10" y="0"/>
                    <a:pt x="10" y="0"/>
                  </a:cubicBezTo>
                  <a:cubicBezTo>
                    <a:pt x="9" y="0"/>
                    <a:pt x="8" y="0"/>
                    <a:pt x="8" y="0"/>
                  </a:cubicBezTo>
                  <a:cubicBezTo>
                    <a:pt x="7" y="0"/>
                    <a:pt x="5" y="0"/>
                    <a:pt x="5" y="0"/>
                  </a:cubicBezTo>
                  <a:cubicBezTo>
                    <a:pt x="4" y="1"/>
                    <a:pt x="3" y="1"/>
                    <a:pt x="2" y="2"/>
                  </a:cubicBezTo>
                  <a:cubicBezTo>
                    <a:pt x="1" y="2"/>
                    <a:pt x="1" y="3"/>
                    <a:pt x="1" y="4"/>
                  </a:cubicBezTo>
                  <a:cubicBezTo>
                    <a:pt x="0" y="4"/>
                    <a:pt x="0" y="5"/>
                    <a:pt x="0" y="6"/>
                  </a:cubicBezTo>
                  <a:cubicBezTo>
                    <a:pt x="0" y="7"/>
                    <a:pt x="0" y="8"/>
                    <a:pt x="1" y="8"/>
                  </a:cubicBezTo>
                  <a:cubicBezTo>
                    <a:pt x="1" y="9"/>
                    <a:pt x="1" y="10"/>
                    <a:pt x="2" y="10"/>
                  </a:cubicBezTo>
                  <a:cubicBezTo>
                    <a:pt x="2" y="11"/>
                    <a:pt x="3" y="11"/>
                    <a:pt x="4" y="11"/>
                  </a:cubicBezTo>
                  <a:cubicBezTo>
                    <a:pt x="4" y="12"/>
                    <a:pt x="5" y="12"/>
                    <a:pt x="6" y="12"/>
                  </a:cubicBezTo>
                  <a:cubicBezTo>
                    <a:pt x="6" y="13"/>
                    <a:pt x="7" y="13"/>
                    <a:pt x="7" y="13"/>
                  </a:cubicBezTo>
                  <a:cubicBezTo>
                    <a:pt x="8" y="13"/>
                    <a:pt x="9" y="14"/>
                    <a:pt x="9" y="14"/>
                  </a:cubicBezTo>
                  <a:cubicBezTo>
                    <a:pt x="10" y="14"/>
                    <a:pt x="10" y="15"/>
                    <a:pt x="10" y="15"/>
                  </a:cubicBezTo>
                  <a:cubicBezTo>
                    <a:pt x="11" y="15"/>
                    <a:pt x="11" y="16"/>
                    <a:pt x="11" y="16"/>
                  </a:cubicBezTo>
                  <a:cubicBezTo>
                    <a:pt x="11" y="17"/>
                    <a:pt x="11" y="18"/>
                    <a:pt x="10" y="18"/>
                  </a:cubicBezTo>
                  <a:cubicBezTo>
                    <a:pt x="10" y="18"/>
                    <a:pt x="10" y="19"/>
                    <a:pt x="10" y="19"/>
                  </a:cubicBezTo>
                  <a:cubicBezTo>
                    <a:pt x="9" y="19"/>
                    <a:pt x="9" y="19"/>
                    <a:pt x="8" y="20"/>
                  </a:cubicBezTo>
                  <a:cubicBezTo>
                    <a:pt x="8" y="20"/>
                    <a:pt x="7" y="20"/>
                    <a:pt x="6" y="20"/>
                  </a:cubicBezTo>
                  <a:cubicBezTo>
                    <a:pt x="6" y="20"/>
                    <a:pt x="5" y="20"/>
                    <a:pt x="4" y="20"/>
                  </a:cubicBezTo>
                  <a:cubicBezTo>
                    <a:pt x="3" y="19"/>
                    <a:pt x="3" y="19"/>
                    <a:pt x="2" y="19"/>
                  </a:cubicBezTo>
                  <a:cubicBezTo>
                    <a:pt x="2" y="19"/>
                    <a:pt x="1" y="18"/>
                    <a:pt x="1" y="18"/>
                  </a:cubicBezTo>
                  <a:cubicBezTo>
                    <a:pt x="1" y="18"/>
                    <a:pt x="1" y="18"/>
                    <a:pt x="0" y="18"/>
                  </a:cubicBezTo>
                  <a:cubicBezTo>
                    <a:pt x="0" y="18"/>
                    <a:pt x="0" y="18"/>
                    <a:pt x="0" y="18"/>
                  </a:cubicBezTo>
                  <a:cubicBezTo>
                    <a:pt x="0" y="18"/>
                    <a:pt x="0" y="18"/>
                    <a:pt x="0" y="18"/>
                  </a:cubicBezTo>
                  <a:cubicBezTo>
                    <a:pt x="0" y="18"/>
                    <a:pt x="0" y="18"/>
                    <a:pt x="0" y="19"/>
                  </a:cubicBezTo>
                  <a:cubicBezTo>
                    <a:pt x="0" y="19"/>
                    <a:pt x="0" y="19"/>
                    <a:pt x="0" y="19"/>
                  </a:cubicBezTo>
                  <a:cubicBezTo>
                    <a:pt x="0" y="20"/>
                    <a:pt x="0" y="20"/>
                    <a:pt x="0" y="21"/>
                  </a:cubicBezTo>
                  <a:cubicBezTo>
                    <a:pt x="0" y="21"/>
                    <a:pt x="0" y="21"/>
                    <a:pt x="0" y="21"/>
                  </a:cubicBezTo>
                  <a:cubicBezTo>
                    <a:pt x="0" y="21"/>
                    <a:pt x="1" y="22"/>
                    <a:pt x="1" y="22"/>
                  </a:cubicBezTo>
                  <a:cubicBezTo>
                    <a:pt x="1" y="22"/>
                    <a:pt x="2" y="22"/>
                    <a:pt x="2" y="22"/>
                  </a:cubicBezTo>
                  <a:cubicBezTo>
                    <a:pt x="3" y="22"/>
                    <a:pt x="4" y="23"/>
                    <a:pt x="4" y="23"/>
                  </a:cubicBezTo>
                  <a:cubicBezTo>
                    <a:pt x="5" y="23"/>
                    <a:pt x="6" y="23"/>
                    <a:pt x="6" y="23"/>
                  </a:cubicBezTo>
                  <a:cubicBezTo>
                    <a:pt x="8" y="23"/>
                    <a:pt x="9" y="23"/>
                    <a:pt x="10" y="22"/>
                  </a:cubicBezTo>
                  <a:cubicBezTo>
                    <a:pt x="11" y="22"/>
                    <a:pt x="12" y="22"/>
                    <a:pt x="12" y="21"/>
                  </a:cubicBezTo>
                  <a:cubicBezTo>
                    <a:pt x="13" y="21"/>
                    <a:pt x="14" y="20"/>
                    <a:pt x="14" y="19"/>
                  </a:cubicBezTo>
                  <a:cubicBezTo>
                    <a:pt x="14" y="18"/>
                    <a:pt x="15" y="17"/>
                    <a:pt x="15" y="16"/>
                  </a:cubicBezTo>
                  <a:cubicBezTo>
                    <a:pt x="15" y="15"/>
                    <a:pt x="14" y="14"/>
                    <a:pt x="14"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154">
              <a:extLst>
                <a:ext uri="{FF2B5EF4-FFF2-40B4-BE49-F238E27FC236}">
                  <a16:creationId xmlns:a16="http://schemas.microsoft.com/office/drawing/2014/main" id="{61644C0A-A162-4E23-BFA4-9DBF9D249873}"/>
                </a:ext>
              </a:extLst>
            </p:cNvPr>
            <p:cNvSpPr>
              <a:spLocks noEditPoints="1"/>
            </p:cNvSpPr>
            <p:nvPr/>
          </p:nvSpPr>
          <p:spPr bwMode="auto">
            <a:xfrm>
              <a:off x="8036781" y="5869682"/>
              <a:ext cx="14429" cy="109661"/>
            </a:xfrm>
            <a:custGeom>
              <a:avLst/>
              <a:gdLst>
                <a:gd name="T0" fmla="*/ 4 w 4"/>
                <a:gd name="T1" fmla="*/ 10 h 32"/>
                <a:gd name="T2" fmla="*/ 4 w 4"/>
                <a:gd name="T3" fmla="*/ 9 h 32"/>
                <a:gd name="T4" fmla="*/ 4 w 4"/>
                <a:gd name="T5" fmla="*/ 9 h 32"/>
                <a:gd name="T6" fmla="*/ 3 w 4"/>
                <a:gd name="T7" fmla="*/ 9 h 32"/>
                <a:gd name="T8" fmla="*/ 2 w 4"/>
                <a:gd name="T9" fmla="*/ 9 h 32"/>
                <a:gd name="T10" fmla="*/ 1 w 4"/>
                <a:gd name="T11" fmla="*/ 9 h 32"/>
                <a:gd name="T12" fmla="*/ 0 w 4"/>
                <a:gd name="T13" fmla="*/ 9 h 32"/>
                <a:gd name="T14" fmla="*/ 0 w 4"/>
                <a:gd name="T15" fmla="*/ 9 h 32"/>
                <a:gd name="T16" fmla="*/ 0 w 4"/>
                <a:gd name="T17" fmla="*/ 10 h 32"/>
                <a:gd name="T18" fmla="*/ 0 w 4"/>
                <a:gd name="T19" fmla="*/ 31 h 32"/>
                <a:gd name="T20" fmla="*/ 0 w 4"/>
                <a:gd name="T21" fmla="*/ 31 h 32"/>
                <a:gd name="T22" fmla="*/ 0 w 4"/>
                <a:gd name="T23" fmla="*/ 31 h 32"/>
                <a:gd name="T24" fmla="*/ 1 w 4"/>
                <a:gd name="T25" fmla="*/ 32 h 32"/>
                <a:gd name="T26" fmla="*/ 2 w 4"/>
                <a:gd name="T27" fmla="*/ 32 h 32"/>
                <a:gd name="T28" fmla="*/ 3 w 4"/>
                <a:gd name="T29" fmla="*/ 32 h 32"/>
                <a:gd name="T30" fmla="*/ 4 w 4"/>
                <a:gd name="T31" fmla="*/ 31 h 32"/>
                <a:gd name="T32" fmla="*/ 4 w 4"/>
                <a:gd name="T33" fmla="*/ 31 h 32"/>
                <a:gd name="T34" fmla="*/ 4 w 4"/>
                <a:gd name="T35" fmla="*/ 31 h 32"/>
                <a:gd name="T36" fmla="*/ 4 w 4"/>
                <a:gd name="T37" fmla="*/ 10 h 32"/>
                <a:gd name="T38" fmla="*/ 4 w 4"/>
                <a:gd name="T39" fmla="*/ 1 h 32"/>
                <a:gd name="T40" fmla="*/ 2 w 4"/>
                <a:gd name="T41" fmla="*/ 0 h 32"/>
                <a:gd name="T42" fmla="*/ 0 w 4"/>
                <a:gd name="T43" fmla="*/ 1 h 32"/>
                <a:gd name="T44" fmla="*/ 0 w 4"/>
                <a:gd name="T45" fmla="*/ 3 h 32"/>
                <a:gd name="T46" fmla="*/ 0 w 4"/>
                <a:gd name="T47" fmla="*/ 5 h 32"/>
                <a:gd name="T48" fmla="*/ 2 w 4"/>
                <a:gd name="T49" fmla="*/ 5 h 32"/>
                <a:gd name="T50" fmla="*/ 4 w 4"/>
                <a:gd name="T51" fmla="*/ 5 h 32"/>
                <a:gd name="T52" fmla="*/ 4 w 4"/>
                <a:gd name="T53" fmla="*/ 3 h 32"/>
                <a:gd name="T54" fmla="*/ 4 w 4"/>
                <a:gd name="T55"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32">
                  <a:moveTo>
                    <a:pt x="4" y="10"/>
                  </a:moveTo>
                  <a:cubicBezTo>
                    <a:pt x="4" y="10"/>
                    <a:pt x="4" y="10"/>
                    <a:pt x="4" y="9"/>
                  </a:cubicBezTo>
                  <a:cubicBezTo>
                    <a:pt x="4" y="9"/>
                    <a:pt x="4" y="9"/>
                    <a:pt x="4" y="9"/>
                  </a:cubicBezTo>
                  <a:cubicBezTo>
                    <a:pt x="3" y="9"/>
                    <a:pt x="3" y="9"/>
                    <a:pt x="3" y="9"/>
                  </a:cubicBezTo>
                  <a:cubicBezTo>
                    <a:pt x="3" y="9"/>
                    <a:pt x="2" y="9"/>
                    <a:pt x="2" y="9"/>
                  </a:cubicBezTo>
                  <a:cubicBezTo>
                    <a:pt x="2" y="9"/>
                    <a:pt x="1" y="9"/>
                    <a:pt x="1" y="9"/>
                  </a:cubicBezTo>
                  <a:cubicBezTo>
                    <a:pt x="1" y="9"/>
                    <a:pt x="1" y="9"/>
                    <a:pt x="0" y="9"/>
                  </a:cubicBezTo>
                  <a:cubicBezTo>
                    <a:pt x="0" y="9"/>
                    <a:pt x="0" y="9"/>
                    <a:pt x="0" y="9"/>
                  </a:cubicBezTo>
                  <a:cubicBezTo>
                    <a:pt x="0" y="10"/>
                    <a:pt x="0" y="10"/>
                    <a:pt x="0" y="10"/>
                  </a:cubicBezTo>
                  <a:cubicBezTo>
                    <a:pt x="0" y="31"/>
                    <a:pt x="0" y="31"/>
                    <a:pt x="0" y="31"/>
                  </a:cubicBezTo>
                  <a:cubicBezTo>
                    <a:pt x="0" y="31"/>
                    <a:pt x="0" y="31"/>
                    <a:pt x="0" y="31"/>
                  </a:cubicBezTo>
                  <a:cubicBezTo>
                    <a:pt x="0" y="31"/>
                    <a:pt x="0" y="31"/>
                    <a:pt x="0" y="31"/>
                  </a:cubicBezTo>
                  <a:cubicBezTo>
                    <a:pt x="1" y="31"/>
                    <a:pt x="1" y="32"/>
                    <a:pt x="1" y="32"/>
                  </a:cubicBezTo>
                  <a:cubicBezTo>
                    <a:pt x="1" y="32"/>
                    <a:pt x="2" y="32"/>
                    <a:pt x="2" y="32"/>
                  </a:cubicBezTo>
                  <a:cubicBezTo>
                    <a:pt x="2" y="32"/>
                    <a:pt x="3" y="32"/>
                    <a:pt x="3" y="32"/>
                  </a:cubicBezTo>
                  <a:cubicBezTo>
                    <a:pt x="3" y="32"/>
                    <a:pt x="3" y="31"/>
                    <a:pt x="4" y="31"/>
                  </a:cubicBezTo>
                  <a:cubicBezTo>
                    <a:pt x="4" y="31"/>
                    <a:pt x="4" y="31"/>
                    <a:pt x="4" y="31"/>
                  </a:cubicBezTo>
                  <a:cubicBezTo>
                    <a:pt x="4" y="31"/>
                    <a:pt x="4" y="31"/>
                    <a:pt x="4" y="31"/>
                  </a:cubicBezTo>
                  <a:cubicBezTo>
                    <a:pt x="4" y="10"/>
                    <a:pt x="4" y="10"/>
                    <a:pt x="4" y="10"/>
                  </a:cubicBezTo>
                  <a:close/>
                  <a:moveTo>
                    <a:pt x="4" y="1"/>
                  </a:moveTo>
                  <a:cubicBezTo>
                    <a:pt x="4" y="1"/>
                    <a:pt x="3" y="0"/>
                    <a:pt x="2" y="0"/>
                  </a:cubicBezTo>
                  <a:cubicBezTo>
                    <a:pt x="1" y="0"/>
                    <a:pt x="0" y="1"/>
                    <a:pt x="0" y="1"/>
                  </a:cubicBezTo>
                  <a:cubicBezTo>
                    <a:pt x="0" y="1"/>
                    <a:pt x="0" y="2"/>
                    <a:pt x="0" y="3"/>
                  </a:cubicBezTo>
                  <a:cubicBezTo>
                    <a:pt x="0" y="4"/>
                    <a:pt x="0" y="4"/>
                    <a:pt x="0" y="5"/>
                  </a:cubicBezTo>
                  <a:cubicBezTo>
                    <a:pt x="0" y="5"/>
                    <a:pt x="1" y="5"/>
                    <a:pt x="2" y="5"/>
                  </a:cubicBezTo>
                  <a:cubicBezTo>
                    <a:pt x="3" y="5"/>
                    <a:pt x="4" y="5"/>
                    <a:pt x="4" y="5"/>
                  </a:cubicBezTo>
                  <a:cubicBezTo>
                    <a:pt x="4" y="4"/>
                    <a:pt x="4" y="4"/>
                    <a:pt x="4" y="3"/>
                  </a:cubicBezTo>
                  <a:cubicBezTo>
                    <a:pt x="4" y="2"/>
                    <a:pt x="4"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155">
              <a:extLst>
                <a:ext uri="{FF2B5EF4-FFF2-40B4-BE49-F238E27FC236}">
                  <a16:creationId xmlns:a16="http://schemas.microsoft.com/office/drawing/2014/main" id="{D756B625-55FA-4197-8C4F-6FA4733CB0BD}"/>
                </a:ext>
              </a:extLst>
            </p:cNvPr>
            <p:cNvSpPr>
              <a:spLocks/>
            </p:cNvSpPr>
            <p:nvPr/>
          </p:nvSpPr>
          <p:spPr bwMode="auto">
            <a:xfrm>
              <a:off x="8074297" y="5901426"/>
              <a:ext cx="62046" cy="77917"/>
            </a:xfrm>
            <a:custGeom>
              <a:avLst/>
              <a:gdLst>
                <a:gd name="T0" fmla="*/ 18 w 18"/>
                <a:gd name="T1" fmla="*/ 9 h 23"/>
                <a:gd name="T2" fmla="*/ 18 w 18"/>
                <a:gd name="T3" fmla="*/ 5 h 23"/>
                <a:gd name="T4" fmla="*/ 17 w 18"/>
                <a:gd name="T5" fmla="*/ 2 h 23"/>
                <a:gd name="T6" fmla="*/ 14 w 18"/>
                <a:gd name="T7" fmla="*/ 0 h 23"/>
                <a:gd name="T8" fmla="*/ 11 w 18"/>
                <a:gd name="T9" fmla="*/ 0 h 23"/>
                <a:gd name="T10" fmla="*/ 7 w 18"/>
                <a:gd name="T11" fmla="*/ 1 h 23"/>
                <a:gd name="T12" fmla="*/ 4 w 18"/>
                <a:gd name="T13" fmla="*/ 4 h 23"/>
                <a:gd name="T14" fmla="*/ 4 w 18"/>
                <a:gd name="T15" fmla="*/ 1 h 23"/>
                <a:gd name="T16" fmla="*/ 4 w 18"/>
                <a:gd name="T17" fmla="*/ 0 h 23"/>
                <a:gd name="T18" fmla="*/ 3 w 18"/>
                <a:gd name="T19" fmla="*/ 0 h 23"/>
                <a:gd name="T20" fmla="*/ 3 w 18"/>
                <a:gd name="T21" fmla="*/ 0 h 23"/>
                <a:gd name="T22" fmla="*/ 2 w 18"/>
                <a:gd name="T23" fmla="*/ 0 h 23"/>
                <a:gd name="T24" fmla="*/ 1 w 18"/>
                <a:gd name="T25" fmla="*/ 0 h 23"/>
                <a:gd name="T26" fmla="*/ 0 w 18"/>
                <a:gd name="T27" fmla="*/ 0 h 23"/>
                <a:gd name="T28" fmla="*/ 0 w 18"/>
                <a:gd name="T29" fmla="*/ 0 h 23"/>
                <a:gd name="T30" fmla="*/ 0 w 18"/>
                <a:gd name="T31" fmla="*/ 1 h 23"/>
                <a:gd name="T32" fmla="*/ 0 w 18"/>
                <a:gd name="T33" fmla="*/ 22 h 23"/>
                <a:gd name="T34" fmla="*/ 0 w 18"/>
                <a:gd name="T35" fmla="*/ 22 h 23"/>
                <a:gd name="T36" fmla="*/ 0 w 18"/>
                <a:gd name="T37" fmla="*/ 22 h 23"/>
                <a:gd name="T38" fmla="*/ 1 w 18"/>
                <a:gd name="T39" fmla="*/ 23 h 23"/>
                <a:gd name="T40" fmla="*/ 2 w 18"/>
                <a:gd name="T41" fmla="*/ 23 h 23"/>
                <a:gd name="T42" fmla="*/ 3 w 18"/>
                <a:gd name="T43" fmla="*/ 23 h 23"/>
                <a:gd name="T44" fmla="*/ 4 w 18"/>
                <a:gd name="T45" fmla="*/ 22 h 23"/>
                <a:gd name="T46" fmla="*/ 4 w 18"/>
                <a:gd name="T47" fmla="*/ 22 h 23"/>
                <a:gd name="T48" fmla="*/ 4 w 18"/>
                <a:gd name="T49" fmla="*/ 22 h 23"/>
                <a:gd name="T50" fmla="*/ 4 w 18"/>
                <a:gd name="T51" fmla="*/ 7 h 23"/>
                <a:gd name="T52" fmla="*/ 7 w 18"/>
                <a:gd name="T53" fmla="*/ 4 h 23"/>
                <a:gd name="T54" fmla="*/ 10 w 18"/>
                <a:gd name="T55" fmla="*/ 3 h 23"/>
                <a:gd name="T56" fmla="*/ 12 w 18"/>
                <a:gd name="T57" fmla="*/ 4 h 23"/>
                <a:gd name="T58" fmla="*/ 13 w 18"/>
                <a:gd name="T59" fmla="*/ 5 h 23"/>
                <a:gd name="T60" fmla="*/ 14 w 18"/>
                <a:gd name="T61" fmla="*/ 7 h 23"/>
                <a:gd name="T62" fmla="*/ 14 w 18"/>
                <a:gd name="T63" fmla="*/ 10 h 23"/>
                <a:gd name="T64" fmla="*/ 14 w 18"/>
                <a:gd name="T65" fmla="*/ 22 h 23"/>
                <a:gd name="T66" fmla="*/ 14 w 18"/>
                <a:gd name="T67" fmla="*/ 22 h 23"/>
                <a:gd name="T68" fmla="*/ 15 w 18"/>
                <a:gd name="T69" fmla="*/ 22 h 23"/>
                <a:gd name="T70" fmla="*/ 15 w 18"/>
                <a:gd name="T71" fmla="*/ 23 h 23"/>
                <a:gd name="T72" fmla="*/ 16 w 18"/>
                <a:gd name="T73" fmla="*/ 23 h 23"/>
                <a:gd name="T74" fmla="*/ 17 w 18"/>
                <a:gd name="T75" fmla="*/ 23 h 23"/>
                <a:gd name="T76" fmla="*/ 18 w 18"/>
                <a:gd name="T77" fmla="*/ 22 h 23"/>
                <a:gd name="T78" fmla="*/ 18 w 18"/>
                <a:gd name="T79" fmla="*/ 22 h 23"/>
                <a:gd name="T80" fmla="*/ 18 w 18"/>
                <a:gd name="T81" fmla="*/ 22 h 23"/>
                <a:gd name="T82" fmla="*/ 18 w 18"/>
                <a:gd name="T83"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9"/>
                  </a:moveTo>
                  <a:cubicBezTo>
                    <a:pt x="18" y="8"/>
                    <a:pt x="18" y="6"/>
                    <a:pt x="18" y="5"/>
                  </a:cubicBezTo>
                  <a:cubicBezTo>
                    <a:pt x="18" y="4"/>
                    <a:pt x="17" y="3"/>
                    <a:pt x="17" y="2"/>
                  </a:cubicBezTo>
                  <a:cubicBezTo>
                    <a:pt x="16" y="2"/>
                    <a:pt x="15" y="1"/>
                    <a:pt x="14" y="0"/>
                  </a:cubicBezTo>
                  <a:cubicBezTo>
                    <a:pt x="13" y="0"/>
                    <a:pt x="12" y="0"/>
                    <a:pt x="11" y="0"/>
                  </a:cubicBezTo>
                  <a:cubicBezTo>
                    <a:pt x="10" y="0"/>
                    <a:pt x="8" y="0"/>
                    <a:pt x="7" y="1"/>
                  </a:cubicBezTo>
                  <a:cubicBezTo>
                    <a:pt x="6" y="1"/>
                    <a:pt x="5" y="2"/>
                    <a:pt x="4" y="4"/>
                  </a:cubicBezTo>
                  <a:cubicBezTo>
                    <a:pt x="4" y="1"/>
                    <a:pt x="4" y="1"/>
                    <a:pt x="4" y="1"/>
                  </a:cubicBezTo>
                  <a:cubicBezTo>
                    <a:pt x="4" y="1"/>
                    <a:pt x="4" y="1"/>
                    <a:pt x="4" y="0"/>
                  </a:cubicBezTo>
                  <a:cubicBezTo>
                    <a:pt x="3" y="0"/>
                    <a:pt x="3" y="0"/>
                    <a:pt x="3" y="0"/>
                  </a:cubicBezTo>
                  <a:cubicBezTo>
                    <a:pt x="3" y="0"/>
                    <a:pt x="3" y="0"/>
                    <a:pt x="3" y="0"/>
                  </a:cubicBezTo>
                  <a:cubicBezTo>
                    <a:pt x="2" y="0"/>
                    <a:pt x="2" y="0"/>
                    <a:pt x="2" y="0"/>
                  </a:cubicBezTo>
                  <a:cubicBezTo>
                    <a:pt x="2" y="0"/>
                    <a:pt x="1" y="0"/>
                    <a:pt x="1" y="0"/>
                  </a:cubicBezTo>
                  <a:cubicBezTo>
                    <a:pt x="1" y="0"/>
                    <a:pt x="1" y="0"/>
                    <a:pt x="0" y="0"/>
                  </a:cubicBezTo>
                  <a:cubicBezTo>
                    <a:pt x="0" y="0"/>
                    <a:pt x="0" y="0"/>
                    <a:pt x="0" y="0"/>
                  </a:cubicBezTo>
                  <a:cubicBezTo>
                    <a:pt x="0" y="1"/>
                    <a:pt x="0" y="1"/>
                    <a:pt x="0" y="1"/>
                  </a:cubicBezTo>
                  <a:cubicBezTo>
                    <a:pt x="0" y="22"/>
                    <a:pt x="0" y="22"/>
                    <a:pt x="0" y="22"/>
                  </a:cubicBezTo>
                  <a:cubicBezTo>
                    <a:pt x="0" y="22"/>
                    <a:pt x="0" y="22"/>
                    <a:pt x="0" y="22"/>
                  </a:cubicBezTo>
                  <a:cubicBezTo>
                    <a:pt x="0" y="22"/>
                    <a:pt x="0" y="22"/>
                    <a:pt x="0" y="22"/>
                  </a:cubicBezTo>
                  <a:cubicBezTo>
                    <a:pt x="1" y="22"/>
                    <a:pt x="1" y="23"/>
                    <a:pt x="1" y="23"/>
                  </a:cubicBezTo>
                  <a:cubicBezTo>
                    <a:pt x="1" y="23"/>
                    <a:pt x="2" y="23"/>
                    <a:pt x="2" y="23"/>
                  </a:cubicBezTo>
                  <a:cubicBezTo>
                    <a:pt x="2" y="23"/>
                    <a:pt x="3" y="23"/>
                    <a:pt x="3" y="23"/>
                  </a:cubicBezTo>
                  <a:cubicBezTo>
                    <a:pt x="3" y="23"/>
                    <a:pt x="3" y="22"/>
                    <a:pt x="4" y="22"/>
                  </a:cubicBezTo>
                  <a:cubicBezTo>
                    <a:pt x="4" y="22"/>
                    <a:pt x="4" y="22"/>
                    <a:pt x="4" y="22"/>
                  </a:cubicBezTo>
                  <a:cubicBezTo>
                    <a:pt x="4" y="22"/>
                    <a:pt x="4" y="22"/>
                    <a:pt x="4" y="22"/>
                  </a:cubicBezTo>
                  <a:cubicBezTo>
                    <a:pt x="4" y="7"/>
                    <a:pt x="4" y="7"/>
                    <a:pt x="4" y="7"/>
                  </a:cubicBezTo>
                  <a:cubicBezTo>
                    <a:pt x="5" y="6"/>
                    <a:pt x="6" y="5"/>
                    <a:pt x="7" y="4"/>
                  </a:cubicBezTo>
                  <a:cubicBezTo>
                    <a:pt x="8" y="3"/>
                    <a:pt x="9" y="3"/>
                    <a:pt x="10" y="3"/>
                  </a:cubicBezTo>
                  <a:cubicBezTo>
                    <a:pt x="11" y="3"/>
                    <a:pt x="11" y="3"/>
                    <a:pt x="12" y="4"/>
                  </a:cubicBezTo>
                  <a:cubicBezTo>
                    <a:pt x="12" y="4"/>
                    <a:pt x="13" y="4"/>
                    <a:pt x="13" y="5"/>
                  </a:cubicBezTo>
                  <a:cubicBezTo>
                    <a:pt x="14" y="5"/>
                    <a:pt x="14" y="6"/>
                    <a:pt x="14" y="7"/>
                  </a:cubicBezTo>
                  <a:cubicBezTo>
                    <a:pt x="14" y="7"/>
                    <a:pt x="14" y="8"/>
                    <a:pt x="14" y="10"/>
                  </a:cubicBezTo>
                  <a:cubicBezTo>
                    <a:pt x="14" y="22"/>
                    <a:pt x="14" y="22"/>
                    <a:pt x="14" y="22"/>
                  </a:cubicBezTo>
                  <a:cubicBezTo>
                    <a:pt x="14" y="22"/>
                    <a:pt x="14" y="22"/>
                    <a:pt x="14" y="22"/>
                  </a:cubicBezTo>
                  <a:cubicBezTo>
                    <a:pt x="15" y="22"/>
                    <a:pt x="15" y="22"/>
                    <a:pt x="15" y="22"/>
                  </a:cubicBezTo>
                  <a:cubicBezTo>
                    <a:pt x="15" y="22"/>
                    <a:pt x="15" y="23"/>
                    <a:pt x="15" y="23"/>
                  </a:cubicBezTo>
                  <a:cubicBezTo>
                    <a:pt x="16" y="23"/>
                    <a:pt x="16" y="23"/>
                    <a:pt x="16" y="23"/>
                  </a:cubicBezTo>
                  <a:cubicBezTo>
                    <a:pt x="17" y="23"/>
                    <a:pt x="17" y="23"/>
                    <a:pt x="17" y="23"/>
                  </a:cubicBezTo>
                  <a:cubicBezTo>
                    <a:pt x="18" y="23"/>
                    <a:pt x="18" y="22"/>
                    <a:pt x="18" y="22"/>
                  </a:cubicBezTo>
                  <a:cubicBezTo>
                    <a:pt x="18" y="22"/>
                    <a:pt x="18" y="22"/>
                    <a:pt x="18" y="22"/>
                  </a:cubicBezTo>
                  <a:cubicBezTo>
                    <a:pt x="18" y="22"/>
                    <a:pt x="18" y="22"/>
                    <a:pt x="18" y="22"/>
                  </a:cubicBezTo>
                  <a:cubicBezTo>
                    <a:pt x="18" y="9"/>
                    <a:pt x="18" y="9"/>
                    <a:pt x="18" y="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156">
              <a:extLst>
                <a:ext uri="{FF2B5EF4-FFF2-40B4-BE49-F238E27FC236}">
                  <a16:creationId xmlns:a16="http://schemas.microsoft.com/office/drawing/2014/main" id="{C4901ED1-B96C-44B7-B4D2-6E0B048E6A1A}"/>
                </a:ext>
              </a:extLst>
            </p:cNvPr>
            <p:cNvSpPr>
              <a:spLocks noEditPoints="1"/>
            </p:cNvSpPr>
            <p:nvPr/>
          </p:nvSpPr>
          <p:spPr bwMode="auto">
            <a:xfrm>
              <a:off x="8156544" y="5901426"/>
              <a:ext cx="69260" cy="77917"/>
            </a:xfrm>
            <a:custGeom>
              <a:avLst/>
              <a:gdLst>
                <a:gd name="T0" fmla="*/ 20 w 20"/>
                <a:gd name="T1" fmla="*/ 10 h 23"/>
                <a:gd name="T2" fmla="*/ 19 w 20"/>
                <a:gd name="T3" fmla="*/ 6 h 23"/>
                <a:gd name="T4" fmla="*/ 17 w 20"/>
                <a:gd name="T5" fmla="*/ 3 h 23"/>
                <a:gd name="T6" fmla="*/ 14 w 20"/>
                <a:gd name="T7" fmla="*/ 1 h 23"/>
                <a:gd name="T8" fmla="*/ 10 w 20"/>
                <a:gd name="T9" fmla="*/ 0 h 23"/>
                <a:gd name="T10" fmla="*/ 6 w 20"/>
                <a:gd name="T11" fmla="*/ 1 h 23"/>
                <a:gd name="T12" fmla="*/ 3 w 20"/>
                <a:gd name="T13" fmla="*/ 3 h 23"/>
                <a:gd name="T14" fmla="*/ 1 w 20"/>
                <a:gd name="T15" fmla="*/ 7 h 23"/>
                <a:gd name="T16" fmla="*/ 0 w 20"/>
                <a:gd name="T17" fmla="*/ 11 h 23"/>
                <a:gd name="T18" fmla="*/ 1 w 20"/>
                <a:gd name="T19" fmla="*/ 16 h 23"/>
                <a:gd name="T20" fmla="*/ 3 w 20"/>
                <a:gd name="T21" fmla="*/ 20 h 23"/>
                <a:gd name="T22" fmla="*/ 6 w 20"/>
                <a:gd name="T23" fmla="*/ 22 h 23"/>
                <a:gd name="T24" fmla="*/ 11 w 20"/>
                <a:gd name="T25" fmla="*/ 23 h 23"/>
                <a:gd name="T26" fmla="*/ 13 w 20"/>
                <a:gd name="T27" fmla="*/ 23 h 23"/>
                <a:gd name="T28" fmla="*/ 16 w 20"/>
                <a:gd name="T29" fmla="*/ 22 h 23"/>
                <a:gd name="T30" fmla="*/ 17 w 20"/>
                <a:gd name="T31" fmla="*/ 22 h 23"/>
                <a:gd name="T32" fmla="*/ 18 w 20"/>
                <a:gd name="T33" fmla="*/ 21 h 23"/>
                <a:gd name="T34" fmla="*/ 18 w 20"/>
                <a:gd name="T35" fmla="*/ 21 h 23"/>
                <a:gd name="T36" fmla="*/ 19 w 20"/>
                <a:gd name="T37" fmla="*/ 21 h 23"/>
                <a:gd name="T38" fmla="*/ 19 w 20"/>
                <a:gd name="T39" fmla="*/ 20 h 23"/>
                <a:gd name="T40" fmla="*/ 19 w 20"/>
                <a:gd name="T41" fmla="*/ 20 h 23"/>
                <a:gd name="T42" fmla="*/ 19 w 20"/>
                <a:gd name="T43" fmla="*/ 19 h 23"/>
                <a:gd name="T44" fmla="*/ 18 w 20"/>
                <a:gd name="T45" fmla="*/ 19 h 23"/>
                <a:gd name="T46" fmla="*/ 18 w 20"/>
                <a:gd name="T47" fmla="*/ 18 h 23"/>
                <a:gd name="T48" fmla="*/ 18 w 20"/>
                <a:gd name="T49" fmla="*/ 18 h 23"/>
                <a:gd name="T50" fmla="*/ 17 w 20"/>
                <a:gd name="T51" fmla="*/ 18 h 23"/>
                <a:gd name="T52" fmla="*/ 16 w 20"/>
                <a:gd name="T53" fmla="*/ 19 h 23"/>
                <a:gd name="T54" fmla="*/ 14 w 20"/>
                <a:gd name="T55" fmla="*/ 20 h 23"/>
                <a:gd name="T56" fmla="*/ 11 w 20"/>
                <a:gd name="T57" fmla="*/ 20 h 23"/>
                <a:gd name="T58" fmla="*/ 8 w 20"/>
                <a:gd name="T59" fmla="*/ 19 h 23"/>
                <a:gd name="T60" fmla="*/ 6 w 20"/>
                <a:gd name="T61" fmla="*/ 18 h 23"/>
                <a:gd name="T62" fmla="*/ 4 w 20"/>
                <a:gd name="T63" fmla="*/ 15 h 23"/>
                <a:gd name="T64" fmla="*/ 4 w 20"/>
                <a:gd name="T65" fmla="*/ 12 h 23"/>
                <a:gd name="T66" fmla="*/ 18 w 20"/>
                <a:gd name="T67" fmla="*/ 12 h 23"/>
                <a:gd name="T68" fmla="*/ 19 w 20"/>
                <a:gd name="T69" fmla="*/ 12 h 23"/>
                <a:gd name="T70" fmla="*/ 20 w 20"/>
                <a:gd name="T71" fmla="*/ 10 h 23"/>
                <a:gd name="T72" fmla="*/ 20 w 20"/>
                <a:gd name="T73" fmla="*/ 10 h 23"/>
                <a:gd name="T74" fmla="*/ 4 w 20"/>
                <a:gd name="T75" fmla="*/ 9 h 23"/>
                <a:gd name="T76" fmla="*/ 5 w 20"/>
                <a:gd name="T77" fmla="*/ 7 h 23"/>
                <a:gd name="T78" fmla="*/ 6 w 20"/>
                <a:gd name="T79" fmla="*/ 5 h 23"/>
                <a:gd name="T80" fmla="*/ 8 w 20"/>
                <a:gd name="T81" fmla="*/ 3 h 23"/>
                <a:gd name="T82" fmla="*/ 10 w 20"/>
                <a:gd name="T83" fmla="*/ 3 h 23"/>
                <a:gd name="T84" fmla="*/ 14 w 20"/>
                <a:gd name="T85" fmla="*/ 4 h 23"/>
                <a:gd name="T86" fmla="*/ 16 w 20"/>
                <a:gd name="T87" fmla="*/ 9 h 23"/>
                <a:gd name="T88" fmla="*/ 4 w 20"/>
                <a:gd name="T8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 h="23">
                  <a:moveTo>
                    <a:pt x="20" y="10"/>
                  </a:moveTo>
                  <a:cubicBezTo>
                    <a:pt x="20" y="8"/>
                    <a:pt x="19" y="7"/>
                    <a:pt x="19" y="6"/>
                  </a:cubicBezTo>
                  <a:cubicBezTo>
                    <a:pt x="19" y="5"/>
                    <a:pt x="18" y="4"/>
                    <a:pt x="17" y="3"/>
                  </a:cubicBezTo>
                  <a:cubicBezTo>
                    <a:pt x="17" y="2"/>
                    <a:pt x="16" y="1"/>
                    <a:pt x="14" y="1"/>
                  </a:cubicBezTo>
                  <a:cubicBezTo>
                    <a:pt x="13" y="0"/>
                    <a:pt x="12" y="0"/>
                    <a:pt x="10" y="0"/>
                  </a:cubicBezTo>
                  <a:cubicBezTo>
                    <a:pt x="9" y="0"/>
                    <a:pt x="7" y="0"/>
                    <a:pt x="6" y="1"/>
                  </a:cubicBezTo>
                  <a:cubicBezTo>
                    <a:pt x="5" y="1"/>
                    <a:pt x="4" y="2"/>
                    <a:pt x="3" y="3"/>
                  </a:cubicBezTo>
                  <a:cubicBezTo>
                    <a:pt x="2" y="4"/>
                    <a:pt x="1" y="5"/>
                    <a:pt x="1" y="7"/>
                  </a:cubicBezTo>
                  <a:cubicBezTo>
                    <a:pt x="0" y="8"/>
                    <a:pt x="0" y="10"/>
                    <a:pt x="0" y="11"/>
                  </a:cubicBezTo>
                  <a:cubicBezTo>
                    <a:pt x="0" y="13"/>
                    <a:pt x="0" y="15"/>
                    <a:pt x="1" y="16"/>
                  </a:cubicBezTo>
                  <a:cubicBezTo>
                    <a:pt x="1" y="18"/>
                    <a:pt x="2" y="19"/>
                    <a:pt x="3" y="20"/>
                  </a:cubicBezTo>
                  <a:cubicBezTo>
                    <a:pt x="4" y="21"/>
                    <a:pt x="5" y="22"/>
                    <a:pt x="6" y="22"/>
                  </a:cubicBezTo>
                  <a:cubicBezTo>
                    <a:pt x="7" y="23"/>
                    <a:pt x="9" y="23"/>
                    <a:pt x="11" y="23"/>
                  </a:cubicBezTo>
                  <a:cubicBezTo>
                    <a:pt x="12" y="23"/>
                    <a:pt x="13" y="23"/>
                    <a:pt x="13" y="23"/>
                  </a:cubicBezTo>
                  <a:cubicBezTo>
                    <a:pt x="14" y="23"/>
                    <a:pt x="15" y="22"/>
                    <a:pt x="16" y="22"/>
                  </a:cubicBezTo>
                  <a:cubicBezTo>
                    <a:pt x="16" y="22"/>
                    <a:pt x="17" y="22"/>
                    <a:pt x="17" y="22"/>
                  </a:cubicBezTo>
                  <a:cubicBezTo>
                    <a:pt x="18" y="21"/>
                    <a:pt x="18" y="21"/>
                    <a:pt x="18" y="21"/>
                  </a:cubicBezTo>
                  <a:cubicBezTo>
                    <a:pt x="18" y="21"/>
                    <a:pt x="18" y="21"/>
                    <a:pt x="18" y="21"/>
                  </a:cubicBezTo>
                  <a:cubicBezTo>
                    <a:pt x="18" y="21"/>
                    <a:pt x="19" y="21"/>
                    <a:pt x="19" y="21"/>
                  </a:cubicBezTo>
                  <a:cubicBezTo>
                    <a:pt x="19" y="20"/>
                    <a:pt x="19" y="20"/>
                    <a:pt x="19" y="20"/>
                  </a:cubicBezTo>
                  <a:cubicBezTo>
                    <a:pt x="19" y="20"/>
                    <a:pt x="19" y="20"/>
                    <a:pt x="19" y="20"/>
                  </a:cubicBezTo>
                  <a:cubicBezTo>
                    <a:pt x="19" y="19"/>
                    <a:pt x="19" y="19"/>
                    <a:pt x="19" y="19"/>
                  </a:cubicBezTo>
                  <a:cubicBezTo>
                    <a:pt x="19" y="19"/>
                    <a:pt x="19" y="19"/>
                    <a:pt x="18" y="19"/>
                  </a:cubicBezTo>
                  <a:cubicBezTo>
                    <a:pt x="18" y="18"/>
                    <a:pt x="18" y="18"/>
                    <a:pt x="18" y="18"/>
                  </a:cubicBezTo>
                  <a:cubicBezTo>
                    <a:pt x="18" y="18"/>
                    <a:pt x="18" y="18"/>
                    <a:pt x="18" y="18"/>
                  </a:cubicBezTo>
                  <a:cubicBezTo>
                    <a:pt x="18" y="18"/>
                    <a:pt x="18" y="18"/>
                    <a:pt x="17" y="18"/>
                  </a:cubicBezTo>
                  <a:cubicBezTo>
                    <a:pt x="17" y="19"/>
                    <a:pt x="16" y="19"/>
                    <a:pt x="16" y="19"/>
                  </a:cubicBezTo>
                  <a:cubicBezTo>
                    <a:pt x="15" y="19"/>
                    <a:pt x="14" y="19"/>
                    <a:pt x="14" y="20"/>
                  </a:cubicBezTo>
                  <a:cubicBezTo>
                    <a:pt x="13" y="20"/>
                    <a:pt x="12" y="20"/>
                    <a:pt x="11" y="20"/>
                  </a:cubicBezTo>
                  <a:cubicBezTo>
                    <a:pt x="10" y="20"/>
                    <a:pt x="9" y="20"/>
                    <a:pt x="8" y="19"/>
                  </a:cubicBezTo>
                  <a:cubicBezTo>
                    <a:pt x="7" y="19"/>
                    <a:pt x="6" y="18"/>
                    <a:pt x="6" y="18"/>
                  </a:cubicBezTo>
                  <a:cubicBezTo>
                    <a:pt x="5" y="17"/>
                    <a:pt x="5" y="16"/>
                    <a:pt x="4" y="15"/>
                  </a:cubicBezTo>
                  <a:cubicBezTo>
                    <a:pt x="4" y="14"/>
                    <a:pt x="4" y="13"/>
                    <a:pt x="4" y="12"/>
                  </a:cubicBezTo>
                  <a:cubicBezTo>
                    <a:pt x="18" y="12"/>
                    <a:pt x="18" y="12"/>
                    <a:pt x="18" y="12"/>
                  </a:cubicBezTo>
                  <a:cubicBezTo>
                    <a:pt x="18" y="12"/>
                    <a:pt x="19" y="12"/>
                    <a:pt x="19" y="12"/>
                  </a:cubicBezTo>
                  <a:cubicBezTo>
                    <a:pt x="19" y="11"/>
                    <a:pt x="20" y="11"/>
                    <a:pt x="20" y="10"/>
                  </a:cubicBezTo>
                  <a:cubicBezTo>
                    <a:pt x="20" y="10"/>
                    <a:pt x="20" y="10"/>
                    <a:pt x="20" y="10"/>
                  </a:cubicBezTo>
                  <a:close/>
                  <a:moveTo>
                    <a:pt x="4" y="9"/>
                  </a:moveTo>
                  <a:cubicBezTo>
                    <a:pt x="4" y="8"/>
                    <a:pt x="4" y="8"/>
                    <a:pt x="5" y="7"/>
                  </a:cubicBezTo>
                  <a:cubicBezTo>
                    <a:pt x="5" y="6"/>
                    <a:pt x="5" y="5"/>
                    <a:pt x="6" y="5"/>
                  </a:cubicBezTo>
                  <a:cubicBezTo>
                    <a:pt x="6" y="4"/>
                    <a:pt x="7" y="4"/>
                    <a:pt x="8" y="3"/>
                  </a:cubicBezTo>
                  <a:cubicBezTo>
                    <a:pt x="8" y="3"/>
                    <a:pt x="9" y="3"/>
                    <a:pt x="10" y="3"/>
                  </a:cubicBezTo>
                  <a:cubicBezTo>
                    <a:pt x="12" y="3"/>
                    <a:pt x="13" y="3"/>
                    <a:pt x="14" y="4"/>
                  </a:cubicBezTo>
                  <a:cubicBezTo>
                    <a:pt x="15" y="6"/>
                    <a:pt x="16" y="7"/>
                    <a:pt x="16" y="9"/>
                  </a:cubicBezTo>
                  <a:cubicBezTo>
                    <a:pt x="4" y="9"/>
                    <a:pt x="4" y="9"/>
                    <a:pt x="4" y="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157">
              <a:extLst>
                <a:ext uri="{FF2B5EF4-FFF2-40B4-BE49-F238E27FC236}">
                  <a16:creationId xmlns:a16="http://schemas.microsoft.com/office/drawing/2014/main" id="{5D67742A-5057-45D4-AC46-547ABE30E20D}"/>
                </a:ext>
              </a:extLst>
            </p:cNvPr>
            <p:cNvSpPr>
              <a:spLocks/>
            </p:cNvSpPr>
            <p:nvPr/>
          </p:nvSpPr>
          <p:spPr bwMode="auto">
            <a:xfrm>
              <a:off x="8238789" y="5901426"/>
              <a:ext cx="51945" cy="77917"/>
            </a:xfrm>
            <a:custGeom>
              <a:avLst/>
              <a:gdLst>
                <a:gd name="T0" fmla="*/ 14 w 15"/>
                <a:gd name="T1" fmla="*/ 14 h 23"/>
                <a:gd name="T2" fmla="*/ 13 w 15"/>
                <a:gd name="T3" fmla="*/ 12 h 23"/>
                <a:gd name="T4" fmla="*/ 11 w 15"/>
                <a:gd name="T5" fmla="*/ 11 h 23"/>
                <a:gd name="T6" fmla="*/ 9 w 15"/>
                <a:gd name="T7" fmla="*/ 10 h 23"/>
                <a:gd name="T8" fmla="*/ 7 w 15"/>
                <a:gd name="T9" fmla="*/ 9 h 23"/>
                <a:gd name="T10" fmla="*/ 6 w 15"/>
                <a:gd name="T11" fmla="*/ 8 h 23"/>
                <a:gd name="T12" fmla="*/ 4 w 15"/>
                <a:gd name="T13" fmla="*/ 7 h 23"/>
                <a:gd name="T14" fmla="*/ 4 w 15"/>
                <a:gd name="T15" fmla="*/ 6 h 23"/>
                <a:gd name="T16" fmla="*/ 4 w 15"/>
                <a:gd name="T17" fmla="*/ 5 h 23"/>
                <a:gd name="T18" fmla="*/ 5 w 15"/>
                <a:gd name="T19" fmla="*/ 4 h 23"/>
                <a:gd name="T20" fmla="*/ 6 w 15"/>
                <a:gd name="T21" fmla="*/ 3 h 23"/>
                <a:gd name="T22" fmla="*/ 8 w 15"/>
                <a:gd name="T23" fmla="*/ 3 h 23"/>
                <a:gd name="T24" fmla="*/ 10 w 15"/>
                <a:gd name="T25" fmla="*/ 3 h 23"/>
                <a:gd name="T26" fmla="*/ 11 w 15"/>
                <a:gd name="T27" fmla="*/ 4 h 23"/>
                <a:gd name="T28" fmla="*/ 12 w 15"/>
                <a:gd name="T29" fmla="*/ 4 h 23"/>
                <a:gd name="T30" fmla="*/ 13 w 15"/>
                <a:gd name="T31" fmla="*/ 4 h 23"/>
                <a:gd name="T32" fmla="*/ 13 w 15"/>
                <a:gd name="T33" fmla="*/ 4 h 23"/>
                <a:gd name="T34" fmla="*/ 14 w 15"/>
                <a:gd name="T35" fmla="*/ 4 h 23"/>
                <a:gd name="T36" fmla="*/ 14 w 15"/>
                <a:gd name="T37" fmla="*/ 4 h 23"/>
                <a:gd name="T38" fmla="*/ 14 w 15"/>
                <a:gd name="T39" fmla="*/ 3 h 23"/>
                <a:gd name="T40" fmla="*/ 14 w 15"/>
                <a:gd name="T41" fmla="*/ 2 h 23"/>
                <a:gd name="T42" fmla="*/ 14 w 15"/>
                <a:gd name="T43" fmla="*/ 2 h 23"/>
                <a:gd name="T44" fmla="*/ 13 w 15"/>
                <a:gd name="T45" fmla="*/ 1 h 23"/>
                <a:gd name="T46" fmla="*/ 13 w 15"/>
                <a:gd name="T47" fmla="*/ 1 h 23"/>
                <a:gd name="T48" fmla="*/ 12 w 15"/>
                <a:gd name="T49" fmla="*/ 1 h 23"/>
                <a:gd name="T50" fmla="*/ 11 w 15"/>
                <a:gd name="T51" fmla="*/ 0 h 23"/>
                <a:gd name="T52" fmla="*/ 10 w 15"/>
                <a:gd name="T53" fmla="*/ 0 h 23"/>
                <a:gd name="T54" fmla="*/ 8 w 15"/>
                <a:gd name="T55" fmla="*/ 0 h 23"/>
                <a:gd name="T56" fmla="*/ 5 w 15"/>
                <a:gd name="T57" fmla="*/ 0 h 23"/>
                <a:gd name="T58" fmla="*/ 2 w 15"/>
                <a:gd name="T59" fmla="*/ 2 h 23"/>
                <a:gd name="T60" fmla="*/ 1 w 15"/>
                <a:gd name="T61" fmla="*/ 4 h 23"/>
                <a:gd name="T62" fmla="*/ 0 w 15"/>
                <a:gd name="T63" fmla="*/ 6 h 23"/>
                <a:gd name="T64" fmla="*/ 1 w 15"/>
                <a:gd name="T65" fmla="*/ 8 h 23"/>
                <a:gd name="T66" fmla="*/ 2 w 15"/>
                <a:gd name="T67" fmla="*/ 10 h 23"/>
                <a:gd name="T68" fmla="*/ 4 w 15"/>
                <a:gd name="T69" fmla="*/ 11 h 23"/>
                <a:gd name="T70" fmla="*/ 6 w 15"/>
                <a:gd name="T71" fmla="*/ 12 h 23"/>
                <a:gd name="T72" fmla="*/ 8 w 15"/>
                <a:gd name="T73" fmla="*/ 13 h 23"/>
                <a:gd name="T74" fmla="*/ 9 w 15"/>
                <a:gd name="T75" fmla="*/ 14 h 23"/>
                <a:gd name="T76" fmla="*/ 10 w 15"/>
                <a:gd name="T77" fmla="*/ 15 h 23"/>
                <a:gd name="T78" fmla="*/ 11 w 15"/>
                <a:gd name="T79" fmla="*/ 16 h 23"/>
                <a:gd name="T80" fmla="*/ 11 w 15"/>
                <a:gd name="T81" fmla="*/ 18 h 23"/>
                <a:gd name="T82" fmla="*/ 10 w 15"/>
                <a:gd name="T83" fmla="*/ 19 h 23"/>
                <a:gd name="T84" fmla="*/ 8 w 15"/>
                <a:gd name="T85" fmla="*/ 20 h 23"/>
                <a:gd name="T86" fmla="*/ 7 w 15"/>
                <a:gd name="T87" fmla="*/ 20 h 23"/>
                <a:gd name="T88" fmla="*/ 4 w 15"/>
                <a:gd name="T89" fmla="*/ 20 h 23"/>
                <a:gd name="T90" fmla="*/ 2 w 15"/>
                <a:gd name="T91" fmla="*/ 19 h 23"/>
                <a:gd name="T92" fmla="*/ 1 w 15"/>
                <a:gd name="T93" fmla="*/ 18 h 23"/>
                <a:gd name="T94" fmla="*/ 0 w 15"/>
                <a:gd name="T95" fmla="*/ 18 h 23"/>
                <a:gd name="T96" fmla="*/ 0 w 15"/>
                <a:gd name="T97" fmla="*/ 18 h 23"/>
                <a:gd name="T98" fmla="*/ 0 w 15"/>
                <a:gd name="T99" fmla="*/ 18 h 23"/>
                <a:gd name="T100" fmla="*/ 0 w 15"/>
                <a:gd name="T101" fmla="*/ 19 h 23"/>
                <a:gd name="T102" fmla="*/ 0 w 15"/>
                <a:gd name="T103" fmla="*/ 19 h 23"/>
                <a:gd name="T104" fmla="*/ 0 w 15"/>
                <a:gd name="T105" fmla="*/ 21 h 23"/>
                <a:gd name="T106" fmla="*/ 0 w 15"/>
                <a:gd name="T107" fmla="*/ 21 h 23"/>
                <a:gd name="T108" fmla="*/ 1 w 15"/>
                <a:gd name="T109" fmla="*/ 22 h 23"/>
                <a:gd name="T110" fmla="*/ 2 w 15"/>
                <a:gd name="T111" fmla="*/ 22 h 23"/>
                <a:gd name="T112" fmla="*/ 4 w 15"/>
                <a:gd name="T113" fmla="*/ 23 h 23"/>
                <a:gd name="T114" fmla="*/ 6 w 15"/>
                <a:gd name="T115" fmla="*/ 23 h 23"/>
                <a:gd name="T116" fmla="*/ 10 w 15"/>
                <a:gd name="T117" fmla="*/ 22 h 23"/>
                <a:gd name="T118" fmla="*/ 12 w 15"/>
                <a:gd name="T119" fmla="*/ 21 h 23"/>
                <a:gd name="T120" fmla="*/ 14 w 15"/>
                <a:gd name="T121" fmla="*/ 19 h 23"/>
                <a:gd name="T122" fmla="*/ 15 w 15"/>
                <a:gd name="T123" fmla="*/ 16 h 23"/>
                <a:gd name="T124" fmla="*/ 14 w 15"/>
                <a:gd name="T1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3">
                  <a:moveTo>
                    <a:pt x="14" y="14"/>
                  </a:moveTo>
                  <a:cubicBezTo>
                    <a:pt x="14" y="13"/>
                    <a:pt x="14" y="13"/>
                    <a:pt x="13" y="12"/>
                  </a:cubicBezTo>
                  <a:cubicBezTo>
                    <a:pt x="13" y="12"/>
                    <a:pt x="12" y="11"/>
                    <a:pt x="11" y="11"/>
                  </a:cubicBezTo>
                  <a:cubicBezTo>
                    <a:pt x="11" y="11"/>
                    <a:pt x="10" y="10"/>
                    <a:pt x="9" y="10"/>
                  </a:cubicBezTo>
                  <a:cubicBezTo>
                    <a:pt x="9" y="10"/>
                    <a:pt x="8" y="9"/>
                    <a:pt x="7" y="9"/>
                  </a:cubicBezTo>
                  <a:cubicBezTo>
                    <a:pt x="7" y="9"/>
                    <a:pt x="6" y="9"/>
                    <a:pt x="6" y="8"/>
                  </a:cubicBezTo>
                  <a:cubicBezTo>
                    <a:pt x="5" y="8"/>
                    <a:pt x="5" y="8"/>
                    <a:pt x="4" y="7"/>
                  </a:cubicBezTo>
                  <a:cubicBezTo>
                    <a:pt x="4" y="7"/>
                    <a:pt x="4" y="6"/>
                    <a:pt x="4" y="6"/>
                  </a:cubicBezTo>
                  <a:cubicBezTo>
                    <a:pt x="4" y="5"/>
                    <a:pt x="4" y="5"/>
                    <a:pt x="4" y="5"/>
                  </a:cubicBezTo>
                  <a:cubicBezTo>
                    <a:pt x="4" y="4"/>
                    <a:pt x="5" y="4"/>
                    <a:pt x="5" y="4"/>
                  </a:cubicBezTo>
                  <a:cubicBezTo>
                    <a:pt x="5" y="3"/>
                    <a:pt x="6" y="3"/>
                    <a:pt x="6" y="3"/>
                  </a:cubicBezTo>
                  <a:cubicBezTo>
                    <a:pt x="7" y="3"/>
                    <a:pt x="7" y="3"/>
                    <a:pt x="8" y="3"/>
                  </a:cubicBezTo>
                  <a:cubicBezTo>
                    <a:pt x="9" y="3"/>
                    <a:pt x="9" y="3"/>
                    <a:pt x="10" y="3"/>
                  </a:cubicBezTo>
                  <a:cubicBezTo>
                    <a:pt x="10" y="3"/>
                    <a:pt x="11" y="3"/>
                    <a:pt x="11" y="4"/>
                  </a:cubicBezTo>
                  <a:cubicBezTo>
                    <a:pt x="12" y="4"/>
                    <a:pt x="12" y="4"/>
                    <a:pt x="12" y="4"/>
                  </a:cubicBezTo>
                  <a:cubicBezTo>
                    <a:pt x="13" y="4"/>
                    <a:pt x="13" y="4"/>
                    <a:pt x="13" y="4"/>
                  </a:cubicBezTo>
                  <a:cubicBezTo>
                    <a:pt x="13" y="4"/>
                    <a:pt x="13" y="4"/>
                    <a:pt x="13" y="4"/>
                  </a:cubicBezTo>
                  <a:cubicBezTo>
                    <a:pt x="13" y="4"/>
                    <a:pt x="13" y="4"/>
                    <a:pt x="14" y="4"/>
                  </a:cubicBezTo>
                  <a:cubicBezTo>
                    <a:pt x="14" y="4"/>
                    <a:pt x="14" y="4"/>
                    <a:pt x="14" y="4"/>
                  </a:cubicBezTo>
                  <a:cubicBezTo>
                    <a:pt x="14" y="3"/>
                    <a:pt x="14" y="3"/>
                    <a:pt x="14" y="3"/>
                  </a:cubicBezTo>
                  <a:cubicBezTo>
                    <a:pt x="14" y="3"/>
                    <a:pt x="14" y="2"/>
                    <a:pt x="14" y="2"/>
                  </a:cubicBezTo>
                  <a:cubicBezTo>
                    <a:pt x="14" y="2"/>
                    <a:pt x="14" y="2"/>
                    <a:pt x="14" y="2"/>
                  </a:cubicBezTo>
                  <a:cubicBezTo>
                    <a:pt x="14" y="2"/>
                    <a:pt x="13" y="2"/>
                    <a:pt x="13" y="1"/>
                  </a:cubicBezTo>
                  <a:cubicBezTo>
                    <a:pt x="13" y="1"/>
                    <a:pt x="13" y="1"/>
                    <a:pt x="13" y="1"/>
                  </a:cubicBezTo>
                  <a:cubicBezTo>
                    <a:pt x="13" y="1"/>
                    <a:pt x="13" y="1"/>
                    <a:pt x="12" y="1"/>
                  </a:cubicBezTo>
                  <a:cubicBezTo>
                    <a:pt x="12" y="1"/>
                    <a:pt x="12" y="0"/>
                    <a:pt x="11" y="0"/>
                  </a:cubicBezTo>
                  <a:cubicBezTo>
                    <a:pt x="11" y="0"/>
                    <a:pt x="10" y="0"/>
                    <a:pt x="10" y="0"/>
                  </a:cubicBezTo>
                  <a:cubicBezTo>
                    <a:pt x="9" y="0"/>
                    <a:pt x="9" y="0"/>
                    <a:pt x="8" y="0"/>
                  </a:cubicBezTo>
                  <a:cubicBezTo>
                    <a:pt x="7" y="0"/>
                    <a:pt x="6" y="0"/>
                    <a:pt x="5" y="0"/>
                  </a:cubicBezTo>
                  <a:cubicBezTo>
                    <a:pt x="4" y="1"/>
                    <a:pt x="3" y="1"/>
                    <a:pt x="2" y="2"/>
                  </a:cubicBezTo>
                  <a:cubicBezTo>
                    <a:pt x="2" y="2"/>
                    <a:pt x="1" y="3"/>
                    <a:pt x="1" y="4"/>
                  </a:cubicBezTo>
                  <a:cubicBezTo>
                    <a:pt x="0" y="4"/>
                    <a:pt x="0" y="5"/>
                    <a:pt x="0" y="6"/>
                  </a:cubicBezTo>
                  <a:cubicBezTo>
                    <a:pt x="0" y="7"/>
                    <a:pt x="0" y="8"/>
                    <a:pt x="1" y="8"/>
                  </a:cubicBezTo>
                  <a:cubicBezTo>
                    <a:pt x="1" y="9"/>
                    <a:pt x="1" y="10"/>
                    <a:pt x="2" y="10"/>
                  </a:cubicBezTo>
                  <a:cubicBezTo>
                    <a:pt x="2" y="11"/>
                    <a:pt x="3" y="11"/>
                    <a:pt x="4" y="11"/>
                  </a:cubicBezTo>
                  <a:cubicBezTo>
                    <a:pt x="4" y="12"/>
                    <a:pt x="5" y="12"/>
                    <a:pt x="6" y="12"/>
                  </a:cubicBezTo>
                  <a:cubicBezTo>
                    <a:pt x="6" y="13"/>
                    <a:pt x="7" y="13"/>
                    <a:pt x="8" y="13"/>
                  </a:cubicBezTo>
                  <a:cubicBezTo>
                    <a:pt x="8" y="13"/>
                    <a:pt x="9" y="14"/>
                    <a:pt x="9" y="14"/>
                  </a:cubicBezTo>
                  <a:cubicBezTo>
                    <a:pt x="10" y="14"/>
                    <a:pt x="10" y="15"/>
                    <a:pt x="10" y="15"/>
                  </a:cubicBezTo>
                  <a:cubicBezTo>
                    <a:pt x="11" y="15"/>
                    <a:pt x="11" y="16"/>
                    <a:pt x="11" y="16"/>
                  </a:cubicBezTo>
                  <a:cubicBezTo>
                    <a:pt x="11" y="17"/>
                    <a:pt x="11" y="18"/>
                    <a:pt x="11" y="18"/>
                  </a:cubicBezTo>
                  <a:cubicBezTo>
                    <a:pt x="10" y="18"/>
                    <a:pt x="10" y="19"/>
                    <a:pt x="10" y="19"/>
                  </a:cubicBezTo>
                  <a:cubicBezTo>
                    <a:pt x="9" y="19"/>
                    <a:pt x="9" y="19"/>
                    <a:pt x="8" y="20"/>
                  </a:cubicBezTo>
                  <a:cubicBezTo>
                    <a:pt x="8" y="20"/>
                    <a:pt x="7" y="20"/>
                    <a:pt x="7" y="20"/>
                  </a:cubicBezTo>
                  <a:cubicBezTo>
                    <a:pt x="6" y="20"/>
                    <a:pt x="5" y="20"/>
                    <a:pt x="4" y="20"/>
                  </a:cubicBezTo>
                  <a:cubicBezTo>
                    <a:pt x="4" y="19"/>
                    <a:pt x="3" y="19"/>
                    <a:pt x="2" y="19"/>
                  </a:cubicBezTo>
                  <a:cubicBezTo>
                    <a:pt x="2" y="19"/>
                    <a:pt x="2" y="18"/>
                    <a:pt x="1" y="18"/>
                  </a:cubicBezTo>
                  <a:cubicBezTo>
                    <a:pt x="1" y="18"/>
                    <a:pt x="1" y="18"/>
                    <a:pt x="0" y="18"/>
                  </a:cubicBezTo>
                  <a:cubicBezTo>
                    <a:pt x="0" y="18"/>
                    <a:pt x="0" y="18"/>
                    <a:pt x="0" y="18"/>
                  </a:cubicBezTo>
                  <a:cubicBezTo>
                    <a:pt x="0" y="18"/>
                    <a:pt x="0" y="18"/>
                    <a:pt x="0" y="18"/>
                  </a:cubicBezTo>
                  <a:cubicBezTo>
                    <a:pt x="0" y="18"/>
                    <a:pt x="0" y="18"/>
                    <a:pt x="0" y="19"/>
                  </a:cubicBezTo>
                  <a:cubicBezTo>
                    <a:pt x="0" y="19"/>
                    <a:pt x="0" y="19"/>
                    <a:pt x="0" y="19"/>
                  </a:cubicBezTo>
                  <a:cubicBezTo>
                    <a:pt x="0" y="20"/>
                    <a:pt x="0" y="20"/>
                    <a:pt x="0" y="21"/>
                  </a:cubicBezTo>
                  <a:cubicBezTo>
                    <a:pt x="0" y="21"/>
                    <a:pt x="0" y="21"/>
                    <a:pt x="0" y="21"/>
                  </a:cubicBezTo>
                  <a:cubicBezTo>
                    <a:pt x="0" y="21"/>
                    <a:pt x="1" y="22"/>
                    <a:pt x="1" y="22"/>
                  </a:cubicBezTo>
                  <a:cubicBezTo>
                    <a:pt x="1" y="22"/>
                    <a:pt x="2" y="22"/>
                    <a:pt x="2" y="22"/>
                  </a:cubicBezTo>
                  <a:cubicBezTo>
                    <a:pt x="3" y="22"/>
                    <a:pt x="4" y="23"/>
                    <a:pt x="4" y="23"/>
                  </a:cubicBezTo>
                  <a:cubicBezTo>
                    <a:pt x="5" y="23"/>
                    <a:pt x="6" y="23"/>
                    <a:pt x="6" y="23"/>
                  </a:cubicBezTo>
                  <a:cubicBezTo>
                    <a:pt x="8" y="23"/>
                    <a:pt x="9" y="23"/>
                    <a:pt x="10" y="22"/>
                  </a:cubicBezTo>
                  <a:cubicBezTo>
                    <a:pt x="11" y="22"/>
                    <a:pt x="12" y="22"/>
                    <a:pt x="12" y="21"/>
                  </a:cubicBezTo>
                  <a:cubicBezTo>
                    <a:pt x="13" y="21"/>
                    <a:pt x="14" y="20"/>
                    <a:pt x="14" y="19"/>
                  </a:cubicBezTo>
                  <a:cubicBezTo>
                    <a:pt x="15" y="18"/>
                    <a:pt x="15" y="17"/>
                    <a:pt x="15" y="16"/>
                  </a:cubicBezTo>
                  <a:cubicBezTo>
                    <a:pt x="15" y="15"/>
                    <a:pt x="15" y="14"/>
                    <a:pt x="14"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158">
              <a:extLst>
                <a:ext uri="{FF2B5EF4-FFF2-40B4-BE49-F238E27FC236}">
                  <a16:creationId xmlns:a16="http://schemas.microsoft.com/office/drawing/2014/main" id="{7CFADD5E-E047-4816-80A8-B2FE556466EF}"/>
                </a:ext>
              </a:extLst>
            </p:cNvPr>
            <p:cNvSpPr>
              <a:spLocks/>
            </p:cNvSpPr>
            <p:nvPr/>
          </p:nvSpPr>
          <p:spPr bwMode="auto">
            <a:xfrm>
              <a:off x="8303721" y="5901426"/>
              <a:ext cx="51945" cy="77917"/>
            </a:xfrm>
            <a:custGeom>
              <a:avLst/>
              <a:gdLst>
                <a:gd name="T0" fmla="*/ 14 w 15"/>
                <a:gd name="T1" fmla="*/ 14 h 23"/>
                <a:gd name="T2" fmla="*/ 13 w 15"/>
                <a:gd name="T3" fmla="*/ 12 h 23"/>
                <a:gd name="T4" fmla="*/ 11 w 15"/>
                <a:gd name="T5" fmla="*/ 11 h 23"/>
                <a:gd name="T6" fmla="*/ 9 w 15"/>
                <a:gd name="T7" fmla="*/ 10 h 23"/>
                <a:gd name="T8" fmla="*/ 7 w 15"/>
                <a:gd name="T9" fmla="*/ 9 h 23"/>
                <a:gd name="T10" fmla="*/ 5 w 15"/>
                <a:gd name="T11" fmla="*/ 8 h 23"/>
                <a:gd name="T12" fmla="*/ 4 w 15"/>
                <a:gd name="T13" fmla="*/ 7 h 23"/>
                <a:gd name="T14" fmla="*/ 4 w 15"/>
                <a:gd name="T15" fmla="*/ 6 h 23"/>
                <a:gd name="T16" fmla="*/ 4 w 15"/>
                <a:gd name="T17" fmla="*/ 5 h 23"/>
                <a:gd name="T18" fmla="*/ 5 w 15"/>
                <a:gd name="T19" fmla="*/ 4 h 23"/>
                <a:gd name="T20" fmla="*/ 6 w 15"/>
                <a:gd name="T21" fmla="*/ 3 h 23"/>
                <a:gd name="T22" fmla="*/ 8 w 15"/>
                <a:gd name="T23" fmla="*/ 3 h 23"/>
                <a:gd name="T24" fmla="*/ 10 w 15"/>
                <a:gd name="T25" fmla="*/ 3 h 23"/>
                <a:gd name="T26" fmla="*/ 11 w 15"/>
                <a:gd name="T27" fmla="*/ 4 h 23"/>
                <a:gd name="T28" fmla="*/ 12 w 15"/>
                <a:gd name="T29" fmla="*/ 4 h 23"/>
                <a:gd name="T30" fmla="*/ 13 w 15"/>
                <a:gd name="T31" fmla="*/ 4 h 23"/>
                <a:gd name="T32" fmla="*/ 13 w 15"/>
                <a:gd name="T33" fmla="*/ 4 h 23"/>
                <a:gd name="T34" fmla="*/ 13 w 15"/>
                <a:gd name="T35" fmla="*/ 4 h 23"/>
                <a:gd name="T36" fmla="*/ 13 w 15"/>
                <a:gd name="T37" fmla="*/ 4 h 23"/>
                <a:gd name="T38" fmla="*/ 13 w 15"/>
                <a:gd name="T39" fmla="*/ 3 h 23"/>
                <a:gd name="T40" fmla="*/ 13 w 15"/>
                <a:gd name="T41" fmla="*/ 2 h 23"/>
                <a:gd name="T42" fmla="*/ 13 w 15"/>
                <a:gd name="T43" fmla="*/ 2 h 23"/>
                <a:gd name="T44" fmla="*/ 13 w 15"/>
                <a:gd name="T45" fmla="*/ 1 h 23"/>
                <a:gd name="T46" fmla="*/ 13 w 15"/>
                <a:gd name="T47" fmla="*/ 1 h 23"/>
                <a:gd name="T48" fmla="*/ 12 w 15"/>
                <a:gd name="T49" fmla="*/ 1 h 23"/>
                <a:gd name="T50" fmla="*/ 11 w 15"/>
                <a:gd name="T51" fmla="*/ 0 h 23"/>
                <a:gd name="T52" fmla="*/ 9 w 15"/>
                <a:gd name="T53" fmla="*/ 0 h 23"/>
                <a:gd name="T54" fmla="*/ 8 w 15"/>
                <a:gd name="T55" fmla="*/ 0 h 23"/>
                <a:gd name="T56" fmla="*/ 4 w 15"/>
                <a:gd name="T57" fmla="*/ 0 h 23"/>
                <a:gd name="T58" fmla="*/ 2 w 15"/>
                <a:gd name="T59" fmla="*/ 2 h 23"/>
                <a:gd name="T60" fmla="*/ 1 w 15"/>
                <a:gd name="T61" fmla="*/ 4 h 23"/>
                <a:gd name="T62" fmla="*/ 0 w 15"/>
                <a:gd name="T63" fmla="*/ 6 h 23"/>
                <a:gd name="T64" fmla="*/ 1 w 15"/>
                <a:gd name="T65" fmla="*/ 8 h 23"/>
                <a:gd name="T66" fmla="*/ 2 w 15"/>
                <a:gd name="T67" fmla="*/ 10 h 23"/>
                <a:gd name="T68" fmla="*/ 3 w 15"/>
                <a:gd name="T69" fmla="*/ 11 h 23"/>
                <a:gd name="T70" fmla="*/ 5 w 15"/>
                <a:gd name="T71" fmla="*/ 12 h 23"/>
                <a:gd name="T72" fmla="*/ 7 w 15"/>
                <a:gd name="T73" fmla="*/ 13 h 23"/>
                <a:gd name="T74" fmla="*/ 9 w 15"/>
                <a:gd name="T75" fmla="*/ 14 h 23"/>
                <a:gd name="T76" fmla="*/ 10 w 15"/>
                <a:gd name="T77" fmla="*/ 15 h 23"/>
                <a:gd name="T78" fmla="*/ 11 w 15"/>
                <a:gd name="T79" fmla="*/ 16 h 23"/>
                <a:gd name="T80" fmla="*/ 10 w 15"/>
                <a:gd name="T81" fmla="*/ 18 h 23"/>
                <a:gd name="T82" fmla="*/ 9 w 15"/>
                <a:gd name="T83" fmla="*/ 19 h 23"/>
                <a:gd name="T84" fmla="*/ 8 w 15"/>
                <a:gd name="T85" fmla="*/ 20 h 23"/>
                <a:gd name="T86" fmla="*/ 6 w 15"/>
                <a:gd name="T87" fmla="*/ 20 h 23"/>
                <a:gd name="T88" fmla="*/ 4 w 15"/>
                <a:gd name="T89" fmla="*/ 20 h 23"/>
                <a:gd name="T90" fmla="*/ 2 w 15"/>
                <a:gd name="T91" fmla="*/ 19 h 23"/>
                <a:gd name="T92" fmla="*/ 1 w 15"/>
                <a:gd name="T93" fmla="*/ 18 h 23"/>
                <a:gd name="T94" fmla="*/ 0 w 15"/>
                <a:gd name="T95" fmla="*/ 18 h 23"/>
                <a:gd name="T96" fmla="*/ 0 w 15"/>
                <a:gd name="T97" fmla="*/ 18 h 23"/>
                <a:gd name="T98" fmla="*/ 0 w 15"/>
                <a:gd name="T99" fmla="*/ 18 h 23"/>
                <a:gd name="T100" fmla="*/ 0 w 15"/>
                <a:gd name="T101" fmla="*/ 19 h 23"/>
                <a:gd name="T102" fmla="*/ 0 w 15"/>
                <a:gd name="T103" fmla="*/ 19 h 23"/>
                <a:gd name="T104" fmla="*/ 0 w 15"/>
                <a:gd name="T105" fmla="*/ 21 h 23"/>
                <a:gd name="T106" fmla="*/ 0 w 15"/>
                <a:gd name="T107" fmla="*/ 21 h 23"/>
                <a:gd name="T108" fmla="*/ 1 w 15"/>
                <a:gd name="T109" fmla="*/ 22 h 23"/>
                <a:gd name="T110" fmla="*/ 2 w 15"/>
                <a:gd name="T111" fmla="*/ 22 h 23"/>
                <a:gd name="T112" fmla="*/ 4 w 15"/>
                <a:gd name="T113" fmla="*/ 23 h 23"/>
                <a:gd name="T114" fmla="*/ 6 w 15"/>
                <a:gd name="T115" fmla="*/ 23 h 23"/>
                <a:gd name="T116" fmla="*/ 10 w 15"/>
                <a:gd name="T117" fmla="*/ 22 h 23"/>
                <a:gd name="T118" fmla="*/ 12 w 15"/>
                <a:gd name="T119" fmla="*/ 21 h 23"/>
                <a:gd name="T120" fmla="*/ 14 w 15"/>
                <a:gd name="T121" fmla="*/ 19 h 23"/>
                <a:gd name="T122" fmla="*/ 15 w 15"/>
                <a:gd name="T123" fmla="*/ 16 h 23"/>
                <a:gd name="T124" fmla="*/ 14 w 15"/>
                <a:gd name="T1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3">
                  <a:moveTo>
                    <a:pt x="14" y="14"/>
                  </a:moveTo>
                  <a:cubicBezTo>
                    <a:pt x="14" y="13"/>
                    <a:pt x="13" y="13"/>
                    <a:pt x="13" y="12"/>
                  </a:cubicBezTo>
                  <a:cubicBezTo>
                    <a:pt x="12" y="12"/>
                    <a:pt x="12" y="11"/>
                    <a:pt x="11" y="11"/>
                  </a:cubicBezTo>
                  <a:cubicBezTo>
                    <a:pt x="10" y="11"/>
                    <a:pt x="10" y="10"/>
                    <a:pt x="9" y="10"/>
                  </a:cubicBezTo>
                  <a:cubicBezTo>
                    <a:pt x="8" y="10"/>
                    <a:pt x="8" y="9"/>
                    <a:pt x="7" y="9"/>
                  </a:cubicBezTo>
                  <a:cubicBezTo>
                    <a:pt x="7" y="9"/>
                    <a:pt x="6" y="9"/>
                    <a:pt x="5" y="8"/>
                  </a:cubicBezTo>
                  <a:cubicBezTo>
                    <a:pt x="5" y="8"/>
                    <a:pt x="5" y="8"/>
                    <a:pt x="4" y="7"/>
                  </a:cubicBezTo>
                  <a:cubicBezTo>
                    <a:pt x="4" y="7"/>
                    <a:pt x="4" y="6"/>
                    <a:pt x="4" y="6"/>
                  </a:cubicBezTo>
                  <a:cubicBezTo>
                    <a:pt x="4" y="5"/>
                    <a:pt x="4" y="5"/>
                    <a:pt x="4" y="5"/>
                  </a:cubicBezTo>
                  <a:cubicBezTo>
                    <a:pt x="4" y="4"/>
                    <a:pt x="4" y="4"/>
                    <a:pt x="5" y="4"/>
                  </a:cubicBezTo>
                  <a:cubicBezTo>
                    <a:pt x="5" y="3"/>
                    <a:pt x="6" y="3"/>
                    <a:pt x="6" y="3"/>
                  </a:cubicBezTo>
                  <a:cubicBezTo>
                    <a:pt x="7" y="3"/>
                    <a:pt x="7" y="3"/>
                    <a:pt x="8" y="3"/>
                  </a:cubicBezTo>
                  <a:cubicBezTo>
                    <a:pt x="8" y="3"/>
                    <a:pt x="9" y="3"/>
                    <a:pt x="10" y="3"/>
                  </a:cubicBezTo>
                  <a:cubicBezTo>
                    <a:pt x="10" y="3"/>
                    <a:pt x="11" y="3"/>
                    <a:pt x="11" y="4"/>
                  </a:cubicBezTo>
                  <a:cubicBezTo>
                    <a:pt x="12" y="4"/>
                    <a:pt x="12" y="4"/>
                    <a:pt x="12" y="4"/>
                  </a:cubicBezTo>
                  <a:cubicBezTo>
                    <a:pt x="12" y="4"/>
                    <a:pt x="13" y="4"/>
                    <a:pt x="13" y="4"/>
                  </a:cubicBezTo>
                  <a:cubicBezTo>
                    <a:pt x="13" y="4"/>
                    <a:pt x="13" y="4"/>
                    <a:pt x="13" y="4"/>
                  </a:cubicBezTo>
                  <a:cubicBezTo>
                    <a:pt x="13" y="4"/>
                    <a:pt x="13" y="4"/>
                    <a:pt x="13" y="4"/>
                  </a:cubicBezTo>
                  <a:cubicBezTo>
                    <a:pt x="13" y="4"/>
                    <a:pt x="13" y="4"/>
                    <a:pt x="13" y="4"/>
                  </a:cubicBezTo>
                  <a:cubicBezTo>
                    <a:pt x="13" y="3"/>
                    <a:pt x="13" y="3"/>
                    <a:pt x="13" y="3"/>
                  </a:cubicBezTo>
                  <a:cubicBezTo>
                    <a:pt x="13" y="3"/>
                    <a:pt x="13" y="2"/>
                    <a:pt x="13" y="2"/>
                  </a:cubicBezTo>
                  <a:cubicBezTo>
                    <a:pt x="13" y="2"/>
                    <a:pt x="13" y="2"/>
                    <a:pt x="13" y="2"/>
                  </a:cubicBezTo>
                  <a:cubicBezTo>
                    <a:pt x="13" y="2"/>
                    <a:pt x="13" y="2"/>
                    <a:pt x="13" y="1"/>
                  </a:cubicBezTo>
                  <a:cubicBezTo>
                    <a:pt x="13" y="1"/>
                    <a:pt x="13" y="1"/>
                    <a:pt x="13" y="1"/>
                  </a:cubicBezTo>
                  <a:cubicBezTo>
                    <a:pt x="13" y="1"/>
                    <a:pt x="12" y="1"/>
                    <a:pt x="12" y="1"/>
                  </a:cubicBezTo>
                  <a:cubicBezTo>
                    <a:pt x="12" y="1"/>
                    <a:pt x="11" y="0"/>
                    <a:pt x="11" y="0"/>
                  </a:cubicBezTo>
                  <a:cubicBezTo>
                    <a:pt x="11" y="0"/>
                    <a:pt x="10" y="0"/>
                    <a:pt x="9" y="0"/>
                  </a:cubicBezTo>
                  <a:cubicBezTo>
                    <a:pt x="9" y="0"/>
                    <a:pt x="8" y="0"/>
                    <a:pt x="8" y="0"/>
                  </a:cubicBezTo>
                  <a:cubicBezTo>
                    <a:pt x="7" y="0"/>
                    <a:pt x="5" y="0"/>
                    <a:pt x="4" y="0"/>
                  </a:cubicBezTo>
                  <a:cubicBezTo>
                    <a:pt x="3" y="1"/>
                    <a:pt x="3" y="1"/>
                    <a:pt x="2" y="2"/>
                  </a:cubicBezTo>
                  <a:cubicBezTo>
                    <a:pt x="1" y="2"/>
                    <a:pt x="1" y="3"/>
                    <a:pt x="1" y="4"/>
                  </a:cubicBezTo>
                  <a:cubicBezTo>
                    <a:pt x="0" y="4"/>
                    <a:pt x="0" y="5"/>
                    <a:pt x="0" y="6"/>
                  </a:cubicBezTo>
                  <a:cubicBezTo>
                    <a:pt x="0" y="7"/>
                    <a:pt x="0" y="8"/>
                    <a:pt x="1" y="8"/>
                  </a:cubicBezTo>
                  <a:cubicBezTo>
                    <a:pt x="1" y="9"/>
                    <a:pt x="1" y="10"/>
                    <a:pt x="2" y="10"/>
                  </a:cubicBezTo>
                  <a:cubicBezTo>
                    <a:pt x="2" y="11"/>
                    <a:pt x="3" y="11"/>
                    <a:pt x="3" y="11"/>
                  </a:cubicBezTo>
                  <a:cubicBezTo>
                    <a:pt x="4" y="12"/>
                    <a:pt x="5" y="12"/>
                    <a:pt x="5" y="12"/>
                  </a:cubicBezTo>
                  <a:cubicBezTo>
                    <a:pt x="6" y="13"/>
                    <a:pt x="7" y="13"/>
                    <a:pt x="7" y="13"/>
                  </a:cubicBezTo>
                  <a:cubicBezTo>
                    <a:pt x="8" y="13"/>
                    <a:pt x="9" y="14"/>
                    <a:pt x="9" y="14"/>
                  </a:cubicBezTo>
                  <a:cubicBezTo>
                    <a:pt x="10" y="14"/>
                    <a:pt x="10" y="15"/>
                    <a:pt x="10" y="15"/>
                  </a:cubicBezTo>
                  <a:cubicBezTo>
                    <a:pt x="11" y="15"/>
                    <a:pt x="11" y="16"/>
                    <a:pt x="11" y="16"/>
                  </a:cubicBezTo>
                  <a:cubicBezTo>
                    <a:pt x="11" y="17"/>
                    <a:pt x="11" y="18"/>
                    <a:pt x="10" y="18"/>
                  </a:cubicBezTo>
                  <a:cubicBezTo>
                    <a:pt x="10" y="18"/>
                    <a:pt x="10" y="19"/>
                    <a:pt x="9" y="19"/>
                  </a:cubicBezTo>
                  <a:cubicBezTo>
                    <a:pt x="9" y="19"/>
                    <a:pt x="9" y="19"/>
                    <a:pt x="8" y="20"/>
                  </a:cubicBezTo>
                  <a:cubicBezTo>
                    <a:pt x="8" y="20"/>
                    <a:pt x="7" y="20"/>
                    <a:pt x="6" y="20"/>
                  </a:cubicBezTo>
                  <a:cubicBezTo>
                    <a:pt x="5" y="20"/>
                    <a:pt x="5" y="20"/>
                    <a:pt x="4" y="20"/>
                  </a:cubicBezTo>
                  <a:cubicBezTo>
                    <a:pt x="3" y="19"/>
                    <a:pt x="3" y="19"/>
                    <a:pt x="2" y="19"/>
                  </a:cubicBezTo>
                  <a:cubicBezTo>
                    <a:pt x="2" y="19"/>
                    <a:pt x="1" y="18"/>
                    <a:pt x="1" y="18"/>
                  </a:cubicBezTo>
                  <a:cubicBezTo>
                    <a:pt x="1" y="18"/>
                    <a:pt x="0" y="18"/>
                    <a:pt x="0" y="18"/>
                  </a:cubicBezTo>
                  <a:cubicBezTo>
                    <a:pt x="0" y="18"/>
                    <a:pt x="0" y="18"/>
                    <a:pt x="0" y="18"/>
                  </a:cubicBezTo>
                  <a:cubicBezTo>
                    <a:pt x="0" y="18"/>
                    <a:pt x="0" y="18"/>
                    <a:pt x="0" y="18"/>
                  </a:cubicBezTo>
                  <a:cubicBezTo>
                    <a:pt x="0" y="18"/>
                    <a:pt x="0" y="18"/>
                    <a:pt x="0" y="19"/>
                  </a:cubicBezTo>
                  <a:cubicBezTo>
                    <a:pt x="0" y="19"/>
                    <a:pt x="0" y="19"/>
                    <a:pt x="0" y="19"/>
                  </a:cubicBezTo>
                  <a:cubicBezTo>
                    <a:pt x="0" y="20"/>
                    <a:pt x="0" y="20"/>
                    <a:pt x="0" y="21"/>
                  </a:cubicBezTo>
                  <a:cubicBezTo>
                    <a:pt x="0" y="21"/>
                    <a:pt x="0" y="21"/>
                    <a:pt x="0" y="21"/>
                  </a:cubicBezTo>
                  <a:cubicBezTo>
                    <a:pt x="0" y="21"/>
                    <a:pt x="1" y="22"/>
                    <a:pt x="1" y="22"/>
                  </a:cubicBezTo>
                  <a:cubicBezTo>
                    <a:pt x="1" y="22"/>
                    <a:pt x="2" y="22"/>
                    <a:pt x="2" y="22"/>
                  </a:cubicBezTo>
                  <a:cubicBezTo>
                    <a:pt x="3" y="22"/>
                    <a:pt x="3" y="23"/>
                    <a:pt x="4" y="23"/>
                  </a:cubicBezTo>
                  <a:cubicBezTo>
                    <a:pt x="5" y="23"/>
                    <a:pt x="5" y="23"/>
                    <a:pt x="6" y="23"/>
                  </a:cubicBezTo>
                  <a:cubicBezTo>
                    <a:pt x="7" y="23"/>
                    <a:pt x="9" y="23"/>
                    <a:pt x="10" y="22"/>
                  </a:cubicBezTo>
                  <a:cubicBezTo>
                    <a:pt x="11" y="22"/>
                    <a:pt x="11" y="22"/>
                    <a:pt x="12" y="21"/>
                  </a:cubicBezTo>
                  <a:cubicBezTo>
                    <a:pt x="13" y="21"/>
                    <a:pt x="14" y="20"/>
                    <a:pt x="14" y="19"/>
                  </a:cubicBezTo>
                  <a:cubicBezTo>
                    <a:pt x="14" y="18"/>
                    <a:pt x="15" y="17"/>
                    <a:pt x="15" y="16"/>
                  </a:cubicBezTo>
                  <a:cubicBezTo>
                    <a:pt x="15" y="15"/>
                    <a:pt x="14" y="14"/>
                    <a:pt x="14"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159">
              <a:extLst>
                <a:ext uri="{FF2B5EF4-FFF2-40B4-BE49-F238E27FC236}">
                  <a16:creationId xmlns:a16="http://schemas.microsoft.com/office/drawing/2014/main" id="{FE3C1432-8A04-470B-B118-0C932799A350}"/>
                </a:ext>
              </a:extLst>
            </p:cNvPr>
            <p:cNvSpPr>
              <a:spLocks/>
            </p:cNvSpPr>
            <p:nvPr/>
          </p:nvSpPr>
          <p:spPr bwMode="auto">
            <a:xfrm>
              <a:off x="8358552" y="59764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160">
              <a:extLst>
                <a:ext uri="{FF2B5EF4-FFF2-40B4-BE49-F238E27FC236}">
                  <a16:creationId xmlns:a16="http://schemas.microsoft.com/office/drawing/2014/main" id="{53C39CEB-6C9D-4EED-BFBC-8F2A38289FDB}"/>
                </a:ext>
              </a:extLst>
            </p:cNvPr>
            <p:cNvSpPr>
              <a:spLocks noEditPoints="1"/>
            </p:cNvSpPr>
            <p:nvPr/>
          </p:nvSpPr>
          <p:spPr bwMode="auto">
            <a:xfrm>
              <a:off x="8410497" y="5874011"/>
              <a:ext cx="64932" cy="105333"/>
            </a:xfrm>
            <a:custGeom>
              <a:avLst/>
              <a:gdLst>
                <a:gd name="T0" fmla="*/ 18 w 19"/>
                <a:gd name="T1" fmla="*/ 6 h 31"/>
                <a:gd name="T2" fmla="*/ 17 w 19"/>
                <a:gd name="T3" fmla="*/ 3 h 31"/>
                <a:gd name="T4" fmla="*/ 15 w 19"/>
                <a:gd name="T5" fmla="*/ 2 h 31"/>
                <a:gd name="T6" fmla="*/ 12 w 19"/>
                <a:gd name="T7" fmla="*/ 1 h 31"/>
                <a:gd name="T8" fmla="*/ 10 w 19"/>
                <a:gd name="T9" fmla="*/ 0 h 31"/>
                <a:gd name="T10" fmla="*/ 8 w 19"/>
                <a:gd name="T11" fmla="*/ 0 h 31"/>
                <a:gd name="T12" fmla="*/ 2 w 19"/>
                <a:gd name="T13" fmla="*/ 0 h 31"/>
                <a:gd name="T14" fmla="*/ 1 w 19"/>
                <a:gd name="T15" fmla="*/ 1 h 31"/>
                <a:gd name="T16" fmla="*/ 0 w 19"/>
                <a:gd name="T17" fmla="*/ 2 h 31"/>
                <a:gd name="T18" fmla="*/ 0 w 19"/>
                <a:gd name="T19" fmla="*/ 30 h 31"/>
                <a:gd name="T20" fmla="*/ 0 w 19"/>
                <a:gd name="T21" fmla="*/ 30 h 31"/>
                <a:gd name="T22" fmla="*/ 1 w 19"/>
                <a:gd name="T23" fmla="*/ 30 h 31"/>
                <a:gd name="T24" fmla="*/ 1 w 19"/>
                <a:gd name="T25" fmla="*/ 31 h 31"/>
                <a:gd name="T26" fmla="*/ 2 w 19"/>
                <a:gd name="T27" fmla="*/ 31 h 31"/>
                <a:gd name="T28" fmla="*/ 3 w 19"/>
                <a:gd name="T29" fmla="*/ 31 h 31"/>
                <a:gd name="T30" fmla="*/ 4 w 19"/>
                <a:gd name="T31" fmla="*/ 30 h 31"/>
                <a:gd name="T32" fmla="*/ 4 w 19"/>
                <a:gd name="T33" fmla="*/ 30 h 31"/>
                <a:gd name="T34" fmla="*/ 4 w 19"/>
                <a:gd name="T35" fmla="*/ 30 h 31"/>
                <a:gd name="T36" fmla="*/ 4 w 19"/>
                <a:gd name="T37" fmla="*/ 19 h 31"/>
                <a:gd name="T38" fmla="*/ 8 w 19"/>
                <a:gd name="T39" fmla="*/ 19 h 31"/>
                <a:gd name="T40" fmla="*/ 13 w 19"/>
                <a:gd name="T41" fmla="*/ 18 h 31"/>
                <a:gd name="T42" fmla="*/ 16 w 19"/>
                <a:gd name="T43" fmla="*/ 16 h 31"/>
                <a:gd name="T44" fmla="*/ 18 w 19"/>
                <a:gd name="T45" fmla="*/ 13 h 31"/>
                <a:gd name="T46" fmla="*/ 19 w 19"/>
                <a:gd name="T47" fmla="*/ 9 h 31"/>
                <a:gd name="T48" fmla="*/ 18 w 19"/>
                <a:gd name="T49" fmla="*/ 6 h 31"/>
                <a:gd name="T50" fmla="*/ 14 w 19"/>
                <a:gd name="T51" fmla="*/ 12 h 31"/>
                <a:gd name="T52" fmla="*/ 13 w 19"/>
                <a:gd name="T53" fmla="*/ 14 h 31"/>
                <a:gd name="T54" fmla="*/ 11 w 19"/>
                <a:gd name="T55" fmla="*/ 15 h 31"/>
                <a:gd name="T56" fmla="*/ 8 w 19"/>
                <a:gd name="T57" fmla="*/ 16 h 31"/>
                <a:gd name="T58" fmla="*/ 4 w 19"/>
                <a:gd name="T59" fmla="*/ 16 h 31"/>
                <a:gd name="T60" fmla="*/ 4 w 19"/>
                <a:gd name="T61" fmla="*/ 3 h 31"/>
                <a:gd name="T62" fmla="*/ 8 w 19"/>
                <a:gd name="T63" fmla="*/ 3 h 31"/>
                <a:gd name="T64" fmla="*/ 10 w 19"/>
                <a:gd name="T65" fmla="*/ 4 h 31"/>
                <a:gd name="T66" fmla="*/ 12 w 19"/>
                <a:gd name="T67" fmla="*/ 4 h 31"/>
                <a:gd name="T68" fmla="*/ 14 w 19"/>
                <a:gd name="T69" fmla="*/ 6 h 31"/>
                <a:gd name="T70" fmla="*/ 15 w 19"/>
                <a:gd name="T71" fmla="*/ 9 h 31"/>
                <a:gd name="T72" fmla="*/ 14 w 19"/>
                <a:gd name="T7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 h="31">
                  <a:moveTo>
                    <a:pt x="18" y="6"/>
                  </a:moveTo>
                  <a:cubicBezTo>
                    <a:pt x="18" y="5"/>
                    <a:pt x="18" y="4"/>
                    <a:pt x="17" y="3"/>
                  </a:cubicBezTo>
                  <a:cubicBezTo>
                    <a:pt x="17" y="3"/>
                    <a:pt x="16" y="2"/>
                    <a:pt x="15" y="2"/>
                  </a:cubicBezTo>
                  <a:cubicBezTo>
                    <a:pt x="14" y="1"/>
                    <a:pt x="13" y="1"/>
                    <a:pt x="12" y="1"/>
                  </a:cubicBezTo>
                  <a:cubicBezTo>
                    <a:pt x="12" y="0"/>
                    <a:pt x="11" y="0"/>
                    <a:pt x="10" y="0"/>
                  </a:cubicBezTo>
                  <a:cubicBezTo>
                    <a:pt x="10" y="0"/>
                    <a:pt x="9" y="0"/>
                    <a:pt x="8" y="0"/>
                  </a:cubicBezTo>
                  <a:cubicBezTo>
                    <a:pt x="2" y="0"/>
                    <a:pt x="2" y="0"/>
                    <a:pt x="2" y="0"/>
                  </a:cubicBezTo>
                  <a:cubicBezTo>
                    <a:pt x="2" y="0"/>
                    <a:pt x="1" y="0"/>
                    <a:pt x="1" y="1"/>
                  </a:cubicBezTo>
                  <a:cubicBezTo>
                    <a:pt x="1" y="1"/>
                    <a:pt x="0" y="1"/>
                    <a:pt x="0" y="2"/>
                  </a:cubicBezTo>
                  <a:cubicBezTo>
                    <a:pt x="0" y="30"/>
                    <a:pt x="0" y="30"/>
                    <a:pt x="0" y="30"/>
                  </a:cubicBezTo>
                  <a:cubicBezTo>
                    <a:pt x="0" y="30"/>
                    <a:pt x="0" y="30"/>
                    <a:pt x="0" y="30"/>
                  </a:cubicBezTo>
                  <a:cubicBezTo>
                    <a:pt x="0" y="30"/>
                    <a:pt x="1" y="30"/>
                    <a:pt x="1" y="30"/>
                  </a:cubicBezTo>
                  <a:cubicBezTo>
                    <a:pt x="1" y="30"/>
                    <a:pt x="1" y="31"/>
                    <a:pt x="1" y="31"/>
                  </a:cubicBezTo>
                  <a:cubicBezTo>
                    <a:pt x="2" y="31"/>
                    <a:pt x="2" y="31"/>
                    <a:pt x="2" y="31"/>
                  </a:cubicBezTo>
                  <a:cubicBezTo>
                    <a:pt x="3" y="31"/>
                    <a:pt x="3" y="31"/>
                    <a:pt x="3" y="31"/>
                  </a:cubicBezTo>
                  <a:cubicBezTo>
                    <a:pt x="4" y="31"/>
                    <a:pt x="4" y="30"/>
                    <a:pt x="4" y="30"/>
                  </a:cubicBezTo>
                  <a:cubicBezTo>
                    <a:pt x="4" y="30"/>
                    <a:pt x="4" y="30"/>
                    <a:pt x="4" y="30"/>
                  </a:cubicBezTo>
                  <a:cubicBezTo>
                    <a:pt x="4" y="30"/>
                    <a:pt x="4" y="30"/>
                    <a:pt x="4" y="30"/>
                  </a:cubicBezTo>
                  <a:cubicBezTo>
                    <a:pt x="4" y="19"/>
                    <a:pt x="4" y="19"/>
                    <a:pt x="4" y="19"/>
                  </a:cubicBezTo>
                  <a:cubicBezTo>
                    <a:pt x="8" y="19"/>
                    <a:pt x="8" y="19"/>
                    <a:pt x="8" y="19"/>
                  </a:cubicBezTo>
                  <a:cubicBezTo>
                    <a:pt x="10" y="19"/>
                    <a:pt x="11" y="19"/>
                    <a:pt x="13" y="18"/>
                  </a:cubicBezTo>
                  <a:cubicBezTo>
                    <a:pt x="14" y="18"/>
                    <a:pt x="15" y="17"/>
                    <a:pt x="16" y="16"/>
                  </a:cubicBezTo>
                  <a:cubicBezTo>
                    <a:pt x="17" y="15"/>
                    <a:pt x="18" y="14"/>
                    <a:pt x="18" y="13"/>
                  </a:cubicBezTo>
                  <a:cubicBezTo>
                    <a:pt x="19" y="12"/>
                    <a:pt x="19" y="11"/>
                    <a:pt x="19" y="9"/>
                  </a:cubicBezTo>
                  <a:cubicBezTo>
                    <a:pt x="19" y="8"/>
                    <a:pt x="19" y="7"/>
                    <a:pt x="18" y="6"/>
                  </a:cubicBezTo>
                  <a:close/>
                  <a:moveTo>
                    <a:pt x="14" y="12"/>
                  </a:moveTo>
                  <a:cubicBezTo>
                    <a:pt x="14" y="13"/>
                    <a:pt x="14" y="13"/>
                    <a:pt x="13" y="14"/>
                  </a:cubicBezTo>
                  <a:cubicBezTo>
                    <a:pt x="13" y="14"/>
                    <a:pt x="12" y="15"/>
                    <a:pt x="11" y="15"/>
                  </a:cubicBezTo>
                  <a:cubicBezTo>
                    <a:pt x="10" y="15"/>
                    <a:pt x="9" y="16"/>
                    <a:pt x="8" y="16"/>
                  </a:cubicBezTo>
                  <a:cubicBezTo>
                    <a:pt x="4" y="16"/>
                    <a:pt x="4" y="16"/>
                    <a:pt x="4" y="16"/>
                  </a:cubicBezTo>
                  <a:cubicBezTo>
                    <a:pt x="4" y="3"/>
                    <a:pt x="4" y="3"/>
                    <a:pt x="4" y="3"/>
                  </a:cubicBezTo>
                  <a:cubicBezTo>
                    <a:pt x="8" y="3"/>
                    <a:pt x="8" y="3"/>
                    <a:pt x="8" y="3"/>
                  </a:cubicBezTo>
                  <a:cubicBezTo>
                    <a:pt x="9" y="3"/>
                    <a:pt x="9" y="4"/>
                    <a:pt x="10" y="4"/>
                  </a:cubicBezTo>
                  <a:cubicBezTo>
                    <a:pt x="11" y="4"/>
                    <a:pt x="12" y="4"/>
                    <a:pt x="12" y="4"/>
                  </a:cubicBezTo>
                  <a:cubicBezTo>
                    <a:pt x="13" y="5"/>
                    <a:pt x="14" y="5"/>
                    <a:pt x="14" y="6"/>
                  </a:cubicBezTo>
                  <a:cubicBezTo>
                    <a:pt x="14" y="7"/>
                    <a:pt x="15" y="8"/>
                    <a:pt x="15" y="9"/>
                  </a:cubicBezTo>
                  <a:cubicBezTo>
                    <a:pt x="15" y="10"/>
                    <a:pt x="15" y="11"/>
                    <a:pt x="14" y="12"/>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161">
              <a:extLst>
                <a:ext uri="{FF2B5EF4-FFF2-40B4-BE49-F238E27FC236}">
                  <a16:creationId xmlns:a16="http://schemas.microsoft.com/office/drawing/2014/main" id="{0C15C0D1-35BA-4C25-BB2E-8768CDB1565A}"/>
                </a:ext>
              </a:extLst>
            </p:cNvPr>
            <p:cNvSpPr>
              <a:spLocks/>
            </p:cNvSpPr>
            <p:nvPr/>
          </p:nvSpPr>
          <p:spPr bwMode="auto">
            <a:xfrm>
              <a:off x="8495628" y="5901426"/>
              <a:ext cx="41845" cy="77917"/>
            </a:xfrm>
            <a:custGeom>
              <a:avLst/>
              <a:gdLst>
                <a:gd name="T0" fmla="*/ 12 w 12"/>
                <a:gd name="T1" fmla="*/ 1 h 23"/>
                <a:gd name="T2" fmla="*/ 12 w 12"/>
                <a:gd name="T3" fmla="*/ 1 h 23"/>
                <a:gd name="T4" fmla="*/ 12 w 12"/>
                <a:gd name="T5" fmla="*/ 1 h 23"/>
                <a:gd name="T6" fmla="*/ 12 w 12"/>
                <a:gd name="T7" fmla="*/ 0 h 23"/>
                <a:gd name="T8" fmla="*/ 11 w 12"/>
                <a:gd name="T9" fmla="*/ 0 h 23"/>
                <a:gd name="T10" fmla="*/ 11 w 12"/>
                <a:gd name="T11" fmla="*/ 0 h 23"/>
                <a:gd name="T12" fmla="*/ 10 w 12"/>
                <a:gd name="T13" fmla="*/ 0 h 23"/>
                <a:gd name="T14" fmla="*/ 9 w 12"/>
                <a:gd name="T15" fmla="*/ 0 h 23"/>
                <a:gd name="T16" fmla="*/ 8 w 12"/>
                <a:gd name="T17" fmla="*/ 0 h 23"/>
                <a:gd name="T18" fmla="*/ 6 w 12"/>
                <a:gd name="T19" fmla="*/ 1 h 23"/>
                <a:gd name="T20" fmla="*/ 5 w 12"/>
                <a:gd name="T21" fmla="*/ 2 h 23"/>
                <a:gd name="T22" fmla="*/ 3 w 12"/>
                <a:gd name="T23" fmla="*/ 4 h 23"/>
                <a:gd name="T24" fmla="*/ 3 w 12"/>
                <a:gd name="T25" fmla="*/ 1 h 23"/>
                <a:gd name="T26" fmla="*/ 3 w 12"/>
                <a:gd name="T27" fmla="*/ 0 h 23"/>
                <a:gd name="T28" fmla="*/ 3 w 12"/>
                <a:gd name="T29" fmla="*/ 0 h 23"/>
                <a:gd name="T30" fmla="*/ 2 w 12"/>
                <a:gd name="T31" fmla="*/ 0 h 23"/>
                <a:gd name="T32" fmla="*/ 2 w 12"/>
                <a:gd name="T33" fmla="*/ 0 h 23"/>
                <a:gd name="T34" fmla="*/ 1 w 12"/>
                <a:gd name="T35" fmla="*/ 0 h 23"/>
                <a:gd name="T36" fmla="*/ 0 w 12"/>
                <a:gd name="T37" fmla="*/ 0 h 23"/>
                <a:gd name="T38" fmla="*/ 0 w 12"/>
                <a:gd name="T39" fmla="*/ 0 h 23"/>
                <a:gd name="T40" fmla="*/ 0 w 12"/>
                <a:gd name="T41" fmla="*/ 1 h 23"/>
                <a:gd name="T42" fmla="*/ 0 w 12"/>
                <a:gd name="T43" fmla="*/ 22 h 23"/>
                <a:gd name="T44" fmla="*/ 0 w 12"/>
                <a:gd name="T45" fmla="*/ 22 h 23"/>
                <a:gd name="T46" fmla="*/ 0 w 12"/>
                <a:gd name="T47" fmla="*/ 22 h 23"/>
                <a:gd name="T48" fmla="*/ 1 w 12"/>
                <a:gd name="T49" fmla="*/ 23 h 23"/>
                <a:gd name="T50" fmla="*/ 2 w 12"/>
                <a:gd name="T51" fmla="*/ 23 h 23"/>
                <a:gd name="T52" fmla="*/ 3 w 12"/>
                <a:gd name="T53" fmla="*/ 23 h 23"/>
                <a:gd name="T54" fmla="*/ 3 w 12"/>
                <a:gd name="T55" fmla="*/ 22 h 23"/>
                <a:gd name="T56" fmla="*/ 4 w 12"/>
                <a:gd name="T57" fmla="*/ 22 h 23"/>
                <a:gd name="T58" fmla="*/ 4 w 12"/>
                <a:gd name="T59" fmla="*/ 22 h 23"/>
                <a:gd name="T60" fmla="*/ 4 w 12"/>
                <a:gd name="T61" fmla="*/ 8 h 23"/>
                <a:gd name="T62" fmla="*/ 5 w 12"/>
                <a:gd name="T63" fmla="*/ 6 h 23"/>
                <a:gd name="T64" fmla="*/ 7 w 12"/>
                <a:gd name="T65" fmla="*/ 4 h 23"/>
                <a:gd name="T66" fmla="*/ 8 w 12"/>
                <a:gd name="T67" fmla="*/ 4 h 23"/>
                <a:gd name="T68" fmla="*/ 9 w 12"/>
                <a:gd name="T69" fmla="*/ 3 h 23"/>
                <a:gd name="T70" fmla="*/ 10 w 12"/>
                <a:gd name="T71" fmla="*/ 3 h 23"/>
                <a:gd name="T72" fmla="*/ 11 w 12"/>
                <a:gd name="T73" fmla="*/ 4 h 23"/>
                <a:gd name="T74" fmla="*/ 11 w 12"/>
                <a:gd name="T75" fmla="*/ 4 h 23"/>
                <a:gd name="T76" fmla="*/ 12 w 12"/>
                <a:gd name="T77" fmla="*/ 4 h 23"/>
                <a:gd name="T78" fmla="*/ 12 w 12"/>
                <a:gd name="T79" fmla="*/ 4 h 23"/>
                <a:gd name="T80" fmla="*/ 12 w 12"/>
                <a:gd name="T81" fmla="*/ 4 h 23"/>
                <a:gd name="T82" fmla="*/ 12 w 12"/>
                <a:gd name="T83" fmla="*/ 3 h 23"/>
                <a:gd name="T84" fmla="*/ 12 w 12"/>
                <a:gd name="T85" fmla="*/ 2 h 23"/>
                <a:gd name="T86" fmla="*/ 12 w 12"/>
                <a:gd name="T8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1"/>
                  </a:moveTo>
                  <a:cubicBezTo>
                    <a:pt x="12" y="1"/>
                    <a:pt x="12" y="1"/>
                    <a:pt x="12" y="1"/>
                  </a:cubicBezTo>
                  <a:cubicBezTo>
                    <a:pt x="12" y="1"/>
                    <a:pt x="12" y="1"/>
                    <a:pt x="12" y="1"/>
                  </a:cubicBezTo>
                  <a:cubicBezTo>
                    <a:pt x="12" y="0"/>
                    <a:pt x="12" y="0"/>
                    <a:pt x="12" y="0"/>
                  </a:cubicBezTo>
                  <a:cubicBezTo>
                    <a:pt x="12" y="0"/>
                    <a:pt x="12" y="0"/>
                    <a:pt x="11" y="0"/>
                  </a:cubicBezTo>
                  <a:cubicBezTo>
                    <a:pt x="11" y="0"/>
                    <a:pt x="11" y="0"/>
                    <a:pt x="11" y="0"/>
                  </a:cubicBezTo>
                  <a:cubicBezTo>
                    <a:pt x="10" y="0"/>
                    <a:pt x="10" y="0"/>
                    <a:pt x="10" y="0"/>
                  </a:cubicBezTo>
                  <a:cubicBezTo>
                    <a:pt x="10" y="0"/>
                    <a:pt x="9" y="0"/>
                    <a:pt x="9" y="0"/>
                  </a:cubicBezTo>
                  <a:cubicBezTo>
                    <a:pt x="9" y="0"/>
                    <a:pt x="8" y="0"/>
                    <a:pt x="8" y="0"/>
                  </a:cubicBezTo>
                  <a:cubicBezTo>
                    <a:pt x="7" y="0"/>
                    <a:pt x="7" y="0"/>
                    <a:pt x="6" y="1"/>
                  </a:cubicBezTo>
                  <a:cubicBezTo>
                    <a:pt x="6" y="1"/>
                    <a:pt x="6" y="1"/>
                    <a:pt x="5" y="2"/>
                  </a:cubicBezTo>
                  <a:cubicBezTo>
                    <a:pt x="4" y="2"/>
                    <a:pt x="4" y="3"/>
                    <a:pt x="3" y="4"/>
                  </a:cubicBezTo>
                  <a:cubicBezTo>
                    <a:pt x="3" y="1"/>
                    <a:pt x="3" y="1"/>
                    <a:pt x="3" y="1"/>
                  </a:cubicBezTo>
                  <a:cubicBezTo>
                    <a:pt x="3" y="1"/>
                    <a:pt x="3" y="1"/>
                    <a:pt x="3" y="0"/>
                  </a:cubicBezTo>
                  <a:cubicBezTo>
                    <a:pt x="3" y="0"/>
                    <a:pt x="3" y="0"/>
                    <a:pt x="3" y="0"/>
                  </a:cubicBezTo>
                  <a:cubicBezTo>
                    <a:pt x="3" y="0"/>
                    <a:pt x="3" y="0"/>
                    <a:pt x="2" y="0"/>
                  </a:cubicBezTo>
                  <a:cubicBezTo>
                    <a:pt x="2" y="0"/>
                    <a:pt x="2" y="0"/>
                    <a:pt x="2" y="0"/>
                  </a:cubicBezTo>
                  <a:cubicBezTo>
                    <a:pt x="1" y="0"/>
                    <a:pt x="1" y="0"/>
                    <a:pt x="1" y="0"/>
                  </a:cubicBezTo>
                  <a:cubicBezTo>
                    <a:pt x="1" y="0"/>
                    <a:pt x="0" y="0"/>
                    <a:pt x="0" y="0"/>
                  </a:cubicBezTo>
                  <a:cubicBezTo>
                    <a:pt x="0" y="0"/>
                    <a:pt x="0" y="0"/>
                    <a:pt x="0" y="0"/>
                  </a:cubicBezTo>
                  <a:cubicBezTo>
                    <a:pt x="0" y="1"/>
                    <a:pt x="0" y="1"/>
                    <a:pt x="0" y="1"/>
                  </a:cubicBezTo>
                  <a:cubicBezTo>
                    <a:pt x="0" y="22"/>
                    <a:pt x="0" y="22"/>
                    <a:pt x="0" y="22"/>
                  </a:cubicBezTo>
                  <a:cubicBezTo>
                    <a:pt x="0" y="22"/>
                    <a:pt x="0" y="22"/>
                    <a:pt x="0" y="22"/>
                  </a:cubicBezTo>
                  <a:cubicBezTo>
                    <a:pt x="0" y="22"/>
                    <a:pt x="0" y="22"/>
                    <a:pt x="0" y="22"/>
                  </a:cubicBezTo>
                  <a:cubicBezTo>
                    <a:pt x="0" y="22"/>
                    <a:pt x="1" y="23"/>
                    <a:pt x="1" y="23"/>
                  </a:cubicBezTo>
                  <a:cubicBezTo>
                    <a:pt x="1" y="23"/>
                    <a:pt x="1" y="23"/>
                    <a:pt x="2" y="23"/>
                  </a:cubicBezTo>
                  <a:cubicBezTo>
                    <a:pt x="2" y="23"/>
                    <a:pt x="3" y="23"/>
                    <a:pt x="3" y="23"/>
                  </a:cubicBezTo>
                  <a:cubicBezTo>
                    <a:pt x="3" y="23"/>
                    <a:pt x="3" y="22"/>
                    <a:pt x="3" y="22"/>
                  </a:cubicBezTo>
                  <a:cubicBezTo>
                    <a:pt x="3" y="22"/>
                    <a:pt x="4" y="22"/>
                    <a:pt x="4" y="22"/>
                  </a:cubicBezTo>
                  <a:cubicBezTo>
                    <a:pt x="4" y="22"/>
                    <a:pt x="4" y="22"/>
                    <a:pt x="4" y="22"/>
                  </a:cubicBezTo>
                  <a:cubicBezTo>
                    <a:pt x="4" y="8"/>
                    <a:pt x="4" y="8"/>
                    <a:pt x="4" y="8"/>
                  </a:cubicBezTo>
                  <a:cubicBezTo>
                    <a:pt x="4" y="7"/>
                    <a:pt x="5" y="6"/>
                    <a:pt x="5" y="6"/>
                  </a:cubicBezTo>
                  <a:cubicBezTo>
                    <a:pt x="6" y="5"/>
                    <a:pt x="6" y="5"/>
                    <a:pt x="7" y="4"/>
                  </a:cubicBezTo>
                  <a:cubicBezTo>
                    <a:pt x="7" y="4"/>
                    <a:pt x="7" y="4"/>
                    <a:pt x="8" y="4"/>
                  </a:cubicBezTo>
                  <a:cubicBezTo>
                    <a:pt x="8" y="3"/>
                    <a:pt x="8" y="3"/>
                    <a:pt x="9" y="3"/>
                  </a:cubicBezTo>
                  <a:cubicBezTo>
                    <a:pt x="9" y="3"/>
                    <a:pt x="10" y="3"/>
                    <a:pt x="10" y="3"/>
                  </a:cubicBezTo>
                  <a:cubicBezTo>
                    <a:pt x="10" y="4"/>
                    <a:pt x="10" y="4"/>
                    <a:pt x="11" y="4"/>
                  </a:cubicBezTo>
                  <a:cubicBezTo>
                    <a:pt x="11" y="4"/>
                    <a:pt x="11" y="4"/>
                    <a:pt x="11" y="4"/>
                  </a:cubicBezTo>
                  <a:cubicBezTo>
                    <a:pt x="11" y="4"/>
                    <a:pt x="12" y="4"/>
                    <a:pt x="12" y="4"/>
                  </a:cubicBezTo>
                  <a:cubicBezTo>
                    <a:pt x="12" y="4"/>
                    <a:pt x="12" y="4"/>
                    <a:pt x="12" y="4"/>
                  </a:cubicBezTo>
                  <a:cubicBezTo>
                    <a:pt x="12" y="4"/>
                    <a:pt x="12" y="4"/>
                    <a:pt x="12" y="4"/>
                  </a:cubicBezTo>
                  <a:cubicBezTo>
                    <a:pt x="12" y="3"/>
                    <a:pt x="12" y="3"/>
                    <a:pt x="12" y="3"/>
                  </a:cubicBezTo>
                  <a:cubicBezTo>
                    <a:pt x="12" y="3"/>
                    <a:pt x="12" y="3"/>
                    <a:pt x="12" y="2"/>
                  </a:cubicBezTo>
                  <a:cubicBezTo>
                    <a:pt x="12" y="2"/>
                    <a:pt x="12" y="2"/>
                    <a:pt x="12"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162">
              <a:extLst>
                <a:ext uri="{FF2B5EF4-FFF2-40B4-BE49-F238E27FC236}">
                  <a16:creationId xmlns:a16="http://schemas.microsoft.com/office/drawing/2014/main" id="{638CC543-27B3-49F2-813E-0A834407BB78}"/>
                </a:ext>
              </a:extLst>
            </p:cNvPr>
            <p:cNvSpPr>
              <a:spLocks noEditPoints="1"/>
            </p:cNvSpPr>
            <p:nvPr/>
          </p:nvSpPr>
          <p:spPr bwMode="auto">
            <a:xfrm>
              <a:off x="8544687" y="5901426"/>
              <a:ext cx="70703" cy="77917"/>
            </a:xfrm>
            <a:custGeom>
              <a:avLst/>
              <a:gdLst>
                <a:gd name="T0" fmla="*/ 21 w 21"/>
                <a:gd name="T1" fmla="*/ 6 h 23"/>
                <a:gd name="T2" fmla="*/ 19 w 21"/>
                <a:gd name="T3" fmla="*/ 3 h 23"/>
                <a:gd name="T4" fmla="*/ 16 w 21"/>
                <a:gd name="T5" fmla="*/ 1 h 23"/>
                <a:gd name="T6" fmla="*/ 11 w 21"/>
                <a:gd name="T7" fmla="*/ 0 h 23"/>
                <a:gd name="T8" fmla="*/ 6 w 21"/>
                <a:gd name="T9" fmla="*/ 1 h 23"/>
                <a:gd name="T10" fmla="*/ 3 w 21"/>
                <a:gd name="T11" fmla="*/ 3 h 23"/>
                <a:gd name="T12" fmla="*/ 1 w 21"/>
                <a:gd name="T13" fmla="*/ 7 h 23"/>
                <a:gd name="T14" fmla="*/ 0 w 21"/>
                <a:gd name="T15" fmla="*/ 12 h 23"/>
                <a:gd name="T16" fmla="*/ 1 w 21"/>
                <a:gd name="T17" fmla="*/ 16 h 23"/>
                <a:gd name="T18" fmla="*/ 3 w 21"/>
                <a:gd name="T19" fmla="*/ 20 h 23"/>
                <a:gd name="T20" fmla="*/ 6 w 21"/>
                <a:gd name="T21" fmla="*/ 22 h 23"/>
                <a:gd name="T22" fmla="*/ 11 w 21"/>
                <a:gd name="T23" fmla="*/ 23 h 23"/>
                <a:gd name="T24" fmla="*/ 15 w 21"/>
                <a:gd name="T25" fmla="*/ 22 h 23"/>
                <a:gd name="T26" fmla="*/ 19 w 21"/>
                <a:gd name="T27" fmla="*/ 20 h 23"/>
                <a:gd name="T28" fmla="*/ 21 w 21"/>
                <a:gd name="T29" fmla="*/ 16 h 23"/>
                <a:gd name="T30" fmla="*/ 21 w 21"/>
                <a:gd name="T31" fmla="*/ 11 h 23"/>
                <a:gd name="T32" fmla="*/ 21 w 21"/>
                <a:gd name="T33" fmla="*/ 6 h 23"/>
                <a:gd name="T34" fmla="*/ 17 w 21"/>
                <a:gd name="T35" fmla="*/ 15 h 23"/>
                <a:gd name="T36" fmla="*/ 16 w 21"/>
                <a:gd name="T37" fmla="*/ 17 h 23"/>
                <a:gd name="T38" fmla="*/ 14 w 21"/>
                <a:gd name="T39" fmla="*/ 19 h 23"/>
                <a:gd name="T40" fmla="*/ 11 w 21"/>
                <a:gd name="T41" fmla="*/ 20 h 23"/>
                <a:gd name="T42" fmla="*/ 8 w 21"/>
                <a:gd name="T43" fmla="*/ 19 h 23"/>
                <a:gd name="T44" fmla="*/ 6 w 21"/>
                <a:gd name="T45" fmla="*/ 17 h 23"/>
                <a:gd name="T46" fmla="*/ 5 w 21"/>
                <a:gd name="T47" fmla="*/ 15 h 23"/>
                <a:gd name="T48" fmla="*/ 4 w 21"/>
                <a:gd name="T49" fmla="*/ 11 h 23"/>
                <a:gd name="T50" fmla="*/ 5 w 21"/>
                <a:gd name="T51" fmla="*/ 8 h 23"/>
                <a:gd name="T52" fmla="*/ 6 w 21"/>
                <a:gd name="T53" fmla="*/ 5 h 23"/>
                <a:gd name="T54" fmla="*/ 8 w 21"/>
                <a:gd name="T55" fmla="*/ 4 h 23"/>
                <a:gd name="T56" fmla="*/ 11 w 21"/>
                <a:gd name="T57" fmla="*/ 3 h 23"/>
                <a:gd name="T58" fmla="*/ 14 w 21"/>
                <a:gd name="T59" fmla="*/ 4 h 23"/>
                <a:gd name="T60" fmla="*/ 16 w 21"/>
                <a:gd name="T61" fmla="*/ 5 h 23"/>
                <a:gd name="T62" fmla="*/ 17 w 21"/>
                <a:gd name="T63" fmla="*/ 8 h 23"/>
                <a:gd name="T64" fmla="*/ 17 w 21"/>
                <a:gd name="T65" fmla="*/ 11 h 23"/>
                <a:gd name="T66" fmla="*/ 17 w 21"/>
                <a:gd name="T67"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3">
                  <a:moveTo>
                    <a:pt x="21" y="6"/>
                  </a:moveTo>
                  <a:cubicBezTo>
                    <a:pt x="20" y="5"/>
                    <a:pt x="20" y="4"/>
                    <a:pt x="19" y="3"/>
                  </a:cubicBezTo>
                  <a:cubicBezTo>
                    <a:pt x="18" y="2"/>
                    <a:pt x="17" y="1"/>
                    <a:pt x="16" y="1"/>
                  </a:cubicBezTo>
                  <a:cubicBezTo>
                    <a:pt x="14" y="0"/>
                    <a:pt x="13" y="0"/>
                    <a:pt x="11" y="0"/>
                  </a:cubicBezTo>
                  <a:cubicBezTo>
                    <a:pt x="9" y="0"/>
                    <a:pt x="8" y="0"/>
                    <a:pt x="6" y="1"/>
                  </a:cubicBezTo>
                  <a:cubicBezTo>
                    <a:pt x="5" y="1"/>
                    <a:pt x="4" y="2"/>
                    <a:pt x="3" y="3"/>
                  </a:cubicBezTo>
                  <a:cubicBezTo>
                    <a:pt x="2" y="4"/>
                    <a:pt x="1" y="5"/>
                    <a:pt x="1" y="7"/>
                  </a:cubicBezTo>
                  <a:cubicBezTo>
                    <a:pt x="0" y="8"/>
                    <a:pt x="0" y="10"/>
                    <a:pt x="0" y="12"/>
                  </a:cubicBezTo>
                  <a:cubicBezTo>
                    <a:pt x="0" y="13"/>
                    <a:pt x="0" y="15"/>
                    <a:pt x="1" y="16"/>
                  </a:cubicBezTo>
                  <a:cubicBezTo>
                    <a:pt x="1" y="18"/>
                    <a:pt x="2" y="19"/>
                    <a:pt x="3" y="20"/>
                  </a:cubicBezTo>
                  <a:cubicBezTo>
                    <a:pt x="4" y="21"/>
                    <a:pt x="5" y="22"/>
                    <a:pt x="6" y="22"/>
                  </a:cubicBezTo>
                  <a:cubicBezTo>
                    <a:pt x="7" y="23"/>
                    <a:pt x="9" y="23"/>
                    <a:pt x="11" y="23"/>
                  </a:cubicBezTo>
                  <a:cubicBezTo>
                    <a:pt x="12" y="23"/>
                    <a:pt x="14" y="23"/>
                    <a:pt x="15" y="22"/>
                  </a:cubicBezTo>
                  <a:cubicBezTo>
                    <a:pt x="17" y="21"/>
                    <a:pt x="18" y="21"/>
                    <a:pt x="19" y="20"/>
                  </a:cubicBezTo>
                  <a:cubicBezTo>
                    <a:pt x="20" y="19"/>
                    <a:pt x="20" y="17"/>
                    <a:pt x="21" y="16"/>
                  </a:cubicBezTo>
                  <a:cubicBezTo>
                    <a:pt x="21" y="14"/>
                    <a:pt x="21" y="13"/>
                    <a:pt x="21" y="11"/>
                  </a:cubicBezTo>
                  <a:cubicBezTo>
                    <a:pt x="21" y="9"/>
                    <a:pt x="21" y="8"/>
                    <a:pt x="21" y="6"/>
                  </a:cubicBezTo>
                  <a:close/>
                  <a:moveTo>
                    <a:pt x="17" y="15"/>
                  </a:moveTo>
                  <a:cubicBezTo>
                    <a:pt x="17" y="16"/>
                    <a:pt x="16" y="17"/>
                    <a:pt x="16" y="17"/>
                  </a:cubicBezTo>
                  <a:cubicBezTo>
                    <a:pt x="15" y="18"/>
                    <a:pt x="15" y="19"/>
                    <a:pt x="14" y="19"/>
                  </a:cubicBezTo>
                  <a:cubicBezTo>
                    <a:pt x="13" y="19"/>
                    <a:pt x="12" y="20"/>
                    <a:pt x="11" y="20"/>
                  </a:cubicBezTo>
                  <a:cubicBezTo>
                    <a:pt x="10" y="20"/>
                    <a:pt x="8" y="19"/>
                    <a:pt x="8" y="19"/>
                  </a:cubicBezTo>
                  <a:cubicBezTo>
                    <a:pt x="7" y="19"/>
                    <a:pt x="6" y="18"/>
                    <a:pt x="6" y="17"/>
                  </a:cubicBezTo>
                  <a:cubicBezTo>
                    <a:pt x="5" y="16"/>
                    <a:pt x="5" y="16"/>
                    <a:pt x="5" y="15"/>
                  </a:cubicBezTo>
                  <a:cubicBezTo>
                    <a:pt x="4" y="14"/>
                    <a:pt x="4" y="12"/>
                    <a:pt x="4" y="11"/>
                  </a:cubicBezTo>
                  <a:cubicBezTo>
                    <a:pt x="4" y="10"/>
                    <a:pt x="4" y="9"/>
                    <a:pt x="5" y="8"/>
                  </a:cubicBezTo>
                  <a:cubicBezTo>
                    <a:pt x="5" y="7"/>
                    <a:pt x="5" y="6"/>
                    <a:pt x="6" y="5"/>
                  </a:cubicBezTo>
                  <a:cubicBezTo>
                    <a:pt x="6" y="5"/>
                    <a:pt x="7" y="4"/>
                    <a:pt x="8" y="4"/>
                  </a:cubicBezTo>
                  <a:cubicBezTo>
                    <a:pt x="9" y="3"/>
                    <a:pt x="10" y="3"/>
                    <a:pt x="11" y="3"/>
                  </a:cubicBezTo>
                  <a:cubicBezTo>
                    <a:pt x="12" y="3"/>
                    <a:pt x="13" y="3"/>
                    <a:pt x="14" y="4"/>
                  </a:cubicBezTo>
                  <a:cubicBezTo>
                    <a:pt x="15" y="4"/>
                    <a:pt x="15" y="5"/>
                    <a:pt x="16" y="5"/>
                  </a:cubicBezTo>
                  <a:cubicBezTo>
                    <a:pt x="16" y="6"/>
                    <a:pt x="17" y="7"/>
                    <a:pt x="17" y="8"/>
                  </a:cubicBezTo>
                  <a:cubicBezTo>
                    <a:pt x="17" y="9"/>
                    <a:pt x="17" y="10"/>
                    <a:pt x="17" y="11"/>
                  </a:cubicBezTo>
                  <a:cubicBezTo>
                    <a:pt x="17" y="13"/>
                    <a:pt x="17" y="14"/>
                    <a:pt x="17" y="15"/>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163">
              <a:extLst>
                <a:ext uri="{FF2B5EF4-FFF2-40B4-BE49-F238E27FC236}">
                  <a16:creationId xmlns:a16="http://schemas.microsoft.com/office/drawing/2014/main" id="{6FF21880-321F-44A3-B8E1-8E7E0C909D56}"/>
                </a:ext>
              </a:extLst>
            </p:cNvPr>
            <p:cNvSpPr>
              <a:spLocks/>
            </p:cNvSpPr>
            <p:nvPr/>
          </p:nvSpPr>
          <p:spPr bwMode="auto">
            <a:xfrm>
              <a:off x="8632705" y="5901426"/>
              <a:ext cx="54831" cy="77917"/>
            </a:xfrm>
            <a:custGeom>
              <a:avLst/>
              <a:gdLst>
                <a:gd name="T0" fmla="*/ 16 w 16"/>
                <a:gd name="T1" fmla="*/ 18 h 23"/>
                <a:gd name="T2" fmla="*/ 16 w 16"/>
                <a:gd name="T3" fmla="*/ 17 h 23"/>
                <a:gd name="T4" fmla="*/ 16 w 16"/>
                <a:gd name="T5" fmla="*/ 17 h 23"/>
                <a:gd name="T6" fmla="*/ 16 w 16"/>
                <a:gd name="T7" fmla="*/ 17 h 23"/>
                <a:gd name="T8" fmla="*/ 15 w 16"/>
                <a:gd name="T9" fmla="*/ 17 h 23"/>
                <a:gd name="T10" fmla="*/ 14 w 16"/>
                <a:gd name="T11" fmla="*/ 18 h 23"/>
                <a:gd name="T12" fmla="*/ 12 w 16"/>
                <a:gd name="T13" fmla="*/ 19 h 23"/>
                <a:gd name="T14" fmla="*/ 10 w 16"/>
                <a:gd name="T15" fmla="*/ 20 h 23"/>
                <a:gd name="T16" fmla="*/ 7 w 16"/>
                <a:gd name="T17" fmla="*/ 19 h 23"/>
                <a:gd name="T18" fmla="*/ 5 w 16"/>
                <a:gd name="T19" fmla="*/ 18 h 23"/>
                <a:gd name="T20" fmla="*/ 4 w 16"/>
                <a:gd name="T21" fmla="*/ 15 h 23"/>
                <a:gd name="T22" fmla="*/ 4 w 16"/>
                <a:gd name="T23" fmla="*/ 11 h 23"/>
                <a:gd name="T24" fmla="*/ 5 w 16"/>
                <a:gd name="T25" fmla="*/ 5 h 23"/>
                <a:gd name="T26" fmla="*/ 9 w 16"/>
                <a:gd name="T27" fmla="*/ 3 h 23"/>
                <a:gd name="T28" fmla="*/ 12 w 16"/>
                <a:gd name="T29" fmla="*/ 3 h 23"/>
                <a:gd name="T30" fmla="*/ 14 w 16"/>
                <a:gd name="T31" fmla="*/ 4 h 23"/>
                <a:gd name="T32" fmla="*/ 15 w 16"/>
                <a:gd name="T33" fmla="*/ 5 h 23"/>
                <a:gd name="T34" fmla="*/ 16 w 16"/>
                <a:gd name="T35" fmla="*/ 5 h 23"/>
                <a:gd name="T36" fmla="*/ 16 w 16"/>
                <a:gd name="T37" fmla="*/ 5 h 23"/>
                <a:gd name="T38" fmla="*/ 16 w 16"/>
                <a:gd name="T39" fmla="*/ 4 h 23"/>
                <a:gd name="T40" fmla="*/ 16 w 16"/>
                <a:gd name="T41" fmla="*/ 3 h 23"/>
                <a:gd name="T42" fmla="*/ 16 w 16"/>
                <a:gd name="T43" fmla="*/ 3 h 23"/>
                <a:gd name="T44" fmla="*/ 16 w 16"/>
                <a:gd name="T45" fmla="*/ 2 h 23"/>
                <a:gd name="T46" fmla="*/ 16 w 16"/>
                <a:gd name="T47" fmla="*/ 2 h 23"/>
                <a:gd name="T48" fmla="*/ 15 w 16"/>
                <a:gd name="T49" fmla="*/ 1 h 23"/>
                <a:gd name="T50" fmla="*/ 13 w 16"/>
                <a:gd name="T51" fmla="*/ 0 h 23"/>
                <a:gd name="T52" fmla="*/ 11 w 16"/>
                <a:gd name="T53" fmla="*/ 0 h 23"/>
                <a:gd name="T54" fmla="*/ 10 w 16"/>
                <a:gd name="T55" fmla="*/ 0 h 23"/>
                <a:gd name="T56" fmla="*/ 6 w 16"/>
                <a:gd name="T57" fmla="*/ 0 h 23"/>
                <a:gd name="T58" fmla="*/ 3 w 16"/>
                <a:gd name="T59" fmla="*/ 3 h 23"/>
                <a:gd name="T60" fmla="*/ 0 w 16"/>
                <a:gd name="T61" fmla="*/ 6 h 23"/>
                <a:gd name="T62" fmla="*/ 0 w 16"/>
                <a:gd name="T63" fmla="*/ 12 h 23"/>
                <a:gd name="T64" fmla="*/ 0 w 16"/>
                <a:gd name="T65" fmla="*/ 16 h 23"/>
                <a:gd name="T66" fmla="*/ 2 w 16"/>
                <a:gd name="T67" fmla="*/ 20 h 23"/>
                <a:gd name="T68" fmla="*/ 5 w 16"/>
                <a:gd name="T69" fmla="*/ 22 h 23"/>
                <a:gd name="T70" fmla="*/ 9 w 16"/>
                <a:gd name="T71" fmla="*/ 23 h 23"/>
                <a:gd name="T72" fmla="*/ 11 w 16"/>
                <a:gd name="T73" fmla="*/ 23 h 23"/>
                <a:gd name="T74" fmla="*/ 13 w 16"/>
                <a:gd name="T75" fmla="*/ 22 h 23"/>
                <a:gd name="T76" fmla="*/ 15 w 16"/>
                <a:gd name="T77" fmla="*/ 21 h 23"/>
                <a:gd name="T78" fmla="*/ 16 w 16"/>
                <a:gd name="T79" fmla="*/ 21 h 23"/>
                <a:gd name="T80" fmla="*/ 16 w 16"/>
                <a:gd name="T81" fmla="*/ 20 h 23"/>
                <a:gd name="T82" fmla="*/ 16 w 16"/>
                <a:gd name="T83" fmla="*/ 20 h 23"/>
                <a:gd name="T84" fmla="*/ 16 w 16"/>
                <a:gd name="T85" fmla="*/ 19 h 23"/>
                <a:gd name="T86" fmla="*/ 16 w 16"/>
                <a:gd name="T87" fmla="*/ 19 h 23"/>
                <a:gd name="T88" fmla="*/ 16 w 16"/>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23">
                  <a:moveTo>
                    <a:pt x="16" y="18"/>
                  </a:moveTo>
                  <a:cubicBezTo>
                    <a:pt x="16" y="18"/>
                    <a:pt x="16" y="17"/>
                    <a:pt x="16" y="17"/>
                  </a:cubicBezTo>
                  <a:cubicBezTo>
                    <a:pt x="16" y="17"/>
                    <a:pt x="16" y="17"/>
                    <a:pt x="16" y="17"/>
                  </a:cubicBezTo>
                  <a:cubicBezTo>
                    <a:pt x="16" y="17"/>
                    <a:pt x="16" y="17"/>
                    <a:pt x="16" y="17"/>
                  </a:cubicBezTo>
                  <a:cubicBezTo>
                    <a:pt x="16" y="17"/>
                    <a:pt x="15" y="17"/>
                    <a:pt x="15" y="17"/>
                  </a:cubicBezTo>
                  <a:cubicBezTo>
                    <a:pt x="15" y="18"/>
                    <a:pt x="14" y="18"/>
                    <a:pt x="14" y="18"/>
                  </a:cubicBezTo>
                  <a:cubicBezTo>
                    <a:pt x="13" y="19"/>
                    <a:pt x="13" y="19"/>
                    <a:pt x="12" y="19"/>
                  </a:cubicBezTo>
                  <a:cubicBezTo>
                    <a:pt x="11" y="19"/>
                    <a:pt x="10" y="20"/>
                    <a:pt x="10" y="20"/>
                  </a:cubicBezTo>
                  <a:cubicBezTo>
                    <a:pt x="9" y="20"/>
                    <a:pt x="8" y="19"/>
                    <a:pt x="7" y="19"/>
                  </a:cubicBezTo>
                  <a:cubicBezTo>
                    <a:pt x="6" y="19"/>
                    <a:pt x="6" y="18"/>
                    <a:pt x="5" y="18"/>
                  </a:cubicBezTo>
                  <a:cubicBezTo>
                    <a:pt x="5" y="17"/>
                    <a:pt x="4" y="16"/>
                    <a:pt x="4" y="15"/>
                  </a:cubicBezTo>
                  <a:cubicBezTo>
                    <a:pt x="4" y="14"/>
                    <a:pt x="4" y="13"/>
                    <a:pt x="4" y="11"/>
                  </a:cubicBezTo>
                  <a:cubicBezTo>
                    <a:pt x="4" y="9"/>
                    <a:pt x="4" y="7"/>
                    <a:pt x="5" y="5"/>
                  </a:cubicBezTo>
                  <a:cubicBezTo>
                    <a:pt x="6" y="4"/>
                    <a:pt x="8" y="3"/>
                    <a:pt x="9" y="3"/>
                  </a:cubicBezTo>
                  <a:cubicBezTo>
                    <a:pt x="10" y="3"/>
                    <a:pt x="11" y="3"/>
                    <a:pt x="12" y="3"/>
                  </a:cubicBezTo>
                  <a:cubicBezTo>
                    <a:pt x="13" y="4"/>
                    <a:pt x="13" y="4"/>
                    <a:pt x="14" y="4"/>
                  </a:cubicBezTo>
                  <a:cubicBezTo>
                    <a:pt x="14" y="5"/>
                    <a:pt x="14" y="5"/>
                    <a:pt x="15" y="5"/>
                  </a:cubicBezTo>
                  <a:cubicBezTo>
                    <a:pt x="15" y="5"/>
                    <a:pt x="15" y="5"/>
                    <a:pt x="16" y="5"/>
                  </a:cubicBezTo>
                  <a:cubicBezTo>
                    <a:pt x="16" y="5"/>
                    <a:pt x="16" y="5"/>
                    <a:pt x="16" y="5"/>
                  </a:cubicBezTo>
                  <a:cubicBezTo>
                    <a:pt x="16" y="5"/>
                    <a:pt x="16" y="4"/>
                    <a:pt x="16" y="4"/>
                  </a:cubicBezTo>
                  <a:cubicBezTo>
                    <a:pt x="16" y="4"/>
                    <a:pt x="16" y="3"/>
                    <a:pt x="16" y="3"/>
                  </a:cubicBezTo>
                  <a:cubicBezTo>
                    <a:pt x="16" y="3"/>
                    <a:pt x="16" y="3"/>
                    <a:pt x="16" y="3"/>
                  </a:cubicBezTo>
                  <a:cubicBezTo>
                    <a:pt x="16" y="3"/>
                    <a:pt x="16" y="2"/>
                    <a:pt x="16" y="2"/>
                  </a:cubicBezTo>
                  <a:cubicBezTo>
                    <a:pt x="16" y="2"/>
                    <a:pt x="16" y="2"/>
                    <a:pt x="16" y="2"/>
                  </a:cubicBezTo>
                  <a:cubicBezTo>
                    <a:pt x="15" y="2"/>
                    <a:pt x="15" y="1"/>
                    <a:pt x="15" y="1"/>
                  </a:cubicBezTo>
                  <a:cubicBezTo>
                    <a:pt x="14" y="1"/>
                    <a:pt x="14" y="1"/>
                    <a:pt x="13" y="0"/>
                  </a:cubicBezTo>
                  <a:cubicBezTo>
                    <a:pt x="13" y="0"/>
                    <a:pt x="12" y="0"/>
                    <a:pt x="11" y="0"/>
                  </a:cubicBezTo>
                  <a:cubicBezTo>
                    <a:pt x="11" y="0"/>
                    <a:pt x="10" y="0"/>
                    <a:pt x="10" y="0"/>
                  </a:cubicBezTo>
                  <a:cubicBezTo>
                    <a:pt x="8" y="0"/>
                    <a:pt x="7" y="0"/>
                    <a:pt x="6" y="0"/>
                  </a:cubicBezTo>
                  <a:cubicBezTo>
                    <a:pt x="4" y="1"/>
                    <a:pt x="3" y="2"/>
                    <a:pt x="3" y="3"/>
                  </a:cubicBezTo>
                  <a:cubicBezTo>
                    <a:pt x="2" y="4"/>
                    <a:pt x="1" y="5"/>
                    <a:pt x="0" y="6"/>
                  </a:cubicBezTo>
                  <a:cubicBezTo>
                    <a:pt x="0" y="8"/>
                    <a:pt x="0" y="10"/>
                    <a:pt x="0" y="12"/>
                  </a:cubicBezTo>
                  <a:cubicBezTo>
                    <a:pt x="0" y="13"/>
                    <a:pt x="0" y="15"/>
                    <a:pt x="0" y="16"/>
                  </a:cubicBezTo>
                  <a:cubicBezTo>
                    <a:pt x="1" y="18"/>
                    <a:pt x="1" y="19"/>
                    <a:pt x="2" y="20"/>
                  </a:cubicBezTo>
                  <a:cubicBezTo>
                    <a:pt x="3" y="21"/>
                    <a:pt x="4" y="22"/>
                    <a:pt x="5" y="22"/>
                  </a:cubicBezTo>
                  <a:cubicBezTo>
                    <a:pt x="6" y="23"/>
                    <a:pt x="8" y="23"/>
                    <a:pt x="9" y="23"/>
                  </a:cubicBezTo>
                  <a:cubicBezTo>
                    <a:pt x="10" y="23"/>
                    <a:pt x="11" y="23"/>
                    <a:pt x="11" y="23"/>
                  </a:cubicBezTo>
                  <a:cubicBezTo>
                    <a:pt x="12" y="23"/>
                    <a:pt x="13" y="22"/>
                    <a:pt x="13" y="22"/>
                  </a:cubicBezTo>
                  <a:cubicBezTo>
                    <a:pt x="14" y="22"/>
                    <a:pt x="14" y="22"/>
                    <a:pt x="15" y="21"/>
                  </a:cubicBezTo>
                  <a:cubicBezTo>
                    <a:pt x="15" y="21"/>
                    <a:pt x="16" y="21"/>
                    <a:pt x="16" y="21"/>
                  </a:cubicBezTo>
                  <a:cubicBezTo>
                    <a:pt x="16" y="20"/>
                    <a:pt x="16" y="20"/>
                    <a:pt x="16" y="20"/>
                  </a:cubicBezTo>
                  <a:cubicBezTo>
                    <a:pt x="16" y="20"/>
                    <a:pt x="16" y="20"/>
                    <a:pt x="16" y="20"/>
                  </a:cubicBezTo>
                  <a:cubicBezTo>
                    <a:pt x="16" y="20"/>
                    <a:pt x="16" y="20"/>
                    <a:pt x="16" y="19"/>
                  </a:cubicBezTo>
                  <a:cubicBezTo>
                    <a:pt x="16" y="19"/>
                    <a:pt x="16" y="19"/>
                    <a:pt x="16" y="19"/>
                  </a:cubicBezTo>
                  <a:cubicBezTo>
                    <a:pt x="16" y="18"/>
                    <a:pt x="16" y="18"/>
                    <a:pt x="16" y="18"/>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164">
              <a:extLst>
                <a:ext uri="{FF2B5EF4-FFF2-40B4-BE49-F238E27FC236}">
                  <a16:creationId xmlns:a16="http://schemas.microsoft.com/office/drawing/2014/main" id="{BFF63D2B-665D-4F85-98A3-AB13BC7E700E}"/>
                </a:ext>
              </a:extLst>
            </p:cNvPr>
            <p:cNvSpPr>
              <a:spLocks noEditPoints="1"/>
            </p:cNvSpPr>
            <p:nvPr/>
          </p:nvSpPr>
          <p:spPr bwMode="auto">
            <a:xfrm>
              <a:off x="8701965" y="5901426"/>
              <a:ext cx="64932" cy="77917"/>
            </a:xfrm>
            <a:custGeom>
              <a:avLst/>
              <a:gdLst>
                <a:gd name="T0" fmla="*/ 19 w 19"/>
                <a:gd name="T1" fmla="*/ 10 h 23"/>
                <a:gd name="T2" fmla="*/ 19 w 19"/>
                <a:gd name="T3" fmla="*/ 6 h 23"/>
                <a:gd name="T4" fmla="*/ 17 w 19"/>
                <a:gd name="T5" fmla="*/ 3 h 23"/>
                <a:gd name="T6" fmla="*/ 14 w 19"/>
                <a:gd name="T7" fmla="*/ 1 h 23"/>
                <a:gd name="T8" fmla="*/ 10 w 19"/>
                <a:gd name="T9" fmla="*/ 0 h 23"/>
                <a:gd name="T10" fmla="*/ 6 w 19"/>
                <a:gd name="T11" fmla="*/ 1 h 23"/>
                <a:gd name="T12" fmla="*/ 3 w 19"/>
                <a:gd name="T13" fmla="*/ 3 h 23"/>
                <a:gd name="T14" fmla="*/ 1 w 19"/>
                <a:gd name="T15" fmla="*/ 7 h 23"/>
                <a:gd name="T16" fmla="*/ 0 w 19"/>
                <a:gd name="T17" fmla="*/ 11 h 23"/>
                <a:gd name="T18" fmla="*/ 1 w 19"/>
                <a:gd name="T19" fmla="*/ 16 h 23"/>
                <a:gd name="T20" fmla="*/ 3 w 19"/>
                <a:gd name="T21" fmla="*/ 20 h 23"/>
                <a:gd name="T22" fmla="*/ 6 w 19"/>
                <a:gd name="T23" fmla="*/ 22 h 23"/>
                <a:gd name="T24" fmla="*/ 11 w 19"/>
                <a:gd name="T25" fmla="*/ 23 h 23"/>
                <a:gd name="T26" fmla="*/ 13 w 19"/>
                <a:gd name="T27" fmla="*/ 23 h 23"/>
                <a:gd name="T28" fmla="*/ 16 w 19"/>
                <a:gd name="T29" fmla="*/ 22 h 23"/>
                <a:gd name="T30" fmla="*/ 17 w 19"/>
                <a:gd name="T31" fmla="*/ 22 h 23"/>
                <a:gd name="T32" fmla="*/ 18 w 19"/>
                <a:gd name="T33" fmla="*/ 21 h 23"/>
                <a:gd name="T34" fmla="*/ 18 w 19"/>
                <a:gd name="T35" fmla="*/ 21 h 23"/>
                <a:gd name="T36" fmla="*/ 18 w 19"/>
                <a:gd name="T37" fmla="*/ 21 h 23"/>
                <a:gd name="T38" fmla="*/ 18 w 19"/>
                <a:gd name="T39" fmla="*/ 20 h 23"/>
                <a:gd name="T40" fmla="*/ 18 w 19"/>
                <a:gd name="T41" fmla="*/ 20 h 23"/>
                <a:gd name="T42" fmla="*/ 18 w 19"/>
                <a:gd name="T43" fmla="*/ 19 h 23"/>
                <a:gd name="T44" fmla="*/ 18 w 19"/>
                <a:gd name="T45" fmla="*/ 19 h 23"/>
                <a:gd name="T46" fmla="*/ 18 w 19"/>
                <a:gd name="T47" fmla="*/ 18 h 23"/>
                <a:gd name="T48" fmla="*/ 18 w 19"/>
                <a:gd name="T49" fmla="*/ 18 h 23"/>
                <a:gd name="T50" fmla="*/ 17 w 19"/>
                <a:gd name="T51" fmla="*/ 18 h 23"/>
                <a:gd name="T52" fmla="*/ 16 w 19"/>
                <a:gd name="T53" fmla="*/ 19 h 23"/>
                <a:gd name="T54" fmla="*/ 14 w 19"/>
                <a:gd name="T55" fmla="*/ 20 h 23"/>
                <a:gd name="T56" fmla="*/ 11 w 19"/>
                <a:gd name="T57" fmla="*/ 20 h 23"/>
                <a:gd name="T58" fmla="*/ 8 w 19"/>
                <a:gd name="T59" fmla="*/ 19 h 23"/>
                <a:gd name="T60" fmla="*/ 5 w 19"/>
                <a:gd name="T61" fmla="*/ 18 h 23"/>
                <a:gd name="T62" fmla="*/ 4 w 19"/>
                <a:gd name="T63" fmla="*/ 15 h 23"/>
                <a:gd name="T64" fmla="*/ 4 w 19"/>
                <a:gd name="T65" fmla="*/ 12 h 23"/>
                <a:gd name="T66" fmla="*/ 18 w 19"/>
                <a:gd name="T67" fmla="*/ 12 h 23"/>
                <a:gd name="T68" fmla="*/ 19 w 19"/>
                <a:gd name="T69" fmla="*/ 12 h 23"/>
                <a:gd name="T70" fmla="*/ 19 w 19"/>
                <a:gd name="T71" fmla="*/ 10 h 23"/>
                <a:gd name="T72" fmla="*/ 19 w 19"/>
                <a:gd name="T73" fmla="*/ 10 h 23"/>
                <a:gd name="T74" fmla="*/ 4 w 19"/>
                <a:gd name="T75" fmla="*/ 9 h 23"/>
                <a:gd name="T76" fmla="*/ 4 w 19"/>
                <a:gd name="T77" fmla="*/ 7 h 23"/>
                <a:gd name="T78" fmla="*/ 6 w 19"/>
                <a:gd name="T79" fmla="*/ 5 h 23"/>
                <a:gd name="T80" fmla="*/ 7 w 19"/>
                <a:gd name="T81" fmla="*/ 3 h 23"/>
                <a:gd name="T82" fmla="*/ 10 w 19"/>
                <a:gd name="T83" fmla="*/ 3 h 23"/>
                <a:gd name="T84" fmla="*/ 14 w 19"/>
                <a:gd name="T85" fmla="*/ 4 h 23"/>
                <a:gd name="T86" fmla="*/ 15 w 19"/>
                <a:gd name="T87" fmla="*/ 9 h 23"/>
                <a:gd name="T88" fmla="*/ 4 w 19"/>
                <a:gd name="T8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3">
                  <a:moveTo>
                    <a:pt x="19" y="10"/>
                  </a:moveTo>
                  <a:cubicBezTo>
                    <a:pt x="19" y="8"/>
                    <a:pt x="19" y="7"/>
                    <a:pt x="19" y="6"/>
                  </a:cubicBezTo>
                  <a:cubicBezTo>
                    <a:pt x="18" y="5"/>
                    <a:pt x="18" y="4"/>
                    <a:pt x="17" y="3"/>
                  </a:cubicBezTo>
                  <a:cubicBezTo>
                    <a:pt x="16" y="2"/>
                    <a:pt x="15" y="1"/>
                    <a:pt x="14" y="1"/>
                  </a:cubicBezTo>
                  <a:cubicBezTo>
                    <a:pt x="13" y="0"/>
                    <a:pt x="12" y="0"/>
                    <a:pt x="10" y="0"/>
                  </a:cubicBezTo>
                  <a:cubicBezTo>
                    <a:pt x="9" y="0"/>
                    <a:pt x="7" y="0"/>
                    <a:pt x="6" y="1"/>
                  </a:cubicBezTo>
                  <a:cubicBezTo>
                    <a:pt x="5" y="1"/>
                    <a:pt x="4" y="2"/>
                    <a:pt x="3" y="3"/>
                  </a:cubicBezTo>
                  <a:cubicBezTo>
                    <a:pt x="2" y="4"/>
                    <a:pt x="1" y="5"/>
                    <a:pt x="1" y="7"/>
                  </a:cubicBezTo>
                  <a:cubicBezTo>
                    <a:pt x="0" y="8"/>
                    <a:pt x="0" y="10"/>
                    <a:pt x="0" y="11"/>
                  </a:cubicBezTo>
                  <a:cubicBezTo>
                    <a:pt x="0" y="13"/>
                    <a:pt x="0" y="15"/>
                    <a:pt x="1" y="16"/>
                  </a:cubicBezTo>
                  <a:cubicBezTo>
                    <a:pt x="1" y="18"/>
                    <a:pt x="2" y="19"/>
                    <a:pt x="3" y="20"/>
                  </a:cubicBezTo>
                  <a:cubicBezTo>
                    <a:pt x="4" y="21"/>
                    <a:pt x="5" y="22"/>
                    <a:pt x="6" y="22"/>
                  </a:cubicBezTo>
                  <a:cubicBezTo>
                    <a:pt x="7" y="23"/>
                    <a:pt x="9" y="23"/>
                    <a:pt x="11" y="23"/>
                  </a:cubicBezTo>
                  <a:cubicBezTo>
                    <a:pt x="12" y="23"/>
                    <a:pt x="12" y="23"/>
                    <a:pt x="13" y="23"/>
                  </a:cubicBezTo>
                  <a:cubicBezTo>
                    <a:pt x="14" y="23"/>
                    <a:pt x="15" y="22"/>
                    <a:pt x="16" y="22"/>
                  </a:cubicBezTo>
                  <a:cubicBezTo>
                    <a:pt x="16" y="22"/>
                    <a:pt x="17" y="22"/>
                    <a:pt x="17" y="22"/>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20"/>
                  </a:cubicBezTo>
                  <a:cubicBezTo>
                    <a:pt x="18" y="19"/>
                    <a:pt x="18" y="19"/>
                    <a:pt x="18" y="19"/>
                  </a:cubicBezTo>
                  <a:cubicBezTo>
                    <a:pt x="18" y="19"/>
                    <a:pt x="18" y="19"/>
                    <a:pt x="18" y="19"/>
                  </a:cubicBezTo>
                  <a:cubicBezTo>
                    <a:pt x="18" y="18"/>
                    <a:pt x="18" y="18"/>
                    <a:pt x="18" y="18"/>
                  </a:cubicBezTo>
                  <a:cubicBezTo>
                    <a:pt x="18" y="18"/>
                    <a:pt x="18" y="18"/>
                    <a:pt x="18" y="18"/>
                  </a:cubicBezTo>
                  <a:cubicBezTo>
                    <a:pt x="18" y="18"/>
                    <a:pt x="17" y="18"/>
                    <a:pt x="17" y="18"/>
                  </a:cubicBezTo>
                  <a:cubicBezTo>
                    <a:pt x="17" y="19"/>
                    <a:pt x="16" y="19"/>
                    <a:pt x="16" y="19"/>
                  </a:cubicBezTo>
                  <a:cubicBezTo>
                    <a:pt x="15" y="19"/>
                    <a:pt x="14" y="19"/>
                    <a:pt x="14" y="20"/>
                  </a:cubicBezTo>
                  <a:cubicBezTo>
                    <a:pt x="13" y="20"/>
                    <a:pt x="12" y="20"/>
                    <a:pt x="11" y="20"/>
                  </a:cubicBezTo>
                  <a:cubicBezTo>
                    <a:pt x="10" y="20"/>
                    <a:pt x="9" y="20"/>
                    <a:pt x="8" y="19"/>
                  </a:cubicBezTo>
                  <a:cubicBezTo>
                    <a:pt x="7" y="19"/>
                    <a:pt x="6" y="18"/>
                    <a:pt x="5" y="18"/>
                  </a:cubicBezTo>
                  <a:cubicBezTo>
                    <a:pt x="5" y="17"/>
                    <a:pt x="5" y="16"/>
                    <a:pt x="4" y="15"/>
                  </a:cubicBezTo>
                  <a:cubicBezTo>
                    <a:pt x="4" y="14"/>
                    <a:pt x="4" y="13"/>
                    <a:pt x="4" y="12"/>
                  </a:cubicBezTo>
                  <a:cubicBezTo>
                    <a:pt x="18" y="12"/>
                    <a:pt x="18" y="12"/>
                    <a:pt x="18" y="12"/>
                  </a:cubicBezTo>
                  <a:cubicBezTo>
                    <a:pt x="18" y="12"/>
                    <a:pt x="19" y="12"/>
                    <a:pt x="19" y="12"/>
                  </a:cubicBezTo>
                  <a:cubicBezTo>
                    <a:pt x="19" y="11"/>
                    <a:pt x="19" y="11"/>
                    <a:pt x="19" y="10"/>
                  </a:cubicBezTo>
                  <a:cubicBezTo>
                    <a:pt x="19" y="10"/>
                    <a:pt x="19" y="10"/>
                    <a:pt x="19" y="10"/>
                  </a:cubicBezTo>
                  <a:close/>
                  <a:moveTo>
                    <a:pt x="4" y="9"/>
                  </a:moveTo>
                  <a:cubicBezTo>
                    <a:pt x="4" y="8"/>
                    <a:pt x="4" y="8"/>
                    <a:pt x="4" y="7"/>
                  </a:cubicBezTo>
                  <a:cubicBezTo>
                    <a:pt x="5" y="6"/>
                    <a:pt x="5" y="5"/>
                    <a:pt x="6" y="5"/>
                  </a:cubicBezTo>
                  <a:cubicBezTo>
                    <a:pt x="6" y="4"/>
                    <a:pt x="7" y="4"/>
                    <a:pt x="7" y="3"/>
                  </a:cubicBezTo>
                  <a:cubicBezTo>
                    <a:pt x="8" y="3"/>
                    <a:pt x="9" y="3"/>
                    <a:pt x="10" y="3"/>
                  </a:cubicBezTo>
                  <a:cubicBezTo>
                    <a:pt x="12" y="3"/>
                    <a:pt x="13" y="3"/>
                    <a:pt x="14" y="4"/>
                  </a:cubicBezTo>
                  <a:cubicBezTo>
                    <a:pt x="15" y="6"/>
                    <a:pt x="16" y="7"/>
                    <a:pt x="15" y="9"/>
                  </a:cubicBezTo>
                  <a:cubicBezTo>
                    <a:pt x="4" y="9"/>
                    <a:pt x="4" y="9"/>
                    <a:pt x="4" y="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165">
              <a:extLst>
                <a:ext uri="{FF2B5EF4-FFF2-40B4-BE49-F238E27FC236}">
                  <a16:creationId xmlns:a16="http://schemas.microsoft.com/office/drawing/2014/main" id="{97C4C2AC-2876-4EA1-9FC0-D05D5E081340}"/>
                </a:ext>
              </a:extLst>
            </p:cNvPr>
            <p:cNvSpPr>
              <a:spLocks/>
            </p:cNvSpPr>
            <p:nvPr/>
          </p:nvSpPr>
          <p:spPr bwMode="auto">
            <a:xfrm>
              <a:off x="8784211" y="5901426"/>
              <a:ext cx="50502" cy="77917"/>
            </a:xfrm>
            <a:custGeom>
              <a:avLst/>
              <a:gdLst>
                <a:gd name="T0" fmla="*/ 14 w 15"/>
                <a:gd name="T1" fmla="*/ 14 h 23"/>
                <a:gd name="T2" fmla="*/ 13 w 15"/>
                <a:gd name="T3" fmla="*/ 12 h 23"/>
                <a:gd name="T4" fmla="*/ 11 w 15"/>
                <a:gd name="T5" fmla="*/ 11 h 23"/>
                <a:gd name="T6" fmla="*/ 9 w 15"/>
                <a:gd name="T7" fmla="*/ 10 h 23"/>
                <a:gd name="T8" fmla="*/ 7 w 15"/>
                <a:gd name="T9" fmla="*/ 9 h 23"/>
                <a:gd name="T10" fmla="*/ 6 w 15"/>
                <a:gd name="T11" fmla="*/ 8 h 23"/>
                <a:gd name="T12" fmla="*/ 4 w 15"/>
                <a:gd name="T13" fmla="*/ 7 h 23"/>
                <a:gd name="T14" fmla="*/ 4 w 15"/>
                <a:gd name="T15" fmla="*/ 6 h 23"/>
                <a:gd name="T16" fmla="*/ 4 w 15"/>
                <a:gd name="T17" fmla="*/ 5 h 23"/>
                <a:gd name="T18" fmla="*/ 5 w 15"/>
                <a:gd name="T19" fmla="*/ 4 h 23"/>
                <a:gd name="T20" fmla="*/ 6 w 15"/>
                <a:gd name="T21" fmla="*/ 3 h 23"/>
                <a:gd name="T22" fmla="*/ 8 w 15"/>
                <a:gd name="T23" fmla="*/ 3 h 23"/>
                <a:gd name="T24" fmla="*/ 10 w 15"/>
                <a:gd name="T25" fmla="*/ 3 h 23"/>
                <a:gd name="T26" fmla="*/ 11 w 15"/>
                <a:gd name="T27" fmla="*/ 4 h 23"/>
                <a:gd name="T28" fmla="*/ 12 w 15"/>
                <a:gd name="T29" fmla="*/ 4 h 23"/>
                <a:gd name="T30" fmla="*/ 13 w 15"/>
                <a:gd name="T31" fmla="*/ 4 h 23"/>
                <a:gd name="T32" fmla="*/ 13 w 15"/>
                <a:gd name="T33" fmla="*/ 4 h 23"/>
                <a:gd name="T34" fmla="*/ 13 w 15"/>
                <a:gd name="T35" fmla="*/ 4 h 23"/>
                <a:gd name="T36" fmla="*/ 13 w 15"/>
                <a:gd name="T37" fmla="*/ 4 h 23"/>
                <a:gd name="T38" fmla="*/ 14 w 15"/>
                <a:gd name="T39" fmla="*/ 3 h 23"/>
                <a:gd name="T40" fmla="*/ 13 w 15"/>
                <a:gd name="T41" fmla="*/ 2 h 23"/>
                <a:gd name="T42" fmla="*/ 13 w 15"/>
                <a:gd name="T43" fmla="*/ 2 h 23"/>
                <a:gd name="T44" fmla="*/ 13 w 15"/>
                <a:gd name="T45" fmla="*/ 1 h 23"/>
                <a:gd name="T46" fmla="*/ 13 w 15"/>
                <a:gd name="T47" fmla="*/ 1 h 23"/>
                <a:gd name="T48" fmla="*/ 12 w 15"/>
                <a:gd name="T49" fmla="*/ 1 h 23"/>
                <a:gd name="T50" fmla="*/ 11 w 15"/>
                <a:gd name="T51" fmla="*/ 0 h 23"/>
                <a:gd name="T52" fmla="*/ 10 w 15"/>
                <a:gd name="T53" fmla="*/ 0 h 23"/>
                <a:gd name="T54" fmla="*/ 8 w 15"/>
                <a:gd name="T55" fmla="*/ 0 h 23"/>
                <a:gd name="T56" fmla="*/ 4 w 15"/>
                <a:gd name="T57" fmla="*/ 0 h 23"/>
                <a:gd name="T58" fmla="*/ 2 w 15"/>
                <a:gd name="T59" fmla="*/ 2 h 23"/>
                <a:gd name="T60" fmla="*/ 1 w 15"/>
                <a:gd name="T61" fmla="*/ 4 h 23"/>
                <a:gd name="T62" fmla="*/ 0 w 15"/>
                <a:gd name="T63" fmla="*/ 6 h 23"/>
                <a:gd name="T64" fmla="*/ 1 w 15"/>
                <a:gd name="T65" fmla="*/ 8 h 23"/>
                <a:gd name="T66" fmla="*/ 2 w 15"/>
                <a:gd name="T67" fmla="*/ 10 h 23"/>
                <a:gd name="T68" fmla="*/ 4 w 15"/>
                <a:gd name="T69" fmla="*/ 11 h 23"/>
                <a:gd name="T70" fmla="*/ 5 w 15"/>
                <a:gd name="T71" fmla="*/ 12 h 23"/>
                <a:gd name="T72" fmla="*/ 7 w 15"/>
                <a:gd name="T73" fmla="*/ 13 h 23"/>
                <a:gd name="T74" fmla="*/ 9 w 15"/>
                <a:gd name="T75" fmla="*/ 14 h 23"/>
                <a:gd name="T76" fmla="*/ 10 w 15"/>
                <a:gd name="T77" fmla="*/ 15 h 23"/>
                <a:gd name="T78" fmla="*/ 11 w 15"/>
                <a:gd name="T79" fmla="*/ 16 h 23"/>
                <a:gd name="T80" fmla="*/ 10 w 15"/>
                <a:gd name="T81" fmla="*/ 18 h 23"/>
                <a:gd name="T82" fmla="*/ 10 w 15"/>
                <a:gd name="T83" fmla="*/ 19 h 23"/>
                <a:gd name="T84" fmla="*/ 8 w 15"/>
                <a:gd name="T85" fmla="*/ 20 h 23"/>
                <a:gd name="T86" fmla="*/ 6 w 15"/>
                <a:gd name="T87" fmla="*/ 20 h 23"/>
                <a:gd name="T88" fmla="*/ 4 w 15"/>
                <a:gd name="T89" fmla="*/ 20 h 23"/>
                <a:gd name="T90" fmla="*/ 2 w 15"/>
                <a:gd name="T91" fmla="*/ 19 h 23"/>
                <a:gd name="T92" fmla="*/ 1 w 15"/>
                <a:gd name="T93" fmla="*/ 18 h 23"/>
                <a:gd name="T94" fmla="*/ 0 w 15"/>
                <a:gd name="T95" fmla="*/ 18 h 23"/>
                <a:gd name="T96" fmla="*/ 0 w 15"/>
                <a:gd name="T97" fmla="*/ 18 h 23"/>
                <a:gd name="T98" fmla="*/ 0 w 15"/>
                <a:gd name="T99" fmla="*/ 18 h 23"/>
                <a:gd name="T100" fmla="*/ 0 w 15"/>
                <a:gd name="T101" fmla="*/ 19 h 23"/>
                <a:gd name="T102" fmla="*/ 0 w 15"/>
                <a:gd name="T103" fmla="*/ 19 h 23"/>
                <a:gd name="T104" fmla="*/ 0 w 15"/>
                <a:gd name="T105" fmla="*/ 21 h 23"/>
                <a:gd name="T106" fmla="*/ 0 w 15"/>
                <a:gd name="T107" fmla="*/ 21 h 23"/>
                <a:gd name="T108" fmla="*/ 1 w 15"/>
                <a:gd name="T109" fmla="*/ 22 h 23"/>
                <a:gd name="T110" fmla="*/ 2 w 15"/>
                <a:gd name="T111" fmla="*/ 22 h 23"/>
                <a:gd name="T112" fmla="*/ 4 w 15"/>
                <a:gd name="T113" fmla="*/ 23 h 23"/>
                <a:gd name="T114" fmla="*/ 6 w 15"/>
                <a:gd name="T115" fmla="*/ 23 h 23"/>
                <a:gd name="T116" fmla="*/ 10 w 15"/>
                <a:gd name="T117" fmla="*/ 22 h 23"/>
                <a:gd name="T118" fmla="*/ 12 w 15"/>
                <a:gd name="T119" fmla="*/ 21 h 23"/>
                <a:gd name="T120" fmla="*/ 14 w 15"/>
                <a:gd name="T121" fmla="*/ 19 h 23"/>
                <a:gd name="T122" fmla="*/ 15 w 15"/>
                <a:gd name="T123" fmla="*/ 16 h 23"/>
                <a:gd name="T124" fmla="*/ 14 w 15"/>
                <a:gd name="T1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3">
                  <a:moveTo>
                    <a:pt x="14" y="14"/>
                  </a:moveTo>
                  <a:cubicBezTo>
                    <a:pt x="14" y="13"/>
                    <a:pt x="13" y="13"/>
                    <a:pt x="13" y="12"/>
                  </a:cubicBezTo>
                  <a:cubicBezTo>
                    <a:pt x="12" y="12"/>
                    <a:pt x="12" y="11"/>
                    <a:pt x="11" y="11"/>
                  </a:cubicBezTo>
                  <a:cubicBezTo>
                    <a:pt x="11" y="11"/>
                    <a:pt x="10" y="10"/>
                    <a:pt x="9" y="10"/>
                  </a:cubicBezTo>
                  <a:cubicBezTo>
                    <a:pt x="9" y="10"/>
                    <a:pt x="8" y="9"/>
                    <a:pt x="7" y="9"/>
                  </a:cubicBezTo>
                  <a:cubicBezTo>
                    <a:pt x="7" y="9"/>
                    <a:pt x="6" y="9"/>
                    <a:pt x="6" y="8"/>
                  </a:cubicBezTo>
                  <a:cubicBezTo>
                    <a:pt x="5" y="8"/>
                    <a:pt x="5" y="8"/>
                    <a:pt x="4" y="7"/>
                  </a:cubicBezTo>
                  <a:cubicBezTo>
                    <a:pt x="4" y="7"/>
                    <a:pt x="4" y="6"/>
                    <a:pt x="4" y="6"/>
                  </a:cubicBezTo>
                  <a:cubicBezTo>
                    <a:pt x="4" y="5"/>
                    <a:pt x="4" y="5"/>
                    <a:pt x="4" y="5"/>
                  </a:cubicBezTo>
                  <a:cubicBezTo>
                    <a:pt x="4" y="4"/>
                    <a:pt x="5" y="4"/>
                    <a:pt x="5" y="4"/>
                  </a:cubicBezTo>
                  <a:cubicBezTo>
                    <a:pt x="5" y="3"/>
                    <a:pt x="6" y="3"/>
                    <a:pt x="6" y="3"/>
                  </a:cubicBezTo>
                  <a:cubicBezTo>
                    <a:pt x="7" y="3"/>
                    <a:pt x="7" y="3"/>
                    <a:pt x="8" y="3"/>
                  </a:cubicBezTo>
                  <a:cubicBezTo>
                    <a:pt x="9" y="3"/>
                    <a:pt x="9" y="3"/>
                    <a:pt x="10" y="3"/>
                  </a:cubicBezTo>
                  <a:cubicBezTo>
                    <a:pt x="10" y="3"/>
                    <a:pt x="11" y="3"/>
                    <a:pt x="11" y="4"/>
                  </a:cubicBezTo>
                  <a:cubicBezTo>
                    <a:pt x="12" y="4"/>
                    <a:pt x="12" y="4"/>
                    <a:pt x="12" y="4"/>
                  </a:cubicBezTo>
                  <a:cubicBezTo>
                    <a:pt x="13" y="4"/>
                    <a:pt x="13" y="4"/>
                    <a:pt x="13" y="4"/>
                  </a:cubicBezTo>
                  <a:cubicBezTo>
                    <a:pt x="13" y="4"/>
                    <a:pt x="13" y="4"/>
                    <a:pt x="13" y="4"/>
                  </a:cubicBezTo>
                  <a:cubicBezTo>
                    <a:pt x="13" y="4"/>
                    <a:pt x="13" y="4"/>
                    <a:pt x="13" y="4"/>
                  </a:cubicBezTo>
                  <a:cubicBezTo>
                    <a:pt x="13" y="4"/>
                    <a:pt x="13" y="4"/>
                    <a:pt x="13" y="4"/>
                  </a:cubicBezTo>
                  <a:cubicBezTo>
                    <a:pt x="13" y="3"/>
                    <a:pt x="14" y="3"/>
                    <a:pt x="14" y="3"/>
                  </a:cubicBezTo>
                  <a:cubicBezTo>
                    <a:pt x="14" y="3"/>
                    <a:pt x="13" y="2"/>
                    <a:pt x="13" y="2"/>
                  </a:cubicBezTo>
                  <a:cubicBezTo>
                    <a:pt x="13" y="2"/>
                    <a:pt x="13" y="2"/>
                    <a:pt x="13" y="2"/>
                  </a:cubicBezTo>
                  <a:cubicBezTo>
                    <a:pt x="13" y="2"/>
                    <a:pt x="13" y="2"/>
                    <a:pt x="13" y="1"/>
                  </a:cubicBezTo>
                  <a:cubicBezTo>
                    <a:pt x="13" y="1"/>
                    <a:pt x="13" y="1"/>
                    <a:pt x="13" y="1"/>
                  </a:cubicBezTo>
                  <a:cubicBezTo>
                    <a:pt x="13" y="1"/>
                    <a:pt x="13" y="1"/>
                    <a:pt x="12" y="1"/>
                  </a:cubicBezTo>
                  <a:cubicBezTo>
                    <a:pt x="12" y="1"/>
                    <a:pt x="12" y="0"/>
                    <a:pt x="11" y="0"/>
                  </a:cubicBezTo>
                  <a:cubicBezTo>
                    <a:pt x="11" y="0"/>
                    <a:pt x="10" y="0"/>
                    <a:pt x="10" y="0"/>
                  </a:cubicBezTo>
                  <a:cubicBezTo>
                    <a:pt x="9" y="0"/>
                    <a:pt x="8" y="0"/>
                    <a:pt x="8" y="0"/>
                  </a:cubicBezTo>
                  <a:cubicBezTo>
                    <a:pt x="7" y="0"/>
                    <a:pt x="5" y="0"/>
                    <a:pt x="4" y="0"/>
                  </a:cubicBezTo>
                  <a:cubicBezTo>
                    <a:pt x="4" y="1"/>
                    <a:pt x="3" y="1"/>
                    <a:pt x="2" y="2"/>
                  </a:cubicBezTo>
                  <a:cubicBezTo>
                    <a:pt x="1" y="2"/>
                    <a:pt x="1" y="3"/>
                    <a:pt x="1" y="4"/>
                  </a:cubicBezTo>
                  <a:cubicBezTo>
                    <a:pt x="0" y="4"/>
                    <a:pt x="0" y="5"/>
                    <a:pt x="0" y="6"/>
                  </a:cubicBezTo>
                  <a:cubicBezTo>
                    <a:pt x="0" y="7"/>
                    <a:pt x="0" y="8"/>
                    <a:pt x="1" y="8"/>
                  </a:cubicBezTo>
                  <a:cubicBezTo>
                    <a:pt x="1" y="9"/>
                    <a:pt x="1" y="10"/>
                    <a:pt x="2" y="10"/>
                  </a:cubicBezTo>
                  <a:cubicBezTo>
                    <a:pt x="2" y="11"/>
                    <a:pt x="3" y="11"/>
                    <a:pt x="4" y="11"/>
                  </a:cubicBezTo>
                  <a:cubicBezTo>
                    <a:pt x="4" y="12"/>
                    <a:pt x="5" y="12"/>
                    <a:pt x="5" y="12"/>
                  </a:cubicBezTo>
                  <a:cubicBezTo>
                    <a:pt x="6" y="13"/>
                    <a:pt x="7" y="13"/>
                    <a:pt x="7" y="13"/>
                  </a:cubicBezTo>
                  <a:cubicBezTo>
                    <a:pt x="8" y="13"/>
                    <a:pt x="9" y="14"/>
                    <a:pt x="9" y="14"/>
                  </a:cubicBezTo>
                  <a:cubicBezTo>
                    <a:pt x="10" y="14"/>
                    <a:pt x="10" y="15"/>
                    <a:pt x="10" y="15"/>
                  </a:cubicBezTo>
                  <a:cubicBezTo>
                    <a:pt x="11" y="15"/>
                    <a:pt x="11" y="16"/>
                    <a:pt x="11" y="16"/>
                  </a:cubicBezTo>
                  <a:cubicBezTo>
                    <a:pt x="11" y="17"/>
                    <a:pt x="11" y="18"/>
                    <a:pt x="10" y="18"/>
                  </a:cubicBezTo>
                  <a:cubicBezTo>
                    <a:pt x="10" y="18"/>
                    <a:pt x="10" y="19"/>
                    <a:pt x="10" y="19"/>
                  </a:cubicBezTo>
                  <a:cubicBezTo>
                    <a:pt x="9" y="19"/>
                    <a:pt x="9" y="19"/>
                    <a:pt x="8" y="20"/>
                  </a:cubicBezTo>
                  <a:cubicBezTo>
                    <a:pt x="8" y="20"/>
                    <a:pt x="7" y="20"/>
                    <a:pt x="6" y="20"/>
                  </a:cubicBezTo>
                  <a:cubicBezTo>
                    <a:pt x="6" y="20"/>
                    <a:pt x="5" y="20"/>
                    <a:pt x="4" y="20"/>
                  </a:cubicBezTo>
                  <a:cubicBezTo>
                    <a:pt x="3" y="19"/>
                    <a:pt x="3" y="19"/>
                    <a:pt x="2" y="19"/>
                  </a:cubicBezTo>
                  <a:cubicBezTo>
                    <a:pt x="2" y="19"/>
                    <a:pt x="1" y="18"/>
                    <a:pt x="1" y="18"/>
                  </a:cubicBezTo>
                  <a:cubicBezTo>
                    <a:pt x="1" y="18"/>
                    <a:pt x="0" y="18"/>
                    <a:pt x="0" y="18"/>
                  </a:cubicBezTo>
                  <a:cubicBezTo>
                    <a:pt x="0" y="18"/>
                    <a:pt x="0" y="18"/>
                    <a:pt x="0" y="18"/>
                  </a:cubicBezTo>
                  <a:cubicBezTo>
                    <a:pt x="0" y="18"/>
                    <a:pt x="0" y="18"/>
                    <a:pt x="0" y="18"/>
                  </a:cubicBezTo>
                  <a:cubicBezTo>
                    <a:pt x="0" y="18"/>
                    <a:pt x="0" y="18"/>
                    <a:pt x="0" y="19"/>
                  </a:cubicBezTo>
                  <a:cubicBezTo>
                    <a:pt x="0" y="19"/>
                    <a:pt x="0" y="19"/>
                    <a:pt x="0" y="19"/>
                  </a:cubicBezTo>
                  <a:cubicBezTo>
                    <a:pt x="0" y="20"/>
                    <a:pt x="0" y="20"/>
                    <a:pt x="0" y="21"/>
                  </a:cubicBezTo>
                  <a:cubicBezTo>
                    <a:pt x="0" y="21"/>
                    <a:pt x="0" y="21"/>
                    <a:pt x="0" y="21"/>
                  </a:cubicBezTo>
                  <a:cubicBezTo>
                    <a:pt x="0" y="21"/>
                    <a:pt x="1" y="22"/>
                    <a:pt x="1" y="22"/>
                  </a:cubicBezTo>
                  <a:cubicBezTo>
                    <a:pt x="1" y="22"/>
                    <a:pt x="2" y="22"/>
                    <a:pt x="2" y="22"/>
                  </a:cubicBezTo>
                  <a:cubicBezTo>
                    <a:pt x="3" y="22"/>
                    <a:pt x="3" y="23"/>
                    <a:pt x="4" y="23"/>
                  </a:cubicBezTo>
                  <a:cubicBezTo>
                    <a:pt x="5" y="23"/>
                    <a:pt x="6" y="23"/>
                    <a:pt x="6" y="23"/>
                  </a:cubicBezTo>
                  <a:cubicBezTo>
                    <a:pt x="8" y="23"/>
                    <a:pt x="9" y="23"/>
                    <a:pt x="10" y="22"/>
                  </a:cubicBezTo>
                  <a:cubicBezTo>
                    <a:pt x="11" y="22"/>
                    <a:pt x="12" y="22"/>
                    <a:pt x="12" y="21"/>
                  </a:cubicBezTo>
                  <a:cubicBezTo>
                    <a:pt x="13" y="21"/>
                    <a:pt x="14" y="20"/>
                    <a:pt x="14" y="19"/>
                  </a:cubicBezTo>
                  <a:cubicBezTo>
                    <a:pt x="14" y="18"/>
                    <a:pt x="15" y="17"/>
                    <a:pt x="15" y="16"/>
                  </a:cubicBezTo>
                  <a:cubicBezTo>
                    <a:pt x="15" y="15"/>
                    <a:pt x="14" y="14"/>
                    <a:pt x="14"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166">
              <a:extLst>
                <a:ext uri="{FF2B5EF4-FFF2-40B4-BE49-F238E27FC236}">
                  <a16:creationId xmlns:a16="http://schemas.microsoft.com/office/drawing/2014/main" id="{C6AC7F9F-4D90-4CA5-8587-DE73C6A6E6BB}"/>
                </a:ext>
              </a:extLst>
            </p:cNvPr>
            <p:cNvSpPr>
              <a:spLocks/>
            </p:cNvSpPr>
            <p:nvPr/>
          </p:nvSpPr>
          <p:spPr bwMode="auto">
            <a:xfrm>
              <a:off x="8844813" y="5901426"/>
              <a:ext cx="51945" cy="77917"/>
            </a:xfrm>
            <a:custGeom>
              <a:avLst/>
              <a:gdLst>
                <a:gd name="T0" fmla="*/ 15 w 15"/>
                <a:gd name="T1" fmla="*/ 14 h 23"/>
                <a:gd name="T2" fmla="*/ 14 w 15"/>
                <a:gd name="T3" fmla="*/ 12 h 23"/>
                <a:gd name="T4" fmla="*/ 12 w 15"/>
                <a:gd name="T5" fmla="*/ 11 h 23"/>
                <a:gd name="T6" fmla="*/ 10 w 15"/>
                <a:gd name="T7" fmla="*/ 10 h 23"/>
                <a:gd name="T8" fmla="*/ 8 w 15"/>
                <a:gd name="T9" fmla="*/ 9 h 23"/>
                <a:gd name="T10" fmla="*/ 6 w 15"/>
                <a:gd name="T11" fmla="*/ 8 h 23"/>
                <a:gd name="T12" fmla="*/ 5 w 15"/>
                <a:gd name="T13" fmla="*/ 7 h 23"/>
                <a:gd name="T14" fmla="*/ 5 w 15"/>
                <a:gd name="T15" fmla="*/ 6 h 23"/>
                <a:gd name="T16" fmla="*/ 5 w 15"/>
                <a:gd name="T17" fmla="*/ 5 h 23"/>
                <a:gd name="T18" fmla="*/ 6 w 15"/>
                <a:gd name="T19" fmla="*/ 4 h 23"/>
                <a:gd name="T20" fmla="*/ 7 w 15"/>
                <a:gd name="T21" fmla="*/ 3 h 23"/>
                <a:gd name="T22" fmla="*/ 9 w 15"/>
                <a:gd name="T23" fmla="*/ 3 h 23"/>
                <a:gd name="T24" fmla="*/ 11 w 15"/>
                <a:gd name="T25" fmla="*/ 3 h 23"/>
                <a:gd name="T26" fmla="*/ 12 w 15"/>
                <a:gd name="T27" fmla="*/ 4 h 23"/>
                <a:gd name="T28" fmla="*/ 13 w 15"/>
                <a:gd name="T29" fmla="*/ 4 h 23"/>
                <a:gd name="T30" fmla="*/ 14 w 15"/>
                <a:gd name="T31" fmla="*/ 4 h 23"/>
                <a:gd name="T32" fmla="*/ 14 w 15"/>
                <a:gd name="T33" fmla="*/ 4 h 23"/>
                <a:gd name="T34" fmla="*/ 14 w 15"/>
                <a:gd name="T35" fmla="*/ 4 h 23"/>
                <a:gd name="T36" fmla="*/ 14 w 15"/>
                <a:gd name="T37" fmla="*/ 4 h 23"/>
                <a:gd name="T38" fmla="*/ 14 w 15"/>
                <a:gd name="T39" fmla="*/ 3 h 23"/>
                <a:gd name="T40" fmla="*/ 14 w 15"/>
                <a:gd name="T41" fmla="*/ 2 h 23"/>
                <a:gd name="T42" fmla="*/ 14 w 15"/>
                <a:gd name="T43" fmla="*/ 2 h 23"/>
                <a:gd name="T44" fmla="*/ 14 w 15"/>
                <a:gd name="T45" fmla="*/ 1 h 23"/>
                <a:gd name="T46" fmla="*/ 14 w 15"/>
                <a:gd name="T47" fmla="*/ 1 h 23"/>
                <a:gd name="T48" fmla="*/ 13 w 15"/>
                <a:gd name="T49" fmla="*/ 1 h 23"/>
                <a:gd name="T50" fmla="*/ 12 w 15"/>
                <a:gd name="T51" fmla="*/ 0 h 23"/>
                <a:gd name="T52" fmla="*/ 10 w 15"/>
                <a:gd name="T53" fmla="*/ 0 h 23"/>
                <a:gd name="T54" fmla="*/ 9 w 15"/>
                <a:gd name="T55" fmla="*/ 0 h 23"/>
                <a:gd name="T56" fmla="*/ 5 w 15"/>
                <a:gd name="T57" fmla="*/ 0 h 23"/>
                <a:gd name="T58" fmla="*/ 3 w 15"/>
                <a:gd name="T59" fmla="*/ 2 h 23"/>
                <a:gd name="T60" fmla="*/ 1 w 15"/>
                <a:gd name="T61" fmla="*/ 4 h 23"/>
                <a:gd name="T62" fmla="*/ 1 w 15"/>
                <a:gd name="T63" fmla="*/ 6 h 23"/>
                <a:gd name="T64" fmla="*/ 1 w 15"/>
                <a:gd name="T65" fmla="*/ 8 h 23"/>
                <a:gd name="T66" fmla="*/ 3 w 15"/>
                <a:gd name="T67" fmla="*/ 10 h 23"/>
                <a:gd name="T68" fmla="*/ 4 w 15"/>
                <a:gd name="T69" fmla="*/ 11 h 23"/>
                <a:gd name="T70" fmla="*/ 6 w 15"/>
                <a:gd name="T71" fmla="*/ 12 h 23"/>
                <a:gd name="T72" fmla="*/ 8 w 15"/>
                <a:gd name="T73" fmla="*/ 13 h 23"/>
                <a:gd name="T74" fmla="*/ 10 w 15"/>
                <a:gd name="T75" fmla="*/ 14 h 23"/>
                <a:gd name="T76" fmla="*/ 11 w 15"/>
                <a:gd name="T77" fmla="*/ 15 h 23"/>
                <a:gd name="T78" fmla="*/ 12 w 15"/>
                <a:gd name="T79" fmla="*/ 16 h 23"/>
                <a:gd name="T80" fmla="*/ 11 w 15"/>
                <a:gd name="T81" fmla="*/ 18 h 23"/>
                <a:gd name="T82" fmla="*/ 10 w 15"/>
                <a:gd name="T83" fmla="*/ 19 h 23"/>
                <a:gd name="T84" fmla="*/ 9 w 15"/>
                <a:gd name="T85" fmla="*/ 20 h 23"/>
                <a:gd name="T86" fmla="*/ 7 w 15"/>
                <a:gd name="T87" fmla="*/ 20 h 23"/>
                <a:gd name="T88" fmla="*/ 5 w 15"/>
                <a:gd name="T89" fmla="*/ 20 h 23"/>
                <a:gd name="T90" fmla="*/ 3 w 15"/>
                <a:gd name="T91" fmla="*/ 19 h 23"/>
                <a:gd name="T92" fmla="*/ 2 w 15"/>
                <a:gd name="T93" fmla="*/ 18 h 23"/>
                <a:gd name="T94" fmla="*/ 1 w 15"/>
                <a:gd name="T95" fmla="*/ 18 h 23"/>
                <a:gd name="T96" fmla="*/ 1 w 15"/>
                <a:gd name="T97" fmla="*/ 18 h 23"/>
                <a:gd name="T98" fmla="*/ 1 w 15"/>
                <a:gd name="T99" fmla="*/ 18 h 23"/>
                <a:gd name="T100" fmla="*/ 0 w 15"/>
                <a:gd name="T101" fmla="*/ 19 h 23"/>
                <a:gd name="T102" fmla="*/ 0 w 15"/>
                <a:gd name="T103" fmla="*/ 19 h 23"/>
                <a:gd name="T104" fmla="*/ 1 w 15"/>
                <a:gd name="T105" fmla="*/ 21 h 23"/>
                <a:gd name="T106" fmla="*/ 1 w 15"/>
                <a:gd name="T107" fmla="*/ 21 h 23"/>
                <a:gd name="T108" fmla="*/ 2 w 15"/>
                <a:gd name="T109" fmla="*/ 22 h 23"/>
                <a:gd name="T110" fmla="*/ 3 w 15"/>
                <a:gd name="T111" fmla="*/ 22 h 23"/>
                <a:gd name="T112" fmla="*/ 5 w 15"/>
                <a:gd name="T113" fmla="*/ 23 h 23"/>
                <a:gd name="T114" fmla="*/ 7 w 15"/>
                <a:gd name="T115" fmla="*/ 23 h 23"/>
                <a:gd name="T116" fmla="*/ 10 w 15"/>
                <a:gd name="T117" fmla="*/ 22 h 23"/>
                <a:gd name="T118" fmla="*/ 13 w 15"/>
                <a:gd name="T119" fmla="*/ 21 h 23"/>
                <a:gd name="T120" fmla="*/ 15 w 15"/>
                <a:gd name="T121" fmla="*/ 19 h 23"/>
                <a:gd name="T122" fmla="*/ 15 w 15"/>
                <a:gd name="T123" fmla="*/ 16 h 23"/>
                <a:gd name="T124" fmla="*/ 15 w 15"/>
                <a:gd name="T1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3">
                  <a:moveTo>
                    <a:pt x="15" y="14"/>
                  </a:moveTo>
                  <a:cubicBezTo>
                    <a:pt x="15" y="13"/>
                    <a:pt x="14" y="13"/>
                    <a:pt x="14" y="12"/>
                  </a:cubicBezTo>
                  <a:cubicBezTo>
                    <a:pt x="13" y="12"/>
                    <a:pt x="13" y="11"/>
                    <a:pt x="12" y="11"/>
                  </a:cubicBezTo>
                  <a:cubicBezTo>
                    <a:pt x="11" y="11"/>
                    <a:pt x="11" y="10"/>
                    <a:pt x="10" y="10"/>
                  </a:cubicBezTo>
                  <a:cubicBezTo>
                    <a:pt x="9" y="10"/>
                    <a:pt x="9" y="9"/>
                    <a:pt x="8" y="9"/>
                  </a:cubicBezTo>
                  <a:cubicBezTo>
                    <a:pt x="7" y="9"/>
                    <a:pt x="7" y="9"/>
                    <a:pt x="6" y="8"/>
                  </a:cubicBezTo>
                  <a:cubicBezTo>
                    <a:pt x="6" y="8"/>
                    <a:pt x="5" y="8"/>
                    <a:pt x="5" y="7"/>
                  </a:cubicBezTo>
                  <a:cubicBezTo>
                    <a:pt x="5" y="7"/>
                    <a:pt x="5" y="6"/>
                    <a:pt x="5" y="6"/>
                  </a:cubicBezTo>
                  <a:cubicBezTo>
                    <a:pt x="5" y="5"/>
                    <a:pt x="5" y="5"/>
                    <a:pt x="5" y="5"/>
                  </a:cubicBezTo>
                  <a:cubicBezTo>
                    <a:pt x="5" y="4"/>
                    <a:pt x="5" y="4"/>
                    <a:pt x="6" y="4"/>
                  </a:cubicBezTo>
                  <a:cubicBezTo>
                    <a:pt x="6" y="3"/>
                    <a:pt x="6" y="3"/>
                    <a:pt x="7" y="3"/>
                  </a:cubicBezTo>
                  <a:cubicBezTo>
                    <a:pt x="7" y="3"/>
                    <a:pt x="8" y="3"/>
                    <a:pt x="9" y="3"/>
                  </a:cubicBezTo>
                  <a:cubicBezTo>
                    <a:pt x="9" y="3"/>
                    <a:pt x="10" y="3"/>
                    <a:pt x="11" y="3"/>
                  </a:cubicBezTo>
                  <a:cubicBezTo>
                    <a:pt x="11" y="3"/>
                    <a:pt x="12" y="3"/>
                    <a:pt x="12" y="4"/>
                  </a:cubicBezTo>
                  <a:cubicBezTo>
                    <a:pt x="12" y="4"/>
                    <a:pt x="13" y="4"/>
                    <a:pt x="13" y="4"/>
                  </a:cubicBezTo>
                  <a:cubicBezTo>
                    <a:pt x="13" y="4"/>
                    <a:pt x="14" y="4"/>
                    <a:pt x="14" y="4"/>
                  </a:cubicBezTo>
                  <a:cubicBezTo>
                    <a:pt x="14" y="4"/>
                    <a:pt x="14" y="4"/>
                    <a:pt x="14" y="4"/>
                  </a:cubicBezTo>
                  <a:cubicBezTo>
                    <a:pt x="14" y="4"/>
                    <a:pt x="14" y="4"/>
                    <a:pt x="14" y="4"/>
                  </a:cubicBezTo>
                  <a:cubicBezTo>
                    <a:pt x="14" y="4"/>
                    <a:pt x="14" y="4"/>
                    <a:pt x="14" y="4"/>
                  </a:cubicBezTo>
                  <a:cubicBezTo>
                    <a:pt x="14" y="3"/>
                    <a:pt x="14" y="3"/>
                    <a:pt x="14" y="3"/>
                  </a:cubicBezTo>
                  <a:cubicBezTo>
                    <a:pt x="14" y="3"/>
                    <a:pt x="14" y="2"/>
                    <a:pt x="14" y="2"/>
                  </a:cubicBezTo>
                  <a:cubicBezTo>
                    <a:pt x="14" y="2"/>
                    <a:pt x="14" y="2"/>
                    <a:pt x="14" y="2"/>
                  </a:cubicBezTo>
                  <a:cubicBezTo>
                    <a:pt x="14" y="2"/>
                    <a:pt x="14" y="2"/>
                    <a:pt x="14" y="1"/>
                  </a:cubicBezTo>
                  <a:cubicBezTo>
                    <a:pt x="14" y="1"/>
                    <a:pt x="14" y="1"/>
                    <a:pt x="14" y="1"/>
                  </a:cubicBezTo>
                  <a:cubicBezTo>
                    <a:pt x="14" y="1"/>
                    <a:pt x="13" y="1"/>
                    <a:pt x="13" y="1"/>
                  </a:cubicBezTo>
                  <a:cubicBezTo>
                    <a:pt x="13" y="1"/>
                    <a:pt x="12" y="0"/>
                    <a:pt x="12" y="0"/>
                  </a:cubicBezTo>
                  <a:cubicBezTo>
                    <a:pt x="11" y="0"/>
                    <a:pt x="11" y="0"/>
                    <a:pt x="10" y="0"/>
                  </a:cubicBezTo>
                  <a:cubicBezTo>
                    <a:pt x="10" y="0"/>
                    <a:pt x="9" y="0"/>
                    <a:pt x="9" y="0"/>
                  </a:cubicBezTo>
                  <a:cubicBezTo>
                    <a:pt x="7" y="0"/>
                    <a:pt x="6" y="0"/>
                    <a:pt x="5" y="0"/>
                  </a:cubicBezTo>
                  <a:cubicBezTo>
                    <a:pt x="4" y="1"/>
                    <a:pt x="4" y="1"/>
                    <a:pt x="3" y="2"/>
                  </a:cubicBezTo>
                  <a:cubicBezTo>
                    <a:pt x="2" y="2"/>
                    <a:pt x="2" y="3"/>
                    <a:pt x="1" y="4"/>
                  </a:cubicBezTo>
                  <a:cubicBezTo>
                    <a:pt x="1" y="4"/>
                    <a:pt x="1" y="5"/>
                    <a:pt x="1" y="6"/>
                  </a:cubicBezTo>
                  <a:cubicBezTo>
                    <a:pt x="1" y="7"/>
                    <a:pt x="1" y="8"/>
                    <a:pt x="1" y="8"/>
                  </a:cubicBezTo>
                  <a:cubicBezTo>
                    <a:pt x="2" y="9"/>
                    <a:pt x="2" y="10"/>
                    <a:pt x="3" y="10"/>
                  </a:cubicBezTo>
                  <a:cubicBezTo>
                    <a:pt x="3" y="11"/>
                    <a:pt x="4" y="11"/>
                    <a:pt x="4" y="11"/>
                  </a:cubicBezTo>
                  <a:cubicBezTo>
                    <a:pt x="5" y="12"/>
                    <a:pt x="6" y="12"/>
                    <a:pt x="6" y="12"/>
                  </a:cubicBezTo>
                  <a:cubicBezTo>
                    <a:pt x="7" y="13"/>
                    <a:pt x="8" y="13"/>
                    <a:pt x="8" y="13"/>
                  </a:cubicBezTo>
                  <a:cubicBezTo>
                    <a:pt x="9" y="13"/>
                    <a:pt x="9" y="14"/>
                    <a:pt x="10" y="14"/>
                  </a:cubicBezTo>
                  <a:cubicBezTo>
                    <a:pt x="10" y="14"/>
                    <a:pt x="11" y="15"/>
                    <a:pt x="11" y="15"/>
                  </a:cubicBezTo>
                  <a:cubicBezTo>
                    <a:pt x="11" y="15"/>
                    <a:pt x="12" y="16"/>
                    <a:pt x="12" y="16"/>
                  </a:cubicBezTo>
                  <a:cubicBezTo>
                    <a:pt x="12" y="17"/>
                    <a:pt x="11" y="18"/>
                    <a:pt x="11" y="18"/>
                  </a:cubicBezTo>
                  <a:cubicBezTo>
                    <a:pt x="11" y="18"/>
                    <a:pt x="11" y="19"/>
                    <a:pt x="10" y="19"/>
                  </a:cubicBezTo>
                  <a:cubicBezTo>
                    <a:pt x="10" y="19"/>
                    <a:pt x="9" y="19"/>
                    <a:pt x="9" y="20"/>
                  </a:cubicBezTo>
                  <a:cubicBezTo>
                    <a:pt x="8" y="20"/>
                    <a:pt x="8" y="20"/>
                    <a:pt x="7" y="20"/>
                  </a:cubicBezTo>
                  <a:cubicBezTo>
                    <a:pt x="6" y="20"/>
                    <a:pt x="6" y="20"/>
                    <a:pt x="5" y="20"/>
                  </a:cubicBezTo>
                  <a:cubicBezTo>
                    <a:pt x="4" y="19"/>
                    <a:pt x="4" y="19"/>
                    <a:pt x="3" y="19"/>
                  </a:cubicBezTo>
                  <a:cubicBezTo>
                    <a:pt x="3" y="19"/>
                    <a:pt x="2" y="18"/>
                    <a:pt x="2" y="18"/>
                  </a:cubicBezTo>
                  <a:cubicBezTo>
                    <a:pt x="2" y="18"/>
                    <a:pt x="1" y="18"/>
                    <a:pt x="1" y="18"/>
                  </a:cubicBezTo>
                  <a:cubicBezTo>
                    <a:pt x="1" y="18"/>
                    <a:pt x="1" y="18"/>
                    <a:pt x="1" y="18"/>
                  </a:cubicBezTo>
                  <a:cubicBezTo>
                    <a:pt x="1" y="18"/>
                    <a:pt x="1" y="18"/>
                    <a:pt x="1" y="18"/>
                  </a:cubicBezTo>
                  <a:cubicBezTo>
                    <a:pt x="1" y="18"/>
                    <a:pt x="1" y="18"/>
                    <a:pt x="0" y="19"/>
                  </a:cubicBezTo>
                  <a:cubicBezTo>
                    <a:pt x="0" y="19"/>
                    <a:pt x="0" y="19"/>
                    <a:pt x="0" y="19"/>
                  </a:cubicBezTo>
                  <a:cubicBezTo>
                    <a:pt x="0" y="20"/>
                    <a:pt x="0" y="20"/>
                    <a:pt x="1" y="21"/>
                  </a:cubicBezTo>
                  <a:cubicBezTo>
                    <a:pt x="1" y="21"/>
                    <a:pt x="1" y="21"/>
                    <a:pt x="1" y="21"/>
                  </a:cubicBezTo>
                  <a:cubicBezTo>
                    <a:pt x="1" y="21"/>
                    <a:pt x="1" y="22"/>
                    <a:pt x="2" y="22"/>
                  </a:cubicBezTo>
                  <a:cubicBezTo>
                    <a:pt x="2" y="22"/>
                    <a:pt x="3" y="22"/>
                    <a:pt x="3" y="22"/>
                  </a:cubicBezTo>
                  <a:cubicBezTo>
                    <a:pt x="4" y="22"/>
                    <a:pt x="4" y="23"/>
                    <a:pt x="5" y="23"/>
                  </a:cubicBezTo>
                  <a:cubicBezTo>
                    <a:pt x="6" y="23"/>
                    <a:pt x="6" y="23"/>
                    <a:pt x="7" y="23"/>
                  </a:cubicBezTo>
                  <a:cubicBezTo>
                    <a:pt x="8" y="23"/>
                    <a:pt x="9" y="23"/>
                    <a:pt x="10" y="22"/>
                  </a:cubicBezTo>
                  <a:cubicBezTo>
                    <a:pt x="11" y="22"/>
                    <a:pt x="12" y="22"/>
                    <a:pt x="13" y="21"/>
                  </a:cubicBezTo>
                  <a:cubicBezTo>
                    <a:pt x="14" y="21"/>
                    <a:pt x="14" y="20"/>
                    <a:pt x="15" y="19"/>
                  </a:cubicBezTo>
                  <a:cubicBezTo>
                    <a:pt x="15" y="18"/>
                    <a:pt x="15" y="17"/>
                    <a:pt x="15" y="16"/>
                  </a:cubicBezTo>
                  <a:cubicBezTo>
                    <a:pt x="15" y="15"/>
                    <a:pt x="15" y="14"/>
                    <a:pt x="15"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167">
              <a:extLst>
                <a:ext uri="{FF2B5EF4-FFF2-40B4-BE49-F238E27FC236}">
                  <a16:creationId xmlns:a16="http://schemas.microsoft.com/office/drawing/2014/main" id="{36DCD8FA-F725-415B-B4AB-564008EF0038}"/>
                </a:ext>
              </a:extLst>
            </p:cNvPr>
            <p:cNvSpPr>
              <a:spLocks/>
            </p:cNvSpPr>
            <p:nvPr/>
          </p:nvSpPr>
          <p:spPr bwMode="auto">
            <a:xfrm>
              <a:off x="8951589" y="5874011"/>
              <a:ext cx="62046" cy="105333"/>
            </a:xfrm>
            <a:custGeom>
              <a:avLst/>
              <a:gdLst>
                <a:gd name="T0" fmla="*/ 18 w 18"/>
                <a:gd name="T1" fmla="*/ 19 h 31"/>
                <a:gd name="T2" fmla="*/ 16 w 18"/>
                <a:gd name="T3" fmla="*/ 17 h 31"/>
                <a:gd name="T4" fmla="*/ 14 w 18"/>
                <a:gd name="T5" fmla="*/ 15 h 31"/>
                <a:gd name="T6" fmla="*/ 12 w 18"/>
                <a:gd name="T7" fmla="*/ 14 h 31"/>
                <a:gd name="T8" fmla="*/ 9 w 18"/>
                <a:gd name="T9" fmla="*/ 12 h 31"/>
                <a:gd name="T10" fmla="*/ 7 w 18"/>
                <a:gd name="T11" fmla="*/ 11 h 31"/>
                <a:gd name="T12" fmla="*/ 5 w 18"/>
                <a:gd name="T13" fmla="*/ 9 h 31"/>
                <a:gd name="T14" fmla="*/ 5 w 18"/>
                <a:gd name="T15" fmla="*/ 7 h 31"/>
                <a:gd name="T16" fmla="*/ 5 w 18"/>
                <a:gd name="T17" fmla="*/ 6 h 31"/>
                <a:gd name="T18" fmla="*/ 6 w 18"/>
                <a:gd name="T19" fmla="*/ 4 h 31"/>
                <a:gd name="T20" fmla="*/ 7 w 18"/>
                <a:gd name="T21" fmla="*/ 3 h 31"/>
                <a:gd name="T22" fmla="*/ 10 w 18"/>
                <a:gd name="T23" fmla="*/ 3 h 31"/>
                <a:gd name="T24" fmla="*/ 12 w 18"/>
                <a:gd name="T25" fmla="*/ 3 h 31"/>
                <a:gd name="T26" fmla="*/ 14 w 18"/>
                <a:gd name="T27" fmla="*/ 4 h 31"/>
                <a:gd name="T28" fmla="*/ 15 w 18"/>
                <a:gd name="T29" fmla="*/ 5 h 31"/>
                <a:gd name="T30" fmla="*/ 16 w 18"/>
                <a:gd name="T31" fmla="*/ 5 h 31"/>
                <a:gd name="T32" fmla="*/ 16 w 18"/>
                <a:gd name="T33" fmla="*/ 5 h 31"/>
                <a:gd name="T34" fmla="*/ 17 w 18"/>
                <a:gd name="T35" fmla="*/ 5 h 31"/>
                <a:gd name="T36" fmla="*/ 17 w 18"/>
                <a:gd name="T37" fmla="*/ 4 h 31"/>
                <a:gd name="T38" fmla="*/ 17 w 18"/>
                <a:gd name="T39" fmla="*/ 3 h 31"/>
                <a:gd name="T40" fmla="*/ 17 w 18"/>
                <a:gd name="T41" fmla="*/ 3 h 31"/>
                <a:gd name="T42" fmla="*/ 17 w 18"/>
                <a:gd name="T43" fmla="*/ 2 h 31"/>
                <a:gd name="T44" fmla="*/ 17 w 18"/>
                <a:gd name="T45" fmla="*/ 2 h 31"/>
                <a:gd name="T46" fmla="*/ 16 w 18"/>
                <a:gd name="T47" fmla="*/ 2 h 31"/>
                <a:gd name="T48" fmla="*/ 15 w 18"/>
                <a:gd name="T49" fmla="*/ 1 h 31"/>
                <a:gd name="T50" fmla="*/ 14 w 18"/>
                <a:gd name="T51" fmla="*/ 0 h 31"/>
                <a:gd name="T52" fmla="*/ 12 w 18"/>
                <a:gd name="T53" fmla="*/ 0 h 31"/>
                <a:gd name="T54" fmla="*/ 10 w 18"/>
                <a:gd name="T55" fmla="*/ 0 h 31"/>
                <a:gd name="T56" fmla="*/ 6 w 18"/>
                <a:gd name="T57" fmla="*/ 0 h 31"/>
                <a:gd name="T58" fmla="*/ 3 w 18"/>
                <a:gd name="T59" fmla="*/ 2 h 31"/>
                <a:gd name="T60" fmla="*/ 1 w 18"/>
                <a:gd name="T61" fmla="*/ 4 h 31"/>
                <a:gd name="T62" fmla="*/ 1 w 18"/>
                <a:gd name="T63" fmla="*/ 8 h 31"/>
                <a:gd name="T64" fmla="*/ 1 w 18"/>
                <a:gd name="T65" fmla="*/ 11 h 31"/>
                <a:gd name="T66" fmla="*/ 3 w 18"/>
                <a:gd name="T67" fmla="*/ 13 h 31"/>
                <a:gd name="T68" fmla="*/ 5 w 18"/>
                <a:gd name="T69" fmla="*/ 15 h 31"/>
                <a:gd name="T70" fmla="*/ 7 w 18"/>
                <a:gd name="T71" fmla="*/ 16 h 31"/>
                <a:gd name="T72" fmla="*/ 10 w 18"/>
                <a:gd name="T73" fmla="*/ 17 h 31"/>
                <a:gd name="T74" fmla="*/ 12 w 18"/>
                <a:gd name="T75" fmla="*/ 19 h 31"/>
                <a:gd name="T76" fmla="*/ 14 w 18"/>
                <a:gd name="T77" fmla="*/ 20 h 31"/>
                <a:gd name="T78" fmla="*/ 14 w 18"/>
                <a:gd name="T79" fmla="*/ 22 h 31"/>
                <a:gd name="T80" fmla="*/ 14 w 18"/>
                <a:gd name="T81" fmla="*/ 25 h 31"/>
                <a:gd name="T82" fmla="*/ 13 w 18"/>
                <a:gd name="T83" fmla="*/ 26 h 31"/>
                <a:gd name="T84" fmla="*/ 11 w 18"/>
                <a:gd name="T85" fmla="*/ 27 h 31"/>
                <a:gd name="T86" fmla="*/ 8 w 18"/>
                <a:gd name="T87" fmla="*/ 27 h 31"/>
                <a:gd name="T88" fmla="*/ 5 w 18"/>
                <a:gd name="T89" fmla="*/ 27 h 31"/>
                <a:gd name="T90" fmla="*/ 3 w 18"/>
                <a:gd name="T91" fmla="*/ 26 h 31"/>
                <a:gd name="T92" fmla="*/ 1 w 18"/>
                <a:gd name="T93" fmla="*/ 25 h 31"/>
                <a:gd name="T94" fmla="*/ 1 w 18"/>
                <a:gd name="T95" fmla="*/ 25 h 31"/>
                <a:gd name="T96" fmla="*/ 0 w 18"/>
                <a:gd name="T97" fmla="*/ 25 h 31"/>
                <a:gd name="T98" fmla="*/ 0 w 18"/>
                <a:gd name="T99" fmla="*/ 25 h 31"/>
                <a:gd name="T100" fmla="*/ 0 w 18"/>
                <a:gd name="T101" fmla="*/ 26 h 31"/>
                <a:gd name="T102" fmla="*/ 0 w 18"/>
                <a:gd name="T103" fmla="*/ 27 h 31"/>
                <a:gd name="T104" fmla="*/ 0 w 18"/>
                <a:gd name="T105" fmla="*/ 28 h 31"/>
                <a:gd name="T106" fmla="*/ 0 w 18"/>
                <a:gd name="T107" fmla="*/ 29 h 31"/>
                <a:gd name="T108" fmla="*/ 1 w 18"/>
                <a:gd name="T109" fmla="*/ 29 h 31"/>
                <a:gd name="T110" fmla="*/ 3 w 18"/>
                <a:gd name="T111" fmla="*/ 30 h 31"/>
                <a:gd name="T112" fmla="*/ 5 w 18"/>
                <a:gd name="T113" fmla="*/ 31 h 31"/>
                <a:gd name="T114" fmla="*/ 8 w 18"/>
                <a:gd name="T115" fmla="*/ 31 h 31"/>
                <a:gd name="T116" fmla="*/ 12 w 18"/>
                <a:gd name="T117" fmla="*/ 30 h 31"/>
                <a:gd name="T118" fmla="*/ 16 w 18"/>
                <a:gd name="T119" fmla="*/ 29 h 31"/>
                <a:gd name="T120" fmla="*/ 18 w 18"/>
                <a:gd name="T121" fmla="*/ 26 h 31"/>
                <a:gd name="T122" fmla="*/ 18 w 18"/>
                <a:gd name="T123" fmla="*/ 22 h 31"/>
                <a:gd name="T124" fmla="*/ 18 w 18"/>
                <a:gd name="T12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 h="31">
                  <a:moveTo>
                    <a:pt x="18" y="19"/>
                  </a:moveTo>
                  <a:cubicBezTo>
                    <a:pt x="17" y="18"/>
                    <a:pt x="17" y="17"/>
                    <a:pt x="16" y="17"/>
                  </a:cubicBezTo>
                  <a:cubicBezTo>
                    <a:pt x="16" y="16"/>
                    <a:pt x="15" y="15"/>
                    <a:pt x="14" y="15"/>
                  </a:cubicBezTo>
                  <a:cubicBezTo>
                    <a:pt x="13" y="14"/>
                    <a:pt x="12" y="14"/>
                    <a:pt x="12" y="14"/>
                  </a:cubicBezTo>
                  <a:cubicBezTo>
                    <a:pt x="11" y="13"/>
                    <a:pt x="10" y="13"/>
                    <a:pt x="9" y="12"/>
                  </a:cubicBezTo>
                  <a:cubicBezTo>
                    <a:pt x="8" y="12"/>
                    <a:pt x="7" y="12"/>
                    <a:pt x="7" y="11"/>
                  </a:cubicBezTo>
                  <a:cubicBezTo>
                    <a:pt x="6" y="11"/>
                    <a:pt x="6" y="10"/>
                    <a:pt x="5" y="9"/>
                  </a:cubicBezTo>
                  <a:cubicBezTo>
                    <a:pt x="5" y="9"/>
                    <a:pt x="5" y="8"/>
                    <a:pt x="5" y="7"/>
                  </a:cubicBezTo>
                  <a:cubicBezTo>
                    <a:pt x="5" y="7"/>
                    <a:pt x="5" y="6"/>
                    <a:pt x="5" y="6"/>
                  </a:cubicBezTo>
                  <a:cubicBezTo>
                    <a:pt x="5" y="5"/>
                    <a:pt x="5" y="5"/>
                    <a:pt x="6" y="4"/>
                  </a:cubicBezTo>
                  <a:cubicBezTo>
                    <a:pt x="6" y="4"/>
                    <a:pt x="7" y="4"/>
                    <a:pt x="7" y="3"/>
                  </a:cubicBezTo>
                  <a:cubicBezTo>
                    <a:pt x="8" y="3"/>
                    <a:pt x="9" y="3"/>
                    <a:pt x="10" y="3"/>
                  </a:cubicBezTo>
                  <a:cubicBezTo>
                    <a:pt x="11" y="3"/>
                    <a:pt x="11" y="3"/>
                    <a:pt x="12" y="3"/>
                  </a:cubicBezTo>
                  <a:cubicBezTo>
                    <a:pt x="13" y="4"/>
                    <a:pt x="13" y="4"/>
                    <a:pt x="14" y="4"/>
                  </a:cubicBezTo>
                  <a:cubicBezTo>
                    <a:pt x="15" y="4"/>
                    <a:pt x="15" y="5"/>
                    <a:pt x="15" y="5"/>
                  </a:cubicBezTo>
                  <a:cubicBezTo>
                    <a:pt x="16" y="5"/>
                    <a:pt x="16" y="5"/>
                    <a:pt x="16" y="5"/>
                  </a:cubicBezTo>
                  <a:cubicBezTo>
                    <a:pt x="16" y="5"/>
                    <a:pt x="16" y="5"/>
                    <a:pt x="16" y="5"/>
                  </a:cubicBezTo>
                  <a:cubicBezTo>
                    <a:pt x="17" y="5"/>
                    <a:pt x="17" y="5"/>
                    <a:pt x="17" y="5"/>
                  </a:cubicBezTo>
                  <a:cubicBezTo>
                    <a:pt x="17" y="5"/>
                    <a:pt x="17" y="4"/>
                    <a:pt x="17" y="4"/>
                  </a:cubicBezTo>
                  <a:cubicBezTo>
                    <a:pt x="17" y="4"/>
                    <a:pt x="17" y="4"/>
                    <a:pt x="17" y="3"/>
                  </a:cubicBezTo>
                  <a:cubicBezTo>
                    <a:pt x="17" y="3"/>
                    <a:pt x="17" y="3"/>
                    <a:pt x="17" y="3"/>
                  </a:cubicBezTo>
                  <a:cubicBezTo>
                    <a:pt x="17" y="3"/>
                    <a:pt x="17" y="2"/>
                    <a:pt x="17" y="2"/>
                  </a:cubicBezTo>
                  <a:cubicBezTo>
                    <a:pt x="17" y="2"/>
                    <a:pt x="17" y="2"/>
                    <a:pt x="17" y="2"/>
                  </a:cubicBezTo>
                  <a:cubicBezTo>
                    <a:pt x="17" y="2"/>
                    <a:pt x="16" y="2"/>
                    <a:pt x="16" y="2"/>
                  </a:cubicBezTo>
                  <a:cubicBezTo>
                    <a:pt x="16" y="1"/>
                    <a:pt x="16" y="1"/>
                    <a:pt x="15" y="1"/>
                  </a:cubicBezTo>
                  <a:cubicBezTo>
                    <a:pt x="15" y="1"/>
                    <a:pt x="14" y="1"/>
                    <a:pt x="14" y="0"/>
                  </a:cubicBezTo>
                  <a:cubicBezTo>
                    <a:pt x="13" y="0"/>
                    <a:pt x="12" y="0"/>
                    <a:pt x="12" y="0"/>
                  </a:cubicBezTo>
                  <a:cubicBezTo>
                    <a:pt x="11" y="0"/>
                    <a:pt x="10" y="0"/>
                    <a:pt x="10" y="0"/>
                  </a:cubicBezTo>
                  <a:cubicBezTo>
                    <a:pt x="8" y="0"/>
                    <a:pt x="7" y="0"/>
                    <a:pt x="6" y="0"/>
                  </a:cubicBezTo>
                  <a:cubicBezTo>
                    <a:pt x="5" y="1"/>
                    <a:pt x="4" y="1"/>
                    <a:pt x="3" y="2"/>
                  </a:cubicBezTo>
                  <a:cubicBezTo>
                    <a:pt x="2" y="2"/>
                    <a:pt x="2" y="3"/>
                    <a:pt x="1" y="4"/>
                  </a:cubicBezTo>
                  <a:cubicBezTo>
                    <a:pt x="1" y="5"/>
                    <a:pt x="1" y="6"/>
                    <a:pt x="1" y="8"/>
                  </a:cubicBezTo>
                  <a:cubicBezTo>
                    <a:pt x="1" y="9"/>
                    <a:pt x="1" y="10"/>
                    <a:pt x="1" y="11"/>
                  </a:cubicBezTo>
                  <a:cubicBezTo>
                    <a:pt x="2" y="12"/>
                    <a:pt x="2" y="12"/>
                    <a:pt x="3" y="13"/>
                  </a:cubicBezTo>
                  <a:cubicBezTo>
                    <a:pt x="3" y="14"/>
                    <a:pt x="4" y="14"/>
                    <a:pt x="5" y="15"/>
                  </a:cubicBezTo>
                  <a:cubicBezTo>
                    <a:pt x="6" y="15"/>
                    <a:pt x="7" y="16"/>
                    <a:pt x="7" y="16"/>
                  </a:cubicBezTo>
                  <a:cubicBezTo>
                    <a:pt x="8" y="17"/>
                    <a:pt x="9" y="17"/>
                    <a:pt x="10" y="17"/>
                  </a:cubicBezTo>
                  <a:cubicBezTo>
                    <a:pt x="11" y="18"/>
                    <a:pt x="11" y="18"/>
                    <a:pt x="12" y="19"/>
                  </a:cubicBezTo>
                  <a:cubicBezTo>
                    <a:pt x="13" y="19"/>
                    <a:pt x="13" y="20"/>
                    <a:pt x="14" y="20"/>
                  </a:cubicBezTo>
                  <a:cubicBezTo>
                    <a:pt x="14" y="21"/>
                    <a:pt x="14" y="22"/>
                    <a:pt x="14" y="22"/>
                  </a:cubicBezTo>
                  <a:cubicBezTo>
                    <a:pt x="14" y="23"/>
                    <a:pt x="14" y="24"/>
                    <a:pt x="14" y="25"/>
                  </a:cubicBezTo>
                  <a:cubicBezTo>
                    <a:pt x="14" y="25"/>
                    <a:pt x="13" y="26"/>
                    <a:pt x="13" y="26"/>
                  </a:cubicBezTo>
                  <a:cubicBezTo>
                    <a:pt x="12" y="27"/>
                    <a:pt x="11" y="27"/>
                    <a:pt x="11" y="27"/>
                  </a:cubicBezTo>
                  <a:cubicBezTo>
                    <a:pt x="10" y="27"/>
                    <a:pt x="9" y="27"/>
                    <a:pt x="8" y="27"/>
                  </a:cubicBezTo>
                  <a:cubicBezTo>
                    <a:pt x="7" y="27"/>
                    <a:pt x="6" y="27"/>
                    <a:pt x="5" y="27"/>
                  </a:cubicBezTo>
                  <a:cubicBezTo>
                    <a:pt x="4" y="27"/>
                    <a:pt x="4" y="26"/>
                    <a:pt x="3" y="26"/>
                  </a:cubicBezTo>
                  <a:cubicBezTo>
                    <a:pt x="2" y="26"/>
                    <a:pt x="2" y="26"/>
                    <a:pt x="1" y="25"/>
                  </a:cubicBezTo>
                  <a:cubicBezTo>
                    <a:pt x="1" y="25"/>
                    <a:pt x="1" y="25"/>
                    <a:pt x="1" y="25"/>
                  </a:cubicBezTo>
                  <a:cubicBezTo>
                    <a:pt x="0" y="25"/>
                    <a:pt x="0" y="25"/>
                    <a:pt x="0" y="25"/>
                  </a:cubicBezTo>
                  <a:cubicBezTo>
                    <a:pt x="0" y="25"/>
                    <a:pt x="0" y="25"/>
                    <a:pt x="0" y="25"/>
                  </a:cubicBezTo>
                  <a:cubicBezTo>
                    <a:pt x="0" y="25"/>
                    <a:pt x="0" y="26"/>
                    <a:pt x="0" y="26"/>
                  </a:cubicBezTo>
                  <a:cubicBezTo>
                    <a:pt x="0" y="26"/>
                    <a:pt x="0" y="26"/>
                    <a:pt x="0" y="27"/>
                  </a:cubicBezTo>
                  <a:cubicBezTo>
                    <a:pt x="0" y="27"/>
                    <a:pt x="0" y="28"/>
                    <a:pt x="0" y="28"/>
                  </a:cubicBezTo>
                  <a:cubicBezTo>
                    <a:pt x="0" y="28"/>
                    <a:pt x="0" y="28"/>
                    <a:pt x="0" y="29"/>
                  </a:cubicBezTo>
                  <a:cubicBezTo>
                    <a:pt x="1" y="29"/>
                    <a:pt x="1" y="29"/>
                    <a:pt x="1" y="29"/>
                  </a:cubicBezTo>
                  <a:cubicBezTo>
                    <a:pt x="2" y="30"/>
                    <a:pt x="2" y="30"/>
                    <a:pt x="3" y="30"/>
                  </a:cubicBezTo>
                  <a:cubicBezTo>
                    <a:pt x="4" y="30"/>
                    <a:pt x="4" y="30"/>
                    <a:pt x="5" y="31"/>
                  </a:cubicBezTo>
                  <a:cubicBezTo>
                    <a:pt x="6" y="31"/>
                    <a:pt x="7" y="31"/>
                    <a:pt x="8" y="31"/>
                  </a:cubicBezTo>
                  <a:cubicBezTo>
                    <a:pt x="10" y="31"/>
                    <a:pt x="11" y="31"/>
                    <a:pt x="12" y="30"/>
                  </a:cubicBezTo>
                  <a:cubicBezTo>
                    <a:pt x="13" y="30"/>
                    <a:pt x="15" y="29"/>
                    <a:pt x="16" y="29"/>
                  </a:cubicBezTo>
                  <a:cubicBezTo>
                    <a:pt x="16" y="28"/>
                    <a:pt x="17" y="27"/>
                    <a:pt x="18" y="26"/>
                  </a:cubicBezTo>
                  <a:cubicBezTo>
                    <a:pt x="18" y="25"/>
                    <a:pt x="18" y="23"/>
                    <a:pt x="18" y="22"/>
                  </a:cubicBezTo>
                  <a:cubicBezTo>
                    <a:pt x="18" y="21"/>
                    <a:pt x="18" y="20"/>
                    <a:pt x="18" y="1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168">
              <a:extLst>
                <a:ext uri="{FF2B5EF4-FFF2-40B4-BE49-F238E27FC236}">
                  <a16:creationId xmlns:a16="http://schemas.microsoft.com/office/drawing/2014/main" id="{7C1E5548-9CBD-4A1A-8569-8E667D9886B0}"/>
                </a:ext>
              </a:extLst>
            </p:cNvPr>
            <p:cNvSpPr>
              <a:spLocks noEditPoints="1"/>
            </p:cNvSpPr>
            <p:nvPr/>
          </p:nvSpPr>
          <p:spPr bwMode="auto">
            <a:xfrm>
              <a:off x="9026620" y="5901426"/>
              <a:ext cx="69260" cy="77917"/>
            </a:xfrm>
            <a:custGeom>
              <a:avLst/>
              <a:gdLst>
                <a:gd name="T0" fmla="*/ 20 w 20"/>
                <a:gd name="T1" fmla="*/ 10 h 23"/>
                <a:gd name="T2" fmla="*/ 19 w 20"/>
                <a:gd name="T3" fmla="*/ 6 h 23"/>
                <a:gd name="T4" fmla="*/ 18 w 20"/>
                <a:gd name="T5" fmla="*/ 3 h 23"/>
                <a:gd name="T6" fmla="*/ 15 w 20"/>
                <a:gd name="T7" fmla="*/ 1 h 23"/>
                <a:gd name="T8" fmla="*/ 11 w 20"/>
                <a:gd name="T9" fmla="*/ 0 h 23"/>
                <a:gd name="T10" fmla="*/ 6 w 20"/>
                <a:gd name="T11" fmla="*/ 1 h 23"/>
                <a:gd name="T12" fmla="*/ 3 w 20"/>
                <a:gd name="T13" fmla="*/ 3 h 23"/>
                <a:gd name="T14" fmla="*/ 1 w 20"/>
                <a:gd name="T15" fmla="*/ 7 h 23"/>
                <a:gd name="T16" fmla="*/ 0 w 20"/>
                <a:gd name="T17" fmla="*/ 11 h 23"/>
                <a:gd name="T18" fmla="*/ 1 w 20"/>
                <a:gd name="T19" fmla="*/ 16 h 23"/>
                <a:gd name="T20" fmla="*/ 3 w 20"/>
                <a:gd name="T21" fmla="*/ 20 h 23"/>
                <a:gd name="T22" fmla="*/ 6 w 20"/>
                <a:gd name="T23" fmla="*/ 22 h 23"/>
                <a:gd name="T24" fmla="*/ 11 w 20"/>
                <a:gd name="T25" fmla="*/ 23 h 23"/>
                <a:gd name="T26" fmla="*/ 14 w 20"/>
                <a:gd name="T27" fmla="*/ 23 h 23"/>
                <a:gd name="T28" fmla="*/ 16 w 20"/>
                <a:gd name="T29" fmla="*/ 22 h 23"/>
                <a:gd name="T30" fmla="*/ 18 w 20"/>
                <a:gd name="T31" fmla="*/ 22 h 23"/>
                <a:gd name="T32" fmla="*/ 18 w 20"/>
                <a:gd name="T33" fmla="*/ 21 h 23"/>
                <a:gd name="T34" fmla="*/ 19 w 20"/>
                <a:gd name="T35" fmla="*/ 21 h 23"/>
                <a:gd name="T36" fmla="*/ 19 w 20"/>
                <a:gd name="T37" fmla="*/ 21 h 23"/>
                <a:gd name="T38" fmla="*/ 19 w 20"/>
                <a:gd name="T39" fmla="*/ 20 h 23"/>
                <a:gd name="T40" fmla="*/ 19 w 20"/>
                <a:gd name="T41" fmla="*/ 20 h 23"/>
                <a:gd name="T42" fmla="*/ 19 w 20"/>
                <a:gd name="T43" fmla="*/ 19 h 23"/>
                <a:gd name="T44" fmla="*/ 19 w 20"/>
                <a:gd name="T45" fmla="*/ 19 h 23"/>
                <a:gd name="T46" fmla="*/ 19 w 20"/>
                <a:gd name="T47" fmla="*/ 18 h 23"/>
                <a:gd name="T48" fmla="*/ 18 w 20"/>
                <a:gd name="T49" fmla="*/ 18 h 23"/>
                <a:gd name="T50" fmla="*/ 17 w 20"/>
                <a:gd name="T51" fmla="*/ 18 h 23"/>
                <a:gd name="T52" fmla="*/ 16 w 20"/>
                <a:gd name="T53" fmla="*/ 19 h 23"/>
                <a:gd name="T54" fmla="*/ 14 w 20"/>
                <a:gd name="T55" fmla="*/ 20 h 23"/>
                <a:gd name="T56" fmla="*/ 11 w 20"/>
                <a:gd name="T57" fmla="*/ 20 h 23"/>
                <a:gd name="T58" fmla="*/ 8 w 20"/>
                <a:gd name="T59" fmla="*/ 19 h 23"/>
                <a:gd name="T60" fmla="*/ 6 w 20"/>
                <a:gd name="T61" fmla="*/ 18 h 23"/>
                <a:gd name="T62" fmla="*/ 5 w 20"/>
                <a:gd name="T63" fmla="*/ 15 h 23"/>
                <a:gd name="T64" fmla="*/ 4 w 20"/>
                <a:gd name="T65" fmla="*/ 12 h 23"/>
                <a:gd name="T66" fmla="*/ 18 w 20"/>
                <a:gd name="T67" fmla="*/ 12 h 23"/>
                <a:gd name="T68" fmla="*/ 19 w 20"/>
                <a:gd name="T69" fmla="*/ 12 h 23"/>
                <a:gd name="T70" fmla="*/ 20 w 20"/>
                <a:gd name="T71" fmla="*/ 10 h 23"/>
                <a:gd name="T72" fmla="*/ 20 w 20"/>
                <a:gd name="T73" fmla="*/ 10 h 23"/>
                <a:gd name="T74" fmla="*/ 4 w 20"/>
                <a:gd name="T75" fmla="*/ 9 h 23"/>
                <a:gd name="T76" fmla="*/ 5 w 20"/>
                <a:gd name="T77" fmla="*/ 7 h 23"/>
                <a:gd name="T78" fmla="*/ 6 w 20"/>
                <a:gd name="T79" fmla="*/ 5 h 23"/>
                <a:gd name="T80" fmla="*/ 8 w 20"/>
                <a:gd name="T81" fmla="*/ 3 h 23"/>
                <a:gd name="T82" fmla="*/ 10 w 20"/>
                <a:gd name="T83" fmla="*/ 3 h 23"/>
                <a:gd name="T84" fmla="*/ 15 w 20"/>
                <a:gd name="T85" fmla="*/ 4 h 23"/>
                <a:gd name="T86" fmla="*/ 16 w 20"/>
                <a:gd name="T87" fmla="*/ 9 h 23"/>
                <a:gd name="T88" fmla="*/ 4 w 20"/>
                <a:gd name="T8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 h="23">
                  <a:moveTo>
                    <a:pt x="20" y="10"/>
                  </a:moveTo>
                  <a:cubicBezTo>
                    <a:pt x="20" y="8"/>
                    <a:pt x="20" y="7"/>
                    <a:pt x="19" y="6"/>
                  </a:cubicBezTo>
                  <a:cubicBezTo>
                    <a:pt x="19" y="5"/>
                    <a:pt x="18" y="4"/>
                    <a:pt x="18" y="3"/>
                  </a:cubicBezTo>
                  <a:cubicBezTo>
                    <a:pt x="17" y="2"/>
                    <a:pt x="16" y="1"/>
                    <a:pt x="15" y="1"/>
                  </a:cubicBezTo>
                  <a:cubicBezTo>
                    <a:pt x="14" y="0"/>
                    <a:pt x="12" y="0"/>
                    <a:pt x="11" y="0"/>
                  </a:cubicBezTo>
                  <a:cubicBezTo>
                    <a:pt x="9" y="0"/>
                    <a:pt x="8" y="0"/>
                    <a:pt x="6" y="1"/>
                  </a:cubicBezTo>
                  <a:cubicBezTo>
                    <a:pt x="5" y="1"/>
                    <a:pt x="4" y="2"/>
                    <a:pt x="3" y="3"/>
                  </a:cubicBezTo>
                  <a:cubicBezTo>
                    <a:pt x="2" y="4"/>
                    <a:pt x="2" y="5"/>
                    <a:pt x="1" y="7"/>
                  </a:cubicBezTo>
                  <a:cubicBezTo>
                    <a:pt x="1" y="8"/>
                    <a:pt x="0" y="10"/>
                    <a:pt x="0" y="11"/>
                  </a:cubicBezTo>
                  <a:cubicBezTo>
                    <a:pt x="0" y="13"/>
                    <a:pt x="1" y="15"/>
                    <a:pt x="1" y="16"/>
                  </a:cubicBezTo>
                  <a:cubicBezTo>
                    <a:pt x="2" y="18"/>
                    <a:pt x="2" y="19"/>
                    <a:pt x="3" y="20"/>
                  </a:cubicBezTo>
                  <a:cubicBezTo>
                    <a:pt x="4" y="21"/>
                    <a:pt x="5" y="22"/>
                    <a:pt x="6" y="22"/>
                  </a:cubicBezTo>
                  <a:cubicBezTo>
                    <a:pt x="8" y="23"/>
                    <a:pt x="9" y="23"/>
                    <a:pt x="11" y="23"/>
                  </a:cubicBezTo>
                  <a:cubicBezTo>
                    <a:pt x="12" y="23"/>
                    <a:pt x="13" y="23"/>
                    <a:pt x="14" y="23"/>
                  </a:cubicBezTo>
                  <a:cubicBezTo>
                    <a:pt x="15" y="23"/>
                    <a:pt x="15" y="22"/>
                    <a:pt x="16" y="22"/>
                  </a:cubicBezTo>
                  <a:cubicBezTo>
                    <a:pt x="17" y="22"/>
                    <a:pt x="17" y="22"/>
                    <a:pt x="18" y="22"/>
                  </a:cubicBezTo>
                  <a:cubicBezTo>
                    <a:pt x="18" y="21"/>
                    <a:pt x="18" y="21"/>
                    <a:pt x="18" y="21"/>
                  </a:cubicBezTo>
                  <a:cubicBezTo>
                    <a:pt x="19" y="21"/>
                    <a:pt x="19" y="21"/>
                    <a:pt x="19" y="21"/>
                  </a:cubicBezTo>
                  <a:cubicBezTo>
                    <a:pt x="19" y="21"/>
                    <a:pt x="19" y="21"/>
                    <a:pt x="19" y="21"/>
                  </a:cubicBezTo>
                  <a:cubicBezTo>
                    <a:pt x="19" y="20"/>
                    <a:pt x="19" y="20"/>
                    <a:pt x="19" y="20"/>
                  </a:cubicBezTo>
                  <a:cubicBezTo>
                    <a:pt x="19" y="20"/>
                    <a:pt x="19" y="20"/>
                    <a:pt x="19" y="20"/>
                  </a:cubicBezTo>
                  <a:cubicBezTo>
                    <a:pt x="19" y="19"/>
                    <a:pt x="19" y="19"/>
                    <a:pt x="19" y="19"/>
                  </a:cubicBezTo>
                  <a:cubicBezTo>
                    <a:pt x="19" y="19"/>
                    <a:pt x="19" y="19"/>
                    <a:pt x="19" y="19"/>
                  </a:cubicBezTo>
                  <a:cubicBezTo>
                    <a:pt x="19" y="18"/>
                    <a:pt x="19" y="18"/>
                    <a:pt x="19" y="18"/>
                  </a:cubicBezTo>
                  <a:cubicBezTo>
                    <a:pt x="18" y="18"/>
                    <a:pt x="18" y="18"/>
                    <a:pt x="18" y="18"/>
                  </a:cubicBezTo>
                  <a:cubicBezTo>
                    <a:pt x="18" y="18"/>
                    <a:pt x="18" y="18"/>
                    <a:pt x="17" y="18"/>
                  </a:cubicBezTo>
                  <a:cubicBezTo>
                    <a:pt x="17" y="19"/>
                    <a:pt x="17" y="19"/>
                    <a:pt x="16" y="19"/>
                  </a:cubicBezTo>
                  <a:cubicBezTo>
                    <a:pt x="15" y="19"/>
                    <a:pt x="15" y="19"/>
                    <a:pt x="14" y="20"/>
                  </a:cubicBezTo>
                  <a:cubicBezTo>
                    <a:pt x="13" y="20"/>
                    <a:pt x="12" y="20"/>
                    <a:pt x="11" y="20"/>
                  </a:cubicBezTo>
                  <a:cubicBezTo>
                    <a:pt x="10" y="20"/>
                    <a:pt x="9" y="20"/>
                    <a:pt x="8" y="19"/>
                  </a:cubicBezTo>
                  <a:cubicBezTo>
                    <a:pt x="7" y="19"/>
                    <a:pt x="6" y="18"/>
                    <a:pt x="6" y="18"/>
                  </a:cubicBezTo>
                  <a:cubicBezTo>
                    <a:pt x="5" y="17"/>
                    <a:pt x="5" y="16"/>
                    <a:pt x="5" y="15"/>
                  </a:cubicBezTo>
                  <a:cubicBezTo>
                    <a:pt x="5" y="14"/>
                    <a:pt x="4" y="13"/>
                    <a:pt x="4" y="12"/>
                  </a:cubicBezTo>
                  <a:cubicBezTo>
                    <a:pt x="18" y="12"/>
                    <a:pt x="18" y="12"/>
                    <a:pt x="18" y="12"/>
                  </a:cubicBezTo>
                  <a:cubicBezTo>
                    <a:pt x="19" y="12"/>
                    <a:pt x="19" y="12"/>
                    <a:pt x="19" y="12"/>
                  </a:cubicBezTo>
                  <a:cubicBezTo>
                    <a:pt x="20" y="11"/>
                    <a:pt x="20" y="11"/>
                    <a:pt x="20" y="10"/>
                  </a:cubicBezTo>
                  <a:cubicBezTo>
                    <a:pt x="20" y="10"/>
                    <a:pt x="20" y="10"/>
                    <a:pt x="20" y="10"/>
                  </a:cubicBezTo>
                  <a:close/>
                  <a:moveTo>
                    <a:pt x="4" y="9"/>
                  </a:moveTo>
                  <a:cubicBezTo>
                    <a:pt x="4" y="8"/>
                    <a:pt x="5" y="8"/>
                    <a:pt x="5" y="7"/>
                  </a:cubicBezTo>
                  <a:cubicBezTo>
                    <a:pt x="5" y="6"/>
                    <a:pt x="5" y="5"/>
                    <a:pt x="6" y="5"/>
                  </a:cubicBezTo>
                  <a:cubicBezTo>
                    <a:pt x="6" y="4"/>
                    <a:pt x="7" y="4"/>
                    <a:pt x="8" y="3"/>
                  </a:cubicBezTo>
                  <a:cubicBezTo>
                    <a:pt x="9" y="3"/>
                    <a:pt x="9" y="3"/>
                    <a:pt x="10" y="3"/>
                  </a:cubicBezTo>
                  <a:cubicBezTo>
                    <a:pt x="12" y="3"/>
                    <a:pt x="14" y="3"/>
                    <a:pt x="15" y="4"/>
                  </a:cubicBezTo>
                  <a:cubicBezTo>
                    <a:pt x="16" y="6"/>
                    <a:pt x="16" y="7"/>
                    <a:pt x="16" y="9"/>
                  </a:cubicBezTo>
                  <a:cubicBezTo>
                    <a:pt x="4" y="9"/>
                    <a:pt x="4" y="9"/>
                    <a:pt x="4" y="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169">
              <a:extLst>
                <a:ext uri="{FF2B5EF4-FFF2-40B4-BE49-F238E27FC236}">
                  <a16:creationId xmlns:a16="http://schemas.microsoft.com/office/drawing/2014/main" id="{812D76A1-9647-4FB6-8D7C-CBEC059F47FC}"/>
                </a:ext>
              </a:extLst>
            </p:cNvPr>
            <p:cNvSpPr>
              <a:spLocks/>
            </p:cNvSpPr>
            <p:nvPr/>
          </p:nvSpPr>
          <p:spPr bwMode="auto">
            <a:xfrm>
              <a:off x="9116081" y="5901426"/>
              <a:ext cx="40402" cy="77917"/>
            </a:xfrm>
            <a:custGeom>
              <a:avLst/>
              <a:gdLst>
                <a:gd name="T0" fmla="*/ 12 w 12"/>
                <a:gd name="T1" fmla="*/ 1 h 23"/>
                <a:gd name="T2" fmla="*/ 12 w 12"/>
                <a:gd name="T3" fmla="*/ 1 h 23"/>
                <a:gd name="T4" fmla="*/ 12 w 12"/>
                <a:gd name="T5" fmla="*/ 1 h 23"/>
                <a:gd name="T6" fmla="*/ 12 w 12"/>
                <a:gd name="T7" fmla="*/ 0 h 23"/>
                <a:gd name="T8" fmla="*/ 11 w 12"/>
                <a:gd name="T9" fmla="*/ 0 h 23"/>
                <a:gd name="T10" fmla="*/ 11 w 12"/>
                <a:gd name="T11" fmla="*/ 0 h 23"/>
                <a:gd name="T12" fmla="*/ 10 w 12"/>
                <a:gd name="T13" fmla="*/ 0 h 23"/>
                <a:gd name="T14" fmla="*/ 9 w 12"/>
                <a:gd name="T15" fmla="*/ 0 h 23"/>
                <a:gd name="T16" fmla="*/ 8 w 12"/>
                <a:gd name="T17" fmla="*/ 0 h 23"/>
                <a:gd name="T18" fmla="*/ 6 w 12"/>
                <a:gd name="T19" fmla="*/ 1 h 23"/>
                <a:gd name="T20" fmla="*/ 5 w 12"/>
                <a:gd name="T21" fmla="*/ 2 h 23"/>
                <a:gd name="T22" fmla="*/ 3 w 12"/>
                <a:gd name="T23" fmla="*/ 4 h 23"/>
                <a:gd name="T24" fmla="*/ 3 w 12"/>
                <a:gd name="T25" fmla="*/ 1 h 23"/>
                <a:gd name="T26" fmla="*/ 3 w 12"/>
                <a:gd name="T27" fmla="*/ 0 h 23"/>
                <a:gd name="T28" fmla="*/ 3 w 12"/>
                <a:gd name="T29" fmla="*/ 0 h 23"/>
                <a:gd name="T30" fmla="*/ 2 w 12"/>
                <a:gd name="T31" fmla="*/ 0 h 23"/>
                <a:gd name="T32" fmla="*/ 2 w 12"/>
                <a:gd name="T33" fmla="*/ 0 h 23"/>
                <a:gd name="T34" fmla="*/ 1 w 12"/>
                <a:gd name="T35" fmla="*/ 0 h 23"/>
                <a:gd name="T36" fmla="*/ 0 w 12"/>
                <a:gd name="T37" fmla="*/ 0 h 23"/>
                <a:gd name="T38" fmla="*/ 0 w 12"/>
                <a:gd name="T39" fmla="*/ 0 h 23"/>
                <a:gd name="T40" fmla="*/ 0 w 12"/>
                <a:gd name="T41" fmla="*/ 1 h 23"/>
                <a:gd name="T42" fmla="*/ 0 w 12"/>
                <a:gd name="T43" fmla="*/ 22 h 23"/>
                <a:gd name="T44" fmla="*/ 0 w 12"/>
                <a:gd name="T45" fmla="*/ 22 h 23"/>
                <a:gd name="T46" fmla="*/ 0 w 12"/>
                <a:gd name="T47" fmla="*/ 22 h 23"/>
                <a:gd name="T48" fmla="*/ 1 w 12"/>
                <a:gd name="T49" fmla="*/ 23 h 23"/>
                <a:gd name="T50" fmla="*/ 2 w 12"/>
                <a:gd name="T51" fmla="*/ 23 h 23"/>
                <a:gd name="T52" fmla="*/ 3 w 12"/>
                <a:gd name="T53" fmla="*/ 23 h 23"/>
                <a:gd name="T54" fmla="*/ 3 w 12"/>
                <a:gd name="T55" fmla="*/ 22 h 23"/>
                <a:gd name="T56" fmla="*/ 4 w 12"/>
                <a:gd name="T57" fmla="*/ 22 h 23"/>
                <a:gd name="T58" fmla="*/ 4 w 12"/>
                <a:gd name="T59" fmla="*/ 22 h 23"/>
                <a:gd name="T60" fmla="*/ 4 w 12"/>
                <a:gd name="T61" fmla="*/ 8 h 23"/>
                <a:gd name="T62" fmla="*/ 5 w 12"/>
                <a:gd name="T63" fmla="*/ 6 h 23"/>
                <a:gd name="T64" fmla="*/ 6 w 12"/>
                <a:gd name="T65" fmla="*/ 4 h 23"/>
                <a:gd name="T66" fmla="*/ 8 w 12"/>
                <a:gd name="T67" fmla="*/ 4 h 23"/>
                <a:gd name="T68" fmla="*/ 9 w 12"/>
                <a:gd name="T69" fmla="*/ 3 h 23"/>
                <a:gd name="T70" fmla="*/ 10 w 12"/>
                <a:gd name="T71" fmla="*/ 3 h 23"/>
                <a:gd name="T72" fmla="*/ 10 w 12"/>
                <a:gd name="T73" fmla="*/ 4 h 23"/>
                <a:gd name="T74" fmla="*/ 11 w 12"/>
                <a:gd name="T75" fmla="*/ 4 h 23"/>
                <a:gd name="T76" fmla="*/ 12 w 12"/>
                <a:gd name="T77" fmla="*/ 4 h 23"/>
                <a:gd name="T78" fmla="*/ 12 w 12"/>
                <a:gd name="T79" fmla="*/ 4 h 23"/>
                <a:gd name="T80" fmla="*/ 12 w 12"/>
                <a:gd name="T81" fmla="*/ 4 h 23"/>
                <a:gd name="T82" fmla="*/ 12 w 12"/>
                <a:gd name="T83" fmla="*/ 3 h 23"/>
                <a:gd name="T84" fmla="*/ 12 w 12"/>
                <a:gd name="T85" fmla="*/ 2 h 23"/>
                <a:gd name="T86" fmla="*/ 12 w 12"/>
                <a:gd name="T8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1"/>
                  </a:moveTo>
                  <a:cubicBezTo>
                    <a:pt x="12" y="1"/>
                    <a:pt x="12" y="1"/>
                    <a:pt x="12" y="1"/>
                  </a:cubicBezTo>
                  <a:cubicBezTo>
                    <a:pt x="12" y="1"/>
                    <a:pt x="12" y="1"/>
                    <a:pt x="12" y="1"/>
                  </a:cubicBezTo>
                  <a:cubicBezTo>
                    <a:pt x="12" y="0"/>
                    <a:pt x="12" y="0"/>
                    <a:pt x="12" y="0"/>
                  </a:cubicBezTo>
                  <a:cubicBezTo>
                    <a:pt x="12" y="0"/>
                    <a:pt x="12" y="0"/>
                    <a:pt x="11" y="0"/>
                  </a:cubicBezTo>
                  <a:cubicBezTo>
                    <a:pt x="11" y="0"/>
                    <a:pt x="11" y="0"/>
                    <a:pt x="11" y="0"/>
                  </a:cubicBezTo>
                  <a:cubicBezTo>
                    <a:pt x="10" y="0"/>
                    <a:pt x="10" y="0"/>
                    <a:pt x="10" y="0"/>
                  </a:cubicBezTo>
                  <a:cubicBezTo>
                    <a:pt x="9" y="0"/>
                    <a:pt x="9" y="0"/>
                    <a:pt x="9" y="0"/>
                  </a:cubicBezTo>
                  <a:cubicBezTo>
                    <a:pt x="9" y="0"/>
                    <a:pt x="8" y="0"/>
                    <a:pt x="8" y="0"/>
                  </a:cubicBezTo>
                  <a:cubicBezTo>
                    <a:pt x="7" y="0"/>
                    <a:pt x="7" y="0"/>
                    <a:pt x="6" y="1"/>
                  </a:cubicBezTo>
                  <a:cubicBezTo>
                    <a:pt x="6" y="1"/>
                    <a:pt x="5" y="1"/>
                    <a:pt x="5" y="2"/>
                  </a:cubicBezTo>
                  <a:cubicBezTo>
                    <a:pt x="4" y="2"/>
                    <a:pt x="4" y="3"/>
                    <a:pt x="3" y="4"/>
                  </a:cubicBezTo>
                  <a:cubicBezTo>
                    <a:pt x="3" y="1"/>
                    <a:pt x="3" y="1"/>
                    <a:pt x="3" y="1"/>
                  </a:cubicBezTo>
                  <a:cubicBezTo>
                    <a:pt x="3" y="1"/>
                    <a:pt x="3" y="1"/>
                    <a:pt x="3" y="0"/>
                  </a:cubicBezTo>
                  <a:cubicBezTo>
                    <a:pt x="3" y="0"/>
                    <a:pt x="3" y="0"/>
                    <a:pt x="3" y="0"/>
                  </a:cubicBezTo>
                  <a:cubicBezTo>
                    <a:pt x="3" y="0"/>
                    <a:pt x="3" y="0"/>
                    <a:pt x="2" y="0"/>
                  </a:cubicBezTo>
                  <a:cubicBezTo>
                    <a:pt x="2" y="0"/>
                    <a:pt x="2" y="0"/>
                    <a:pt x="2" y="0"/>
                  </a:cubicBezTo>
                  <a:cubicBezTo>
                    <a:pt x="1" y="0"/>
                    <a:pt x="1" y="0"/>
                    <a:pt x="1" y="0"/>
                  </a:cubicBezTo>
                  <a:cubicBezTo>
                    <a:pt x="0" y="0"/>
                    <a:pt x="0" y="0"/>
                    <a:pt x="0" y="0"/>
                  </a:cubicBezTo>
                  <a:cubicBezTo>
                    <a:pt x="0" y="0"/>
                    <a:pt x="0" y="0"/>
                    <a:pt x="0" y="0"/>
                  </a:cubicBezTo>
                  <a:cubicBezTo>
                    <a:pt x="0" y="1"/>
                    <a:pt x="0" y="1"/>
                    <a:pt x="0" y="1"/>
                  </a:cubicBezTo>
                  <a:cubicBezTo>
                    <a:pt x="0" y="22"/>
                    <a:pt x="0" y="22"/>
                    <a:pt x="0" y="22"/>
                  </a:cubicBezTo>
                  <a:cubicBezTo>
                    <a:pt x="0" y="22"/>
                    <a:pt x="0" y="22"/>
                    <a:pt x="0" y="22"/>
                  </a:cubicBezTo>
                  <a:cubicBezTo>
                    <a:pt x="0" y="22"/>
                    <a:pt x="0" y="22"/>
                    <a:pt x="0" y="22"/>
                  </a:cubicBezTo>
                  <a:cubicBezTo>
                    <a:pt x="0" y="22"/>
                    <a:pt x="1" y="23"/>
                    <a:pt x="1" y="23"/>
                  </a:cubicBezTo>
                  <a:cubicBezTo>
                    <a:pt x="1" y="23"/>
                    <a:pt x="1" y="23"/>
                    <a:pt x="2" y="23"/>
                  </a:cubicBezTo>
                  <a:cubicBezTo>
                    <a:pt x="2" y="23"/>
                    <a:pt x="2" y="23"/>
                    <a:pt x="3" y="23"/>
                  </a:cubicBezTo>
                  <a:cubicBezTo>
                    <a:pt x="3" y="23"/>
                    <a:pt x="3" y="22"/>
                    <a:pt x="3" y="22"/>
                  </a:cubicBezTo>
                  <a:cubicBezTo>
                    <a:pt x="3" y="22"/>
                    <a:pt x="3" y="22"/>
                    <a:pt x="4" y="22"/>
                  </a:cubicBezTo>
                  <a:cubicBezTo>
                    <a:pt x="4" y="22"/>
                    <a:pt x="4" y="22"/>
                    <a:pt x="4" y="22"/>
                  </a:cubicBezTo>
                  <a:cubicBezTo>
                    <a:pt x="4" y="8"/>
                    <a:pt x="4" y="8"/>
                    <a:pt x="4" y="8"/>
                  </a:cubicBezTo>
                  <a:cubicBezTo>
                    <a:pt x="4" y="7"/>
                    <a:pt x="5" y="6"/>
                    <a:pt x="5" y="6"/>
                  </a:cubicBezTo>
                  <a:cubicBezTo>
                    <a:pt x="6" y="5"/>
                    <a:pt x="6" y="5"/>
                    <a:pt x="6" y="4"/>
                  </a:cubicBezTo>
                  <a:cubicBezTo>
                    <a:pt x="7" y="4"/>
                    <a:pt x="7" y="4"/>
                    <a:pt x="8" y="4"/>
                  </a:cubicBezTo>
                  <a:cubicBezTo>
                    <a:pt x="8" y="3"/>
                    <a:pt x="8" y="3"/>
                    <a:pt x="9" y="3"/>
                  </a:cubicBezTo>
                  <a:cubicBezTo>
                    <a:pt x="9" y="3"/>
                    <a:pt x="9" y="3"/>
                    <a:pt x="10" y="3"/>
                  </a:cubicBezTo>
                  <a:cubicBezTo>
                    <a:pt x="10" y="4"/>
                    <a:pt x="10" y="4"/>
                    <a:pt x="10" y="4"/>
                  </a:cubicBezTo>
                  <a:cubicBezTo>
                    <a:pt x="11" y="4"/>
                    <a:pt x="11" y="4"/>
                    <a:pt x="11" y="4"/>
                  </a:cubicBezTo>
                  <a:cubicBezTo>
                    <a:pt x="11" y="4"/>
                    <a:pt x="11" y="4"/>
                    <a:pt x="12" y="4"/>
                  </a:cubicBezTo>
                  <a:cubicBezTo>
                    <a:pt x="12" y="4"/>
                    <a:pt x="12" y="4"/>
                    <a:pt x="12" y="4"/>
                  </a:cubicBezTo>
                  <a:cubicBezTo>
                    <a:pt x="12" y="4"/>
                    <a:pt x="12" y="4"/>
                    <a:pt x="12" y="4"/>
                  </a:cubicBezTo>
                  <a:cubicBezTo>
                    <a:pt x="12" y="3"/>
                    <a:pt x="12" y="3"/>
                    <a:pt x="12" y="3"/>
                  </a:cubicBezTo>
                  <a:cubicBezTo>
                    <a:pt x="12" y="3"/>
                    <a:pt x="12" y="3"/>
                    <a:pt x="12" y="2"/>
                  </a:cubicBezTo>
                  <a:cubicBezTo>
                    <a:pt x="12" y="2"/>
                    <a:pt x="12" y="2"/>
                    <a:pt x="12"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170">
              <a:extLst>
                <a:ext uri="{FF2B5EF4-FFF2-40B4-BE49-F238E27FC236}">
                  <a16:creationId xmlns:a16="http://schemas.microsoft.com/office/drawing/2014/main" id="{E20CF8EC-EC94-4B27-AD96-8F72D3BCFDB6}"/>
                </a:ext>
              </a:extLst>
            </p:cNvPr>
            <p:cNvSpPr>
              <a:spLocks/>
            </p:cNvSpPr>
            <p:nvPr/>
          </p:nvSpPr>
          <p:spPr bwMode="auto">
            <a:xfrm>
              <a:off x="9163698" y="5901426"/>
              <a:ext cx="69260" cy="77917"/>
            </a:xfrm>
            <a:custGeom>
              <a:avLst/>
              <a:gdLst>
                <a:gd name="T0" fmla="*/ 20 w 20"/>
                <a:gd name="T1" fmla="*/ 0 h 23"/>
                <a:gd name="T2" fmla="*/ 20 w 20"/>
                <a:gd name="T3" fmla="*/ 0 h 23"/>
                <a:gd name="T4" fmla="*/ 19 w 20"/>
                <a:gd name="T5" fmla="*/ 0 h 23"/>
                <a:gd name="T6" fmla="*/ 19 w 20"/>
                <a:gd name="T7" fmla="*/ 0 h 23"/>
                <a:gd name="T8" fmla="*/ 18 w 20"/>
                <a:gd name="T9" fmla="*/ 0 h 23"/>
                <a:gd name="T10" fmla="*/ 17 w 20"/>
                <a:gd name="T11" fmla="*/ 0 h 23"/>
                <a:gd name="T12" fmla="*/ 17 w 20"/>
                <a:gd name="T13" fmla="*/ 0 h 23"/>
                <a:gd name="T14" fmla="*/ 16 w 20"/>
                <a:gd name="T15" fmla="*/ 1 h 23"/>
                <a:gd name="T16" fmla="*/ 11 w 20"/>
                <a:gd name="T17" fmla="*/ 18 h 23"/>
                <a:gd name="T18" fmla="*/ 10 w 20"/>
                <a:gd name="T19" fmla="*/ 18 h 23"/>
                <a:gd name="T20" fmla="*/ 10 w 20"/>
                <a:gd name="T21" fmla="*/ 18 h 23"/>
                <a:gd name="T22" fmla="*/ 4 w 20"/>
                <a:gd name="T23" fmla="*/ 1 h 23"/>
                <a:gd name="T24" fmla="*/ 4 w 20"/>
                <a:gd name="T25" fmla="*/ 0 h 23"/>
                <a:gd name="T26" fmla="*/ 4 w 20"/>
                <a:gd name="T27" fmla="*/ 0 h 23"/>
                <a:gd name="T28" fmla="*/ 3 w 20"/>
                <a:gd name="T29" fmla="*/ 0 h 23"/>
                <a:gd name="T30" fmla="*/ 2 w 20"/>
                <a:gd name="T31" fmla="*/ 0 h 23"/>
                <a:gd name="T32" fmla="*/ 1 w 20"/>
                <a:gd name="T33" fmla="*/ 0 h 23"/>
                <a:gd name="T34" fmla="*/ 1 w 20"/>
                <a:gd name="T35" fmla="*/ 0 h 23"/>
                <a:gd name="T36" fmla="*/ 0 w 20"/>
                <a:gd name="T37" fmla="*/ 0 h 23"/>
                <a:gd name="T38" fmla="*/ 0 w 20"/>
                <a:gd name="T39" fmla="*/ 1 h 23"/>
                <a:gd name="T40" fmla="*/ 0 w 20"/>
                <a:gd name="T41" fmla="*/ 1 h 23"/>
                <a:gd name="T42" fmla="*/ 0 w 20"/>
                <a:gd name="T43" fmla="*/ 1 h 23"/>
                <a:gd name="T44" fmla="*/ 0 w 20"/>
                <a:gd name="T45" fmla="*/ 2 h 23"/>
                <a:gd name="T46" fmla="*/ 8 w 20"/>
                <a:gd name="T47" fmla="*/ 22 h 23"/>
                <a:gd name="T48" fmla="*/ 8 w 20"/>
                <a:gd name="T49" fmla="*/ 22 h 23"/>
                <a:gd name="T50" fmla="*/ 8 w 20"/>
                <a:gd name="T51" fmla="*/ 22 h 23"/>
                <a:gd name="T52" fmla="*/ 9 w 20"/>
                <a:gd name="T53" fmla="*/ 23 h 23"/>
                <a:gd name="T54" fmla="*/ 10 w 20"/>
                <a:gd name="T55" fmla="*/ 23 h 23"/>
                <a:gd name="T56" fmla="*/ 11 w 20"/>
                <a:gd name="T57" fmla="*/ 23 h 23"/>
                <a:gd name="T58" fmla="*/ 12 w 20"/>
                <a:gd name="T59" fmla="*/ 22 h 23"/>
                <a:gd name="T60" fmla="*/ 13 w 20"/>
                <a:gd name="T61" fmla="*/ 22 h 23"/>
                <a:gd name="T62" fmla="*/ 13 w 20"/>
                <a:gd name="T63" fmla="*/ 22 h 23"/>
                <a:gd name="T64" fmla="*/ 20 w 20"/>
                <a:gd name="T65" fmla="*/ 2 h 23"/>
                <a:gd name="T66" fmla="*/ 20 w 20"/>
                <a:gd name="T67" fmla="*/ 1 h 23"/>
                <a:gd name="T68" fmla="*/ 20 w 20"/>
                <a:gd name="T69" fmla="*/ 1 h 23"/>
                <a:gd name="T70" fmla="*/ 20 w 20"/>
                <a:gd name="T71" fmla="*/ 1 h 23"/>
                <a:gd name="T72" fmla="*/ 20 w 20"/>
                <a:gd name="T73" fmla="*/ 1 h 23"/>
                <a:gd name="T74" fmla="*/ 20 w 20"/>
                <a:gd name="T7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23">
                  <a:moveTo>
                    <a:pt x="20" y="0"/>
                  </a:moveTo>
                  <a:cubicBezTo>
                    <a:pt x="20" y="0"/>
                    <a:pt x="20" y="0"/>
                    <a:pt x="20" y="0"/>
                  </a:cubicBezTo>
                  <a:cubicBezTo>
                    <a:pt x="20" y="0"/>
                    <a:pt x="20" y="0"/>
                    <a:pt x="19" y="0"/>
                  </a:cubicBezTo>
                  <a:cubicBezTo>
                    <a:pt x="19" y="0"/>
                    <a:pt x="19" y="0"/>
                    <a:pt x="19" y="0"/>
                  </a:cubicBezTo>
                  <a:cubicBezTo>
                    <a:pt x="18" y="0"/>
                    <a:pt x="18" y="0"/>
                    <a:pt x="18" y="0"/>
                  </a:cubicBezTo>
                  <a:cubicBezTo>
                    <a:pt x="17" y="0"/>
                    <a:pt x="17" y="0"/>
                    <a:pt x="17" y="0"/>
                  </a:cubicBezTo>
                  <a:cubicBezTo>
                    <a:pt x="17" y="0"/>
                    <a:pt x="17" y="0"/>
                    <a:pt x="17" y="0"/>
                  </a:cubicBezTo>
                  <a:cubicBezTo>
                    <a:pt x="16" y="1"/>
                    <a:pt x="16" y="1"/>
                    <a:pt x="16" y="1"/>
                  </a:cubicBezTo>
                  <a:cubicBezTo>
                    <a:pt x="11" y="18"/>
                    <a:pt x="11" y="18"/>
                    <a:pt x="11" y="18"/>
                  </a:cubicBezTo>
                  <a:cubicBezTo>
                    <a:pt x="10" y="18"/>
                    <a:pt x="10" y="18"/>
                    <a:pt x="10" y="18"/>
                  </a:cubicBezTo>
                  <a:cubicBezTo>
                    <a:pt x="10" y="18"/>
                    <a:pt x="10" y="18"/>
                    <a:pt x="10" y="18"/>
                  </a:cubicBezTo>
                  <a:cubicBezTo>
                    <a:pt x="4" y="1"/>
                    <a:pt x="4" y="1"/>
                    <a:pt x="4" y="1"/>
                  </a:cubicBezTo>
                  <a:cubicBezTo>
                    <a:pt x="4" y="1"/>
                    <a:pt x="4" y="1"/>
                    <a:pt x="4" y="0"/>
                  </a:cubicBezTo>
                  <a:cubicBezTo>
                    <a:pt x="4" y="0"/>
                    <a:pt x="4" y="0"/>
                    <a:pt x="4" y="0"/>
                  </a:cubicBezTo>
                  <a:cubicBezTo>
                    <a:pt x="4" y="0"/>
                    <a:pt x="4" y="0"/>
                    <a:pt x="3" y="0"/>
                  </a:cubicBezTo>
                  <a:cubicBezTo>
                    <a:pt x="3" y="0"/>
                    <a:pt x="3" y="0"/>
                    <a:pt x="2" y="0"/>
                  </a:cubicBezTo>
                  <a:cubicBezTo>
                    <a:pt x="2" y="0"/>
                    <a:pt x="1" y="0"/>
                    <a:pt x="1" y="0"/>
                  </a:cubicBezTo>
                  <a:cubicBezTo>
                    <a:pt x="1" y="0"/>
                    <a:pt x="1" y="0"/>
                    <a:pt x="1" y="0"/>
                  </a:cubicBezTo>
                  <a:cubicBezTo>
                    <a:pt x="1" y="0"/>
                    <a:pt x="0" y="0"/>
                    <a:pt x="0" y="0"/>
                  </a:cubicBezTo>
                  <a:cubicBezTo>
                    <a:pt x="0" y="1"/>
                    <a:pt x="0" y="1"/>
                    <a:pt x="0" y="1"/>
                  </a:cubicBezTo>
                  <a:cubicBezTo>
                    <a:pt x="0" y="1"/>
                    <a:pt x="0" y="1"/>
                    <a:pt x="0" y="1"/>
                  </a:cubicBezTo>
                  <a:cubicBezTo>
                    <a:pt x="0" y="1"/>
                    <a:pt x="0" y="1"/>
                    <a:pt x="0" y="1"/>
                  </a:cubicBezTo>
                  <a:cubicBezTo>
                    <a:pt x="0" y="1"/>
                    <a:pt x="0" y="2"/>
                    <a:pt x="0" y="2"/>
                  </a:cubicBezTo>
                  <a:cubicBezTo>
                    <a:pt x="8" y="22"/>
                    <a:pt x="8" y="22"/>
                    <a:pt x="8" y="22"/>
                  </a:cubicBezTo>
                  <a:cubicBezTo>
                    <a:pt x="8" y="22"/>
                    <a:pt x="8" y="22"/>
                    <a:pt x="8" y="22"/>
                  </a:cubicBezTo>
                  <a:cubicBezTo>
                    <a:pt x="8" y="22"/>
                    <a:pt x="8" y="22"/>
                    <a:pt x="8" y="22"/>
                  </a:cubicBezTo>
                  <a:cubicBezTo>
                    <a:pt x="9" y="22"/>
                    <a:pt x="9" y="23"/>
                    <a:pt x="9" y="23"/>
                  </a:cubicBezTo>
                  <a:cubicBezTo>
                    <a:pt x="9" y="23"/>
                    <a:pt x="10" y="23"/>
                    <a:pt x="10" y="23"/>
                  </a:cubicBezTo>
                  <a:cubicBezTo>
                    <a:pt x="11" y="23"/>
                    <a:pt x="11" y="23"/>
                    <a:pt x="11" y="23"/>
                  </a:cubicBezTo>
                  <a:cubicBezTo>
                    <a:pt x="12" y="23"/>
                    <a:pt x="12" y="23"/>
                    <a:pt x="12" y="22"/>
                  </a:cubicBezTo>
                  <a:cubicBezTo>
                    <a:pt x="12" y="22"/>
                    <a:pt x="13" y="22"/>
                    <a:pt x="13" y="22"/>
                  </a:cubicBezTo>
                  <a:cubicBezTo>
                    <a:pt x="13" y="22"/>
                    <a:pt x="13" y="22"/>
                    <a:pt x="13" y="22"/>
                  </a:cubicBezTo>
                  <a:cubicBezTo>
                    <a:pt x="20" y="2"/>
                    <a:pt x="20" y="2"/>
                    <a:pt x="20" y="2"/>
                  </a:cubicBezTo>
                  <a:cubicBezTo>
                    <a:pt x="20" y="2"/>
                    <a:pt x="20" y="2"/>
                    <a:pt x="20" y="1"/>
                  </a:cubicBezTo>
                  <a:cubicBezTo>
                    <a:pt x="20" y="1"/>
                    <a:pt x="20" y="1"/>
                    <a:pt x="20" y="1"/>
                  </a:cubicBezTo>
                  <a:cubicBezTo>
                    <a:pt x="20" y="1"/>
                    <a:pt x="20" y="1"/>
                    <a:pt x="20" y="1"/>
                  </a:cubicBezTo>
                  <a:cubicBezTo>
                    <a:pt x="20" y="1"/>
                    <a:pt x="20" y="1"/>
                    <a:pt x="20" y="1"/>
                  </a:cubicBezTo>
                  <a:cubicBezTo>
                    <a:pt x="20" y="1"/>
                    <a:pt x="20" y="1"/>
                    <a:pt x="20" y="0"/>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171">
              <a:extLst>
                <a:ext uri="{FF2B5EF4-FFF2-40B4-BE49-F238E27FC236}">
                  <a16:creationId xmlns:a16="http://schemas.microsoft.com/office/drawing/2014/main" id="{90A1B2C8-1CB9-43BD-B7A0-88FD192C9242}"/>
                </a:ext>
              </a:extLst>
            </p:cNvPr>
            <p:cNvSpPr>
              <a:spLocks noEditPoints="1"/>
            </p:cNvSpPr>
            <p:nvPr/>
          </p:nvSpPr>
          <p:spPr bwMode="auto">
            <a:xfrm>
              <a:off x="9245943" y="5869682"/>
              <a:ext cx="17315" cy="109661"/>
            </a:xfrm>
            <a:custGeom>
              <a:avLst/>
              <a:gdLst>
                <a:gd name="T0" fmla="*/ 5 w 5"/>
                <a:gd name="T1" fmla="*/ 10 h 32"/>
                <a:gd name="T2" fmla="*/ 4 w 5"/>
                <a:gd name="T3" fmla="*/ 9 h 32"/>
                <a:gd name="T4" fmla="*/ 4 w 5"/>
                <a:gd name="T5" fmla="*/ 9 h 32"/>
                <a:gd name="T6" fmla="*/ 4 w 5"/>
                <a:gd name="T7" fmla="*/ 9 h 32"/>
                <a:gd name="T8" fmla="*/ 3 w 5"/>
                <a:gd name="T9" fmla="*/ 9 h 32"/>
                <a:gd name="T10" fmla="*/ 2 w 5"/>
                <a:gd name="T11" fmla="*/ 9 h 32"/>
                <a:gd name="T12" fmla="*/ 1 w 5"/>
                <a:gd name="T13" fmla="*/ 9 h 32"/>
                <a:gd name="T14" fmla="*/ 1 w 5"/>
                <a:gd name="T15" fmla="*/ 9 h 32"/>
                <a:gd name="T16" fmla="*/ 1 w 5"/>
                <a:gd name="T17" fmla="*/ 10 h 32"/>
                <a:gd name="T18" fmla="*/ 1 w 5"/>
                <a:gd name="T19" fmla="*/ 31 h 32"/>
                <a:gd name="T20" fmla="*/ 1 w 5"/>
                <a:gd name="T21" fmla="*/ 31 h 32"/>
                <a:gd name="T22" fmla="*/ 1 w 5"/>
                <a:gd name="T23" fmla="*/ 31 h 32"/>
                <a:gd name="T24" fmla="*/ 2 w 5"/>
                <a:gd name="T25" fmla="*/ 32 h 32"/>
                <a:gd name="T26" fmla="*/ 3 w 5"/>
                <a:gd name="T27" fmla="*/ 32 h 32"/>
                <a:gd name="T28" fmla="*/ 4 w 5"/>
                <a:gd name="T29" fmla="*/ 32 h 32"/>
                <a:gd name="T30" fmla="*/ 4 w 5"/>
                <a:gd name="T31" fmla="*/ 31 h 32"/>
                <a:gd name="T32" fmla="*/ 4 w 5"/>
                <a:gd name="T33" fmla="*/ 31 h 32"/>
                <a:gd name="T34" fmla="*/ 5 w 5"/>
                <a:gd name="T35" fmla="*/ 31 h 32"/>
                <a:gd name="T36" fmla="*/ 5 w 5"/>
                <a:gd name="T37" fmla="*/ 10 h 32"/>
                <a:gd name="T38" fmla="*/ 4 w 5"/>
                <a:gd name="T39" fmla="*/ 1 h 32"/>
                <a:gd name="T40" fmla="*/ 3 w 5"/>
                <a:gd name="T41" fmla="*/ 0 h 32"/>
                <a:gd name="T42" fmla="*/ 1 w 5"/>
                <a:gd name="T43" fmla="*/ 1 h 32"/>
                <a:gd name="T44" fmla="*/ 0 w 5"/>
                <a:gd name="T45" fmla="*/ 3 h 32"/>
                <a:gd name="T46" fmla="*/ 1 w 5"/>
                <a:gd name="T47" fmla="*/ 5 h 32"/>
                <a:gd name="T48" fmla="*/ 3 w 5"/>
                <a:gd name="T49" fmla="*/ 5 h 32"/>
                <a:gd name="T50" fmla="*/ 4 w 5"/>
                <a:gd name="T51" fmla="*/ 5 h 32"/>
                <a:gd name="T52" fmla="*/ 5 w 5"/>
                <a:gd name="T53" fmla="*/ 3 h 32"/>
                <a:gd name="T54" fmla="*/ 4 w 5"/>
                <a:gd name="T55"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2">
                  <a:moveTo>
                    <a:pt x="5" y="10"/>
                  </a:moveTo>
                  <a:cubicBezTo>
                    <a:pt x="5" y="10"/>
                    <a:pt x="5" y="10"/>
                    <a:pt x="4" y="9"/>
                  </a:cubicBezTo>
                  <a:cubicBezTo>
                    <a:pt x="4" y="9"/>
                    <a:pt x="4" y="9"/>
                    <a:pt x="4" y="9"/>
                  </a:cubicBezTo>
                  <a:cubicBezTo>
                    <a:pt x="4" y="9"/>
                    <a:pt x="4" y="9"/>
                    <a:pt x="4" y="9"/>
                  </a:cubicBezTo>
                  <a:cubicBezTo>
                    <a:pt x="3" y="9"/>
                    <a:pt x="3" y="9"/>
                    <a:pt x="3" y="9"/>
                  </a:cubicBezTo>
                  <a:cubicBezTo>
                    <a:pt x="2" y="9"/>
                    <a:pt x="2" y="9"/>
                    <a:pt x="2" y="9"/>
                  </a:cubicBezTo>
                  <a:cubicBezTo>
                    <a:pt x="1" y="9"/>
                    <a:pt x="1" y="9"/>
                    <a:pt x="1" y="9"/>
                  </a:cubicBezTo>
                  <a:cubicBezTo>
                    <a:pt x="1" y="9"/>
                    <a:pt x="1" y="9"/>
                    <a:pt x="1" y="9"/>
                  </a:cubicBezTo>
                  <a:cubicBezTo>
                    <a:pt x="1" y="10"/>
                    <a:pt x="1" y="10"/>
                    <a:pt x="1" y="10"/>
                  </a:cubicBezTo>
                  <a:cubicBezTo>
                    <a:pt x="1" y="31"/>
                    <a:pt x="1" y="31"/>
                    <a:pt x="1" y="31"/>
                  </a:cubicBezTo>
                  <a:cubicBezTo>
                    <a:pt x="1" y="31"/>
                    <a:pt x="1" y="31"/>
                    <a:pt x="1" y="31"/>
                  </a:cubicBezTo>
                  <a:cubicBezTo>
                    <a:pt x="1" y="31"/>
                    <a:pt x="1" y="31"/>
                    <a:pt x="1" y="31"/>
                  </a:cubicBezTo>
                  <a:cubicBezTo>
                    <a:pt x="1" y="31"/>
                    <a:pt x="1" y="32"/>
                    <a:pt x="2" y="32"/>
                  </a:cubicBezTo>
                  <a:cubicBezTo>
                    <a:pt x="2" y="32"/>
                    <a:pt x="2" y="32"/>
                    <a:pt x="3" y="32"/>
                  </a:cubicBezTo>
                  <a:cubicBezTo>
                    <a:pt x="3" y="32"/>
                    <a:pt x="3" y="32"/>
                    <a:pt x="4" y="32"/>
                  </a:cubicBezTo>
                  <a:cubicBezTo>
                    <a:pt x="4" y="32"/>
                    <a:pt x="4" y="31"/>
                    <a:pt x="4" y="31"/>
                  </a:cubicBezTo>
                  <a:cubicBezTo>
                    <a:pt x="4" y="31"/>
                    <a:pt x="4" y="31"/>
                    <a:pt x="4" y="31"/>
                  </a:cubicBezTo>
                  <a:cubicBezTo>
                    <a:pt x="5" y="31"/>
                    <a:pt x="5" y="31"/>
                    <a:pt x="5" y="31"/>
                  </a:cubicBezTo>
                  <a:cubicBezTo>
                    <a:pt x="5" y="10"/>
                    <a:pt x="5" y="10"/>
                    <a:pt x="5" y="10"/>
                  </a:cubicBezTo>
                  <a:close/>
                  <a:moveTo>
                    <a:pt x="4" y="1"/>
                  </a:moveTo>
                  <a:cubicBezTo>
                    <a:pt x="4" y="1"/>
                    <a:pt x="4" y="0"/>
                    <a:pt x="3" y="0"/>
                  </a:cubicBezTo>
                  <a:cubicBezTo>
                    <a:pt x="2" y="0"/>
                    <a:pt x="1" y="1"/>
                    <a:pt x="1" y="1"/>
                  </a:cubicBezTo>
                  <a:cubicBezTo>
                    <a:pt x="0" y="1"/>
                    <a:pt x="0" y="2"/>
                    <a:pt x="0" y="3"/>
                  </a:cubicBezTo>
                  <a:cubicBezTo>
                    <a:pt x="0" y="4"/>
                    <a:pt x="0" y="4"/>
                    <a:pt x="1" y="5"/>
                  </a:cubicBezTo>
                  <a:cubicBezTo>
                    <a:pt x="1" y="5"/>
                    <a:pt x="2" y="5"/>
                    <a:pt x="3" y="5"/>
                  </a:cubicBezTo>
                  <a:cubicBezTo>
                    <a:pt x="3" y="5"/>
                    <a:pt x="4" y="5"/>
                    <a:pt x="4" y="5"/>
                  </a:cubicBezTo>
                  <a:cubicBezTo>
                    <a:pt x="5" y="4"/>
                    <a:pt x="5" y="4"/>
                    <a:pt x="5" y="3"/>
                  </a:cubicBezTo>
                  <a:cubicBezTo>
                    <a:pt x="5" y="2"/>
                    <a:pt x="5" y="1"/>
                    <a:pt x="4" y="1"/>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172">
              <a:extLst>
                <a:ext uri="{FF2B5EF4-FFF2-40B4-BE49-F238E27FC236}">
                  <a16:creationId xmlns:a16="http://schemas.microsoft.com/office/drawing/2014/main" id="{5AE5D30B-608D-4BFE-B530-4D858C392DCE}"/>
                </a:ext>
              </a:extLst>
            </p:cNvPr>
            <p:cNvSpPr>
              <a:spLocks/>
            </p:cNvSpPr>
            <p:nvPr/>
          </p:nvSpPr>
          <p:spPr bwMode="auto">
            <a:xfrm>
              <a:off x="9280573" y="5901426"/>
              <a:ext cx="57717" cy="77917"/>
            </a:xfrm>
            <a:custGeom>
              <a:avLst/>
              <a:gdLst>
                <a:gd name="T0" fmla="*/ 17 w 17"/>
                <a:gd name="T1" fmla="*/ 18 h 23"/>
                <a:gd name="T2" fmla="*/ 17 w 17"/>
                <a:gd name="T3" fmla="*/ 17 h 23"/>
                <a:gd name="T4" fmla="*/ 16 w 17"/>
                <a:gd name="T5" fmla="*/ 17 h 23"/>
                <a:gd name="T6" fmla="*/ 16 w 17"/>
                <a:gd name="T7" fmla="*/ 17 h 23"/>
                <a:gd name="T8" fmla="*/ 15 w 17"/>
                <a:gd name="T9" fmla="*/ 17 h 23"/>
                <a:gd name="T10" fmla="*/ 14 w 17"/>
                <a:gd name="T11" fmla="*/ 18 h 23"/>
                <a:gd name="T12" fmla="*/ 12 w 17"/>
                <a:gd name="T13" fmla="*/ 19 h 23"/>
                <a:gd name="T14" fmla="*/ 10 w 17"/>
                <a:gd name="T15" fmla="*/ 20 h 23"/>
                <a:gd name="T16" fmla="*/ 8 w 17"/>
                <a:gd name="T17" fmla="*/ 19 h 23"/>
                <a:gd name="T18" fmla="*/ 6 w 17"/>
                <a:gd name="T19" fmla="*/ 18 h 23"/>
                <a:gd name="T20" fmla="*/ 5 w 17"/>
                <a:gd name="T21" fmla="*/ 15 h 23"/>
                <a:gd name="T22" fmla="*/ 4 w 17"/>
                <a:gd name="T23" fmla="*/ 11 h 23"/>
                <a:gd name="T24" fmla="*/ 6 w 17"/>
                <a:gd name="T25" fmla="*/ 5 h 23"/>
                <a:gd name="T26" fmla="*/ 10 w 17"/>
                <a:gd name="T27" fmla="*/ 3 h 23"/>
                <a:gd name="T28" fmla="*/ 12 w 17"/>
                <a:gd name="T29" fmla="*/ 3 h 23"/>
                <a:gd name="T30" fmla="*/ 14 w 17"/>
                <a:gd name="T31" fmla="*/ 4 h 23"/>
                <a:gd name="T32" fmla="*/ 15 w 17"/>
                <a:gd name="T33" fmla="*/ 5 h 23"/>
                <a:gd name="T34" fmla="*/ 16 w 17"/>
                <a:gd name="T35" fmla="*/ 5 h 23"/>
                <a:gd name="T36" fmla="*/ 17 w 17"/>
                <a:gd name="T37" fmla="*/ 5 h 23"/>
                <a:gd name="T38" fmla="*/ 17 w 17"/>
                <a:gd name="T39" fmla="*/ 4 h 23"/>
                <a:gd name="T40" fmla="*/ 17 w 17"/>
                <a:gd name="T41" fmla="*/ 3 h 23"/>
                <a:gd name="T42" fmla="*/ 17 w 17"/>
                <a:gd name="T43" fmla="*/ 3 h 23"/>
                <a:gd name="T44" fmla="*/ 16 w 17"/>
                <a:gd name="T45" fmla="*/ 2 h 23"/>
                <a:gd name="T46" fmla="*/ 16 w 17"/>
                <a:gd name="T47" fmla="*/ 2 h 23"/>
                <a:gd name="T48" fmla="*/ 15 w 17"/>
                <a:gd name="T49" fmla="*/ 1 h 23"/>
                <a:gd name="T50" fmla="*/ 14 w 17"/>
                <a:gd name="T51" fmla="*/ 0 h 23"/>
                <a:gd name="T52" fmla="*/ 12 w 17"/>
                <a:gd name="T53" fmla="*/ 0 h 23"/>
                <a:gd name="T54" fmla="*/ 10 w 17"/>
                <a:gd name="T55" fmla="*/ 0 h 23"/>
                <a:gd name="T56" fmla="*/ 6 w 17"/>
                <a:gd name="T57" fmla="*/ 0 h 23"/>
                <a:gd name="T58" fmla="*/ 3 w 17"/>
                <a:gd name="T59" fmla="*/ 3 h 23"/>
                <a:gd name="T60" fmla="*/ 1 w 17"/>
                <a:gd name="T61" fmla="*/ 6 h 23"/>
                <a:gd name="T62" fmla="*/ 0 w 17"/>
                <a:gd name="T63" fmla="*/ 12 h 23"/>
                <a:gd name="T64" fmla="*/ 1 w 17"/>
                <a:gd name="T65" fmla="*/ 16 h 23"/>
                <a:gd name="T66" fmla="*/ 3 w 17"/>
                <a:gd name="T67" fmla="*/ 20 h 23"/>
                <a:gd name="T68" fmla="*/ 6 w 17"/>
                <a:gd name="T69" fmla="*/ 22 h 23"/>
                <a:gd name="T70" fmla="*/ 10 w 17"/>
                <a:gd name="T71" fmla="*/ 23 h 23"/>
                <a:gd name="T72" fmla="*/ 12 w 17"/>
                <a:gd name="T73" fmla="*/ 23 h 23"/>
                <a:gd name="T74" fmla="*/ 14 w 17"/>
                <a:gd name="T75" fmla="*/ 22 h 23"/>
                <a:gd name="T76" fmla="*/ 15 w 17"/>
                <a:gd name="T77" fmla="*/ 21 h 23"/>
                <a:gd name="T78" fmla="*/ 16 w 17"/>
                <a:gd name="T79" fmla="*/ 21 h 23"/>
                <a:gd name="T80" fmla="*/ 17 w 17"/>
                <a:gd name="T81" fmla="*/ 20 h 23"/>
                <a:gd name="T82" fmla="*/ 17 w 17"/>
                <a:gd name="T83" fmla="*/ 20 h 23"/>
                <a:gd name="T84" fmla="*/ 17 w 17"/>
                <a:gd name="T85" fmla="*/ 19 h 23"/>
                <a:gd name="T86" fmla="*/ 17 w 17"/>
                <a:gd name="T87" fmla="*/ 19 h 23"/>
                <a:gd name="T88" fmla="*/ 17 w 17"/>
                <a:gd name="T8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 h="23">
                  <a:moveTo>
                    <a:pt x="17" y="18"/>
                  </a:moveTo>
                  <a:cubicBezTo>
                    <a:pt x="17" y="18"/>
                    <a:pt x="17" y="17"/>
                    <a:pt x="17" y="17"/>
                  </a:cubicBezTo>
                  <a:cubicBezTo>
                    <a:pt x="17" y="17"/>
                    <a:pt x="17" y="17"/>
                    <a:pt x="16" y="17"/>
                  </a:cubicBezTo>
                  <a:cubicBezTo>
                    <a:pt x="16" y="17"/>
                    <a:pt x="16" y="17"/>
                    <a:pt x="16" y="17"/>
                  </a:cubicBezTo>
                  <a:cubicBezTo>
                    <a:pt x="16" y="17"/>
                    <a:pt x="16" y="17"/>
                    <a:pt x="15" y="17"/>
                  </a:cubicBezTo>
                  <a:cubicBezTo>
                    <a:pt x="15" y="18"/>
                    <a:pt x="15" y="18"/>
                    <a:pt x="14" y="18"/>
                  </a:cubicBezTo>
                  <a:cubicBezTo>
                    <a:pt x="14" y="19"/>
                    <a:pt x="13" y="19"/>
                    <a:pt x="12" y="19"/>
                  </a:cubicBezTo>
                  <a:cubicBezTo>
                    <a:pt x="12" y="19"/>
                    <a:pt x="11" y="20"/>
                    <a:pt x="10" y="20"/>
                  </a:cubicBezTo>
                  <a:cubicBezTo>
                    <a:pt x="9" y="20"/>
                    <a:pt x="8" y="19"/>
                    <a:pt x="8" y="19"/>
                  </a:cubicBezTo>
                  <a:cubicBezTo>
                    <a:pt x="7" y="19"/>
                    <a:pt x="6" y="18"/>
                    <a:pt x="6" y="18"/>
                  </a:cubicBezTo>
                  <a:cubicBezTo>
                    <a:pt x="5" y="17"/>
                    <a:pt x="5" y="16"/>
                    <a:pt x="5" y="15"/>
                  </a:cubicBezTo>
                  <a:cubicBezTo>
                    <a:pt x="4" y="14"/>
                    <a:pt x="4" y="13"/>
                    <a:pt x="4" y="11"/>
                  </a:cubicBezTo>
                  <a:cubicBezTo>
                    <a:pt x="4" y="9"/>
                    <a:pt x="5" y="7"/>
                    <a:pt x="6" y="5"/>
                  </a:cubicBezTo>
                  <a:cubicBezTo>
                    <a:pt x="7" y="4"/>
                    <a:pt x="8" y="3"/>
                    <a:pt x="10" y="3"/>
                  </a:cubicBezTo>
                  <a:cubicBezTo>
                    <a:pt x="11" y="3"/>
                    <a:pt x="12" y="3"/>
                    <a:pt x="12" y="3"/>
                  </a:cubicBezTo>
                  <a:cubicBezTo>
                    <a:pt x="13" y="4"/>
                    <a:pt x="14" y="4"/>
                    <a:pt x="14" y="4"/>
                  </a:cubicBezTo>
                  <a:cubicBezTo>
                    <a:pt x="15" y="5"/>
                    <a:pt x="15" y="5"/>
                    <a:pt x="15" y="5"/>
                  </a:cubicBezTo>
                  <a:cubicBezTo>
                    <a:pt x="16" y="5"/>
                    <a:pt x="16" y="5"/>
                    <a:pt x="16" y="5"/>
                  </a:cubicBezTo>
                  <a:cubicBezTo>
                    <a:pt x="16" y="5"/>
                    <a:pt x="16" y="5"/>
                    <a:pt x="17" y="5"/>
                  </a:cubicBezTo>
                  <a:cubicBezTo>
                    <a:pt x="17" y="5"/>
                    <a:pt x="17" y="4"/>
                    <a:pt x="17" y="4"/>
                  </a:cubicBezTo>
                  <a:cubicBezTo>
                    <a:pt x="17" y="4"/>
                    <a:pt x="17" y="3"/>
                    <a:pt x="17" y="3"/>
                  </a:cubicBezTo>
                  <a:cubicBezTo>
                    <a:pt x="17" y="3"/>
                    <a:pt x="17" y="3"/>
                    <a:pt x="17" y="3"/>
                  </a:cubicBezTo>
                  <a:cubicBezTo>
                    <a:pt x="17" y="3"/>
                    <a:pt x="17" y="2"/>
                    <a:pt x="16" y="2"/>
                  </a:cubicBezTo>
                  <a:cubicBezTo>
                    <a:pt x="16" y="2"/>
                    <a:pt x="16" y="2"/>
                    <a:pt x="16" y="2"/>
                  </a:cubicBezTo>
                  <a:cubicBezTo>
                    <a:pt x="16" y="2"/>
                    <a:pt x="16" y="1"/>
                    <a:pt x="15" y="1"/>
                  </a:cubicBezTo>
                  <a:cubicBezTo>
                    <a:pt x="15" y="1"/>
                    <a:pt x="14" y="1"/>
                    <a:pt x="14" y="0"/>
                  </a:cubicBezTo>
                  <a:cubicBezTo>
                    <a:pt x="13" y="0"/>
                    <a:pt x="13" y="0"/>
                    <a:pt x="12" y="0"/>
                  </a:cubicBezTo>
                  <a:cubicBezTo>
                    <a:pt x="11" y="0"/>
                    <a:pt x="11" y="0"/>
                    <a:pt x="10" y="0"/>
                  </a:cubicBezTo>
                  <a:cubicBezTo>
                    <a:pt x="9" y="0"/>
                    <a:pt x="7" y="0"/>
                    <a:pt x="6" y="0"/>
                  </a:cubicBezTo>
                  <a:cubicBezTo>
                    <a:pt x="5" y="1"/>
                    <a:pt x="4" y="2"/>
                    <a:pt x="3" y="3"/>
                  </a:cubicBezTo>
                  <a:cubicBezTo>
                    <a:pt x="2" y="4"/>
                    <a:pt x="1" y="5"/>
                    <a:pt x="1" y="6"/>
                  </a:cubicBezTo>
                  <a:cubicBezTo>
                    <a:pt x="0" y="8"/>
                    <a:pt x="0" y="10"/>
                    <a:pt x="0" y="12"/>
                  </a:cubicBezTo>
                  <a:cubicBezTo>
                    <a:pt x="0" y="13"/>
                    <a:pt x="0" y="15"/>
                    <a:pt x="1" y="16"/>
                  </a:cubicBezTo>
                  <a:cubicBezTo>
                    <a:pt x="1" y="18"/>
                    <a:pt x="2" y="19"/>
                    <a:pt x="3" y="20"/>
                  </a:cubicBezTo>
                  <a:cubicBezTo>
                    <a:pt x="3" y="21"/>
                    <a:pt x="4" y="22"/>
                    <a:pt x="6" y="22"/>
                  </a:cubicBezTo>
                  <a:cubicBezTo>
                    <a:pt x="7" y="23"/>
                    <a:pt x="8" y="23"/>
                    <a:pt x="10" y="23"/>
                  </a:cubicBezTo>
                  <a:cubicBezTo>
                    <a:pt x="10" y="23"/>
                    <a:pt x="11" y="23"/>
                    <a:pt x="12" y="23"/>
                  </a:cubicBezTo>
                  <a:cubicBezTo>
                    <a:pt x="12" y="23"/>
                    <a:pt x="13" y="22"/>
                    <a:pt x="14" y="22"/>
                  </a:cubicBezTo>
                  <a:cubicBezTo>
                    <a:pt x="14" y="22"/>
                    <a:pt x="15" y="22"/>
                    <a:pt x="15" y="21"/>
                  </a:cubicBezTo>
                  <a:cubicBezTo>
                    <a:pt x="16" y="21"/>
                    <a:pt x="16" y="21"/>
                    <a:pt x="16" y="21"/>
                  </a:cubicBezTo>
                  <a:cubicBezTo>
                    <a:pt x="16" y="20"/>
                    <a:pt x="17" y="20"/>
                    <a:pt x="17" y="20"/>
                  </a:cubicBezTo>
                  <a:cubicBezTo>
                    <a:pt x="17" y="20"/>
                    <a:pt x="17" y="20"/>
                    <a:pt x="17" y="20"/>
                  </a:cubicBezTo>
                  <a:cubicBezTo>
                    <a:pt x="17" y="20"/>
                    <a:pt x="17" y="20"/>
                    <a:pt x="17" y="19"/>
                  </a:cubicBezTo>
                  <a:cubicBezTo>
                    <a:pt x="17" y="19"/>
                    <a:pt x="17" y="19"/>
                    <a:pt x="17" y="19"/>
                  </a:cubicBezTo>
                  <a:cubicBezTo>
                    <a:pt x="17" y="18"/>
                    <a:pt x="17" y="18"/>
                    <a:pt x="17" y="18"/>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173">
              <a:extLst>
                <a:ext uri="{FF2B5EF4-FFF2-40B4-BE49-F238E27FC236}">
                  <a16:creationId xmlns:a16="http://schemas.microsoft.com/office/drawing/2014/main" id="{60ACF528-4119-4129-AA59-145809CEFA7D}"/>
                </a:ext>
              </a:extLst>
            </p:cNvPr>
            <p:cNvSpPr>
              <a:spLocks noEditPoints="1"/>
            </p:cNvSpPr>
            <p:nvPr/>
          </p:nvSpPr>
          <p:spPr bwMode="auto">
            <a:xfrm>
              <a:off x="9348390" y="5901426"/>
              <a:ext cx="69260" cy="77917"/>
            </a:xfrm>
            <a:custGeom>
              <a:avLst/>
              <a:gdLst>
                <a:gd name="T0" fmla="*/ 20 w 20"/>
                <a:gd name="T1" fmla="*/ 10 h 23"/>
                <a:gd name="T2" fmla="*/ 19 w 20"/>
                <a:gd name="T3" fmla="*/ 6 h 23"/>
                <a:gd name="T4" fmla="*/ 18 w 20"/>
                <a:gd name="T5" fmla="*/ 3 h 23"/>
                <a:gd name="T6" fmla="*/ 15 w 20"/>
                <a:gd name="T7" fmla="*/ 1 h 23"/>
                <a:gd name="T8" fmla="*/ 11 w 20"/>
                <a:gd name="T9" fmla="*/ 0 h 23"/>
                <a:gd name="T10" fmla="*/ 6 w 20"/>
                <a:gd name="T11" fmla="*/ 1 h 23"/>
                <a:gd name="T12" fmla="*/ 3 w 20"/>
                <a:gd name="T13" fmla="*/ 3 h 23"/>
                <a:gd name="T14" fmla="*/ 1 w 20"/>
                <a:gd name="T15" fmla="*/ 7 h 23"/>
                <a:gd name="T16" fmla="*/ 0 w 20"/>
                <a:gd name="T17" fmla="*/ 11 h 23"/>
                <a:gd name="T18" fmla="*/ 1 w 20"/>
                <a:gd name="T19" fmla="*/ 16 h 23"/>
                <a:gd name="T20" fmla="*/ 3 w 20"/>
                <a:gd name="T21" fmla="*/ 20 h 23"/>
                <a:gd name="T22" fmla="*/ 6 w 20"/>
                <a:gd name="T23" fmla="*/ 22 h 23"/>
                <a:gd name="T24" fmla="*/ 11 w 20"/>
                <a:gd name="T25" fmla="*/ 23 h 23"/>
                <a:gd name="T26" fmla="*/ 14 w 20"/>
                <a:gd name="T27" fmla="*/ 23 h 23"/>
                <a:gd name="T28" fmla="*/ 16 w 20"/>
                <a:gd name="T29" fmla="*/ 22 h 23"/>
                <a:gd name="T30" fmla="*/ 18 w 20"/>
                <a:gd name="T31" fmla="*/ 22 h 23"/>
                <a:gd name="T32" fmla="*/ 19 w 20"/>
                <a:gd name="T33" fmla="*/ 21 h 23"/>
                <a:gd name="T34" fmla="*/ 19 w 20"/>
                <a:gd name="T35" fmla="*/ 21 h 23"/>
                <a:gd name="T36" fmla="*/ 19 w 20"/>
                <a:gd name="T37" fmla="*/ 21 h 23"/>
                <a:gd name="T38" fmla="*/ 19 w 20"/>
                <a:gd name="T39" fmla="*/ 20 h 23"/>
                <a:gd name="T40" fmla="*/ 19 w 20"/>
                <a:gd name="T41" fmla="*/ 20 h 23"/>
                <a:gd name="T42" fmla="*/ 19 w 20"/>
                <a:gd name="T43" fmla="*/ 19 h 23"/>
                <a:gd name="T44" fmla="*/ 19 w 20"/>
                <a:gd name="T45" fmla="*/ 19 h 23"/>
                <a:gd name="T46" fmla="*/ 19 w 20"/>
                <a:gd name="T47" fmla="*/ 18 h 23"/>
                <a:gd name="T48" fmla="*/ 18 w 20"/>
                <a:gd name="T49" fmla="*/ 18 h 23"/>
                <a:gd name="T50" fmla="*/ 18 w 20"/>
                <a:gd name="T51" fmla="*/ 18 h 23"/>
                <a:gd name="T52" fmla="*/ 16 w 20"/>
                <a:gd name="T53" fmla="*/ 19 h 23"/>
                <a:gd name="T54" fmla="*/ 14 w 20"/>
                <a:gd name="T55" fmla="*/ 20 h 23"/>
                <a:gd name="T56" fmla="*/ 11 w 20"/>
                <a:gd name="T57" fmla="*/ 20 h 23"/>
                <a:gd name="T58" fmla="*/ 8 w 20"/>
                <a:gd name="T59" fmla="*/ 19 h 23"/>
                <a:gd name="T60" fmla="*/ 6 w 20"/>
                <a:gd name="T61" fmla="*/ 18 h 23"/>
                <a:gd name="T62" fmla="*/ 5 w 20"/>
                <a:gd name="T63" fmla="*/ 15 h 23"/>
                <a:gd name="T64" fmla="*/ 4 w 20"/>
                <a:gd name="T65" fmla="*/ 12 h 23"/>
                <a:gd name="T66" fmla="*/ 18 w 20"/>
                <a:gd name="T67" fmla="*/ 12 h 23"/>
                <a:gd name="T68" fmla="*/ 19 w 20"/>
                <a:gd name="T69" fmla="*/ 12 h 23"/>
                <a:gd name="T70" fmla="*/ 20 w 20"/>
                <a:gd name="T71" fmla="*/ 10 h 23"/>
                <a:gd name="T72" fmla="*/ 20 w 20"/>
                <a:gd name="T73" fmla="*/ 10 h 23"/>
                <a:gd name="T74" fmla="*/ 4 w 20"/>
                <a:gd name="T75" fmla="*/ 9 h 23"/>
                <a:gd name="T76" fmla="*/ 5 w 20"/>
                <a:gd name="T77" fmla="*/ 7 h 23"/>
                <a:gd name="T78" fmla="*/ 6 w 20"/>
                <a:gd name="T79" fmla="*/ 5 h 23"/>
                <a:gd name="T80" fmla="*/ 8 w 20"/>
                <a:gd name="T81" fmla="*/ 3 h 23"/>
                <a:gd name="T82" fmla="*/ 10 w 20"/>
                <a:gd name="T83" fmla="*/ 3 h 23"/>
                <a:gd name="T84" fmla="*/ 15 w 20"/>
                <a:gd name="T85" fmla="*/ 4 h 23"/>
                <a:gd name="T86" fmla="*/ 16 w 20"/>
                <a:gd name="T87" fmla="*/ 9 h 23"/>
                <a:gd name="T88" fmla="*/ 4 w 20"/>
                <a:gd name="T8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 h="23">
                  <a:moveTo>
                    <a:pt x="20" y="10"/>
                  </a:moveTo>
                  <a:cubicBezTo>
                    <a:pt x="20" y="8"/>
                    <a:pt x="20" y="7"/>
                    <a:pt x="19" y="6"/>
                  </a:cubicBezTo>
                  <a:cubicBezTo>
                    <a:pt x="19" y="5"/>
                    <a:pt x="18" y="4"/>
                    <a:pt x="18" y="3"/>
                  </a:cubicBezTo>
                  <a:cubicBezTo>
                    <a:pt x="17" y="2"/>
                    <a:pt x="16" y="1"/>
                    <a:pt x="15" y="1"/>
                  </a:cubicBezTo>
                  <a:cubicBezTo>
                    <a:pt x="14" y="0"/>
                    <a:pt x="12" y="0"/>
                    <a:pt x="11" y="0"/>
                  </a:cubicBezTo>
                  <a:cubicBezTo>
                    <a:pt x="9" y="0"/>
                    <a:pt x="8" y="0"/>
                    <a:pt x="6" y="1"/>
                  </a:cubicBezTo>
                  <a:cubicBezTo>
                    <a:pt x="5" y="1"/>
                    <a:pt x="4" y="2"/>
                    <a:pt x="3" y="3"/>
                  </a:cubicBezTo>
                  <a:cubicBezTo>
                    <a:pt x="2" y="4"/>
                    <a:pt x="2" y="5"/>
                    <a:pt x="1" y="7"/>
                  </a:cubicBezTo>
                  <a:cubicBezTo>
                    <a:pt x="1" y="8"/>
                    <a:pt x="0" y="10"/>
                    <a:pt x="0" y="11"/>
                  </a:cubicBezTo>
                  <a:cubicBezTo>
                    <a:pt x="0" y="13"/>
                    <a:pt x="1" y="15"/>
                    <a:pt x="1" y="16"/>
                  </a:cubicBezTo>
                  <a:cubicBezTo>
                    <a:pt x="2" y="18"/>
                    <a:pt x="2" y="19"/>
                    <a:pt x="3" y="20"/>
                  </a:cubicBezTo>
                  <a:cubicBezTo>
                    <a:pt x="4" y="21"/>
                    <a:pt x="5" y="22"/>
                    <a:pt x="6" y="22"/>
                  </a:cubicBezTo>
                  <a:cubicBezTo>
                    <a:pt x="8" y="23"/>
                    <a:pt x="9" y="23"/>
                    <a:pt x="11" y="23"/>
                  </a:cubicBezTo>
                  <a:cubicBezTo>
                    <a:pt x="12" y="23"/>
                    <a:pt x="13" y="23"/>
                    <a:pt x="14" y="23"/>
                  </a:cubicBezTo>
                  <a:cubicBezTo>
                    <a:pt x="15" y="23"/>
                    <a:pt x="16" y="22"/>
                    <a:pt x="16" y="22"/>
                  </a:cubicBezTo>
                  <a:cubicBezTo>
                    <a:pt x="17" y="22"/>
                    <a:pt x="17" y="22"/>
                    <a:pt x="18" y="22"/>
                  </a:cubicBezTo>
                  <a:cubicBezTo>
                    <a:pt x="18" y="21"/>
                    <a:pt x="18" y="21"/>
                    <a:pt x="19" y="21"/>
                  </a:cubicBezTo>
                  <a:cubicBezTo>
                    <a:pt x="19" y="21"/>
                    <a:pt x="19" y="21"/>
                    <a:pt x="19" y="21"/>
                  </a:cubicBezTo>
                  <a:cubicBezTo>
                    <a:pt x="19" y="21"/>
                    <a:pt x="19" y="21"/>
                    <a:pt x="19" y="21"/>
                  </a:cubicBezTo>
                  <a:cubicBezTo>
                    <a:pt x="19" y="20"/>
                    <a:pt x="19" y="20"/>
                    <a:pt x="19" y="20"/>
                  </a:cubicBezTo>
                  <a:cubicBezTo>
                    <a:pt x="19" y="20"/>
                    <a:pt x="19" y="20"/>
                    <a:pt x="19" y="20"/>
                  </a:cubicBezTo>
                  <a:cubicBezTo>
                    <a:pt x="19" y="19"/>
                    <a:pt x="19" y="19"/>
                    <a:pt x="19" y="19"/>
                  </a:cubicBezTo>
                  <a:cubicBezTo>
                    <a:pt x="19" y="19"/>
                    <a:pt x="19" y="19"/>
                    <a:pt x="19" y="19"/>
                  </a:cubicBezTo>
                  <a:cubicBezTo>
                    <a:pt x="19" y="18"/>
                    <a:pt x="19" y="18"/>
                    <a:pt x="19" y="18"/>
                  </a:cubicBezTo>
                  <a:cubicBezTo>
                    <a:pt x="19" y="18"/>
                    <a:pt x="18" y="18"/>
                    <a:pt x="18" y="18"/>
                  </a:cubicBezTo>
                  <a:cubicBezTo>
                    <a:pt x="18" y="18"/>
                    <a:pt x="18" y="18"/>
                    <a:pt x="18" y="18"/>
                  </a:cubicBezTo>
                  <a:cubicBezTo>
                    <a:pt x="17" y="19"/>
                    <a:pt x="17" y="19"/>
                    <a:pt x="16" y="19"/>
                  </a:cubicBezTo>
                  <a:cubicBezTo>
                    <a:pt x="16" y="19"/>
                    <a:pt x="15" y="19"/>
                    <a:pt x="14" y="20"/>
                  </a:cubicBezTo>
                  <a:cubicBezTo>
                    <a:pt x="13" y="20"/>
                    <a:pt x="12" y="20"/>
                    <a:pt x="11" y="20"/>
                  </a:cubicBezTo>
                  <a:cubicBezTo>
                    <a:pt x="10" y="20"/>
                    <a:pt x="9" y="20"/>
                    <a:pt x="8" y="19"/>
                  </a:cubicBezTo>
                  <a:cubicBezTo>
                    <a:pt x="7" y="19"/>
                    <a:pt x="7" y="18"/>
                    <a:pt x="6" y="18"/>
                  </a:cubicBezTo>
                  <a:cubicBezTo>
                    <a:pt x="5" y="17"/>
                    <a:pt x="5" y="16"/>
                    <a:pt x="5" y="15"/>
                  </a:cubicBezTo>
                  <a:cubicBezTo>
                    <a:pt x="5" y="14"/>
                    <a:pt x="4" y="13"/>
                    <a:pt x="4" y="12"/>
                  </a:cubicBezTo>
                  <a:cubicBezTo>
                    <a:pt x="18" y="12"/>
                    <a:pt x="18" y="12"/>
                    <a:pt x="18" y="12"/>
                  </a:cubicBezTo>
                  <a:cubicBezTo>
                    <a:pt x="19" y="12"/>
                    <a:pt x="19" y="12"/>
                    <a:pt x="19" y="12"/>
                  </a:cubicBezTo>
                  <a:cubicBezTo>
                    <a:pt x="20" y="11"/>
                    <a:pt x="20" y="11"/>
                    <a:pt x="20" y="10"/>
                  </a:cubicBezTo>
                  <a:cubicBezTo>
                    <a:pt x="20" y="10"/>
                    <a:pt x="20" y="10"/>
                    <a:pt x="20" y="10"/>
                  </a:cubicBezTo>
                  <a:close/>
                  <a:moveTo>
                    <a:pt x="4" y="9"/>
                  </a:moveTo>
                  <a:cubicBezTo>
                    <a:pt x="5" y="8"/>
                    <a:pt x="5" y="8"/>
                    <a:pt x="5" y="7"/>
                  </a:cubicBezTo>
                  <a:cubicBezTo>
                    <a:pt x="5" y="6"/>
                    <a:pt x="6" y="5"/>
                    <a:pt x="6" y="5"/>
                  </a:cubicBezTo>
                  <a:cubicBezTo>
                    <a:pt x="7" y="4"/>
                    <a:pt x="7" y="4"/>
                    <a:pt x="8" y="3"/>
                  </a:cubicBezTo>
                  <a:cubicBezTo>
                    <a:pt x="9" y="3"/>
                    <a:pt x="9" y="3"/>
                    <a:pt x="10" y="3"/>
                  </a:cubicBezTo>
                  <a:cubicBezTo>
                    <a:pt x="12" y="3"/>
                    <a:pt x="14" y="3"/>
                    <a:pt x="15" y="4"/>
                  </a:cubicBezTo>
                  <a:cubicBezTo>
                    <a:pt x="16" y="6"/>
                    <a:pt x="16" y="7"/>
                    <a:pt x="16" y="9"/>
                  </a:cubicBezTo>
                  <a:cubicBezTo>
                    <a:pt x="4" y="9"/>
                    <a:pt x="4" y="9"/>
                    <a:pt x="4" y="9"/>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174">
              <a:extLst>
                <a:ext uri="{FF2B5EF4-FFF2-40B4-BE49-F238E27FC236}">
                  <a16:creationId xmlns:a16="http://schemas.microsoft.com/office/drawing/2014/main" id="{FDF56D5C-0F67-4423-A29D-5DF0847CCF63}"/>
                </a:ext>
              </a:extLst>
            </p:cNvPr>
            <p:cNvSpPr>
              <a:spLocks/>
            </p:cNvSpPr>
            <p:nvPr/>
          </p:nvSpPr>
          <p:spPr bwMode="auto">
            <a:xfrm>
              <a:off x="9430636" y="5901426"/>
              <a:ext cx="51945" cy="77917"/>
            </a:xfrm>
            <a:custGeom>
              <a:avLst/>
              <a:gdLst>
                <a:gd name="T0" fmla="*/ 15 w 15"/>
                <a:gd name="T1" fmla="*/ 14 h 23"/>
                <a:gd name="T2" fmla="*/ 13 w 15"/>
                <a:gd name="T3" fmla="*/ 12 h 23"/>
                <a:gd name="T4" fmla="*/ 12 w 15"/>
                <a:gd name="T5" fmla="*/ 11 h 23"/>
                <a:gd name="T6" fmla="*/ 10 w 15"/>
                <a:gd name="T7" fmla="*/ 10 h 23"/>
                <a:gd name="T8" fmla="*/ 8 w 15"/>
                <a:gd name="T9" fmla="*/ 9 h 23"/>
                <a:gd name="T10" fmla="*/ 6 w 15"/>
                <a:gd name="T11" fmla="*/ 8 h 23"/>
                <a:gd name="T12" fmla="*/ 5 w 15"/>
                <a:gd name="T13" fmla="*/ 7 h 23"/>
                <a:gd name="T14" fmla="*/ 4 w 15"/>
                <a:gd name="T15" fmla="*/ 6 h 23"/>
                <a:gd name="T16" fmla="*/ 5 w 15"/>
                <a:gd name="T17" fmla="*/ 5 h 23"/>
                <a:gd name="T18" fmla="*/ 5 w 15"/>
                <a:gd name="T19" fmla="*/ 4 h 23"/>
                <a:gd name="T20" fmla="*/ 7 w 15"/>
                <a:gd name="T21" fmla="*/ 3 h 23"/>
                <a:gd name="T22" fmla="*/ 8 w 15"/>
                <a:gd name="T23" fmla="*/ 3 h 23"/>
                <a:gd name="T24" fmla="*/ 10 w 15"/>
                <a:gd name="T25" fmla="*/ 3 h 23"/>
                <a:gd name="T26" fmla="*/ 12 w 15"/>
                <a:gd name="T27" fmla="*/ 4 h 23"/>
                <a:gd name="T28" fmla="*/ 13 w 15"/>
                <a:gd name="T29" fmla="*/ 4 h 23"/>
                <a:gd name="T30" fmla="*/ 13 w 15"/>
                <a:gd name="T31" fmla="*/ 4 h 23"/>
                <a:gd name="T32" fmla="*/ 14 w 15"/>
                <a:gd name="T33" fmla="*/ 4 h 23"/>
                <a:gd name="T34" fmla="*/ 14 w 15"/>
                <a:gd name="T35" fmla="*/ 4 h 23"/>
                <a:gd name="T36" fmla="*/ 14 w 15"/>
                <a:gd name="T37" fmla="*/ 4 h 23"/>
                <a:gd name="T38" fmla="*/ 14 w 15"/>
                <a:gd name="T39" fmla="*/ 3 h 23"/>
                <a:gd name="T40" fmla="*/ 14 w 15"/>
                <a:gd name="T41" fmla="*/ 2 h 23"/>
                <a:gd name="T42" fmla="*/ 14 w 15"/>
                <a:gd name="T43" fmla="*/ 2 h 23"/>
                <a:gd name="T44" fmla="*/ 14 w 15"/>
                <a:gd name="T45" fmla="*/ 1 h 23"/>
                <a:gd name="T46" fmla="*/ 13 w 15"/>
                <a:gd name="T47" fmla="*/ 1 h 23"/>
                <a:gd name="T48" fmla="*/ 13 w 15"/>
                <a:gd name="T49" fmla="*/ 1 h 23"/>
                <a:gd name="T50" fmla="*/ 12 w 15"/>
                <a:gd name="T51" fmla="*/ 0 h 23"/>
                <a:gd name="T52" fmla="*/ 10 w 15"/>
                <a:gd name="T53" fmla="*/ 0 h 23"/>
                <a:gd name="T54" fmla="*/ 8 w 15"/>
                <a:gd name="T55" fmla="*/ 0 h 23"/>
                <a:gd name="T56" fmla="*/ 5 w 15"/>
                <a:gd name="T57" fmla="*/ 0 h 23"/>
                <a:gd name="T58" fmla="*/ 3 w 15"/>
                <a:gd name="T59" fmla="*/ 2 h 23"/>
                <a:gd name="T60" fmla="*/ 1 w 15"/>
                <a:gd name="T61" fmla="*/ 4 h 23"/>
                <a:gd name="T62" fmla="*/ 1 w 15"/>
                <a:gd name="T63" fmla="*/ 6 h 23"/>
                <a:gd name="T64" fmla="*/ 1 w 15"/>
                <a:gd name="T65" fmla="*/ 8 h 23"/>
                <a:gd name="T66" fmla="*/ 2 w 15"/>
                <a:gd name="T67" fmla="*/ 10 h 23"/>
                <a:gd name="T68" fmla="*/ 4 w 15"/>
                <a:gd name="T69" fmla="*/ 11 h 23"/>
                <a:gd name="T70" fmla="*/ 6 w 15"/>
                <a:gd name="T71" fmla="*/ 12 h 23"/>
                <a:gd name="T72" fmla="*/ 8 w 15"/>
                <a:gd name="T73" fmla="*/ 13 h 23"/>
                <a:gd name="T74" fmla="*/ 10 w 15"/>
                <a:gd name="T75" fmla="*/ 14 h 23"/>
                <a:gd name="T76" fmla="*/ 11 w 15"/>
                <a:gd name="T77" fmla="*/ 15 h 23"/>
                <a:gd name="T78" fmla="*/ 11 w 15"/>
                <a:gd name="T79" fmla="*/ 16 h 23"/>
                <a:gd name="T80" fmla="*/ 11 w 15"/>
                <a:gd name="T81" fmla="*/ 18 h 23"/>
                <a:gd name="T82" fmla="*/ 10 w 15"/>
                <a:gd name="T83" fmla="*/ 19 h 23"/>
                <a:gd name="T84" fmla="*/ 9 w 15"/>
                <a:gd name="T85" fmla="*/ 20 h 23"/>
                <a:gd name="T86" fmla="*/ 7 w 15"/>
                <a:gd name="T87" fmla="*/ 20 h 23"/>
                <a:gd name="T88" fmla="*/ 5 w 15"/>
                <a:gd name="T89" fmla="*/ 20 h 23"/>
                <a:gd name="T90" fmla="*/ 3 w 15"/>
                <a:gd name="T91" fmla="*/ 19 h 23"/>
                <a:gd name="T92" fmla="*/ 2 w 15"/>
                <a:gd name="T93" fmla="*/ 18 h 23"/>
                <a:gd name="T94" fmla="*/ 1 w 15"/>
                <a:gd name="T95" fmla="*/ 18 h 23"/>
                <a:gd name="T96" fmla="*/ 1 w 15"/>
                <a:gd name="T97" fmla="*/ 18 h 23"/>
                <a:gd name="T98" fmla="*/ 0 w 15"/>
                <a:gd name="T99" fmla="*/ 18 h 23"/>
                <a:gd name="T100" fmla="*/ 0 w 15"/>
                <a:gd name="T101" fmla="*/ 19 h 23"/>
                <a:gd name="T102" fmla="*/ 0 w 15"/>
                <a:gd name="T103" fmla="*/ 19 h 23"/>
                <a:gd name="T104" fmla="*/ 0 w 15"/>
                <a:gd name="T105" fmla="*/ 21 h 23"/>
                <a:gd name="T106" fmla="*/ 1 w 15"/>
                <a:gd name="T107" fmla="*/ 21 h 23"/>
                <a:gd name="T108" fmla="*/ 1 w 15"/>
                <a:gd name="T109" fmla="*/ 22 h 23"/>
                <a:gd name="T110" fmla="*/ 3 w 15"/>
                <a:gd name="T111" fmla="*/ 22 h 23"/>
                <a:gd name="T112" fmla="*/ 5 w 15"/>
                <a:gd name="T113" fmla="*/ 23 h 23"/>
                <a:gd name="T114" fmla="*/ 7 w 15"/>
                <a:gd name="T115" fmla="*/ 23 h 23"/>
                <a:gd name="T116" fmla="*/ 10 w 15"/>
                <a:gd name="T117" fmla="*/ 22 h 23"/>
                <a:gd name="T118" fmla="*/ 13 w 15"/>
                <a:gd name="T119" fmla="*/ 21 h 23"/>
                <a:gd name="T120" fmla="*/ 15 w 15"/>
                <a:gd name="T121" fmla="*/ 19 h 23"/>
                <a:gd name="T122" fmla="*/ 15 w 15"/>
                <a:gd name="T123" fmla="*/ 16 h 23"/>
                <a:gd name="T124" fmla="*/ 15 w 15"/>
                <a:gd name="T1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3">
                  <a:moveTo>
                    <a:pt x="15" y="14"/>
                  </a:moveTo>
                  <a:cubicBezTo>
                    <a:pt x="14" y="13"/>
                    <a:pt x="14" y="13"/>
                    <a:pt x="13" y="12"/>
                  </a:cubicBezTo>
                  <a:cubicBezTo>
                    <a:pt x="13" y="12"/>
                    <a:pt x="12" y="11"/>
                    <a:pt x="12" y="11"/>
                  </a:cubicBezTo>
                  <a:cubicBezTo>
                    <a:pt x="11" y="11"/>
                    <a:pt x="10" y="10"/>
                    <a:pt x="10" y="10"/>
                  </a:cubicBezTo>
                  <a:cubicBezTo>
                    <a:pt x="9" y="10"/>
                    <a:pt x="8" y="9"/>
                    <a:pt x="8" y="9"/>
                  </a:cubicBezTo>
                  <a:cubicBezTo>
                    <a:pt x="7" y="9"/>
                    <a:pt x="7" y="9"/>
                    <a:pt x="6" y="8"/>
                  </a:cubicBezTo>
                  <a:cubicBezTo>
                    <a:pt x="6" y="8"/>
                    <a:pt x="5" y="8"/>
                    <a:pt x="5" y="7"/>
                  </a:cubicBezTo>
                  <a:cubicBezTo>
                    <a:pt x="5" y="7"/>
                    <a:pt x="4" y="6"/>
                    <a:pt x="4" y="6"/>
                  </a:cubicBezTo>
                  <a:cubicBezTo>
                    <a:pt x="4" y="5"/>
                    <a:pt x="4" y="5"/>
                    <a:pt x="5" y="5"/>
                  </a:cubicBezTo>
                  <a:cubicBezTo>
                    <a:pt x="5" y="4"/>
                    <a:pt x="5" y="4"/>
                    <a:pt x="5" y="4"/>
                  </a:cubicBezTo>
                  <a:cubicBezTo>
                    <a:pt x="6" y="3"/>
                    <a:pt x="6" y="3"/>
                    <a:pt x="7" y="3"/>
                  </a:cubicBezTo>
                  <a:cubicBezTo>
                    <a:pt x="7" y="3"/>
                    <a:pt x="8" y="3"/>
                    <a:pt x="8" y="3"/>
                  </a:cubicBezTo>
                  <a:cubicBezTo>
                    <a:pt x="9" y="3"/>
                    <a:pt x="10" y="3"/>
                    <a:pt x="10" y="3"/>
                  </a:cubicBezTo>
                  <a:cubicBezTo>
                    <a:pt x="11" y="3"/>
                    <a:pt x="11" y="3"/>
                    <a:pt x="12" y="4"/>
                  </a:cubicBezTo>
                  <a:cubicBezTo>
                    <a:pt x="12" y="4"/>
                    <a:pt x="13" y="4"/>
                    <a:pt x="13" y="4"/>
                  </a:cubicBezTo>
                  <a:cubicBezTo>
                    <a:pt x="13" y="4"/>
                    <a:pt x="13" y="4"/>
                    <a:pt x="13" y="4"/>
                  </a:cubicBezTo>
                  <a:cubicBezTo>
                    <a:pt x="14" y="4"/>
                    <a:pt x="14" y="4"/>
                    <a:pt x="14" y="4"/>
                  </a:cubicBezTo>
                  <a:cubicBezTo>
                    <a:pt x="14" y="4"/>
                    <a:pt x="14" y="4"/>
                    <a:pt x="14" y="4"/>
                  </a:cubicBezTo>
                  <a:cubicBezTo>
                    <a:pt x="14" y="4"/>
                    <a:pt x="14" y="4"/>
                    <a:pt x="14" y="4"/>
                  </a:cubicBezTo>
                  <a:cubicBezTo>
                    <a:pt x="14" y="3"/>
                    <a:pt x="14" y="3"/>
                    <a:pt x="14" y="3"/>
                  </a:cubicBezTo>
                  <a:cubicBezTo>
                    <a:pt x="14" y="3"/>
                    <a:pt x="14" y="2"/>
                    <a:pt x="14" y="2"/>
                  </a:cubicBezTo>
                  <a:cubicBezTo>
                    <a:pt x="14" y="2"/>
                    <a:pt x="14" y="2"/>
                    <a:pt x="14" y="2"/>
                  </a:cubicBezTo>
                  <a:cubicBezTo>
                    <a:pt x="14" y="2"/>
                    <a:pt x="14" y="2"/>
                    <a:pt x="14" y="1"/>
                  </a:cubicBezTo>
                  <a:cubicBezTo>
                    <a:pt x="14" y="1"/>
                    <a:pt x="14" y="1"/>
                    <a:pt x="13" y="1"/>
                  </a:cubicBezTo>
                  <a:cubicBezTo>
                    <a:pt x="13" y="1"/>
                    <a:pt x="13" y="1"/>
                    <a:pt x="13" y="1"/>
                  </a:cubicBezTo>
                  <a:cubicBezTo>
                    <a:pt x="12" y="1"/>
                    <a:pt x="12" y="0"/>
                    <a:pt x="12" y="0"/>
                  </a:cubicBezTo>
                  <a:cubicBezTo>
                    <a:pt x="11" y="0"/>
                    <a:pt x="11" y="0"/>
                    <a:pt x="10" y="0"/>
                  </a:cubicBezTo>
                  <a:cubicBezTo>
                    <a:pt x="10" y="0"/>
                    <a:pt x="9" y="0"/>
                    <a:pt x="8" y="0"/>
                  </a:cubicBezTo>
                  <a:cubicBezTo>
                    <a:pt x="7" y="0"/>
                    <a:pt x="6" y="0"/>
                    <a:pt x="5" y="0"/>
                  </a:cubicBezTo>
                  <a:cubicBezTo>
                    <a:pt x="4" y="1"/>
                    <a:pt x="3" y="1"/>
                    <a:pt x="3" y="2"/>
                  </a:cubicBezTo>
                  <a:cubicBezTo>
                    <a:pt x="2" y="2"/>
                    <a:pt x="1" y="3"/>
                    <a:pt x="1" y="4"/>
                  </a:cubicBezTo>
                  <a:cubicBezTo>
                    <a:pt x="1" y="4"/>
                    <a:pt x="1" y="5"/>
                    <a:pt x="1" y="6"/>
                  </a:cubicBezTo>
                  <a:cubicBezTo>
                    <a:pt x="1" y="7"/>
                    <a:pt x="1" y="8"/>
                    <a:pt x="1" y="8"/>
                  </a:cubicBezTo>
                  <a:cubicBezTo>
                    <a:pt x="1" y="9"/>
                    <a:pt x="2" y="10"/>
                    <a:pt x="2" y="10"/>
                  </a:cubicBezTo>
                  <a:cubicBezTo>
                    <a:pt x="3" y="11"/>
                    <a:pt x="3" y="11"/>
                    <a:pt x="4" y="11"/>
                  </a:cubicBezTo>
                  <a:cubicBezTo>
                    <a:pt x="5" y="12"/>
                    <a:pt x="5" y="12"/>
                    <a:pt x="6" y="12"/>
                  </a:cubicBezTo>
                  <a:cubicBezTo>
                    <a:pt x="7" y="13"/>
                    <a:pt x="7" y="13"/>
                    <a:pt x="8" y="13"/>
                  </a:cubicBezTo>
                  <a:cubicBezTo>
                    <a:pt x="9" y="13"/>
                    <a:pt x="9" y="14"/>
                    <a:pt x="10" y="14"/>
                  </a:cubicBezTo>
                  <a:cubicBezTo>
                    <a:pt x="10" y="14"/>
                    <a:pt x="11" y="15"/>
                    <a:pt x="11" y="15"/>
                  </a:cubicBezTo>
                  <a:cubicBezTo>
                    <a:pt x="11" y="15"/>
                    <a:pt x="11" y="16"/>
                    <a:pt x="11" y="16"/>
                  </a:cubicBezTo>
                  <a:cubicBezTo>
                    <a:pt x="11" y="17"/>
                    <a:pt x="11" y="18"/>
                    <a:pt x="11" y="18"/>
                  </a:cubicBezTo>
                  <a:cubicBezTo>
                    <a:pt x="11" y="18"/>
                    <a:pt x="10" y="19"/>
                    <a:pt x="10" y="19"/>
                  </a:cubicBezTo>
                  <a:cubicBezTo>
                    <a:pt x="10" y="19"/>
                    <a:pt x="9" y="19"/>
                    <a:pt x="9" y="20"/>
                  </a:cubicBezTo>
                  <a:cubicBezTo>
                    <a:pt x="8" y="20"/>
                    <a:pt x="8" y="20"/>
                    <a:pt x="7" y="20"/>
                  </a:cubicBezTo>
                  <a:cubicBezTo>
                    <a:pt x="6" y="20"/>
                    <a:pt x="5" y="20"/>
                    <a:pt x="5" y="20"/>
                  </a:cubicBezTo>
                  <a:cubicBezTo>
                    <a:pt x="4" y="19"/>
                    <a:pt x="3" y="19"/>
                    <a:pt x="3" y="19"/>
                  </a:cubicBezTo>
                  <a:cubicBezTo>
                    <a:pt x="2" y="19"/>
                    <a:pt x="2" y="18"/>
                    <a:pt x="2" y="18"/>
                  </a:cubicBezTo>
                  <a:cubicBezTo>
                    <a:pt x="1" y="18"/>
                    <a:pt x="1" y="18"/>
                    <a:pt x="1" y="18"/>
                  </a:cubicBezTo>
                  <a:cubicBezTo>
                    <a:pt x="1" y="18"/>
                    <a:pt x="1" y="18"/>
                    <a:pt x="1" y="18"/>
                  </a:cubicBezTo>
                  <a:cubicBezTo>
                    <a:pt x="0" y="18"/>
                    <a:pt x="0" y="18"/>
                    <a:pt x="0" y="18"/>
                  </a:cubicBezTo>
                  <a:cubicBezTo>
                    <a:pt x="0" y="18"/>
                    <a:pt x="0" y="18"/>
                    <a:pt x="0" y="19"/>
                  </a:cubicBezTo>
                  <a:cubicBezTo>
                    <a:pt x="0" y="19"/>
                    <a:pt x="0" y="19"/>
                    <a:pt x="0" y="19"/>
                  </a:cubicBezTo>
                  <a:cubicBezTo>
                    <a:pt x="0" y="20"/>
                    <a:pt x="0" y="20"/>
                    <a:pt x="0" y="21"/>
                  </a:cubicBezTo>
                  <a:cubicBezTo>
                    <a:pt x="0" y="21"/>
                    <a:pt x="1" y="21"/>
                    <a:pt x="1" y="21"/>
                  </a:cubicBezTo>
                  <a:cubicBezTo>
                    <a:pt x="1" y="21"/>
                    <a:pt x="1" y="22"/>
                    <a:pt x="1" y="22"/>
                  </a:cubicBezTo>
                  <a:cubicBezTo>
                    <a:pt x="2" y="22"/>
                    <a:pt x="2" y="22"/>
                    <a:pt x="3" y="22"/>
                  </a:cubicBezTo>
                  <a:cubicBezTo>
                    <a:pt x="3" y="22"/>
                    <a:pt x="4" y="23"/>
                    <a:pt x="5" y="23"/>
                  </a:cubicBezTo>
                  <a:cubicBezTo>
                    <a:pt x="5" y="23"/>
                    <a:pt x="6" y="23"/>
                    <a:pt x="7" y="23"/>
                  </a:cubicBezTo>
                  <a:cubicBezTo>
                    <a:pt x="8" y="23"/>
                    <a:pt x="9" y="23"/>
                    <a:pt x="10" y="22"/>
                  </a:cubicBezTo>
                  <a:cubicBezTo>
                    <a:pt x="11" y="22"/>
                    <a:pt x="12" y="22"/>
                    <a:pt x="13" y="21"/>
                  </a:cubicBezTo>
                  <a:cubicBezTo>
                    <a:pt x="14" y="21"/>
                    <a:pt x="14" y="20"/>
                    <a:pt x="15" y="19"/>
                  </a:cubicBezTo>
                  <a:cubicBezTo>
                    <a:pt x="15" y="18"/>
                    <a:pt x="15" y="17"/>
                    <a:pt x="15" y="16"/>
                  </a:cubicBezTo>
                  <a:cubicBezTo>
                    <a:pt x="15" y="15"/>
                    <a:pt x="15" y="14"/>
                    <a:pt x="15" y="14"/>
                  </a:cubicBezTo>
                  <a:close/>
                </a:path>
              </a:pathLst>
            </a:custGeom>
            <a:solidFill>
              <a:srgbClr val="797B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175">
              <a:extLst>
                <a:ext uri="{FF2B5EF4-FFF2-40B4-BE49-F238E27FC236}">
                  <a16:creationId xmlns:a16="http://schemas.microsoft.com/office/drawing/2014/main" id="{286685CD-EC69-4CD7-9693-99E8C63F217B}"/>
                </a:ext>
              </a:extLst>
            </p:cNvPr>
            <p:cNvSpPr>
              <a:spLocks/>
            </p:cNvSpPr>
            <p:nvPr/>
          </p:nvSpPr>
          <p:spPr bwMode="auto">
            <a:xfrm>
              <a:off x="3012555" y="5959143"/>
              <a:ext cx="77917" cy="137077"/>
            </a:xfrm>
            <a:custGeom>
              <a:avLst/>
              <a:gdLst>
                <a:gd name="T0" fmla="*/ 23 w 23"/>
                <a:gd name="T1" fmla="*/ 2 h 40"/>
                <a:gd name="T2" fmla="*/ 23 w 23"/>
                <a:gd name="T3" fmla="*/ 1 h 40"/>
                <a:gd name="T4" fmla="*/ 22 w 23"/>
                <a:gd name="T5" fmla="*/ 0 h 40"/>
                <a:gd name="T6" fmla="*/ 22 w 23"/>
                <a:gd name="T7" fmla="*/ 0 h 40"/>
                <a:gd name="T8" fmla="*/ 3 w 23"/>
                <a:gd name="T9" fmla="*/ 0 h 40"/>
                <a:gd name="T10" fmla="*/ 1 w 23"/>
                <a:gd name="T11" fmla="*/ 0 h 40"/>
                <a:gd name="T12" fmla="*/ 0 w 23"/>
                <a:gd name="T13" fmla="*/ 2 h 40"/>
                <a:gd name="T14" fmla="*/ 0 w 23"/>
                <a:gd name="T15" fmla="*/ 39 h 40"/>
                <a:gd name="T16" fmla="*/ 0 w 23"/>
                <a:gd name="T17" fmla="*/ 40 h 40"/>
                <a:gd name="T18" fmla="*/ 1 w 23"/>
                <a:gd name="T19" fmla="*/ 40 h 40"/>
                <a:gd name="T20" fmla="*/ 2 w 23"/>
                <a:gd name="T21" fmla="*/ 40 h 40"/>
                <a:gd name="T22" fmla="*/ 4 w 23"/>
                <a:gd name="T23" fmla="*/ 40 h 40"/>
                <a:gd name="T24" fmla="*/ 6 w 23"/>
                <a:gd name="T25" fmla="*/ 40 h 40"/>
                <a:gd name="T26" fmla="*/ 8 w 23"/>
                <a:gd name="T27" fmla="*/ 40 h 40"/>
                <a:gd name="T28" fmla="*/ 8 w 23"/>
                <a:gd name="T29" fmla="*/ 40 h 40"/>
                <a:gd name="T30" fmla="*/ 8 w 23"/>
                <a:gd name="T31" fmla="*/ 39 h 40"/>
                <a:gd name="T32" fmla="*/ 8 w 23"/>
                <a:gd name="T33" fmla="*/ 24 h 40"/>
                <a:gd name="T34" fmla="*/ 21 w 23"/>
                <a:gd name="T35" fmla="*/ 24 h 40"/>
                <a:gd name="T36" fmla="*/ 21 w 23"/>
                <a:gd name="T37" fmla="*/ 24 h 40"/>
                <a:gd name="T38" fmla="*/ 22 w 23"/>
                <a:gd name="T39" fmla="*/ 23 h 40"/>
                <a:gd name="T40" fmla="*/ 22 w 23"/>
                <a:gd name="T41" fmla="*/ 22 h 40"/>
                <a:gd name="T42" fmla="*/ 22 w 23"/>
                <a:gd name="T43" fmla="*/ 21 h 40"/>
                <a:gd name="T44" fmla="*/ 22 w 23"/>
                <a:gd name="T45" fmla="*/ 19 h 40"/>
                <a:gd name="T46" fmla="*/ 22 w 23"/>
                <a:gd name="T47" fmla="*/ 18 h 40"/>
                <a:gd name="T48" fmla="*/ 21 w 23"/>
                <a:gd name="T49" fmla="*/ 18 h 40"/>
                <a:gd name="T50" fmla="*/ 21 w 23"/>
                <a:gd name="T51" fmla="*/ 17 h 40"/>
                <a:gd name="T52" fmla="*/ 8 w 23"/>
                <a:gd name="T53" fmla="*/ 17 h 40"/>
                <a:gd name="T54" fmla="*/ 8 w 23"/>
                <a:gd name="T55" fmla="*/ 7 h 40"/>
                <a:gd name="T56" fmla="*/ 22 w 23"/>
                <a:gd name="T57" fmla="*/ 7 h 40"/>
                <a:gd name="T58" fmla="*/ 22 w 23"/>
                <a:gd name="T59" fmla="*/ 6 h 40"/>
                <a:gd name="T60" fmla="*/ 23 w 23"/>
                <a:gd name="T61" fmla="*/ 6 h 40"/>
                <a:gd name="T62" fmla="*/ 23 w 23"/>
                <a:gd name="T63" fmla="*/ 5 h 40"/>
                <a:gd name="T64" fmla="*/ 23 w 23"/>
                <a:gd name="T65" fmla="*/ 3 h 40"/>
                <a:gd name="T66" fmla="*/ 23 w 23"/>
                <a:gd name="T6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40">
                  <a:moveTo>
                    <a:pt x="23" y="2"/>
                  </a:moveTo>
                  <a:cubicBezTo>
                    <a:pt x="23" y="1"/>
                    <a:pt x="23" y="1"/>
                    <a:pt x="23" y="1"/>
                  </a:cubicBezTo>
                  <a:cubicBezTo>
                    <a:pt x="22" y="0"/>
                    <a:pt x="22" y="0"/>
                    <a:pt x="22" y="0"/>
                  </a:cubicBezTo>
                  <a:cubicBezTo>
                    <a:pt x="22" y="0"/>
                    <a:pt x="22" y="0"/>
                    <a:pt x="22" y="0"/>
                  </a:cubicBezTo>
                  <a:cubicBezTo>
                    <a:pt x="3" y="0"/>
                    <a:pt x="3" y="0"/>
                    <a:pt x="3" y="0"/>
                  </a:cubicBezTo>
                  <a:cubicBezTo>
                    <a:pt x="2" y="0"/>
                    <a:pt x="1" y="0"/>
                    <a:pt x="1" y="0"/>
                  </a:cubicBezTo>
                  <a:cubicBezTo>
                    <a:pt x="0" y="1"/>
                    <a:pt x="0" y="2"/>
                    <a:pt x="0" y="2"/>
                  </a:cubicBezTo>
                  <a:cubicBezTo>
                    <a:pt x="0" y="39"/>
                    <a:pt x="0" y="39"/>
                    <a:pt x="0" y="39"/>
                  </a:cubicBezTo>
                  <a:cubicBezTo>
                    <a:pt x="0" y="39"/>
                    <a:pt x="0" y="40"/>
                    <a:pt x="0" y="40"/>
                  </a:cubicBezTo>
                  <a:cubicBezTo>
                    <a:pt x="1" y="40"/>
                    <a:pt x="1" y="40"/>
                    <a:pt x="1" y="40"/>
                  </a:cubicBezTo>
                  <a:cubicBezTo>
                    <a:pt x="1" y="40"/>
                    <a:pt x="2" y="40"/>
                    <a:pt x="2" y="40"/>
                  </a:cubicBezTo>
                  <a:cubicBezTo>
                    <a:pt x="3" y="40"/>
                    <a:pt x="4" y="40"/>
                    <a:pt x="4" y="40"/>
                  </a:cubicBezTo>
                  <a:cubicBezTo>
                    <a:pt x="5" y="40"/>
                    <a:pt x="6" y="40"/>
                    <a:pt x="6" y="40"/>
                  </a:cubicBezTo>
                  <a:cubicBezTo>
                    <a:pt x="7" y="40"/>
                    <a:pt x="7" y="40"/>
                    <a:pt x="8" y="40"/>
                  </a:cubicBezTo>
                  <a:cubicBezTo>
                    <a:pt x="8" y="40"/>
                    <a:pt x="8" y="40"/>
                    <a:pt x="8" y="40"/>
                  </a:cubicBezTo>
                  <a:cubicBezTo>
                    <a:pt x="8" y="40"/>
                    <a:pt x="8" y="39"/>
                    <a:pt x="8" y="39"/>
                  </a:cubicBezTo>
                  <a:cubicBezTo>
                    <a:pt x="8" y="24"/>
                    <a:pt x="8" y="24"/>
                    <a:pt x="8" y="24"/>
                  </a:cubicBezTo>
                  <a:cubicBezTo>
                    <a:pt x="21" y="24"/>
                    <a:pt x="21" y="24"/>
                    <a:pt x="21" y="24"/>
                  </a:cubicBezTo>
                  <a:cubicBezTo>
                    <a:pt x="21" y="24"/>
                    <a:pt x="21" y="24"/>
                    <a:pt x="21" y="24"/>
                  </a:cubicBezTo>
                  <a:cubicBezTo>
                    <a:pt x="22" y="24"/>
                    <a:pt x="22" y="24"/>
                    <a:pt x="22" y="23"/>
                  </a:cubicBezTo>
                  <a:cubicBezTo>
                    <a:pt x="22" y="23"/>
                    <a:pt x="22" y="23"/>
                    <a:pt x="22" y="22"/>
                  </a:cubicBezTo>
                  <a:cubicBezTo>
                    <a:pt x="22" y="22"/>
                    <a:pt x="22" y="21"/>
                    <a:pt x="22" y="21"/>
                  </a:cubicBezTo>
                  <a:cubicBezTo>
                    <a:pt x="22" y="20"/>
                    <a:pt x="22" y="20"/>
                    <a:pt x="22" y="19"/>
                  </a:cubicBezTo>
                  <a:cubicBezTo>
                    <a:pt x="22" y="19"/>
                    <a:pt x="22" y="18"/>
                    <a:pt x="22" y="18"/>
                  </a:cubicBezTo>
                  <a:cubicBezTo>
                    <a:pt x="22" y="18"/>
                    <a:pt x="22" y="18"/>
                    <a:pt x="21" y="18"/>
                  </a:cubicBezTo>
                  <a:cubicBezTo>
                    <a:pt x="21" y="18"/>
                    <a:pt x="21" y="17"/>
                    <a:pt x="21" y="17"/>
                  </a:cubicBezTo>
                  <a:cubicBezTo>
                    <a:pt x="8" y="17"/>
                    <a:pt x="8" y="17"/>
                    <a:pt x="8" y="17"/>
                  </a:cubicBezTo>
                  <a:cubicBezTo>
                    <a:pt x="8" y="7"/>
                    <a:pt x="8" y="7"/>
                    <a:pt x="8" y="7"/>
                  </a:cubicBezTo>
                  <a:cubicBezTo>
                    <a:pt x="22" y="7"/>
                    <a:pt x="22" y="7"/>
                    <a:pt x="22" y="7"/>
                  </a:cubicBezTo>
                  <a:cubicBezTo>
                    <a:pt x="22" y="7"/>
                    <a:pt x="22" y="7"/>
                    <a:pt x="22" y="6"/>
                  </a:cubicBezTo>
                  <a:cubicBezTo>
                    <a:pt x="22" y="6"/>
                    <a:pt x="22" y="6"/>
                    <a:pt x="23" y="6"/>
                  </a:cubicBezTo>
                  <a:cubicBezTo>
                    <a:pt x="23" y="6"/>
                    <a:pt x="23" y="5"/>
                    <a:pt x="23" y="5"/>
                  </a:cubicBezTo>
                  <a:cubicBezTo>
                    <a:pt x="23" y="4"/>
                    <a:pt x="23" y="4"/>
                    <a:pt x="23" y="3"/>
                  </a:cubicBezTo>
                  <a:cubicBezTo>
                    <a:pt x="23" y="3"/>
                    <a:pt x="23" y="2"/>
                    <a:pt x="23" y="2"/>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176">
              <a:extLst>
                <a:ext uri="{FF2B5EF4-FFF2-40B4-BE49-F238E27FC236}">
                  <a16:creationId xmlns:a16="http://schemas.microsoft.com/office/drawing/2014/main" id="{134AFC83-B490-4860-B0F4-7B704070DC1E}"/>
                </a:ext>
              </a:extLst>
            </p:cNvPr>
            <p:cNvSpPr>
              <a:spLocks noEditPoints="1"/>
            </p:cNvSpPr>
            <p:nvPr/>
          </p:nvSpPr>
          <p:spPr bwMode="auto">
            <a:xfrm>
              <a:off x="3104902" y="5956257"/>
              <a:ext cx="132748" cy="144291"/>
            </a:xfrm>
            <a:custGeom>
              <a:avLst/>
              <a:gdLst>
                <a:gd name="T0" fmla="*/ 37 w 39"/>
                <a:gd name="T1" fmla="*/ 12 h 42"/>
                <a:gd name="T2" fmla="*/ 34 w 39"/>
                <a:gd name="T3" fmla="*/ 5 h 42"/>
                <a:gd name="T4" fmla="*/ 28 w 39"/>
                <a:gd name="T5" fmla="*/ 1 h 42"/>
                <a:gd name="T6" fmla="*/ 20 w 39"/>
                <a:gd name="T7" fmla="*/ 0 h 42"/>
                <a:gd name="T8" fmla="*/ 11 w 39"/>
                <a:gd name="T9" fmla="*/ 2 h 42"/>
                <a:gd name="T10" fmla="*/ 5 w 39"/>
                <a:gd name="T11" fmla="*/ 6 h 42"/>
                <a:gd name="T12" fmla="*/ 2 w 39"/>
                <a:gd name="T13" fmla="*/ 13 h 42"/>
                <a:gd name="T14" fmla="*/ 0 w 39"/>
                <a:gd name="T15" fmla="*/ 21 h 42"/>
                <a:gd name="T16" fmla="*/ 2 w 39"/>
                <a:gd name="T17" fmla="*/ 31 h 42"/>
                <a:gd name="T18" fmla="*/ 5 w 39"/>
                <a:gd name="T19" fmla="*/ 37 h 42"/>
                <a:gd name="T20" fmla="*/ 11 w 39"/>
                <a:gd name="T21" fmla="*/ 41 h 42"/>
                <a:gd name="T22" fmla="*/ 19 w 39"/>
                <a:gd name="T23" fmla="*/ 42 h 42"/>
                <a:gd name="T24" fmla="*/ 28 w 39"/>
                <a:gd name="T25" fmla="*/ 41 h 42"/>
                <a:gd name="T26" fmla="*/ 34 w 39"/>
                <a:gd name="T27" fmla="*/ 36 h 42"/>
                <a:gd name="T28" fmla="*/ 37 w 39"/>
                <a:gd name="T29" fmla="*/ 30 h 42"/>
                <a:gd name="T30" fmla="*/ 39 w 39"/>
                <a:gd name="T31" fmla="*/ 21 h 42"/>
                <a:gd name="T32" fmla="*/ 37 w 39"/>
                <a:gd name="T33" fmla="*/ 12 h 42"/>
                <a:gd name="T34" fmla="*/ 29 w 39"/>
                <a:gd name="T35" fmla="*/ 27 h 42"/>
                <a:gd name="T36" fmla="*/ 28 w 39"/>
                <a:gd name="T37" fmla="*/ 31 h 42"/>
                <a:gd name="T38" fmla="*/ 24 w 39"/>
                <a:gd name="T39" fmla="*/ 34 h 42"/>
                <a:gd name="T40" fmla="*/ 19 w 39"/>
                <a:gd name="T41" fmla="*/ 35 h 42"/>
                <a:gd name="T42" fmla="*/ 14 w 39"/>
                <a:gd name="T43" fmla="*/ 34 h 42"/>
                <a:gd name="T44" fmla="*/ 11 w 39"/>
                <a:gd name="T45" fmla="*/ 31 h 42"/>
                <a:gd name="T46" fmla="*/ 9 w 39"/>
                <a:gd name="T47" fmla="*/ 27 h 42"/>
                <a:gd name="T48" fmla="*/ 9 w 39"/>
                <a:gd name="T49" fmla="*/ 21 h 42"/>
                <a:gd name="T50" fmla="*/ 9 w 39"/>
                <a:gd name="T51" fmla="*/ 16 h 42"/>
                <a:gd name="T52" fmla="*/ 11 w 39"/>
                <a:gd name="T53" fmla="*/ 11 h 42"/>
                <a:gd name="T54" fmla="*/ 15 w 39"/>
                <a:gd name="T55" fmla="*/ 8 h 42"/>
                <a:gd name="T56" fmla="*/ 20 w 39"/>
                <a:gd name="T57" fmla="*/ 7 h 42"/>
                <a:gd name="T58" fmla="*/ 25 w 39"/>
                <a:gd name="T59" fmla="*/ 8 h 42"/>
                <a:gd name="T60" fmla="*/ 28 w 39"/>
                <a:gd name="T61" fmla="*/ 11 h 42"/>
                <a:gd name="T62" fmla="*/ 30 w 39"/>
                <a:gd name="T63" fmla="*/ 15 h 42"/>
                <a:gd name="T64" fmla="*/ 30 w 39"/>
                <a:gd name="T65" fmla="*/ 21 h 42"/>
                <a:gd name="T66" fmla="*/ 29 w 39"/>
                <a:gd name="T67" fmla="*/ 2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42">
                  <a:moveTo>
                    <a:pt x="37" y="12"/>
                  </a:moveTo>
                  <a:cubicBezTo>
                    <a:pt x="37" y="9"/>
                    <a:pt x="35" y="7"/>
                    <a:pt x="34" y="5"/>
                  </a:cubicBezTo>
                  <a:cubicBezTo>
                    <a:pt x="32" y="3"/>
                    <a:pt x="30" y="2"/>
                    <a:pt x="28" y="1"/>
                  </a:cubicBezTo>
                  <a:cubicBezTo>
                    <a:pt x="26" y="1"/>
                    <a:pt x="23" y="0"/>
                    <a:pt x="20" y="0"/>
                  </a:cubicBezTo>
                  <a:cubicBezTo>
                    <a:pt x="17" y="0"/>
                    <a:pt x="14" y="1"/>
                    <a:pt x="11" y="2"/>
                  </a:cubicBezTo>
                  <a:cubicBezTo>
                    <a:pt x="9" y="3"/>
                    <a:pt x="7" y="4"/>
                    <a:pt x="5" y="6"/>
                  </a:cubicBezTo>
                  <a:cubicBezTo>
                    <a:pt x="4" y="8"/>
                    <a:pt x="2" y="10"/>
                    <a:pt x="2" y="13"/>
                  </a:cubicBezTo>
                  <a:cubicBezTo>
                    <a:pt x="1" y="15"/>
                    <a:pt x="0" y="18"/>
                    <a:pt x="0" y="21"/>
                  </a:cubicBezTo>
                  <a:cubicBezTo>
                    <a:pt x="0" y="25"/>
                    <a:pt x="1" y="28"/>
                    <a:pt x="2" y="31"/>
                  </a:cubicBezTo>
                  <a:cubicBezTo>
                    <a:pt x="2" y="33"/>
                    <a:pt x="3" y="35"/>
                    <a:pt x="5" y="37"/>
                  </a:cubicBezTo>
                  <a:cubicBezTo>
                    <a:pt x="7" y="39"/>
                    <a:pt x="9" y="40"/>
                    <a:pt x="11" y="41"/>
                  </a:cubicBezTo>
                  <a:cubicBezTo>
                    <a:pt x="13" y="42"/>
                    <a:pt x="16" y="42"/>
                    <a:pt x="19" y="42"/>
                  </a:cubicBezTo>
                  <a:cubicBezTo>
                    <a:pt x="22" y="42"/>
                    <a:pt x="25" y="42"/>
                    <a:pt x="28" y="41"/>
                  </a:cubicBezTo>
                  <a:cubicBezTo>
                    <a:pt x="30" y="40"/>
                    <a:pt x="32" y="38"/>
                    <a:pt x="34" y="36"/>
                  </a:cubicBezTo>
                  <a:cubicBezTo>
                    <a:pt x="35" y="35"/>
                    <a:pt x="37" y="32"/>
                    <a:pt x="37" y="30"/>
                  </a:cubicBezTo>
                  <a:cubicBezTo>
                    <a:pt x="38" y="27"/>
                    <a:pt x="39" y="24"/>
                    <a:pt x="39" y="21"/>
                  </a:cubicBezTo>
                  <a:cubicBezTo>
                    <a:pt x="39" y="17"/>
                    <a:pt x="38" y="14"/>
                    <a:pt x="37" y="12"/>
                  </a:cubicBezTo>
                  <a:close/>
                  <a:moveTo>
                    <a:pt x="29" y="27"/>
                  </a:moveTo>
                  <a:cubicBezTo>
                    <a:pt x="29" y="28"/>
                    <a:pt x="29" y="30"/>
                    <a:pt x="28" y="31"/>
                  </a:cubicBezTo>
                  <a:cubicBezTo>
                    <a:pt x="27" y="32"/>
                    <a:pt x="26" y="33"/>
                    <a:pt x="24" y="34"/>
                  </a:cubicBezTo>
                  <a:cubicBezTo>
                    <a:pt x="23" y="35"/>
                    <a:pt x="21" y="35"/>
                    <a:pt x="19" y="35"/>
                  </a:cubicBezTo>
                  <a:cubicBezTo>
                    <a:pt x="17" y="35"/>
                    <a:pt x="16" y="35"/>
                    <a:pt x="14" y="34"/>
                  </a:cubicBezTo>
                  <a:cubicBezTo>
                    <a:pt x="13" y="34"/>
                    <a:pt x="12" y="33"/>
                    <a:pt x="11" y="31"/>
                  </a:cubicBezTo>
                  <a:cubicBezTo>
                    <a:pt x="10" y="30"/>
                    <a:pt x="10" y="29"/>
                    <a:pt x="9" y="27"/>
                  </a:cubicBezTo>
                  <a:cubicBezTo>
                    <a:pt x="9" y="25"/>
                    <a:pt x="9" y="23"/>
                    <a:pt x="9" y="21"/>
                  </a:cubicBezTo>
                  <a:cubicBezTo>
                    <a:pt x="9" y="19"/>
                    <a:pt x="9" y="17"/>
                    <a:pt x="9" y="16"/>
                  </a:cubicBezTo>
                  <a:cubicBezTo>
                    <a:pt x="10" y="14"/>
                    <a:pt x="10" y="12"/>
                    <a:pt x="11" y="11"/>
                  </a:cubicBezTo>
                  <a:cubicBezTo>
                    <a:pt x="12" y="10"/>
                    <a:pt x="13" y="9"/>
                    <a:pt x="15" y="8"/>
                  </a:cubicBezTo>
                  <a:cubicBezTo>
                    <a:pt x="16" y="7"/>
                    <a:pt x="18" y="7"/>
                    <a:pt x="20" y="7"/>
                  </a:cubicBezTo>
                  <a:cubicBezTo>
                    <a:pt x="22" y="7"/>
                    <a:pt x="23" y="7"/>
                    <a:pt x="25" y="8"/>
                  </a:cubicBezTo>
                  <a:cubicBezTo>
                    <a:pt x="26" y="9"/>
                    <a:pt x="27" y="10"/>
                    <a:pt x="28" y="11"/>
                  </a:cubicBezTo>
                  <a:cubicBezTo>
                    <a:pt x="29" y="12"/>
                    <a:pt x="29" y="14"/>
                    <a:pt x="30" y="15"/>
                  </a:cubicBezTo>
                  <a:cubicBezTo>
                    <a:pt x="30" y="17"/>
                    <a:pt x="30" y="19"/>
                    <a:pt x="30" y="21"/>
                  </a:cubicBezTo>
                  <a:cubicBezTo>
                    <a:pt x="30" y="23"/>
                    <a:pt x="30" y="25"/>
                    <a:pt x="29" y="27"/>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177">
              <a:extLst>
                <a:ext uri="{FF2B5EF4-FFF2-40B4-BE49-F238E27FC236}">
                  <a16:creationId xmlns:a16="http://schemas.microsoft.com/office/drawing/2014/main" id="{8FDB1F09-B470-4E94-9FB8-37595F109492}"/>
                </a:ext>
              </a:extLst>
            </p:cNvPr>
            <p:cNvSpPr>
              <a:spLocks/>
            </p:cNvSpPr>
            <p:nvPr/>
          </p:nvSpPr>
          <p:spPr bwMode="auto">
            <a:xfrm>
              <a:off x="3259294" y="5959143"/>
              <a:ext cx="112547" cy="141406"/>
            </a:xfrm>
            <a:custGeom>
              <a:avLst/>
              <a:gdLst>
                <a:gd name="T0" fmla="*/ 33 w 33"/>
                <a:gd name="T1" fmla="*/ 1 h 41"/>
                <a:gd name="T2" fmla="*/ 33 w 33"/>
                <a:gd name="T3" fmla="*/ 0 h 41"/>
                <a:gd name="T4" fmla="*/ 33 w 33"/>
                <a:gd name="T5" fmla="*/ 0 h 41"/>
                <a:gd name="T6" fmla="*/ 31 w 33"/>
                <a:gd name="T7" fmla="*/ 0 h 41"/>
                <a:gd name="T8" fmla="*/ 29 w 33"/>
                <a:gd name="T9" fmla="*/ 0 h 41"/>
                <a:gd name="T10" fmla="*/ 27 w 33"/>
                <a:gd name="T11" fmla="*/ 0 h 41"/>
                <a:gd name="T12" fmla="*/ 26 w 33"/>
                <a:gd name="T13" fmla="*/ 0 h 41"/>
                <a:gd name="T14" fmla="*/ 26 w 33"/>
                <a:gd name="T15" fmla="*/ 0 h 41"/>
                <a:gd name="T16" fmla="*/ 25 w 33"/>
                <a:gd name="T17" fmla="*/ 1 h 41"/>
                <a:gd name="T18" fmla="*/ 25 w 33"/>
                <a:gd name="T19" fmla="*/ 25 h 41"/>
                <a:gd name="T20" fmla="*/ 25 w 33"/>
                <a:gd name="T21" fmla="*/ 29 h 41"/>
                <a:gd name="T22" fmla="*/ 23 w 33"/>
                <a:gd name="T23" fmla="*/ 32 h 41"/>
                <a:gd name="T24" fmla="*/ 21 w 33"/>
                <a:gd name="T25" fmla="*/ 34 h 41"/>
                <a:gd name="T26" fmla="*/ 17 w 33"/>
                <a:gd name="T27" fmla="*/ 34 h 41"/>
                <a:gd name="T28" fmla="*/ 14 w 33"/>
                <a:gd name="T29" fmla="*/ 34 h 41"/>
                <a:gd name="T30" fmla="*/ 11 w 33"/>
                <a:gd name="T31" fmla="*/ 32 h 41"/>
                <a:gd name="T32" fmla="*/ 9 w 33"/>
                <a:gd name="T33" fmla="*/ 29 h 41"/>
                <a:gd name="T34" fmla="*/ 9 w 33"/>
                <a:gd name="T35" fmla="*/ 25 h 41"/>
                <a:gd name="T36" fmla="*/ 9 w 33"/>
                <a:gd name="T37" fmla="*/ 1 h 41"/>
                <a:gd name="T38" fmla="*/ 8 w 33"/>
                <a:gd name="T39" fmla="*/ 0 h 41"/>
                <a:gd name="T40" fmla="*/ 8 w 33"/>
                <a:gd name="T41" fmla="*/ 0 h 41"/>
                <a:gd name="T42" fmla="*/ 7 w 33"/>
                <a:gd name="T43" fmla="*/ 0 h 41"/>
                <a:gd name="T44" fmla="*/ 5 w 33"/>
                <a:gd name="T45" fmla="*/ 0 h 41"/>
                <a:gd name="T46" fmla="*/ 3 w 33"/>
                <a:gd name="T47" fmla="*/ 0 h 41"/>
                <a:gd name="T48" fmla="*/ 1 w 33"/>
                <a:gd name="T49" fmla="*/ 0 h 41"/>
                <a:gd name="T50" fmla="*/ 1 w 33"/>
                <a:gd name="T51" fmla="*/ 0 h 41"/>
                <a:gd name="T52" fmla="*/ 0 w 33"/>
                <a:gd name="T53" fmla="*/ 1 h 41"/>
                <a:gd name="T54" fmla="*/ 0 w 33"/>
                <a:gd name="T55" fmla="*/ 26 h 41"/>
                <a:gd name="T56" fmla="*/ 2 w 33"/>
                <a:gd name="T57" fmla="*/ 32 h 41"/>
                <a:gd name="T58" fmla="*/ 5 w 33"/>
                <a:gd name="T59" fmla="*/ 37 h 41"/>
                <a:gd name="T60" fmla="*/ 10 w 33"/>
                <a:gd name="T61" fmla="*/ 40 h 41"/>
                <a:gd name="T62" fmla="*/ 17 w 33"/>
                <a:gd name="T63" fmla="*/ 41 h 41"/>
                <a:gd name="T64" fmla="*/ 24 w 33"/>
                <a:gd name="T65" fmla="*/ 40 h 41"/>
                <a:gd name="T66" fmla="*/ 29 w 33"/>
                <a:gd name="T67" fmla="*/ 37 h 41"/>
                <a:gd name="T68" fmla="*/ 32 w 33"/>
                <a:gd name="T69" fmla="*/ 32 h 41"/>
                <a:gd name="T70" fmla="*/ 33 w 33"/>
                <a:gd name="T71" fmla="*/ 25 h 41"/>
                <a:gd name="T72" fmla="*/ 33 w 33"/>
                <a:gd name="T73"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41">
                  <a:moveTo>
                    <a:pt x="33" y="1"/>
                  </a:moveTo>
                  <a:cubicBezTo>
                    <a:pt x="33" y="1"/>
                    <a:pt x="33" y="1"/>
                    <a:pt x="33" y="0"/>
                  </a:cubicBezTo>
                  <a:cubicBezTo>
                    <a:pt x="33" y="0"/>
                    <a:pt x="33" y="0"/>
                    <a:pt x="33" y="0"/>
                  </a:cubicBezTo>
                  <a:cubicBezTo>
                    <a:pt x="32" y="0"/>
                    <a:pt x="32" y="0"/>
                    <a:pt x="31" y="0"/>
                  </a:cubicBezTo>
                  <a:cubicBezTo>
                    <a:pt x="31" y="0"/>
                    <a:pt x="30" y="0"/>
                    <a:pt x="29" y="0"/>
                  </a:cubicBezTo>
                  <a:cubicBezTo>
                    <a:pt x="29" y="0"/>
                    <a:pt x="28" y="0"/>
                    <a:pt x="27" y="0"/>
                  </a:cubicBezTo>
                  <a:cubicBezTo>
                    <a:pt x="27" y="0"/>
                    <a:pt x="27" y="0"/>
                    <a:pt x="26" y="0"/>
                  </a:cubicBezTo>
                  <a:cubicBezTo>
                    <a:pt x="26" y="0"/>
                    <a:pt x="26" y="0"/>
                    <a:pt x="26" y="0"/>
                  </a:cubicBezTo>
                  <a:cubicBezTo>
                    <a:pt x="25" y="1"/>
                    <a:pt x="25" y="1"/>
                    <a:pt x="25" y="1"/>
                  </a:cubicBezTo>
                  <a:cubicBezTo>
                    <a:pt x="25" y="25"/>
                    <a:pt x="25" y="25"/>
                    <a:pt x="25" y="25"/>
                  </a:cubicBezTo>
                  <a:cubicBezTo>
                    <a:pt x="25" y="27"/>
                    <a:pt x="25" y="28"/>
                    <a:pt x="25" y="29"/>
                  </a:cubicBezTo>
                  <a:cubicBezTo>
                    <a:pt x="24" y="30"/>
                    <a:pt x="24" y="31"/>
                    <a:pt x="23" y="32"/>
                  </a:cubicBezTo>
                  <a:cubicBezTo>
                    <a:pt x="22" y="33"/>
                    <a:pt x="22" y="33"/>
                    <a:pt x="21" y="34"/>
                  </a:cubicBezTo>
                  <a:cubicBezTo>
                    <a:pt x="20" y="34"/>
                    <a:pt x="18" y="34"/>
                    <a:pt x="17" y="34"/>
                  </a:cubicBezTo>
                  <a:cubicBezTo>
                    <a:pt x="16" y="34"/>
                    <a:pt x="15" y="34"/>
                    <a:pt x="14" y="34"/>
                  </a:cubicBezTo>
                  <a:cubicBezTo>
                    <a:pt x="13" y="33"/>
                    <a:pt x="12" y="33"/>
                    <a:pt x="11" y="32"/>
                  </a:cubicBezTo>
                  <a:cubicBezTo>
                    <a:pt x="10" y="31"/>
                    <a:pt x="10" y="30"/>
                    <a:pt x="9" y="29"/>
                  </a:cubicBezTo>
                  <a:cubicBezTo>
                    <a:pt x="9" y="28"/>
                    <a:pt x="9" y="26"/>
                    <a:pt x="9" y="25"/>
                  </a:cubicBezTo>
                  <a:cubicBezTo>
                    <a:pt x="9" y="1"/>
                    <a:pt x="9" y="1"/>
                    <a:pt x="9" y="1"/>
                  </a:cubicBezTo>
                  <a:cubicBezTo>
                    <a:pt x="9" y="1"/>
                    <a:pt x="9" y="1"/>
                    <a:pt x="8" y="0"/>
                  </a:cubicBezTo>
                  <a:cubicBezTo>
                    <a:pt x="8" y="0"/>
                    <a:pt x="8" y="0"/>
                    <a:pt x="8" y="0"/>
                  </a:cubicBezTo>
                  <a:cubicBezTo>
                    <a:pt x="7" y="0"/>
                    <a:pt x="7" y="0"/>
                    <a:pt x="7" y="0"/>
                  </a:cubicBezTo>
                  <a:cubicBezTo>
                    <a:pt x="6" y="0"/>
                    <a:pt x="5" y="0"/>
                    <a:pt x="5" y="0"/>
                  </a:cubicBezTo>
                  <a:cubicBezTo>
                    <a:pt x="4" y="0"/>
                    <a:pt x="3" y="0"/>
                    <a:pt x="3" y="0"/>
                  </a:cubicBezTo>
                  <a:cubicBezTo>
                    <a:pt x="2" y="0"/>
                    <a:pt x="2" y="0"/>
                    <a:pt x="1" y="0"/>
                  </a:cubicBezTo>
                  <a:cubicBezTo>
                    <a:pt x="1" y="0"/>
                    <a:pt x="1" y="0"/>
                    <a:pt x="1" y="0"/>
                  </a:cubicBezTo>
                  <a:cubicBezTo>
                    <a:pt x="1" y="1"/>
                    <a:pt x="0" y="1"/>
                    <a:pt x="0" y="1"/>
                  </a:cubicBezTo>
                  <a:cubicBezTo>
                    <a:pt x="0" y="26"/>
                    <a:pt x="0" y="26"/>
                    <a:pt x="0" y="26"/>
                  </a:cubicBezTo>
                  <a:cubicBezTo>
                    <a:pt x="0" y="28"/>
                    <a:pt x="1" y="30"/>
                    <a:pt x="2" y="32"/>
                  </a:cubicBezTo>
                  <a:cubicBezTo>
                    <a:pt x="2" y="34"/>
                    <a:pt x="3" y="36"/>
                    <a:pt x="5" y="37"/>
                  </a:cubicBezTo>
                  <a:cubicBezTo>
                    <a:pt x="6" y="38"/>
                    <a:pt x="8" y="39"/>
                    <a:pt x="10" y="40"/>
                  </a:cubicBezTo>
                  <a:cubicBezTo>
                    <a:pt x="12" y="41"/>
                    <a:pt x="14" y="41"/>
                    <a:pt x="17" y="41"/>
                  </a:cubicBezTo>
                  <a:cubicBezTo>
                    <a:pt x="19" y="41"/>
                    <a:pt x="22" y="41"/>
                    <a:pt x="24" y="40"/>
                  </a:cubicBezTo>
                  <a:cubicBezTo>
                    <a:pt x="26" y="39"/>
                    <a:pt x="28" y="38"/>
                    <a:pt x="29" y="37"/>
                  </a:cubicBezTo>
                  <a:cubicBezTo>
                    <a:pt x="31" y="36"/>
                    <a:pt x="32" y="34"/>
                    <a:pt x="32" y="32"/>
                  </a:cubicBezTo>
                  <a:cubicBezTo>
                    <a:pt x="33" y="30"/>
                    <a:pt x="33" y="28"/>
                    <a:pt x="33" y="25"/>
                  </a:cubicBezTo>
                  <a:cubicBezTo>
                    <a:pt x="33" y="1"/>
                    <a:pt x="33" y="1"/>
                    <a:pt x="33" y="1"/>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178">
              <a:extLst>
                <a:ext uri="{FF2B5EF4-FFF2-40B4-BE49-F238E27FC236}">
                  <a16:creationId xmlns:a16="http://schemas.microsoft.com/office/drawing/2014/main" id="{99C8CDE4-1D18-4B71-8C20-25A91FCBD9BF}"/>
                </a:ext>
              </a:extLst>
            </p:cNvPr>
            <p:cNvSpPr>
              <a:spLocks/>
            </p:cNvSpPr>
            <p:nvPr/>
          </p:nvSpPr>
          <p:spPr bwMode="auto">
            <a:xfrm>
              <a:off x="3402142" y="5959143"/>
              <a:ext cx="113991" cy="137077"/>
            </a:xfrm>
            <a:custGeom>
              <a:avLst/>
              <a:gdLst>
                <a:gd name="T0" fmla="*/ 33 w 33"/>
                <a:gd name="T1" fmla="*/ 1 h 40"/>
                <a:gd name="T2" fmla="*/ 33 w 33"/>
                <a:gd name="T3" fmla="*/ 1 h 40"/>
                <a:gd name="T4" fmla="*/ 33 w 33"/>
                <a:gd name="T5" fmla="*/ 0 h 40"/>
                <a:gd name="T6" fmla="*/ 32 w 33"/>
                <a:gd name="T7" fmla="*/ 0 h 40"/>
                <a:gd name="T8" fmla="*/ 30 w 33"/>
                <a:gd name="T9" fmla="*/ 0 h 40"/>
                <a:gd name="T10" fmla="*/ 28 w 33"/>
                <a:gd name="T11" fmla="*/ 0 h 40"/>
                <a:gd name="T12" fmla="*/ 27 w 33"/>
                <a:gd name="T13" fmla="*/ 0 h 40"/>
                <a:gd name="T14" fmla="*/ 26 w 33"/>
                <a:gd name="T15" fmla="*/ 1 h 40"/>
                <a:gd name="T16" fmla="*/ 26 w 33"/>
                <a:gd name="T17" fmla="*/ 1 h 40"/>
                <a:gd name="T18" fmla="*/ 26 w 33"/>
                <a:gd name="T19" fmla="*/ 20 h 40"/>
                <a:gd name="T20" fmla="*/ 26 w 33"/>
                <a:gd name="T21" fmla="*/ 25 h 40"/>
                <a:gd name="T22" fmla="*/ 26 w 33"/>
                <a:gd name="T23" fmla="*/ 29 h 40"/>
                <a:gd name="T24" fmla="*/ 26 w 33"/>
                <a:gd name="T25" fmla="*/ 29 h 40"/>
                <a:gd name="T26" fmla="*/ 25 w 33"/>
                <a:gd name="T27" fmla="*/ 27 h 40"/>
                <a:gd name="T28" fmla="*/ 24 w 33"/>
                <a:gd name="T29" fmla="*/ 24 h 40"/>
                <a:gd name="T30" fmla="*/ 22 w 33"/>
                <a:gd name="T31" fmla="*/ 22 h 40"/>
                <a:gd name="T32" fmla="*/ 21 w 33"/>
                <a:gd name="T33" fmla="*/ 19 h 40"/>
                <a:gd name="T34" fmla="*/ 13 w 33"/>
                <a:gd name="T35" fmla="*/ 4 h 40"/>
                <a:gd name="T36" fmla="*/ 12 w 33"/>
                <a:gd name="T37" fmla="*/ 2 h 40"/>
                <a:gd name="T38" fmla="*/ 11 w 33"/>
                <a:gd name="T39" fmla="*/ 1 h 40"/>
                <a:gd name="T40" fmla="*/ 9 w 33"/>
                <a:gd name="T41" fmla="*/ 0 h 40"/>
                <a:gd name="T42" fmla="*/ 7 w 33"/>
                <a:gd name="T43" fmla="*/ 0 h 40"/>
                <a:gd name="T44" fmla="*/ 3 w 33"/>
                <a:gd name="T45" fmla="*/ 0 h 40"/>
                <a:gd name="T46" fmla="*/ 1 w 33"/>
                <a:gd name="T47" fmla="*/ 1 h 40"/>
                <a:gd name="T48" fmla="*/ 0 w 33"/>
                <a:gd name="T49" fmla="*/ 3 h 40"/>
                <a:gd name="T50" fmla="*/ 0 w 33"/>
                <a:gd name="T51" fmla="*/ 39 h 40"/>
                <a:gd name="T52" fmla="*/ 0 w 33"/>
                <a:gd name="T53" fmla="*/ 40 h 40"/>
                <a:gd name="T54" fmla="*/ 1 w 33"/>
                <a:gd name="T55" fmla="*/ 40 h 40"/>
                <a:gd name="T56" fmla="*/ 2 w 33"/>
                <a:gd name="T57" fmla="*/ 40 h 40"/>
                <a:gd name="T58" fmla="*/ 4 w 33"/>
                <a:gd name="T59" fmla="*/ 40 h 40"/>
                <a:gd name="T60" fmla="*/ 6 w 33"/>
                <a:gd name="T61" fmla="*/ 40 h 40"/>
                <a:gd name="T62" fmla="*/ 7 w 33"/>
                <a:gd name="T63" fmla="*/ 40 h 40"/>
                <a:gd name="T64" fmla="*/ 7 w 33"/>
                <a:gd name="T65" fmla="*/ 40 h 40"/>
                <a:gd name="T66" fmla="*/ 7 w 33"/>
                <a:gd name="T67" fmla="*/ 39 h 40"/>
                <a:gd name="T68" fmla="*/ 7 w 33"/>
                <a:gd name="T69" fmla="*/ 18 h 40"/>
                <a:gd name="T70" fmla="*/ 7 w 33"/>
                <a:gd name="T71" fmla="*/ 13 h 40"/>
                <a:gd name="T72" fmla="*/ 7 w 33"/>
                <a:gd name="T73" fmla="*/ 9 h 40"/>
                <a:gd name="T74" fmla="*/ 7 w 33"/>
                <a:gd name="T75" fmla="*/ 9 h 40"/>
                <a:gd name="T76" fmla="*/ 9 w 33"/>
                <a:gd name="T77" fmla="*/ 13 h 40"/>
                <a:gd name="T78" fmla="*/ 11 w 33"/>
                <a:gd name="T79" fmla="*/ 16 h 40"/>
                <a:gd name="T80" fmla="*/ 21 w 33"/>
                <a:gd name="T81" fmla="*/ 35 h 40"/>
                <a:gd name="T82" fmla="*/ 22 w 33"/>
                <a:gd name="T83" fmla="*/ 38 h 40"/>
                <a:gd name="T84" fmla="*/ 23 w 33"/>
                <a:gd name="T85" fmla="*/ 39 h 40"/>
                <a:gd name="T86" fmla="*/ 25 w 33"/>
                <a:gd name="T87" fmla="*/ 40 h 40"/>
                <a:gd name="T88" fmla="*/ 27 w 33"/>
                <a:gd name="T89" fmla="*/ 40 h 40"/>
                <a:gd name="T90" fmla="*/ 30 w 33"/>
                <a:gd name="T91" fmla="*/ 40 h 40"/>
                <a:gd name="T92" fmla="*/ 31 w 33"/>
                <a:gd name="T93" fmla="*/ 40 h 40"/>
                <a:gd name="T94" fmla="*/ 32 w 33"/>
                <a:gd name="T95" fmla="*/ 40 h 40"/>
                <a:gd name="T96" fmla="*/ 33 w 33"/>
                <a:gd name="T97" fmla="*/ 39 h 40"/>
                <a:gd name="T98" fmla="*/ 33 w 33"/>
                <a:gd name="T99" fmla="*/ 37 h 40"/>
                <a:gd name="T100" fmla="*/ 33 w 33"/>
                <a:gd name="T101"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40">
                  <a:moveTo>
                    <a:pt x="33" y="1"/>
                  </a:moveTo>
                  <a:cubicBezTo>
                    <a:pt x="33" y="1"/>
                    <a:pt x="33" y="1"/>
                    <a:pt x="33" y="1"/>
                  </a:cubicBezTo>
                  <a:cubicBezTo>
                    <a:pt x="33" y="0"/>
                    <a:pt x="33" y="0"/>
                    <a:pt x="33" y="0"/>
                  </a:cubicBezTo>
                  <a:cubicBezTo>
                    <a:pt x="32" y="0"/>
                    <a:pt x="32" y="0"/>
                    <a:pt x="32" y="0"/>
                  </a:cubicBezTo>
                  <a:cubicBezTo>
                    <a:pt x="31" y="0"/>
                    <a:pt x="31" y="0"/>
                    <a:pt x="30" y="0"/>
                  </a:cubicBezTo>
                  <a:cubicBezTo>
                    <a:pt x="29" y="0"/>
                    <a:pt x="28" y="0"/>
                    <a:pt x="28" y="0"/>
                  </a:cubicBezTo>
                  <a:cubicBezTo>
                    <a:pt x="27" y="0"/>
                    <a:pt x="27" y="0"/>
                    <a:pt x="27" y="0"/>
                  </a:cubicBezTo>
                  <a:cubicBezTo>
                    <a:pt x="27" y="0"/>
                    <a:pt x="26" y="0"/>
                    <a:pt x="26" y="1"/>
                  </a:cubicBezTo>
                  <a:cubicBezTo>
                    <a:pt x="26" y="1"/>
                    <a:pt x="26" y="1"/>
                    <a:pt x="26" y="1"/>
                  </a:cubicBezTo>
                  <a:cubicBezTo>
                    <a:pt x="26" y="20"/>
                    <a:pt x="26" y="20"/>
                    <a:pt x="26" y="20"/>
                  </a:cubicBezTo>
                  <a:cubicBezTo>
                    <a:pt x="26" y="21"/>
                    <a:pt x="26" y="23"/>
                    <a:pt x="26" y="25"/>
                  </a:cubicBezTo>
                  <a:cubicBezTo>
                    <a:pt x="26" y="26"/>
                    <a:pt x="26" y="28"/>
                    <a:pt x="26" y="29"/>
                  </a:cubicBezTo>
                  <a:cubicBezTo>
                    <a:pt x="26" y="29"/>
                    <a:pt x="26" y="29"/>
                    <a:pt x="26" y="29"/>
                  </a:cubicBezTo>
                  <a:cubicBezTo>
                    <a:pt x="26" y="28"/>
                    <a:pt x="25" y="27"/>
                    <a:pt x="25" y="27"/>
                  </a:cubicBezTo>
                  <a:cubicBezTo>
                    <a:pt x="25" y="26"/>
                    <a:pt x="24" y="25"/>
                    <a:pt x="24" y="24"/>
                  </a:cubicBezTo>
                  <a:cubicBezTo>
                    <a:pt x="23" y="23"/>
                    <a:pt x="23" y="22"/>
                    <a:pt x="22" y="22"/>
                  </a:cubicBezTo>
                  <a:cubicBezTo>
                    <a:pt x="22" y="21"/>
                    <a:pt x="22" y="20"/>
                    <a:pt x="21" y="19"/>
                  </a:cubicBezTo>
                  <a:cubicBezTo>
                    <a:pt x="13" y="4"/>
                    <a:pt x="13" y="4"/>
                    <a:pt x="13" y="4"/>
                  </a:cubicBezTo>
                  <a:cubicBezTo>
                    <a:pt x="13" y="3"/>
                    <a:pt x="12" y="3"/>
                    <a:pt x="12" y="2"/>
                  </a:cubicBezTo>
                  <a:cubicBezTo>
                    <a:pt x="12" y="1"/>
                    <a:pt x="11" y="1"/>
                    <a:pt x="11" y="1"/>
                  </a:cubicBezTo>
                  <a:cubicBezTo>
                    <a:pt x="10" y="0"/>
                    <a:pt x="10" y="0"/>
                    <a:pt x="9" y="0"/>
                  </a:cubicBezTo>
                  <a:cubicBezTo>
                    <a:pt x="9" y="0"/>
                    <a:pt x="8" y="0"/>
                    <a:pt x="7" y="0"/>
                  </a:cubicBezTo>
                  <a:cubicBezTo>
                    <a:pt x="3" y="0"/>
                    <a:pt x="3" y="0"/>
                    <a:pt x="3" y="0"/>
                  </a:cubicBezTo>
                  <a:cubicBezTo>
                    <a:pt x="2" y="0"/>
                    <a:pt x="2" y="0"/>
                    <a:pt x="1" y="1"/>
                  </a:cubicBezTo>
                  <a:cubicBezTo>
                    <a:pt x="0" y="1"/>
                    <a:pt x="0" y="2"/>
                    <a:pt x="0" y="3"/>
                  </a:cubicBezTo>
                  <a:cubicBezTo>
                    <a:pt x="0" y="39"/>
                    <a:pt x="0" y="39"/>
                    <a:pt x="0" y="39"/>
                  </a:cubicBezTo>
                  <a:cubicBezTo>
                    <a:pt x="0" y="39"/>
                    <a:pt x="0" y="40"/>
                    <a:pt x="0" y="40"/>
                  </a:cubicBezTo>
                  <a:cubicBezTo>
                    <a:pt x="0" y="40"/>
                    <a:pt x="1" y="40"/>
                    <a:pt x="1" y="40"/>
                  </a:cubicBezTo>
                  <a:cubicBezTo>
                    <a:pt x="1" y="40"/>
                    <a:pt x="1" y="40"/>
                    <a:pt x="2" y="40"/>
                  </a:cubicBezTo>
                  <a:cubicBezTo>
                    <a:pt x="2" y="40"/>
                    <a:pt x="3" y="40"/>
                    <a:pt x="4" y="40"/>
                  </a:cubicBezTo>
                  <a:cubicBezTo>
                    <a:pt x="4" y="40"/>
                    <a:pt x="5" y="40"/>
                    <a:pt x="6" y="40"/>
                  </a:cubicBezTo>
                  <a:cubicBezTo>
                    <a:pt x="6" y="40"/>
                    <a:pt x="6" y="40"/>
                    <a:pt x="7" y="40"/>
                  </a:cubicBezTo>
                  <a:cubicBezTo>
                    <a:pt x="7" y="40"/>
                    <a:pt x="7" y="40"/>
                    <a:pt x="7" y="40"/>
                  </a:cubicBezTo>
                  <a:cubicBezTo>
                    <a:pt x="7" y="40"/>
                    <a:pt x="7" y="39"/>
                    <a:pt x="7" y="39"/>
                  </a:cubicBezTo>
                  <a:cubicBezTo>
                    <a:pt x="7" y="18"/>
                    <a:pt x="7" y="18"/>
                    <a:pt x="7" y="18"/>
                  </a:cubicBezTo>
                  <a:cubicBezTo>
                    <a:pt x="7" y="16"/>
                    <a:pt x="7" y="15"/>
                    <a:pt x="7" y="13"/>
                  </a:cubicBezTo>
                  <a:cubicBezTo>
                    <a:pt x="7" y="12"/>
                    <a:pt x="7" y="10"/>
                    <a:pt x="7" y="9"/>
                  </a:cubicBezTo>
                  <a:cubicBezTo>
                    <a:pt x="7" y="9"/>
                    <a:pt x="7" y="9"/>
                    <a:pt x="7" y="9"/>
                  </a:cubicBezTo>
                  <a:cubicBezTo>
                    <a:pt x="8" y="10"/>
                    <a:pt x="8" y="11"/>
                    <a:pt x="9" y="13"/>
                  </a:cubicBezTo>
                  <a:cubicBezTo>
                    <a:pt x="10" y="14"/>
                    <a:pt x="10" y="15"/>
                    <a:pt x="11" y="16"/>
                  </a:cubicBezTo>
                  <a:cubicBezTo>
                    <a:pt x="21" y="35"/>
                    <a:pt x="21" y="35"/>
                    <a:pt x="21" y="35"/>
                  </a:cubicBezTo>
                  <a:cubicBezTo>
                    <a:pt x="21" y="36"/>
                    <a:pt x="22" y="37"/>
                    <a:pt x="22" y="38"/>
                  </a:cubicBezTo>
                  <a:cubicBezTo>
                    <a:pt x="23" y="38"/>
                    <a:pt x="23" y="39"/>
                    <a:pt x="23" y="39"/>
                  </a:cubicBezTo>
                  <a:cubicBezTo>
                    <a:pt x="24" y="40"/>
                    <a:pt x="24" y="40"/>
                    <a:pt x="25" y="40"/>
                  </a:cubicBezTo>
                  <a:cubicBezTo>
                    <a:pt x="25" y="40"/>
                    <a:pt x="26" y="40"/>
                    <a:pt x="27" y="40"/>
                  </a:cubicBezTo>
                  <a:cubicBezTo>
                    <a:pt x="30" y="40"/>
                    <a:pt x="30" y="40"/>
                    <a:pt x="30" y="40"/>
                  </a:cubicBezTo>
                  <a:cubicBezTo>
                    <a:pt x="31" y="40"/>
                    <a:pt x="31" y="40"/>
                    <a:pt x="31" y="40"/>
                  </a:cubicBezTo>
                  <a:cubicBezTo>
                    <a:pt x="32" y="40"/>
                    <a:pt x="32" y="40"/>
                    <a:pt x="32" y="40"/>
                  </a:cubicBezTo>
                  <a:cubicBezTo>
                    <a:pt x="33" y="39"/>
                    <a:pt x="33" y="39"/>
                    <a:pt x="33" y="39"/>
                  </a:cubicBezTo>
                  <a:cubicBezTo>
                    <a:pt x="33" y="38"/>
                    <a:pt x="33" y="38"/>
                    <a:pt x="33" y="37"/>
                  </a:cubicBezTo>
                  <a:cubicBezTo>
                    <a:pt x="33" y="1"/>
                    <a:pt x="33" y="1"/>
                    <a:pt x="33" y="1"/>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179">
              <a:extLst>
                <a:ext uri="{FF2B5EF4-FFF2-40B4-BE49-F238E27FC236}">
                  <a16:creationId xmlns:a16="http://schemas.microsoft.com/office/drawing/2014/main" id="{FB11DE78-2107-4C2A-861D-C6FC647DB0F1}"/>
                </a:ext>
              </a:extLst>
            </p:cNvPr>
            <p:cNvSpPr>
              <a:spLocks noEditPoints="1"/>
            </p:cNvSpPr>
            <p:nvPr/>
          </p:nvSpPr>
          <p:spPr bwMode="auto">
            <a:xfrm>
              <a:off x="3546434" y="5959143"/>
              <a:ext cx="116876" cy="137077"/>
            </a:xfrm>
            <a:custGeom>
              <a:avLst/>
              <a:gdLst>
                <a:gd name="T0" fmla="*/ 32 w 34"/>
                <a:gd name="T1" fmla="*/ 11 h 40"/>
                <a:gd name="T2" fmla="*/ 29 w 34"/>
                <a:gd name="T3" fmla="*/ 5 h 40"/>
                <a:gd name="T4" fmla="*/ 22 w 34"/>
                <a:gd name="T5" fmla="*/ 1 h 40"/>
                <a:gd name="T6" fmla="*/ 13 w 34"/>
                <a:gd name="T7" fmla="*/ 0 h 40"/>
                <a:gd name="T8" fmla="*/ 3 w 34"/>
                <a:gd name="T9" fmla="*/ 0 h 40"/>
                <a:gd name="T10" fmla="*/ 1 w 34"/>
                <a:gd name="T11" fmla="*/ 0 h 40"/>
                <a:gd name="T12" fmla="*/ 0 w 34"/>
                <a:gd name="T13" fmla="*/ 2 h 40"/>
                <a:gd name="T14" fmla="*/ 0 w 34"/>
                <a:gd name="T15" fmla="*/ 38 h 40"/>
                <a:gd name="T16" fmla="*/ 1 w 34"/>
                <a:gd name="T17" fmla="*/ 40 h 40"/>
                <a:gd name="T18" fmla="*/ 3 w 34"/>
                <a:gd name="T19" fmla="*/ 40 h 40"/>
                <a:gd name="T20" fmla="*/ 12 w 34"/>
                <a:gd name="T21" fmla="*/ 40 h 40"/>
                <a:gd name="T22" fmla="*/ 22 w 34"/>
                <a:gd name="T23" fmla="*/ 39 h 40"/>
                <a:gd name="T24" fmla="*/ 28 w 34"/>
                <a:gd name="T25" fmla="*/ 35 h 40"/>
                <a:gd name="T26" fmla="*/ 32 w 34"/>
                <a:gd name="T27" fmla="*/ 29 h 40"/>
                <a:gd name="T28" fmla="*/ 34 w 34"/>
                <a:gd name="T29" fmla="*/ 19 h 40"/>
                <a:gd name="T30" fmla="*/ 32 w 34"/>
                <a:gd name="T31" fmla="*/ 11 h 40"/>
                <a:gd name="T32" fmla="*/ 25 w 34"/>
                <a:gd name="T33" fmla="*/ 26 h 40"/>
                <a:gd name="T34" fmla="*/ 22 w 34"/>
                <a:gd name="T35" fmla="*/ 30 h 40"/>
                <a:gd name="T36" fmla="*/ 18 w 34"/>
                <a:gd name="T37" fmla="*/ 33 h 40"/>
                <a:gd name="T38" fmla="*/ 13 w 34"/>
                <a:gd name="T39" fmla="*/ 34 h 40"/>
                <a:gd name="T40" fmla="*/ 8 w 34"/>
                <a:gd name="T41" fmla="*/ 34 h 40"/>
                <a:gd name="T42" fmla="*/ 8 w 34"/>
                <a:gd name="T43" fmla="*/ 6 h 40"/>
                <a:gd name="T44" fmla="*/ 13 w 34"/>
                <a:gd name="T45" fmla="*/ 6 h 40"/>
                <a:gd name="T46" fmla="*/ 19 w 34"/>
                <a:gd name="T47" fmla="*/ 7 h 40"/>
                <a:gd name="T48" fmla="*/ 22 w 34"/>
                <a:gd name="T49" fmla="*/ 10 h 40"/>
                <a:gd name="T50" fmla="*/ 25 w 34"/>
                <a:gd name="T51" fmla="*/ 14 h 40"/>
                <a:gd name="T52" fmla="*/ 25 w 34"/>
                <a:gd name="T53" fmla="*/ 20 h 40"/>
                <a:gd name="T54" fmla="*/ 25 w 34"/>
                <a:gd name="T55"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40">
                  <a:moveTo>
                    <a:pt x="32" y="11"/>
                  </a:moveTo>
                  <a:cubicBezTo>
                    <a:pt x="32" y="9"/>
                    <a:pt x="30" y="7"/>
                    <a:pt x="29" y="5"/>
                  </a:cubicBezTo>
                  <a:cubicBezTo>
                    <a:pt x="27" y="3"/>
                    <a:pt x="25" y="2"/>
                    <a:pt x="22" y="1"/>
                  </a:cubicBezTo>
                  <a:cubicBezTo>
                    <a:pt x="20" y="0"/>
                    <a:pt x="17" y="0"/>
                    <a:pt x="13" y="0"/>
                  </a:cubicBezTo>
                  <a:cubicBezTo>
                    <a:pt x="3" y="0"/>
                    <a:pt x="3" y="0"/>
                    <a:pt x="3" y="0"/>
                  </a:cubicBezTo>
                  <a:cubicBezTo>
                    <a:pt x="2" y="0"/>
                    <a:pt x="1" y="0"/>
                    <a:pt x="1" y="0"/>
                  </a:cubicBezTo>
                  <a:cubicBezTo>
                    <a:pt x="0" y="1"/>
                    <a:pt x="0" y="2"/>
                    <a:pt x="0" y="2"/>
                  </a:cubicBezTo>
                  <a:cubicBezTo>
                    <a:pt x="0" y="38"/>
                    <a:pt x="0" y="38"/>
                    <a:pt x="0" y="38"/>
                  </a:cubicBezTo>
                  <a:cubicBezTo>
                    <a:pt x="0" y="39"/>
                    <a:pt x="0" y="39"/>
                    <a:pt x="1" y="40"/>
                  </a:cubicBezTo>
                  <a:cubicBezTo>
                    <a:pt x="1" y="40"/>
                    <a:pt x="2" y="40"/>
                    <a:pt x="3" y="40"/>
                  </a:cubicBezTo>
                  <a:cubicBezTo>
                    <a:pt x="12" y="40"/>
                    <a:pt x="12" y="40"/>
                    <a:pt x="12" y="40"/>
                  </a:cubicBezTo>
                  <a:cubicBezTo>
                    <a:pt x="16" y="40"/>
                    <a:pt x="19" y="40"/>
                    <a:pt x="22" y="39"/>
                  </a:cubicBezTo>
                  <a:cubicBezTo>
                    <a:pt x="24" y="38"/>
                    <a:pt x="26" y="37"/>
                    <a:pt x="28" y="35"/>
                  </a:cubicBezTo>
                  <a:cubicBezTo>
                    <a:pt x="30" y="34"/>
                    <a:pt x="31" y="32"/>
                    <a:pt x="32" y="29"/>
                  </a:cubicBezTo>
                  <a:cubicBezTo>
                    <a:pt x="33" y="26"/>
                    <a:pt x="34" y="23"/>
                    <a:pt x="34" y="19"/>
                  </a:cubicBezTo>
                  <a:cubicBezTo>
                    <a:pt x="34" y="16"/>
                    <a:pt x="33" y="13"/>
                    <a:pt x="32" y="11"/>
                  </a:cubicBezTo>
                  <a:close/>
                  <a:moveTo>
                    <a:pt x="25" y="26"/>
                  </a:moveTo>
                  <a:cubicBezTo>
                    <a:pt x="24" y="28"/>
                    <a:pt x="23" y="29"/>
                    <a:pt x="22" y="30"/>
                  </a:cubicBezTo>
                  <a:cubicBezTo>
                    <a:pt x="21" y="31"/>
                    <a:pt x="20" y="32"/>
                    <a:pt x="18" y="33"/>
                  </a:cubicBezTo>
                  <a:cubicBezTo>
                    <a:pt x="17" y="34"/>
                    <a:pt x="15" y="34"/>
                    <a:pt x="13" y="34"/>
                  </a:cubicBezTo>
                  <a:cubicBezTo>
                    <a:pt x="8" y="34"/>
                    <a:pt x="8" y="34"/>
                    <a:pt x="8" y="34"/>
                  </a:cubicBezTo>
                  <a:cubicBezTo>
                    <a:pt x="8" y="6"/>
                    <a:pt x="8" y="6"/>
                    <a:pt x="8" y="6"/>
                  </a:cubicBezTo>
                  <a:cubicBezTo>
                    <a:pt x="13" y="6"/>
                    <a:pt x="13" y="6"/>
                    <a:pt x="13" y="6"/>
                  </a:cubicBezTo>
                  <a:cubicBezTo>
                    <a:pt x="15" y="6"/>
                    <a:pt x="17" y="7"/>
                    <a:pt x="19" y="7"/>
                  </a:cubicBezTo>
                  <a:cubicBezTo>
                    <a:pt x="20" y="8"/>
                    <a:pt x="22" y="9"/>
                    <a:pt x="22" y="10"/>
                  </a:cubicBezTo>
                  <a:cubicBezTo>
                    <a:pt x="23" y="11"/>
                    <a:pt x="24" y="13"/>
                    <a:pt x="25" y="14"/>
                  </a:cubicBezTo>
                  <a:cubicBezTo>
                    <a:pt x="25" y="16"/>
                    <a:pt x="25" y="18"/>
                    <a:pt x="25" y="20"/>
                  </a:cubicBezTo>
                  <a:cubicBezTo>
                    <a:pt x="25" y="22"/>
                    <a:pt x="25" y="24"/>
                    <a:pt x="25" y="26"/>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180">
              <a:extLst>
                <a:ext uri="{FF2B5EF4-FFF2-40B4-BE49-F238E27FC236}">
                  <a16:creationId xmlns:a16="http://schemas.microsoft.com/office/drawing/2014/main" id="{5D98989D-92CA-4783-9FB1-371B4C7EBB01}"/>
                </a:ext>
              </a:extLst>
            </p:cNvPr>
            <p:cNvSpPr>
              <a:spLocks noEditPoints="1"/>
            </p:cNvSpPr>
            <p:nvPr/>
          </p:nvSpPr>
          <p:spPr bwMode="auto">
            <a:xfrm>
              <a:off x="3666196" y="5959143"/>
              <a:ext cx="129862" cy="137077"/>
            </a:xfrm>
            <a:custGeom>
              <a:avLst/>
              <a:gdLst>
                <a:gd name="T0" fmla="*/ 25 w 38"/>
                <a:gd name="T1" fmla="*/ 1 h 40"/>
                <a:gd name="T2" fmla="*/ 24 w 38"/>
                <a:gd name="T3" fmla="*/ 0 h 40"/>
                <a:gd name="T4" fmla="*/ 23 w 38"/>
                <a:gd name="T5" fmla="*/ 0 h 40"/>
                <a:gd name="T6" fmla="*/ 22 w 38"/>
                <a:gd name="T7" fmla="*/ 0 h 40"/>
                <a:gd name="T8" fmla="*/ 19 w 38"/>
                <a:gd name="T9" fmla="*/ 0 h 40"/>
                <a:gd name="T10" fmla="*/ 16 w 38"/>
                <a:gd name="T11" fmla="*/ 0 h 40"/>
                <a:gd name="T12" fmla="*/ 15 w 38"/>
                <a:gd name="T13" fmla="*/ 0 h 40"/>
                <a:gd name="T14" fmla="*/ 14 w 38"/>
                <a:gd name="T15" fmla="*/ 0 h 40"/>
                <a:gd name="T16" fmla="*/ 13 w 38"/>
                <a:gd name="T17" fmla="*/ 1 h 40"/>
                <a:gd name="T18" fmla="*/ 1 w 38"/>
                <a:gd name="T19" fmla="*/ 37 h 40"/>
                <a:gd name="T20" fmla="*/ 0 w 38"/>
                <a:gd name="T21" fmla="*/ 39 h 40"/>
                <a:gd name="T22" fmla="*/ 1 w 38"/>
                <a:gd name="T23" fmla="*/ 40 h 40"/>
                <a:gd name="T24" fmla="*/ 2 w 38"/>
                <a:gd name="T25" fmla="*/ 40 h 40"/>
                <a:gd name="T26" fmla="*/ 4 w 38"/>
                <a:gd name="T27" fmla="*/ 40 h 40"/>
                <a:gd name="T28" fmla="*/ 6 w 38"/>
                <a:gd name="T29" fmla="*/ 40 h 40"/>
                <a:gd name="T30" fmla="*/ 8 w 38"/>
                <a:gd name="T31" fmla="*/ 40 h 40"/>
                <a:gd name="T32" fmla="*/ 8 w 38"/>
                <a:gd name="T33" fmla="*/ 40 h 40"/>
                <a:gd name="T34" fmla="*/ 9 w 38"/>
                <a:gd name="T35" fmla="*/ 39 h 40"/>
                <a:gd name="T36" fmla="*/ 11 w 38"/>
                <a:gd name="T37" fmla="*/ 31 h 40"/>
                <a:gd name="T38" fmla="*/ 26 w 38"/>
                <a:gd name="T39" fmla="*/ 31 h 40"/>
                <a:gd name="T40" fmla="*/ 29 w 38"/>
                <a:gd name="T41" fmla="*/ 39 h 40"/>
                <a:gd name="T42" fmla="*/ 29 w 38"/>
                <a:gd name="T43" fmla="*/ 40 h 40"/>
                <a:gd name="T44" fmla="*/ 30 w 38"/>
                <a:gd name="T45" fmla="*/ 40 h 40"/>
                <a:gd name="T46" fmla="*/ 31 w 38"/>
                <a:gd name="T47" fmla="*/ 40 h 40"/>
                <a:gd name="T48" fmla="*/ 34 w 38"/>
                <a:gd name="T49" fmla="*/ 40 h 40"/>
                <a:gd name="T50" fmla="*/ 36 w 38"/>
                <a:gd name="T51" fmla="*/ 40 h 40"/>
                <a:gd name="T52" fmla="*/ 37 w 38"/>
                <a:gd name="T53" fmla="*/ 40 h 40"/>
                <a:gd name="T54" fmla="*/ 38 w 38"/>
                <a:gd name="T55" fmla="*/ 39 h 40"/>
                <a:gd name="T56" fmla="*/ 37 w 38"/>
                <a:gd name="T57" fmla="*/ 37 h 40"/>
                <a:gd name="T58" fmla="*/ 25 w 38"/>
                <a:gd name="T59" fmla="*/ 1 h 40"/>
                <a:gd name="T60" fmla="*/ 24 w 38"/>
                <a:gd name="T61" fmla="*/ 25 h 40"/>
                <a:gd name="T62" fmla="*/ 13 w 38"/>
                <a:gd name="T63" fmla="*/ 25 h 40"/>
                <a:gd name="T64" fmla="*/ 19 w 38"/>
                <a:gd name="T65" fmla="*/ 8 h 40"/>
                <a:gd name="T66" fmla="*/ 19 w 38"/>
                <a:gd name="T67" fmla="*/ 8 h 40"/>
                <a:gd name="T68" fmla="*/ 24 w 38"/>
                <a:gd name="T6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40">
                  <a:moveTo>
                    <a:pt x="25" y="1"/>
                  </a:moveTo>
                  <a:cubicBezTo>
                    <a:pt x="25" y="1"/>
                    <a:pt x="24" y="1"/>
                    <a:pt x="24" y="0"/>
                  </a:cubicBezTo>
                  <a:cubicBezTo>
                    <a:pt x="24" y="0"/>
                    <a:pt x="24" y="0"/>
                    <a:pt x="23" y="0"/>
                  </a:cubicBezTo>
                  <a:cubicBezTo>
                    <a:pt x="23" y="0"/>
                    <a:pt x="22" y="0"/>
                    <a:pt x="22" y="0"/>
                  </a:cubicBezTo>
                  <a:cubicBezTo>
                    <a:pt x="21" y="0"/>
                    <a:pt x="20" y="0"/>
                    <a:pt x="19" y="0"/>
                  </a:cubicBezTo>
                  <a:cubicBezTo>
                    <a:pt x="18" y="0"/>
                    <a:pt x="17" y="0"/>
                    <a:pt x="16" y="0"/>
                  </a:cubicBezTo>
                  <a:cubicBezTo>
                    <a:pt x="16" y="0"/>
                    <a:pt x="15" y="0"/>
                    <a:pt x="15" y="0"/>
                  </a:cubicBezTo>
                  <a:cubicBezTo>
                    <a:pt x="14" y="0"/>
                    <a:pt x="14" y="0"/>
                    <a:pt x="14" y="0"/>
                  </a:cubicBezTo>
                  <a:cubicBezTo>
                    <a:pt x="14" y="1"/>
                    <a:pt x="14" y="1"/>
                    <a:pt x="13" y="1"/>
                  </a:cubicBezTo>
                  <a:cubicBezTo>
                    <a:pt x="1" y="37"/>
                    <a:pt x="1" y="37"/>
                    <a:pt x="1" y="37"/>
                  </a:cubicBezTo>
                  <a:cubicBezTo>
                    <a:pt x="1" y="38"/>
                    <a:pt x="1" y="38"/>
                    <a:pt x="0" y="39"/>
                  </a:cubicBezTo>
                  <a:cubicBezTo>
                    <a:pt x="0" y="39"/>
                    <a:pt x="1" y="40"/>
                    <a:pt x="1" y="40"/>
                  </a:cubicBezTo>
                  <a:cubicBezTo>
                    <a:pt x="1" y="40"/>
                    <a:pt x="1" y="40"/>
                    <a:pt x="2" y="40"/>
                  </a:cubicBezTo>
                  <a:cubicBezTo>
                    <a:pt x="2" y="40"/>
                    <a:pt x="3" y="40"/>
                    <a:pt x="4" y="40"/>
                  </a:cubicBezTo>
                  <a:cubicBezTo>
                    <a:pt x="5" y="40"/>
                    <a:pt x="6" y="40"/>
                    <a:pt x="6" y="40"/>
                  </a:cubicBezTo>
                  <a:cubicBezTo>
                    <a:pt x="7" y="40"/>
                    <a:pt x="7" y="40"/>
                    <a:pt x="8" y="40"/>
                  </a:cubicBezTo>
                  <a:cubicBezTo>
                    <a:pt x="8" y="40"/>
                    <a:pt x="8" y="40"/>
                    <a:pt x="8" y="40"/>
                  </a:cubicBezTo>
                  <a:cubicBezTo>
                    <a:pt x="8" y="40"/>
                    <a:pt x="8" y="39"/>
                    <a:pt x="9" y="39"/>
                  </a:cubicBezTo>
                  <a:cubicBezTo>
                    <a:pt x="11" y="31"/>
                    <a:pt x="11" y="31"/>
                    <a:pt x="11" y="31"/>
                  </a:cubicBezTo>
                  <a:cubicBezTo>
                    <a:pt x="26" y="31"/>
                    <a:pt x="26" y="31"/>
                    <a:pt x="26" y="31"/>
                  </a:cubicBezTo>
                  <a:cubicBezTo>
                    <a:pt x="29" y="39"/>
                    <a:pt x="29" y="39"/>
                    <a:pt x="29" y="39"/>
                  </a:cubicBezTo>
                  <a:cubicBezTo>
                    <a:pt x="29" y="39"/>
                    <a:pt x="29" y="40"/>
                    <a:pt x="29" y="40"/>
                  </a:cubicBezTo>
                  <a:cubicBezTo>
                    <a:pt x="29" y="40"/>
                    <a:pt x="30" y="40"/>
                    <a:pt x="30" y="40"/>
                  </a:cubicBezTo>
                  <a:cubicBezTo>
                    <a:pt x="30" y="40"/>
                    <a:pt x="31" y="40"/>
                    <a:pt x="31" y="40"/>
                  </a:cubicBezTo>
                  <a:cubicBezTo>
                    <a:pt x="32" y="40"/>
                    <a:pt x="33" y="40"/>
                    <a:pt x="34" y="40"/>
                  </a:cubicBezTo>
                  <a:cubicBezTo>
                    <a:pt x="35" y="40"/>
                    <a:pt x="36" y="40"/>
                    <a:pt x="36" y="40"/>
                  </a:cubicBezTo>
                  <a:cubicBezTo>
                    <a:pt x="37" y="40"/>
                    <a:pt x="37" y="40"/>
                    <a:pt x="37" y="40"/>
                  </a:cubicBezTo>
                  <a:cubicBezTo>
                    <a:pt x="38" y="40"/>
                    <a:pt x="38" y="39"/>
                    <a:pt x="38" y="39"/>
                  </a:cubicBezTo>
                  <a:cubicBezTo>
                    <a:pt x="38" y="39"/>
                    <a:pt x="37" y="38"/>
                    <a:pt x="37" y="37"/>
                  </a:cubicBezTo>
                  <a:cubicBezTo>
                    <a:pt x="25" y="1"/>
                    <a:pt x="25" y="1"/>
                    <a:pt x="25" y="1"/>
                  </a:cubicBezTo>
                  <a:close/>
                  <a:moveTo>
                    <a:pt x="24" y="25"/>
                  </a:moveTo>
                  <a:cubicBezTo>
                    <a:pt x="13" y="25"/>
                    <a:pt x="13" y="25"/>
                    <a:pt x="13" y="25"/>
                  </a:cubicBezTo>
                  <a:cubicBezTo>
                    <a:pt x="19" y="8"/>
                    <a:pt x="19" y="8"/>
                    <a:pt x="19" y="8"/>
                  </a:cubicBezTo>
                  <a:cubicBezTo>
                    <a:pt x="19" y="8"/>
                    <a:pt x="19" y="8"/>
                    <a:pt x="19" y="8"/>
                  </a:cubicBezTo>
                  <a:cubicBezTo>
                    <a:pt x="24" y="25"/>
                    <a:pt x="24" y="25"/>
                    <a:pt x="24" y="25"/>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181">
              <a:extLst>
                <a:ext uri="{FF2B5EF4-FFF2-40B4-BE49-F238E27FC236}">
                  <a16:creationId xmlns:a16="http://schemas.microsoft.com/office/drawing/2014/main" id="{4DFFEF51-8651-4A11-A052-9E8C4B21470C}"/>
                </a:ext>
              </a:extLst>
            </p:cNvPr>
            <p:cNvSpPr>
              <a:spLocks/>
            </p:cNvSpPr>
            <p:nvPr/>
          </p:nvSpPr>
          <p:spPr bwMode="auto">
            <a:xfrm>
              <a:off x="3783071" y="5959143"/>
              <a:ext cx="106776" cy="137077"/>
            </a:xfrm>
            <a:custGeom>
              <a:avLst/>
              <a:gdLst>
                <a:gd name="T0" fmla="*/ 31 w 31"/>
                <a:gd name="T1" fmla="*/ 2 h 40"/>
                <a:gd name="T2" fmla="*/ 31 w 31"/>
                <a:gd name="T3" fmla="*/ 1 h 40"/>
                <a:gd name="T4" fmla="*/ 30 w 31"/>
                <a:gd name="T5" fmla="*/ 0 h 40"/>
                <a:gd name="T6" fmla="*/ 30 w 31"/>
                <a:gd name="T7" fmla="*/ 0 h 40"/>
                <a:gd name="T8" fmla="*/ 1 w 31"/>
                <a:gd name="T9" fmla="*/ 0 h 40"/>
                <a:gd name="T10" fmla="*/ 1 w 31"/>
                <a:gd name="T11" fmla="*/ 0 h 40"/>
                <a:gd name="T12" fmla="*/ 0 w 31"/>
                <a:gd name="T13" fmla="*/ 1 h 40"/>
                <a:gd name="T14" fmla="*/ 0 w 31"/>
                <a:gd name="T15" fmla="*/ 2 h 40"/>
                <a:gd name="T16" fmla="*/ 0 w 31"/>
                <a:gd name="T17" fmla="*/ 3 h 40"/>
                <a:gd name="T18" fmla="*/ 0 w 31"/>
                <a:gd name="T19" fmla="*/ 5 h 40"/>
                <a:gd name="T20" fmla="*/ 0 w 31"/>
                <a:gd name="T21" fmla="*/ 6 h 40"/>
                <a:gd name="T22" fmla="*/ 1 w 31"/>
                <a:gd name="T23" fmla="*/ 6 h 40"/>
                <a:gd name="T24" fmla="*/ 1 w 31"/>
                <a:gd name="T25" fmla="*/ 7 h 40"/>
                <a:gd name="T26" fmla="*/ 11 w 31"/>
                <a:gd name="T27" fmla="*/ 7 h 40"/>
                <a:gd name="T28" fmla="*/ 11 w 31"/>
                <a:gd name="T29" fmla="*/ 39 h 40"/>
                <a:gd name="T30" fmla="*/ 12 w 31"/>
                <a:gd name="T31" fmla="*/ 40 h 40"/>
                <a:gd name="T32" fmla="*/ 12 w 31"/>
                <a:gd name="T33" fmla="*/ 40 h 40"/>
                <a:gd name="T34" fmla="*/ 13 w 31"/>
                <a:gd name="T35" fmla="*/ 40 h 40"/>
                <a:gd name="T36" fmla="*/ 15 w 31"/>
                <a:gd name="T37" fmla="*/ 40 h 40"/>
                <a:gd name="T38" fmla="*/ 17 w 31"/>
                <a:gd name="T39" fmla="*/ 40 h 40"/>
                <a:gd name="T40" fmla="*/ 19 w 31"/>
                <a:gd name="T41" fmla="*/ 40 h 40"/>
                <a:gd name="T42" fmla="*/ 19 w 31"/>
                <a:gd name="T43" fmla="*/ 40 h 40"/>
                <a:gd name="T44" fmla="*/ 20 w 31"/>
                <a:gd name="T45" fmla="*/ 39 h 40"/>
                <a:gd name="T46" fmla="*/ 20 w 31"/>
                <a:gd name="T47" fmla="*/ 7 h 40"/>
                <a:gd name="T48" fmla="*/ 30 w 31"/>
                <a:gd name="T49" fmla="*/ 7 h 40"/>
                <a:gd name="T50" fmla="*/ 30 w 31"/>
                <a:gd name="T51" fmla="*/ 6 h 40"/>
                <a:gd name="T52" fmla="*/ 31 w 31"/>
                <a:gd name="T53" fmla="*/ 6 h 40"/>
                <a:gd name="T54" fmla="*/ 31 w 31"/>
                <a:gd name="T55" fmla="*/ 5 h 40"/>
                <a:gd name="T56" fmla="*/ 31 w 31"/>
                <a:gd name="T57" fmla="*/ 3 h 40"/>
                <a:gd name="T58" fmla="*/ 31 w 31"/>
                <a:gd name="T59"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40">
                  <a:moveTo>
                    <a:pt x="31" y="2"/>
                  </a:moveTo>
                  <a:cubicBezTo>
                    <a:pt x="31" y="1"/>
                    <a:pt x="31" y="1"/>
                    <a:pt x="31" y="1"/>
                  </a:cubicBezTo>
                  <a:cubicBezTo>
                    <a:pt x="31" y="0"/>
                    <a:pt x="30" y="0"/>
                    <a:pt x="30" y="0"/>
                  </a:cubicBezTo>
                  <a:cubicBezTo>
                    <a:pt x="30" y="0"/>
                    <a:pt x="30" y="0"/>
                    <a:pt x="30" y="0"/>
                  </a:cubicBezTo>
                  <a:cubicBezTo>
                    <a:pt x="1" y="0"/>
                    <a:pt x="1" y="0"/>
                    <a:pt x="1" y="0"/>
                  </a:cubicBezTo>
                  <a:cubicBezTo>
                    <a:pt x="1" y="0"/>
                    <a:pt x="1" y="0"/>
                    <a:pt x="1" y="0"/>
                  </a:cubicBezTo>
                  <a:cubicBezTo>
                    <a:pt x="1" y="0"/>
                    <a:pt x="0" y="0"/>
                    <a:pt x="0" y="1"/>
                  </a:cubicBezTo>
                  <a:cubicBezTo>
                    <a:pt x="0" y="1"/>
                    <a:pt x="0" y="1"/>
                    <a:pt x="0" y="2"/>
                  </a:cubicBezTo>
                  <a:cubicBezTo>
                    <a:pt x="0" y="2"/>
                    <a:pt x="0" y="3"/>
                    <a:pt x="0" y="3"/>
                  </a:cubicBezTo>
                  <a:cubicBezTo>
                    <a:pt x="0" y="4"/>
                    <a:pt x="0" y="4"/>
                    <a:pt x="0" y="5"/>
                  </a:cubicBezTo>
                  <a:cubicBezTo>
                    <a:pt x="0" y="5"/>
                    <a:pt x="0" y="6"/>
                    <a:pt x="0" y="6"/>
                  </a:cubicBezTo>
                  <a:cubicBezTo>
                    <a:pt x="0" y="6"/>
                    <a:pt x="1" y="6"/>
                    <a:pt x="1" y="6"/>
                  </a:cubicBezTo>
                  <a:cubicBezTo>
                    <a:pt x="1" y="7"/>
                    <a:pt x="1" y="7"/>
                    <a:pt x="1" y="7"/>
                  </a:cubicBezTo>
                  <a:cubicBezTo>
                    <a:pt x="11" y="7"/>
                    <a:pt x="11" y="7"/>
                    <a:pt x="11" y="7"/>
                  </a:cubicBezTo>
                  <a:cubicBezTo>
                    <a:pt x="11" y="39"/>
                    <a:pt x="11" y="39"/>
                    <a:pt x="11" y="39"/>
                  </a:cubicBezTo>
                  <a:cubicBezTo>
                    <a:pt x="11" y="39"/>
                    <a:pt x="11" y="40"/>
                    <a:pt x="12" y="40"/>
                  </a:cubicBezTo>
                  <a:cubicBezTo>
                    <a:pt x="12" y="40"/>
                    <a:pt x="12" y="40"/>
                    <a:pt x="12" y="40"/>
                  </a:cubicBezTo>
                  <a:cubicBezTo>
                    <a:pt x="13" y="40"/>
                    <a:pt x="13" y="40"/>
                    <a:pt x="13" y="40"/>
                  </a:cubicBezTo>
                  <a:cubicBezTo>
                    <a:pt x="14" y="40"/>
                    <a:pt x="15" y="40"/>
                    <a:pt x="15" y="40"/>
                  </a:cubicBezTo>
                  <a:cubicBezTo>
                    <a:pt x="16" y="40"/>
                    <a:pt x="17" y="40"/>
                    <a:pt x="17" y="40"/>
                  </a:cubicBezTo>
                  <a:cubicBezTo>
                    <a:pt x="18" y="40"/>
                    <a:pt x="18" y="40"/>
                    <a:pt x="19" y="40"/>
                  </a:cubicBezTo>
                  <a:cubicBezTo>
                    <a:pt x="19" y="40"/>
                    <a:pt x="19" y="40"/>
                    <a:pt x="19" y="40"/>
                  </a:cubicBezTo>
                  <a:cubicBezTo>
                    <a:pt x="20" y="40"/>
                    <a:pt x="20" y="39"/>
                    <a:pt x="20" y="39"/>
                  </a:cubicBezTo>
                  <a:cubicBezTo>
                    <a:pt x="20" y="7"/>
                    <a:pt x="20" y="7"/>
                    <a:pt x="20" y="7"/>
                  </a:cubicBezTo>
                  <a:cubicBezTo>
                    <a:pt x="30" y="7"/>
                    <a:pt x="30" y="7"/>
                    <a:pt x="30" y="7"/>
                  </a:cubicBezTo>
                  <a:cubicBezTo>
                    <a:pt x="30" y="7"/>
                    <a:pt x="30" y="7"/>
                    <a:pt x="30" y="6"/>
                  </a:cubicBezTo>
                  <a:cubicBezTo>
                    <a:pt x="30" y="6"/>
                    <a:pt x="31" y="6"/>
                    <a:pt x="31" y="6"/>
                  </a:cubicBezTo>
                  <a:cubicBezTo>
                    <a:pt x="31" y="6"/>
                    <a:pt x="31" y="5"/>
                    <a:pt x="31" y="5"/>
                  </a:cubicBezTo>
                  <a:cubicBezTo>
                    <a:pt x="31" y="4"/>
                    <a:pt x="31" y="4"/>
                    <a:pt x="31" y="3"/>
                  </a:cubicBezTo>
                  <a:cubicBezTo>
                    <a:pt x="31" y="3"/>
                    <a:pt x="31" y="2"/>
                    <a:pt x="31" y="2"/>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182">
              <a:extLst>
                <a:ext uri="{FF2B5EF4-FFF2-40B4-BE49-F238E27FC236}">
                  <a16:creationId xmlns:a16="http://schemas.microsoft.com/office/drawing/2014/main" id="{306FCD4C-1995-4EE6-9331-A0EA8CC04EB9}"/>
                </a:ext>
              </a:extLst>
            </p:cNvPr>
            <p:cNvSpPr>
              <a:spLocks/>
            </p:cNvSpPr>
            <p:nvPr/>
          </p:nvSpPr>
          <p:spPr bwMode="auto">
            <a:xfrm>
              <a:off x="3905720" y="5959143"/>
              <a:ext cx="27416" cy="137077"/>
            </a:xfrm>
            <a:custGeom>
              <a:avLst/>
              <a:gdLst>
                <a:gd name="T0" fmla="*/ 8 w 8"/>
                <a:gd name="T1" fmla="*/ 1 h 40"/>
                <a:gd name="T2" fmla="*/ 8 w 8"/>
                <a:gd name="T3" fmla="*/ 0 h 40"/>
                <a:gd name="T4" fmla="*/ 7 w 8"/>
                <a:gd name="T5" fmla="*/ 0 h 40"/>
                <a:gd name="T6" fmla="*/ 6 w 8"/>
                <a:gd name="T7" fmla="*/ 0 h 40"/>
                <a:gd name="T8" fmla="*/ 4 w 8"/>
                <a:gd name="T9" fmla="*/ 0 h 40"/>
                <a:gd name="T10" fmla="*/ 2 w 8"/>
                <a:gd name="T11" fmla="*/ 0 h 40"/>
                <a:gd name="T12" fmla="*/ 1 w 8"/>
                <a:gd name="T13" fmla="*/ 0 h 40"/>
                <a:gd name="T14" fmla="*/ 0 w 8"/>
                <a:gd name="T15" fmla="*/ 0 h 40"/>
                <a:gd name="T16" fmla="*/ 0 w 8"/>
                <a:gd name="T17" fmla="*/ 1 h 40"/>
                <a:gd name="T18" fmla="*/ 0 w 8"/>
                <a:gd name="T19" fmla="*/ 39 h 40"/>
                <a:gd name="T20" fmla="*/ 0 w 8"/>
                <a:gd name="T21" fmla="*/ 40 h 40"/>
                <a:gd name="T22" fmla="*/ 1 w 8"/>
                <a:gd name="T23" fmla="*/ 40 h 40"/>
                <a:gd name="T24" fmla="*/ 2 w 8"/>
                <a:gd name="T25" fmla="*/ 40 h 40"/>
                <a:gd name="T26" fmla="*/ 4 w 8"/>
                <a:gd name="T27" fmla="*/ 40 h 40"/>
                <a:gd name="T28" fmla="*/ 6 w 8"/>
                <a:gd name="T29" fmla="*/ 40 h 40"/>
                <a:gd name="T30" fmla="*/ 7 w 8"/>
                <a:gd name="T31" fmla="*/ 40 h 40"/>
                <a:gd name="T32" fmla="*/ 8 w 8"/>
                <a:gd name="T33" fmla="*/ 40 h 40"/>
                <a:gd name="T34" fmla="*/ 8 w 8"/>
                <a:gd name="T35" fmla="*/ 39 h 40"/>
                <a:gd name="T36" fmla="*/ 8 w 8"/>
                <a:gd name="T37"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40">
                  <a:moveTo>
                    <a:pt x="8" y="1"/>
                  </a:moveTo>
                  <a:cubicBezTo>
                    <a:pt x="8" y="1"/>
                    <a:pt x="8" y="1"/>
                    <a:pt x="8" y="0"/>
                  </a:cubicBezTo>
                  <a:cubicBezTo>
                    <a:pt x="8" y="0"/>
                    <a:pt x="7" y="0"/>
                    <a:pt x="7" y="0"/>
                  </a:cubicBezTo>
                  <a:cubicBezTo>
                    <a:pt x="7" y="0"/>
                    <a:pt x="6" y="0"/>
                    <a:pt x="6" y="0"/>
                  </a:cubicBezTo>
                  <a:cubicBezTo>
                    <a:pt x="5" y="0"/>
                    <a:pt x="5" y="0"/>
                    <a:pt x="4" y="0"/>
                  </a:cubicBezTo>
                  <a:cubicBezTo>
                    <a:pt x="3" y="0"/>
                    <a:pt x="2" y="0"/>
                    <a:pt x="2" y="0"/>
                  </a:cubicBezTo>
                  <a:cubicBezTo>
                    <a:pt x="1" y="0"/>
                    <a:pt x="1" y="0"/>
                    <a:pt x="1" y="0"/>
                  </a:cubicBezTo>
                  <a:cubicBezTo>
                    <a:pt x="0" y="0"/>
                    <a:pt x="0" y="0"/>
                    <a:pt x="0" y="0"/>
                  </a:cubicBezTo>
                  <a:cubicBezTo>
                    <a:pt x="0" y="1"/>
                    <a:pt x="0" y="1"/>
                    <a:pt x="0" y="1"/>
                  </a:cubicBezTo>
                  <a:cubicBezTo>
                    <a:pt x="0" y="39"/>
                    <a:pt x="0" y="39"/>
                    <a:pt x="0" y="39"/>
                  </a:cubicBezTo>
                  <a:cubicBezTo>
                    <a:pt x="0" y="39"/>
                    <a:pt x="0" y="40"/>
                    <a:pt x="0" y="40"/>
                  </a:cubicBezTo>
                  <a:cubicBezTo>
                    <a:pt x="0" y="40"/>
                    <a:pt x="0" y="40"/>
                    <a:pt x="1" y="40"/>
                  </a:cubicBezTo>
                  <a:cubicBezTo>
                    <a:pt x="1" y="40"/>
                    <a:pt x="1" y="40"/>
                    <a:pt x="2" y="40"/>
                  </a:cubicBezTo>
                  <a:cubicBezTo>
                    <a:pt x="2" y="40"/>
                    <a:pt x="3" y="40"/>
                    <a:pt x="4" y="40"/>
                  </a:cubicBezTo>
                  <a:cubicBezTo>
                    <a:pt x="5" y="40"/>
                    <a:pt x="5" y="40"/>
                    <a:pt x="6" y="40"/>
                  </a:cubicBezTo>
                  <a:cubicBezTo>
                    <a:pt x="6" y="40"/>
                    <a:pt x="7" y="40"/>
                    <a:pt x="7" y="40"/>
                  </a:cubicBezTo>
                  <a:cubicBezTo>
                    <a:pt x="7" y="40"/>
                    <a:pt x="8" y="40"/>
                    <a:pt x="8" y="40"/>
                  </a:cubicBezTo>
                  <a:cubicBezTo>
                    <a:pt x="8" y="40"/>
                    <a:pt x="8" y="39"/>
                    <a:pt x="8" y="39"/>
                  </a:cubicBezTo>
                  <a:cubicBezTo>
                    <a:pt x="8" y="1"/>
                    <a:pt x="8" y="1"/>
                    <a:pt x="8" y="1"/>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183">
              <a:extLst>
                <a:ext uri="{FF2B5EF4-FFF2-40B4-BE49-F238E27FC236}">
                  <a16:creationId xmlns:a16="http://schemas.microsoft.com/office/drawing/2014/main" id="{3BCDFD0F-9DC7-4D44-A477-303D66E1DA69}"/>
                </a:ext>
              </a:extLst>
            </p:cNvPr>
            <p:cNvSpPr>
              <a:spLocks noEditPoints="1"/>
            </p:cNvSpPr>
            <p:nvPr/>
          </p:nvSpPr>
          <p:spPr bwMode="auto">
            <a:xfrm>
              <a:off x="3957664" y="5956257"/>
              <a:ext cx="129862" cy="144291"/>
            </a:xfrm>
            <a:custGeom>
              <a:avLst/>
              <a:gdLst>
                <a:gd name="T0" fmla="*/ 37 w 38"/>
                <a:gd name="T1" fmla="*/ 12 h 42"/>
                <a:gd name="T2" fmla="*/ 33 w 38"/>
                <a:gd name="T3" fmla="*/ 5 h 42"/>
                <a:gd name="T4" fmla="*/ 27 w 38"/>
                <a:gd name="T5" fmla="*/ 1 h 42"/>
                <a:gd name="T6" fmla="*/ 19 w 38"/>
                <a:gd name="T7" fmla="*/ 0 h 42"/>
                <a:gd name="T8" fmla="*/ 11 w 38"/>
                <a:gd name="T9" fmla="*/ 2 h 42"/>
                <a:gd name="T10" fmla="*/ 5 w 38"/>
                <a:gd name="T11" fmla="*/ 6 h 42"/>
                <a:gd name="T12" fmla="*/ 1 w 38"/>
                <a:gd name="T13" fmla="*/ 13 h 42"/>
                <a:gd name="T14" fmla="*/ 0 w 38"/>
                <a:gd name="T15" fmla="*/ 21 h 42"/>
                <a:gd name="T16" fmla="*/ 1 w 38"/>
                <a:gd name="T17" fmla="*/ 31 h 42"/>
                <a:gd name="T18" fmla="*/ 4 w 38"/>
                <a:gd name="T19" fmla="*/ 37 h 42"/>
                <a:gd name="T20" fmla="*/ 10 w 38"/>
                <a:gd name="T21" fmla="*/ 41 h 42"/>
                <a:gd name="T22" fmla="*/ 19 w 38"/>
                <a:gd name="T23" fmla="*/ 42 h 42"/>
                <a:gd name="T24" fmla="*/ 27 w 38"/>
                <a:gd name="T25" fmla="*/ 41 h 42"/>
                <a:gd name="T26" fmla="*/ 33 w 38"/>
                <a:gd name="T27" fmla="*/ 36 h 42"/>
                <a:gd name="T28" fmla="*/ 37 w 38"/>
                <a:gd name="T29" fmla="*/ 30 h 42"/>
                <a:gd name="T30" fmla="*/ 38 w 38"/>
                <a:gd name="T31" fmla="*/ 21 h 42"/>
                <a:gd name="T32" fmla="*/ 37 w 38"/>
                <a:gd name="T33" fmla="*/ 12 h 42"/>
                <a:gd name="T34" fmla="*/ 29 w 38"/>
                <a:gd name="T35" fmla="*/ 27 h 42"/>
                <a:gd name="T36" fmla="*/ 27 w 38"/>
                <a:gd name="T37" fmla="*/ 31 h 42"/>
                <a:gd name="T38" fmla="*/ 24 w 38"/>
                <a:gd name="T39" fmla="*/ 34 h 42"/>
                <a:gd name="T40" fmla="*/ 19 w 38"/>
                <a:gd name="T41" fmla="*/ 35 h 42"/>
                <a:gd name="T42" fmla="*/ 14 w 38"/>
                <a:gd name="T43" fmla="*/ 34 h 42"/>
                <a:gd name="T44" fmla="*/ 11 w 38"/>
                <a:gd name="T45" fmla="*/ 31 h 42"/>
                <a:gd name="T46" fmla="*/ 9 w 38"/>
                <a:gd name="T47" fmla="*/ 27 h 42"/>
                <a:gd name="T48" fmla="*/ 8 w 38"/>
                <a:gd name="T49" fmla="*/ 21 h 42"/>
                <a:gd name="T50" fmla="*/ 9 w 38"/>
                <a:gd name="T51" fmla="*/ 16 h 42"/>
                <a:gd name="T52" fmla="*/ 11 w 38"/>
                <a:gd name="T53" fmla="*/ 11 h 42"/>
                <a:gd name="T54" fmla="*/ 14 w 38"/>
                <a:gd name="T55" fmla="*/ 8 h 42"/>
                <a:gd name="T56" fmla="*/ 19 w 38"/>
                <a:gd name="T57" fmla="*/ 7 h 42"/>
                <a:gd name="T58" fmla="*/ 24 w 38"/>
                <a:gd name="T59" fmla="*/ 8 h 42"/>
                <a:gd name="T60" fmla="*/ 27 w 38"/>
                <a:gd name="T61" fmla="*/ 11 h 42"/>
                <a:gd name="T62" fmla="*/ 29 w 38"/>
                <a:gd name="T63" fmla="*/ 15 h 42"/>
                <a:gd name="T64" fmla="*/ 29 w 38"/>
                <a:gd name="T65" fmla="*/ 21 h 42"/>
                <a:gd name="T66" fmla="*/ 29 w 38"/>
                <a:gd name="T67" fmla="*/ 2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42">
                  <a:moveTo>
                    <a:pt x="37" y="12"/>
                  </a:moveTo>
                  <a:cubicBezTo>
                    <a:pt x="36" y="9"/>
                    <a:pt x="35" y="7"/>
                    <a:pt x="33" y="5"/>
                  </a:cubicBezTo>
                  <a:cubicBezTo>
                    <a:pt x="32" y="3"/>
                    <a:pt x="30" y="2"/>
                    <a:pt x="27" y="1"/>
                  </a:cubicBezTo>
                  <a:cubicBezTo>
                    <a:pt x="25" y="1"/>
                    <a:pt x="22" y="0"/>
                    <a:pt x="19" y="0"/>
                  </a:cubicBezTo>
                  <a:cubicBezTo>
                    <a:pt x="16" y="0"/>
                    <a:pt x="13" y="1"/>
                    <a:pt x="11" y="2"/>
                  </a:cubicBezTo>
                  <a:cubicBezTo>
                    <a:pt x="8" y="3"/>
                    <a:pt x="6" y="4"/>
                    <a:pt x="5" y="6"/>
                  </a:cubicBezTo>
                  <a:cubicBezTo>
                    <a:pt x="3" y="8"/>
                    <a:pt x="2" y="10"/>
                    <a:pt x="1" y="13"/>
                  </a:cubicBezTo>
                  <a:cubicBezTo>
                    <a:pt x="0" y="15"/>
                    <a:pt x="0" y="18"/>
                    <a:pt x="0" y="21"/>
                  </a:cubicBezTo>
                  <a:cubicBezTo>
                    <a:pt x="0" y="25"/>
                    <a:pt x="0" y="28"/>
                    <a:pt x="1" y="31"/>
                  </a:cubicBezTo>
                  <a:cubicBezTo>
                    <a:pt x="2" y="33"/>
                    <a:pt x="3" y="35"/>
                    <a:pt x="4" y="37"/>
                  </a:cubicBezTo>
                  <a:cubicBezTo>
                    <a:pt x="6" y="39"/>
                    <a:pt x="8" y="40"/>
                    <a:pt x="10" y="41"/>
                  </a:cubicBezTo>
                  <a:cubicBezTo>
                    <a:pt x="13" y="42"/>
                    <a:pt x="15" y="42"/>
                    <a:pt x="19" y="42"/>
                  </a:cubicBezTo>
                  <a:cubicBezTo>
                    <a:pt x="22" y="42"/>
                    <a:pt x="25" y="42"/>
                    <a:pt x="27" y="41"/>
                  </a:cubicBezTo>
                  <a:cubicBezTo>
                    <a:pt x="29" y="40"/>
                    <a:pt x="31" y="38"/>
                    <a:pt x="33" y="36"/>
                  </a:cubicBezTo>
                  <a:cubicBezTo>
                    <a:pt x="35" y="35"/>
                    <a:pt x="36" y="32"/>
                    <a:pt x="37" y="30"/>
                  </a:cubicBezTo>
                  <a:cubicBezTo>
                    <a:pt x="38" y="27"/>
                    <a:pt x="38" y="24"/>
                    <a:pt x="38" y="21"/>
                  </a:cubicBezTo>
                  <a:cubicBezTo>
                    <a:pt x="38" y="17"/>
                    <a:pt x="38" y="14"/>
                    <a:pt x="37" y="12"/>
                  </a:cubicBezTo>
                  <a:close/>
                  <a:moveTo>
                    <a:pt x="29" y="27"/>
                  </a:moveTo>
                  <a:cubicBezTo>
                    <a:pt x="29" y="28"/>
                    <a:pt x="28" y="30"/>
                    <a:pt x="27" y="31"/>
                  </a:cubicBezTo>
                  <a:cubicBezTo>
                    <a:pt x="26" y="32"/>
                    <a:pt x="25" y="33"/>
                    <a:pt x="24" y="34"/>
                  </a:cubicBezTo>
                  <a:cubicBezTo>
                    <a:pt x="23" y="35"/>
                    <a:pt x="21" y="35"/>
                    <a:pt x="19" y="35"/>
                  </a:cubicBezTo>
                  <a:cubicBezTo>
                    <a:pt x="17" y="35"/>
                    <a:pt x="15" y="35"/>
                    <a:pt x="14" y="34"/>
                  </a:cubicBezTo>
                  <a:cubicBezTo>
                    <a:pt x="12" y="34"/>
                    <a:pt x="11" y="33"/>
                    <a:pt x="11" y="31"/>
                  </a:cubicBezTo>
                  <a:cubicBezTo>
                    <a:pt x="10" y="30"/>
                    <a:pt x="9" y="29"/>
                    <a:pt x="9" y="27"/>
                  </a:cubicBezTo>
                  <a:cubicBezTo>
                    <a:pt x="9" y="25"/>
                    <a:pt x="8" y="23"/>
                    <a:pt x="8" y="21"/>
                  </a:cubicBezTo>
                  <a:cubicBezTo>
                    <a:pt x="8" y="19"/>
                    <a:pt x="9" y="17"/>
                    <a:pt x="9" y="16"/>
                  </a:cubicBezTo>
                  <a:cubicBezTo>
                    <a:pt x="9" y="14"/>
                    <a:pt x="10" y="12"/>
                    <a:pt x="11" y="11"/>
                  </a:cubicBezTo>
                  <a:cubicBezTo>
                    <a:pt x="12" y="10"/>
                    <a:pt x="13" y="9"/>
                    <a:pt x="14" y="8"/>
                  </a:cubicBezTo>
                  <a:cubicBezTo>
                    <a:pt x="15" y="7"/>
                    <a:pt x="17" y="7"/>
                    <a:pt x="19" y="7"/>
                  </a:cubicBezTo>
                  <a:cubicBezTo>
                    <a:pt x="21" y="7"/>
                    <a:pt x="23" y="7"/>
                    <a:pt x="24" y="8"/>
                  </a:cubicBezTo>
                  <a:cubicBezTo>
                    <a:pt x="25" y="9"/>
                    <a:pt x="26" y="10"/>
                    <a:pt x="27" y="11"/>
                  </a:cubicBezTo>
                  <a:cubicBezTo>
                    <a:pt x="28" y="12"/>
                    <a:pt x="29" y="14"/>
                    <a:pt x="29" y="15"/>
                  </a:cubicBezTo>
                  <a:cubicBezTo>
                    <a:pt x="29" y="17"/>
                    <a:pt x="29" y="19"/>
                    <a:pt x="29" y="21"/>
                  </a:cubicBezTo>
                  <a:cubicBezTo>
                    <a:pt x="29" y="23"/>
                    <a:pt x="29" y="25"/>
                    <a:pt x="29" y="27"/>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184">
              <a:extLst>
                <a:ext uri="{FF2B5EF4-FFF2-40B4-BE49-F238E27FC236}">
                  <a16:creationId xmlns:a16="http://schemas.microsoft.com/office/drawing/2014/main" id="{0BE3C9B4-6176-4C10-8FB1-1A7C934B8C67}"/>
                </a:ext>
              </a:extLst>
            </p:cNvPr>
            <p:cNvSpPr>
              <a:spLocks/>
            </p:cNvSpPr>
            <p:nvPr/>
          </p:nvSpPr>
          <p:spPr bwMode="auto">
            <a:xfrm>
              <a:off x="4112056" y="5959143"/>
              <a:ext cx="112547" cy="137077"/>
            </a:xfrm>
            <a:custGeom>
              <a:avLst/>
              <a:gdLst>
                <a:gd name="T0" fmla="*/ 33 w 33"/>
                <a:gd name="T1" fmla="*/ 1 h 40"/>
                <a:gd name="T2" fmla="*/ 33 w 33"/>
                <a:gd name="T3" fmla="*/ 1 h 40"/>
                <a:gd name="T4" fmla="*/ 33 w 33"/>
                <a:gd name="T5" fmla="*/ 0 h 40"/>
                <a:gd name="T6" fmla="*/ 31 w 33"/>
                <a:gd name="T7" fmla="*/ 0 h 40"/>
                <a:gd name="T8" fmla="*/ 30 w 33"/>
                <a:gd name="T9" fmla="*/ 0 h 40"/>
                <a:gd name="T10" fmla="*/ 28 w 33"/>
                <a:gd name="T11" fmla="*/ 0 h 40"/>
                <a:gd name="T12" fmla="*/ 27 w 33"/>
                <a:gd name="T13" fmla="*/ 0 h 40"/>
                <a:gd name="T14" fmla="*/ 26 w 33"/>
                <a:gd name="T15" fmla="*/ 1 h 40"/>
                <a:gd name="T16" fmla="*/ 26 w 33"/>
                <a:gd name="T17" fmla="*/ 1 h 40"/>
                <a:gd name="T18" fmla="*/ 26 w 33"/>
                <a:gd name="T19" fmla="*/ 20 h 40"/>
                <a:gd name="T20" fmla="*/ 26 w 33"/>
                <a:gd name="T21" fmla="*/ 25 h 40"/>
                <a:gd name="T22" fmla="*/ 26 w 33"/>
                <a:gd name="T23" fmla="*/ 29 h 40"/>
                <a:gd name="T24" fmla="*/ 26 w 33"/>
                <a:gd name="T25" fmla="*/ 29 h 40"/>
                <a:gd name="T26" fmla="*/ 25 w 33"/>
                <a:gd name="T27" fmla="*/ 27 h 40"/>
                <a:gd name="T28" fmla="*/ 24 w 33"/>
                <a:gd name="T29" fmla="*/ 24 h 40"/>
                <a:gd name="T30" fmla="*/ 22 w 33"/>
                <a:gd name="T31" fmla="*/ 22 h 40"/>
                <a:gd name="T32" fmla="*/ 21 w 33"/>
                <a:gd name="T33" fmla="*/ 19 h 40"/>
                <a:gd name="T34" fmla="*/ 13 w 33"/>
                <a:gd name="T35" fmla="*/ 4 h 40"/>
                <a:gd name="T36" fmla="*/ 12 w 33"/>
                <a:gd name="T37" fmla="*/ 2 h 40"/>
                <a:gd name="T38" fmla="*/ 11 w 33"/>
                <a:gd name="T39" fmla="*/ 1 h 40"/>
                <a:gd name="T40" fmla="*/ 9 w 33"/>
                <a:gd name="T41" fmla="*/ 0 h 40"/>
                <a:gd name="T42" fmla="*/ 7 w 33"/>
                <a:gd name="T43" fmla="*/ 0 h 40"/>
                <a:gd name="T44" fmla="*/ 3 w 33"/>
                <a:gd name="T45" fmla="*/ 0 h 40"/>
                <a:gd name="T46" fmla="*/ 1 w 33"/>
                <a:gd name="T47" fmla="*/ 1 h 40"/>
                <a:gd name="T48" fmla="*/ 0 w 33"/>
                <a:gd name="T49" fmla="*/ 3 h 40"/>
                <a:gd name="T50" fmla="*/ 0 w 33"/>
                <a:gd name="T51" fmla="*/ 39 h 40"/>
                <a:gd name="T52" fmla="*/ 0 w 33"/>
                <a:gd name="T53" fmla="*/ 40 h 40"/>
                <a:gd name="T54" fmla="*/ 1 w 33"/>
                <a:gd name="T55" fmla="*/ 40 h 40"/>
                <a:gd name="T56" fmla="*/ 2 w 33"/>
                <a:gd name="T57" fmla="*/ 40 h 40"/>
                <a:gd name="T58" fmla="*/ 4 w 33"/>
                <a:gd name="T59" fmla="*/ 40 h 40"/>
                <a:gd name="T60" fmla="*/ 5 w 33"/>
                <a:gd name="T61" fmla="*/ 40 h 40"/>
                <a:gd name="T62" fmla="*/ 7 w 33"/>
                <a:gd name="T63" fmla="*/ 40 h 40"/>
                <a:gd name="T64" fmla="*/ 7 w 33"/>
                <a:gd name="T65" fmla="*/ 40 h 40"/>
                <a:gd name="T66" fmla="*/ 7 w 33"/>
                <a:gd name="T67" fmla="*/ 39 h 40"/>
                <a:gd name="T68" fmla="*/ 7 w 33"/>
                <a:gd name="T69" fmla="*/ 18 h 40"/>
                <a:gd name="T70" fmla="*/ 7 w 33"/>
                <a:gd name="T71" fmla="*/ 13 h 40"/>
                <a:gd name="T72" fmla="*/ 7 w 33"/>
                <a:gd name="T73" fmla="*/ 9 h 40"/>
                <a:gd name="T74" fmla="*/ 7 w 33"/>
                <a:gd name="T75" fmla="*/ 9 h 40"/>
                <a:gd name="T76" fmla="*/ 9 w 33"/>
                <a:gd name="T77" fmla="*/ 13 h 40"/>
                <a:gd name="T78" fmla="*/ 11 w 33"/>
                <a:gd name="T79" fmla="*/ 16 h 40"/>
                <a:gd name="T80" fmla="*/ 21 w 33"/>
                <a:gd name="T81" fmla="*/ 35 h 40"/>
                <a:gd name="T82" fmla="*/ 22 w 33"/>
                <a:gd name="T83" fmla="*/ 38 h 40"/>
                <a:gd name="T84" fmla="*/ 23 w 33"/>
                <a:gd name="T85" fmla="*/ 39 h 40"/>
                <a:gd name="T86" fmla="*/ 25 w 33"/>
                <a:gd name="T87" fmla="*/ 40 h 40"/>
                <a:gd name="T88" fmla="*/ 27 w 33"/>
                <a:gd name="T89" fmla="*/ 40 h 40"/>
                <a:gd name="T90" fmla="*/ 30 w 33"/>
                <a:gd name="T91" fmla="*/ 40 h 40"/>
                <a:gd name="T92" fmla="*/ 31 w 33"/>
                <a:gd name="T93" fmla="*/ 40 h 40"/>
                <a:gd name="T94" fmla="*/ 32 w 33"/>
                <a:gd name="T95" fmla="*/ 40 h 40"/>
                <a:gd name="T96" fmla="*/ 33 w 33"/>
                <a:gd name="T97" fmla="*/ 39 h 40"/>
                <a:gd name="T98" fmla="*/ 33 w 33"/>
                <a:gd name="T99" fmla="*/ 37 h 40"/>
                <a:gd name="T100" fmla="*/ 33 w 33"/>
                <a:gd name="T101"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40">
                  <a:moveTo>
                    <a:pt x="33" y="1"/>
                  </a:moveTo>
                  <a:cubicBezTo>
                    <a:pt x="33" y="1"/>
                    <a:pt x="33" y="1"/>
                    <a:pt x="33" y="1"/>
                  </a:cubicBezTo>
                  <a:cubicBezTo>
                    <a:pt x="33" y="0"/>
                    <a:pt x="33" y="0"/>
                    <a:pt x="33" y="0"/>
                  </a:cubicBezTo>
                  <a:cubicBezTo>
                    <a:pt x="32" y="0"/>
                    <a:pt x="32" y="0"/>
                    <a:pt x="31" y="0"/>
                  </a:cubicBezTo>
                  <a:cubicBezTo>
                    <a:pt x="31" y="0"/>
                    <a:pt x="30" y="0"/>
                    <a:pt x="30" y="0"/>
                  </a:cubicBezTo>
                  <a:cubicBezTo>
                    <a:pt x="29" y="0"/>
                    <a:pt x="28" y="0"/>
                    <a:pt x="28" y="0"/>
                  </a:cubicBezTo>
                  <a:cubicBezTo>
                    <a:pt x="27" y="0"/>
                    <a:pt x="27" y="0"/>
                    <a:pt x="27" y="0"/>
                  </a:cubicBezTo>
                  <a:cubicBezTo>
                    <a:pt x="26" y="0"/>
                    <a:pt x="26" y="0"/>
                    <a:pt x="26" y="1"/>
                  </a:cubicBezTo>
                  <a:cubicBezTo>
                    <a:pt x="26" y="1"/>
                    <a:pt x="26" y="1"/>
                    <a:pt x="26" y="1"/>
                  </a:cubicBezTo>
                  <a:cubicBezTo>
                    <a:pt x="26" y="20"/>
                    <a:pt x="26" y="20"/>
                    <a:pt x="26" y="20"/>
                  </a:cubicBezTo>
                  <a:cubicBezTo>
                    <a:pt x="26" y="21"/>
                    <a:pt x="26" y="23"/>
                    <a:pt x="26" y="25"/>
                  </a:cubicBezTo>
                  <a:cubicBezTo>
                    <a:pt x="26" y="26"/>
                    <a:pt x="26" y="28"/>
                    <a:pt x="26" y="29"/>
                  </a:cubicBezTo>
                  <a:cubicBezTo>
                    <a:pt x="26" y="29"/>
                    <a:pt x="26" y="29"/>
                    <a:pt x="26" y="29"/>
                  </a:cubicBezTo>
                  <a:cubicBezTo>
                    <a:pt x="26" y="28"/>
                    <a:pt x="25" y="27"/>
                    <a:pt x="25" y="27"/>
                  </a:cubicBezTo>
                  <a:cubicBezTo>
                    <a:pt x="24" y="26"/>
                    <a:pt x="24" y="25"/>
                    <a:pt x="24" y="24"/>
                  </a:cubicBezTo>
                  <a:cubicBezTo>
                    <a:pt x="23" y="23"/>
                    <a:pt x="23" y="22"/>
                    <a:pt x="22" y="22"/>
                  </a:cubicBezTo>
                  <a:cubicBezTo>
                    <a:pt x="22" y="21"/>
                    <a:pt x="21" y="20"/>
                    <a:pt x="21" y="19"/>
                  </a:cubicBezTo>
                  <a:cubicBezTo>
                    <a:pt x="13" y="4"/>
                    <a:pt x="13" y="4"/>
                    <a:pt x="13" y="4"/>
                  </a:cubicBezTo>
                  <a:cubicBezTo>
                    <a:pt x="13" y="3"/>
                    <a:pt x="12" y="3"/>
                    <a:pt x="12" y="2"/>
                  </a:cubicBezTo>
                  <a:cubicBezTo>
                    <a:pt x="12" y="1"/>
                    <a:pt x="11" y="1"/>
                    <a:pt x="11" y="1"/>
                  </a:cubicBezTo>
                  <a:cubicBezTo>
                    <a:pt x="10" y="0"/>
                    <a:pt x="10" y="0"/>
                    <a:pt x="9" y="0"/>
                  </a:cubicBezTo>
                  <a:cubicBezTo>
                    <a:pt x="9" y="0"/>
                    <a:pt x="8" y="0"/>
                    <a:pt x="7" y="0"/>
                  </a:cubicBezTo>
                  <a:cubicBezTo>
                    <a:pt x="3" y="0"/>
                    <a:pt x="3" y="0"/>
                    <a:pt x="3" y="0"/>
                  </a:cubicBezTo>
                  <a:cubicBezTo>
                    <a:pt x="2" y="0"/>
                    <a:pt x="1" y="0"/>
                    <a:pt x="1" y="1"/>
                  </a:cubicBezTo>
                  <a:cubicBezTo>
                    <a:pt x="0" y="1"/>
                    <a:pt x="0" y="2"/>
                    <a:pt x="0" y="3"/>
                  </a:cubicBezTo>
                  <a:cubicBezTo>
                    <a:pt x="0" y="39"/>
                    <a:pt x="0" y="39"/>
                    <a:pt x="0" y="39"/>
                  </a:cubicBezTo>
                  <a:cubicBezTo>
                    <a:pt x="0" y="39"/>
                    <a:pt x="0" y="40"/>
                    <a:pt x="0" y="40"/>
                  </a:cubicBezTo>
                  <a:cubicBezTo>
                    <a:pt x="0" y="40"/>
                    <a:pt x="0" y="40"/>
                    <a:pt x="1" y="40"/>
                  </a:cubicBezTo>
                  <a:cubicBezTo>
                    <a:pt x="1" y="40"/>
                    <a:pt x="1" y="40"/>
                    <a:pt x="2" y="40"/>
                  </a:cubicBezTo>
                  <a:cubicBezTo>
                    <a:pt x="2" y="40"/>
                    <a:pt x="3" y="40"/>
                    <a:pt x="4" y="40"/>
                  </a:cubicBezTo>
                  <a:cubicBezTo>
                    <a:pt x="4" y="40"/>
                    <a:pt x="5" y="40"/>
                    <a:pt x="5" y="40"/>
                  </a:cubicBezTo>
                  <a:cubicBezTo>
                    <a:pt x="6" y="40"/>
                    <a:pt x="6" y="40"/>
                    <a:pt x="7" y="40"/>
                  </a:cubicBezTo>
                  <a:cubicBezTo>
                    <a:pt x="7" y="40"/>
                    <a:pt x="7" y="40"/>
                    <a:pt x="7" y="40"/>
                  </a:cubicBezTo>
                  <a:cubicBezTo>
                    <a:pt x="7" y="40"/>
                    <a:pt x="7" y="39"/>
                    <a:pt x="7" y="39"/>
                  </a:cubicBezTo>
                  <a:cubicBezTo>
                    <a:pt x="7" y="18"/>
                    <a:pt x="7" y="18"/>
                    <a:pt x="7" y="18"/>
                  </a:cubicBezTo>
                  <a:cubicBezTo>
                    <a:pt x="7" y="16"/>
                    <a:pt x="7" y="15"/>
                    <a:pt x="7" y="13"/>
                  </a:cubicBezTo>
                  <a:cubicBezTo>
                    <a:pt x="7" y="12"/>
                    <a:pt x="7" y="10"/>
                    <a:pt x="7" y="9"/>
                  </a:cubicBezTo>
                  <a:cubicBezTo>
                    <a:pt x="7" y="9"/>
                    <a:pt x="7" y="9"/>
                    <a:pt x="7" y="9"/>
                  </a:cubicBezTo>
                  <a:cubicBezTo>
                    <a:pt x="8" y="10"/>
                    <a:pt x="8" y="11"/>
                    <a:pt x="9" y="13"/>
                  </a:cubicBezTo>
                  <a:cubicBezTo>
                    <a:pt x="9" y="14"/>
                    <a:pt x="10" y="15"/>
                    <a:pt x="11" y="16"/>
                  </a:cubicBezTo>
                  <a:cubicBezTo>
                    <a:pt x="21" y="35"/>
                    <a:pt x="21" y="35"/>
                    <a:pt x="21" y="35"/>
                  </a:cubicBezTo>
                  <a:cubicBezTo>
                    <a:pt x="21" y="36"/>
                    <a:pt x="22" y="37"/>
                    <a:pt x="22" y="38"/>
                  </a:cubicBezTo>
                  <a:cubicBezTo>
                    <a:pt x="22" y="38"/>
                    <a:pt x="23" y="39"/>
                    <a:pt x="23" y="39"/>
                  </a:cubicBezTo>
                  <a:cubicBezTo>
                    <a:pt x="24" y="40"/>
                    <a:pt x="24" y="40"/>
                    <a:pt x="25" y="40"/>
                  </a:cubicBezTo>
                  <a:cubicBezTo>
                    <a:pt x="25" y="40"/>
                    <a:pt x="26" y="40"/>
                    <a:pt x="27" y="40"/>
                  </a:cubicBezTo>
                  <a:cubicBezTo>
                    <a:pt x="30" y="40"/>
                    <a:pt x="30" y="40"/>
                    <a:pt x="30" y="40"/>
                  </a:cubicBezTo>
                  <a:cubicBezTo>
                    <a:pt x="31" y="40"/>
                    <a:pt x="31" y="40"/>
                    <a:pt x="31" y="40"/>
                  </a:cubicBezTo>
                  <a:cubicBezTo>
                    <a:pt x="32" y="40"/>
                    <a:pt x="32" y="40"/>
                    <a:pt x="32" y="40"/>
                  </a:cubicBezTo>
                  <a:cubicBezTo>
                    <a:pt x="33" y="39"/>
                    <a:pt x="33" y="39"/>
                    <a:pt x="33" y="39"/>
                  </a:cubicBezTo>
                  <a:cubicBezTo>
                    <a:pt x="33" y="38"/>
                    <a:pt x="33" y="38"/>
                    <a:pt x="33" y="37"/>
                  </a:cubicBezTo>
                  <a:cubicBezTo>
                    <a:pt x="33" y="1"/>
                    <a:pt x="33" y="1"/>
                    <a:pt x="33" y="1"/>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185">
              <a:extLst>
                <a:ext uri="{FF2B5EF4-FFF2-40B4-BE49-F238E27FC236}">
                  <a16:creationId xmlns:a16="http://schemas.microsoft.com/office/drawing/2014/main" id="{467916A3-0434-4508-8AA5-CD2A32A7161F}"/>
                </a:ext>
              </a:extLst>
            </p:cNvPr>
            <p:cNvSpPr>
              <a:spLocks noEditPoints="1"/>
            </p:cNvSpPr>
            <p:nvPr/>
          </p:nvSpPr>
          <p:spPr bwMode="auto">
            <a:xfrm>
              <a:off x="4241918" y="5959143"/>
              <a:ext cx="129862" cy="137077"/>
            </a:xfrm>
            <a:custGeom>
              <a:avLst/>
              <a:gdLst>
                <a:gd name="T0" fmla="*/ 25 w 38"/>
                <a:gd name="T1" fmla="*/ 1 h 40"/>
                <a:gd name="T2" fmla="*/ 24 w 38"/>
                <a:gd name="T3" fmla="*/ 0 h 40"/>
                <a:gd name="T4" fmla="*/ 23 w 38"/>
                <a:gd name="T5" fmla="*/ 0 h 40"/>
                <a:gd name="T6" fmla="*/ 22 w 38"/>
                <a:gd name="T7" fmla="*/ 0 h 40"/>
                <a:gd name="T8" fmla="*/ 19 w 38"/>
                <a:gd name="T9" fmla="*/ 0 h 40"/>
                <a:gd name="T10" fmla="*/ 16 w 38"/>
                <a:gd name="T11" fmla="*/ 0 h 40"/>
                <a:gd name="T12" fmla="*/ 15 w 38"/>
                <a:gd name="T13" fmla="*/ 0 h 40"/>
                <a:gd name="T14" fmla="*/ 14 w 38"/>
                <a:gd name="T15" fmla="*/ 0 h 40"/>
                <a:gd name="T16" fmla="*/ 13 w 38"/>
                <a:gd name="T17" fmla="*/ 1 h 40"/>
                <a:gd name="T18" fmla="*/ 1 w 38"/>
                <a:gd name="T19" fmla="*/ 37 h 40"/>
                <a:gd name="T20" fmla="*/ 0 w 38"/>
                <a:gd name="T21" fmla="*/ 39 h 40"/>
                <a:gd name="T22" fmla="*/ 1 w 38"/>
                <a:gd name="T23" fmla="*/ 40 h 40"/>
                <a:gd name="T24" fmla="*/ 2 w 38"/>
                <a:gd name="T25" fmla="*/ 40 h 40"/>
                <a:gd name="T26" fmla="*/ 4 w 38"/>
                <a:gd name="T27" fmla="*/ 40 h 40"/>
                <a:gd name="T28" fmla="*/ 6 w 38"/>
                <a:gd name="T29" fmla="*/ 40 h 40"/>
                <a:gd name="T30" fmla="*/ 8 w 38"/>
                <a:gd name="T31" fmla="*/ 40 h 40"/>
                <a:gd name="T32" fmla="*/ 8 w 38"/>
                <a:gd name="T33" fmla="*/ 40 h 40"/>
                <a:gd name="T34" fmla="*/ 9 w 38"/>
                <a:gd name="T35" fmla="*/ 39 h 40"/>
                <a:gd name="T36" fmla="*/ 11 w 38"/>
                <a:gd name="T37" fmla="*/ 31 h 40"/>
                <a:gd name="T38" fmla="*/ 26 w 38"/>
                <a:gd name="T39" fmla="*/ 31 h 40"/>
                <a:gd name="T40" fmla="*/ 29 w 38"/>
                <a:gd name="T41" fmla="*/ 39 h 40"/>
                <a:gd name="T42" fmla="*/ 29 w 38"/>
                <a:gd name="T43" fmla="*/ 40 h 40"/>
                <a:gd name="T44" fmla="*/ 30 w 38"/>
                <a:gd name="T45" fmla="*/ 40 h 40"/>
                <a:gd name="T46" fmla="*/ 31 w 38"/>
                <a:gd name="T47" fmla="*/ 40 h 40"/>
                <a:gd name="T48" fmla="*/ 34 w 38"/>
                <a:gd name="T49" fmla="*/ 40 h 40"/>
                <a:gd name="T50" fmla="*/ 36 w 38"/>
                <a:gd name="T51" fmla="*/ 40 h 40"/>
                <a:gd name="T52" fmla="*/ 37 w 38"/>
                <a:gd name="T53" fmla="*/ 40 h 40"/>
                <a:gd name="T54" fmla="*/ 38 w 38"/>
                <a:gd name="T55" fmla="*/ 39 h 40"/>
                <a:gd name="T56" fmla="*/ 37 w 38"/>
                <a:gd name="T57" fmla="*/ 37 h 40"/>
                <a:gd name="T58" fmla="*/ 25 w 38"/>
                <a:gd name="T59" fmla="*/ 1 h 40"/>
                <a:gd name="T60" fmla="*/ 24 w 38"/>
                <a:gd name="T61" fmla="*/ 25 h 40"/>
                <a:gd name="T62" fmla="*/ 13 w 38"/>
                <a:gd name="T63" fmla="*/ 25 h 40"/>
                <a:gd name="T64" fmla="*/ 19 w 38"/>
                <a:gd name="T65" fmla="*/ 8 h 40"/>
                <a:gd name="T66" fmla="*/ 19 w 38"/>
                <a:gd name="T67" fmla="*/ 8 h 40"/>
                <a:gd name="T68" fmla="*/ 24 w 38"/>
                <a:gd name="T6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40">
                  <a:moveTo>
                    <a:pt x="25" y="1"/>
                  </a:moveTo>
                  <a:cubicBezTo>
                    <a:pt x="25" y="1"/>
                    <a:pt x="24" y="1"/>
                    <a:pt x="24" y="0"/>
                  </a:cubicBezTo>
                  <a:cubicBezTo>
                    <a:pt x="24" y="0"/>
                    <a:pt x="24" y="0"/>
                    <a:pt x="23" y="0"/>
                  </a:cubicBezTo>
                  <a:cubicBezTo>
                    <a:pt x="23" y="0"/>
                    <a:pt x="22" y="0"/>
                    <a:pt x="22" y="0"/>
                  </a:cubicBezTo>
                  <a:cubicBezTo>
                    <a:pt x="21" y="0"/>
                    <a:pt x="20" y="0"/>
                    <a:pt x="19" y="0"/>
                  </a:cubicBezTo>
                  <a:cubicBezTo>
                    <a:pt x="18" y="0"/>
                    <a:pt x="17" y="0"/>
                    <a:pt x="16" y="0"/>
                  </a:cubicBezTo>
                  <a:cubicBezTo>
                    <a:pt x="16" y="0"/>
                    <a:pt x="15" y="0"/>
                    <a:pt x="15" y="0"/>
                  </a:cubicBezTo>
                  <a:cubicBezTo>
                    <a:pt x="14" y="0"/>
                    <a:pt x="14" y="0"/>
                    <a:pt x="14" y="0"/>
                  </a:cubicBezTo>
                  <a:cubicBezTo>
                    <a:pt x="14" y="1"/>
                    <a:pt x="14" y="1"/>
                    <a:pt x="13" y="1"/>
                  </a:cubicBezTo>
                  <a:cubicBezTo>
                    <a:pt x="1" y="37"/>
                    <a:pt x="1" y="37"/>
                    <a:pt x="1" y="37"/>
                  </a:cubicBezTo>
                  <a:cubicBezTo>
                    <a:pt x="1" y="38"/>
                    <a:pt x="1" y="38"/>
                    <a:pt x="0" y="39"/>
                  </a:cubicBezTo>
                  <a:cubicBezTo>
                    <a:pt x="0" y="39"/>
                    <a:pt x="0" y="40"/>
                    <a:pt x="1" y="40"/>
                  </a:cubicBezTo>
                  <a:cubicBezTo>
                    <a:pt x="1" y="40"/>
                    <a:pt x="1" y="40"/>
                    <a:pt x="2" y="40"/>
                  </a:cubicBezTo>
                  <a:cubicBezTo>
                    <a:pt x="2" y="40"/>
                    <a:pt x="3" y="40"/>
                    <a:pt x="4" y="40"/>
                  </a:cubicBezTo>
                  <a:cubicBezTo>
                    <a:pt x="5" y="40"/>
                    <a:pt x="6" y="40"/>
                    <a:pt x="6" y="40"/>
                  </a:cubicBezTo>
                  <a:cubicBezTo>
                    <a:pt x="7" y="40"/>
                    <a:pt x="7" y="40"/>
                    <a:pt x="8" y="40"/>
                  </a:cubicBezTo>
                  <a:cubicBezTo>
                    <a:pt x="8" y="40"/>
                    <a:pt x="8" y="40"/>
                    <a:pt x="8" y="40"/>
                  </a:cubicBezTo>
                  <a:cubicBezTo>
                    <a:pt x="8" y="40"/>
                    <a:pt x="8" y="39"/>
                    <a:pt x="9" y="39"/>
                  </a:cubicBezTo>
                  <a:cubicBezTo>
                    <a:pt x="11" y="31"/>
                    <a:pt x="11" y="31"/>
                    <a:pt x="11" y="31"/>
                  </a:cubicBezTo>
                  <a:cubicBezTo>
                    <a:pt x="26" y="31"/>
                    <a:pt x="26" y="31"/>
                    <a:pt x="26" y="31"/>
                  </a:cubicBezTo>
                  <a:cubicBezTo>
                    <a:pt x="29" y="39"/>
                    <a:pt x="29" y="39"/>
                    <a:pt x="29" y="39"/>
                  </a:cubicBezTo>
                  <a:cubicBezTo>
                    <a:pt x="29" y="39"/>
                    <a:pt x="29" y="40"/>
                    <a:pt x="29" y="40"/>
                  </a:cubicBezTo>
                  <a:cubicBezTo>
                    <a:pt x="29" y="40"/>
                    <a:pt x="30" y="40"/>
                    <a:pt x="30" y="40"/>
                  </a:cubicBezTo>
                  <a:cubicBezTo>
                    <a:pt x="30" y="40"/>
                    <a:pt x="31" y="40"/>
                    <a:pt x="31" y="40"/>
                  </a:cubicBezTo>
                  <a:cubicBezTo>
                    <a:pt x="32" y="40"/>
                    <a:pt x="33" y="40"/>
                    <a:pt x="34" y="40"/>
                  </a:cubicBezTo>
                  <a:cubicBezTo>
                    <a:pt x="35" y="40"/>
                    <a:pt x="36" y="40"/>
                    <a:pt x="36" y="40"/>
                  </a:cubicBezTo>
                  <a:cubicBezTo>
                    <a:pt x="37" y="40"/>
                    <a:pt x="37" y="40"/>
                    <a:pt x="37" y="40"/>
                  </a:cubicBezTo>
                  <a:cubicBezTo>
                    <a:pt x="38" y="40"/>
                    <a:pt x="38" y="39"/>
                    <a:pt x="38" y="39"/>
                  </a:cubicBezTo>
                  <a:cubicBezTo>
                    <a:pt x="38" y="39"/>
                    <a:pt x="37" y="38"/>
                    <a:pt x="37" y="37"/>
                  </a:cubicBezTo>
                  <a:cubicBezTo>
                    <a:pt x="25" y="1"/>
                    <a:pt x="25" y="1"/>
                    <a:pt x="25" y="1"/>
                  </a:cubicBezTo>
                  <a:close/>
                  <a:moveTo>
                    <a:pt x="24" y="25"/>
                  </a:moveTo>
                  <a:cubicBezTo>
                    <a:pt x="13" y="25"/>
                    <a:pt x="13" y="25"/>
                    <a:pt x="13" y="25"/>
                  </a:cubicBezTo>
                  <a:cubicBezTo>
                    <a:pt x="19" y="8"/>
                    <a:pt x="19" y="8"/>
                    <a:pt x="19" y="8"/>
                  </a:cubicBezTo>
                  <a:cubicBezTo>
                    <a:pt x="19" y="8"/>
                    <a:pt x="19" y="8"/>
                    <a:pt x="19" y="8"/>
                  </a:cubicBezTo>
                  <a:cubicBezTo>
                    <a:pt x="24" y="25"/>
                    <a:pt x="24" y="25"/>
                    <a:pt x="24" y="25"/>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186">
              <a:extLst>
                <a:ext uri="{FF2B5EF4-FFF2-40B4-BE49-F238E27FC236}">
                  <a16:creationId xmlns:a16="http://schemas.microsoft.com/office/drawing/2014/main" id="{658DB3AD-E9B5-4C44-B136-CF932FAC65A6}"/>
                </a:ext>
              </a:extLst>
            </p:cNvPr>
            <p:cNvSpPr>
              <a:spLocks/>
            </p:cNvSpPr>
            <p:nvPr/>
          </p:nvSpPr>
          <p:spPr bwMode="auto">
            <a:xfrm>
              <a:off x="4389095" y="5959143"/>
              <a:ext cx="75032" cy="137077"/>
            </a:xfrm>
            <a:custGeom>
              <a:avLst/>
              <a:gdLst>
                <a:gd name="T0" fmla="*/ 22 w 22"/>
                <a:gd name="T1" fmla="*/ 35 h 40"/>
                <a:gd name="T2" fmla="*/ 22 w 22"/>
                <a:gd name="T3" fmla="*/ 34 h 40"/>
                <a:gd name="T4" fmla="*/ 21 w 22"/>
                <a:gd name="T5" fmla="*/ 34 h 40"/>
                <a:gd name="T6" fmla="*/ 21 w 22"/>
                <a:gd name="T7" fmla="*/ 34 h 40"/>
                <a:gd name="T8" fmla="*/ 8 w 22"/>
                <a:gd name="T9" fmla="*/ 34 h 40"/>
                <a:gd name="T10" fmla="*/ 8 w 22"/>
                <a:gd name="T11" fmla="*/ 1 h 40"/>
                <a:gd name="T12" fmla="*/ 8 w 22"/>
                <a:gd name="T13" fmla="*/ 0 h 40"/>
                <a:gd name="T14" fmla="*/ 7 w 22"/>
                <a:gd name="T15" fmla="*/ 0 h 40"/>
                <a:gd name="T16" fmla="*/ 6 w 22"/>
                <a:gd name="T17" fmla="*/ 0 h 40"/>
                <a:gd name="T18" fmla="*/ 4 w 22"/>
                <a:gd name="T19" fmla="*/ 0 h 40"/>
                <a:gd name="T20" fmla="*/ 2 w 22"/>
                <a:gd name="T21" fmla="*/ 0 h 40"/>
                <a:gd name="T22" fmla="*/ 1 w 22"/>
                <a:gd name="T23" fmla="*/ 0 h 40"/>
                <a:gd name="T24" fmla="*/ 0 w 22"/>
                <a:gd name="T25" fmla="*/ 0 h 40"/>
                <a:gd name="T26" fmla="*/ 0 w 22"/>
                <a:gd name="T27" fmla="*/ 1 h 40"/>
                <a:gd name="T28" fmla="*/ 0 w 22"/>
                <a:gd name="T29" fmla="*/ 38 h 40"/>
                <a:gd name="T30" fmla="*/ 1 w 22"/>
                <a:gd name="T31" fmla="*/ 40 h 40"/>
                <a:gd name="T32" fmla="*/ 2 w 22"/>
                <a:gd name="T33" fmla="*/ 40 h 40"/>
                <a:gd name="T34" fmla="*/ 21 w 22"/>
                <a:gd name="T35" fmla="*/ 40 h 40"/>
                <a:gd name="T36" fmla="*/ 21 w 22"/>
                <a:gd name="T37" fmla="*/ 40 h 40"/>
                <a:gd name="T38" fmla="*/ 22 w 22"/>
                <a:gd name="T39" fmla="*/ 40 h 40"/>
                <a:gd name="T40" fmla="*/ 22 w 22"/>
                <a:gd name="T41" fmla="*/ 38 h 40"/>
                <a:gd name="T42" fmla="*/ 22 w 22"/>
                <a:gd name="T43" fmla="*/ 37 h 40"/>
                <a:gd name="T44" fmla="*/ 22 w 22"/>
                <a:gd name="T45"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0">
                  <a:moveTo>
                    <a:pt x="22" y="35"/>
                  </a:moveTo>
                  <a:cubicBezTo>
                    <a:pt x="22" y="35"/>
                    <a:pt x="22" y="35"/>
                    <a:pt x="22" y="34"/>
                  </a:cubicBezTo>
                  <a:cubicBezTo>
                    <a:pt x="22" y="34"/>
                    <a:pt x="22" y="34"/>
                    <a:pt x="21" y="34"/>
                  </a:cubicBezTo>
                  <a:cubicBezTo>
                    <a:pt x="21" y="34"/>
                    <a:pt x="21" y="34"/>
                    <a:pt x="21" y="34"/>
                  </a:cubicBezTo>
                  <a:cubicBezTo>
                    <a:pt x="8" y="34"/>
                    <a:pt x="8" y="34"/>
                    <a:pt x="8" y="34"/>
                  </a:cubicBezTo>
                  <a:cubicBezTo>
                    <a:pt x="8" y="1"/>
                    <a:pt x="8" y="1"/>
                    <a:pt x="8" y="1"/>
                  </a:cubicBezTo>
                  <a:cubicBezTo>
                    <a:pt x="8" y="1"/>
                    <a:pt x="8" y="1"/>
                    <a:pt x="8" y="0"/>
                  </a:cubicBezTo>
                  <a:cubicBezTo>
                    <a:pt x="8" y="0"/>
                    <a:pt x="8" y="0"/>
                    <a:pt x="7" y="0"/>
                  </a:cubicBezTo>
                  <a:cubicBezTo>
                    <a:pt x="7" y="0"/>
                    <a:pt x="7" y="0"/>
                    <a:pt x="6" y="0"/>
                  </a:cubicBezTo>
                  <a:cubicBezTo>
                    <a:pt x="5" y="0"/>
                    <a:pt x="5" y="0"/>
                    <a:pt x="4" y="0"/>
                  </a:cubicBezTo>
                  <a:cubicBezTo>
                    <a:pt x="3" y="0"/>
                    <a:pt x="3" y="0"/>
                    <a:pt x="2" y="0"/>
                  </a:cubicBezTo>
                  <a:cubicBezTo>
                    <a:pt x="1" y="0"/>
                    <a:pt x="1" y="0"/>
                    <a:pt x="1" y="0"/>
                  </a:cubicBezTo>
                  <a:cubicBezTo>
                    <a:pt x="0" y="0"/>
                    <a:pt x="0" y="0"/>
                    <a:pt x="0" y="0"/>
                  </a:cubicBezTo>
                  <a:cubicBezTo>
                    <a:pt x="0" y="1"/>
                    <a:pt x="0" y="1"/>
                    <a:pt x="0" y="1"/>
                  </a:cubicBezTo>
                  <a:cubicBezTo>
                    <a:pt x="0" y="38"/>
                    <a:pt x="0" y="38"/>
                    <a:pt x="0" y="38"/>
                  </a:cubicBezTo>
                  <a:cubicBezTo>
                    <a:pt x="0" y="39"/>
                    <a:pt x="0" y="39"/>
                    <a:pt x="1" y="40"/>
                  </a:cubicBezTo>
                  <a:cubicBezTo>
                    <a:pt x="1" y="40"/>
                    <a:pt x="2" y="40"/>
                    <a:pt x="2" y="40"/>
                  </a:cubicBezTo>
                  <a:cubicBezTo>
                    <a:pt x="21" y="40"/>
                    <a:pt x="21" y="40"/>
                    <a:pt x="21" y="40"/>
                  </a:cubicBezTo>
                  <a:cubicBezTo>
                    <a:pt x="21" y="40"/>
                    <a:pt x="21" y="40"/>
                    <a:pt x="21" y="40"/>
                  </a:cubicBezTo>
                  <a:cubicBezTo>
                    <a:pt x="22" y="40"/>
                    <a:pt x="22" y="40"/>
                    <a:pt x="22" y="40"/>
                  </a:cubicBezTo>
                  <a:cubicBezTo>
                    <a:pt x="22" y="39"/>
                    <a:pt x="22" y="39"/>
                    <a:pt x="22" y="38"/>
                  </a:cubicBezTo>
                  <a:cubicBezTo>
                    <a:pt x="22" y="38"/>
                    <a:pt x="22" y="37"/>
                    <a:pt x="22" y="37"/>
                  </a:cubicBezTo>
                  <a:cubicBezTo>
                    <a:pt x="22" y="36"/>
                    <a:pt x="22" y="36"/>
                    <a:pt x="22" y="35"/>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187">
              <a:extLst>
                <a:ext uri="{FF2B5EF4-FFF2-40B4-BE49-F238E27FC236}">
                  <a16:creationId xmlns:a16="http://schemas.microsoft.com/office/drawing/2014/main" id="{C7FD1544-546C-40F3-9DDD-011B4FE5E9DB}"/>
                </a:ext>
              </a:extLst>
            </p:cNvPr>
            <p:cNvSpPr>
              <a:spLocks/>
            </p:cNvSpPr>
            <p:nvPr/>
          </p:nvSpPr>
          <p:spPr bwMode="auto">
            <a:xfrm>
              <a:off x="3317011" y="6151051"/>
              <a:ext cx="89461" cy="144291"/>
            </a:xfrm>
            <a:custGeom>
              <a:avLst/>
              <a:gdLst>
                <a:gd name="T0" fmla="*/ 26 w 26"/>
                <a:gd name="T1" fmla="*/ 25 h 42"/>
                <a:gd name="T2" fmla="*/ 24 w 26"/>
                <a:gd name="T3" fmla="*/ 22 h 42"/>
                <a:gd name="T4" fmla="*/ 21 w 26"/>
                <a:gd name="T5" fmla="*/ 20 h 42"/>
                <a:gd name="T6" fmla="*/ 18 w 26"/>
                <a:gd name="T7" fmla="*/ 18 h 42"/>
                <a:gd name="T8" fmla="*/ 14 w 26"/>
                <a:gd name="T9" fmla="*/ 17 h 42"/>
                <a:gd name="T10" fmla="*/ 12 w 26"/>
                <a:gd name="T11" fmla="*/ 15 h 42"/>
                <a:gd name="T12" fmla="*/ 10 w 26"/>
                <a:gd name="T13" fmla="*/ 14 h 42"/>
                <a:gd name="T14" fmla="*/ 9 w 26"/>
                <a:gd name="T15" fmla="*/ 11 h 42"/>
                <a:gd name="T16" fmla="*/ 9 w 26"/>
                <a:gd name="T17" fmla="*/ 10 h 42"/>
                <a:gd name="T18" fmla="*/ 10 w 26"/>
                <a:gd name="T19" fmla="*/ 8 h 42"/>
                <a:gd name="T20" fmla="*/ 12 w 26"/>
                <a:gd name="T21" fmla="*/ 7 h 42"/>
                <a:gd name="T22" fmla="*/ 14 w 26"/>
                <a:gd name="T23" fmla="*/ 7 h 42"/>
                <a:gd name="T24" fmla="*/ 17 w 26"/>
                <a:gd name="T25" fmla="*/ 7 h 42"/>
                <a:gd name="T26" fmla="*/ 20 w 26"/>
                <a:gd name="T27" fmla="*/ 8 h 42"/>
                <a:gd name="T28" fmla="*/ 22 w 26"/>
                <a:gd name="T29" fmla="*/ 9 h 42"/>
                <a:gd name="T30" fmla="*/ 23 w 26"/>
                <a:gd name="T31" fmla="*/ 10 h 42"/>
                <a:gd name="T32" fmla="*/ 23 w 26"/>
                <a:gd name="T33" fmla="*/ 9 h 42"/>
                <a:gd name="T34" fmla="*/ 24 w 26"/>
                <a:gd name="T35" fmla="*/ 9 h 42"/>
                <a:gd name="T36" fmla="*/ 24 w 26"/>
                <a:gd name="T37" fmla="*/ 8 h 42"/>
                <a:gd name="T38" fmla="*/ 24 w 26"/>
                <a:gd name="T39" fmla="*/ 6 h 42"/>
                <a:gd name="T40" fmla="*/ 24 w 26"/>
                <a:gd name="T41" fmla="*/ 5 h 42"/>
                <a:gd name="T42" fmla="*/ 24 w 26"/>
                <a:gd name="T43" fmla="*/ 4 h 42"/>
                <a:gd name="T44" fmla="*/ 24 w 26"/>
                <a:gd name="T45" fmla="*/ 3 h 42"/>
                <a:gd name="T46" fmla="*/ 23 w 26"/>
                <a:gd name="T47" fmla="*/ 3 h 42"/>
                <a:gd name="T48" fmla="*/ 22 w 26"/>
                <a:gd name="T49" fmla="*/ 2 h 42"/>
                <a:gd name="T50" fmla="*/ 20 w 26"/>
                <a:gd name="T51" fmla="*/ 1 h 42"/>
                <a:gd name="T52" fmla="*/ 17 w 26"/>
                <a:gd name="T53" fmla="*/ 1 h 42"/>
                <a:gd name="T54" fmla="*/ 14 w 26"/>
                <a:gd name="T55" fmla="*/ 0 h 42"/>
                <a:gd name="T56" fmla="*/ 9 w 26"/>
                <a:gd name="T57" fmla="*/ 1 h 42"/>
                <a:gd name="T58" fmla="*/ 5 w 26"/>
                <a:gd name="T59" fmla="*/ 3 h 42"/>
                <a:gd name="T60" fmla="*/ 2 w 26"/>
                <a:gd name="T61" fmla="*/ 7 h 42"/>
                <a:gd name="T62" fmla="*/ 1 w 26"/>
                <a:gd name="T63" fmla="*/ 12 h 42"/>
                <a:gd name="T64" fmla="*/ 1 w 26"/>
                <a:gd name="T65" fmla="*/ 16 h 42"/>
                <a:gd name="T66" fmla="*/ 3 w 26"/>
                <a:gd name="T67" fmla="*/ 20 h 42"/>
                <a:gd name="T68" fmla="*/ 6 w 26"/>
                <a:gd name="T69" fmla="*/ 22 h 42"/>
                <a:gd name="T70" fmla="*/ 9 w 26"/>
                <a:gd name="T71" fmla="*/ 24 h 42"/>
                <a:gd name="T72" fmla="*/ 12 w 26"/>
                <a:gd name="T73" fmla="*/ 25 h 42"/>
                <a:gd name="T74" fmla="*/ 15 w 26"/>
                <a:gd name="T75" fmla="*/ 26 h 42"/>
                <a:gd name="T76" fmla="*/ 17 w 26"/>
                <a:gd name="T77" fmla="*/ 28 h 42"/>
                <a:gd name="T78" fmla="*/ 18 w 26"/>
                <a:gd name="T79" fmla="*/ 31 h 42"/>
                <a:gd name="T80" fmla="*/ 17 w 26"/>
                <a:gd name="T81" fmla="*/ 33 h 42"/>
                <a:gd name="T82" fmla="*/ 16 w 26"/>
                <a:gd name="T83" fmla="*/ 34 h 42"/>
                <a:gd name="T84" fmla="*/ 14 w 26"/>
                <a:gd name="T85" fmla="*/ 35 h 42"/>
                <a:gd name="T86" fmla="*/ 11 w 26"/>
                <a:gd name="T87" fmla="*/ 36 h 42"/>
                <a:gd name="T88" fmla="*/ 7 w 26"/>
                <a:gd name="T89" fmla="*/ 35 h 42"/>
                <a:gd name="T90" fmla="*/ 4 w 26"/>
                <a:gd name="T91" fmla="*/ 34 h 42"/>
                <a:gd name="T92" fmla="*/ 2 w 26"/>
                <a:gd name="T93" fmla="*/ 33 h 42"/>
                <a:gd name="T94" fmla="*/ 1 w 26"/>
                <a:gd name="T95" fmla="*/ 32 h 42"/>
                <a:gd name="T96" fmla="*/ 1 w 26"/>
                <a:gd name="T97" fmla="*/ 33 h 42"/>
                <a:gd name="T98" fmla="*/ 0 w 26"/>
                <a:gd name="T99" fmla="*/ 33 h 42"/>
                <a:gd name="T100" fmla="*/ 0 w 26"/>
                <a:gd name="T101" fmla="*/ 34 h 42"/>
                <a:gd name="T102" fmla="*/ 0 w 26"/>
                <a:gd name="T103" fmla="*/ 36 h 42"/>
                <a:gd name="T104" fmla="*/ 0 w 26"/>
                <a:gd name="T105" fmla="*/ 38 h 42"/>
                <a:gd name="T106" fmla="*/ 1 w 26"/>
                <a:gd name="T107" fmla="*/ 39 h 42"/>
                <a:gd name="T108" fmla="*/ 2 w 26"/>
                <a:gd name="T109" fmla="*/ 40 h 42"/>
                <a:gd name="T110" fmla="*/ 4 w 26"/>
                <a:gd name="T111" fmla="*/ 41 h 42"/>
                <a:gd name="T112" fmla="*/ 7 w 26"/>
                <a:gd name="T113" fmla="*/ 42 h 42"/>
                <a:gd name="T114" fmla="*/ 11 w 26"/>
                <a:gd name="T115" fmla="*/ 42 h 42"/>
                <a:gd name="T116" fmla="*/ 17 w 26"/>
                <a:gd name="T117" fmla="*/ 42 h 42"/>
                <a:gd name="T118" fmla="*/ 22 w 26"/>
                <a:gd name="T119" fmla="*/ 39 h 42"/>
                <a:gd name="T120" fmla="*/ 25 w 26"/>
                <a:gd name="T121" fmla="*/ 35 h 42"/>
                <a:gd name="T122" fmla="*/ 26 w 26"/>
                <a:gd name="T123" fmla="*/ 30 h 42"/>
                <a:gd name="T124" fmla="*/ 26 w 26"/>
                <a:gd name="T125"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 h="42">
                  <a:moveTo>
                    <a:pt x="26" y="25"/>
                  </a:moveTo>
                  <a:cubicBezTo>
                    <a:pt x="25" y="24"/>
                    <a:pt x="24" y="23"/>
                    <a:pt x="24" y="22"/>
                  </a:cubicBezTo>
                  <a:cubicBezTo>
                    <a:pt x="23" y="21"/>
                    <a:pt x="22" y="21"/>
                    <a:pt x="21" y="20"/>
                  </a:cubicBezTo>
                  <a:cubicBezTo>
                    <a:pt x="20" y="19"/>
                    <a:pt x="19" y="19"/>
                    <a:pt x="18" y="18"/>
                  </a:cubicBezTo>
                  <a:cubicBezTo>
                    <a:pt x="17" y="18"/>
                    <a:pt x="15" y="17"/>
                    <a:pt x="14" y="17"/>
                  </a:cubicBezTo>
                  <a:cubicBezTo>
                    <a:pt x="13" y="16"/>
                    <a:pt x="12" y="16"/>
                    <a:pt x="12" y="15"/>
                  </a:cubicBezTo>
                  <a:cubicBezTo>
                    <a:pt x="11" y="15"/>
                    <a:pt x="10" y="14"/>
                    <a:pt x="10" y="14"/>
                  </a:cubicBezTo>
                  <a:cubicBezTo>
                    <a:pt x="9" y="13"/>
                    <a:pt x="9" y="12"/>
                    <a:pt x="9" y="11"/>
                  </a:cubicBezTo>
                  <a:cubicBezTo>
                    <a:pt x="9" y="11"/>
                    <a:pt x="9" y="10"/>
                    <a:pt x="9" y="10"/>
                  </a:cubicBezTo>
                  <a:cubicBezTo>
                    <a:pt x="9" y="9"/>
                    <a:pt x="10" y="9"/>
                    <a:pt x="10" y="8"/>
                  </a:cubicBezTo>
                  <a:cubicBezTo>
                    <a:pt x="11" y="8"/>
                    <a:pt x="11" y="7"/>
                    <a:pt x="12" y="7"/>
                  </a:cubicBezTo>
                  <a:cubicBezTo>
                    <a:pt x="13" y="7"/>
                    <a:pt x="13" y="7"/>
                    <a:pt x="14" y="7"/>
                  </a:cubicBezTo>
                  <a:cubicBezTo>
                    <a:pt x="15" y="7"/>
                    <a:pt x="16" y="7"/>
                    <a:pt x="17" y="7"/>
                  </a:cubicBezTo>
                  <a:cubicBezTo>
                    <a:pt x="18" y="8"/>
                    <a:pt x="19" y="8"/>
                    <a:pt x="20" y="8"/>
                  </a:cubicBezTo>
                  <a:cubicBezTo>
                    <a:pt x="21" y="9"/>
                    <a:pt x="21" y="9"/>
                    <a:pt x="22" y="9"/>
                  </a:cubicBezTo>
                  <a:cubicBezTo>
                    <a:pt x="22" y="9"/>
                    <a:pt x="23" y="10"/>
                    <a:pt x="23" y="10"/>
                  </a:cubicBezTo>
                  <a:cubicBezTo>
                    <a:pt x="23" y="10"/>
                    <a:pt x="23" y="10"/>
                    <a:pt x="23" y="9"/>
                  </a:cubicBezTo>
                  <a:cubicBezTo>
                    <a:pt x="24" y="9"/>
                    <a:pt x="24" y="9"/>
                    <a:pt x="24" y="9"/>
                  </a:cubicBezTo>
                  <a:cubicBezTo>
                    <a:pt x="24" y="9"/>
                    <a:pt x="24" y="8"/>
                    <a:pt x="24" y="8"/>
                  </a:cubicBezTo>
                  <a:cubicBezTo>
                    <a:pt x="24" y="7"/>
                    <a:pt x="24" y="7"/>
                    <a:pt x="24" y="6"/>
                  </a:cubicBezTo>
                  <a:cubicBezTo>
                    <a:pt x="24" y="6"/>
                    <a:pt x="24" y="5"/>
                    <a:pt x="24" y="5"/>
                  </a:cubicBezTo>
                  <a:cubicBezTo>
                    <a:pt x="24" y="5"/>
                    <a:pt x="24" y="4"/>
                    <a:pt x="24" y="4"/>
                  </a:cubicBezTo>
                  <a:cubicBezTo>
                    <a:pt x="24" y="4"/>
                    <a:pt x="24" y="4"/>
                    <a:pt x="24" y="3"/>
                  </a:cubicBezTo>
                  <a:cubicBezTo>
                    <a:pt x="24" y="3"/>
                    <a:pt x="23" y="3"/>
                    <a:pt x="23" y="3"/>
                  </a:cubicBezTo>
                  <a:cubicBezTo>
                    <a:pt x="23" y="3"/>
                    <a:pt x="23" y="2"/>
                    <a:pt x="22" y="2"/>
                  </a:cubicBezTo>
                  <a:cubicBezTo>
                    <a:pt x="21" y="2"/>
                    <a:pt x="21" y="2"/>
                    <a:pt x="20" y="1"/>
                  </a:cubicBezTo>
                  <a:cubicBezTo>
                    <a:pt x="19" y="1"/>
                    <a:pt x="18" y="1"/>
                    <a:pt x="17" y="1"/>
                  </a:cubicBezTo>
                  <a:cubicBezTo>
                    <a:pt x="16" y="1"/>
                    <a:pt x="15" y="0"/>
                    <a:pt x="14" y="0"/>
                  </a:cubicBezTo>
                  <a:cubicBezTo>
                    <a:pt x="12" y="0"/>
                    <a:pt x="11" y="1"/>
                    <a:pt x="9" y="1"/>
                  </a:cubicBezTo>
                  <a:cubicBezTo>
                    <a:pt x="7" y="2"/>
                    <a:pt x="6" y="2"/>
                    <a:pt x="5" y="3"/>
                  </a:cubicBezTo>
                  <a:cubicBezTo>
                    <a:pt x="3" y="4"/>
                    <a:pt x="2" y="6"/>
                    <a:pt x="2" y="7"/>
                  </a:cubicBezTo>
                  <a:cubicBezTo>
                    <a:pt x="1" y="8"/>
                    <a:pt x="1" y="10"/>
                    <a:pt x="1" y="12"/>
                  </a:cubicBezTo>
                  <a:cubicBezTo>
                    <a:pt x="1" y="14"/>
                    <a:pt x="1" y="15"/>
                    <a:pt x="1" y="16"/>
                  </a:cubicBezTo>
                  <a:cubicBezTo>
                    <a:pt x="2" y="18"/>
                    <a:pt x="2" y="19"/>
                    <a:pt x="3" y="20"/>
                  </a:cubicBezTo>
                  <a:cubicBezTo>
                    <a:pt x="4" y="21"/>
                    <a:pt x="5" y="21"/>
                    <a:pt x="6" y="22"/>
                  </a:cubicBezTo>
                  <a:cubicBezTo>
                    <a:pt x="7" y="23"/>
                    <a:pt x="8" y="23"/>
                    <a:pt x="9" y="24"/>
                  </a:cubicBezTo>
                  <a:cubicBezTo>
                    <a:pt x="10" y="24"/>
                    <a:pt x="11" y="25"/>
                    <a:pt x="12" y="25"/>
                  </a:cubicBezTo>
                  <a:cubicBezTo>
                    <a:pt x="13" y="25"/>
                    <a:pt x="14" y="26"/>
                    <a:pt x="15" y="26"/>
                  </a:cubicBezTo>
                  <a:cubicBezTo>
                    <a:pt x="16" y="27"/>
                    <a:pt x="17" y="28"/>
                    <a:pt x="17" y="28"/>
                  </a:cubicBezTo>
                  <a:cubicBezTo>
                    <a:pt x="18" y="29"/>
                    <a:pt x="18" y="30"/>
                    <a:pt x="18" y="31"/>
                  </a:cubicBezTo>
                  <a:cubicBezTo>
                    <a:pt x="18" y="31"/>
                    <a:pt x="18" y="32"/>
                    <a:pt x="17" y="33"/>
                  </a:cubicBezTo>
                  <a:cubicBezTo>
                    <a:pt x="17" y="33"/>
                    <a:pt x="17" y="34"/>
                    <a:pt x="16" y="34"/>
                  </a:cubicBezTo>
                  <a:cubicBezTo>
                    <a:pt x="16" y="35"/>
                    <a:pt x="15" y="35"/>
                    <a:pt x="14" y="35"/>
                  </a:cubicBezTo>
                  <a:cubicBezTo>
                    <a:pt x="13" y="36"/>
                    <a:pt x="12" y="36"/>
                    <a:pt x="11" y="36"/>
                  </a:cubicBezTo>
                  <a:cubicBezTo>
                    <a:pt x="10" y="36"/>
                    <a:pt x="9" y="36"/>
                    <a:pt x="7" y="35"/>
                  </a:cubicBezTo>
                  <a:cubicBezTo>
                    <a:pt x="6" y="35"/>
                    <a:pt x="5" y="34"/>
                    <a:pt x="4" y="34"/>
                  </a:cubicBezTo>
                  <a:cubicBezTo>
                    <a:pt x="4" y="34"/>
                    <a:pt x="3" y="33"/>
                    <a:pt x="2" y="33"/>
                  </a:cubicBezTo>
                  <a:cubicBezTo>
                    <a:pt x="2" y="33"/>
                    <a:pt x="1" y="32"/>
                    <a:pt x="1" y="32"/>
                  </a:cubicBezTo>
                  <a:cubicBezTo>
                    <a:pt x="1" y="32"/>
                    <a:pt x="1" y="32"/>
                    <a:pt x="1" y="33"/>
                  </a:cubicBezTo>
                  <a:cubicBezTo>
                    <a:pt x="0" y="33"/>
                    <a:pt x="0" y="33"/>
                    <a:pt x="0" y="33"/>
                  </a:cubicBezTo>
                  <a:cubicBezTo>
                    <a:pt x="0" y="33"/>
                    <a:pt x="0" y="34"/>
                    <a:pt x="0" y="34"/>
                  </a:cubicBezTo>
                  <a:cubicBezTo>
                    <a:pt x="0" y="35"/>
                    <a:pt x="0" y="35"/>
                    <a:pt x="0" y="36"/>
                  </a:cubicBezTo>
                  <a:cubicBezTo>
                    <a:pt x="0" y="37"/>
                    <a:pt x="0" y="38"/>
                    <a:pt x="0" y="38"/>
                  </a:cubicBezTo>
                  <a:cubicBezTo>
                    <a:pt x="0" y="39"/>
                    <a:pt x="0" y="39"/>
                    <a:pt x="1" y="39"/>
                  </a:cubicBezTo>
                  <a:cubicBezTo>
                    <a:pt x="1" y="39"/>
                    <a:pt x="1" y="40"/>
                    <a:pt x="2" y="40"/>
                  </a:cubicBezTo>
                  <a:cubicBezTo>
                    <a:pt x="3" y="41"/>
                    <a:pt x="3" y="41"/>
                    <a:pt x="4" y="41"/>
                  </a:cubicBezTo>
                  <a:cubicBezTo>
                    <a:pt x="5" y="42"/>
                    <a:pt x="6" y="42"/>
                    <a:pt x="7" y="42"/>
                  </a:cubicBezTo>
                  <a:cubicBezTo>
                    <a:pt x="9" y="42"/>
                    <a:pt x="10" y="42"/>
                    <a:pt x="11" y="42"/>
                  </a:cubicBezTo>
                  <a:cubicBezTo>
                    <a:pt x="13" y="42"/>
                    <a:pt x="15" y="42"/>
                    <a:pt x="17" y="42"/>
                  </a:cubicBezTo>
                  <a:cubicBezTo>
                    <a:pt x="19" y="41"/>
                    <a:pt x="21" y="40"/>
                    <a:pt x="22" y="39"/>
                  </a:cubicBezTo>
                  <a:cubicBezTo>
                    <a:pt x="23" y="38"/>
                    <a:pt x="24" y="37"/>
                    <a:pt x="25" y="35"/>
                  </a:cubicBezTo>
                  <a:cubicBezTo>
                    <a:pt x="26" y="33"/>
                    <a:pt x="26" y="32"/>
                    <a:pt x="26" y="30"/>
                  </a:cubicBezTo>
                  <a:cubicBezTo>
                    <a:pt x="26" y="28"/>
                    <a:pt x="26" y="26"/>
                    <a:pt x="26" y="25"/>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188">
              <a:extLst>
                <a:ext uri="{FF2B5EF4-FFF2-40B4-BE49-F238E27FC236}">
                  <a16:creationId xmlns:a16="http://schemas.microsoft.com/office/drawing/2014/main" id="{8E683B8A-D648-432C-9528-5AA21A4B0A70}"/>
                </a:ext>
              </a:extLst>
            </p:cNvPr>
            <p:cNvSpPr>
              <a:spLocks/>
            </p:cNvSpPr>
            <p:nvPr/>
          </p:nvSpPr>
          <p:spPr bwMode="auto">
            <a:xfrm>
              <a:off x="3426672" y="6155379"/>
              <a:ext cx="82247" cy="139963"/>
            </a:xfrm>
            <a:custGeom>
              <a:avLst/>
              <a:gdLst>
                <a:gd name="T0" fmla="*/ 24 w 24"/>
                <a:gd name="T1" fmla="*/ 36 h 41"/>
                <a:gd name="T2" fmla="*/ 24 w 24"/>
                <a:gd name="T3" fmla="*/ 35 h 41"/>
                <a:gd name="T4" fmla="*/ 24 w 24"/>
                <a:gd name="T5" fmla="*/ 34 h 41"/>
                <a:gd name="T6" fmla="*/ 23 w 24"/>
                <a:gd name="T7" fmla="*/ 34 h 41"/>
                <a:gd name="T8" fmla="*/ 9 w 24"/>
                <a:gd name="T9" fmla="*/ 34 h 41"/>
                <a:gd name="T10" fmla="*/ 9 w 24"/>
                <a:gd name="T11" fmla="*/ 23 h 41"/>
                <a:gd name="T12" fmla="*/ 21 w 24"/>
                <a:gd name="T13" fmla="*/ 23 h 41"/>
                <a:gd name="T14" fmla="*/ 21 w 24"/>
                <a:gd name="T15" fmla="*/ 23 h 41"/>
                <a:gd name="T16" fmla="*/ 22 w 24"/>
                <a:gd name="T17" fmla="*/ 22 h 41"/>
                <a:gd name="T18" fmla="*/ 22 w 24"/>
                <a:gd name="T19" fmla="*/ 21 h 41"/>
                <a:gd name="T20" fmla="*/ 22 w 24"/>
                <a:gd name="T21" fmla="*/ 20 h 41"/>
                <a:gd name="T22" fmla="*/ 22 w 24"/>
                <a:gd name="T23" fmla="*/ 18 h 41"/>
                <a:gd name="T24" fmla="*/ 22 w 24"/>
                <a:gd name="T25" fmla="*/ 17 h 41"/>
                <a:gd name="T26" fmla="*/ 21 w 24"/>
                <a:gd name="T27" fmla="*/ 17 h 41"/>
                <a:gd name="T28" fmla="*/ 21 w 24"/>
                <a:gd name="T29" fmla="*/ 17 h 41"/>
                <a:gd name="T30" fmla="*/ 9 w 24"/>
                <a:gd name="T31" fmla="*/ 17 h 41"/>
                <a:gd name="T32" fmla="*/ 9 w 24"/>
                <a:gd name="T33" fmla="*/ 7 h 41"/>
                <a:gd name="T34" fmla="*/ 23 w 24"/>
                <a:gd name="T35" fmla="*/ 7 h 41"/>
                <a:gd name="T36" fmla="*/ 24 w 24"/>
                <a:gd name="T37" fmla="*/ 6 h 41"/>
                <a:gd name="T38" fmla="*/ 24 w 24"/>
                <a:gd name="T39" fmla="*/ 6 h 41"/>
                <a:gd name="T40" fmla="*/ 24 w 24"/>
                <a:gd name="T41" fmla="*/ 5 h 41"/>
                <a:gd name="T42" fmla="*/ 24 w 24"/>
                <a:gd name="T43" fmla="*/ 3 h 41"/>
                <a:gd name="T44" fmla="*/ 24 w 24"/>
                <a:gd name="T45" fmla="*/ 2 h 41"/>
                <a:gd name="T46" fmla="*/ 24 w 24"/>
                <a:gd name="T47" fmla="*/ 1 h 41"/>
                <a:gd name="T48" fmla="*/ 24 w 24"/>
                <a:gd name="T49" fmla="*/ 0 h 41"/>
                <a:gd name="T50" fmla="*/ 23 w 24"/>
                <a:gd name="T51" fmla="*/ 0 h 41"/>
                <a:gd name="T52" fmla="*/ 3 w 24"/>
                <a:gd name="T53" fmla="*/ 0 h 41"/>
                <a:gd name="T54" fmla="*/ 1 w 24"/>
                <a:gd name="T55" fmla="*/ 1 h 41"/>
                <a:gd name="T56" fmla="*/ 0 w 24"/>
                <a:gd name="T57" fmla="*/ 3 h 41"/>
                <a:gd name="T58" fmla="*/ 0 w 24"/>
                <a:gd name="T59" fmla="*/ 38 h 41"/>
                <a:gd name="T60" fmla="*/ 1 w 24"/>
                <a:gd name="T61" fmla="*/ 40 h 41"/>
                <a:gd name="T62" fmla="*/ 3 w 24"/>
                <a:gd name="T63" fmla="*/ 41 h 41"/>
                <a:gd name="T64" fmla="*/ 23 w 24"/>
                <a:gd name="T65" fmla="*/ 41 h 41"/>
                <a:gd name="T66" fmla="*/ 24 w 24"/>
                <a:gd name="T67" fmla="*/ 40 h 41"/>
                <a:gd name="T68" fmla="*/ 24 w 24"/>
                <a:gd name="T69" fmla="*/ 40 h 41"/>
                <a:gd name="T70" fmla="*/ 24 w 24"/>
                <a:gd name="T71" fmla="*/ 39 h 41"/>
                <a:gd name="T72" fmla="*/ 24 w 24"/>
                <a:gd name="T73" fmla="*/ 37 h 41"/>
                <a:gd name="T74" fmla="*/ 24 w 24"/>
                <a:gd name="T75"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41">
                  <a:moveTo>
                    <a:pt x="24" y="36"/>
                  </a:moveTo>
                  <a:cubicBezTo>
                    <a:pt x="24" y="35"/>
                    <a:pt x="24" y="35"/>
                    <a:pt x="24" y="35"/>
                  </a:cubicBezTo>
                  <a:cubicBezTo>
                    <a:pt x="24" y="35"/>
                    <a:pt x="24" y="34"/>
                    <a:pt x="24" y="34"/>
                  </a:cubicBezTo>
                  <a:cubicBezTo>
                    <a:pt x="24" y="34"/>
                    <a:pt x="23" y="34"/>
                    <a:pt x="23" y="34"/>
                  </a:cubicBezTo>
                  <a:cubicBezTo>
                    <a:pt x="9" y="34"/>
                    <a:pt x="9" y="34"/>
                    <a:pt x="9" y="34"/>
                  </a:cubicBezTo>
                  <a:cubicBezTo>
                    <a:pt x="9" y="23"/>
                    <a:pt x="9" y="23"/>
                    <a:pt x="9" y="23"/>
                  </a:cubicBezTo>
                  <a:cubicBezTo>
                    <a:pt x="21" y="23"/>
                    <a:pt x="21" y="23"/>
                    <a:pt x="21" y="23"/>
                  </a:cubicBezTo>
                  <a:cubicBezTo>
                    <a:pt x="21" y="23"/>
                    <a:pt x="21" y="23"/>
                    <a:pt x="21" y="23"/>
                  </a:cubicBezTo>
                  <a:cubicBezTo>
                    <a:pt x="22" y="23"/>
                    <a:pt x="22" y="22"/>
                    <a:pt x="22" y="22"/>
                  </a:cubicBezTo>
                  <a:cubicBezTo>
                    <a:pt x="22" y="22"/>
                    <a:pt x="22" y="22"/>
                    <a:pt x="22" y="21"/>
                  </a:cubicBezTo>
                  <a:cubicBezTo>
                    <a:pt x="22" y="21"/>
                    <a:pt x="22" y="20"/>
                    <a:pt x="22" y="20"/>
                  </a:cubicBezTo>
                  <a:cubicBezTo>
                    <a:pt x="22" y="19"/>
                    <a:pt x="22" y="19"/>
                    <a:pt x="22" y="18"/>
                  </a:cubicBezTo>
                  <a:cubicBezTo>
                    <a:pt x="22" y="18"/>
                    <a:pt x="22" y="17"/>
                    <a:pt x="22" y="17"/>
                  </a:cubicBezTo>
                  <a:cubicBezTo>
                    <a:pt x="22" y="17"/>
                    <a:pt x="22" y="17"/>
                    <a:pt x="21" y="17"/>
                  </a:cubicBezTo>
                  <a:cubicBezTo>
                    <a:pt x="21" y="17"/>
                    <a:pt x="21" y="17"/>
                    <a:pt x="21" y="17"/>
                  </a:cubicBezTo>
                  <a:cubicBezTo>
                    <a:pt x="9" y="17"/>
                    <a:pt x="9" y="17"/>
                    <a:pt x="9" y="17"/>
                  </a:cubicBezTo>
                  <a:cubicBezTo>
                    <a:pt x="9" y="7"/>
                    <a:pt x="9" y="7"/>
                    <a:pt x="9" y="7"/>
                  </a:cubicBezTo>
                  <a:cubicBezTo>
                    <a:pt x="23" y="7"/>
                    <a:pt x="23" y="7"/>
                    <a:pt x="23" y="7"/>
                  </a:cubicBezTo>
                  <a:cubicBezTo>
                    <a:pt x="23" y="7"/>
                    <a:pt x="23" y="7"/>
                    <a:pt x="24" y="6"/>
                  </a:cubicBezTo>
                  <a:cubicBezTo>
                    <a:pt x="24" y="6"/>
                    <a:pt x="24" y="6"/>
                    <a:pt x="24" y="6"/>
                  </a:cubicBezTo>
                  <a:cubicBezTo>
                    <a:pt x="24" y="6"/>
                    <a:pt x="24" y="5"/>
                    <a:pt x="24" y="5"/>
                  </a:cubicBezTo>
                  <a:cubicBezTo>
                    <a:pt x="24" y="5"/>
                    <a:pt x="24" y="4"/>
                    <a:pt x="24" y="3"/>
                  </a:cubicBezTo>
                  <a:cubicBezTo>
                    <a:pt x="24" y="3"/>
                    <a:pt x="24" y="2"/>
                    <a:pt x="24" y="2"/>
                  </a:cubicBezTo>
                  <a:cubicBezTo>
                    <a:pt x="24" y="1"/>
                    <a:pt x="24" y="1"/>
                    <a:pt x="24" y="1"/>
                  </a:cubicBezTo>
                  <a:cubicBezTo>
                    <a:pt x="24" y="1"/>
                    <a:pt x="24" y="0"/>
                    <a:pt x="24" y="0"/>
                  </a:cubicBezTo>
                  <a:cubicBezTo>
                    <a:pt x="23" y="0"/>
                    <a:pt x="23" y="0"/>
                    <a:pt x="23" y="0"/>
                  </a:cubicBezTo>
                  <a:cubicBezTo>
                    <a:pt x="3" y="0"/>
                    <a:pt x="3" y="0"/>
                    <a:pt x="3" y="0"/>
                  </a:cubicBezTo>
                  <a:cubicBezTo>
                    <a:pt x="2" y="0"/>
                    <a:pt x="2" y="0"/>
                    <a:pt x="1" y="1"/>
                  </a:cubicBezTo>
                  <a:cubicBezTo>
                    <a:pt x="1" y="1"/>
                    <a:pt x="0" y="2"/>
                    <a:pt x="0" y="3"/>
                  </a:cubicBezTo>
                  <a:cubicBezTo>
                    <a:pt x="0" y="38"/>
                    <a:pt x="0" y="38"/>
                    <a:pt x="0" y="38"/>
                  </a:cubicBezTo>
                  <a:cubicBezTo>
                    <a:pt x="0" y="39"/>
                    <a:pt x="1" y="40"/>
                    <a:pt x="1" y="40"/>
                  </a:cubicBezTo>
                  <a:cubicBezTo>
                    <a:pt x="2" y="40"/>
                    <a:pt x="2" y="41"/>
                    <a:pt x="3" y="41"/>
                  </a:cubicBezTo>
                  <a:cubicBezTo>
                    <a:pt x="23" y="41"/>
                    <a:pt x="23" y="41"/>
                    <a:pt x="23" y="41"/>
                  </a:cubicBezTo>
                  <a:cubicBezTo>
                    <a:pt x="23" y="41"/>
                    <a:pt x="24" y="41"/>
                    <a:pt x="24" y="40"/>
                  </a:cubicBezTo>
                  <a:cubicBezTo>
                    <a:pt x="24" y="40"/>
                    <a:pt x="24" y="40"/>
                    <a:pt x="24" y="40"/>
                  </a:cubicBezTo>
                  <a:cubicBezTo>
                    <a:pt x="24" y="40"/>
                    <a:pt x="24" y="39"/>
                    <a:pt x="24" y="39"/>
                  </a:cubicBezTo>
                  <a:cubicBezTo>
                    <a:pt x="24" y="39"/>
                    <a:pt x="24" y="38"/>
                    <a:pt x="24" y="37"/>
                  </a:cubicBezTo>
                  <a:cubicBezTo>
                    <a:pt x="24" y="37"/>
                    <a:pt x="24" y="36"/>
                    <a:pt x="24" y="36"/>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189">
              <a:extLst>
                <a:ext uri="{FF2B5EF4-FFF2-40B4-BE49-F238E27FC236}">
                  <a16:creationId xmlns:a16="http://schemas.microsoft.com/office/drawing/2014/main" id="{CAC00857-8B09-4E42-AB30-69C204D55A9D}"/>
                </a:ext>
              </a:extLst>
            </p:cNvPr>
            <p:cNvSpPr>
              <a:spLocks noEditPoints="1"/>
            </p:cNvSpPr>
            <p:nvPr/>
          </p:nvSpPr>
          <p:spPr bwMode="auto">
            <a:xfrm>
              <a:off x="3536334" y="6155379"/>
              <a:ext cx="102447" cy="139963"/>
            </a:xfrm>
            <a:custGeom>
              <a:avLst/>
              <a:gdLst>
                <a:gd name="T0" fmla="*/ 30 w 30"/>
                <a:gd name="T1" fmla="*/ 39 h 41"/>
                <a:gd name="T2" fmla="*/ 29 w 30"/>
                <a:gd name="T3" fmla="*/ 37 h 41"/>
                <a:gd name="T4" fmla="*/ 25 w 30"/>
                <a:gd name="T5" fmla="*/ 29 h 41"/>
                <a:gd name="T6" fmla="*/ 24 w 30"/>
                <a:gd name="T7" fmla="*/ 26 h 41"/>
                <a:gd name="T8" fmla="*/ 23 w 30"/>
                <a:gd name="T9" fmla="*/ 24 h 41"/>
                <a:gd name="T10" fmla="*/ 21 w 30"/>
                <a:gd name="T11" fmla="*/ 23 h 41"/>
                <a:gd name="T12" fmla="*/ 20 w 30"/>
                <a:gd name="T13" fmla="*/ 22 h 41"/>
                <a:gd name="T14" fmla="*/ 23 w 30"/>
                <a:gd name="T15" fmla="*/ 20 h 41"/>
                <a:gd name="T16" fmla="*/ 26 w 30"/>
                <a:gd name="T17" fmla="*/ 18 h 41"/>
                <a:gd name="T18" fmla="*/ 27 w 30"/>
                <a:gd name="T19" fmla="*/ 15 h 41"/>
                <a:gd name="T20" fmla="*/ 28 w 30"/>
                <a:gd name="T21" fmla="*/ 11 h 41"/>
                <a:gd name="T22" fmla="*/ 27 w 30"/>
                <a:gd name="T23" fmla="*/ 7 h 41"/>
                <a:gd name="T24" fmla="*/ 25 w 30"/>
                <a:gd name="T25" fmla="*/ 4 h 41"/>
                <a:gd name="T26" fmla="*/ 21 w 30"/>
                <a:gd name="T27" fmla="*/ 2 h 41"/>
                <a:gd name="T28" fmla="*/ 17 w 30"/>
                <a:gd name="T29" fmla="*/ 0 h 41"/>
                <a:gd name="T30" fmla="*/ 15 w 30"/>
                <a:gd name="T31" fmla="*/ 0 h 41"/>
                <a:gd name="T32" fmla="*/ 13 w 30"/>
                <a:gd name="T33" fmla="*/ 0 h 41"/>
                <a:gd name="T34" fmla="*/ 2 w 30"/>
                <a:gd name="T35" fmla="*/ 0 h 41"/>
                <a:gd name="T36" fmla="*/ 0 w 30"/>
                <a:gd name="T37" fmla="*/ 1 h 41"/>
                <a:gd name="T38" fmla="*/ 0 w 30"/>
                <a:gd name="T39" fmla="*/ 3 h 41"/>
                <a:gd name="T40" fmla="*/ 0 w 30"/>
                <a:gd name="T41" fmla="*/ 40 h 41"/>
                <a:gd name="T42" fmla="*/ 0 w 30"/>
                <a:gd name="T43" fmla="*/ 40 h 41"/>
                <a:gd name="T44" fmla="*/ 1 w 30"/>
                <a:gd name="T45" fmla="*/ 40 h 41"/>
                <a:gd name="T46" fmla="*/ 2 w 30"/>
                <a:gd name="T47" fmla="*/ 41 h 41"/>
                <a:gd name="T48" fmla="*/ 4 w 30"/>
                <a:gd name="T49" fmla="*/ 41 h 41"/>
                <a:gd name="T50" fmla="*/ 6 w 30"/>
                <a:gd name="T51" fmla="*/ 41 h 41"/>
                <a:gd name="T52" fmla="*/ 7 w 30"/>
                <a:gd name="T53" fmla="*/ 40 h 41"/>
                <a:gd name="T54" fmla="*/ 8 w 30"/>
                <a:gd name="T55" fmla="*/ 40 h 41"/>
                <a:gd name="T56" fmla="*/ 8 w 30"/>
                <a:gd name="T57" fmla="*/ 40 h 41"/>
                <a:gd name="T58" fmla="*/ 8 w 30"/>
                <a:gd name="T59" fmla="*/ 24 h 41"/>
                <a:gd name="T60" fmla="*/ 10 w 30"/>
                <a:gd name="T61" fmla="*/ 24 h 41"/>
                <a:gd name="T62" fmla="*/ 13 w 30"/>
                <a:gd name="T63" fmla="*/ 25 h 41"/>
                <a:gd name="T64" fmla="*/ 15 w 30"/>
                <a:gd name="T65" fmla="*/ 26 h 41"/>
                <a:gd name="T66" fmla="*/ 16 w 30"/>
                <a:gd name="T67" fmla="*/ 28 h 41"/>
                <a:gd name="T68" fmla="*/ 17 w 30"/>
                <a:gd name="T69" fmla="*/ 30 h 41"/>
                <a:gd name="T70" fmla="*/ 21 w 30"/>
                <a:gd name="T71" fmla="*/ 39 h 41"/>
                <a:gd name="T72" fmla="*/ 21 w 30"/>
                <a:gd name="T73" fmla="*/ 40 h 41"/>
                <a:gd name="T74" fmla="*/ 22 w 30"/>
                <a:gd name="T75" fmla="*/ 41 h 41"/>
                <a:gd name="T76" fmla="*/ 23 w 30"/>
                <a:gd name="T77" fmla="*/ 41 h 41"/>
                <a:gd name="T78" fmla="*/ 25 w 30"/>
                <a:gd name="T79" fmla="*/ 41 h 41"/>
                <a:gd name="T80" fmla="*/ 28 w 30"/>
                <a:gd name="T81" fmla="*/ 41 h 41"/>
                <a:gd name="T82" fmla="*/ 29 w 30"/>
                <a:gd name="T83" fmla="*/ 41 h 41"/>
                <a:gd name="T84" fmla="*/ 30 w 30"/>
                <a:gd name="T85" fmla="*/ 40 h 41"/>
                <a:gd name="T86" fmla="*/ 30 w 30"/>
                <a:gd name="T87" fmla="*/ 40 h 41"/>
                <a:gd name="T88" fmla="*/ 30 w 30"/>
                <a:gd name="T89" fmla="*/ 39 h 41"/>
                <a:gd name="T90" fmla="*/ 19 w 30"/>
                <a:gd name="T91" fmla="*/ 15 h 41"/>
                <a:gd name="T92" fmla="*/ 17 w 30"/>
                <a:gd name="T93" fmla="*/ 16 h 41"/>
                <a:gd name="T94" fmla="*/ 15 w 30"/>
                <a:gd name="T95" fmla="*/ 18 h 41"/>
                <a:gd name="T96" fmla="*/ 12 w 30"/>
                <a:gd name="T97" fmla="*/ 18 h 41"/>
                <a:gd name="T98" fmla="*/ 8 w 30"/>
                <a:gd name="T99" fmla="*/ 18 h 41"/>
                <a:gd name="T100" fmla="*/ 8 w 30"/>
                <a:gd name="T101" fmla="*/ 6 h 41"/>
                <a:gd name="T102" fmla="*/ 12 w 30"/>
                <a:gd name="T103" fmla="*/ 6 h 41"/>
                <a:gd name="T104" fmla="*/ 14 w 30"/>
                <a:gd name="T105" fmla="*/ 7 h 41"/>
                <a:gd name="T106" fmla="*/ 15 w 30"/>
                <a:gd name="T107" fmla="*/ 7 h 41"/>
                <a:gd name="T108" fmla="*/ 18 w 30"/>
                <a:gd name="T109" fmla="*/ 9 h 41"/>
                <a:gd name="T110" fmla="*/ 19 w 30"/>
                <a:gd name="T111" fmla="*/ 12 h 41"/>
                <a:gd name="T112" fmla="*/ 19 w 30"/>
                <a:gd name="T11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 h="41">
                  <a:moveTo>
                    <a:pt x="30" y="39"/>
                  </a:moveTo>
                  <a:cubicBezTo>
                    <a:pt x="29" y="38"/>
                    <a:pt x="29" y="38"/>
                    <a:pt x="29" y="37"/>
                  </a:cubicBezTo>
                  <a:cubicBezTo>
                    <a:pt x="25" y="29"/>
                    <a:pt x="25" y="29"/>
                    <a:pt x="25" y="29"/>
                  </a:cubicBezTo>
                  <a:cubicBezTo>
                    <a:pt x="25" y="28"/>
                    <a:pt x="25" y="27"/>
                    <a:pt x="24" y="26"/>
                  </a:cubicBezTo>
                  <a:cubicBezTo>
                    <a:pt x="24" y="26"/>
                    <a:pt x="23" y="25"/>
                    <a:pt x="23" y="24"/>
                  </a:cubicBezTo>
                  <a:cubicBezTo>
                    <a:pt x="22" y="24"/>
                    <a:pt x="22" y="23"/>
                    <a:pt x="21" y="23"/>
                  </a:cubicBezTo>
                  <a:cubicBezTo>
                    <a:pt x="21" y="22"/>
                    <a:pt x="20" y="22"/>
                    <a:pt x="20" y="22"/>
                  </a:cubicBezTo>
                  <a:cubicBezTo>
                    <a:pt x="21" y="21"/>
                    <a:pt x="22" y="21"/>
                    <a:pt x="23" y="20"/>
                  </a:cubicBezTo>
                  <a:cubicBezTo>
                    <a:pt x="24" y="20"/>
                    <a:pt x="25" y="19"/>
                    <a:pt x="26" y="18"/>
                  </a:cubicBezTo>
                  <a:cubicBezTo>
                    <a:pt x="26" y="17"/>
                    <a:pt x="27" y="16"/>
                    <a:pt x="27" y="15"/>
                  </a:cubicBezTo>
                  <a:cubicBezTo>
                    <a:pt x="27" y="14"/>
                    <a:pt x="28" y="13"/>
                    <a:pt x="28" y="11"/>
                  </a:cubicBezTo>
                  <a:cubicBezTo>
                    <a:pt x="28" y="10"/>
                    <a:pt x="27" y="8"/>
                    <a:pt x="27" y="7"/>
                  </a:cubicBezTo>
                  <a:cubicBezTo>
                    <a:pt x="26" y="6"/>
                    <a:pt x="26" y="5"/>
                    <a:pt x="25" y="4"/>
                  </a:cubicBezTo>
                  <a:cubicBezTo>
                    <a:pt x="24" y="3"/>
                    <a:pt x="23" y="2"/>
                    <a:pt x="21" y="2"/>
                  </a:cubicBezTo>
                  <a:cubicBezTo>
                    <a:pt x="20" y="1"/>
                    <a:pt x="19" y="1"/>
                    <a:pt x="17" y="0"/>
                  </a:cubicBezTo>
                  <a:cubicBezTo>
                    <a:pt x="17" y="0"/>
                    <a:pt x="16" y="0"/>
                    <a:pt x="15" y="0"/>
                  </a:cubicBezTo>
                  <a:cubicBezTo>
                    <a:pt x="15" y="0"/>
                    <a:pt x="14" y="0"/>
                    <a:pt x="13" y="0"/>
                  </a:cubicBezTo>
                  <a:cubicBezTo>
                    <a:pt x="2" y="0"/>
                    <a:pt x="2" y="0"/>
                    <a:pt x="2" y="0"/>
                  </a:cubicBezTo>
                  <a:cubicBezTo>
                    <a:pt x="1" y="0"/>
                    <a:pt x="1" y="0"/>
                    <a:pt x="0" y="1"/>
                  </a:cubicBezTo>
                  <a:cubicBezTo>
                    <a:pt x="0" y="1"/>
                    <a:pt x="0" y="2"/>
                    <a:pt x="0" y="3"/>
                  </a:cubicBezTo>
                  <a:cubicBezTo>
                    <a:pt x="0" y="40"/>
                    <a:pt x="0" y="40"/>
                    <a:pt x="0" y="40"/>
                  </a:cubicBezTo>
                  <a:cubicBezTo>
                    <a:pt x="0" y="40"/>
                    <a:pt x="0" y="40"/>
                    <a:pt x="0" y="40"/>
                  </a:cubicBezTo>
                  <a:cubicBezTo>
                    <a:pt x="0" y="40"/>
                    <a:pt x="0" y="40"/>
                    <a:pt x="1" y="40"/>
                  </a:cubicBezTo>
                  <a:cubicBezTo>
                    <a:pt x="1" y="41"/>
                    <a:pt x="1" y="41"/>
                    <a:pt x="2" y="41"/>
                  </a:cubicBezTo>
                  <a:cubicBezTo>
                    <a:pt x="2" y="41"/>
                    <a:pt x="3" y="41"/>
                    <a:pt x="4" y="41"/>
                  </a:cubicBezTo>
                  <a:cubicBezTo>
                    <a:pt x="5" y="41"/>
                    <a:pt x="5" y="41"/>
                    <a:pt x="6" y="41"/>
                  </a:cubicBezTo>
                  <a:cubicBezTo>
                    <a:pt x="6" y="41"/>
                    <a:pt x="7" y="41"/>
                    <a:pt x="7" y="40"/>
                  </a:cubicBezTo>
                  <a:cubicBezTo>
                    <a:pt x="7" y="40"/>
                    <a:pt x="8" y="40"/>
                    <a:pt x="8" y="40"/>
                  </a:cubicBezTo>
                  <a:cubicBezTo>
                    <a:pt x="8" y="40"/>
                    <a:pt x="8" y="40"/>
                    <a:pt x="8" y="40"/>
                  </a:cubicBezTo>
                  <a:cubicBezTo>
                    <a:pt x="8" y="24"/>
                    <a:pt x="8" y="24"/>
                    <a:pt x="8" y="24"/>
                  </a:cubicBezTo>
                  <a:cubicBezTo>
                    <a:pt x="10" y="24"/>
                    <a:pt x="10" y="24"/>
                    <a:pt x="10" y="24"/>
                  </a:cubicBezTo>
                  <a:cubicBezTo>
                    <a:pt x="11" y="24"/>
                    <a:pt x="12" y="24"/>
                    <a:pt x="13" y="25"/>
                  </a:cubicBezTo>
                  <a:cubicBezTo>
                    <a:pt x="13" y="25"/>
                    <a:pt x="14" y="25"/>
                    <a:pt x="15" y="26"/>
                  </a:cubicBezTo>
                  <a:cubicBezTo>
                    <a:pt x="15" y="26"/>
                    <a:pt x="16" y="27"/>
                    <a:pt x="16" y="28"/>
                  </a:cubicBezTo>
                  <a:cubicBezTo>
                    <a:pt x="16" y="28"/>
                    <a:pt x="17" y="29"/>
                    <a:pt x="17" y="30"/>
                  </a:cubicBezTo>
                  <a:cubicBezTo>
                    <a:pt x="21" y="39"/>
                    <a:pt x="21" y="39"/>
                    <a:pt x="21" y="39"/>
                  </a:cubicBezTo>
                  <a:cubicBezTo>
                    <a:pt x="21" y="40"/>
                    <a:pt x="21" y="40"/>
                    <a:pt x="21" y="40"/>
                  </a:cubicBezTo>
                  <a:cubicBezTo>
                    <a:pt x="21" y="40"/>
                    <a:pt x="21" y="40"/>
                    <a:pt x="22" y="41"/>
                  </a:cubicBezTo>
                  <a:cubicBezTo>
                    <a:pt x="22" y="41"/>
                    <a:pt x="22" y="41"/>
                    <a:pt x="23" y="41"/>
                  </a:cubicBezTo>
                  <a:cubicBezTo>
                    <a:pt x="24" y="41"/>
                    <a:pt x="24" y="41"/>
                    <a:pt x="25" y="41"/>
                  </a:cubicBezTo>
                  <a:cubicBezTo>
                    <a:pt x="26" y="41"/>
                    <a:pt x="27" y="41"/>
                    <a:pt x="28" y="41"/>
                  </a:cubicBezTo>
                  <a:cubicBezTo>
                    <a:pt x="28" y="41"/>
                    <a:pt x="29" y="41"/>
                    <a:pt x="29" y="41"/>
                  </a:cubicBezTo>
                  <a:cubicBezTo>
                    <a:pt x="29" y="40"/>
                    <a:pt x="29" y="40"/>
                    <a:pt x="30" y="40"/>
                  </a:cubicBezTo>
                  <a:cubicBezTo>
                    <a:pt x="30" y="40"/>
                    <a:pt x="30" y="40"/>
                    <a:pt x="30" y="40"/>
                  </a:cubicBezTo>
                  <a:cubicBezTo>
                    <a:pt x="30" y="39"/>
                    <a:pt x="30" y="39"/>
                    <a:pt x="30" y="39"/>
                  </a:cubicBezTo>
                  <a:close/>
                  <a:moveTo>
                    <a:pt x="19" y="15"/>
                  </a:moveTo>
                  <a:cubicBezTo>
                    <a:pt x="18" y="15"/>
                    <a:pt x="18" y="16"/>
                    <a:pt x="17" y="16"/>
                  </a:cubicBezTo>
                  <a:cubicBezTo>
                    <a:pt x="17" y="17"/>
                    <a:pt x="16" y="17"/>
                    <a:pt x="15" y="18"/>
                  </a:cubicBezTo>
                  <a:cubicBezTo>
                    <a:pt x="14" y="18"/>
                    <a:pt x="13" y="18"/>
                    <a:pt x="12" y="18"/>
                  </a:cubicBezTo>
                  <a:cubicBezTo>
                    <a:pt x="8" y="18"/>
                    <a:pt x="8" y="18"/>
                    <a:pt x="8" y="18"/>
                  </a:cubicBezTo>
                  <a:cubicBezTo>
                    <a:pt x="8" y="6"/>
                    <a:pt x="8" y="6"/>
                    <a:pt x="8" y="6"/>
                  </a:cubicBezTo>
                  <a:cubicBezTo>
                    <a:pt x="12" y="6"/>
                    <a:pt x="12" y="6"/>
                    <a:pt x="12" y="6"/>
                  </a:cubicBezTo>
                  <a:cubicBezTo>
                    <a:pt x="13" y="6"/>
                    <a:pt x="13" y="7"/>
                    <a:pt x="14" y="7"/>
                  </a:cubicBezTo>
                  <a:cubicBezTo>
                    <a:pt x="14" y="7"/>
                    <a:pt x="15" y="7"/>
                    <a:pt x="15" y="7"/>
                  </a:cubicBezTo>
                  <a:cubicBezTo>
                    <a:pt x="17" y="7"/>
                    <a:pt x="18" y="8"/>
                    <a:pt x="18" y="9"/>
                  </a:cubicBezTo>
                  <a:cubicBezTo>
                    <a:pt x="19" y="10"/>
                    <a:pt x="19" y="11"/>
                    <a:pt x="19" y="12"/>
                  </a:cubicBezTo>
                  <a:cubicBezTo>
                    <a:pt x="19" y="13"/>
                    <a:pt x="19" y="14"/>
                    <a:pt x="19" y="15"/>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Freeform 190">
              <a:extLst>
                <a:ext uri="{FF2B5EF4-FFF2-40B4-BE49-F238E27FC236}">
                  <a16:creationId xmlns:a16="http://schemas.microsoft.com/office/drawing/2014/main" id="{C71212BE-3DDB-4372-B787-ED2E0E6BA47F}"/>
                </a:ext>
              </a:extLst>
            </p:cNvPr>
            <p:cNvSpPr>
              <a:spLocks/>
            </p:cNvSpPr>
            <p:nvPr/>
          </p:nvSpPr>
          <p:spPr bwMode="auto">
            <a:xfrm>
              <a:off x="3645995" y="6155379"/>
              <a:ext cx="122648" cy="139963"/>
            </a:xfrm>
            <a:custGeom>
              <a:avLst/>
              <a:gdLst>
                <a:gd name="T0" fmla="*/ 35 w 36"/>
                <a:gd name="T1" fmla="*/ 3 h 41"/>
                <a:gd name="T2" fmla="*/ 36 w 36"/>
                <a:gd name="T3" fmla="*/ 2 h 41"/>
                <a:gd name="T4" fmla="*/ 36 w 36"/>
                <a:gd name="T5" fmla="*/ 1 h 41"/>
                <a:gd name="T6" fmla="*/ 35 w 36"/>
                <a:gd name="T7" fmla="*/ 0 h 41"/>
                <a:gd name="T8" fmla="*/ 32 w 36"/>
                <a:gd name="T9" fmla="*/ 0 h 41"/>
                <a:gd name="T10" fmla="*/ 30 w 36"/>
                <a:gd name="T11" fmla="*/ 0 h 41"/>
                <a:gd name="T12" fmla="*/ 29 w 36"/>
                <a:gd name="T13" fmla="*/ 0 h 41"/>
                <a:gd name="T14" fmla="*/ 28 w 36"/>
                <a:gd name="T15" fmla="*/ 1 h 41"/>
                <a:gd name="T16" fmla="*/ 28 w 36"/>
                <a:gd name="T17" fmla="*/ 2 h 41"/>
                <a:gd name="T18" fmla="*/ 18 w 36"/>
                <a:gd name="T19" fmla="*/ 33 h 41"/>
                <a:gd name="T20" fmla="*/ 18 w 36"/>
                <a:gd name="T21" fmla="*/ 33 h 41"/>
                <a:gd name="T22" fmla="*/ 8 w 36"/>
                <a:gd name="T23" fmla="*/ 2 h 41"/>
                <a:gd name="T24" fmla="*/ 8 w 36"/>
                <a:gd name="T25" fmla="*/ 1 h 41"/>
                <a:gd name="T26" fmla="*/ 7 w 36"/>
                <a:gd name="T27" fmla="*/ 0 h 41"/>
                <a:gd name="T28" fmla="*/ 6 w 36"/>
                <a:gd name="T29" fmla="*/ 0 h 41"/>
                <a:gd name="T30" fmla="*/ 4 w 36"/>
                <a:gd name="T31" fmla="*/ 0 h 41"/>
                <a:gd name="T32" fmla="*/ 1 w 36"/>
                <a:gd name="T33" fmla="*/ 0 h 41"/>
                <a:gd name="T34" fmla="*/ 0 w 36"/>
                <a:gd name="T35" fmla="*/ 0 h 41"/>
                <a:gd name="T36" fmla="*/ 0 w 36"/>
                <a:gd name="T37" fmla="*/ 1 h 41"/>
                <a:gd name="T38" fmla="*/ 0 w 36"/>
                <a:gd name="T39" fmla="*/ 3 h 41"/>
                <a:gd name="T40" fmla="*/ 12 w 36"/>
                <a:gd name="T41" fmla="*/ 39 h 41"/>
                <a:gd name="T42" fmla="*/ 12 w 36"/>
                <a:gd name="T43" fmla="*/ 40 h 41"/>
                <a:gd name="T44" fmla="*/ 13 w 36"/>
                <a:gd name="T45" fmla="*/ 40 h 41"/>
                <a:gd name="T46" fmla="*/ 13 w 36"/>
                <a:gd name="T47" fmla="*/ 41 h 41"/>
                <a:gd name="T48" fmla="*/ 14 w 36"/>
                <a:gd name="T49" fmla="*/ 41 h 41"/>
                <a:gd name="T50" fmla="*/ 16 w 36"/>
                <a:gd name="T51" fmla="*/ 41 h 41"/>
                <a:gd name="T52" fmla="*/ 18 w 36"/>
                <a:gd name="T53" fmla="*/ 41 h 41"/>
                <a:gd name="T54" fmla="*/ 21 w 36"/>
                <a:gd name="T55" fmla="*/ 41 h 41"/>
                <a:gd name="T56" fmla="*/ 22 w 36"/>
                <a:gd name="T57" fmla="*/ 41 h 41"/>
                <a:gd name="T58" fmla="*/ 23 w 36"/>
                <a:gd name="T59" fmla="*/ 40 h 41"/>
                <a:gd name="T60" fmla="*/ 23 w 36"/>
                <a:gd name="T61" fmla="*/ 39 h 41"/>
                <a:gd name="T62" fmla="*/ 35 w 36"/>
                <a:gd name="T63"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41">
                  <a:moveTo>
                    <a:pt x="35" y="3"/>
                  </a:moveTo>
                  <a:cubicBezTo>
                    <a:pt x="36" y="3"/>
                    <a:pt x="36" y="2"/>
                    <a:pt x="36" y="2"/>
                  </a:cubicBezTo>
                  <a:cubicBezTo>
                    <a:pt x="36" y="1"/>
                    <a:pt x="36" y="1"/>
                    <a:pt x="36" y="1"/>
                  </a:cubicBezTo>
                  <a:cubicBezTo>
                    <a:pt x="36" y="0"/>
                    <a:pt x="35" y="0"/>
                    <a:pt x="35" y="0"/>
                  </a:cubicBezTo>
                  <a:cubicBezTo>
                    <a:pt x="34" y="0"/>
                    <a:pt x="33" y="0"/>
                    <a:pt x="32" y="0"/>
                  </a:cubicBezTo>
                  <a:cubicBezTo>
                    <a:pt x="31" y="0"/>
                    <a:pt x="31" y="0"/>
                    <a:pt x="30" y="0"/>
                  </a:cubicBezTo>
                  <a:cubicBezTo>
                    <a:pt x="30" y="0"/>
                    <a:pt x="29" y="0"/>
                    <a:pt x="29" y="0"/>
                  </a:cubicBezTo>
                  <a:cubicBezTo>
                    <a:pt x="28" y="0"/>
                    <a:pt x="28" y="1"/>
                    <a:pt x="28" y="1"/>
                  </a:cubicBezTo>
                  <a:cubicBezTo>
                    <a:pt x="28" y="1"/>
                    <a:pt x="28" y="1"/>
                    <a:pt x="28" y="2"/>
                  </a:cubicBezTo>
                  <a:cubicBezTo>
                    <a:pt x="18" y="33"/>
                    <a:pt x="18" y="33"/>
                    <a:pt x="18" y="33"/>
                  </a:cubicBezTo>
                  <a:cubicBezTo>
                    <a:pt x="18" y="33"/>
                    <a:pt x="18" y="33"/>
                    <a:pt x="18" y="33"/>
                  </a:cubicBezTo>
                  <a:cubicBezTo>
                    <a:pt x="8" y="2"/>
                    <a:pt x="8" y="2"/>
                    <a:pt x="8" y="2"/>
                  </a:cubicBezTo>
                  <a:cubicBezTo>
                    <a:pt x="8" y="1"/>
                    <a:pt x="8" y="1"/>
                    <a:pt x="8" y="1"/>
                  </a:cubicBezTo>
                  <a:cubicBezTo>
                    <a:pt x="8" y="1"/>
                    <a:pt x="8" y="0"/>
                    <a:pt x="7" y="0"/>
                  </a:cubicBezTo>
                  <a:cubicBezTo>
                    <a:pt x="7" y="0"/>
                    <a:pt x="7" y="0"/>
                    <a:pt x="6" y="0"/>
                  </a:cubicBezTo>
                  <a:cubicBezTo>
                    <a:pt x="6" y="0"/>
                    <a:pt x="5" y="0"/>
                    <a:pt x="4" y="0"/>
                  </a:cubicBezTo>
                  <a:cubicBezTo>
                    <a:pt x="3" y="0"/>
                    <a:pt x="2" y="0"/>
                    <a:pt x="1" y="0"/>
                  </a:cubicBezTo>
                  <a:cubicBezTo>
                    <a:pt x="1" y="0"/>
                    <a:pt x="0" y="0"/>
                    <a:pt x="0" y="0"/>
                  </a:cubicBezTo>
                  <a:cubicBezTo>
                    <a:pt x="0" y="1"/>
                    <a:pt x="0" y="1"/>
                    <a:pt x="0" y="1"/>
                  </a:cubicBezTo>
                  <a:cubicBezTo>
                    <a:pt x="0" y="2"/>
                    <a:pt x="0" y="3"/>
                    <a:pt x="0" y="3"/>
                  </a:cubicBezTo>
                  <a:cubicBezTo>
                    <a:pt x="12" y="39"/>
                    <a:pt x="12" y="39"/>
                    <a:pt x="12" y="39"/>
                  </a:cubicBezTo>
                  <a:cubicBezTo>
                    <a:pt x="12" y="39"/>
                    <a:pt x="12" y="40"/>
                    <a:pt x="12" y="40"/>
                  </a:cubicBezTo>
                  <a:cubicBezTo>
                    <a:pt x="12" y="40"/>
                    <a:pt x="13" y="40"/>
                    <a:pt x="13" y="40"/>
                  </a:cubicBezTo>
                  <a:cubicBezTo>
                    <a:pt x="13" y="40"/>
                    <a:pt x="13" y="40"/>
                    <a:pt x="13" y="41"/>
                  </a:cubicBezTo>
                  <a:cubicBezTo>
                    <a:pt x="14" y="41"/>
                    <a:pt x="14" y="41"/>
                    <a:pt x="14" y="41"/>
                  </a:cubicBezTo>
                  <a:cubicBezTo>
                    <a:pt x="15" y="41"/>
                    <a:pt x="15" y="41"/>
                    <a:pt x="16" y="41"/>
                  </a:cubicBezTo>
                  <a:cubicBezTo>
                    <a:pt x="17" y="41"/>
                    <a:pt x="17" y="41"/>
                    <a:pt x="18" y="41"/>
                  </a:cubicBezTo>
                  <a:cubicBezTo>
                    <a:pt x="19" y="41"/>
                    <a:pt x="20" y="41"/>
                    <a:pt x="21" y="41"/>
                  </a:cubicBezTo>
                  <a:cubicBezTo>
                    <a:pt x="21" y="41"/>
                    <a:pt x="22" y="41"/>
                    <a:pt x="22" y="41"/>
                  </a:cubicBezTo>
                  <a:cubicBezTo>
                    <a:pt x="23" y="40"/>
                    <a:pt x="23" y="40"/>
                    <a:pt x="23" y="40"/>
                  </a:cubicBezTo>
                  <a:cubicBezTo>
                    <a:pt x="23" y="40"/>
                    <a:pt x="23" y="40"/>
                    <a:pt x="23" y="39"/>
                  </a:cubicBezTo>
                  <a:cubicBezTo>
                    <a:pt x="35" y="3"/>
                    <a:pt x="35" y="3"/>
                    <a:pt x="35" y="3"/>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Freeform 191">
              <a:extLst>
                <a:ext uri="{FF2B5EF4-FFF2-40B4-BE49-F238E27FC236}">
                  <a16:creationId xmlns:a16="http://schemas.microsoft.com/office/drawing/2014/main" id="{CFF29049-B86B-43AE-A485-6CE6AC9C242D}"/>
                </a:ext>
              </a:extLst>
            </p:cNvPr>
            <p:cNvSpPr>
              <a:spLocks/>
            </p:cNvSpPr>
            <p:nvPr/>
          </p:nvSpPr>
          <p:spPr bwMode="auto">
            <a:xfrm>
              <a:off x="3785957" y="6155379"/>
              <a:ext cx="27416" cy="139963"/>
            </a:xfrm>
            <a:custGeom>
              <a:avLst/>
              <a:gdLst>
                <a:gd name="T0" fmla="*/ 8 w 8"/>
                <a:gd name="T1" fmla="*/ 1 h 41"/>
                <a:gd name="T2" fmla="*/ 8 w 8"/>
                <a:gd name="T3" fmla="*/ 1 h 41"/>
                <a:gd name="T4" fmla="*/ 7 w 8"/>
                <a:gd name="T5" fmla="*/ 0 h 41"/>
                <a:gd name="T6" fmla="*/ 6 w 8"/>
                <a:gd name="T7" fmla="*/ 0 h 41"/>
                <a:gd name="T8" fmla="*/ 4 w 8"/>
                <a:gd name="T9" fmla="*/ 0 h 41"/>
                <a:gd name="T10" fmla="*/ 2 w 8"/>
                <a:gd name="T11" fmla="*/ 0 h 41"/>
                <a:gd name="T12" fmla="*/ 1 w 8"/>
                <a:gd name="T13" fmla="*/ 0 h 41"/>
                <a:gd name="T14" fmla="*/ 0 w 8"/>
                <a:gd name="T15" fmla="*/ 1 h 41"/>
                <a:gd name="T16" fmla="*/ 0 w 8"/>
                <a:gd name="T17" fmla="*/ 1 h 41"/>
                <a:gd name="T18" fmla="*/ 0 w 8"/>
                <a:gd name="T19" fmla="*/ 40 h 41"/>
                <a:gd name="T20" fmla="*/ 0 w 8"/>
                <a:gd name="T21" fmla="*/ 40 h 41"/>
                <a:gd name="T22" fmla="*/ 1 w 8"/>
                <a:gd name="T23" fmla="*/ 40 h 41"/>
                <a:gd name="T24" fmla="*/ 2 w 8"/>
                <a:gd name="T25" fmla="*/ 41 h 41"/>
                <a:gd name="T26" fmla="*/ 4 w 8"/>
                <a:gd name="T27" fmla="*/ 41 h 41"/>
                <a:gd name="T28" fmla="*/ 6 w 8"/>
                <a:gd name="T29" fmla="*/ 41 h 41"/>
                <a:gd name="T30" fmla="*/ 7 w 8"/>
                <a:gd name="T31" fmla="*/ 40 h 41"/>
                <a:gd name="T32" fmla="*/ 8 w 8"/>
                <a:gd name="T33" fmla="*/ 40 h 41"/>
                <a:gd name="T34" fmla="*/ 8 w 8"/>
                <a:gd name="T35" fmla="*/ 40 h 41"/>
                <a:gd name="T36" fmla="*/ 8 w 8"/>
                <a:gd name="T37"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41">
                  <a:moveTo>
                    <a:pt x="8" y="1"/>
                  </a:moveTo>
                  <a:cubicBezTo>
                    <a:pt x="8" y="1"/>
                    <a:pt x="8" y="1"/>
                    <a:pt x="8" y="1"/>
                  </a:cubicBezTo>
                  <a:cubicBezTo>
                    <a:pt x="8" y="1"/>
                    <a:pt x="8" y="0"/>
                    <a:pt x="7" y="0"/>
                  </a:cubicBezTo>
                  <a:cubicBezTo>
                    <a:pt x="7" y="0"/>
                    <a:pt x="7" y="0"/>
                    <a:pt x="6" y="0"/>
                  </a:cubicBezTo>
                  <a:cubicBezTo>
                    <a:pt x="6" y="0"/>
                    <a:pt x="5" y="0"/>
                    <a:pt x="4" y="0"/>
                  </a:cubicBezTo>
                  <a:cubicBezTo>
                    <a:pt x="3" y="0"/>
                    <a:pt x="3" y="0"/>
                    <a:pt x="2" y="0"/>
                  </a:cubicBezTo>
                  <a:cubicBezTo>
                    <a:pt x="2" y="0"/>
                    <a:pt x="1" y="0"/>
                    <a:pt x="1" y="0"/>
                  </a:cubicBezTo>
                  <a:cubicBezTo>
                    <a:pt x="1" y="0"/>
                    <a:pt x="0" y="1"/>
                    <a:pt x="0" y="1"/>
                  </a:cubicBezTo>
                  <a:cubicBezTo>
                    <a:pt x="0" y="1"/>
                    <a:pt x="0" y="1"/>
                    <a:pt x="0" y="1"/>
                  </a:cubicBezTo>
                  <a:cubicBezTo>
                    <a:pt x="0" y="40"/>
                    <a:pt x="0" y="40"/>
                    <a:pt x="0" y="40"/>
                  </a:cubicBezTo>
                  <a:cubicBezTo>
                    <a:pt x="0" y="40"/>
                    <a:pt x="0" y="40"/>
                    <a:pt x="0" y="40"/>
                  </a:cubicBezTo>
                  <a:cubicBezTo>
                    <a:pt x="0" y="40"/>
                    <a:pt x="1" y="40"/>
                    <a:pt x="1" y="40"/>
                  </a:cubicBezTo>
                  <a:cubicBezTo>
                    <a:pt x="1" y="41"/>
                    <a:pt x="2" y="41"/>
                    <a:pt x="2" y="41"/>
                  </a:cubicBezTo>
                  <a:cubicBezTo>
                    <a:pt x="3" y="41"/>
                    <a:pt x="3" y="41"/>
                    <a:pt x="4" y="41"/>
                  </a:cubicBezTo>
                  <a:cubicBezTo>
                    <a:pt x="5" y="41"/>
                    <a:pt x="6" y="41"/>
                    <a:pt x="6" y="41"/>
                  </a:cubicBezTo>
                  <a:cubicBezTo>
                    <a:pt x="7" y="41"/>
                    <a:pt x="7" y="41"/>
                    <a:pt x="7" y="40"/>
                  </a:cubicBezTo>
                  <a:cubicBezTo>
                    <a:pt x="8" y="40"/>
                    <a:pt x="8" y="40"/>
                    <a:pt x="8" y="40"/>
                  </a:cubicBezTo>
                  <a:cubicBezTo>
                    <a:pt x="8" y="40"/>
                    <a:pt x="8" y="40"/>
                    <a:pt x="8" y="40"/>
                  </a:cubicBezTo>
                  <a:cubicBezTo>
                    <a:pt x="8" y="1"/>
                    <a:pt x="8" y="1"/>
                    <a:pt x="8" y="1"/>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Freeform 192">
              <a:extLst>
                <a:ext uri="{FF2B5EF4-FFF2-40B4-BE49-F238E27FC236}">
                  <a16:creationId xmlns:a16="http://schemas.microsoft.com/office/drawing/2014/main" id="{ED553A48-CCA1-4987-9FA6-E1CB3696B2FF}"/>
                </a:ext>
              </a:extLst>
            </p:cNvPr>
            <p:cNvSpPr>
              <a:spLocks/>
            </p:cNvSpPr>
            <p:nvPr/>
          </p:nvSpPr>
          <p:spPr bwMode="auto">
            <a:xfrm>
              <a:off x="3837902" y="6155379"/>
              <a:ext cx="102447" cy="139963"/>
            </a:xfrm>
            <a:custGeom>
              <a:avLst/>
              <a:gdLst>
                <a:gd name="T0" fmla="*/ 30 w 30"/>
                <a:gd name="T1" fmla="*/ 33 h 41"/>
                <a:gd name="T2" fmla="*/ 30 w 30"/>
                <a:gd name="T3" fmla="*/ 32 h 41"/>
                <a:gd name="T4" fmla="*/ 29 w 30"/>
                <a:gd name="T5" fmla="*/ 31 h 41"/>
                <a:gd name="T6" fmla="*/ 29 w 30"/>
                <a:gd name="T7" fmla="*/ 31 h 41"/>
                <a:gd name="T8" fmla="*/ 28 w 30"/>
                <a:gd name="T9" fmla="*/ 32 h 41"/>
                <a:gd name="T10" fmla="*/ 26 w 30"/>
                <a:gd name="T11" fmla="*/ 33 h 41"/>
                <a:gd name="T12" fmla="*/ 23 w 30"/>
                <a:gd name="T13" fmla="*/ 34 h 41"/>
                <a:gd name="T14" fmla="*/ 19 w 30"/>
                <a:gd name="T15" fmla="*/ 34 h 41"/>
                <a:gd name="T16" fmla="*/ 15 w 30"/>
                <a:gd name="T17" fmla="*/ 33 h 41"/>
                <a:gd name="T18" fmla="*/ 12 w 30"/>
                <a:gd name="T19" fmla="*/ 31 h 41"/>
                <a:gd name="T20" fmla="*/ 10 w 30"/>
                <a:gd name="T21" fmla="*/ 27 h 41"/>
                <a:gd name="T22" fmla="*/ 9 w 30"/>
                <a:gd name="T23" fmla="*/ 21 h 41"/>
                <a:gd name="T24" fmla="*/ 10 w 30"/>
                <a:gd name="T25" fmla="*/ 15 h 41"/>
                <a:gd name="T26" fmla="*/ 12 w 30"/>
                <a:gd name="T27" fmla="*/ 10 h 41"/>
                <a:gd name="T28" fmla="*/ 15 w 30"/>
                <a:gd name="T29" fmla="*/ 7 h 41"/>
                <a:gd name="T30" fmla="*/ 19 w 30"/>
                <a:gd name="T31" fmla="*/ 6 h 41"/>
                <a:gd name="T32" fmla="*/ 23 w 30"/>
                <a:gd name="T33" fmla="*/ 7 h 41"/>
                <a:gd name="T34" fmla="*/ 26 w 30"/>
                <a:gd name="T35" fmla="*/ 8 h 41"/>
                <a:gd name="T36" fmla="*/ 28 w 30"/>
                <a:gd name="T37" fmla="*/ 9 h 41"/>
                <a:gd name="T38" fmla="*/ 29 w 30"/>
                <a:gd name="T39" fmla="*/ 10 h 41"/>
                <a:gd name="T40" fmla="*/ 29 w 30"/>
                <a:gd name="T41" fmla="*/ 10 h 41"/>
                <a:gd name="T42" fmla="*/ 30 w 30"/>
                <a:gd name="T43" fmla="*/ 9 h 41"/>
                <a:gd name="T44" fmla="*/ 30 w 30"/>
                <a:gd name="T45" fmla="*/ 8 h 41"/>
                <a:gd name="T46" fmla="*/ 30 w 30"/>
                <a:gd name="T47" fmla="*/ 7 h 41"/>
                <a:gd name="T48" fmla="*/ 30 w 30"/>
                <a:gd name="T49" fmla="*/ 5 h 41"/>
                <a:gd name="T50" fmla="*/ 30 w 30"/>
                <a:gd name="T51" fmla="*/ 4 h 41"/>
                <a:gd name="T52" fmla="*/ 29 w 30"/>
                <a:gd name="T53" fmla="*/ 3 h 41"/>
                <a:gd name="T54" fmla="*/ 29 w 30"/>
                <a:gd name="T55" fmla="*/ 3 h 41"/>
                <a:gd name="T56" fmla="*/ 27 w 30"/>
                <a:gd name="T57" fmla="*/ 2 h 41"/>
                <a:gd name="T58" fmla="*/ 25 w 30"/>
                <a:gd name="T59" fmla="*/ 1 h 41"/>
                <a:gd name="T60" fmla="*/ 22 w 30"/>
                <a:gd name="T61" fmla="*/ 0 h 41"/>
                <a:gd name="T62" fmla="*/ 19 w 30"/>
                <a:gd name="T63" fmla="*/ 0 h 41"/>
                <a:gd name="T64" fmla="*/ 11 w 30"/>
                <a:gd name="T65" fmla="*/ 1 h 41"/>
                <a:gd name="T66" fmla="*/ 5 w 30"/>
                <a:gd name="T67" fmla="*/ 5 h 41"/>
                <a:gd name="T68" fmla="*/ 1 w 30"/>
                <a:gd name="T69" fmla="*/ 12 h 41"/>
                <a:gd name="T70" fmla="*/ 0 w 30"/>
                <a:gd name="T71" fmla="*/ 21 h 41"/>
                <a:gd name="T72" fmla="*/ 1 w 30"/>
                <a:gd name="T73" fmla="*/ 30 h 41"/>
                <a:gd name="T74" fmla="*/ 5 w 30"/>
                <a:gd name="T75" fmla="*/ 36 h 41"/>
                <a:gd name="T76" fmla="*/ 11 w 30"/>
                <a:gd name="T77" fmla="*/ 40 h 41"/>
                <a:gd name="T78" fmla="*/ 18 w 30"/>
                <a:gd name="T79" fmla="*/ 41 h 41"/>
                <a:gd name="T80" fmla="*/ 22 w 30"/>
                <a:gd name="T81" fmla="*/ 41 h 41"/>
                <a:gd name="T82" fmla="*/ 25 w 30"/>
                <a:gd name="T83" fmla="*/ 40 h 41"/>
                <a:gd name="T84" fmla="*/ 28 w 30"/>
                <a:gd name="T85" fmla="*/ 39 h 41"/>
                <a:gd name="T86" fmla="*/ 29 w 30"/>
                <a:gd name="T87" fmla="*/ 38 h 41"/>
                <a:gd name="T88" fmla="*/ 30 w 30"/>
                <a:gd name="T89" fmla="*/ 37 h 41"/>
                <a:gd name="T90" fmla="*/ 30 w 30"/>
                <a:gd name="T91" fmla="*/ 37 h 41"/>
                <a:gd name="T92" fmla="*/ 30 w 30"/>
                <a:gd name="T93" fmla="*/ 36 h 41"/>
                <a:gd name="T94" fmla="*/ 30 w 30"/>
                <a:gd name="T95" fmla="*/ 35 h 41"/>
                <a:gd name="T96" fmla="*/ 30 w 30"/>
                <a:gd name="T97"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41">
                  <a:moveTo>
                    <a:pt x="30" y="33"/>
                  </a:moveTo>
                  <a:cubicBezTo>
                    <a:pt x="30" y="32"/>
                    <a:pt x="30" y="32"/>
                    <a:pt x="30" y="32"/>
                  </a:cubicBezTo>
                  <a:cubicBezTo>
                    <a:pt x="30" y="31"/>
                    <a:pt x="30" y="31"/>
                    <a:pt x="29" y="31"/>
                  </a:cubicBezTo>
                  <a:cubicBezTo>
                    <a:pt x="29" y="31"/>
                    <a:pt x="29" y="31"/>
                    <a:pt x="29" y="31"/>
                  </a:cubicBezTo>
                  <a:cubicBezTo>
                    <a:pt x="29" y="31"/>
                    <a:pt x="28" y="31"/>
                    <a:pt x="28" y="32"/>
                  </a:cubicBezTo>
                  <a:cubicBezTo>
                    <a:pt x="27" y="32"/>
                    <a:pt x="27" y="32"/>
                    <a:pt x="26" y="33"/>
                  </a:cubicBezTo>
                  <a:cubicBezTo>
                    <a:pt x="25" y="33"/>
                    <a:pt x="24" y="33"/>
                    <a:pt x="23" y="34"/>
                  </a:cubicBezTo>
                  <a:cubicBezTo>
                    <a:pt x="22" y="34"/>
                    <a:pt x="21" y="34"/>
                    <a:pt x="19" y="34"/>
                  </a:cubicBezTo>
                  <a:cubicBezTo>
                    <a:pt x="18" y="34"/>
                    <a:pt x="16" y="34"/>
                    <a:pt x="15" y="33"/>
                  </a:cubicBezTo>
                  <a:cubicBezTo>
                    <a:pt x="14" y="33"/>
                    <a:pt x="13" y="32"/>
                    <a:pt x="12" y="31"/>
                  </a:cubicBezTo>
                  <a:cubicBezTo>
                    <a:pt x="11" y="30"/>
                    <a:pt x="10" y="28"/>
                    <a:pt x="10" y="27"/>
                  </a:cubicBezTo>
                  <a:cubicBezTo>
                    <a:pt x="9" y="25"/>
                    <a:pt x="9" y="23"/>
                    <a:pt x="9" y="21"/>
                  </a:cubicBezTo>
                  <a:cubicBezTo>
                    <a:pt x="9" y="18"/>
                    <a:pt x="9" y="16"/>
                    <a:pt x="10" y="15"/>
                  </a:cubicBezTo>
                  <a:cubicBezTo>
                    <a:pt x="10" y="13"/>
                    <a:pt x="11" y="11"/>
                    <a:pt x="12" y="10"/>
                  </a:cubicBezTo>
                  <a:cubicBezTo>
                    <a:pt x="13" y="9"/>
                    <a:pt x="14" y="8"/>
                    <a:pt x="15" y="7"/>
                  </a:cubicBezTo>
                  <a:cubicBezTo>
                    <a:pt x="16" y="7"/>
                    <a:pt x="18" y="6"/>
                    <a:pt x="19" y="6"/>
                  </a:cubicBezTo>
                  <a:cubicBezTo>
                    <a:pt x="21" y="6"/>
                    <a:pt x="22" y="7"/>
                    <a:pt x="23" y="7"/>
                  </a:cubicBezTo>
                  <a:cubicBezTo>
                    <a:pt x="24" y="7"/>
                    <a:pt x="25" y="8"/>
                    <a:pt x="26" y="8"/>
                  </a:cubicBezTo>
                  <a:cubicBezTo>
                    <a:pt x="26" y="9"/>
                    <a:pt x="27" y="9"/>
                    <a:pt x="28" y="9"/>
                  </a:cubicBezTo>
                  <a:cubicBezTo>
                    <a:pt x="28" y="10"/>
                    <a:pt x="28" y="10"/>
                    <a:pt x="29" y="10"/>
                  </a:cubicBezTo>
                  <a:cubicBezTo>
                    <a:pt x="29" y="10"/>
                    <a:pt x="29" y="10"/>
                    <a:pt x="29" y="10"/>
                  </a:cubicBezTo>
                  <a:cubicBezTo>
                    <a:pt x="29" y="10"/>
                    <a:pt x="29" y="9"/>
                    <a:pt x="30" y="9"/>
                  </a:cubicBezTo>
                  <a:cubicBezTo>
                    <a:pt x="30" y="9"/>
                    <a:pt x="30" y="9"/>
                    <a:pt x="30" y="8"/>
                  </a:cubicBezTo>
                  <a:cubicBezTo>
                    <a:pt x="30" y="8"/>
                    <a:pt x="30" y="7"/>
                    <a:pt x="30" y="7"/>
                  </a:cubicBezTo>
                  <a:cubicBezTo>
                    <a:pt x="30" y="6"/>
                    <a:pt x="30" y="5"/>
                    <a:pt x="30" y="5"/>
                  </a:cubicBezTo>
                  <a:cubicBezTo>
                    <a:pt x="30" y="5"/>
                    <a:pt x="30" y="4"/>
                    <a:pt x="30" y="4"/>
                  </a:cubicBezTo>
                  <a:cubicBezTo>
                    <a:pt x="30" y="4"/>
                    <a:pt x="30" y="4"/>
                    <a:pt x="29" y="3"/>
                  </a:cubicBezTo>
                  <a:cubicBezTo>
                    <a:pt x="29" y="3"/>
                    <a:pt x="29" y="3"/>
                    <a:pt x="29" y="3"/>
                  </a:cubicBezTo>
                  <a:cubicBezTo>
                    <a:pt x="29" y="2"/>
                    <a:pt x="28" y="2"/>
                    <a:pt x="27" y="2"/>
                  </a:cubicBezTo>
                  <a:cubicBezTo>
                    <a:pt x="27" y="1"/>
                    <a:pt x="26" y="1"/>
                    <a:pt x="25" y="1"/>
                  </a:cubicBezTo>
                  <a:cubicBezTo>
                    <a:pt x="24" y="0"/>
                    <a:pt x="23" y="0"/>
                    <a:pt x="22" y="0"/>
                  </a:cubicBezTo>
                  <a:cubicBezTo>
                    <a:pt x="21" y="0"/>
                    <a:pt x="20" y="0"/>
                    <a:pt x="19" y="0"/>
                  </a:cubicBezTo>
                  <a:cubicBezTo>
                    <a:pt x="16" y="0"/>
                    <a:pt x="14" y="0"/>
                    <a:pt x="11" y="1"/>
                  </a:cubicBezTo>
                  <a:cubicBezTo>
                    <a:pt x="9" y="2"/>
                    <a:pt x="7" y="3"/>
                    <a:pt x="5" y="5"/>
                  </a:cubicBezTo>
                  <a:cubicBezTo>
                    <a:pt x="4" y="7"/>
                    <a:pt x="2" y="9"/>
                    <a:pt x="1" y="12"/>
                  </a:cubicBezTo>
                  <a:cubicBezTo>
                    <a:pt x="1" y="14"/>
                    <a:pt x="0" y="18"/>
                    <a:pt x="0" y="21"/>
                  </a:cubicBezTo>
                  <a:cubicBezTo>
                    <a:pt x="0" y="24"/>
                    <a:pt x="1" y="27"/>
                    <a:pt x="1" y="30"/>
                  </a:cubicBezTo>
                  <a:cubicBezTo>
                    <a:pt x="2" y="32"/>
                    <a:pt x="3" y="34"/>
                    <a:pt x="5" y="36"/>
                  </a:cubicBezTo>
                  <a:cubicBezTo>
                    <a:pt x="7" y="38"/>
                    <a:pt x="8" y="39"/>
                    <a:pt x="11" y="40"/>
                  </a:cubicBezTo>
                  <a:cubicBezTo>
                    <a:pt x="13" y="41"/>
                    <a:pt x="15" y="41"/>
                    <a:pt x="18" y="41"/>
                  </a:cubicBezTo>
                  <a:cubicBezTo>
                    <a:pt x="20" y="41"/>
                    <a:pt x="21" y="41"/>
                    <a:pt x="22" y="41"/>
                  </a:cubicBezTo>
                  <a:cubicBezTo>
                    <a:pt x="23" y="41"/>
                    <a:pt x="24" y="40"/>
                    <a:pt x="25" y="40"/>
                  </a:cubicBezTo>
                  <a:cubicBezTo>
                    <a:pt x="26" y="40"/>
                    <a:pt x="27" y="39"/>
                    <a:pt x="28" y="39"/>
                  </a:cubicBezTo>
                  <a:cubicBezTo>
                    <a:pt x="28" y="39"/>
                    <a:pt x="29" y="38"/>
                    <a:pt x="29" y="38"/>
                  </a:cubicBezTo>
                  <a:cubicBezTo>
                    <a:pt x="29" y="38"/>
                    <a:pt x="29" y="38"/>
                    <a:pt x="30" y="37"/>
                  </a:cubicBezTo>
                  <a:cubicBezTo>
                    <a:pt x="30" y="37"/>
                    <a:pt x="30" y="37"/>
                    <a:pt x="30" y="37"/>
                  </a:cubicBezTo>
                  <a:cubicBezTo>
                    <a:pt x="30" y="37"/>
                    <a:pt x="30" y="36"/>
                    <a:pt x="30" y="36"/>
                  </a:cubicBezTo>
                  <a:cubicBezTo>
                    <a:pt x="30" y="35"/>
                    <a:pt x="30" y="35"/>
                    <a:pt x="30" y="35"/>
                  </a:cubicBezTo>
                  <a:cubicBezTo>
                    <a:pt x="30" y="34"/>
                    <a:pt x="30" y="33"/>
                    <a:pt x="30" y="33"/>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Freeform 193">
              <a:extLst>
                <a:ext uri="{FF2B5EF4-FFF2-40B4-BE49-F238E27FC236}">
                  <a16:creationId xmlns:a16="http://schemas.microsoft.com/office/drawing/2014/main" id="{4376CDC7-CC10-4BE6-9E25-9570EB945330}"/>
                </a:ext>
              </a:extLst>
            </p:cNvPr>
            <p:cNvSpPr>
              <a:spLocks/>
            </p:cNvSpPr>
            <p:nvPr/>
          </p:nvSpPr>
          <p:spPr bwMode="auto">
            <a:xfrm>
              <a:off x="3960550" y="6155379"/>
              <a:ext cx="82247" cy="139963"/>
            </a:xfrm>
            <a:custGeom>
              <a:avLst/>
              <a:gdLst>
                <a:gd name="T0" fmla="*/ 24 w 24"/>
                <a:gd name="T1" fmla="*/ 36 h 41"/>
                <a:gd name="T2" fmla="*/ 24 w 24"/>
                <a:gd name="T3" fmla="*/ 35 h 41"/>
                <a:gd name="T4" fmla="*/ 23 w 24"/>
                <a:gd name="T5" fmla="*/ 34 h 41"/>
                <a:gd name="T6" fmla="*/ 23 w 24"/>
                <a:gd name="T7" fmla="*/ 34 h 41"/>
                <a:gd name="T8" fmla="*/ 8 w 24"/>
                <a:gd name="T9" fmla="*/ 34 h 41"/>
                <a:gd name="T10" fmla="*/ 8 w 24"/>
                <a:gd name="T11" fmla="*/ 23 h 41"/>
                <a:gd name="T12" fmla="*/ 20 w 24"/>
                <a:gd name="T13" fmla="*/ 23 h 41"/>
                <a:gd name="T14" fmla="*/ 21 w 24"/>
                <a:gd name="T15" fmla="*/ 23 h 41"/>
                <a:gd name="T16" fmla="*/ 21 w 24"/>
                <a:gd name="T17" fmla="*/ 22 h 41"/>
                <a:gd name="T18" fmla="*/ 21 w 24"/>
                <a:gd name="T19" fmla="*/ 21 h 41"/>
                <a:gd name="T20" fmla="*/ 22 w 24"/>
                <a:gd name="T21" fmla="*/ 20 h 41"/>
                <a:gd name="T22" fmla="*/ 21 w 24"/>
                <a:gd name="T23" fmla="*/ 18 h 41"/>
                <a:gd name="T24" fmla="*/ 21 w 24"/>
                <a:gd name="T25" fmla="*/ 17 h 41"/>
                <a:gd name="T26" fmla="*/ 21 w 24"/>
                <a:gd name="T27" fmla="*/ 17 h 41"/>
                <a:gd name="T28" fmla="*/ 20 w 24"/>
                <a:gd name="T29" fmla="*/ 17 h 41"/>
                <a:gd name="T30" fmla="*/ 8 w 24"/>
                <a:gd name="T31" fmla="*/ 17 h 41"/>
                <a:gd name="T32" fmla="*/ 8 w 24"/>
                <a:gd name="T33" fmla="*/ 7 h 41"/>
                <a:gd name="T34" fmla="*/ 23 w 24"/>
                <a:gd name="T35" fmla="*/ 7 h 41"/>
                <a:gd name="T36" fmla="*/ 23 w 24"/>
                <a:gd name="T37" fmla="*/ 6 h 41"/>
                <a:gd name="T38" fmla="*/ 23 w 24"/>
                <a:gd name="T39" fmla="*/ 6 h 41"/>
                <a:gd name="T40" fmla="*/ 24 w 24"/>
                <a:gd name="T41" fmla="*/ 5 h 41"/>
                <a:gd name="T42" fmla="*/ 24 w 24"/>
                <a:gd name="T43" fmla="*/ 3 h 41"/>
                <a:gd name="T44" fmla="*/ 24 w 24"/>
                <a:gd name="T45" fmla="*/ 2 h 41"/>
                <a:gd name="T46" fmla="*/ 23 w 24"/>
                <a:gd name="T47" fmla="*/ 1 h 41"/>
                <a:gd name="T48" fmla="*/ 23 w 24"/>
                <a:gd name="T49" fmla="*/ 0 h 41"/>
                <a:gd name="T50" fmla="*/ 23 w 24"/>
                <a:gd name="T51" fmla="*/ 0 h 41"/>
                <a:gd name="T52" fmla="*/ 2 w 24"/>
                <a:gd name="T53" fmla="*/ 0 h 41"/>
                <a:gd name="T54" fmla="*/ 1 w 24"/>
                <a:gd name="T55" fmla="*/ 1 h 41"/>
                <a:gd name="T56" fmla="*/ 0 w 24"/>
                <a:gd name="T57" fmla="*/ 3 h 41"/>
                <a:gd name="T58" fmla="*/ 0 w 24"/>
                <a:gd name="T59" fmla="*/ 38 h 41"/>
                <a:gd name="T60" fmla="*/ 1 w 24"/>
                <a:gd name="T61" fmla="*/ 40 h 41"/>
                <a:gd name="T62" fmla="*/ 2 w 24"/>
                <a:gd name="T63" fmla="*/ 41 h 41"/>
                <a:gd name="T64" fmla="*/ 23 w 24"/>
                <a:gd name="T65" fmla="*/ 41 h 41"/>
                <a:gd name="T66" fmla="*/ 23 w 24"/>
                <a:gd name="T67" fmla="*/ 40 h 41"/>
                <a:gd name="T68" fmla="*/ 24 w 24"/>
                <a:gd name="T69" fmla="*/ 40 h 41"/>
                <a:gd name="T70" fmla="*/ 24 w 24"/>
                <a:gd name="T71" fmla="*/ 39 h 41"/>
                <a:gd name="T72" fmla="*/ 24 w 24"/>
                <a:gd name="T73" fmla="*/ 37 h 41"/>
                <a:gd name="T74" fmla="*/ 24 w 24"/>
                <a:gd name="T75"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41">
                  <a:moveTo>
                    <a:pt x="24" y="36"/>
                  </a:moveTo>
                  <a:cubicBezTo>
                    <a:pt x="24" y="35"/>
                    <a:pt x="24" y="35"/>
                    <a:pt x="24" y="35"/>
                  </a:cubicBezTo>
                  <a:cubicBezTo>
                    <a:pt x="23" y="35"/>
                    <a:pt x="23" y="34"/>
                    <a:pt x="23" y="34"/>
                  </a:cubicBezTo>
                  <a:cubicBezTo>
                    <a:pt x="23" y="34"/>
                    <a:pt x="23" y="34"/>
                    <a:pt x="23" y="34"/>
                  </a:cubicBezTo>
                  <a:cubicBezTo>
                    <a:pt x="8" y="34"/>
                    <a:pt x="8" y="34"/>
                    <a:pt x="8" y="34"/>
                  </a:cubicBezTo>
                  <a:cubicBezTo>
                    <a:pt x="8" y="23"/>
                    <a:pt x="8" y="23"/>
                    <a:pt x="8" y="23"/>
                  </a:cubicBezTo>
                  <a:cubicBezTo>
                    <a:pt x="20" y="23"/>
                    <a:pt x="20" y="23"/>
                    <a:pt x="20" y="23"/>
                  </a:cubicBezTo>
                  <a:cubicBezTo>
                    <a:pt x="21" y="23"/>
                    <a:pt x="21" y="23"/>
                    <a:pt x="21" y="23"/>
                  </a:cubicBezTo>
                  <a:cubicBezTo>
                    <a:pt x="21" y="23"/>
                    <a:pt x="21" y="22"/>
                    <a:pt x="21" y="22"/>
                  </a:cubicBezTo>
                  <a:cubicBezTo>
                    <a:pt x="21" y="22"/>
                    <a:pt x="21" y="22"/>
                    <a:pt x="21" y="21"/>
                  </a:cubicBezTo>
                  <a:cubicBezTo>
                    <a:pt x="22" y="21"/>
                    <a:pt x="22" y="20"/>
                    <a:pt x="22" y="20"/>
                  </a:cubicBezTo>
                  <a:cubicBezTo>
                    <a:pt x="22" y="19"/>
                    <a:pt x="22" y="19"/>
                    <a:pt x="21" y="18"/>
                  </a:cubicBezTo>
                  <a:cubicBezTo>
                    <a:pt x="21" y="18"/>
                    <a:pt x="21" y="17"/>
                    <a:pt x="21" y="17"/>
                  </a:cubicBezTo>
                  <a:cubicBezTo>
                    <a:pt x="21" y="17"/>
                    <a:pt x="21" y="17"/>
                    <a:pt x="21" y="17"/>
                  </a:cubicBezTo>
                  <a:cubicBezTo>
                    <a:pt x="21" y="17"/>
                    <a:pt x="21" y="17"/>
                    <a:pt x="20" y="17"/>
                  </a:cubicBezTo>
                  <a:cubicBezTo>
                    <a:pt x="8" y="17"/>
                    <a:pt x="8" y="17"/>
                    <a:pt x="8" y="17"/>
                  </a:cubicBezTo>
                  <a:cubicBezTo>
                    <a:pt x="8" y="7"/>
                    <a:pt x="8" y="7"/>
                    <a:pt x="8" y="7"/>
                  </a:cubicBezTo>
                  <a:cubicBezTo>
                    <a:pt x="23" y="7"/>
                    <a:pt x="23" y="7"/>
                    <a:pt x="23" y="7"/>
                  </a:cubicBezTo>
                  <a:cubicBezTo>
                    <a:pt x="23" y="7"/>
                    <a:pt x="23" y="7"/>
                    <a:pt x="23" y="6"/>
                  </a:cubicBezTo>
                  <a:cubicBezTo>
                    <a:pt x="23" y="6"/>
                    <a:pt x="23" y="6"/>
                    <a:pt x="23" y="6"/>
                  </a:cubicBezTo>
                  <a:cubicBezTo>
                    <a:pt x="24" y="6"/>
                    <a:pt x="24" y="5"/>
                    <a:pt x="24" y="5"/>
                  </a:cubicBezTo>
                  <a:cubicBezTo>
                    <a:pt x="24" y="5"/>
                    <a:pt x="24" y="4"/>
                    <a:pt x="24" y="3"/>
                  </a:cubicBezTo>
                  <a:cubicBezTo>
                    <a:pt x="24" y="3"/>
                    <a:pt x="24" y="2"/>
                    <a:pt x="24" y="2"/>
                  </a:cubicBezTo>
                  <a:cubicBezTo>
                    <a:pt x="24" y="1"/>
                    <a:pt x="24" y="1"/>
                    <a:pt x="23" y="1"/>
                  </a:cubicBezTo>
                  <a:cubicBezTo>
                    <a:pt x="23" y="1"/>
                    <a:pt x="23" y="0"/>
                    <a:pt x="23" y="0"/>
                  </a:cubicBezTo>
                  <a:cubicBezTo>
                    <a:pt x="23" y="0"/>
                    <a:pt x="23" y="0"/>
                    <a:pt x="23" y="0"/>
                  </a:cubicBezTo>
                  <a:cubicBezTo>
                    <a:pt x="2" y="0"/>
                    <a:pt x="2" y="0"/>
                    <a:pt x="2" y="0"/>
                  </a:cubicBezTo>
                  <a:cubicBezTo>
                    <a:pt x="2" y="0"/>
                    <a:pt x="1" y="0"/>
                    <a:pt x="1" y="1"/>
                  </a:cubicBezTo>
                  <a:cubicBezTo>
                    <a:pt x="0" y="1"/>
                    <a:pt x="0" y="2"/>
                    <a:pt x="0" y="3"/>
                  </a:cubicBezTo>
                  <a:cubicBezTo>
                    <a:pt x="0" y="38"/>
                    <a:pt x="0" y="38"/>
                    <a:pt x="0" y="38"/>
                  </a:cubicBezTo>
                  <a:cubicBezTo>
                    <a:pt x="0" y="39"/>
                    <a:pt x="0" y="40"/>
                    <a:pt x="1" y="40"/>
                  </a:cubicBezTo>
                  <a:cubicBezTo>
                    <a:pt x="1" y="40"/>
                    <a:pt x="2" y="41"/>
                    <a:pt x="2" y="41"/>
                  </a:cubicBezTo>
                  <a:cubicBezTo>
                    <a:pt x="23" y="41"/>
                    <a:pt x="23" y="41"/>
                    <a:pt x="23" y="41"/>
                  </a:cubicBezTo>
                  <a:cubicBezTo>
                    <a:pt x="23" y="41"/>
                    <a:pt x="23" y="41"/>
                    <a:pt x="23" y="40"/>
                  </a:cubicBezTo>
                  <a:cubicBezTo>
                    <a:pt x="23" y="40"/>
                    <a:pt x="23" y="40"/>
                    <a:pt x="24" y="40"/>
                  </a:cubicBezTo>
                  <a:cubicBezTo>
                    <a:pt x="24" y="40"/>
                    <a:pt x="24" y="39"/>
                    <a:pt x="24" y="39"/>
                  </a:cubicBezTo>
                  <a:cubicBezTo>
                    <a:pt x="24" y="39"/>
                    <a:pt x="24" y="38"/>
                    <a:pt x="24" y="37"/>
                  </a:cubicBezTo>
                  <a:cubicBezTo>
                    <a:pt x="24" y="37"/>
                    <a:pt x="24" y="36"/>
                    <a:pt x="24" y="36"/>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Freeform 194">
              <a:extLst>
                <a:ext uri="{FF2B5EF4-FFF2-40B4-BE49-F238E27FC236}">
                  <a16:creationId xmlns:a16="http://schemas.microsoft.com/office/drawing/2014/main" id="{9A314AFC-6012-4C21-8D3F-92D97863892A}"/>
                </a:ext>
              </a:extLst>
            </p:cNvPr>
            <p:cNvSpPr>
              <a:spLocks/>
            </p:cNvSpPr>
            <p:nvPr/>
          </p:nvSpPr>
          <p:spPr bwMode="auto">
            <a:xfrm>
              <a:off x="4057225" y="6151051"/>
              <a:ext cx="92346" cy="144291"/>
            </a:xfrm>
            <a:custGeom>
              <a:avLst/>
              <a:gdLst>
                <a:gd name="T0" fmla="*/ 26 w 27"/>
                <a:gd name="T1" fmla="*/ 25 h 42"/>
                <a:gd name="T2" fmla="*/ 24 w 27"/>
                <a:gd name="T3" fmla="*/ 22 h 42"/>
                <a:gd name="T4" fmla="*/ 21 w 27"/>
                <a:gd name="T5" fmla="*/ 20 h 42"/>
                <a:gd name="T6" fmla="*/ 18 w 27"/>
                <a:gd name="T7" fmla="*/ 18 h 42"/>
                <a:gd name="T8" fmla="*/ 15 w 27"/>
                <a:gd name="T9" fmla="*/ 17 h 42"/>
                <a:gd name="T10" fmla="*/ 12 w 27"/>
                <a:gd name="T11" fmla="*/ 15 h 42"/>
                <a:gd name="T12" fmla="*/ 10 w 27"/>
                <a:gd name="T13" fmla="*/ 14 h 42"/>
                <a:gd name="T14" fmla="*/ 9 w 27"/>
                <a:gd name="T15" fmla="*/ 11 h 42"/>
                <a:gd name="T16" fmla="*/ 9 w 27"/>
                <a:gd name="T17" fmla="*/ 10 h 42"/>
                <a:gd name="T18" fmla="*/ 10 w 27"/>
                <a:gd name="T19" fmla="*/ 8 h 42"/>
                <a:gd name="T20" fmla="*/ 12 w 27"/>
                <a:gd name="T21" fmla="*/ 7 h 42"/>
                <a:gd name="T22" fmla="*/ 14 w 27"/>
                <a:gd name="T23" fmla="*/ 7 h 42"/>
                <a:gd name="T24" fmla="*/ 18 w 27"/>
                <a:gd name="T25" fmla="*/ 7 h 42"/>
                <a:gd name="T26" fmla="*/ 20 w 27"/>
                <a:gd name="T27" fmla="*/ 8 h 42"/>
                <a:gd name="T28" fmla="*/ 22 w 27"/>
                <a:gd name="T29" fmla="*/ 9 h 42"/>
                <a:gd name="T30" fmla="*/ 23 w 27"/>
                <a:gd name="T31" fmla="*/ 10 h 42"/>
                <a:gd name="T32" fmla="*/ 24 w 27"/>
                <a:gd name="T33" fmla="*/ 9 h 42"/>
                <a:gd name="T34" fmla="*/ 24 w 27"/>
                <a:gd name="T35" fmla="*/ 9 h 42"/>
                <a:gd name="T36" fmla="*/ 24 w 27"/>
                <a:gd name="T37" fmla="*/ 8 h 42"/>
                <a:gd name="T38" fmla="*/ 24 w 27"/>
                <a:gd name="T39" fmla="*/ 6 h 42"/>
                <a:gd name="T40" fmla="*/ 24 w 27"/>
                <a:gd name="T41" fmla="*/ 5 h 42"/>
                <a:gd name="T42" fmla="*/ 24 w 27"/>
                <a:gd name="T43" fmla="*/ 4 h 42"/>
                <a:gd name="T44" fmla="*/ 24 w 27"/>
                <a:gd name="T45" fmla="*/ 3 h 42"/>
                <a:gd name="T46" fmla="*/ 23 w 27"/>
                <a:gd name="T47" fmla="*/ 3 h 42"/>
                <a:gd name="T48" fmla="*/ 22 w 27"/>
                <a:gd name="T49" fmla="*/ 2 h 42"/>
                <a:gd name="T50" fmla="*/ 20 w 27"/>
                <a:gd name="T51" fmla="*/ 1 h 42"/>
                <a:gd name="T52" fmla="*/ 17 w 27"/>
                <a:gd name="T53" fmla="*/ 1 h 42"/>
                <a:gd name="T54" fmla="*/ 14 w 27"/>
                <a:gd name="T55" fmla="*/ 0 h 42"/>
                <a:gd name="T56" fmla="*/ 9 w 27"/>
                <a:gd name="T57" fmla="*/ 1 h 42"/>
                <a:gd name="T58" fmla="*/ 5 w 27"/>
                <a:gd name="T59" fmla="*/ 3 h 42"/>
                <a:gd name="T60" fmla="*/ 2 w 27"/>
                <a:gd name="T61" fmla="*/ 7 h 42"/>
                <a:gd name="T62" fmla="*/ 1 w 27"/>
                <a:gd name="T63" fmla="*/ 12 h 42"/>
                <a:gd name="T64" fmla="*/ 2 w 27"/>
                <a:gd name="T65" fmla="*/ 16 h 42"/>
                <a:gd name="T66" fmla="*/ 4 w 27"/>
                <a:gd name="T67" fmla="*/ 20 h 42"/>
                <a:gd name="T68" fmla="*/ 6 w 27"/>
                <a:gd name="T69" fmla="*/ 22 h 42"/>
                <a:gd name="T70" fmla="*/ 9 w 27"/>
                <a:gd name="T71" fmla="*/ 24 h 42"/>
                <a:gd name="T72" fmla="*/ 13 w 27"/>
                <a:gd name="T73" fmla="*/ 25 h 42"/>
                <a:gd name="T74" fmla="*/ 15 w 27"/>
                <a:gd name="T75" fmla="*/ 26 h 42"/>
                <a:gd name="T76" fmla="*/ 17 w 27"/>
                <a:gd name="T77" fmla="*/ 28 h 42"/>
                <a:gd name="T78" fmla="*/ 18 w 27"/>
                <a:gd name="T79" fmla="*/ 31 h 42"/>
                <a:gd name="T80" fmla="*/ 18 w 27"/>
                <a:gd name="T81" fmla="*/ 33 h 42"/>
                <a:gd name="T82" fmla="*/ 16 w 27"/>
                <a:gd name="T83" fmla="*/ 34 h 42"/>
                <a:gd name="T84" fmla="*/ 14 w 27"/>
                <a:gd name="T85" fmla="*/ 35 h 42"/>
                <a:gd name="T86" fmla="*/ 12 w 27"/>
                <a:gd name="T87" fmla="*/ 36 h 42"/>
                <a:gd name="T88" fmla="*/ 8 w 27"/>
                <a:gd name="T89" fmla="*/ 35 h 42"/>
                <a:gd name="T90" fmla="*/ 5 w 27"/>
                <a:gd name="T91" fmla="*/ 34 h 42"/>
                <a:gd name="T92" fmla="*/ 3 w 27"/>
                <a:gd name="T93" fmla="*/ 33 h 42"/>
                <a:gd name="T94" fmla="*/ 1 w 27"/>
                <a:gd name="T95" fmla="*/ 32 h 42"/>
                <a:gd name="T96" fmla="*/ 1 w 27"/>
                <a:gd name="T97" fmla="*/ 33 h 42"/>
                <a:gd name="T98" fmla="*/ 0 w 27"/>
                <a:gd name="T99" fmla="*/ 33 h 42"/>
                <a:gd name="T100" fmla="*/ 0 w 27"/>
                <a:gd name="T101" fmla="*/ 34 h 42"/>
                <a:gd name="T102" fmla="*/ 0 w 27"/>
                <a:gd name="T103" fmla="*/ 36 h 42"/>
                <a:gd name="T104" fmla="*/ 0 w 27"/>
                <a:gd name="T105" fmla="*/ 38 h 42"/>
                <a:gd name="T106" fmla="*/ 1 w 27"/>
                <a:gd name="T107" fmla="*/ 39 h 42"/>
                <a:gd name="T108" fmla="*/ 2 w 27"/>
                <a:gd name="T109" fmla="*/ 40 h 42"/>
                <a:gd name="T110" fmla="*/ 4 w 27"/>
                <a:gd name="T111" fmla="*/ 41 h 42"/>
                <a:gd name="T112" fmla="*/ 8 w 27"/>
                <a:gd name="T113" fmla="*/ 42 h 42"/>
                <a:gd name="T114" fmla="*/ 12 w 27"/>
                <a:gd name="T115" fmla="*/ 42 h 42"/>
                <a:gd name="T116" fmla="*/ 17 w 27"/>
                <a:gd name="T117" fmla="*/ 42 h 42"/>
                <a:gd name="T118" fmla="*/ 22 w 27"/>
                <a:gd name="T119" fmla="*/ 39 h 42"/>
                <a:gd name="T120" fmla="*/ 25 w 27"/>
                <a:gd name="T121" fmla="*/ 35 h 42"/>
                <a:gd name="T122" fmla="*/ 27 w 27"/>
                <a:gd name="T123" fmla="*/ 30 h 42"/>
                <a:gd name="T124" fmla="*/ 26 w 27"/>
                <a:gd name="T125"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 h="42">
                  <a:moveTo>
                    <a:pt x="26" y="25"/>
                  </a:moveTo>
                  <a:cubicBezTo>
                    <a:pt x="25" y="24"/>
                    <a:pt x="25" y="23"/>
                    <a:pt x="24" y="22"/>
                  </a:cubicBezTo>
                  <a:cubicBezTo>
                    <a:pt x="23" y="21"/>
                    <a:pt x="22" y="21"/>
                    <a:pt x="21" y="20"/>
                  </a:cubicBezTo>
                  <a:cubicBezTo>
                    <a:pt x="20" y="19"/>
                    <a:pt x="19" y="19"/>
                    <a:pt x="18" y="18"/>
                  </a:cubicBezTo>
                  <a:cubicBezTo>
                    <a:pt x="17" y="18"/>
                    <a:pt x="16" y="17"/>
                    <a:pt x="15" y="17"/>
                  </a:cubicBezTo>
                  <a:cubicBezTo>
                    <a:pt x="14" y="16"/>
                    <a:pt x="13" y="16"/>
                    <a:pt x="12" y="15"/>
                  </a:cubicBezTo>
                  <a:cubicBezTo>
                    <a:pt x="11" y="15"/>
                    <a:pt x="10" y="14"/>
                    <a:pt x="10" y="14"/>
                  </a:cubicBezTo>
                  <a:cubicBezTo>
                    <a:pt x="9" y="13"/>
                    <a:pt x="9" y="12"/>
                    <a:pt x="9" y="11"/>
                  </a:cubicBezTo>
                  <a:cubicBezTo>
                    <a:pt x="9" y="11"/>
                    <a:pt x="9" y="10"/>
                    <a:pt x="9" y="10"/>
                  </a:cubicBezTo>
                  <a:cubicBezTo>
                    <a:pt x="10" y="9"/>
                    <a:pt x="10" y="9"/>
                    <a:pt x="10" y="8"/>
                  </a:cubicBezTo>
                  <a:cubicBezTo>
                    <a:pt x="11" y="8"/>
                    <a:pt x="11" y="7"/>
                    <a:pt x="12" y="7"/>
                  </a:cubicBezTo>
                  <a:cubicBezTo>
                    <a:pt x="13" y="7"/>
                    <a:pt x="14" y="7"/>
                    <a:pt x="14" y="7"/>
                  </a:cubicBezTo>
                  <a:cubicBezTo>
                    <a:pt x="16" y="7"/>
                    <a:pt x="17" y="7"/>
                    <a:pt x="18" y="7"/>
                  </a:cubicBezTo>
                  <a:cubicBezTo>
                    <a:pt x="19" y="8"/>
                    <a:pt x="19" y="8"/>
                    <a:pt x="20" y="8"/>
                  </a:cubicBezTo>
                  <a:cubicBezTo>
                    <a:pt x="21" y="9"/>
                    <a:pt x="22" y="9"/>
                    <a:pt x="22" y="9"/>
                  </a:cubicBezTo>
                  <a:cubicBezTo>
                    <a:pt x="23" y="9"/>
                    <a:pt x="23" y="10"/>
                    <a:pt x="23" y="10"/>
                  </a:cubicBezTo>
                  <a:cubicBezTo>
                    <a:pt x="23" y="10"/>
                    <a:pt x="24" y="10"/>
                    <a:pt x="24" y="9"/>
                  </a:cubicBezTo>
                  <a:cubicBezTo>
                    <a:pt x="24" y="9"/>
                    <a:pt x="24" y="9"/>
                    <a:pt x="24" y="9"/>
                  </a:cubicBezTo>
                  <a:cubicBezTo>
                    <a:pt x="24" y="9"/>
                    <a:pt x="24" y="8"/>
                    <a:pt x="24" y="8"/>
                  </a:cubicBezTo>
                  <a:cubicBezTo>
                    <a:pt x="24" y="7"/>
                    <a:pt x="24" y="7"/>
                    <a:pt x="24" y="6"/>
                  </a:cubicBezTo>
                  <a:cubicBezTo>
                    <a:pt x="24" y="6"/>
                    <a:pt x="24" y="5"/>
                    <a:pt x="24" y="5"/>
                  </a:cubicBezTo>
                  <a:cubicBezTo>
                    <a:pt x="24" y="5"/>
                    <a:pt x="24" y="4"/>
                    <a:pt x="24" y="4"/>
                  </a:cubicBezTo>
                  <a:cubicBezTo>
                    <a:pt x="24" y="4"/>
                    <a:pt x="24" y="4"/>
                    <a:pt x="24" y="3"/>
                  </a:cubicBezTo>
                  <a:cubicBezTo>
                    <a:pt x="24" y="3"/>
                    <a:pt x="24" y="3"/>
                    <a:pt x="23" y="3"/>
                  </a:cubicBezTo>
                  <a:cubicBezTo>
                    <a:pt x="23" y="3"/>
                    <a:pt x="23" y="2"/>
                    <a:pt x="22" y="2"/>
                  </a:cubicBezTo>
                  <a:cubicBezTo>
                    <a:pt x="21" y="2"/>
                    <a:pt x="21" y="2"/>
                    <a:pt x="20" y="1"/>
                  </a:cubicBezTo>
                  <a:cubicBezTo>
                    <a:pt x="19" y="1"/>
                    <a:pt x="18" y="1"/>
                    <a:pt x="17" y="1"/>
                  </a:cubicBezTo>
                  <a:cubicBezTo>
                    <a:pt x="16" y="1"/>
                    <a:pt x="15" y="0"/>
                    <a:pt x="14" y="0"/>
                  </a:cubicBezTo>
                  <a:cubicBezTo>
                    <a:pt x="13" y="0"/>
                    <a:pt x="11" y="1"/>
                    <a:pt x="9" y="1"/>
                  </a:cubicBezTo>
                  <a:cubicBezTo>
                    <a:pt x="7" y="2"/>
                    <a:pt x="6" y="2"/>
                    <a:pt x="5" y="3"/>
                  </a:cubicBezTo>
                  <a:cubicBezTo>
                    <a:pt x="4" y="4"/>
                    <a:pt x="3" y="6"/>
                    <a:pt x="2" y="7"/>
                  </a:cubicBezTo>
                  <a:cubicBezTo>
                    <a:pt x="1" y="8"/>
                    <a:pt x="1" y="10"/>
                    <a:pt x="1" y="12"/>
                  </a:cubicBezTo>
                  <a:cubicBezTo>
                    <a:pt x="1" y="14"/>
                    <a:pt x="1" y="15"/>
                    <a:pt x="2" y="16"/>
                  </a:cubicBezTo>
                  <a:cubicBezTo>
                    <a:pt x="2" y="18"/>
                    <a:pt x="3" y="19"/>
                    <a:pt x="4" y="20"/>
                  </a:cubicBezTo>
                  <a:cubicBezTo>
                    <a:pt x="4" y="21"/>
                    <a:pt x="5" y="21"/>
                    <a:pt x="6" y="22"/>
                  </a:cubicBezTo>
                  <a:cubicBezTo>
                    <a:pt x="7" y="23"/>
                    <a:pt x="8" y="23"/>
                    <a:pt x="9" y="24"/>
                  </a:cubicBezTo>
                  <a:cubicBezTo>
                    <a:pt x="10" y="24"/>
                    <a:pt x="12" y="25"/>
                    <a:pt x="13" y="25"/>
                  </a:cubicBezTo>
                  <a:cubicBezTo>
                    <a:pt x="14" y="25"/>
                    <a:pt x="14" y="26"/>
                    <a:pt x="15" y="26"/>
                  </a:cubicBezTo>
                  <a:cubicBezTo>
                    <a:pt x="16" y="27"/>
                    <a:pt x="17" y="28"/>
                    <a:pt x="17" y="28"/>
                  </a:cubicBezTo>
                  <a:cubicBezTo>
                    <a:pt x="18" y="29"/>
                    <a:pt x="18" y="30"/>
                    <a:pt x="18" y="31"/>
                  </a:cubicBezTo>
                  <a:cubicBezTo>
                    <a:pt x="18" y="31"/>
                    <a:pt x="18" y="32"/>
                    <a:pt x="18" y="33"/>
                  </a:cubicBezTo>
                  <a:cubicBezTo>
                    <a:pt x="17" y="33"/>
                    <a:pt x="17" y="34"/>
                    <a:pt x="16" y="34"/>
                  </a:cubicBezTo>
                  <a:cubicBezTo>
                    <a:pt x="16" y="35"/>
                    <a:pt x="15" y="35"/>
                    <a:pt x="14" y="35"/>
                  </a:cubicBezTo>
                  <a:cubicBezTo>
                    <a:pt x="13" y="36"/>
                    <a:pt x="13" y="36"/>
                    <a:pt x="12" y="36"/>
                  </a:cubicBezTo>
                  <a:cubicBezTo>
                    <a:pt x="10" y="36"/>
                    <a:pt x="9" y="36"/>
                    <a:pt x="8" y="35"/>
                  </a:cubicBezTo>
                  <a:cubicBezTo>
                    <a:pt x="6" y="35"/>
                    <a:pt x="5" y="34"/>
                    <a:pt x="5" y="34"/>
                  </a:cubicBezTo>
                  <a:cubicBezTo>
                    <a:pt x="4" y="34"/>
                    <a:pt x="3" y="33"/>
                    <a:pt x="3" y="33"/>
                  </a:cubicBezTo>
                  <a:cubicBezTo>
                    <a:pt x="2" y="33"/>
                    <a:pt x="2" y="32"/>
                    <a:pt x="1" y="32"/>
                  </a:cubicBezTo>
                  <a:cubicBezTo>
                    <a:pt x="1" y="32"/>
                    <a:pt x="1" y="32"/>
                    <a:pt x="1" y="33"/>
                  </a:cubicBezTo>
                  <a:cubicBezTo>
                    <a:pt x="1" y="33"/>
                    <a:pt x="0" y="33"/>
                    <a:pt x="0" y="33"/>
                  </a:cubicBezTo>
                  <a:cubicBezTo>
                    <a:pt x="0" y="33"/>
                    <a:pt x="0" y="34"/>
                    <a:pt x="0" y="34"/>
                  </a:cubicBezTo>
                  <a:cubicBezTo>
                    <a:pt x="0" y="35"/>
                    <a:pt x="0" y="35"/>
                    <a:pt x="0" y="36"/>
                  </a:cubicBezTo>
                  <a:cubicBezTo>
                    <a:pt x="0" y="37"/>
                    <a:pt x="0" y="38"/>
                    <a:pt x="0" y="38"/>
                  </a:cubicBezTo>
                  <a:cubicBezTo>
                    <a:pt x="0" y="39"/>
                    <a:pt x="1" y="39"/>
                    <a:pt x="1" y="39"/>
                  </a:cubicBezTo>
                  <a:cubicBezTo>
                    <a:pt x="1" y="39"/>
                    <a:pt x="2" y="40"/>
                    <a:pt x="2" y="40"/>
                  </a:cubicBezTo>
                  <a:cubicBezTo>
                    <a:pt x="3" y="41"/>
                    <a:pt x="4" y="41"/>
                    <a:pt x="4" y="41"/>
                  </a:cubicBezTo>
                  <a:cubicBezTo>
                    <a:pt x="5" y="42"/>
                    <a:pt x="6" y="42"/>
                    <a:pt x="8" y="42"/>
                  </a:cubicBezTo>
                  <a:cubicBezTo>
                    <a:pt x="9" y="42"/>
                    <a:pt x="10" y="42"/>
                    <a:pt x="12" y="42"/>
                  </a:cubicBezTo>
                  <a:cubicBezTo>
                    <a:pt x="14" y="42"/>
                    <a:pt x="16" y="42"/>
                    <a:pt x="17" y="42"/>
                  </a:cubicBezTo>
                  <a:cubicBezTo>
                    <a:pt x="19" y="41"/>
                    <a:pt x="21" y="40"/>
                    <a:pt x="22" y="39"/>
                  </a:cubicBezTo>
                  <a:cubicBezTo>
                    <a:pt x="23" y="38"/>
                    <a:pt x="25" y="37"/>
                    <a:pt x="25" y="35"/>
                  </a:cubicBezTo>
                  <a:cubicBezTo>
                    <a:pt x="26" y="33"/>
                    <a:pt x="27" y="32"/>
                    <a:pt x="27" y="30"/>
                  </a:cubicBezTo>
                  <a:cubicBezTo>
                    <a:pt x="27" y="28"/>
                    <a:pt x="26" y="26"/>
                    <a:pt x="26" y="25"/>
                  </a:cubicBezTo>
                  <a:close/>
                </a:path>
              </a:pathLst>
            </a:custGeom>
            <a:solidFill>
              <a:srgbClr val="00B6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Freeform 195">
              <a:extLst>
                <a:ext uri="{FF2B5EF4-FFF2-40B4-BE49-F238E27FC236}">
                  <a16:creationId xmlns:a16="http://schemas.microsoft.com/office/drawing/2014/main" id="{F0597850-601E-4FD7-ADC9-F1E1BD98E943}"/>
                </a:ext>
              </a:extLst>
            </p:cNvPr>
            <p:cNvSpPr>
              <a:spLocks noEditPoints="1"/>
            </p:cNvSpPr>
            <p:nvPr/>
          </p:nvSpPr>
          <p:spPr bwMode="auto">
            <a:xfrm>
              <a:off x="3443987" y="4573945"/>
              <a:ext cx="102447" cy="137077"/>
            </a:xfrm>
            <a:custGeom>
              <a:avLst/>
              <a:gdLst>
                <a:gd name="T0" fmla="*/ 29 w 30"/>
                <a:gd name="T1" fmla="*/ 24 h 40"/>
                <a:gd name="T2" fmla="*/ 27 w 30"/>
                <a:gd name="T3" fmla="*/ 21 h 40"/>
                <a:gd name="T4" fmla="*/ 25 w 30"/>
                <a:gd name="T5" fmla="*/ 19 h 40"/>
                <a:gd name="T6" fmla="*/ 22 w 30"/>
                <a:gd name="T7" fmla="*/ 18 h 40"/>
                <a:gd name="T8" fmla="*/ 24 w 30"/>
                <a:gd name="T9" fmla="*/ 17 h 40"/>
                <a:gd name="T10" fmla="*/ 26 w 30"/>
                <a:gd name="T11" fmla="*/ 15 h 40"/>
                <a:gd name="T12" fmla="*/ 27 w 30"/>
                <a:gd name="T13" fmla="*/ 13 h 40"/>
                <a:gd name="T14" fmla="*/ 27 w 30"/>
                <a:gd name="T15" fmla="*/ 10 h 40"/>
                <a:gd name="T16" fmla="*/ 26 w 30"/>
                <a:gd name="T17" fmla="*/ 5 h 40"/>
                <a:gd name="T18" fmla="*/ 24 w 30"/>
                <a:gd name="T19" fmla="*/ 2 h 40"/>
                <a:gd name="T20" fmla="*/ 19 w 30"/>
                <a:gd name="T21" fmla="*/ 0 h 40"/>
                <a:gd name="T22" fmla="*/ 13 w 30"/>
                <a:gd name="T23" fmla="*/ 0 h 40"/>
                <a:gd name="T24" fmla="*/ 3 w 30"/>
                <a:gd name="T25" fmla="*/ 0 h 40"/>
                <a:gd name="T26" fmla="*/ 1 w 30"/>
                <a:gd name="T27" fmla="*/ 0 h 40"/>
                <a:gd name="T28" fmla="*/ 0 w 30"/>
                <a:gd name="T29" fmla="*/ 2 h 40"/>
                <a:gd name="T30" fmla="*/ 0 w 30"/>
                <a:gd name="T31" fmla="*/ 37 h 40"/>
                <a:gd name="T32" fmla="*/ 1 w 30"/>
                <a:gd name="T33" fmla="*/ 39 h 40"/>
                <a:gd name="T34" fmla="*/ 3 w 30"/>
                <a:gd name="T35" fmla="*/ 40 h 40"/>
                <a:gd name="T36" fmla="*/ 14 w 30"/>
                <a:gd name="T37" fmla="*/ 40 h 40"/>
                <a:gd name="T38" fmla="*/ 18 w 30"/>
                <a:gd name="T39" fmla="*/ 40 h 40"/>
                <a:gd name="T40" fmla="*/ 22 w 30"/>
                <a:gd name="T41" fmla="*/ 39 h 40"/>
                <a:gd name="T42" fmla="*/ 25 w 30"/>
                <a:gd name="T43" fmla="*/ 37 h 40"/>
                <a:gd name="T44" fmla="*/ 27 w 30"/>
                <a:gd name="T45" fmla="*/ 35 h 40"/>
                <a:gd name="T46" fmla="*/ 29 w 30"/>
                <a:gd name="T47" fmla="*/ 32 h 40"/>
                <a:gd name="T48" fmla="*/ 30 w 30"/>
                <a:gd name="T49" fmla="*/ 28 h 40"/>
                <a:gd name="T50" fmla="*/ 29 w 30"/>
                <a:gd name="T51" fmla="*/ 24 h 40"/>
                <a:gd name="T52" fmla="*/ 19 w 30"/>
                <a:gd name="T53" fmla="*/ 13 h 40"/>
                <a:gd name="T54" fmla="*/ 18 w 30"/>
                <a:gd name="T55" fmla="*/ 15 h 40"/>
                <a:gd name="T56" fmla="*/ 16 w 30"/>
                <a:gd name="T57" fmla="*/ 16 h 40"/>
                <a:gd name="T58" fmla="*/ 13 w 30"/>
                <a:gd name="T59" fmla="*/ 16 h 40"/>
                <a:gd name="T60" fmla="*/ 8 w 30"/>
                <a:gd name="T61" fmla="*/ 16 h 40"/>
                <a:gd name="T62" fmla="*/ 8 w 30"/>
                <a:gd name="T63" fmla="*/ 6 h 40"/>
                <a:gd name="T64" fmla="*/ 13 w 30"/>
                <a:gd name="T65" fmla="*/ 6 h 40"/>
                <a:gd name="T66" fmla="*/ 16 w 30"/>
                <a:gd name="T67" fmla="*/ 6 h 40"/>
                <a:gd name="T68" fmla="*/ 18 w 30"/>
                <a:gd name="T69" fmla="*/ 7 h 40"/>
                <a:gd name="T70" fmla="*/ 19 w 30"/>
                <a:gd name="T71" fmla="*/ 9 h 40"/>
                <a:gd name="T72" fmla="*/ 19 w 30"/>
                <a:gd name="T73" fmla="*/ 11 h 40"/>
                <a:gd name="T74" fmla="*/ 19 w 30"/>
                <a:gd name="T75" fmla="*/ 13 h 40"/>
                <a:gd name="T76" fmla="*/ 21 w 30"/>
                <a:gd name="T77" fmla="*/ 31 h 40"/>
                <a:gd name="T78" fmla="*/ 19 w 30"/>
                <a:gd name="T79" fmla="*/ 32 h 40"/>
                <a:gd name="T80" fmla="*/ 17 w 30"/>
                <a:gd name="T81" fmla="*/ 33 h 40"/>
                <a:gd name="T82" fmla="*/ 14 w 30"/>
                <a:gd name="T83" fmla="*/ 34 h 40"/>
                <a:gd name="T84" fmla="*/ 8 w 30"/>
                <a:gd name="T85" fmla="*/ 34 h 40"/>
                <a:gd name="T86" fmla="*/ 8 w 30"/>
                <a:gd name="T87" fmla="*/ 22 h 40"/>
                <a:gd name="T88" fmla="*/ 13 w 30"/>
                <a:gd name="T89" fmla="*/ 22 h 40"/>
                <a:gd name="T90" fmla="*/ 17 w 30"/>
                <a:gd name="T91" fmla="*/ 23 h 40"/>
                <a:gd name="T92" fmla="*/ 19 w 30"/>
                <a:gd name="T93" fmla="*/ 24 h 40"/>
                <a:gd name="T94" fmla="*/ 21 w 30"/>
                <a:gd name="T95" fmla="*/ 26 h 40"/>
                <a:gd name="T96" fmla="*/ 21 w 30"/>
                <a:gd name="T97" fmla="*/ 28 h 40"/>
                <a:gd name="T98" fmla="*/ 21 w 30"/>
                <a:gd name="T99"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40">
                  <a:moveTo>
                    <a:pt x="29" y="24"/>
                  </a:moveTo>
                  <a:cubicBezTo>
                    <a:pt x="29" y="23"/>
                    <a:pt x="28" y="22"/>
                    <a:pt x="27" y="21"/>
                  </a:cubicBezTo>
                  <a:cubicBezTo>
                    <a:pt x="27" y="20"/>
                    <a:pt x="26" y="20"/>
                    <a:pt x="25" y="19"/>
                  </a:cubicBezTo>
                  <a:cubicBezTo>
                    <a:pt x="24" y="19"/>
                    <a:pt x="23" y="18"/>
                    <a:pt x="22" y="18"/>
                  </a:cubicBezTo>
                  <a:cubicBezTo>
                    <a:pt x="23" y="18"/>
                    <a:pt x="23" y="17"/>
                    <a:pt x="24" y="17"/>
                  </a:cubicBezTo>
                  <a:cubicBezTo>
                    <a:pt x="25" y="16"/>
                    <a:pt x="25" y="16"/>
                    <a:pt x="26" y="15"/>
                  </a:cubicBezTo>
                  <a:cubicBezTo>
                    <a:pt x="26" y="14"/>
                    <a:pt x="27" y="13"/>
                    <a:pt x="27" y="13"/>
                  </a:cubicBezTo>
                  <a:cubicBezTo>
                    <a:pt x="27" y="12"/>
                    <a:pt x="27" y="11"/>
                    <a:pt x="27" y="10"/>
                  </a:cubicBezTo>
                  <a:cubicBezTo>
                    <a:pt x="27" y="8"/>
                    <a:pt x="27" y="7"/>
                    <a:pt x="26" y="5"/>
                  </a:cubicBezTo>
                  <a:cubicBezTo>
                    <a:pt x="26" y="4"/>
                    <a:pt x="25" y="3"/>
                    <a:pt x="24" y="2"/>
                  </a:cubicBezTo>
                  <a:cubicBezTo>
                    <a:pt x="22" y="1"/>
                    <a:pt x="21" y="1"/>
                    <a:pt x="19" y="0"/>
                  </a:cubicBezTo>
                  <a:cubicBezTo>
                    <a:pt x="18" y="0"/>
                    <a:pt x="15" y="0"/>
                    <a:pt x="13" y="0"/>
                  </a:cubicBezTo>
                  <a:cubicBezTo>
                    <a:pt x="3" y="0"/>
                    <a:pt x="3" y="0"/>
                    <a:pt x="3" y="0"/>
                  </a:cubicBezTo>
                  <a:cubicBezTo>
                    <a:pt x="2" y="0"/>
                    <a:pt x="2" y="0"/>
                    <a:pt x="1" y="0"/>
                  </a:cubicBezTo>
                  <a:cubicBezTo>
                    <a:pt x="1" y="1"/>
                    <a:pt x="0" y="1"/>
                    <a:pt x="0" y="2"/>
                  </a:cubicBezTo>
                  <a:cubicBezTo>
                    <a:pt x="0" y="37"/>
                    <a:pt x="0" y="37"/>
                    <a:pt x="0" y="37"/>
                  </a:cubicBezTo>
                  <a:cubicBezTo>
                    <a:pt x="0" y="38"/>
                    <a:pt x="1" y="39"/>
                    <a:pt x="1" y="39"/>
                  </a:cubicBezTo>
                  <a:cubicBezTo>
                    <a:pt x="2" y="40"/>
                    <a:pt x="2" y="40"/>
                    <a:pt x="3" y="40"/>
                  </a:cubicBezTo>
                  <a:cubicBezTo>
                    <a:pt x="14" y="40"/>
                    <a:pt x="14" y="40"/>
                    <a:pt x="14" y="40"/>
                  </a:cubicBezTo>
                  <a:cubicBezTo>
                    <a:pt x="15" y="40"/>
                    <a:pt x="17" y="40"/>
                    <a:pt x="18" y="40"/>
                  </a:cubicBezTo>
                  <a:cubicBezTo>
                    <a:pt x="19" y="39"/>
                    <a:pt x="21" y="39"/>
                    <a:pt x="22" y="39"/>
                  </a:cubicBezTo>
                  <a:cubicBezTo>
                    <a:pt x="23" y="38"/>
                    <a:pt x="24" y="38"/>
                    <a:pt x="25" y="37"/>
                  </a:cubicBezTo>
                  <a:cubicBezTo>
                    <a:pt x="26" y="37"/>
                    <a:pt x="27" y="36"/>
                    <a:pt x="27" y="35"/>
                  </a:cubicBezTo>
                  <a:cubicBezTo>
                    <a:pt x="28" y="34"/>
                    <a:pt x="29" y="33"/>
                    <a:pt x="29" y="32"/>
                  </a:cubicBezTo>
                  <a:cubicBezTo>
                    <a:pt x="29" y="31"/>
                    <a:pt x="30" y="29"/>
                    <a:pt x="30" y="28"/>
                  </a:cubicBezTo>
                  <a:cubicBezTo>
                    <a:pt x="30" y="26"/>
                    <a:pt x="29" y="25"/>
                    <a:pt x="29" y="24"/>
                  </a:cubicBezTo>
                  <a:close/>
                  <a:moveTo>
                    <a:pt x="19" y="13"/>
                  </a:moveTo>
                  <a:cubicBezTo>
                    <a:pt x="18" y="14"/>
                    <a:pt x="18" y="14"/>
                    <a:pt x="18" y="15"/>
                  </a:cubicBezTo>
                  <a:cubicBezTo>
                    <a:pt x="17" y="15"/>
                    <a:pt x="17" y="15"/>
                    <a:pt x="16" y="16"/>
                  </a:cubicBezTo>
                  <a:cubicBezTo>
                    <a:pt x="15" y="16"/>
                    <a:pt x="14" y="16"/>
                    <a:pt x="13" y="16"/>
                  </a:cubicBezTo>
                  <a:cubicBezTo>
                    <a:pt x="8" y="16"/>
                    <a:pt x="8" y="16"/>
                    <a:pt x="8" y="16"/>
                  </a:cubicBezTo>
                  <a:cubicBezTo>
                    <a:pt x="8" y="6"/>
                    <a:pt x="8" y="6"/>
                    <a:pt x="8" y="6"/>
                  </a:cubicBezTo>
                  <a:cubicBezTo>
                    <a:pt x="13" y="6"/>
                    <a:pt x="13" y="6"/>
                    <a:pt x="13" y="6"/>
                  </a:cubicBezTo>
                  <a:cubicBezTo>
                    <a:pt x="14" y="6"/>
                    <a:pt x="15" y="6"/>
                    <a:pt x="16" y="6"/>
                  </a:cubicBezTo>
                  <a:cubicBezTo>
                    <a:pt x="16" y="6"/>
                    <a:pt x="17" y="7"/>
                    <a:pt x="18" y="7"/>
                  </a:cubicBezTo>
                  <a:cubicBezTo>
                    <a:pt x="18" y="7"/>
                    <a:pt x="18" y="8"/>
                    <a:pt x="19" y="9"/>
                  </a:cubicBezTo>
                  <a:cubicBezTo>
                    <a:pt x="19" y="9"/>
                    <a:pt x="19" y="10"/>
                    <a:pt x="19" y="11"/>
                  </a:cubicBezTo>
                  <a:cubicBezTo>
                    <a:pt x="19" y="12"/>
                    <a:pt x="19" y="12"/>
                    <a:pt x="19" y="13"/>
                  </a:cubicBezTo>
                  <a:close/>
                  <a:moveTo>
                    <a:pt x="21" y="31"/>
                  </a:moveTo>
                  <a:cubicBezTo>
                    <a:pt x="20" y="31"/>
                    <a:pt x="20" y="32"/>
                    <a:pt x="19" y="32"/>
                  </a:cubicBezTo>
                  <a:cubicBezTo>
                    <a:pt x="19" y="33"/>
                    <a:pt x="18" y="33"/>
                    <a:pt x="17" y="33"/>
                  </a:cubicBezTo>
                  <a:cubicBezTo>
                    <a:pt x="16" y="34"/>
                    <a:pt x="16" y="34"/>
                    <a:pt x="14" y="34"/>
                  </a:cubicBezTo>
                  <a:cubicBezTo>
                    <a:pt x="8" y="34"/>
                    <a:pt x="8" y="34"/>
                    <a:pt x="8" y="34"/>
                  </a:cubicBezTo>
                  <a:cubicBezTo>
                    <a:pt x="8" y="22"/>
                    <a:pt x="8" y="22"/>
                    <a:pt x="8" y="22"/>
                  </a:cubicBezTo>
                  <a:cubicBezTo>
                    <a:pt x="13" y="22"/>
                    <a:pt x="13" y="22"/>
                    <a:pt x="13" y="22"/>
                  </a:cubicBezTo>
                  <a:cubicBezTo>
                    <a:pt x="15" y="22"/>
                    <a:pt x="16" y="22"/>
                    <a:pt x="17" y="23"/>
                  </a:cubicBezTo>
                  <a:cubicBezTo>
                    <a:pt x="18" y="23"/>
                    <a:pt x="19" y="23"/>
                    <a:pt x="19" y="24"/>
                  </a:cubicBezTo>
                  <a:cubicBezTo>
                    <a:pt x="20" y="24"/>
                    <a:pt x="20" y="25"/>
                    <a:pt x="21" y="26"/>
                  </a:cubicBezTo>
                  <a:cubicBezTo>
                    <a:pt x="21" y="26"/>
                    <a:pt x="21" y="27"/>
                    <a:pt x="21" y="28"/>
                  </a:cubicBezTo>
                  <a:cubicBezTo>
                    <a:pt x="21" y="29"/>
                    <a:pt x="21" y="30"/>
                    <a:pt x="21" y="31"/>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Freeform 196">
              <a:extLst>
                <a:ext uri="{FF2B5EF4-FFF2-40B4-BE49-F238E27FC236}">
                  <a16:creationId xmlns:a16="http://schemas.microsoft.com/office/drawing/2014/main" id="{883AD774-43F0-45FE-B59D-383EA97D61FE}"/>
                </a:ext>
              </a:extLst>
            </p:cNvPr>
            <p:cNvSpPr>
              <a:spLocks/>
            </p:cNvSpPr>
            <p:nvPr/>
          </p:nvSpPr>
          <p:spPr bwMode="auto">
            <a:xfrm>
              <a:off x="3566634" y="4571059"/>
              <a:ext cx="113991" cy="142849"/>
            </a:xfrm>
            <a:custGeom>
              <a:avLst/>
              <a:gdLst>
                <a:gd name="T0" fmla="*/ 33 w 33"/>
                <a:gd name="T1" fmla="*/ 2 h 42"/>
                <a:gd name="T2" fmla="*/ 33 w 33"/>
                <a:gd name="T3" fmla="*/ 1 h 42"/>
                <a:gd name="T4" fmla="*/ 33 w 33"/>
                <a:gd name="T5" fmla="*/ 1 h 42"/>
                <a:gd name="T6" fmla="*/ 31 w 33"/>
                <a:gd name="T7" fmla="*/ 0 h 42"/>
                <a:gd name="T8" fmla="*/ 29 w 33"/>
                <a:gd name="T9" fmla="*/ 0 h 42"/>
                <a:gd name="T10" fmla="*/ 27 w 33"/>
                <a:gd name="T11" fmla="*/ 0 h 42"/>
                <a:gd name="T12" fmla="*/ 26 w 33"/>
                <a:gd name="T13" fmla="*/ 1 h 42"/>
                <a:gd name="T14" fmla="*/ 25 w 33"/>
                <a:gd name="T15" fmla="*/ 1 h 42"/>
                <a:gd name="T16" fmla="*/ 25 w 33"/>
                <a:gd name="T17" fmla="*/ 2 h 42"/>
                <a:gd name="T18" fmla="*/ 25 w 33"/>
                <a:gd name="T19" fmla="*/ 26 h 42"/>
                <a:gd name="T20" fmla="*/ 25 w 33"/>
                <a:gd name="T21" fmla="*/ 30 h 42"/>
                <a:gd name="T22" fmla="*/ 23 w 33"/>
                <a:gd name="T23" fmla="*/ 33 h 42"/>
                <a:gd name="T24" fmla="*/ 20 w 33"/>
                <a:gd name="T25" fmla="*/ 34 h 42"/>
                <a:gd name="T26" fmla="*/ 17 w 33"/>
                <a:gd name="T27" fmla="*/ 35 h 42"/>
                <a:gd name="T28" fmla="*/ 14 w 33"/>
                <a:gd name="T29" fmla="*/ 34 h 42"/>
                <a:gd name="T30" fmla="*/ 11 w 33"/>
                <a:gd name="T31" fmla="*/ 33 h 42"/>
                <a:gd name="T32" fmla="*/ 9 w 33"/>
                <a:gd name="T33" fmla="*/ 30 h 42"/>
                <a:gd name="T34" fmla="*/ 9 w 33"/>
                <a:gd name="T35" fmla="*/ 26 h 42"/>
                <a:gd name="T36" fmla="*/ 9 w 33"/>
                <a:gd name="T37" fmla="*/ 2 h 42"/>
                <a:gd name="T38" fmla="*/ 8 w 33"/>
                <a:gd name="T39" fmla="*/ 1 h 42"/>
                <a:gd name="T40" fmla="*/ 8 w 33"/>
                <a:gd name="T41" fmla="*/ 1 h 42"/>
                <a:gd name="T42" fmla="*/ 6 w 33"/>
                <a:gd name="T43" fmla="*/ 0 h 42"/>
                <a:gd name="T44" fmla="*/ 5 w 33"/>
                <a:gd name="T45" fmla="*/ 0 h 42"/>
                <a:gd name="T46" fmla="*/ 3 w 33"/>
                <a:gd name="T47" fmla="*/ 0 h 42"/>
                <a:gd name="T48" fmla="*/ 1 w 33"/>
                <a:gd name="T49" fmla="*/ 1 h 42"/>
                <a:gd name="T50" fmla="*/ 1 w 33"/>
                <a:gd name="T51" fmla="*/ 1 h 42"/>
                <a:gd name="T52" fmla="*/ 0 w 33"/>
                <a:gd name="T53" fmla="*/ 2 h 42"/>
                <a:gd name="T54" fmla="*/ 0 w 33"/>
                <a:gd name="T55" fmla="*/ 26 h 42"/>
                <a:gd name="T56" fmla="*/ 2 w 33"/>
                <a:gd name="T57" fmla="*/ 33 h 42"/>
                <a:gd name="T58" fmla="*/ 5 w 33"/>
                <a:gd name="T59" fmla="*/ 38 h 42"/>
                <a:gd name="T60" fmla="*/ 10 w 33"/>
                <a:gd name="T61" fmla="*/ 41 h 42"/>
                <a:gd name="T62" fmla="*/ 17 w 33"/>
                <a:gd name="T63" fmla="*/ 42 h 42"/>
                <a:gd name="T64" fmla="*/ 24 w 33"/>
                <a:gd name="T65" fmla="*/ 41 h 42"/>
                <a:gd name="T66" fmla="*/ 29 w 33"/>
                <a:gd name="T67" fmla="*/ 38 h 42"/>
                <a:gd name="T68" fmla="*/ 32 w 33"/>
                <a:gd name="T69" fmla="*/ 33 h 42"/>
                <a:gd name="T70" fmla="*/ 33 w 33"/>
                <a:gd name="T71" fmla="*/ 26 h 42"/>
                <a:gd name="T72" fmla="*/ 33 w 33"/>
                <a:gd name="T73"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42">
                  <a:moveTo>
                    <a:pt x="33" y="2"/>
                  </a:moveTo>
                  <a:cubicBezTo>
                    <a:pt x="33" y="1"/>
                    <a:pt x="33" y="1"/>
                    <a:pt x="33" y="1"/>
                  </a:cubicBezTo>
                  <a:cubicBezTo>
                    <a:pt x="33" y="1"/>
                    <a:pt x="33" y="1"/>
                    <a:pt x="33" y="1"/>
                  </a:cubicBezTo>
                  <a:cubicBezTo>
                    <a:pt x="32" y="1"/>
                    <a:pt x="32" y="1"/>
                    <a:pt x="31" y="0"/>
                  </a:cubicBezTo>
                  <a:cubicBezTo>
                    <a:pt x="31" y="0"/>
                    <a:pt x="30" y="0"/>
                    <a:pt x="29" y="0"/>
                  </a:cubicBezTo>
                  <a:cubicBezTo>
                    <a:pt x="29" y="0"/>
                    <a:pt x="28" y="0"/>
                    <a:pt x="27" y="0"/>
                  </a:cubicBezTo>
                  <a:cubicBezTo>
                    <a:pt x="27" y="1"/>
                    <a:pt x="26" y="1"/>
                    <a:pt x="26" y="1"/>
                  </a:cubicBezTo>
                  <a:cubicBezTo>
                    <a:pt x="26" y="1"/>
                    <a:pt x="26" y="1"/>
                    <a:pt x="25" y="1"/>
                  </a:cubicBezTo>
                  <a:cubicBezTo>
                    <a:pt x="25" y="1"/>
                    <a:pt x="25" y="1"/>
                    <a:pt x="25" y="2"/>
                  </a:cubicBezTo>
                  <a:cubicBezTo>
                    <a:pt x="25" y="26"/>
                    <a:pt x="25" y="26"/>
                    <a:pt x="25" y="26"/>
                  </a:cubicBezTo>
                  <a:cubicBezTo>
                    <a:pt x="25" y="27"/>
                    <a:pt x="25" y="29"/>
                    <a:pt x="25" y="30"/>
                  </a:cubicBezTo>
                  <a:cubicBezTo>
                    <a:pt x="24" y="31"/>
                    <a:pt x="24" y="32"/>
                    <a:pt x="23" y="33"/>
                  </a:cubicBezTo>
                  <a:cubicBezTo>
                    <a:pt x="22" y="33"/>
                    <a:pt x="22" y="34"/>
                    <a:pt x="20" y="34"/>
                  </a:cubicBezTo>
                  <a:cubicBezTo>
                    <a:pt x="19" y="35"/>
                    <a:pt x="18" y="35"/>
                    <a:pt x="17" y="35"/>
                  </a:cubicBezTo>
                  <a:cubicBezTo>
                    <a:pt x="16" y="35"/>
                    <a:pt x="15" y="35"/>
                    <a:pt x="14" y="34"/>
                  </a:cubicBezTo>
                  <a:cubicBezTo>
                    <a:pt x="13" y="34"/>
                    <a:pt x="12" y="33"/>
                    <a:pt x="11" y="33"/>
                  </a:cubicBezTo>
                  <a:cubicBezTo>
                    <a:pt x="10" y="32"/>
                    <a:pt x="10" y="31"/>
                    <a:pt x="9" y="30"/>
                  </a:cubicBezTo>
                  <a:cubicBezTo>
                    <a:pt x="9" y="29"/>
                    <a:pt x="9" y="27"/>
                    <a:pt x="9" y="26"/>
                  </a:cubicBezTo>
                  <a:cubicBezTo>
                    <a:pt x="9" y="2"/>
                    <a:pt x="9" y="2"/>
                    <a:pt x="9" y="2"/>
                  </a:cubicBezTo>
                  <a:cubicBezTo>
                    <a:pt x="9" y="1"/>
                    <a:pt x="9" y="1"/>
                    <a:pt x="8" y="1"/>
                  </a:cubicBezTo>
                  <a:cubicBezTo>
                    <a:pt x="8" y="1"/>
                    <a:pt x="8" y="1"/>
                    <a:pt x="8" y="1"/>
                  </a:cubicBezTo>
                  <a:cubicBezTo>
                    <a:pt x="7" y="1"/>
                    <a:pt x="7" y="1"/>
                    <a:pt x="6" y="0"/>
                  </a:cubicBezTo>
                  <a:cubicBezTo>
                    <a:pt x="6" y="0"/>
                    <a:pt x="5" y="0"/>
                    <a:pt x="5" y="0"/>
                  </a:cubicBezTo>
                  <a:cubicBezTo>
                    <a:pt x="4" y="0"/>
                    <a:pt x="3" y="0"/>
                    <a:pt x="3" y="0"/>
                  </a:cubicBezTo>
                  <a:cubicBezTo>
                    <a:pt x="2" y="1"/>
                    <a:pt x="2" y="1"/>
                    <a:pt x="1" y="1"/>
                  </a:cubicBezTo>
                  <a:cubicBezTo>
                    <a:pt x="1" y="1"/>
                    <a:pt x="1" y="1"/>
                    <a:pt x="1" y="1"/>
                  </a:cubicBezTo>
                  <a:cubicBezTo>
                    <a:pt x="0" y="1"/>
                    <a:pt x="0" y="1"/>
                    <a:pt x="0" y="2"/>
                  </a:cubicBezTo>
                  <a:cubicBezTo>
                    <a:pt x="0" y="26"/>
                    <a:pt x="0" y="26"/>
                    <a:pt x="0" y="26"/>
                  </a:cubicBezTo>
                  <a:cubicBezTo>
                    <a:pt x="0" y="29"/>
                    <a:pt x="1" y="31"/>
                    <a:pt x="2" y="33"/>
                  </a:cubicBezTo>
                  <a:cubicBezTo>
                    <a:pt x="2" y="35"/>
                    <a:pt x="3" y="37"/>
                    <a:pt x="5" y="38"/>
                  </a:cubicBezTo>
                  <a:cubicBezTo>
                    <a:pt x="6" y="39"/>
                    <a:pt x="8" y="40"/>
                    <a:pt x="10" y="41"/>
                  </a:cubicBezTo>
                  <a:cubicBezTo>
                    <a:pt x="12" y="41"/>
                    <a:pt x="14" y="42"/>
                    <a:pt x="17" y="42"/>
                  </a:cubicBezTo>
                  <a:cubicBezTo>
                    <a:pt x="19" y="42"/>
                    <a:pt x="22" y="41"/>
                    <a:pt x="24" y="41"/>
                  </a:cubicBezTo>
                  <a:cubicBezTo>
                    <a:pt x="26" y="40"/>
                    <a:pt x="28" y="39"/>
                    <a:pt x="29" y="38"/>
                  </a:cubicBezTo>
                  <a:cubicBezTo>
                    <a:pt x="31" y="36"/>
                    <a:pt x="32" y="35"/>
                    <a:pt x="32" y="33"/>
                  </a:cubicBezTo>
                  <a:cubicBezTo>
                    <a:pt x="33" y="31"/>
                    <a:pt x="33" y="28"/>
                    <a:pt x="33" y="26"/>
                  </a:cubicBezTo>
                  <a:cubicBezTo>
                    <a:pt x="33" y="2"/>
                    <a:pt x="33" y="2"/>
                    <a:pt x="33" y="2"/>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Freeform 197">
              <a:extLst>
                <a:ext uri="{FF2B5EF4-FFF2-40B4-BE49-F238E27FC236}">
                  <a16:creationId xmlns:a16="http://schemas.microsoft.com/office/drawing/2014/main" id="{61317FF6-F9B8-47DE-A277-28C81937F105}"/>
                </a:ext>
              </a:extLst>
            </p:cNvPr>
            <p:cNvSpPr>
              <a:spLocks/>
            </p:cNvSpPr>
            <p:nvPr/>
          </p:nvSpPr>
          <p:spPr bwMode="auto">
            <a:xfrm>
              <a:off x="3710926" y="4571059"/>
              <a:ext cx="27416" cy="139963"/>
            </a:xfrm>
            <a:custGeom>
              <a:avLst/>
              <a:gdLst>
                <a:gd name="T0" fmla="*/ 8 w 8"/>
                <a:gd name="T1" fmla="*/ 2 h 41"/>
                <a:gd name="T2" fmla="*/ 8 w 8"/>
                <a:gd name="T3" fmla="*/ 1 h 41"/>
                <a:gd name="T4" fmla="*/ 7 w 8"/>
                <a:gd name="T5" fmla="*/ 1 h 41"/>
                <a:gd name="T6" fmla="*/ 6 w 8"/>
                <a:gd name="T7" fmla="*/ 0 h 41"/>
                <a:gd name="T8" fmla="*/ 4 w 8"/>
                <a:gd name="T9" fmla="*/ 0 h 41"/>
                <a:gd name="T10" fmla="*/ 2 w 8"/>
                <a:gd name="T11" fmla="*/ 0 h 41"/>
                <a:gd name="T12" fmla="*/ 1 w 8"/>
                <a:gd name="T13" fmla="*/ 1 h 41"/>
                <a:gd name="T14" fmla="*/ 0 w 8"/>
                <a:gd name="T15" fmla="*/ 1 h 41"/>
                <a:gd name="T16" fmla="*/ 0 w 8"/>
                <a:gd name="T17" fmla="*/ 2 h 41"/>
                <a:gd name="T18" fmla="*/ 0 w 8"/>
                <a:gd name="T19" fmla="*/ 40 h 41"/>
                <a:gd name="T20" fmla="*/ 0 w 8"/>
                <a:gd name="T21" fmla="*/ 40 h 41"/>
                <a:gd name="T22" fmla="*/ 1 w 8"/>
                <a:gd name="T23" fmla="*/ 41 h 41"/>
                <a:gd name="T24" fmla="*/ 2 w 8"/>
                <a:gd name="T25" fmla="*/ 41 h 41"/>
                <a:gd name="T26" fmla="*/ 4 w 8"/>
                <a:gd name="T27" fmla="*/ 41 h 41"/>
                <a:gd name="T28" fmla="*/ 6 w 8"/>
                <a:gd name="T29" fmla="*/ 41 h 41"/>
                <a:gd name="T30" fmla="*/ 7 w 8"/>
                <a:gd name="T31" fmla="*/ 41 h 41"/>
                <a:gd name="T32" fmla="*/ 8 w 8"/>
                <a:gd name="T33" fmla="*/ 40 h 41"/>
                <a:gd name="T34" fmla="*/ 8 w 8"/>
                <a:gd name="T35" fmla="*/ 40 h 41"/>
                <a:gd name="T36" fmla="*/ 8 w 8"/>
                <a:gd name="T37"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41">
                  <a:moveTo>
                    <a:pt x="8" y="2"/>
                  </a:moveTo>
                  <a:cubicBezTo>
                    <a:pt x="8" y="1"/>
                    <a:pt x="8" y="1"/>
                    <a:pt x="8" y="1"/>
                  </a:cubicBezTo>
                  <a:cubicBezTo>
                    <a:pt x="8" y="1"/>
                    <a:pt x="8" y="1"/>
                    <a:pt x="7" y="1"/>
                  </a:cubicBezTo>
                  <a:cubicBezTo>
                    <a:pt x="7" y="1"/>
                    <a:pt x="7" y="1"/>
                    <a:pt x="6" y="0"/>
                  </a:cubicBezTo>
                  <a:cubicBezTo>
                    <a:pt x="6" y="0"/>
                    <a:pt x="5" y="0"/>
                    <a:pt x="4" y="0"/>
                  </a:cubicBezTo>
                  <a:cubicBezTo>
                    <a:pt x="3" y="0"/>
                    <a:pt x="3" y="0"/>
                    <a:pt x="2" y="0"/>
                  </a:cubicBezTo>
                  <a:cubicBezTo>
                    <a:pt x="2" y="1"/>
                    <a:pt x="1" y="1"/>
                    <a:pt x="1" y="1"/>
                  </a:cubicBezTo>
                  <a:cubicBezTo>
                    <a:pt x="1" y="1"/>
                    <a:pt x="0" y="1"/>
                    <a:pt x="0" y="1"/>
                  </a:cubicBezTo>
                  <a:cubicBezTo>
                    <a:pt x="0" y="1"/>
                    <a:pt x="0" y="1"/>
                    <a:pt x="0" y="2"/>
                  </a:cubicBezTo>
                  <a:cubicBezTo>
                    <a:pt x="0" y="40"/>
                    <a:pt x="0" y="40"/>
                    <a:pt x="0" y="40"/>
                  </a:cubicBezTo>
                  <a:cubicBezTo>
                    <a:pt x="0" y="40"/>
                    <a:pt x="0" y="40"/>
                    <a:pt x="0" y="40"/>
                  </a:cubicBezTo>
                  <a:cubicBezTo>
                    <a:pt x="0" y="41"/>
                    <a:pt x="1" y="41"/>
                    <a:pt x="1" y="41"/>
                  </a:cubicBezTo>
                  <a:cubicBezTo>
                    <a:pt x="1" y="41"/>
                    <a:pt x="2" y="41"/>
                    <a:pt x="2" y="41"/>
                  </a:cubicBezTo>
                  <a:cubicBezTo>
                    <a:pt x="3" y="41"/>
                    <a:pt x="3" y="41"/>
                    <a:pt x="4" y="41"/>
                  </a:cubicBezTo>
                  <a:cubicBezTo>
                    <a:pt x="5" y="41"/>
                    <a:pt x="6" y="41"/>
                    <a:pt x="6" y="41"/>
                  </a:cubicBezTo>
                  <a:cubicBezTo>
                    <a:pt x="7" y="41"/>
                    <a:pt x="7" y="41"/>
                    <a:pt x="7" y="41"/>
                  </a:cubicBezTo>
                  <a:cubicBezTo>
                    <a:pt x="8" y="41"/>
                    <a:pt x="8" y="41"/>
                    <a:pt x="8" y="40"/>
                  </a:cubicBezTo>
                  <a:cubicBezTo>
                    <a:pt x="8" y="40"/>
                    <a:pt x="8" y="40"/>
                    <a:pt x="8" y="40"/>
                  </a:cubicBezTo>
                  <a:cubicBezTo>
                    <a:pt x="8" y="2"/>
                    <a:pt x="8" y="2"/>
                    <a:pt x="8" y="2"/>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Freeform 198">
              <a:extLst>
                <a:ext uri="{FF2B5EF4-FFF2-40B4-BE49-F238E27FC236}">
                  <a16:creationId xmlns:a16="http://schemas.microsoft.com/office/drawing/2014/main" id="{84A898A3-52CE-4D44-98E5-31C59886EFEF}"/>
                </a:ext>
              </a:extLst>
            </p:cNvPr>
            <p:cNvSpPr>
              <a:spLocks/>
            </p:cNvSpPr>
            <p:nvPr/>
          </p:nvSpPr>
          <p:spPr bwMode="auto">
            <a:xfrm>
              <a:off x="3768642" y="4571059"/>
              <a:ext cx="76475" cy="139963"/>
            </a:xfrm>
            <a:custGeom>
              <a:avLst/>
              <a:gdLst>
                <a:gd name="T0" fmla="*/ 22 w 22"/>
                <a:gd name="T1" fmla="*/ 36 h 41"/>
                <a:gd name="T2" fmla="*/ 22 w 22"/>
                <a:gd name="T3" fmla="*/ 35 h 41"/>
                <a:gd name="T4" fmla="*/ 22 w 22"/>
                <a:gd name="T5" fmla="*/ 34 h 41"/>
                <a:gd name="T6" fmla="*/ 21 w 22"/>
                <a:gd name="T7" fmla="*/ 34 h 41"/>
                <a:gd name="T8" fmla="*/ 8 w 22"/>
                <a:gd name="T9" fmla="*/ 34 h 41"/>
                <a:gd name="T10" fmla="*/ 8 w 22"/>
                <a:gd name="T11" fmla="*/ 2 h 41"/>
                <a:gd name="T12" fmla="*/ 8 w 22"/>
                <a:gd name="T13" fmla="*/ 1 h 41"/>
                <a:gd name="T14" fmla="*/ 7 w 22"/>
                <a:gd name="T15" fmla="*/ 1 h 41"/>
                <a:gd name="T16" fmla="*/ 6 w 22"/>
                <a:gd name="T17" fmla="*/ 0 h 41"/>
                <a:gd name="T18" fmla="*/ 4 w 22"/>
                <a:gd name="T19" fmla="*/ 0 h 41"/>
                <a:gd name="T20" fmla="*/ 2 w 22"/>
                <a:gd name="T21" fmla="*/ 0 h 41"/>
                <a:gd name="T22" fmla="*/ 1 w 22"/>
                <a:gd name="T23" fmla="*/ 1 h 41"/>
                <a:gd name="T24" fmla="*/ 0 w 22"/>
                <a:gd name="T25" fmla="*/ 1 h 41"/>
                <a:gd name="T26" fmla="*/ 0 w 22"/>
                <a:gd name="T27" fmla="*/ 2 h 41"/>
                <a:gd name="T28" fmla="*/ 0 w 22"/>
                <a:gd name="T29" fmla="*/ 38 h 41"/>
                <a:gd name="T30" fmla="*/ 1 w 22"/>
                <a:gd name="T31" fmla="*/ 40 h 41"/>
                <a:gd name="T32" fmla="*/ 2 w 22"/>
                <a:gd name="T33" fmla="*/ 41 h 41"/>
                <a:gd name="T34" fmla="*/ 21 w 22"/>
                <a:gd name="T35" fmla="*/ 41 h 41"/>
                <a:gd name="T36" fmla="*/ 22 w 22"/>
                <a:gd name="T37" fmla="*/ 41 h 41"/>
                <a:gd name="T38" fmla="*/ 22 w 22"/>
                <a:gd name="T39" fmla="*/ 40 h 41"/>
                <a:gd name="T40" fmla="*/ 22 w 22"/>
                <a:gd name="T41" fmla="*/ 39 h 41"/>
                <a:gd name="T42" fmla="*/ 22 w 22"/>
                <a:gd name="T43" fmla="*/ 38 h 41"/>
                <a:gd name="T44" fmla="*/ 22 w 22"/>
                <a:gd name="T45"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1">
                  <a:moveTo>
                    <a:pt x="22" y="36"/>
                  </a:moveTo>
                  <a:cubicBezTo>
                    <a:pt x="22" y="36"/>
                    <a:pt x="22" y="35"/>
                    <a:pt x="22" y="35"/>
                  </a:cubicBezTo>
                  <a:cubicBezTo>
                    <a:pt x="22" y="35"/>
                    <a:pt x="22" y="34"/>
                    <a:pt x="22" y="34"/>
                  </a:cubicBezTo>
                  <a:cubicBezTo>
                    <a:pt x="21" y="34"/>
                    <a:pt x="21" y="34"/>
                    <a:pt x="21" y="34"/>
                  </a:cubicBezTo>
                  <a:cubicBezTo>
                    <a:pt x="8" y="34"/>
                    <a:pt x="8" y="34"/>
                    <a:pt x="8" y="34"/>
                  </a:cubicBezTo>
                  <a:cubicBezTo>
                    <a:pt x="8" y="2"/>
                    <a:pt x="8" y="2"/>
                    <a:pt x="8" y="2"/>
                  </a:cubicBezTo>
                  <a:cubicBezTo>
                    <a:pt x="8" y="1"/>
                    <a:pt x="8" y="1"/>
                    <a:pt x="8" y="1"/>
                  </a:cubicBezTo>
                  <a:cubicBezTo>
                    <a:pt x="8" y="1"/>
                    <a:pt x="8" y="1"/>
                    <a:pt x="7" y="1"/>
                  </a:cubicBezTo>
                  <a:cubicBezTo>
                    <a:pt x="7" y="1"/>
                    <a:pt x="7" y="1"/>
                    <a:pt x="6" y="0"/>
                  </a:cubicBezTo>
                  <a:cubicBezTo>
                    <a:pt x="6" y="0"/>
                    <a:pt x="5" y="0"/>
                    <a:pt x="4" y="0"/>
                  </a:cubicBezTo>
                  <a:cubicBezTo>
                    <a:pt x="3" y="0"/>
                    <a:pt x="3" y="0"/>
                    <a:pt x="2" y="0"/>
                  </a:cubicBezTo>
                  <a:cubicBezTo>
                    <a:pt x="2" y="1"/>
                    <a:pt x="1" y="1"/>
                    <a:pt x="1" y="1"/>
                  </a:cubicBezTo>
                  <a:cubicBezTo>
                    <a:pt x="1" y="1"/>
                    <a:pt x="0" y="1"/>
                    <a:pt x="0" y="1"/>
                  </a:cubicBezTo>
                  <a:cubicBezTo>
                    <a:pt x="0" y="1"/>
                    <a:pt x="0" y="1"/>
                    <a:pt x="0" y="2"/>
                  </a:cubicBezTo>
                  <a:cubicBezTo>
                    <a:pt x="0" y="38"/>
                    <a:pt x="0" y="38"/>
                    <a:pt x="0" y="38"/>
                  </a:cubicBezTo>
                  <a:cubicBezTo>
                    <a:pt x="0" y="39"/>
                    <a:pt x="0" y="40"/>
                    <a:pt x="1" y="40"/>
                  </a:cubicBezTo>
                  <a:cubicBezTo>
                    <a:pt x="1" y="41"/>
                    <a:pt x="2" y="41"/>
                    <a:pt x="2" y="41"/>
                  </a:cubicBezTo>
                  <a:cubicBezTo>
                    <a:pt x="21" y="41"/>
                    <a:pt x="21" y="41"/>
                    <a:pt x="21" y="41"/>
                  </a:cubicBezTo>
                  <a:cubicBezTo>
                    <a:pt x="21" y="41"/>
                    <a:pt x="21" y="41"/>
                    <a:pt x="22" y="41"/>
                  </a:cubicBezTo>
                  <a:cubicBezTo>
                    <a:pt x="22" y="41"/>
                    <a:pt x="22" y="40"/>
                    <a:pt x="22" y="40"/>
                  </a:cubicBezTo>
                  <a:cubicBezTo>
                    <a:pt x="22" y="40"/>
                    <a:pt x="22" y="40"/>
                    <a:pt x="22" y="39"/>
                  </a:cubicBezTo>
                  <a:cubicBezTo>
                    <a:pt x="22" y="39"/>
                    <a:pt x="22" y="38"/>
                    <a:pt x="22" y="38"/>
                  </a:cubicBezTo>
                  <a:cubicBezTo>
                    <a:pt x="22" y="37"/>
                    <a:pt x="22" y="36"/>
                    <a:pt x="22" y="36"/>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Freeform 199">
              <a:extLst>
                <a:ext uri="{FF2B5EF4-FFF2-40B4-BE49-F238E27FC236}">
                  <a16:creationId xmlns:a16="http://schemas.microsoft.com/office/drawing/2014/main" id="{E15B2031-5006-4A2B-B373-040E65784502}"/>
                </a:ext>
              </a:extLst>
            </p:cNvPr>
            <p:cNvSpPr>
              <a:spLocks noEditPoints="1"/>
            </p:cNvSpPr>
            <p:nvPr/>
          </p:nvSpPr>
          <p:spPr bwMode="auto">
            <a:xfrm>
              <a:off x="3862432" y="4573945"/>
              <a:ext cx="112547" cy="137077"/>
            </a:xfrm>
            <a:custGeom>
              <a:avLst/>
              <a:gdLst>
                <a:gd name="T0" fmla="*/ 32 w 33"/>
                <a:gd name="T1" fmla="*/ 11 h 40"/>
                <a:gd name="T2" fmla="*/ 28 w 33"/>
                <a:gd name="T3" fmla="*/ 5 h 40"/>
                <a:gd name="T4" fmla="*/ 22 w 33"/>
                <a:gd name="T5" fmla="*/ 1 h 40"/>
                <a:gd name="T6" fmla="*/ 13 w 33"/>
                <a:gd name="T7" fmla="*/ 0 h 40"/>
                <a:gd name="T8" fmla="*/ 2 w 33"/>
                <a:gd name="T9" fmla="*/ 0 h 40"/>
                <a:gd name="T10" fmla="*/ 1 w 33"/>
                <a:gd name="T11" fmla="*/ 0 h 40"/>
                <a:gd name="T12" fmla="*/ 0 w 33"/>
                <a:gd name="T13" fmla="*/ 2 h 40"/>
                <a:gd name="T14" fmla="*/ 0 w 33"/>
                <a:gd name="T15" fmla="*/ 37 h 40"/>
                <a:gd name="T16" fmla="*/ 1 w 33"/>
                <a:gd name="T17" fmla="*/ 39 h 40"/>
                <a:gd name="T18" fmla="*/ 2 w 33"/>
                <a:gd name="T19" fmla="*/ 40 h 40"/>
                <a:gd name="T20" fmla="*/ 12 w 33"/>
                <a:gd name="T21" fmla="*/ 40 h 40"/>
                <a:gd name="T22" fmla="*/ 21 w 33"/>
                <a:gd name="T23" fmla="*/ 39 h 40"/>
                <a:gd name="T24" fmla="*/ 28 w 33"/>
                <a:gd name="T25" fmla="*/ 35 h 40"/>
                <a:gd name="T26" fmla="*/ 32 w 33"/>
                <a:gd name="T27" fmla="*/ 29 h 40"/>
                <a:gd name="T28" fmla="*/ 33 w 33"/>
                <a:gd name="T29" fmla="*/ 19 h 40"/>
                <a:gd name="T30" fmla="*/ 32 w 33"/>
                <a:gd name="T31" fmla="*/ 11 h 40"/>
                <a:gd name="T32" fmla="*/ 24 w 33"/>
                <a:gd name="T33" fmla="*/ 26 h 40"/>
                <a:gd name="T34" fmla="*/ 22 w 33"/>
                <a:gd name="T35" fmla="*/ 30 h 40"/>
                <a:gd name="T36" fmla="*/ 18 w 33"/>
                <a:gd name="T37" fmla="*/ 33 h 40"/>
                <a:gd name="T38" fmla="*/ 12 w 33"/>
                <a:gd name="T39" fmla="*/ 33 h 40"/>
                <a:gd name="T40" fmla="*/ 8 w 33"/>
                <a:gd name="T41" fmla="*/ 33 h 40"/>
                <a:gd name="T42" fmla="*/ 8 w 33"/>
                <a:gd name="T43" fmla="*/ 6 h 40"/>
                <a:gd name="T44" fmla="*/ 12 w 33"/>
                <a:gd name="T45" fmla="*/ 6 h 40"/>
                <a:gd name="T46" fmla="*/ 18 w 33"/>
                <a:gd name="T47" fmla="*/ 7 h 40"/>
                <a:gd name="T48" fmla="*/ 22 w 33"/>
                <a:gd name="T49" fmla="*/ 10 h 40"/>
                <a:gd name="T50" fmla="*/ 24 w 33"/>
                <a:gd name="T51" fmla="*/ 14 h 40"/>
                <a:gd name="T52" fmla="*/ 25 w 33"/>
                <a:gd name="T53" fmla="*/ 19 h 40"/>
                <a:gd name="T54" fmla="*/ 24 w 33"/>
                <a:gd name="T55"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40">
                  <a:moveTo>
                    <a:pt x="32" y="11"/>
                  </a:moveTo>
                  <a:cubicBezTo>
                    <a:pt x="31" y="8"/>
                    <a:pt x="30" y="6"/>
                    <a:pt x="28" y="5"/>
                  </a:cubicBezTo>
                  <a:cubicBezTo>
                    <a:pt x="26" y="3"/>
                    <a:pt x="24" y="2"/>
                    <a:pt x="22" y="1"/>
                  </a:cubicBezTo>
                  <a:cubicBezTo>
                    <a:pt x="19" y="0"/>
                    <a:pt x="16" y="0"/>
                    <a:pt x="13" y="0"/>
                  </a:cubicBezTo>
                  <a:cubicBezTo>
                    <a:pt x="2" y="0"/>
                    <a:pt x="2" y="0"/>
                    <a:pt x="2" y="0"/>
                  </a:cubicBezTo>
                  <a:cubicBezTo>
                    <a:pt x="2" y="0"/>
                    <a:pt x="1" y="0"/>
                    <a:pt x="1" y="0"/>
                  </a:cubicBezTo>
                  <a:cubicBezTo>
                    <a:pt x="0" y="1"/>
                    <a:pt x="0" y="1"/>
                    <a:pt x="0" y="2"/>
                  </a:cubicBezTo>
                  <a:cubicBezTo>
                    <a:pt x="0" y="37"/>
                    <a:pt x="0" y="37"/>
                    <a:pt x="0" y="37"/>
                  </a:cubicBezTo>
                  <a:cubicBezTo>
                    <a:pt x="0" y="38"/>
                    <a:pt x="0" y="39"/>
                    <a:pt x="1" y="39"/>
                  </a:cubicBezTo>
                  <a:cubicBezTo>
                    <a:pt x="1" y="40"/>
                    <a:pt x="2" y="40"/>
                    <a:pt x="2" y="40"/>
                  </a:cubicBezTo>
                  <a:cubicBezTo>
                    <a:pt x="12" y="40"/>
                    <a:pt x="12" y="40"/>
                    <a:pt x="12" y="40"/>
                  </a:cubicBezTo>
                  <a:cubicBezTo>
                    <a:pt x="16" y="40"/>
                    <a:pt x="19" y="40"/>
                    <a:pt x="21" y="39"/>
                  </a:cubicBezTo>
                  <a:cubicBezTo>
                    <a:pt x="24" y="38"/>
                    <a:pt x="26" y="37"/>
                    <a:pt x="28" y="35"/>
                  </a:cubicBezTo>
                  <a:cubicBezTo>
                    <a:pt x="30" y="33"/>
                    <a:pt x="31" y="31"/>
                    <a:pt x="32" y="29"/>
                  </a:cubicBezTo>
                  <a:cubicBezTo>
                    <a:pt x="33" y="26"/>
                    <a:pt x="33" y="23"/>
                    <a:pt x="33" y="19"/>
                  </a:cubicBezTo>
                  <a:cubicBezTo>
                    <a:pt x="33" y="16"/>
                    <a:pt x="33" y="13"/>
                    <a:pt x="32" y="11"/>
                  </a:cubicBezTo>
                  <a:close/>
                  <a:moveTo>
                    <a:pt x="24" y="26"/>
                  </a:moveTo>
                  <a:cubicBezTo>
                    <a:pt x="24" y="27"/>
                    <a:pt x="23" y="29"/>
                    <a:pt x="22" y="30"/>
                  </a:cubicBezTo>
                  <a:cubicBezTo>
                    <a:pt x="21" y="31"/>
                    <a:pt x="20" y="32"/>
                    <a:pt x="18" y="33"/>
                  </a:cubicBezTo>
                  <a:cubicBezTo>
                    <a:pt x="16" y="33"/>
                    <a:pt x="15" y="33"/>
                    <a:pt x="12" y="33"/>
                  </a:cubicBezTo>
                  <a:cubicBezTo>
                    <a:pt x="8" y="33"/>
                    <a:pt x="8" y="33"/>
                    <a:pt x="8" y="33"/>
                  </a:cubicBezTo>
                  <a:cubicBezTo>
                    <a:pt x="8" y="6"/>
                    <a:pt x="8" y="6"/>
                    <a:pt x="8" y="6"/>
                  </a:cubicBezTo>
                  <a:cubicBezTo>
                    <a:pt x="12" y="6"/>
                    <a:pt x="12" y="6"/>
                    <a:pt x="12" y="6"/>
                  </a:cubicBezTo>
                  <a:cubicBezTo>
                    <a:pt x="15" y="6"/>
                    <a:pt x="17" y="6"/>
                    <a:pt x="18" y="7"/>
                  </a:cubicBezTo>
                  <a:cubicBezTo>
                    <a:pt x="20" y="8"/>
                    <a:pt x="21" y="9"/>
                    <a:pt x="22" y="10"/>
                  </a:cubicBezTo>
                  <a:cubicBezTo>
                    <a:pt x="23" y="11"/>
                    <a:pt x="24" y="12"/>
                    <a:pt x="24" y="14"/>
                  </a:cubicBezTo>
                  <a:cubicBezTo>
                    <a:pt x="25" y="16"/>
                    <a:pt x="25" y="18"/>
                    <a:pt x="25" y="19"/>
                  </a:cubicBezTo>
                  <a:cubicBezTo>
                    <a:pt x="25" y="22"/>
                    <a:pt x="25" y="24"/>
                    <a:pt x="24" y="26"/>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 name="Freeform 200">
              <a:extLst>
                <a:ext uri="{FF2B5EF4-FFF2-40B4-BE49-F238E27FC236}">
                  <a16:creationId xmlns:a16="http://schemas.microsoft.com/office/drawing/2014/main" id="{F6004A21-6CBC-43E2-B401-3EB7DE5F1C23}"/>
                </a:ext>
              </a:extLst>
            </p:cNvPr>
            <p:cNvSpPr>
              <a:spLocks/>
            </p:cNvSpPr>
            <p:nvPr/>
          </p:nvSpPr>
          <p:spPr bwMode="auto">
            <a:xfrm>
              <a:off x="3317011" y="4835113"/>
              <a:ext cx="89461" cy="142849"/>
            </a:xfrm>
            <a:custGeom>
              <a:avLst/>
              <a:gdLst>
                <a:gd name="T0" fmla="*/ 26 w 26"/>
                <a:gd name="T1" fmla="*/ 24 h 42"/>
                <a:gd name="T2" fmla="*/ 24 w 26"/>
                <a:gd name="T3" fmla="*/ 21 h 42"/>
                <a:gd name="T4" fmla="*/ 21 w 26"/>
                <a:gd name="T5" fmla="*/ 19 h 42"/>
                <a:gd name="T6" fmla="*/ 18 w 26"/>
                <a:gd name="T7" fmla="*/ 17 h 42"/>
                <a:gd name="T8" fmla="*/ 14 w 26"/>
                <a:gd name="T9" fmla="*/ 16 h 42"/>
                <a:gd name="T10" fmla="*/ 12 w 26"/>
                <a:gd name="T11" fmla="*/ 14 h 42"/>
                <a:gd name="T12" fmla="*/ 10 w 26"/>
                <a:gd name="T13" fmla="*/ 13 h 42"/>
                <a:gd name="T14" fmla="*/ 9 w 26"/>
                <a:gd name="T15" fmla="*/ 10 h 42"/>
                <a:gd name="T16" fmla="*/ 9 w 26"/>
                <a:gd name="T17" fmla="*/ 9 h 42"/>
                <a:gd name="T18" fmla="*/ 10 w 26"/>
                <a:gd name="T19" fmla="*/ 7 h 42"/>
                <a:gd name="T20" fmla="*/ 12 w 26"/>
                <a:gd name="T21" fmla="*/ 6 h 42"/>
                <a:gd name="T22" fmla="*/ 14 w 26"/>
                <a:gd name="T23" fmla="*/ 6 h 42"/>
                <a:gd name="T24" fmla="*/ 17 w 26"/>
                <a:gd name="T25" fmla="*/ 6 h 42"/>
                <a:gd name="T26" fmla="*/ 20 w 26"/>
                <a:gd name="T27" fmla="*/ 7 h 42"/>
                <a:gd name="T28" fmla="*/ 22 w 26"/>
                <a:gd name="T29" fmla="*/ 8 h 42"/>
                <a:gd name="T30" fmla="*/ 23 w 26"/>
                <a:gd name="T31" fmla="*/ 9 h 42"/>
                <a:gd name="T32" fmla="*/ 23 w 26"/>
                <a:gd name="T33" fmla="*/ 9 h 42"/>
                <a:gd name="T34" fmla="*/ 24 w 26"/>
                <a:gd name="T35" fmla="*/ 8 h 42"/>
                <a:gd name="T36" fmla="*/ 24 w 26"/>
                <a:gd name="T37" fmla="*/ 7 h 42"/>
                <a:gd name="T38" fmla="*/ 24 w 26"/>
                <a:gd name="T39" fmla="*/ 5 h 42"/>
                <a:gd name="T40" fmla="*/ 24 w 26"/>
                <a:gd name="T41" fmla="*/ 4 h 42"/>
                <a:gd name="T42" fmla="*/ 24 w 26"/>
                <a:gd name="T43" fmla="*/ 3 h 42"/>
                <a:gd name="T44" fmla="*/ 24 w 26"/>
                <a:gd name="T45" fmla="*/ 3 h 42"/>
                <a:gd name="T46" fmla="*/ 23 w 26"/>
                <a:gd name="T47" fmla="*/ 2 h 42"/>
                <a:gd name="T48" fmla="*/ 22 w 26"/>
                <a:gd name="T49" fmla="*/ 1 h 42"/>
                <a:gd name="T50" fmla="*/ 20 w 26"/>
                <a:gd name="T51" fmla="*/ 0 h 42"/>
                <a:gd name="T52" fmla="*/ 17 w 26"/>
                <a:gd name="T53" fmla="*/ 0 h 42"/>
                <a:gd name="T54" fmla="*/ 14 w 26"/>
                <a:gd name="T55" fmla="*/ 0 h 42"/>
                <a:gd name="T56" fmla="*/ 9 w 26"/>
                <a:gd name="T57" fmla="*/ 0 h 42"/>
                <a:gd name="T58" fmla="*/ 5 w 26"/>
                <a:gd name="T59" fmla="*/ 3 h 42"/>
                <a:gd name="T60" fmla="*/ 2 w 26"/>
                <a:gd name="T61" fmla="*/ 6 h 42"/>
                <a:gd name="T62" fmla="*/ 1 w 26"/>
                <a:gd name="T63" fmla="*/ 11 h 42"/>
                <a:gd name="T64" fmla="*/ 1 w 26"/>
                <a:gd name="T65" fmla="*/ 16 h 42"/>
                <a:gd name="T66" fmla="*/ 3 w 26"/>
                <a:gd name="T67" fmla="*/ 19 h 42"/>
                <a:gd name="T68" fmla="*/ 6 w 26"/>
                <a:gd name="T69" fmla="*/ 21 h 42"/>
                <a:gd name="T70" fmla="*/ 9 w 26"/>
                <a:gd name="T71" fmla="*/ 23 h 42"/>
                <a:gd name="T72" fmla="*/ 12 w 26"/>
                <a:gd name="T73" fmla="*/ 24 h 42"/>
                <a:gd name="T74" fmla="*/ 15 w 26"/>
                <a:gd name="T75" fmla="*/ 26 h 42"/>
                <a:gd name="T76" fmla="*/ 17 w 26"/>
                <a:gd name="T77" fmla="*/ 27 h 42"/>
                <a:gd name="T78" fmla="*/ 18 w 26"/>
                <a:gd name="T79" fmla="*/ 30 h 42"/>
                <a:gd name="T80" fmla="*/ 17 w 26"/>
                <a:gd name="T81" fmla="*/ 32 h 42"/>
                <a:gd name="T82" fmla="*/ 16 w 26"/>
                <a:gd name="T83" fmla="*/ 34 h 42"/>
                <a:gd name="T84" fmla="*/ 14 w 26"/>
                <a:gd name="T85" fmla="*/ 35 h 42"/>
                <a:gd name="T86" fmla="*/ 11 w 26"/>
                <a:gd name="T87" fmla="*/ 35 h 42"/>
                <a:gd name="T88" fmla="*/ 7 w 26"/>
                <a:gd name="T89" fmla="*/ 34 h 42"/>
                <a:gd name="T90" fmla="*/ 4 w 26"/>
                <a:gd name="T91" fmla="*/ 33 h 42"/>
                <a:gd name="T92" fmla="*/ 2 w 26"/>
                <a:gd name="T93" fmla="*/ 32 h 42"/>
                <a:gd name="T94" fmla="*/ 1 w 26"/>
                <a:gd name="T95" fmla="*/ 32 h 42"/>
                <a:gd name="T96" fmla="*/ 1 w 26"/>
                <a:gd name="T97" fmla="*/ 32 h 42"/>
                <a:gd name="T98" fmla="*/ 0 w 26"/>
                <a:gd name="T99" fmla="*/ 32 h 42"/>
                <a:gd name="T100" fmla="*/ 0 w 26"/>
                <a:gd name="T101" fmla="*/ 33 h 42"/>
                <a:gd name="T102" fmla="*/ 0 w 26"/>
                <a:gd name="T103" fmla="*/ 35 h 42"/>
                <a:gd name="T104" fmla="*/ 0 w 26"/>
                <a:gd name="T105" fmla="*/ 37 h 42"/>
                <a:gd name="T106" fmla="*/ 1 w 26"/>
                <a:gd name="T107" fmla="*/ 38 h 42"/>
                <a:gd name="T108" fmla="*/ 2 w 26"/>
                <a:gd name="T109" fmla="*/ 39 h 42"/>
                <a:gd name="T110" fmla="*/ 4 w 26"/>
                <a:gd name="T111" fmla="*/ 40 h 42"/>
                <a:gd name="T112" fmla="*/ 7 w 26"/>
                <a:gd name="T113" fmla="*/ 41 h 42"/>
                <a:gd name="T114" fmla="*/ 11 w 26"/>
                <a:gd name="T115" fmla="*/ 42 h 42"/>
                <a:gd name="T116" fmla="*/ 17 w 26"/>
                <a:gd name="T117" fmla="*/ 41 h 42"/>
                <a:gd name="T118" fmla="*/ 22 w 26"/>
                <a:gd name="T119" fmla="*/ 38 h 42"/>
                <a:gd name="T120" fmla="*/ 25 w 26"/>
                <a:gd name="T121" fmla="*/ 34 h 42"/>
                <a:gd name="T122" fmla="*/ 26 w 26"/>
                <a:gd name="T123" fmla="*/ 29 h 42"/>
                <a:gd name="T124" fmla="*/ 26 w 26"/>
                <a:gd name="T125"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 h="42">
                  <a:moveTo>
                    <a:pt x="26" y="24"/>
                  </a:moveTo>
                  <a:cubicBezTo>
                    <a:pt x="25" y="23"/>
                    <a:pt x="24" y="22"/>
                    <a:pt x="24" y="21"/>
                  </a:cubicBezTo>
                  <a:cubicBezTo>
                    <a:pt x="23" y="20"/>
                    <a:pt x="22" y="20"/>
                    <a:pt x="21" y="19"/>
                  </a:cubicBezTo>
                  <a:cubicBezTo>
                    <a:pt x="20" y="18"/>
                    <a:pt x="19" y="18"/>
                    <a:pt x="18" y="17"/>
                  </a:cubicBezTo>
                  <a:cubicBezTo>
                    <a:pt x="17" y="17"/>
                    <a:pt x="15" y="16"/>
                    <a:pt x="14" y="16"/>
                  </a:cubicBezTo>
                  <a:cubicBezTo>
                    <a:pt x="13" y="15"/>
                    <a:pt x="12" y="15"/>
                    <a:pt x="12" y="14"/>
                  </a:cubicBezTo>
                  <a:cubicBezTo>
                    <a:pt x="11" y="14"/>
                    <a:pt x="10" y="13"/>
                    <a:pt x="10" y="13"/>
                  </a:cubicBezTo>
                  <a:cubicBezTo>
                    <a:pt x="9" y="12"/>
                    <a:pt x="9" y="11"/>
                    <a:pt x="9" y="10"/>
                  </a:cubicBezTo>
                  <a:cubicBezTo>
                    <a:pt x="9" y="10"/>
                    <a:pt x="9" y="9"/>
                    <a:pt x="9" y="9"/>
                  </a:cubicBezTo>
                  <a:cubicBezTo>
                    <a:pt x="9" y="8"/>
                    <a:pt x="10" y="8"/>
                    <a:pt x="10" y="7"/>
                  </a:cubicBezTo>
                  <a:cubicBezTo>
                    <a:pt x="11" y="7"/>
                    <a:pt x="11" y="7"/>
                    <a:pt x="12" y="6"/>
                  </a:cubicBezTo>
                  <a:cubicBezTo>
                    <a:pt x="13" y="6"/>
                    <a:pt x="13" y="6"/>
                    <a:pt x="14" y="6"/>
                  </a:cubicBezTo>
                  <a:cubicBezTo>
                    <a:pt x="15" y="6"/>
                    <a:pt x="16" y="6"/>
                    <a:pt x="17" y="6"/>
                  </a:cubicBezTo>
                  <a:cubicBezTo>
                    <a:pt x="18" y="7"/>
                    <a:pt x="19" y="7"/>
                    <a:pt x="20" y="7"/>
                  </a:cubicBezTo>
                  <a:cubicBezTo>
                    <a:pt x="21" y="8"/>
                    <a:pt x="21" y="8"/>
                    <a:pt x="22" y="8"/>
                  </a:cubicBezTo>
                  <a:cubicBezTo>
                    <a:pt x="22" y="9"/>
                    <a:pt x="23" y="9"/>
                    <a:pt x="23" y="9"/>
                  </a:cubicBezTo>
                  <a:cubicBezTo>
                    <a:pt x="23" y="9"/>
                    <a:pt x="23" y="9"/>
                    <a:pt x="23" y="9"/>
                  </a:cubicBezTo>
                  <a:cubicBezTo>
                    <a:pt x="24" y="8"/>
                    <a:pt x="24" y="8"/>
                    <a:pt x="24" y="8"/>
                  </a:cubicBezTo>
                  <a:cubicBezTo>
                    <a:pt x="24" y="8"/>
                    <a:pt x="24" y="7"/>
                    <a:pt x="24" y="7"/>
                  </a:cubicBezTo>
                  <a:cubicBezTo>
                    <a:pt x="24" y="7"/>
                    <a:pt x="24" y="6"/>
                    <a:pt x="24" y="5"/>
                  </a:cubicBezTo>
                  <a:cubicBezTo>
                    <a:pt x="24" y="5"/>
                    <a:pt x="24" y="4"/>
                    <a:pt x="24" y="4"/>
                  </a:cubicBezTo>
                  <a:cubicBezTo>
                    <a:pt x="24" y="4"/>
                    <a:pt x="24" y="3"/>
                    <a:pt x="24" y="3"/>
                  </a:cubicBezTo>
                  <a:cubicBezTo>
                    <a:pt x="24" y="3"/>
                    <a:pt x="24" y="3"/>
                    <a:pt x="24" y="3"/>
                  </a:cubicBezTo>
                  <a:cubicBezTo>
                    <a:pt x="24" y="2"/>
                    <a:pt x="23" y="2"/>
                    <a:pt x="23" y="2"/>
                  </a:cubicBezTo>
                  <a:cubicBezTo>
                    <a:pt x="23" y="2"/>
                    <a:pt x="23" y="2"/>
                    <a:pt x="22" y="1"/>
                  </a:cubicBezTo>
                  <a:cubicBezTo>
                    <a:pt x="21" y="1"/>
                    <a:pt x="21" y="1"/>
                    <a:pt x="20" y="0"/>
                  </a:cubicBezTo>
                  <a:cubicBezTo>
                    <a:pt x="19" y="0"/>
                    <a:pt x="18" y="0"/>
                    <a:pt x="17" y="0"/>
                  </a:cubicBezTo>
                  <a:cubicBezTo>
                    <a:pt x="16" y="0"/>
                    <a:pt x="15" y="0"/>
                    <a:pt x="14" y="0"/>
                  </a:cubicBezTo>
                  <a:cubicBezTo>
                    <a:pt x="12" y="0"/>
                    <a:pt x="11" y="0"/>
                    <a:pt x="9" y="0"/>
                  </a:cubicBezTo>
                  <a:cubicBezTo>
                    <a:pt x="7" y="1"/>
                    <a:pt x="6" y="2"/>
                    <a:pt x="5" y="3"/>
                  </a:cubicBezTo>
                  <a:cubicBezTo>
                    <a:pt x="3" y="3"/>
                    <a:pt x="2" y="5"/>
                    <a:pt x="2" y="6"/>
                  </a:cubicBezTo>
                  <a:cubicBezTo>
                    <a:pt x="1" y="8"/>
                    <a:pt x="1" y="9"/>
                    <a:pt x="1" y="11"/>
                  </a:cubicBezTo>
                  <a:cubicBezTo>
                    <a:pt x="1" y="13"/>
                    <a:pt x="1" y="14"/>
                    <a:pt x="1" y="16"/>
                  </a:cubicBezTo>
                  <a:cubicBezTo>
                    <a:pt x="2" y="17"/>
                    <a:pt x="2" y="18"/>
                    <a:pt x="3" y="19"/>
                  </a:cubicBezTo>
                  <a:cubicBezTo>
                    <a:pt x="4" y="20"/>
                    <a:pt x="5" y="20"/>
                    <a:pt x="6" y="21"/>
                  </a:cubicBezTo>
                  <a:cubicBezTo>
                    <a:pt x="7" y="22"/>
                    <a:pt x="8" y="22"/>
                    <a:pt x="9" y="23"/>
                  </a:cubicBezTo>
                  <a:cubicBezTo>
                    <a:pt x="10" y="23"/>
                    <a:pt x="11" y="24"/>
                    <a:pt x="12" y="24"/>
                  </a:cubicBezTo>
                  <a:cubicBezTo>
                    <a:pt x="13" y="25"/>
                    <a:pt x="14" y="25"/>
                    <a:pt x="15" y="26"/>
                  </a:cubicBezTo>
                  <a:cubicBezTo>
                    <a:pt x="16" y="26"/>
                    <a:pt x="17" y="27"/>
                    <a:pt x="17" y="27"/>
                  </a:cubicBezTo>
                  <a:cubicBezTo>
                    <a:pt x="18" y="28"/>
                    <a:pt x="18" y="29"/>
                    <a:pt x="18" y="30"/>
                  </a:cubicBezTo>
                  <a:cubicBezTo>
                    <a:pt x="18" y="31"/>
                    <a:pt x="18" y="31"/>
                    <a:pt x="17" y="32"/>
                  </a:cubicBezTo>
                  <a:cubicBezTo>
                    <a:pt x="17" y="33"/>
                    <a:pt x="17" y="33"/>
                    <a:pt x="16" y="34"/>
                  </a:cubicBezTo>
                  <a:cubicBezTo>
                    <a:pt x="16" y="34"/>
                    <a:pt x="15" y="34"/>
                    <a:pt x="14" y="35"/>
                  </a:cubicBezTo>
                  <a:cubicBezTo>
                    <a:pt x="13" y="35"/>
                    <a:pt x="12" y="35"/>
                    <a:pt x="11" y="35"/>
                  </a:cubicBezTo>
                  <a:cubicBezTo>
                    <a:pt x="10" y="35"/>
                    <a:pt x="9" y="35"/>
                    <a:pt x="7" y="34"/>
                  </a:cubicBezTo>
                  <a:cubicBezTo>
                    <a:pt x="6" y="34"/>
                    <a:pt x="5" y="34"/>
                    <a:pt x="4" y="33"/>
                  </a:cubicBezTo>
                  <a:cubicBezTo>
                    <a:pt x="4" y="33"/>
                    <a:pt x="3" y="32"/>
                    <a:pt x="2" y="32"/>
                  </a:cubicBezTo>
                  <a:cubicBezTo>
                    <a:pt x="2" y="32"/>
                    <a:pt x="1" y="32"/>
                    <a:pt x="1" y="32"/>
                  </a:cubicBezTo>
                  <a:cubicBezTo>
                    <a:pt x="1" y="32"/>
                    <a:pt x="1" y="32"/>
                    <a:pt x="1" y="32"/>
                  </a:cubicBezTo>
                  <a:cubicBezTo>
                    <a:pt x="0" y="32"/>
                    <a:pt x="0" y="32"/>
                    <a:pt x="0" y="32"/>
                  </a:cubicBezTo>
                  <a:cubicBezTo>
                    <a:pt x="0" y="33"/>
                    <a:pt x="0" y="33"/>
                    <a:pt x="0" y="33"/>
                  </a:cubicBezTo>
                  <a:cubicBezTo>
                    <a:pt x="0" y="34"/>
                    <a:pt x="0" y="34"/>
                    <a:pt x="0" y="35"/>
                  </a:cubicBezTo>
                  <a:cubicBezTo>
                    <a:pt x="0" y="36"/>
                    <a:pt x="0" y="37"/>
                    <a:pt x="0" y="37"/>
                  </a:cubicBezTo>
                  <a:cubicBezTo>
                    <a:pt x="0" y="38"/>
                    <a:pt x="0" y="38"/>
                    <a:pt x="1" y="38"/>
                  </a:cubicBezTo>
                  <a:cubicBezTo>
                    <a:pt x="1" y="39"/>
                    <a:pt x="1" y="39"/>
                    <a:pt x="2" y="39"/>
                  </a:cubicBezTo>
                  <a:cubicBezTo>
                    <a:pt x="3" y="40"/>
                    <a:pt x="3" y="40"/>
                    <a:pt x="4" y="40"/>
                  </a:cubicBezTo>
                  <a:cubicBezTo>
                    <a:pt x="5" y="41"/>
                    <a:pt x="6" y="41"/>
                    <a:pt x="7" y="41"/>
                  </a:cubicBezTo>
                  <a:cubicBezTo>
                    <a:pt x="9" y="41"/>
                    <a:pt x="10" y="42"/>
                    <a:pt x="11" y="42"/>
                  </a:cubicBezTo>
                  <a:cubicBezTo>
                    <a:pt x="13" y="42"/>
                    <a:pt x="15" y="41"/>
                    <a:pt x="17" y="41"/>
                  </a:cubicBezTo>
                  <a:cubicBezTo>
                    <a:pt x="19" y="40"/>
                    <a:pt x="21" y="39"/>
                    <a:pt x="22" y="38"/>
                  </a:cubicBezTo>
                  <a:cubicBezTo>
                    <a:pt x="23" y="37"/>
                    <a:pt x="24" y="36"/>
                    <a:pt x="25" y="34"/>
                  </a:cubicBezTo>
                  <a:cubicBezTo>
                    <a:pt x="26" y="33"/>
                    <a:pt x="26" y="31"/>
                    <a:pt x="26" y="29"/>
                  </a:cubicBezTo>
                  <a:cubicBezTo>
                    <a:pt x="26" y="27"/>
                    <a:pt x="26" y="26"/>
                    <a:pt x="26" y="24"/>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 name="Freeform 201">
              <a:extLst>
                <a:ext uri="{FF2B5EF4-FFF2-40B4-BE49-F238E27FC236}">
                  <a16:creationId xmlns:a16="http://schemas.microsoft.com/office/drawing/2014/main" id="{E1DABD50-E7C3-48C5-856D-1BEAA5EBF4D7}"/>
                </a:ext>
              </a:extLst>
            </p:cNvPr>
            <p:cNvSpPr>
              <a:spLocks/>
            </p:cNvSpPr>
            <p:nvPr/>
          </p:nvSpPr>
          <p:spPr bwMode="auto">
            <a:xfrm>
              <a:off x="3426672" y="4835113"/>
              <a:ext cx="82247" cy="139963"/>
            </a:xfrm>
            <a:custGeom>
              <a:avLst/>
              <a:gdLst>
                <a:gd name="T0" fmla="*/ 24 w 24"/>
                <a:gd name="T1" fmla="*/ 36 h 41"/>
                <a:gd name="T2" fmla="*/ 24 w 24"/>
                <a:gd name="T3" fmla="*/ 35 h 41"/>
                <a:gd name="T4" fmla="*/ 24 w 24"/>
                <a:gd name="T5" fmla="*/ 35 h 41"/>
                <a:gd name="T6" fmla="*/ 23 w 24"/>
                <a:gd name="T7" fmla="*/ 34 h 41"/>
                <a:gd name="T8" fmla="*/ 9 w 24"/>
                <a:gd name="T9" fmla="*/ 34 h 41"/>
                <a:gd name="T10" fmla="*/ 9 w 24"/>
                <a:gd name="T11" fmla="*/ 23 h 41"/>
                <a:gd name="T12" fmla="*/ 21 w 24"/>
                <a:gd name="T13" fmla="*/ 23 h 41"/>
                <a:gd name="T14" fmla="*/ 21 w 24"/>
                <a:gd name="T15" fmla="*/ 23 h 41"/>
                <a:gd name="T16" fmla="*/ 22 w 24"/>
                <a:gd name="T17" fmla="*/ 22 h 41"/>
                <a:gd name="T18" fmla="*/ 22 w 24"/>
                <a:gd name="T19" fmla="*/ 21 h 41"/>
                <a:gd name="T20" fmla="*/ 22 w 24"/>
                <a:gd name="T21" fmla="*/ 20 h 41"/>
                <a:gd name="T22" fmla="*/ 22 w 24"/>
                <a:gd name="T23" fmla="*/ 18 h 41"/>
                <a:gd name="T24" fmla="*/ 22 w 24"/>
                <a:gd name="T25" fmla="*/ 17 h 41"/>
                <a:gd name="T26" fmla="*/ 21 w 24"/>
                <a:gd name="T27" fmla="*/ 17 h 41"/>
                <a:gd name="T28" fmla="*/ 21 w 24"/>
                <a:gd name="T29" fmla="*/ 17 h 41"/>
                <a:gd name="T30" fmla="*/ 9 w 24"/>
                <a:gd name="T31" fmla="*/ 17 h 41"/>
                <a:gd name="T32" fmla="*/ 9 w 24"/>
                <a:gd name="T33" fmla="*/ 7 h 41"/>
                <a:gd name="T34" fmla="*/ 23 w 24"/>
                <a:gd name="T35" fmla="*/ 7 h 41"/>
                <a:gd name="T36" fmla="*/ 24 w 24"/>
                <a:gd name="T37" fmla="*/ 7 h 41"/>
                <a:gd name="T38" fmla="*/ 24 w 24"/>
                <a:gd name="T39" fmla="*/ 6 h 41"/>
                <a:gd name="T40" fmla="*/ 24 w 24"/>
                <a:gd name="T41" fmla="*/ 5 h 41"/>
                <a:gd name="T42" fmla="*/ 24 w 24"/>
                <a:gd name="T43" fmla="*/ 4 h 41"/>
                <a:gd name="T44" fmla="*/ 24 w 24"/>
                <a:gd name="T45" fmla="*/ 2 h 41"/>
                <a:gd name="T46" fmla="*/ 24 w 24"/>
                <a:gd name="T47" fmla="*/ 1 h 41"/>
                <a:gd name="T48" fmla="*/ 24 w 24"/>
                <a:gd name="T49" fmla="*/ 1 h 41"/>
                <a:gd name="T50" fmla="*/ 23 w 24"/>
                <a:gd name="T51" fmla="*/ 0 h 41"/>
                <a:gd name="T52" fmla="*/ 3 w 24"/>
                <a:gd name="T53" fmla="*/ 0 h 41"/>
                <a:gd name="T54" fmla="*/ 1 w 24"/>
                <a:gd name="T55" fmla="*/ 1 h 41"/>
                <a:gd name="T56" fmla="*/ 0 w 24"/>
                <a:gd name="T57" fmla="*/ 3 h 41"/>
                <a:gd name="T58" fmla="*/ 0 w 24"/>
                <a:gd name="T59" fmla="*/ 38 h 41"/>
                <a:gd name="T60" fmla="*/ 1 w 24"/>
                <a:gd name="T61" fmla="*/ 40 h 41"/>
                <a:gd name="T62" fmla="*/ 3 w 24"/>
                <a:gd name="T63" fmla="*/ 41 h 41"/>
                <a:gd name="T64" fmla="*/ 23 w 24"/>
                <a:gd name="T65" fmla="*/ 41 h 41"/>
                <a:gd name="T66" fmla="*/ 24 w 24"/>
                <a:gd name="T67" fmla="*/ 41 h 41"/>
                <a:gd name="T68" fmla="*/ 24 w 24"/>
                <a:gd name="T69" fmla="*/ 40 h 41"/>
                <a:gd name="T70" fmla="*/ 24 w 24"/>
                <a:gd name="T71" fmla="*/ 39 h 41"/>
                <a:gd name="T72" fmla="*/ 24 w 24"/>
                <a:gd name="T73" fmla="*/ 38 h 41"/>
                <a:gd name="T74" fmla="*/ 24 w 24"/>
                <a:gd name="T75"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41">
                  <a:moveTo>
                    <a:pt x="24" y="36"/>
                  </a:moveTo>
                  <a:cubicBezTo>
                    <a:pt x="24" y="36"/>
                    <a:pt x="24" y="35"/>
                    <a:pt x="24" y="35"/>
                  </a:cubicBezTo>
                  <a:cubicBezTo>
                    <a:pt x="24" y="35"/>
                    <a:pt x="24" y="35"/>
                    <a:pt x="24" y="35"/>
                  </a:cubicBezTo>
                  <a:cubicBezTo>
                    <a:pt x="24" y="34"/>
                    <a:pt x="23" y="34"/>
                    <a:pt x="23" y="34"/>
                  </a:cubicBezTo>
                  <a:cubicBezTo>
                    <a:pt x="9" y="34"/>
                    <a:pt x="9" y="34"/>
                    <a:pt x="9" y="34"/>
                  </a:cubicBezTo>
                  <a:cubicBezTo>
                    <a:pt x="9" y="23"/>
                    <a:pt x="9" y="23"/>
                    <a:pt x="9" y="23"/>
                  </a:cubicBezTo>
                  <a:cubicBezTo>
                    <a:pt x="21" y="23"/>
                    <a:pt x="21" y="23"/>
                    <a:pt x="21" y="23"/>
                  </a:cubicBezTo>
                  <a:cubicBezTo>
                    <a:pt x="21" y="23"/>
                    <a:pt x="21" y="23"/>
                    <a:pt x="21" y="23"/>
                  </a:cubicBezTo>
                  <a:cubicBezTo>
                    <a:pt x="22" y="23"/>
                    <a:pt x="22" y="23"/>
                    <a:pt x="22" y="22"/>
                  </a:cubicBezTo>
                  <a:cubicBezTo>
                    <a:pt x="22" y="22"/>
                    <a:pt x="22" y="22"/>
                    <a:pt x="22" y="21"/>
                  </a:cubicBezTo>
                  <a:cubicBezTo>
                    <a:pt x="22" y="21"/>
                    <a:pt x="22" y="20"/>
                    <a:pt x="22" y="20"/>
                  </a:cubicBezTo>
                  <a:cubicBezTo>
                    <a:pt x="22" y="19"/>
                    <a:pt x="22" y="19"/>
                    <a:pt x="22" y="18"/>
                  </a:cubicBezTo>
                  <a:cubicBezTo>
                    <a:pt x="22" y="18"/>
                    <a:pt x="22" y="18"/>
                    <a:pt x="22" y="17"/>
                  </a:cubicBezTo>
                  <a:cubicBezTo>
                    <a:pt x="22" y="17"/>
                    <a:pt x="22" y="17"/>
                    <a:pt x="21" y="17"/>
                  </a:cubicBezTo>
                  <a:cubicBezTo>
                    <a:pt x="21" y="17"/>
                    <a:pt x="21" y="17"/>
                    <a:pt x="21" y="17"/>
                  </a:cubicBezTo>
                  <a:cubicBezTo>
                    <a:pt x="9" y="17"/>
                    <a:pt x="9" y="17"/>
                    <a:pt x="9" y="17"/>
                  </a:cubicBezTo>
                  <a:cubicBezTo>
                    <a:pt x="9" y="7"/>
                    <a:pt x="9" y="7"/>
                    <a:pt x="9" y="7"/>
                  </a:cubicBezTo>
                  <a:cubicBezTo>
                    <a:pt x="23" y="7"/>
                    <a:pt x="23" y="7"/>
                    <a:pt x="23" y="7"/>
                  </a:cubicBezTo>
                  <a:cubicBezTo>
                    <a:pt x="23" y="7"/>
                    <a:pt x="23" y="7"/>
                    <a:pt x="24" y="7"/>
                  </a:cubicBezTo>
                  <a:cubicBezTo>
                    <a:pt x="24" y="6"/>
                    <a:pt x="24" y="6"/>
                    <a:pt x="24" y="6"/>
                  </a:cubicBezTo>
                  <a:cubicBezTo>
                    <a:pt x="24" y="6"/>
                    <a:pt x="24" y="5"/>
                    <a:pt x="24" y="5"/>
                  </a:cubicBezTo>
                  <a:cubicBezTo>
                    <a:pt x="24" y="5"/>
                    <a:pt x="24" y="4"/>
                    <a:pt x="24" y="4"/>
                  </a:cubicBezTo>
                  <a:cubicBezTo>
                    <a:pt x="24" y="3"/>
                    <a:pt x="24" y="2"/>
                    <a:pt x="24" y="2"/>
                  </a:cubicBezTo>
                  <a:cubicBezTo>
                    <a:pt x="24" y="2"/>
                    <a:pt x="24" y="1"/>
                    <a:pt x="24" y="1"/>
                  </a:cubicBezTo>
                  <a:cubicBezTo>
                    <a:pt x="24" y="1"/>
                    <a:pt x="24" y="1"/>
                    <a:pt x="24" y="1"/>
                  </a:cubicBezTo>
                  <a:cubicBezTo>
                    <a:pt x="23" y="0"/>
                    <a:pt x="23" y="0"/>
                    <a:pt x="23" y="0"/>
                  </a:cubicBezTo>
                  <a:cubicBezTo>
                    <a:pt x="3" y="0"/>
                    <a:pt x="3" y="0"/>
                    <a:pt x="3" y="0"/>
                  </a:cubicBezTo>
                  <a:cubicBezTo>
                    <a:pt x="2" y="0"/>
                    <a:pt x="2" y="1"/>
                    <a:pt x="1" y="1"/>
                  </a:cubicBezTo>
                  <a:cubicBezTo>
                    <a:pt x="1" y="1"/>
                    <a:pt x="0" y="2"/>
                    <a:pt x="0" y="3"/>
                  </a:cubicBezTo>
                  <a:cubicBezTo>
                    <a:pt x="0" y="38"/>
                    <a:pt x="0" y="38"/>
                    <a:pt x="0" y="38"/>
                  </a:cubicBezTo>
                  <a:cubicBezTo>
                    <a:pt x="0" y="39"/>
                    <a:pt x="1" y="40"/>
                    <a:pt x="1" y="40"/>
                  </a:cubicBezTo>
                  <a:cubicBezTo>
                    <a:pt x="2" y="41"/>
                    <a:pt x="2" y="41"/>
                    <a:pt x="3" y="41"/>
                  </a:cubicBezTo>
                  <a:cubicBezTo>
                    <a:pt x="23" y="41"/>
                    <a:pt x="23" y="41"/>
                    <a:pt x="23" y="41"/>
                  </a:cubicBezTo>
                  <a:cubicBezTo>
                    <a:pt x="23" y="41"/>
                    <a:pt x="24" y="41"/>
                    <a:pt x="24" y="41"/>
                  </a:cubicBezTo>
                  <a:cubicBezTo>
                    <a:pt x="24" y="40"/>
                    <a:pt x="24" y="40"/>
                    <a:pt x="24" y="40"/>
                  </a:cubicBezTo>
                  <a:cubicBezTo>
                    <a:pt x="24" y="40"/>
                    <a:pt x="24" y="39"/>
                    <a:pt x="24" y="39"/>
                  </a:cubicBezTo>
                  <a:cubicBezTo>
                    <a:pt x="24" y="39"/>
                    <a:pt x="24" y="38"/>
                    <a:pt x="24" y="38"/>
                  </a:cubicBezTo>
                  <a:cubicBezTo>
                    <a:pt x="24" y="37"/>
                    <a:pt x="24" y="36"/>
                    <a:pt x="24" y="36"/>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 name="Freeform 202">
              <a:extLst>
                <a:ext uri="{FF2B5EF4-FFF2-40B4-BE49-F238E27FC236}">
                  <a16:creationId xmlns:a16="http://schemas.microsoft.com/office/drawing/2014/main" id="{60D907E2-859D-4792-A4FD-C14B503A1BBA}"/>
                </a:ext>
              </a:extLst>
            </p:cNvPr>
            <p:cNvSpPr>
              <a:spLocks noEditPoints="1"/>
            </p:cNvSpPr>
            <p:nvPr/>
          </p:nvSpPr>
          <p:spPr bwMode="auto">
            <a:xfrm>
              <a:off x="3536334" y="4835113"/>
              <a:ext cx="102447" cy="139963"/>
            </a:xfrm>
            <a:custGeom>
              <a:avLst/>
              <a:gdLst>
                <a:gd name="T0" fmla="*/ 30 w 30"/>
                <a:gd name="T1" fmla="*/ 39 h 41"/>
                <a:gd name="T2" fmla="*/ 29 w 30"/>
                <a:gd name="T3" fmla="*/ 37 h 41"/>
                <a:gd name="T4" fmla="*/ 25 w 30"/>
                <a:gd name="T5" fmla="*/ 29 h 41"/>
                <a:gd name="T6" fmla="*/ 24 w 30"/>
                <a:gd name="T7" fmla="*/ 27 h 41"/>
                <a:gd name="T8" fmla="*/ 23 w 30"/>
                <a:gd name="T9" fmla="*/ 25 h 41"/>
                <a:gd name="T10" fmla="*/ 21 w 30"/>
                <a:gd name="T11" fmla="*/ 23 h 41"/>
                <a:gd name="T12" fmla="*/ 20 w 30"/>
                <a:gd name="T13" fmla="*/ 22 h 41"/>
                <a:gd name="T14" fmla="*/ 23 w 30"/>
                <a:gd name="T15" fmla="*/ 20 h 41"/>
                <a:gd name="T16" fmla="*/ 26 w 30"/>
                <a:gd name="T17" fmla="*/ 18 h 41"/>
                <a:gd name="T18" fmla="*/ 27 w 30"/>
                <a:gd name="T19" fmla="*/ 15 h 41"/>
                <a:gd name="T20" fmla="*/ 28 w 30"/>
                <a:gd name="T21" fmla="*/ 11 h 41"/>
                <a:gd name="T22" fmla="*/ 27 w 30"/>
                <a:gd name="T23" fmla="*/ 7 h 41"/>
                <a:gd name="T24" fmla="*/ 25 w 30"/>
                <a:gd name="T25" fmla="*/ 4 h 41"/>
                <a:gd name="T26" fmla="*/ 21 w 30"/>
                <a:gd name="T27" fmla="*/ 2 h 41"/>
                <a:gd name="T28" fmla="*/ 17 w 30"/>
                <a:gd name="T29" fmla="*/ 1 h 41"/>
                <a:gd name="T30" fmla="*/ 15 w 30"/>
                <a:gd name="T31" fmla="*/ 0 h 41"/>
                <a:gd name="T32" fmla="*/ 13 w 30"/>
                <a:gd name="T33" fmla="*/ 0 h 41"/>
                <a:gd name="T34" fmla="*/ 2 w 30"/>
                <a:gd name="T35" fmla="*/ 0 h 41"/>
                <a:gd name="T36" fmla="*/ 0 w 30"/>
                <a:gd name="T37" fmla="*/ 1 h 41"/>
                <a:gd name="T38" fmla="*/ 0 w 30"/>
                <a:gd name="T39" fmla="*/ 3 h 41"/>
                <a:gd name="T40" fmla="*/ 0 w 30"/>
                <a:gd name="T41" fmla="*/ 40 h 41"/>
                <a:gd name="T42" fmla="*/ 0 w 30"/>
                <a:gd name="T43" fmla="*/ 40 h 41"/>
                <a:gd name="T44" fmla="*/ 1 w 30"/>
                <a:gd name="T45" fmla="*/ 41 h 41"/>
                <a:gd name="T46" fmla="*/ 2 w 30"/>
                <a:gd name="T47" fmla="*/ 41 h 41"/>
                <a:gd name="T48" fmla="*/ 4 w 30"/>
                <a:gd name="T49" fmla="*/ 41 h 41"/>
                <a:gd name="T50" fmla="*/ 6 w 30"/>
                <a:gd name="T51" fmla="*/ 41 h 41"/>
                <a:gd name="T52" fmla="*/ 7 w 30"/>
                <a:gd name="T53" fmla="*/ 41 h 41"/>
                <a:gd name="T54" fmla="*/ 8 w 30"/>
                <a:gd name="T55" fmla="*/ 40 h 41"/>
                <a:gd name="T56" fmla="*/ 8 w 30"/>
                <a:gd name="T57" fmla="*/ 40 h 41"/>
                <a:gd name="T58" fmla="*/ 8 w 30"/>
                <a:gd name="T59" fmla="*/ 24 h 41"/>
                <a:gd name="T60" fmla="*/ 10 w 30"/>
                <a:gd name="T61" fmla="*/ 24 h 41"/>
                <a:gd name="T62" fmla="*/ 13 w 30"/>
                <a:gd name="T63" fmla="*/ 25 h 41"/>
                <a:gd name="T64" fmla="*/ 15 w 30"/>
                <a:gd name="T65" fmla="*/ 26 h 41"/>
                <a:gd name="T66" fmla="*/ 16 w 30"/>
                <a:gd name="T67" fmla="*/ 28 h 41"/>
                <a:gd name="T68" fmla="*/ 17 w 30"/>
                <a:gd name="T69" fmla="*/ 31 h 41"/>
                <a:gd name="T70" fmla="*/ 21 w 30"/>
                <a:gd name="T71" fmla="*/ 40 h 41"/>
                <a:gd name="T72" fmla="*/ 21 w 30"/>
                <a:gd name="T73" fmla="*/ 40 h 41"/>
                <a:gd name="T74" fmla="*/ 22 w 30"/>
                <a:gd name="T75" fmla="*/ 41 h 41"/>
                <a:gd name="T76" fmla="*/ 23 w 30"/>
                <a:gd name="T77" fmla="*/ 41 h 41"/>
                <a:gd name="T78" fmla="*/ 25 w 30"/>
                <a:gd name="T79" fmla="*/ 41 h 41"/>
                <a:gd name="T80" fmla="*/ 28 w 30"/>
                <a:gd name="T81" fmla="*/ 41 h 41"/>
                <a:gd name="T82" fmla="*/ 29 w 30"/>
                <a:gd name="T83" fmla="*/ 41 h 41"/>
                <a:gd name="T84" fmla="*/ 30 w 30"/>
                <a:gd name="T85" fmla="*/ 40 h 41"/>
                <a:gd name="T86" fmla="*/ 30 w 30"/>
                <a:gd name="T87" fmla="*/ 40 h 41"/>
                <a:gd name="T88" fmla="*/ 30 w 30"/>
                <a:gd name="T89" fmla="*/ 39 h 41"/>
                <a:gd name="T90" fmla="*/ 19 w 30"/>
                <a:gd name="T91" fmla="*/ 15 h 41"/>
                <a:gd name="T92" fmla="*/ 17 w 30"/>
                <a:gd name="T93" fmla="*/ 16 h 41"/>
                <a:gd name="T94" fmla="*/ 15 w 30"/>
                <a:gd name="T95" fmla="*/ 18 h 41"/>
                <a:gd name="T96" fmla="*/ 12 w 30"/>
                <a:gd name="T97" fmla="*/ 18 h 41"/>
                <a:gd name="T98" fmla="*/ 8 w 30"/>
                <a:gd name="T99" fmla="*/ 18 h 41"/>
                <a:gd name="T100" fmla="*/ 8 w 30"/>
                <a:gd name="T101" fmla="*/ 7 h 41"/>
                <a:gd name="T102" fmla="*/ 12 w 30"/>
                <a:gd name="T103" fmla="*/ 7 h 41"/>
                <a:gd name="T104" fmla="*/ 14 w 30"/>
                <a:gd name="T105" fmla="*/ 7 h 41"/>
                <a:gd name="T106" fmla="*/ 15 w 30"/>
                <a:gd name="T107" fmla="*/ 7 h 41"/>
                <a:gd name="T108" fmla="*/ 18 w 30"/>
                <a:gd name="T109" fmla="*/ 9 h 41"/>
                <a:gd name="T110" fmla="*/ 19 w 30"/>
                <a:gd name="T111" fmla="*/ 12 h 41"/>
                <a:gd name="T112" fmla="*/ 19 w 30"/>
                <a:gd name="T11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 h="41">
                  <a:moveTo>
                    <a:pt x="30" y="39"/>
                  </a:moveTo>
                  <a:cubicBezTo>
                    <a:pt x="29" y="38"/>
                    <a:pt x="29" y="38"/>
                    <a:pt x="29" y="37"/>
                  </a:cubicBezTo>
                  <a:cubicBezTo>
                    <a:pt x="25" y="29"/>
                    <a:pt x="25" y="29"/>
                    <a:pt x="25" y="29"/>
                  </a:cubicBezTo>
                  <a:cubicBezTo>
                    <a:pt x="25" y="28"/>
                    <a:pt x="25" y="27"/>
                    <a:pt x="24" y="27"/>
                  </a:cubicBezTo>
                  <a:cubicBezTo>
                    <a:pt x="24" y="26"/>
                    <a:pt x="23" y="25"/>
                    <a:pt x="23" y="25"/>
                  </a:cubicBezTo>
                  <a:cubicBezTo>
                    <a:pt x="22" y="24"/>
                    <a:pt x="22" y="23"/>
                    <a:pt x="21" y="23"/>
                  </a:cubicBezTo>
                  <a:cubicBezTo>
                    <a:pt x="21" y="23"/>
                    <a:pt x="20" y="22"/>
                    <a:pt x="20" y="22"/>
                  </a:cubicBezTo>
                  <a:cubicBezTo>
                    <a:pt x="21" y="22"/>
                    <a:pt x="22" y="21"/>
                    <a:pt x="23" y="20"/>
                  </a:cubicBezTo>
                  <a:cubicBezTo>
                    <a:pt x="24" y="20"/>
                    <a:pt x="25" y="19"/>
                    <a:pt x="26" y="18"/>
                  </a:cubicBezTo>
                  <a:cubicBezTo>
                    <a:pt x="26" y="17"/>
                    <a:pt x="27" y="16"/>
                    <a:pt x="27" y="15"/>
                  </a:cubicBezTo>
                  <a:cubicBezTo>
                    <a:pt x="27" y="14"/>
                    <a:pt x="28" y="13"/>
                    <a:pt x="28" y="11"/>
                  </a:cubicBezTo>
                  <a:cubicBezTo>
                    <a:pt x="28" y="10"/>
                    <a:pt x="27" y="8"/>
                    <a:pt x="27" y="7"/>
                  </a:cubicBezTo>
                  <a:cubicBezTo>
                    <a:pt x="26" y="6"/>
                    <a:pt x="26" y="5"/>
                    <a:pt x="25" y="4"/>
                  </a:cubicBezTo>
                  <a:cubicBezTo>
                    <a:pt x="24" y="3"/>
                    <a:pt x="23" y="2"/>
                    <a:pt x="21" y="2"/>
                  </a:cubicBezTo>
                  <a:cubicBezTo>
                    <a:pt x="20" y="1"/>
                    <a:pt x="19" y="1"/>
                    <a:pt x="17" y="1"/>
                  </a:cubicBezTo>
                  <a:cubicBezTo>
                    <a:pt x="17" y="1"/>
                    <a:pt x="16" y="0"/>
                    <a:pt x="15" y="0"/>
                  </a:cubicBezTo>
                  <a:cubicBezTo>
                    <a:pt x="15" y="0"/>
                    <a:pt x="14" y="0"/>
                    <a:pt x="13" y="0"/>
                  </a:cubicBezTo>
                  <a:cubicBezTo>
                    <a:pt x="2" y="0"/>
                    <a:pt x="2" y="0"/>
                    <a:pt x="2" y="0"/>
                  </a:cubicBezTo>
                  <a:cubicBezTo>
                    <a:pt x="1" y="0"/>
                    <a:pt x="1" y="1"/>
                    <a:pt x="0" y="1"/>
                  </a:cubicBezTo>
                  <a:cubicBezTo>
                    <a:pt x="0" y="1"/>
                    <a:pt x="0" y="2"/>
                    <a:pt x="0" y="3"/>
                  </a:cubicBezTo>
                  <a:cubicBezTo>
                    <a:pt x="0" y="40"/>
                    <a:pt x="0" y="40"/>
                    <a:pt x="0" y="40"/>
                  </a:cubicBezTo>
                  <a:cubicBezTo>
                    <a:pt x="0" y="40"/>
                    <a:pt x="0" y="40"/>
                    <a:pt x="0" y="40"/>
                  </a:cubicBezTo>
                  <a:cubicBezTo>
                    <a:pt x="0" y="40"/>
                    <a:pt x="0" y="41"/>
                    <a:pt x="1" y="41"/>
                  </a:cubicBezTo>
                  <a:cubicBezTo>
                    <a:pt x="1" y="41"/>
                    <a:pt x="1" y="41"/>
                    <a:pt x="2" y="41"/>
                  </a:cubicBezTo>
                  <a:cubicBezTo>
                    <a:pt x="2" y="41"/>
                    <a:pt x="3" y="41"/>
                    <a:pt x="4" y="41"/>
                  </a:cubicBezTo>
                  <a:cubicBezTo>
                    <a:pt x="5" y="41"/>
                    <a:pt x="5" y="41"/>
                    <a:pt x="6" y="41"/>
                  </a:cubicBezTo>
                  <a:cubicBezTo>
                    <a:pt x="6" y="41"/>
                    <a:pt x="7" y="41"/>
                    <a:pt x="7" y="41"/>
                  </a:cubicBezTo>
                  <a:cubicBezTo>
                    <a:pt x="7" y="41"/>
                    <a:pt x="8" y="40"/>
                    <a:pt x="8" y="40"/>
                  </a:cubicBezTo>
                  <a:cubicBezTo>
                    <a:pt x="8" y="40"/>
                    <a:pt x="8" y="40"/>
                    <a:pt x="8" y="40"/>
                  </a:cubicBezTo>
                  <a:cubicBezTo>
                    <a:pt x="8" y="24"/>
                    <a:pt x="8" y="24"/>
                    <a:pt x="8" y="24"/>
                  </a:cubicBezTo>
                  <a:cubicBezTo>
                    <a:pt x="10" y="24"/>
                    <a:pt x="10" y="24"/>
                    <a:pt x="10" y="24"/>
                  </a:cubicBezTo>
                  <a:cubicBezTo>
                    <a:pt x="11" y="24"/>
                    <a:pt x="12" y="24"/>
                    <a:pt x="13" y="25"/>
                  </a:cubicBezTo>
                  <a:cubicBezTo>
                    <a:pt x="13" y="25"/>
                    <a:pt x="14" y="25"/>
                    <a:pt x="15" y="26"/>
                  </a:cubicBezTo>
                  <a:cubicBezTo>
                    <a:pt x="15" y="26"/>
                    <a:pt x="16" y="27"/>
                    <a:pt x="16" y="28"/>
                  </a:cubicBezTo>
                  <a:cubicBezTo>
                    <a:pt x="16" y="29"/>
                    <a:pt x="17" y="30"/>
                    <a:pt x="17" y="31"/>
                  </a:cubicBezTo>
                  <a:cubicBezTo>
                    <a:pt x="21" y="40"/>
                    <a:pt x="21" y="40"/>
                    <a:pt x="21" y="40"/>
                  </a:cubicBezTo>
                  <a:cubicBezTo>
                    <a:pt x="21" y="40"/>
                    <a:pt x="21" y="40"/>
                    <a:pt x="21" y="40"/>
                  </a:cubicBezTo>
                  <a:cubicBezTo>
                    <a:pt x="21" y="40"/>
                    <a:pt x="21" y="41"/>
                    <a:pt x="22" y="41"/>
                  </a:cubicBezTo>
                  <a:cubicBezTo>
                    <a:pt x="22" y="41"/>
                    <a:pt x="22" y="41"/>
                    <a:pt x="23" y="41"/>
                  </a:cubicBezTo>
                  <a:cubicBezTo>
                    <a:pt x="24" y="41"/>
                    <a:pt x="24" y="41"/>
                    <a:pt x="25" y="41"/>
                  </a:cubicBezTo>
                  <a:cubicBezTo>
                    <a:pt x="26" y="41"/>
                    <a:pt x="27" y="41"/>
                    <a:pt x="28" y="41"/>
                  </a:cubicBezTo>
                  <a:cubicBezTo>
                    <a:pt x="28" y="41"/>
                    <a:pt x="29" y="41"/>
                    <a:pt x="29" y="41"/>
                  </a:cubicBezTo>
                  <a:cubicBezTo>
                    <a:pt x="29" y="41"/>
                    <a:pt x="29" y="40"/>
                    <a:pt x="30" y="40"/>
                  </a:cubicBezTo>
                  <a:cubicBezTo>
                    <a:pt x="30" y="40"/>
                    <a:pt x="30" y="40"/>
                    <a:pt x="30" y="40"/>
                  </a:cubicBezTo>
                  <a:cubicBezTo>
                    <a:pt x="30" y="40"/>
                    <a:pt x="30" y="39"/>
                    <a:pt x="30" y="39"/>
                  </a:cubicBezTo>
                  <a:close/>
                  <a:moveTo>
                    <a:pt x="19" y="15"/>
                  </a:moveTo>
                  <a:cubicBezTo>
                    <a:pt x="18" y="15"/>
                    <a:pt x="18" y="16"/>
                    <a:pt x="17" y="16"/>
                  </a:cubicBezTo>
                  <a:cubicBezTo>
                    <a:pt x="17" y="17"/>
                    <a:pt x="16" y="17"/>
                    <a:pt x="15" y="18"/>
                  </a:cubicBezTo>
                  <a:cubicBezTo>
                    <a:pt x="14" y="18"/>
                    <a:pt x="13" y="18"/>
                    <a:pt x="12" y="18"/>
                  </a:cubicBezTo>
                  <a:cubicBezTo>
                    <a:pt x="8" y="18"/>
                    <a:pt x="8" y="18"/>
                    <a:pt x="8" y="18"/>
                  </a:cubicBezTo>
                  <a:cubicBezTo>
                    <a:pt x="8" y="7"/>
                    <a:pt x="8" y="7"/>
                    <a:pt x="8" y="7"/>
                  </a:cubicBezTo>
                  <a:cubicBezTo>
                    <a:pt x="12" y="7"/>
                    <a:pt x="12" y="7"/>
                    <a:pt x="12" y="7"/>
                  </a:cubicBezTo>
                  <a:cubicBezTo>
                    <a:pt x="13" y="7"/>
                    <a:pt x="13" y="7"/>
                    <a:pt x="14" y="7"/>
                  </a:cubicBezTo>
                  <a:cubicBezTo>
                    <a:pt x="14" y="7"/>
                    <a:pt x="15" y="7"/>
                    <a:pt x="15" y="7"/>
                  </a:cubicBezTo>
                  <a:cubicBezTo>
                    <a:pt x="17" y="7"/>
                    <a:pt x="18" y="8"/>
                    <a:pt x="18" y="9"/>
                  </a:cubicBezTo>
                  <a:cubicBezTo>
                    <a:pt x="19" y="10"/>
                    <a:pt x="19" y="11"/>
                    <a:pt x="19" y="12"/>
                  </a:cubicBezTo>
                  <a:cubicBezTo>
                    <a:pt x="19" y="13"/>
                    <a:pt x="19" y="14"/>
                    <a:pt x="19" y="15"/>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 name="Freeform 203">
              <a:extLst>
                <a:ext uri="{FF2B5EF4-FFF2-40B4-BE49-F238E27FC236}">
                  <a16:creationId xmlns:a16="http://schemas.microsoft.com/office/drawing/2014/main" id="{F569D598-CEA4-46E0-91C1-081DEAC66338}"/>
                </a:ext>
              </a:extLst>
            </p:cNvPr>
            <p:cNvSpPr>
              <a:spLocks/>
            </p:cNvSpPr>
            <p:nvPr/>
          </p:nvSpPr>
          <p:spPr bwMode="auto">
            <a:xfrm>
              <a:off x="3645995" y="4835113"/>
              <a:ext cx="122648" cy="139963"/>
            </a:xfrm>
            <a:custGeom>
              <a:avLst/>
              <a:gdLst>
                <a:gd name="T0" fmla="*/ 35 w 36"/>
                <a:gd name="T1" fmla="*/ 3 h 41"/>
                <a:gd name="T2" fmla="*/ 36 w 36"/>
                <a:gd name="T3" fmla="*/ 2 h 41"/>
                <a:gd name="T4" fmla="*/ 36 w 36"/>
                <a:gd name="T5" fmla="*/ 1 h 41"/>
                <a:gd name="T6" fmla="*/ 35 w 36"/>
                <a:gd name="T7" fmla="*/ 0 h 41"/>
                <a:gd name="T8" fmla="*/ 32 w 36"/>
                <a:gd name="T9" fmla="*/ 0 h 41"/>
                <a:gd name="T10" fmla="*/ 30 w 36"/>
                <a:gd name="T11" fmla="*/ 0 h 41"/>
                <a:gd name="T12" fmla="*/ 29 w 36"/>
                <a:gd name="T13" fmla="*/ 0 h 41"/>
                <a:gd name="T14" fmla="*/ 28 w 36"/>
                <a:gd name="T15" fmla="*/ 1 h 41"/>
                <a:gd name="T16" fmla="*/ 28 w 36"/>
                <a:gd name="T17" fmla="*/ 2 h 41"/>
                <a:gd name="T18" fmla="*/ 18 w 36"/>
                <a:gd name="T19" fmla="*/ 33 h 41"/>
                <a:gd name="T20" fmla="*/ 18 w 36"/>
                <a:gd name="T21" fmla="*/ 33 h 41"/>
                <a:gd name="T22" fmla="*/ 8 w 36"/>
                <a:gd name="T23" fmla="*/ 2 h 41"/>
                <a:gd name="T24" fmla="*/ 8 w 36"/>
                <a:gd name="T25" fmla="*/ 1 h 41"/>
                <a:gd name="T26" fmla="*/ 7 w 36"/>
                <a:gd name="T27" fmla="*/ 0 h 41"/>
                <a:gd name="T28" fmla="*/ 6 w 36"/>
                <a:gd name="T29" fmla="*/ 0 h 41"/>
                <a:gd name="T30" fmla="*/ 4 w 36"/>
                <a:gd name="T31" fmla="*/ 0 h 41"/>
                <a:gd name="T32" fmla="*/ 1 w 36"/>
                <a:gd name="T33" fmla="*/ 0 h 41"/>
                <a:gd name="T34" fmla="*/ 0 w 36"/>
                <a:gd name="T35" fmla="*/ 1 h 41"/>
                <a:gd name="T36" fmla="*/ 0 w 36"/>
                <a:gd name="T37" fmla="*/ 2 h 41"/>
                <a:gd name="T38" fmla="*/ 0 w 36"/>
                <a:gd name="T39" fmla="*/ 3 h 41"/>
                <a:gd name="T40" fmla="*/ 12 w 36"/>
                <a:gd name="T41" fmla="*/ 39 h 41"/>
                <a:gd name="T42" fmla="*/ 12 w 36"/>
                <a:gd name="T43" fmla="*/ 40 h 41"/>
                <a:gd name="T44" fmla="*/ 13 w 36"/>
                <a:gd name="T45" fmla="*/ 40 h 41"/>
                <a:gd name="T46" fmla="*/ 13 w 36"/>
                <a:gd name="T47" fmla="*/ 41 h 41"/>
                <a:gd name="T48" fmla="*/ 14 w 36"/>
                <a:gd name="T49" fmla="*/ 41 h 41"/>
                <a:gd name="T50" fmla="*/ 16 w 36"/>
                <a:gd name="T51" fmla="*/ 41 h 41"/>
                <a:gd name="T52" fmla="*/ 18 w 36"/>
                <a:gd name="T53" fmla="*/ 41 h 41"/>
                <a:gd name="T54" fmla="*/ 21 w 36"/>
                <a:gd name="T55" fmla="*/ 41 h 41"/>
                <a:gd name="T56" fmla="*/ 22 w 36"/>
                <a:gd name="T57" fmla="*/ 41 h 41"/>
                <a:gd name="T58" fmla="*/ 23 w 36"/>
                <a:gd name="T59" fmla="*/ 40 h 41"/>
                <a:gd name="T60" fmla="*/ 23 w 36"/>
                <a:gd name="T61" fmla="*/ 39 h 41"/>
                <a:gd name="T62" fmla="*/ 35 w 36"/>
                <a:gd name="T63"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41">
                  <a:moveTo>
                    <a:pt x="35" y="3"/>
                  </a:moveTo>
                  <a:cubicBezTo>
                    <a:pt x="36" y="3"/>
                    <a:pt x="36" y="2"/>
                    <a:pt x="36" y="2"/>
                  </a:cubicBezTo>
                  <a:cubicBezTo>
                    <a:pt x="36" y="1"/>
                    <a:pt x="36" y="1"/>
                    <a:pt x="36" y="1"/>
                  </a:cubicBezTo>
                  <a:cubicBezTo>
                    <a:pt x="36" y="0"/>
                    <a:pt x="35" y="0"/>
                    <a:pt x="35" y="0"/>
                  </a:cubicBezTo>
                  <a:cubicBezTo>
                    <a:pt x="34" y="0"/>
                    <a:pt x="33" y="0"/>
                    <a:pt x="32" y="0"/>
                  </a:cubicBezTo>
                  <a:cubicBezTo>
                    <a:pt x="31" y="0"/>
                    <a:pt x="31" y="0"/>
                    <a:pt x="30" y="0"/>
                  </a:cubicBezTo>
                  <a:cubicBezTo>
                    <a:pt x="30" y="0"/>
                    <a:pt x="29" y="0"/>
                    <a:pt x="29" y="0"/>
                  </a:cubicBezTo>
                  <a:cubicBezTo>
                    <a:pt x="28" y="1"/>
                    <a:pt x="28" y="1"/>
                    <a:pt x="28" y="1"/>
                  </a:cubicBezTo>
                  <a:cubicBezTo>
                    <a:pt x="28" y="1"/>
                    <a:pt x="28" y="1"/>
                    <a:pt x="28" y="2"/>
                  </a:cubicBezTo>
                  <a:cubicBezTo>
                    <a:pt x="18" y="33"/>
                    <a:pt x="18" y="33"/>
                    <a:pt x="18" y="33"/>
                  </a:cubicBezTo>
                  <a:cubicBezTo>
                    <a:pt x="18" y="33"/>
                    <a:pt x="18" y="33"/>
                    <a:pt x="18" y="33"/>
                  </a:cubicBezTo>
                  <a:cubicBezTo>
                    <a:pt x="8" y="2"/>
                    <a:pt x="8" y="2"/>
                    <a:pt x="8" y="2"/>
                  </a:cubicBezTo>
                  <a:cubicBezTo>
                    <a:pt x="8" y="1"/>
                    <a:pt x="8" y="1"/>
                    <a:pt x="8" y="1"/>
                  </a:cubicBezTo>
                  <a:cubicBezTo>
                    <a:pt x="8" y="1"/>
                    <a:pt x="8" y="1"/>
                    <a:pt x="7" y="0"/>
                  </a:cubicBezTo>
                  <a:cubicBezTo>
                    <a:pt x="7" y="0"/>
                    <a:pt x="7" y="0"/>
                    <a:pt x="6" y="0"/>
                  </a:cubicBezTo>
                  <a:cubicBezTo>
                    <a:pt x="6" y="0"/>
                    <a:pt x="5" y="0"/>
                    <a:pt x="4" y="0"/>
                  </a:cubicBezTo>
                  <a:cubicBezTo>
                    <a:pt x="3" y="0"/>
                    <a:pt x="2" y="0"/>
                    <a:pt x="1" y="0"/>
                  </a:cubicBezTo>
                  <a:cubicBezTo>
                    <a:pt x="1" y="0"/>
                    <a:pt x="0" y="0"/>
                    <a:pt x="0" y="1"/>
                  </a:cubicBezTo>
                  <a:cubicBezTo>
                    <a:pt x="0" y="1"/>
                    <a:pt x="0" y="1"/>
                    <a:pt x="0" y="2"/>
                  </a:cubicBezTo>
                  <a:cubicBezTo>
                    <a:pt x="0" y="2"/>
                    <a:pt x="0" y="3"/>
                    <a:pt x="0" y="3"/>
                  </a:cubicBezTo>
                  <a:cubicBezTo>
                    <a:pt x="12" y="39"/>
                    <a:pt x="12" y="39"/>
                    <a:pt x="12" y="39"/>
                  </a:cubicBezTo>
                  <a:cubicBezTo>
                    <a:pt x="12" y="40"/>
                    <a:pt x="12" y="40"/>
                    <a:pt x="12" y="40"/>
                  </a:cubicBezTo>
                  <a:cubicBezTo>
                    <a:pt x="12" y="40"/>
                    <a:pt x="13" y="40"/>
                    <a:pt x="13" y="40"/>
                  </a:cubicBezTo>
                  <a:cubicBezTo>
                    <a:pt x="13" y="41"/>
                    <a:pt x="13" y="41"/>
                    <a:pt x="13" y="41"/>
                  </a:cubicBezTo>
                  <a:cubicBezTo>
                    <a:pt x="14" y="41"/>
                    <a:pt x="14" y="41"/>
                    <a:pt x="14" y="41"/>
                  </a:cubicBezTo>
                  <a:cubicBezTo>
                    <a:pt x="15" y="41"/>
                    <a:pt x="15" y="41"/>
                    <a:pt x="16" y="41"/>
                  </a:cubicBezTo>
                  <a:cubicBezTo>
                    <a:pt x="17" y="41"/>
                    <a:pt x="17" y="41"/>
                    <a:pt x="18" y="41"/>
                  </a:cubicBezTo>
                  <a:cubicBezTo>
                    <a:pt x="19" y="41"/>
                    <a:pt x="20" y="41"/>
                    <a:pt x="21" y="41"/>
                  </a:cubicBezTo>
                  <a:cubicBezTo>
                    <a:pt x="21" y="41"/>
                    <a:pt x="22" y="41"/>
                    <a:pt x="22" y="41"/>
                  </a:cubicBezTo>
                  <a:cubicBezTo>
                    <a:pt x="23" y="41"/>
                    <a:pt x="23" y="40"/>
                    <a:pt x="23" y="40"/>
                  </a:cubicBezTo>
                  <a:cubicBezTo>
                    <a:pt x="23" y="40"/>
                    <a:pt x="23" y="40"/>
                    <a:pt x="23" y="39"/>
                  </a:cubicBezTo>
                  <a:cubicBezTo>
                    <a:pt x="35" y="3"/>
                    <a:pt x="35" y="3"/>
                    <a:pt x="35" y="3"/>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 name="Freeform 204">
              <a:extLst>
                <a:ext uri="{FF2B5EF4-FFF2-40B4-BE49-F238E27FC236}">
                  <a16:creationId xmlns:a16="http://schemas.microsoft.com/office/drawing/2014/main" id="{D0CD82CA-0A2B-4AC7-84CF-941F53ABDC49}"/>
                </a:ext>
              </a:extLst>
            </p:cNvPr>
            <p:cNvSpPr>
              <a:spLocks/>
            </p:cNvSpPr>
            <p:nvPr/>
          </p:nvSpPr>
          <p:spPr bwMode="auto">
            <a:xfrm>
              <a:off x="3785957" y="4835113"/>
              <a:ext cx="27416" cy="139963"/>
            </a:xfrm>
            <a:custGeom>
              <a:avLst/>
              <a:gdLst>
                <a:gd name="T0" fmla="*/ 8 w 8"/>
                <a:gd name="T1" fmla="*/ 1 h 41"/>
                <a:gd name="T2" fmla="*/ 8 w 8"/>
                <a:gd name="T3" fmla="*/ 1 h 41"/>
                <a:gd name="T4" fmla="*/ 7 w 8"/>
                <a:gd name="T5" fmla="*/ 1 h 41"/>
                <a:gd name="T6" fmla="*/ 6 w 8"/>
                <a:gd name="T7" fmla="*/ 0 h 41"/>
                <a:gd name="T8" fmla="*/ 4 w 8"/>
                <a:gd name="T9" fmla="*/ 0 h 41"/>
                <a:gd name="T10" fmla="*/ 2 w 8"/>
                <a:gd name="T11" fmla="*/ 0 h 41"/>
                <a:gd name="T12" fmla="*/ 1 w 8"/>
                <a:gd name="T13" fmla="*/ 1 h 41"/>
                <a:gd name="T14" fmla="*/ 0 w 8"/>
                <a:gd name="T15" fmla="*/ 1 h 41"/>
                <a:gd name="T16" fmla="*/ 0 w 8"/>
                <a:gd name="T17" fmla="*/ 1 h 41"/>
                <a:gd name="T18" fmla="*/ 0 w 8"/>
                <a:gd name="T19" fmla="*/ 40 h 41"/>
                <a:gd name="T20" fmla="*/ 0 w 8"/>
                <a:gd name="T21" fmla="*/ 40 h 41"/>
                <a:gd name="T22" fmla="*/ 1 w 8"/>
                <a:gd name="T23" fmla="*/ 41 h 41"/>
                <a:gd name="T24" fmla="*/ 2 w 8"/>
                <a:gd name="T25" fmla="*/ 41 h 41"/>
                <a:gd name="T26" fmla="*/ 4 w 8"/>
                <a:gd name="T27" fmla="*/ 41 h 41"/>
                <a:gd name="T28" fmla="*/ 6 w 8"/>
                <a:gd name="T29" fmla="*/ 41 h 41"/>
                <a:gd name="T30" fmla="*/ 7 w 8"/>
                <a:gd name="T31" fmla="*/ 41 h 41"/>
                <a:gd name="T32" fmla="*/ 8 w 8"/>
                <a:gd name="T33" fmla="*/ 40 h 41"/>
                <a:gd name="T34" fmla="*/ 8 w 8"/>
                <a:gd name="T35" fmla="*/ 40 h 41"/>
                <a:gd name="T36" fmla="*/ 8 w 8"/>
                <a:gd name="T37"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41">
                  <a:moveTo>
                    <a:pt x="8" y="1"/>
                  </a:moveTo>
                  <a:cubicBezTo>
                    <a:pt x="8" y="1"/>
                    <a:pt x="8" y="1"/>
                    <a:pt x="8" y="1"/>
                  </a:cubicBezTo>
                  <a:cubicBezTo>
                    <a:pt x="8" y="1"/>
                    <a:pt x="8" y="1"/>
                    <a:pt x="7" y="1"/>
                  </a:cubicBezTo>
                  <a:cubicBezTo>
                    <a:pt x="7" y="0"/>
                    <a:pt x="7" y="0"/>
                    <a:pt x="6" y="0"/>
                  </a:cubicBezTo>
                  <a:cubicBezTo>
                    <a:pt x="6" y="0"/>
                    <a:pt x="5" y="0"/>
                    <a:pt x="4" y="0"/>
                  </a:cubicBezTo>
                  <a:cubicBezTo>
                    <a:pt x="3" y="0"/>
                    <a:pt x="3" y="0"/>
                    <a:pt x="2" y="0"/>
                  </a:cubicBezTo>
                  <a:cubicBezTo>
                    <a:pt x="2" y="0"/>
                    <a:pt x="1" y="0"/>
                    <a:pt x="1" y="1"/>
                  </a:cubicBezTo>
                  <a:cubicBezTo>
                    <a:pt x="1" y="1"/>
                    <a:pt x="0" y="1"/>
                    <a:pt x="0" y="1"/>
                  </a:cubicBezTo>
                  <a:cubicBezTo>
                    <a:pt x="0" y="1"/>
                    <a:pt x="0" y="1"/>
                    <a:pt x="0" y="1"/>
                  </a:cubicBezTo>
                  <a:cubicBezTo>
                    <a:pt x="0" y="40"/>
                    <a:pt x="0" y="40"/>
                    <a:pt x="0" y="40"/>
                  </a:cubicBezTo>
                  <a:cubicBezTo>
                    <a:pt x="0" y="40"/>
                    <a:pt x="0" y="40"/>
                    <a:pt x="0" y="40"/>
                  </a:cubicBezTo>
                  <a:cubicBezTo>
                    <a:pt x="0" y="40"/>
                    <a:pt x="1" y="41"/>
                    <a:pt x="1" y="41"/>
                  </a:cubicBezTo>
                  <a:cubicBezTo>
                    <a:pt x="1" y="41"/>
                    <a:pt x="2" y="41"/>
                    <a:pt x="2" y="41"/>
                  </a:cubicBezTo>
                  <a:cubicBezTo>
                    <a:pt x="3" y="41"/>
                    <a:pt x="3" y="41"/>
                    <a:pt x="4" y="41"/>
                  </a:cubicBezTo>
                  <a:cubicBezTo>
                    <a:pt x="5" y="41"/>
                    <a:pt x="6" y="41"/>
                    <a:pt x="6" y="41"/>
                  </a:cubicBezTo>
                  <a:cubicBezTo>
                    <a:pt x="7" y="41"/>
                    <a:pt x="7" y="41"/>
                    <a:pt x="7" y="41"/>
                  </a:cubicBezTo>
                  <a:cubicBezTo>
                    <a:pt x="8" y="41"/>
                    <a:pt x="8" y="40"/>
                    <a:pt x="8" y="40"/>
                  </a:cubicBezTo>
                  <a:cubicBezTo>
                    <a:pt x="8" y="40"/>
                    <a:pt x="8" y="40"/>
                    <a:pt x="8" y="40"/>
                  </a:cubicBezTo>
                  <a:cubicBezTo>
                    <a:pt x="8" y="1"/>
                    <a:pt x="8" y="1"/>
                    <a:pt x="8" y="1"/>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 name="Freeform 206">
              <a:extLst>
                <a:ext uri="{FF2B5EF4-FFF2-40B4-BE49-F238E27FC236}">
                  <a16:creationId xmlns:a16="http://schemas.microsoft.com/office/drawing/2014/main" id="{E75A40F1-0F62-447D-89FD-C4DE08437B69}"/>
                </a:ext>
              </a:extLst>
            </p:cNvPr>
            <p:cNvSpPr>
              <a:spLocks/>
            </p:cNvSpPr>
            <p:nvPr/>
          </p:nvSpPr>
          <p:spPr bwMode="auto">
            <a:xfrm>
              <a:off x="3837902" y="4835113"/>
              <a:ext cx="102447" cy="139963"/>
            </a:xfrm>
            <a:custGeom>
              <a:avLst/>
              <a:gdLst>
                <a:gd name="T0" fmla="*/ 30 w 30"/>
                <a:gd name="T1" fmla="*/ 33 h 41"/>
                <a:gd name="T2" fmla="*/ 30 w 30"/>
                <a:gd name="T3" fmla="*/ 32 h 41"/>
                <a:gd name="T4" fmla="*/ 29 w 30"/>
                <a:gd name="T5" fmla="*/ 31 h 41"/>
                <a:gd name="T6" fmla="*/ 29 w 30"/>
                <a:gd name="T7" fmla="*/ 31 h 41"/>
                <a:gd name="T8" fmla="*/ 28 w 30"/>
                <a:gd name="T9" fmla="*/ 32 h 41"/>
                <a:gd name="T10" fmla="*/ 26 w 30"/>
                <a:gd name="T11" fmla="*/ 33 h 41"/>
                <a:gd name="T12" fmla="*/ 23 w 30"/>
                <a:gd name="T13" fmla="*/ 34 h 41"/>
                <a:gd name="T14" fmla="*/ 19 w 30"/>
                <a:gd name="T15" fmla="*/ 34 h 41"/>
                <a:gd name="T16" fmla="*/ 15 w 30"/>
                <a:gd name="T17" fmla="*/ 34 h 41"/>
                <a:gd name="T18" fmla="*/ 12 w 30"/>
                <a:gd name="T19" fmla="*/ 31 h 41"/>
                <a:gd name="T20" fmla="*/ 10 w 30"/>
                <a:gd name="T21" fmla="*/ 27 h 41"/>
                <a:gd name="T22" fmla="*/ 9 w 30"/>
                <a:gd name="T23" fmla="*/ 21 h 41"/>
                <a:gd name="T24" fmla="*/ 10 w 30"/>
                <a:gd name="T25" fmla="*/ 15 h 41"/>
                <a:gd name="T26" fmla="*/ 12 w 30"/>
                <a:gd name="T27" fmla="*/ 10 h 41"/>
                <a:gd name="T28" fmla="*/ 15 w 30"/>
                <a:gd name="T29" fmla="*/ 8 h 41"/>
                <a:gd name="T30" fmla="*/ 19 w 30"/>
                <a:gd name="T31" fmla="*/ 7 h 41"/>
                <a:gd name="T32" fmla="*/ 23 w 30"/>
                <a:gd name="T33" fmla="*/ 7 h 41"/>
                <a:gd name="T34" fmla="*/ 26 w 30"/>
                <a:gd name="T35" fmla="*/ 8 h 41"/>
                <a:gd name="T36" fmla="*/ 28 w 30"/>
                <a:gd name="T37" fmla="*/ 10 h 41"/>
                <a:gd name="T38" fmla="*/ 29 w 30"/>
                <a:gd name="T39" fmla="*/ 10 h 41"/>
                <a:gd name="T40" fmla="*/ 29 w 30"/>
                <a:gd name="T41" fmla="*/ 10 h 41"/>
                <a:gd name="T42" fmla="*/ 30 w 30"/>
                <a:gd name="T43" fmla="*/ 9 h 41"/>
                <a:gd name="T44" fmla="*/ 30 w 30"/>
                <a:gd name="T45" fmla="*/ 8 h 41"/>
                <a:gd name="T46" fmla="*/ 30 w 30"/>
                <a:gd name="T47" fmla="*/ 7 h 41"/>
                <a:gd name="T48" fmla="*/ 30 w 30"/>
                <a:gd name="T49" fmla="*/ 5 h 41"/>
                <a:gd name="T50" fmla="*/ 30 w 30"/>
                <a:gd name="T51" fmla="*/ 4 h 41"/>
                <a:gd name="T52" fmla="*/ 29 w 30"/>
                <a:gd name="T53" fmla="*/ 3 h 41"/>
                <a:gd name="T54" fmla="*/ 29 w 30"/>
                <a:gd name="T55" fmla="*/ 3 h 41"/>
                <a:gd name="T56" fmla="*/ 27 w 30"/>
                <a:gd name="T57" fmla="*/ 2 h 41"/>
                <a:gd name="T58" fmla="*/ 25 w 30"/>
                <a:gd name="T59" fmla="*/ 1 h 41"/>
                <a:gd name="T60" fmla="*/ 22 w 30"/>
                <a:gd name="T61" fmla="*/ 0 h 41"/>
                <a:gd name="T62" fmla="*/ 19 w 30"/>
                <a:gd name="T63" fmla="*/ 0 h 41"/>
                <a:gd name="T64" fmla="*/ 11 w 30"/>
                <a:gd name="T65" fmla="*/ 1 h 41"/>
                <a:gd name="T66" fmla="*/ 5 w 30"/>
                <a:gd name="T67" fmla="*/ 5 h 41"/>
                <a:gd name="T68" fmla="*/ 1 w 30"/>
                <a:gd name="T69" fmla="*/ 12 h 41"/>
                <a:gd name="T70" fmla="*/ 0 w 30"/>
                <a:gd name="T71" fmla="*/ 21 h 41"/>
                <a:gd name="T72" fmla="*/ 1 w 30"/>
                <a:gd name="T73" fmla="*/ 30 h 41"/>
                <a:gd name="T74" fmla="*/ 5 w 30"/>
                <a:gd name="T75" fmla="*/ 36 h 41"/>
                <a:gd name="T76" fmla="*/ 11 w 30"/>
                <a:gd name="T77" fmla="*/ 40 h 41"/>
                <a:gd name="T78" fmla="*/ 18 w 30"/>
                <a:gd name="T79" fmla="*/ 41 h 41"/>
                <a:gd name="T80" fmla="*/ 22 w 30"/>
                <a:gd name="T81" fmla="*/ 41 h 41"/>
                <a:gd name="T82" fmla="*/ 25 w 30"/>
                <a:gd name="T83" fmla="*/ 40 h 41"/>
                <a:gd name="T84" fmla="*/ 28 w 30"/>
                <a:gd name="T85" fmla="*/ 39 h 41"/>
                <a:gd name="T86" fmla="*/ 29 w 30"/>
                <a:gd name="T87" fmla="*/ 38 h 41"/>
                <a:gd name="T88" fmla="*/ 30 w 30"/>
                <a:gd name="T89" fmla="*/ 38 h 41"/>
                <a:gd name="T90" fmla="*/ 30 w 30"/>
                <a:gd name="T91" fmla="*/ 37 h 41"/>
                <a:gd name="T92" fmla="*/ 30 w 30"/>
                <a:gd name="T93" fmla="*/ 36 h 41"/>
                <a:gd name="T94" fmla="*/ 30 w 30"/>
                <a:gd name="T95" fmla="*/ 35 h 41"/>
                <a:gd name="T96" fmla="*/ 30 w 30"/>
                <a:gd name="T97"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41">
                  <a:moveTo>
                    <a:pt x="30" y="33"/>
                  </a:moveTo>
                  <a:cubicBezTo>
                    <a:pt x="30" y="32"/>
                    <a:pt x="30" y="32"/>
                    <a:pt x="30" y="32"/>
                  </a:cubicBezTo>
                  <a:cubicBezTo>
                    <a:pt x="30" y="32"/>
                    <a:pt x="30" y="31"/>
                    <a:pt x="29" y="31"/>
                  </a:cubicBezTo>
                  <a:cubicBezTo>
                    <a:pt x="29" y="31"/>
                    <a:pt x="29" y="31"/>
                    <a:pt x="29" y="31"/>
                  </a:cubicBezTo>
                  <a:cubicBezTo>
                    <a:pt x="29" y="31"/>
                    <a:pt x="28" y="31"/>
                    <a:pt x="28" y="32"/>
                  </a:cubicBezTo>
                  <a:cubicBezTo>
                    <a:pt x="27" y="32"/>
                    <a:pt x="27" y="32"/>
                    <a:pt x="26" y="33"/>
                  </a:cubicBezTo>
                  <a:cubicBezTo>
                    <a:pt x="25" y="33"/>
                    <a:pt x="24" y="34"/>
                    <a:pt x="23" y="34"/>
                  </a:cubicBezTo>
                  <a:cubicBezTo>
                    <a:pt x="22" y="34"/>
                    <a:pt x="21" y="34"/>
                    <a:pt x="19" y="34"/>
                  </a:cubicBezTo>
                  <a:cubicBezTo>
                    <a:pt x="18" y="34"/>
                    <a:pt x="16" y="34"/>
                    <a:pt x="15" y="34"/>
                  </a:cubicBezTo>
                  <a:cubicBezTo>
                    <a:pt x="14" y="33"/>
                    <a:pt x="13" y="32"/>
                    <a:pt x="12" y="31"/>
                  </a:cubicBezTo>
                  <a:cubicBezTo>
                    <a:pt x="11" y="30"/>
                    <a:pt x="10" y="29"/>
                    <a:pt x="10" y="27"/>
                  </a:cubicBezTo>
                  <a:cubicBezTo>
                    <a:pt x="9" y="25"/>
                    <a:pt x="9" y="23"/>
                    <a:pt x="9" y="21"/>
                  </a:cubicBezTo>
                  <a:cubicBezTo>
                    <a:pt x="9" y="18"/>
                    <a:pt x="9" y="17"/>
                    <a:pt x="10" y="15"/>
                  </a:cubicBezTo>
                  <a:cubicBezTo>
                    <a:pt x="10" y="13"/>
                    <a:pt x="11" y="12"/>
                    <a:pt x="12" y="10"/>
                  </a:cubicBezTo>
                  <a:cubicBezTo>
                    <a:pt x="13" y="9"/>
                    <a:pt x="14" y="8"/>
                    <a:pt x="15" y="8"/>
                  </a:cubicBezTo>
                  <a:cubicBezTo>
                    <a:pt x="16" y="7"/>
                    <a:pt x="18" y="7"/>
                    <a:pt x="19" y="7"/>
                  </a:cubicBezTo>
                  <a:cubicBezTo>
                    <a:pt x="21" y="7"/>
                    <a:pt x="22" y="7"/>
                    <a:pt x="23" y="7"/>
                  </a:cubicBezTo>
                  <a:cubicBezTo>
                    <a:pt x="24" y="8"/>
                    <a:pt x="25" y="8"/>
                    <a:pt x="26" y="8"/>
                  </a:cubicBezTo>
                  <a:cubicBezTo>
                    <a:pt x="26" y="9"/>
                    <a:pt x="27" y="9"/>
                    <a:pt x="28" y="10"/>
                  </a:cubicBezTo>
                  <a:cubicBezTo>
                    <a:pt x="28" y="10"/>
                    <a:pt x="28" y="10"/>
                    <a:pt x="29" y="10"/>
                  </a:cubicBezTo>
                  <a:cubicBezTo>
                    <a:pt x="29" y="10"/>
                    <a:pt x="29" y="10"/>
                    <a:pt x="29" y="10"/>
                  </a:cubicBezTo>
                  <a:cubicBezTo>
                    <a:pt x="29" y="10"/>
                    <a:pt x="29" y="10"/>
                    <a:pt x="30" y="9"/>
                  </a:cubicBezTo>
                  <a:cubicBezTo>
                    <a:pt x="30" y="9"/>
                    <a:pt x="30" y="9"/>
                    <a:pt x="30" y="8"/>
                  </a:cubicBezTo>
                  <a:cubicBezTo>
                    <a:pt x="30" y="8"/>
                    <a:pt x="30" y="7"/>
                    <a:pt x="30" y="7"/>
                  </a:cubicBezTo>
                  <a:cubicBezTo>
                    <a:pt x="30" y="6"/>
                    <a:pt x="30" y="6"/>
                    <a:pt x="30" y="5"/>
                  </a:cubicBezTo>
                  <a:cubicBezTo>
                    <a:pt x="30" y="5"/>
                    <a:pt x="30" y="4"/>
                    <a:pt x="30" y="4"/>
                  </a:cubicBezTo>
                  <a:cubicBezTo>
                    <a:pt x="30" y="4"/>
                    <a:pt x="30" y="4"/>
                    <a:pt x="29" y="3"/>
                  </a:cubicBezTo>
                  <a:cubicBezTo>
                    <a:pt x="29" y="3"/>
                    <a:pt x="29" y="3"/>
                    <a:pt x="29" y="3"/>
                  </a:cubicBezTo>
                  <a:cubicBezTo>
                    <a:pt x="29" y="2"/>
                    <a:pt x="28" y="2"/>
                    <a:pt x="27" y="2"/>
                  </a:cubicBezTo>
                  <a:cubicBezTo>
                    <a:pt x="27" y="1"/>
                    <a:pt x="26" y="1"/>
                    <a:pt x="25" y="1"/>
                  </a:cubicBezTo>
                  <a:cubicBezTo>
                    <a:pt x="24" y="0"/>
                    <a:pt x="23" y="0"/>
                    <a:pt x="22" y="0"/>
                  </a:cubicBezTo>
                  <a:cubicBezTo>
                    <a:pt x="21" y="0"/>
                    <a:pt x="20" y="0"/>
                    <a:pt x="19" y="0"/>
                  </a:cubicBezTo>
                  <a:cubicBezTo>
                    <a:pt x="16" y="0"/>
                    <a:pt x="14" y="0"/>
                    <a:pt x="11" y="1"/>
                  </a:cubicBezTo>
                  <a:cubicBezTo>
                    <a:pt x="9" y="2"/>
                    <a:pt x="7" y="3"/>
                    <a:pt x="5" y="5"/>
                  </a:cubicBezTo>
                  <a:cubicBezTo>
                    <a:pt x="4" y="7"/>
                    <a:pt x="2" y="9"/>
                    <a:pt x="1" y="12"/>
                  </a:cubicBezTo>
                  <a:cubicBezTo>
                    <a:pt x="1" y="15"/>
                    <a:pt x="0" y="18"/>
                    <a:pt x="0" y="21"/>
                  </a:cubicBezTo>
                  <a:cubicBezTo>
                    <a:pt x="0" y="24"/>
                    <a:pt x="1" y="27"/>
                    <a:pt x="1" y="30"/>
                  </a:cubicBezTo>
                  <a:cubicBezTo>
                    <a:pt x="2" y="33"/>
                    <a:pt x="3" y="35"/>
                    <a:pt x="5" y="36"/>
                  </a:cubicBezTo>
                  <a:cubicBezTo>
                    <a:pt x="6" y="38"/>
                    <a:pt x="8" y="39"/>
                    <a:pt x="11" y="40"/>
                  </a:cubicBezTo>
                  <a:cubicBezTo>
                    <a:pt x="13" y="41"/>
                    <a:pt x="15" y="41"/>
                    <a:pt x="18" y="41"/>
                  </a:cubicBezTo>
                  <a:cubicBezTo>
                    <a:pt x="20" y="41"/>
                    <a:pt x="21" y="41"/>
                    <a:pt x="22" y="41"/>
                  </a:cubicBezTo>
                  <a:cubicBezTo>
                    <a:pt x="23" y="41"/>
                    <a:pt x="24" y="41"/>
                    <a:pt x="25" y="40"/>
                  </a:cubicBezTo>
                  <a:cubicBezTo>
                    <a:pt x="26" y="40"/>
                    <a:pt x="27" y="40"/>
                    <a:pt x="28" y="39"/>
                  </a:cubicBezTo>
                  <a:cubicBezTo>
                    <a:pt x="28" y="39"/>
                    <a:pt x="29" y="38"/>
                    <a:pt x="29" y="38"/>
                  </a:cubicBezTo>
                  <a:cubicBezTo>
                    <a:pt x="29" y="38"/>
                    <a:pt x="29" y="38"/>
                    <a:pt x="30" y="38"/>
                  </a:cubicBezTo>
                  <a:cubicBezTo>
                    <a:pt x="30" y="37"/>
                    <a:pt x="30" y="37"/>
                    <a:pt x="30" y="37"/>
                  </a:cubicBezTo>
                  <a:cubicBezTo>
                    <a:pt x="30" y="37"/>
                    <a:pt x="30" y="36"/>
                    <a:pt x="30" y="36"/>
                  </a:cubicBezTo>
                  <a:cubicBezTo>
                    <a:pt x="30" y="36"/>
                    <a:pt x="30" y="35"/>
                    <a:pt x="30" y="35"/>
                  </a:cubicBezTo>
                  <a:cubicBezTo>
                    <a:pt x="30" y="34"/>
                    <a:pt x="30" y="33"/>
                    <a:pt x="30" y="33"/>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5" name="Freeform 207">
              <a:extLst>
                <a:ext uri="{FF2B5EF4-FFF2-40B4-BE49-F238E27FC236}">
                  <a16:creationId xmlns:a16="http://schemas.microsoft.com/office/drawing/2014/main" id="{19527C27-9417-4F79-B8E5-4C88E3E3CBFE}"/>
                </a:ext>
              </a:extLst>
            </p:cNvPr>
            <p:cNvSpPr>
              <a:spLocks/>
            </p:cNvSpPr>
            <p:nvPr/>
          </p:nvSpPr>
          <p:spPr bwMode="auto">
            <a:xfrm>
              <a:off x="3960549" y="4835113"/>
              <a:ext cx="82247" cy="139963"/>
            </a:xfrm>
            <a:custGeom>
              <a:avLst/>
              <a:gdLst>
                <a:gd name="T0" fmla="*/ 24 w 24"/>
                <a:gd name="T1" fmla="*/ 36 h 41"/>
                <a:gd name="T2" fmla="*/ 24 w 24"/>
                <a:gd name="T3" fmla="*/ 35 h 41"/>
                <a:gd name="T4" fmla="*/ 23 w 24"/>
                <a:gd name="T5" fmla="*/ 35 h 41"/>
                <a:gd name="T6" fmla="*/ 23 w 24"/>
                <a:gd name="T7" fmla="*/ 34 h 41"/>
                <a:gd name="T8" fmla="*/ 8 w 24"/>
                <a:gd name="T9" fmla="*/ 34 h 41"/>
                <a:gd name="T10" fmla="*/ 8 w 24"/>
                <a:gd name="T11" fmla="*/ 23 h 41"/>
                <a:gd name="T12" fmla="*/ 20 w 24"/>
                <a:gd name="T13" fmla="*/ 23 h 41"/>
                <a:gd name="T14" fmla="*/ 21 w 24"/>
                <a:gd name="T15" fmla="*/ 23 h 41"/>
                <a:gd name="T16" fmla="*/ 21 w 24"/>
                <a:gd name="T17" fmla="*/ 22 h 41"/>
                <a:gd name="T18" fmla="*/ 21 w 24"/>
                <a:gd name="T19" fmla="*/ 21 h 41"/>
                <a:gd name="T20" fmla="*/ 22 w 24"/>
                <a:gd name="T21" fmla="*/ 20 h 41"/>
                <a:gd name="T22" fmla="*/ 21 w 24"/>
                <a:gd name="T23" fmla="*/ 18 h 41"/>
                <a:gd name="T24" fmla="*/ 21 w 24"/>
                <a:gd name="T25" fmla="*/ 17 h 41"/>
                <a:gd name="T26" fmla="*/ 21 w 24"/>
                <a:gd name="T27" fmla="*/ 17 h 41"/>
                <a:gd name="T28" fmla="*/ 20 w 24"/>
                <a:gd name="T29" fmla="*/ 17 h 41"/>
                <a:gd name="T30" fmla="*/ 8 w 24"/>
                <a:gd name="T31" fmla="*/ 17 h 41"/>
                <a:gd name="T32" fmla="*/ 8 w 24"/>
                <a:gd name="T33" fmla="*/ 7 h 41"/>
                <a:gd name="T34" fmla="*/ 23 w 24"/>
                <a:gd name="T35" fmla="*/ 7 h 41"/>
                <a:gd name="T36" fmla="*/ 23 w 24"/>
                <a:gd name="T37" fmla="*/ 7 h 41"/>
                <a:gd name="T38" fmla="*/ 23 w 24"/>
                <a:gd name="T39" fmla="*/ 6 h 41"/>
                <a:gd name="T40" fmla="*/ 24 w 24"/>
                <a:gd name="T41" fmla="*/ 5 h 41"/>
                <a:gd name="T42" fmla="*/ 24 w 24"/>
                <a:gd name="T43" fmla="*/ 4 h 41"/>
                <a:gd name="T44" fmla="*/ 24 w 24"/>
                <a:gd name="T45" fmla="*/ 2 h 41"/>
                <a:gd name="T46" fmla="*/ 23 w 24"/>
                <a:gd name="T47" fmla="*/ 1 h 41"/>
                <a:gd name="T48" fmla="*/ 23 w 24"/>
                <a:gd name="T49" fmla="*/ 1 h 41"/>
                <a:gd name="T50" fmla="*/ 23 w 24"/>
                <a:gd name="T51" fmla="*/ 0 h 41"/>
                <a:gd name="T52" fmla="*/ 2 w 24"/>
                <a:gd name="T53" fmla="*/ 0 h 41"/>
                <a:gd name="T54" fmla="*/ 1 w 24"/>
                <a:gd name="T55" fmla="*/ 1 h 41"/>
                <a:gd name="T56" fmla="*/ 0 w 24"/>
                <a:gd name="T57" fmla="*/ 3 h 41"/>
                <a:gd name="T58" fmla="*/ 0 w 24"/>
                <a:gd name="T59" fmla="*/ 38 h 41"/>
                <a:gd name="T60" fmla="*/ 1 w 24"/>
                <a:gd name="T61" fmla="*/ 40 h 41"/>
                <a:gd name="T62" fmla="*/ 2 w 24"/>
                <a:gd name="T63" fmla="*/ 41 h 41"/>
                <a:gd name="T64" fmla="*/ 23 w 24"/>
                <a:gd name="T65" fmla="*/ 41 h 41"/>
                <a:gd name="T66" fmla="*/ 23 w 24"/>
                <a:gd name="T67" fmla="*/ 41 h 41"/>
                <a:gd name="T68" fmla="*/ 24 w 24"/>
                <a:gd name="T69" fmla="*/ 40 h 41"/>
                <a:gd name="T70" fmla="*/ 24 w 24"/>
                <a:gd name="T71" fmla="*/ 39 h 41"/>
                <a:gd name="T72" fmla="*/ 24 w 24"/>
                <a:gd name="T73" fmla="*/ 38 h 41"/>
                <a:gd name="T74" fmla="*/ 24 w 24"/>
                <a:gd name="T75"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41">
                  <a:moveTo>
                    <a:pt x="24" y="36"/>
                  </a:moveTo>
                  <a:cubicBezTo>
                    <a:pt x="24" y="36"/>
                    <a:pt x="24" y="35"/>
                    <a:pt x="24" y="35"/>
                  </a:cubicBezTo>
                  <a:cubicBezTo>
                    <a:pt x="23" y="35"/>
                    <a:pt x="23" y="35"/>
                    <a:pt x="23" y="35"/>
                  </a:cubicBezTo>
                  <a:cubicBezTo>
                    <a:pt x="23" y="34"/>
                    <a:pt x="23" y="34"/>
                    <a:pt x="23" y="34"/>
                  </a:cubicBezTo>
                  <a:cubicBezTo>
                    <a:pt x="8" y="34"/>
                    <a:pt x="8" y="34"/>
                    <a:pt x="8" y="34"/>
                  </a:cubicBezTo>
                  <a:cubicBezTo>
                    <a:pt x="8" y="23"/>
                    <a:pt x="8" y="23"/>
                    <a:pt x="8" y="23"/>
                  </a:cubicBezTo>
                  <a:cubicBezTo>
                    <a:pt x="20" y="23"/>
                    <a:pt x="20" y="23"/>
                    <a:pt x="20" y="23"/>
                  </a:cubicBezTo>
                  <a:cubicBezTo>
                    <a:pt x="20" y="23"/>
                    <a:pt x="21" y="23"/>
                    <a:pt x="21" y="23"/>
                  </a:cubicBezTo>
                  <a:cubicBezTo>
                    <a:pt x="21" y="23"/>
                    <a:pt x="21" y="23"/>
                    <a:pt x="21" y="22"/>
                  </a:cubicBezTo>
                  <a:cubicBezTo>
                    <a:pt x="21" y="22"/>
                    <a:pt x="21" y="22"/>
                    <a:pt x="21" y="21"/>
                  </a:cubicBezTo>
                  <a:cubicBezTo>
                    <a:pt x="22" y="21"/>
                    <a:pt x="22" y="20"/>
                    <a:pt x="22" y="20"/>
                  </a:cubicBezTo>
                  <a:cubicBezTo>
                    <a:pt x="22" y="19"/>
                    <a:pt x="22" y="19"/>
                    <a:pt x="21" y="18"/>
                  </a:cubicBezTo>
                  <a:cubicBezTo>
                    <a:pt x="21" y="18"/>
                    <a:pt x="21" y="18"/>
                    <a:pt x="21" y="17"/>
                  </a:cubicBezTo>
                  <a:cubicBezTo>
                    <a:pt x="21" y="17"/>
                    <a:pt x="21" y="17"/>
                    <a:pt x="21" y="17"/>
                  </a:cubicBezTo>
                  <a:cubicBezTo>
                    <a:pt x="21" y="17"/>
                    <a:pt x="20" y="17"/>
                    <a:pt x="20" y="17"/>
                  </a:cubicBezTo>
                  <a:cubicBezTo>
                    <a:pt x="8" y="17"/>
                    <a:pt x="8" y="17"/>
                    <a:pt x="8" y="17"/>
                  </a:cubicBezTo>
                  <a:cubicBezTo>
                    <a:pt x="8" y="7"/>
                    <a:pt x="8" y="7"/>
                    <a:pt x="8" y="7"/>
                  </a:cubicBezTo>
                  <a:cubicBezTo>
                    <a:pt x="23" y="7"/>
                    <a:pt x="23" y="7"/>
                    <a:pt x="23" y="7"/>
                  </a:cubicBezTo>
                  <a:cubicBezTo>
                    <a:pt x="23" y="7"/>
                    <a:pt x="23" y="7"/>
                    <a:pt x="23" y="7"/>
                  </a:cubicBezTo>
                  <a:cubicBezTo>
                    <a:pt x="23" y="6"/>
                    <a:pt x="23" y="6"/>
                    <a:pt x="23" y="6"/>
                  </a:cubicBezTo>
                  <a:cubicBezTo>
                    <a:pt x="24" y="6"/>
                    <a:pt x="24" y="5"/>
                    <a:pt x="24" y="5"/>
                  </a:cubicBezTo>
                  <a:cubicBezTo>
                    <a:pt x="24" y="5"/>
                    <a:pt x="24" y="4"/>
                    <a:pt x="24" y="4"/>
                  </a:cubicBezTo>
                  <a:cubicBezTo>
                    <a:pt x="24" y="3"/>
                    <a:pt x="24" y="2"/>
                    <a:pt x="24" y="2"/>
                  </a:cubicBezTo>
                  <a:cubicBezTo>
                    <a:pt x="24" y="2"/>
                    <a:pt x="24" y="1"/>
                    <a:pt x="23" y="1"/>
                  </a:cubicBezTo>
                  <a:cubicBezTo>
                    <a:pt x="23" y="1"/>
                    <a:pt x="23" y="1"/>
                    <a:pt x="23" y="1"/>
                  </a:cubicBezTo>
                  <a:cubicBezTo>
                    <a:pt x="23" y="0"/>
                    <a:pt x="23" y="0"/>
                    <a:pt x="23" y="0"/>
                  </a:cubicBezTo>
                  <a:cubicBezTo>
                    <a:pt x="2" y="0"/>
                    <a:pt x="2" y="0"/>
                    <a:pt x="2" y="0"/>
                  </a:cubicBezTo>
                  <a:cubicBezTo>
                    <a:pt x="2" y="0"/>
                    <a:pt x="1" y="1"/>
                    <a:pt x="1" y="1"/>
                  </a:cubicBezTo>
                  <a:cubicBezTo>
                    <a:pt x="0" y="1"/>
                    <a:pt x="0" y="2"/>
                    <a:pt x="0" y="3"/>
                  </a:cubicBezTo>
                  <a:cubicBezTo>
                    <a:pt x="0" y="38"/>
                    <a:pt x="0" y="38"/>
                    <a:pt x="0" y="38"/>
                  </a:cubicBezTo>
                  <a:cubicBezTo>
                    <a:pt x="0" y="39"/>
                    <a:pt x="0" y="40"/>
                    <a:pt x="1" y="40"/>
                  </a:cubicBezTo>
                  <a:cubicBezTo>
                    <a:pt x="1" y="41"/>
                    <a:pt x="2" y="41"/>
                    <a:pt x="2" y="41"/>
                  </a:cubicBezTo>
                  <a:cubicBezTo>
                    <a:pt x="23" y="41"/>
                    <a:pt x="23" y="41"/>
                    <a:pt x="23" y="41"/>
                  </a:cubicBezTo>
                  <a:cubicBezTo>
                    <a:pt x="23" y="41"/>
                    <a:pt x="23" y="41"/>
                    <a:pt x="23" y="41"/>
                  </a:cubicBezTo>
                  <a:cubicBezTo>
                    <a:pt x="23" y="40"/>
                    <a:pt x="23" y="40"/>
                    <a:pt x="24" y="40"/>
                  </a:cubicBezTo>
                  <a:cubicBezTo>
                    <a:pt x="24" y="40"/>
                    <a:pt x="24" y="39"/>
                    <a:pt x="24" y="39"/>
                  </a:cubicBezTo>
                  <a:cubicBezTo>
                    <a:pt x="24" y="39"/>
                    <a:pt x="24" y="38"/>
                    <a:pt x="24" y="38"/>
                  </a:cubicBezTo>
                  <a:cubicBezTo>
                    <a:pt x="24" y="37"/>
                    <a:pt x="24" y="36"/>
                    <a:pt x="24" y="36"/>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6" name="Freeform 208">
              <a:extLst>
                <a:ext uri="{FF2B5EF4-FFF2-40B4-BE49-F238E27FC236}">
                  <a16:creationId xmlns:a16="http://schemas.microsoft.com/office/drawing/2014/main" id="{9864EA98-B02F-4692-94BA-15BB9C317A6E}"/>
                </a:ext>
              </a:extLst>
            </p:cNvPr>
            <p:cNvSpPr>
              <a:spLocks/>
            </p:cNvSpPr>
            <p:nvPr/>
          </p:nvSpPr>
          <p:spPr bwMode="auto">
            <a:xfrm>
              <a:off x="4057225" y="4835113"/>
              <a:ext cx="92346" cy="142849"/>
            </a:xfrm>
            <a:custGeom>
              <a:avLst/>
              <a:gdLst>
                <a:gd name="T0" fmla="*/ 26 w 27"/>
                <a:gd name="T1" fmla="*/ 24 h 42"/>
                <a:gd name="T2" fmla="*/ 24 w 27"/>
                <a:gd name="T3" fmla="*/ 21 h 42"/>
                <a:gd name="T4" fmla="*/ 21 w 27"/>
                <a:gd name="T5" fmla="*/ 19 h 42"/>
                <a:gd name="T6" fmla="*/ 18 w 27"/>
                <a:gd name="T7" fmla="*/ 17 h 42"/>
                <a:gd name="T8" fmla="*/ 15 w 27"/>
                <a:gd name="T9" fmla="*/ 16 h 42"/>
                <a:gd name="T10" fmla="*/ 12 w 27"/>
                <a:gd name="T11" fmla="*/ 14 h 42"/>
                <a:gd name="T12" fmla="*/ 10 w 27"/>
                <a:gd name="T13" fmla="*/ 13 h 42"/>
                <a:gd name="T14" fmla="*/ 9 w 27"/>
                <a:gd name="T15" fmla="*/ 10 h 42"/>
                <a:gd name="T16" fmla="*/ 9 w 27"/>
                <a:gd name="T17" fmla="*/ 9 h 42"/>
                <a:gd name="T18" fmla="*/ 10 w 27"/>
                <a:gd name="T19" fmla="*/ 7 h 42"/>
                <a:gd name="T20" fmla="*/ 12 w 27"/>
                <a:gd name="T21" fmla="*/ 6 h 42"/>
                <a:gd name="T22" fmla="*/ 14 w 27"/>
                <a:gd name="T23" fmla="*/ 6 h 42"/>
                <a:gd name="T24" fmla="*/ 18 w 27"/>
                <a:gd name="T25" fmla="*/ 6 h 42"/>
                <a:gd name="T26" fmla="*/ 20 w 27"/>
                <a:gd name="T27" fmla="*/ 7 h 42"/>
                <a:gd name="T28" fmla="*/ 22 w 27"/>
                <a:gd name="T29" fmla="*/ 8 h 42"/>
                <a:gd name="T30" fmla="*/ 23 w 27"/>
                <a:gd name="T31" fmla="*/ 9 h 42"/>
                <a:gd name="T32" fmla="*/ 24 w 27"/>
                <a:gd name="T33" fmla="*/ 9 h 42"/>
                <a:gd name="T34" fmla="*/ 24 w 27"/>
                <a:gd name="T35" fmla="*/ 8 h 42"/>
                <a:gd name="T36" fmla="*/ 24 w 27"/>
                <a:gd name="T37" fmla="*/ 7 h 42"/>
                <a:gd name="T38" fmla="*/ 24 w 27"/>
                <a:gd name="T39" fmla="*/ 5 h 42"/>
                <a:gd name="T40" fmla="*/ 24 w 27"/>
                <a:gd name="T41" fmla="*/ 4 h 42"/>
                <a:gd name="T42" fmla="*/ 24 w 27"/>
                <a:gd name="T43" fmla="*/ 3 h 42"/>
                <a:gd name="T44" fmla="*/ 24 w 27"/>
                <a:gd name="T45" fmla="*/ 3 h 42"/>
                <a:gd name="T46" fmla="*/ 23 w 27"/>
                <a:gd name="T47" fmla="*/ 2 h 42"/>
                <a:gd name="T48" fmla="*/ 22 w 27"/>
                <a:gd name="T49" fmla="*/ 1 h 42"/>
                <a:gd name="T50" fmla="*/ 20 w 27"/>
                <a:gd name="T51" fmla="*/ 0 h 42"/>
                <a:gd name="T52" fmla="*/ 17 w 27"/>
                <a:gd name="T53" fmla="*/ 0 h 42"/>
                <a:gd name="T54" fmla="*/ 14 w 27"/>
                <a:gd name="T55" fmla="*/ 0 h 42"/>
                <a:gd name="T56" fmla="*/ 9 w 27"/>
                <a:gd name="T57" fmla="*/ 0 h 42"/>
                <a:gd name="T58" fmla="*/ 5 w 27"/>
                <a:gd name="T59" fmla="*/ 3 h 42"/>
                <a:gd name="T60" fmla="*/ 2 w 27"/>
                <a:gd name="T61" fmla="*/ 6 h 42"/>
                <a:gd name="T62" fmla="*/ 1 w 27"/>
                <a:gd name="T63" fmla="*/ 11 h 42"/>
                <a:gd name="T64" fmla="*/ 2 w 27"/>
                <a:gd name="T65" fmla="*/ 16 h 42"/>
                <a:gd name="T66" fmla="*/ 4 w 27"/>
                <a:gd name="T67" fmla="*/ 19 h 42"/>
                <a:gd name="T68" fmla="*/ 6 w 27"/>
                <a:gd name="T69" fmla="*/ 21 h 42"/>
                <a:gd name="T70" fmla="*/ 9 w 27"/>
                <a:gd name="T71" fmla="*/ 23 h 42"/>
                <a:gd name="T72" fmla="*/ 13 w 27"/>
                <a:gd name="T73" fmla="*/ 24 h 42"/>
                <a:gd name="T74" fmla="*/ 15 w 27"/>
                <a:gd name="T75" fmla="*/ 26 h 42"/>
                <a:gd name="T76" fmla="*/ 17 w 27"/>
                <a:gd name="T77" fmla="*/ 27 h 42"/>
                <a:gd name="T78" fmla="*/ 18 w 27"/>
                <a:gd name="T79" fmla="*/ 30 h 42"/>
                <a:gd name="T80" fmla="*/ 18 w 27"/>
                <a:gd name="T81" fmla="*/ 32 h 42"/>
                <a:gd name="T82" fmla="*/ 16 w 27"/>
                <a:gd name="T83" fmla="*/ 34 h 42"/>
                <a:gd name="T84" fmla="*/ 14 w 27"/>
                <a:gd name="T85" fmla="*/ 35 h 42"/>
                <a:gd name="T86" fmla="*/ 12 w 27"/>
                <a:gd name="T87" fmla="*/ 35 h 42"/>
                <a:gd name="T88" fmla="*/ 8 w 27"/>
                <a:gd name="T89" fmla="*/ 34 h 42"/>
                <a:gd name="T90" fmla="*/ 5 w 27"/>
                <a:gd name="T91" fmla="*/ 33 h 42"/>
                <a:gd name="T92" fmla="*/ 3 w 27"/>
                <a:gd name="T93" fmla="*/ 32 h 42"/>
                <a:gd name="T94" fmla="*/ 1 w 27"/>
                <a:gd name="T95" fmla="*/ 32 h 42"/>
                <a:gd name="T96" fmla="*/ 1 w 27"/>
                <a:gd name="T97" fmla="*/ 32 h 42"/>
                <a:gd name="T98" fmla="*/ 0 w 27"/>
                <a:gd name="T99" fmla="*/ 32 h 42"/>
                <a:gd name="T100" fmla="*/ 0 w 27"/>
                <a:gd name="T101" fmla="*/ 33 h 42"/>
                <a:gd name="T102" fmla="*/ 0 w 27"/>
                <a:gd name="T103" fmla="*/ 35 h 42"/>
                <a:gd name="T104" fmla="*/ 0 w 27"/>
                <a:gd name="T105" fmla="*/ 37 h 42"/>
                <a:gd name="T106" fmla="*/ 1 w 27"/>
                <a:gd name="T107" fmla="*/ 38 h 42"/>
                <a:gd name="T108" fmla="*/ 2 w 27"/>
                <a:gd name="T109" fmla="*/ 39 h 42"/>
                <a:gd name="T110" fmla="*/ 4 w 27"/>
                <a:gd name="T111" fmla="*/ 40 h 42"/>
                <a:gd name="T112" fmla="*/ 8 w 27"/>
                <a:gd name="T113" fmla="*/ 41 h 42"/>
                <a:gd name="T114" fmla="*/ 12 w 27"/>
                <a:gd name="T115" fmla="*/ 42 h 42"/>
                <a:gd name="T116" fmla="*/ 17 w 27"/>
                <a:gd name="T117" fmla="*/ 41 h 42"/>
                <a:gd name="T118" fmla="*/ 22 w 27"/>
                <a:gd name="T119" fmla="*/ 38 h 42"/>
                <a:gd name="T120" fmla="*/ 25 w 27"/>
                <a:gd name="T121" fmla="*/ 34 h 42"/>
                <a:gd name="T122" fmla="*/ 27 w 27"/>
                <a:gd name="T123" fmla="*/ 29 h 42"/>
                <a:gd name="T124" fmla="*/ 26 w 27"/>
                <a:gd name="T125"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 h="42">
                  <a:moveTo>
                    <a:pt x="26" y="24"/>
                  </a:moveTo>
                  <a:cubicBezTo>
                    <a:pt x="25" y="23"/>
                    <a:pt x="25" y="22"/>
                    <a:pt x="24" y="21"/>
                  </a:cubicBezTo>
                  <a:cubicBezTo>
                    <a:pt x="23" y="20"/>
                    <a:pt x="22" y="20"/>
                    <a:pt x="21" y="19"/>
                  </a:cubicBezTo>
                  <a:cubicBezTo>
                    <a:pt x="20" y="18"/>
                    <a:pt x="19" y="18"/>
                    <a:pt x="18" y="17"/>
                  </a:cubicBezTo>
                  <a:cubicBezTo>
                    <a:pt x="17" y="17"/>
                    <a:pt x="16" y="16"/>
                    <a:pt x="15" y="16"/>
                  </a:cubicBezTo>
                  <a:cubicBezTo>
                    <a:pt x="14" y="15"/>
                    <a:pt x="13" y="15"/>
                    <a:pt x="12" y="14"/>
                  </a:cubicBezTo>
                  <a:cubicBezTo>
                    <a:pt x="11" y="14"/>
                    <a:pt x="10" y="13"/>
                    <a:pt x="10" y="13"/>
                  </a:cubicBezTo>
                  <a:cubicBezTo>
                    <a:pt x="9" y="12"/>
                    <a:pt x="9" y="11"/>
                    <a:pt x="9" y="10"/>
                  </a:cubicBezTo>
                  <a:cubicBezTo>
                    <a:pt x="9" y="10"/>
                    <a:pt x="9" y="9"/>
                    <a:pt x="9" y="9"/>
                  </a:cubicBezTo>
                  <a:cubicBezTo>
                    <a:pt x="10" y="8"/>
                    <a:pt x="10" y="8"/>
                    <a:pt x="10" y="7"/>
                  </a:cubicBezTo>
                  <a:cubicBezTo>
                    <a:pt x="11" y="7"/>
                    <a:pt x="11" y="7"/>
                    <a:pt x="12" y="6"/>
                  </a:cubicBezTo>
                  <a:cubicBezTo>
                    <a:pt x="13" y="6"/>
                    <a:pt x="14" y="6"/>
                    <a:pt x="14" y="6"/>
                  </a:cubicBezTo>
                  <a:cubicBezTo>
                    <a:pt x="16" y="6"/>
                    <a:pt x="17" y="6"/>
                    <a:pt x="18" y="6"/>
                  </a:cubicBezTo>
                  <a:cubicBezTo>
                    <a:pt x="19" y="7"/>
                    <a:pt x="19" y="7"/>
                    <a:pt x="20" y="7"/>
                  </a:cubicBezTo>
                  <a:cubicBezTo>
                    <a:pt x="21" y="8"/>
                    <a:pt x="22" y="8"/>
                    <a:pt x="22" y="8"/>
                  </a:cubicBezTo>
                  <a:cubicBezTo>
                    <a:pt x="23" y="9"/>
                    <a:pt x="23" y="9"/>
                    <a:pt x="23" y="9"/>
                  </a:cubicBezTo>
                  <a:cubicBezTo>
                    <a:pt x="23" y="9"/>
                    <a:pt x="24" y="9"/>
                    <a:pt x="24" y="9"/>
                  </a:cubicBezTo>
                  <a:cubicBezTo>
                    <a:pt x="24" y="8"/>
                    <a:pt x="24" y="8"/>
                    <a:pt x="24" y="8"/>
                  </a:cubicBezTo>
                  <a:cubicBezTo>
                    <a:pt x="24" y="8"/>
                    <a:pt x="24" y="7"/>
                    <a:pt x="24" y="7"/>
                  </a:cubicBezTo>
                  <a:cubicBezTo>
                    <a:pt x="24" y="7"/>
                    <a:pt x="24" y="6"/>
                    <a:pt x="24" y="5"/>
                  </a:cubicBezTo>
                  <a:cubicBezTo>
                    <a:pt x="24" y="5"/>
                    <a:pt x="24" y="4"/>
                    <a:pt x="24" y="4"/>
                  </a:cubicBezTo>
                  <a:cubicBezTo>
                    <a:pt x="24" y="4"/>
                    <a:pt x="24" y="3"/>
                    <a:pt x="24" y="3"/>
                  </a:cubicBezTo>
                  <a:cubicBezTo>
                    <a:pt x="24" y="3"/>
                    <a:pt x="24" y="3"/>
                    <a:pt x="24" y="3"/>
                  </a:cubicBezTo>
                  <a:cubicBezTo>
                    <a:pt x="24" y="2"/>
                    <a:pt x="24" y="2"/>
                    <a:pt x="23" y="2"/>
                  </a:cubicBezTo>
                  <a:cubicBezTo>
                    <a:pt x="23" y="2"/>
                    <a:pt x="23" y="2"/>
                    <a:pt x="22" y="1"/>
                  </a:cubicBezTo>
                  <a:cubicBezTo>
                    <a:pt x="21" y="1"/>
                    <a:pt x="21" y="1"/>
                    <a:pt x="20" y="0"/>
                  </a:cubicBezTo>
                  <a:cubicBezTo>
                    <a:pt x="19" y="0"/>
                    <a:pt x="18" y="0"/>
                    <a:pt x="17" y="0"/>
                  </a:cubicBezTo>
                  <a:cubicBezTo>
                    <a:pt x="16" y="0"/>
                    <a:pt x="15" y="0"/>
                    <a:pt x="14" y="0"/>
                  </a:cubicBezTo>
                  <a:cubicBezTo>
                    <a:pt x="13" y="0"/>
                    <a:pt x="11" y="0"/>
                    <a:pt x="9" y="0"/>
                  </a:cubicBezTo>
                  <a:cubicBezTo>
                    <a:pt x="7" y="1"/>
                    <a:pt x="6" y="2"/>
                    <a:pt x="5" y="3"/>
                  </a:cubicBezTo>
                  <a:cubicBezTo>
                    <a:pt x="4" y="3"/>
                    <a:pt x="3" y="5"/>
                    <a:pt x="2" y="6"/>
                  </a:cubicBezTo>
                  <a:cubicBezTo>
                    <a:pt x="1" y="8"/>
                    <a:pt x="1" y="9"/>
                    <a:pt x="1" y="11"/>
                  </a:cubicBezTo>
                  <a:cubicBezTo>
                    <a:pt x="1" y="13"/>
                    <a:pt x="1" y="14"/>
                    <a:pt x="2" y="16"/>
                  </a:cubicBezTo>
                  <a:cubicBezTo>
                    <a:pt x="2" y="17"/>
                    <a:pt x="3" y="18"/>
                    <a:pt x="4" y="19"/>
                  </a:cubicBezTo>
                  <a:cubicBezTo>
                    <a:pt x="4" y="20"/>
                    <a:pt x="5" y="20"/>
                    <a:pt x="6" y="21"/>
                  </a:cubicBezTo>
                  <a:cubicBezTo>
                    <a:pt x="7" y="22"/>
                    <a:pt x="8" y="22"/>
                    <a:pt x="9" y="23"/>
                  </a:cubicBezTo>
                  <a:cubicBezTo>
                    <a:pt x="10" y="23"/>
                    <a:pt x="12" y="24"/>
                    <a:pt x="13" y="24"/>
                  </a:cubicBezTo>
                  <a:cubicBezTo>
                    <a:pt x="14" y="25"/>
                    <a:pt x="14" y="25"/>
                    <a:pt x="15" y="26"/>
                  </a:cubicBezTo>
                  <a:cubicBezTo>
                    <a:pt x="16" y="26"/>
                    <a:pt x="17" y="27"/>
                    <a:pt x="17" y="27"/>
                  </a:cubicBezTo>
                  <a:cubicBezTo>
                    <a:pt x="18" y="28"/>
                    <a:pt x="18" y="29"/>
                    <a:pt x="18" y="30"/>
                  </a:cubicBezTo>
                  <a:cubicBezTo>
                    <a:pt x="18" y="31"/>
                    <a:pt x="18" y="31"/>
                    <a:pt x="18" y="32"/>
                  </a:cubicBezTo>
                  <a:cubicBezTo>
                    <a:pt x="17" y="33"/>
                    <a:pt x="17" y="33"/>
                    <a:pt x="16" y="34"/>
                  </a:cubicBezTo>
                  <a:cubicBezTo>
                    <a:pt x="16" y="34"/>
                    <a:pt x="15" y="34"/>
                    <a:pt x="14" y="35"/>
                  </a:cubicBezTo>
                  <a:cubicBezTo>
                    <a:pt x="13" y="35"/>
                    <a:pt x="13" y="35"/>
                    <a:pt x="12" y="35"/>
                  </a:cubicBezTo>
                  <a:cubicBezTo>
                    <a:pt x="10" y="35"/>
                    <a:pt x="9" y="35"/>
                    <a:pt x="8" y="34"/>
                  </a:cubicBezTo>
                  <a:cubicBezTo>
                    <a:pt x="6" y="34"/>
                    <a:pt x="5" y="34"/>
                    <a:pt x="5" y="33"/>
                  </a:cubicBezTo>
                  <a:cubicBezTo>
                    <a:pt x="4" y="33"/>
                    <a:pt x="3" y="32"/>
                    <a:pt x="3" y="32"/>
                  </a:cubicBezTo>
                  <a:cubicBezTo>
                    <a:pt x="2" y="32"/>
                    <a:pt x="2" y="32"/>
                    <a:pt x="1" y="32"/>
                  </a:cubicBezTo>
                  <a:cubicBezTo>
                    <a:pt x="1" y="32"/>
                    <a:pt x="1" y="32"/>
                    <a:pt x="1" y="32"/>
                  </a:cubicBezTo>
                  <a:cubicBezTo>
                    <a:pt x="1" y="32"/>
                    <a:pt x="0" y="32"/>
                    <a:pt x="0" y="32"/>
                  </a:cubicBezTo>
                  <a:cubicBezTo>
                    <a:pt x="0" y="33"/>
                    <a:pt x="0" y="33"/>
                    <a:pt x="0" y="33"/>
                  </a:cubicBezTo>
                  <a:cubicBezTo>
                    <a:pt x="0" y="34"/>
                    <a:pt x="0" y="34"/>
                    <a:pt x="0" y="35"/>
                  </a:cubicBezTo>
                  <a:cubicBezTo>
                    <a:pt x="0" y="36"/>
                    <a:pt x="0" y="37"/>
                    <a:pt x="0" y="37"/>
                  </a:cubicBezTo>
                  <a:cubicBezTo>
                    <a:pt x="0" y="38"/>
                    <a:pt x="1" y="38"/>
                    <a:pt x="1" y="38"/>
                  </a:cubicBezTo>
                  <a:cubicBezTo>
                    <a:pt x="1" y="39"/>
                    <a:pt x="2" y="39"/>
                    <a:pt x="2" y="39"/>
                  </a:cubicBezTo>
                  <a:cubicBezTo>
                    <a:pt x="3" y="40"/>
                    <a:pt x="4" y="40"/>
                    <a:pt x="4" y="40"/>
                  </a:cubicBezTo>
                  <a:cubicBezTo>
                    <a:pt x="5" y="41"/>
                    <a:pt x="6" y="41"/>
                    <a:pt x="8" y="41"/>
                  </a:cubicBezTo>
                  <a:cubicBezTo>
                    <a:pt x="9" y="41"/>
                    <a:pt x="10" y="42"/>
                    <a:pt x="12" y="42"/>
                  </a:cubicBezTo>
                  <a:cubicBezTo>
                    <a:pt x="14" y="42"/>
                    <a:pt x="16" y="41"/>
                    <a:pt x="17" y="41"/>
                  </a:cubicBezTo>
                  <a:cubicBezTo>
                    <a:pt x="19" y="40"/>
                    <a:pt x="21" y="39"/>
                    <a:pt x="22" y="38"/>
                  </a:cubicBezTo>
                  <a:cubicBezTo>
                    <a:pt x="23" y="37"/>
                    <a:pt x="25" y="36"/>
                    <a:pt x="25" y="34"/>
                  </a:cubicBezTo>
                  <a:cubicBezTo>
                    <a:pt x="26" y="33"/>
                    <a:pt x="27" y="31"/>
                    <a:pt x="27" y="29"/>
                  </a:cubicBezTo>
                  <a:cubicBezTo>
                    <a:pt x="27" y="27"/>
                    <a:pt x="26" y="26"/>
                    <a:pt x="26" y="24"/>
                  </a:cubicBez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7" name="Freeform 211">
              <a:extLst>
                <a:ext uri="{FF2B5EF4-FFF2-40B4-BE49-F238E27FC236}">
                  <a16:creationId xmlns:a16="http://schemas.microsoft.com/office/drawing/2014/main" id="{C3B88EF9-2B58-4958-9661-8918CDC85EBB}"/>
                </a:ext>
              </a:extLst>
            </p:cNvPr>
            <p:cNvSpPr>
              <a:spLocks noEditPoints="1"/>
            </p:cNvSpPr>
            <p:nvPr/>
          </p:nvSpPr>
          <p:spPr bwMode="auto">
            <a:xfrm>
              <a:off x="4628619" y="2259511"/>
              <a:ext cx="14429" cy="1467444"/>
            </a:xfrm>
            <a:custGeom>
              <a:avLst/>
              <a:gdLst>
                <a:gd name="T0" fmla="*/ 10 w 10"/>
                <a:gd name="T1" fmla="*/ 1017 h 1017"/>
                <a:gd name="T2" fmla="*/ 0 w 10"/>
                <a:gd name="T3" fmla="*/ 965 h 1017"/>
                <a:gd name="T4" fmla="*/ 10 w 10"/>
                <a:gd name="T5" fmla="*/ 965 h 1017"/>
                <a:gd name="T6" fmla="*/ 0 w 10"/>
                <a:gd name="T7" fmla="*/ 951 h 1017"/>
                <a:gd name="T8" fmla="*/ 0 w 10"/>
                <a:gd name="T9" fmla="*/ 932 h 1017"/>
                <a:gd name="T10" fmla="*/ 10 w 10"/>
                <a:gd name="T11" fmla="*/ 917 h 1017"/>
                <a:gd name="T12" fmla="*/ 0 w 10"/>
                <a:gd name="T13" fmla="*/ 865 h 1017"/>
                <a:gd name="T14" fmla="*/ 10 w 10"/>
                <a:gd name="T15" fmla="*/ 865 h 1017"/>
                <a:gd name="T16" fmla="*/ 0 w 10"/>
                <a:gd name="T17" fmla="*/ 851 h 1017"/>
                <a:gd name="T18" fmla="*/ 0 w 10"/>
                <a:gd name="T19" fmla="*/ 832 h 1017"/>
                <a:gd name="T20" fmla="*/ 10 w 10"/>
                <a:gd name="T21" fmla="*/ 818 h 1017"/>
                <a:gd name="T22" fmla="*/ 0 w 10"/>
                <a:gd name="T23" fmla="*/ 765 h 1017"/>
                <a:gd name="T24" fmla="*/ 10 w 10"/>
                <a:gd name="T25" fmla="*/ 765 h 1017"/>
                <a:gd name="T26" fmla="*/ 0 w 10"/>
                <a:gd name="T27" fmla="*/ 751 h 1017"/>
                <a:gd name="T28" fmla="*/ 0 w 10"/>
                <a:gd name="T29" fmla="*/ 732 h 1017"/>
                <a:gd name="T30" fmla="*/ 10 w 10"/>
                <a:gd name="T31" fmla="*/ 718 h 1017"/>
                <a:gd name="T32" fmla="*/ 0 w 10"/>
                <a:gd name="T33" fmla="*/ 665 h 1017"/>
                <a:gd name="T34" fmla="*/ 10 w 10"/>
                <a:gd name="T35" fmla="*/ 665 h 1017"/>
                <a:gd name="T36" fmla="*/ 0 w 10"/>
                <a:gd name="T37" fmla="*/ 651 h 1017"/>
                <a:gd name="T38" fmla="*/ 0 w 10"/>
                <a:gd name="T39" fmla="*/ 632 h 1017"/>
                <a:gd name="T40" fmla="*/ 10 w 10"/>
                <a:gd name="T41" fmla="*/ 618 h 1017"/>
                <a:gd name="T42" fmla="*/ 0 w 10"/>
                <a:gd name="T43" fmla="*/ 566 h 1017"/>
                <a:gd name="T44" fmla="*/ 10 w 10"/>
                <a:gd name="T45" fmla="*/ 566 h 1017"/>
                <a:gd name="T46" fmla="*/ 0 w 10"/>
                <a:gd name="T47" fmla="*/ 551 h 1017"/>
                <a:gd name="T48" fmla="*/ 0 w 10"/>
                <a:gd name="T49" fmla="*/ 532 h 1017"/>
                <a:gd name="T50" fmla="*/ 10 w 10"/>
                <a:gd name="T51" fmla="*/ 518 h 1017"/>
                <a:gd name="T52" fmla="*/ 0 w 10"/>
                <a:gd name="T53" fmla="*/ 466 h 1017"/>
                <a:gd name="T54" fmla="*/ 10 w 10"/>
                <a:gd name="T55" fmla="*/ 466 h 1017"/>
                <a:gd name="T56" fmla="*/ 0 w 10"/>
                <a:gd name="T57" fmla="*/ 452 h 1017"/>
                <a:gd name="T58" fmla="*/ 0 w 10"/>
                <a:gd name="T59" fmla="*/ 433 h 1017"/>
                <a:gd name="T60" fmla="*/ 10 w 10"/>
                <a:gd name="T61" fmla="*/ 418 h 1017"/>
                <a:gd name="T62" fmla="*/ 0 w 10"/>
                <a:gd name="T63" fmla="*/ 366 h 1017"/>
                <a:gd name="T64" fmla="*/ 10 w 10"/>
                <a:gd name="T65" fmla="*/ 366 h 1017"/>
                <a:gd name="T66" fmla="*/ 0 w 10"/>
                <a:gd name="T67" fmla="*/ 352 h 1017"/>
                <a:gd name="T68" fmla="*/ 0 w 10"/>
                <a:gd name="T69" fmla="*/ 333 h 1017"/>
                <a:gd name="T70" fmla="*/ 10 w 10"/>
                <a:gd name="T71" fmla="*/ 319 h 1017"/>
                <a:gd name="T72" fmla="*/ 0 w 10"/>
                <a:gd name="T73" fmla="*/ 266 h 1017"/>
                <a:gd name="T74" fmla="*/ 10 w 10"/>
                <a:gd name="T75" fmla="*/ 266 h 1017"/>
                <a:gd name="T76" fmla="*/ 0 w 10"/>
                <a:gd name="T77" fmla="*/ 252 h 1017"/>
                <a:gd name="T78" fmla="*/ 0 w 10"/>
                <a:gd name="T79" fmla="*/ 233 h 1017"/>
                <a:gd name="T80" fmla="*/ 10 w 10"/>
                <a:gd name="T81" fmla="*/ 219 h 1017"/>
                <a:gd name="T82" fmla="*/ 0 w 10"/>
                <a:gd name="T83" fmla="*/ 166 h 1017"/>
                <a:gd name="T84" fmla="*/ 10 w 10"/>
                <a:gd name="T85" fmla="*/ 166 h 1017"/>
                <a:gd name="T86" fmla="*/ 0 w 10"/>
                <a:gd name="T87" fmla="*/ 152 h 1017"/>
                <a:gd name="T88" fmla="*/ 0 w 10"/>
                <a:gd name="T89" fmla="*/ 133 h 1017"/>
                <a:gd name="T90" fmla="*/ 10 w 10"/>
                <a:gd name="T91" fmla="*/ 119 h 1017"/>
                <a:gd name="T92" fmla="*/ 0 w 10"/>
                <a:gd name="T93" fmla="*/ 67 h 1017"/>
                <a:gd name="T94" fmla="*/ 10 w 10"/>
                <a:gd name="T95" fmla="*/ 67 h 1017"/>
                <a:gd name="T96" fmla="*/ 0 w 10"/>
                <a:gd name="T97" fmla="*/ 52 h 1017"/>
                <a:gd name="T98" fmla="*/ 0 w 10"/>
                <a:gd name="T99" fmla="*/ 33 h 1017"/>
                <a:gd name="T100" fmla="*/ 10 w 10"/>
                <a:gd name="T101" fmla="*/ 19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 h="1017">
                  <a:moveTo>
                    <a:pt x="0" y="998"/>
                  </a:moveTo>
                  <a:lnTo>
                    <a:pt x="0" y="1017"/>
                  </a:lnTo>
                  <a:lnTo>
                    <a:pt x="10" y="1017"/>
                  </a:lnTo>
                  <a:lnTo>
                    <a:pt x="10" y="998"/>
                  </a:lnTo>
                  <a:lnTo>
                    <a:pt x="0" y="998"/>
                  </a:lnTo>
                  <a:close/>
                  <a:moveTo>
                    <a:pt x="0" y="965"/>
                  </a:moveTo>
                  <a:lnTo>
                    <a:pt x="0" y="984"/>
                  </a:lnTo>
                  <a:lnTo>
                    <a:pt x="10" y="984"/>
                  </a:lnTo>
                  <a:lnTo>
                    <a:pt x="10" y="965"/>
                  </a:lnTo>
                  <a:lnTo>
                    <a:pt x="0" y="965"/>
                  </a:lnTo>
                  <a:close/>
                  <a:moveTo>
                    <a:pt x="0" y="932"/>
                  </a:moveTo>
                  <a:lnTo>
                    <a:pt x="0" y="951"/>
                  </a:lnTo>
                  <a:lnTo>
                    <a:pt x="10" y="951"/>
                  </a:lnTo>
                  <a:lnTo>
                    <a:pt x="10" y="932"/>
                  </a:lnTo>
                  <a:lnTo>
                    <a:pt x="0" y="932"/>
                  </a:lnTo>
                  <a:close/>
                  <a:moveTo>
                    <a:pt x="0" y="898"/>
                  </a:moveTo>
                  <a:lnTo>
                    <a:pt x="0" y="917"/>
                  </a:lnTo>
                  <a:lnTo>
                    <a:pt x="10" y="917"/>
                  </a:lnTo>
                  <a:lnTo>
                    <a:pt x="10" y="898"/>
                  </a:lnTo>
                  <a:lnTo>
                    <a:pt x="0" y="898"/>
                  </a:lnTo>
                  <a:close/>
                  <a:moveTo>
                    <a:pt x="0" y="865"/>
                  </a:moveTo>
                  <a:lnTo>
                    <a:pt x="0" y="884"/>
                  </a:lnTo>
                  <a:lnTo>
                    <a:pt x="10" y="884"/>
                  </a:lnTo>
                  <a:lnTo>
                    <a:pt x="10" y="865"/>
                  </a:lnTo>
                  <a:lnTo>
                    <a:pt x="0" y="865"/>
                  </a:lnTo>
                  <a:close/>
                  <a:moveTo>
                    <a:pt x="0" y="832"/>
                  </a:moveTo>
                  <a:lnTo>
                    <a:pt x="0" y="851"/>
                  </a:lnTo>
                  <a:lnTo>
                    <a:pt x="10" y="851"/>
                  </a:lnTo>
                  <a:lnTo>
                    <a:pt x="10" y="832"/>
                  </a:lnTo>
                  <a:lnTo>
                    <a:pt x="0" y="832"/>
                  </a:lnTo>
                  <a:close/>
                  <a:moveTo>
                    <a:pt x="0" y="799"/>
                  </a:moveTo>
                  <a:lnTo>
                    <a:pt x="0" y="818"/>
                  </a:lnTo>
                  <a:lnTo>
                    <a:pt x="10" y="818"/>
                  </a:lnTo>
                  <a:lnTo>
                    <a:pt x="10" y="799"/>
                  </a:lnTo>
                  <a:lnTo>
                    <a:pt x="0" y="799"/>
                  </a:lnTo>
                  <a:close/>
                  <a:moveTo>
                    <a:pt x="0" y="765"/>
                  </a:moveTo>
                  <a:lnTo>
                    <a:pt x="0" y="784"/>
                  </a:lnTo>
                  <a:lnTo>
                    <a:pt x="10" y="784"/>
                  </a:lnTo>
                  <a:lnTo>
                    <a:pt x="10" y="765"/>
                  </a:lnTo>
                  <a:lnTo>
                    <a:pt x="0" y="765"/>
                  </a:lnTo>
                  <a:close/>
                  <a:moveTo>
                    <a:pt x="0" y="732"/>
                  </a:moveTo>
                  <a:lnTo>
                    <a:pt x="0" y="751"/>
                  </a:lnTo>
                  <a:lnTo>
                    <a:pt x="10" y="751"/>
                  </a:lnTo>
                  <a:lnTo>
                    <a:pt x="10" y="732"/>
                  </a:lnTo>
                  <a:lnTo>
                    <a:pt x="0" y="732"/>
                  </a:lnTo>
                  <a:close/>
                  <a:moveTo>
                    <a:pt x="0" y="699"/>
                  </a:moveTo>
                  <a:lnTo>
                    <a:pt x="0" y="718"/>
                  </a:lnTo>
                  <a:lnTo>
                    <a:pt x="10" y="718"/>
                  </a:lnTo>
                  <a:lnTo>
                    <a:pt x="10" y="699"/>
                  </a:lnTo>
                  <a:lnTo>
                    <a:pt x="0" y="699"/>
                  </a:lnTo>
                  <a:close/>
                  <a:moveTo>
                    <a:pt x="0" y="665"/>
                  </a:moveTo>
                  <a:lnTo>
                    <a:pt x="0" y="684"/>
                  </a:lnTo>
                  <a:lnTo>
                    <a:pt x="10" y="684"/>
                  </a:lnTo>
                  <a:lnTo>
                    <a:pt x="10" y="665"/>
                  </a:lnTo>
                  <a:lnTo>
                    <a:pt x="0" y="665"/>
                  </a:lnTo>
                  <a:close/>
                  <a:moveTo>
                    <a:pt x="0" y="632"/>
                  </a:moveTo>
                  <a:lnTo>
                    <a:pt x="0" y="651"/>
                  </a:lnTo>
                  <a:lnTo>
                    <a:pt x="10" y="651"/>
                  </a:lnTo>
                  <a:lnTo>
                    <a:pt x="10" y="632"/>
                  </a:lnTo>
                  <a:lnTo>
                    <a:pt x="0" y="632"/>
                  </a:lnTo>
                  <a:close/>
                  <a:moveTo>
                    <a:pt x="0" y="599"/>
                  </a:moveTo>
                  <a:lnTo>
                    <a:pt x="0" y="618"/>
                  </a:lnTo>
                  <a:lnTo>
                    <a:pt x="10" y="618"/>
                  </a:lnTo>
                  <a:lnTo>
                    <a:pt x="10" y="599"/>
                  </a:lnTo>
                  <a:lnTo>
                    <a:pt x="0" y="599"/>
                  </a:lnTo>
                  <a:close/>
                  <a:moveTo>
                    <a:pt x="0" y="566"/>
                  </a:moveTo>
                  <a:lnTo>
                    <a:pt x="0" y="585"/>
                  </a:lnTo>
                  <a:lnTo>
                    <a:pt x="10" y="585"/>
                  </a:lnTo>
                  <a:lnTo>
                    <a:pt x="10" y="566"/>
                  </a:lnTo>
                  <a:lnTo>
                    <a:pt x="0" y="566"/>
                  </a:lnTo>
                  <a:close/>
                  <a:moveTo>
                    <a:pt x="0" y="532"/>
                  </a:moveTo>
                  <a:lnTo>
                    <a:pt x="0" y="551"/>
                  </a:lnTo>
                  <a:lnTo>
                    <a:pt x="10" y="551"/>
                  </a:lnTo>
                  <a:lnTo>
                    <a:pt x="10" y="532"/>
                  </a:lnTo>
                  <a:lnTo>
                    <a:pt x="0" y="532"/>
                  </a:lnTo>
                  <a:close/>
                  <a:moveTo>
                    <a:pt x="0" y="499"/>
                  </a:moveTo>
                  <a:lnTo>
                    <a:pt x="0" y="518"/>
                  </a:lnTo>
                  <a:lnTo>
                    <a:pt x="10" y="518"/>
                  </a:lnTo>
                  <a:lnTo>
                    <a:pt x="10" y="499"/>
                  </a:lnTo>
                  <a:lnTo>
                    <a:pt x="0" y="499"/>
                  </a:lnTo>
                  <a:close/>
                  <a:moveTo>
                    <a:pt x="0" y="466"/>
                  </a:moveTo>
                  <a:lnTo>
                    <a:pt x="0" y="485"/>
                  </a:lnTo>
                  <a:lnTo>
                    <a:pt x="10" y="485"/>
                  </a:lnTo>
                  <a:lnTo>
                    <a:pt x="10" y="466"/>
                  </a:lnTo>
                  <a:lnTo>
                    <a:pt x="0" y="466"/>
                  </a:lnTo>
                  <a:close/>
                  <a:moveTo>
                    <a:pt x="0" y="433"/>
                  </a:moveTo>
                  <a:lnTo>
                    <a:pt x="0" y="452"/>
                  </a:lnTo>
                  <a:lnTo>
                    <a:pt x="10" y="452"/>
                  </a:lnTo>
                  <a:lnTo>
                    <a:pt x="10" y="433"/>
                  </a:lnTo>
                  <a:lnTo>
                    <a:pt x="0" y="433"/>
                  </a:lnTo>
                  <a:close/>
                  <a:moveTo>
                    <a:pt x="0" y="399"/>
                  </a:moveTo>
                  <a:lnTo>
                    <a:pt x="0" y="418"/>
                  </a:lnTo>
                  <a:lnTo>
                    <a:pt x="10" y="418"/>
                  </a:lnTo>
                  <a:lnTo>
                    <a:pt x="10" y="399"/>
                  </a:lnTo>
                  <a:lnTo>
                    <a:pt x="0" y="399"/>
                  </a:lnTo>
                  <a:close/>
                  <a:moveTo>
                    <a:pt x="0" y="366"/>
                  </a:moveTo>
                  <a:lnTo>
                    <a:pt x="0" y="385"/>
                  </a:lnTo>
                  <a:lnTo>
                    <a:pt x="10" y="385"/>
                  </a:lnTo>
                  <a:lnTo>
                    <a:pt x="10" y="366"/>
                  </a:lnTo>
                  <a:lnTo>
                    <a:pt x="0" y="366"/>
                  </a:lnTo>
                  <a:close/>
                  <a:moveTo>
                    <a:pt x="0" y="333"/>
                  </a:moveTo>
                  <a:lnTo>
                    <a:pt x="0" y="352"/>
                  </a:lnTo>
                  <a:lnTo>
                    <a:pt x="10" y="352"/>
                  </a:lnTo>
                  <a:lnTo>
                    <a:pt x="10" y="333"/>
                  </a:lnTo>
                  <a:lnTo>
                    <a:pt x="0" y="333"/>
                  </a:lnTo>
                  <a:close/>
                  <a:moveTo>
                    <a:pt x="0" y="300"/>
                  </a:moveTo>
                  <a:lnTo>
                    <a:pt x="0" y="319"/>
                  </a:lnTo>
                  <a:lnTo>
                    <a:pt x="10" y="319"/>
                  </a:lnTo>
                  <a:lnTo>
                    <a:pt x="10" y="300"/>
                  </a:lnTo>
                  <a:lnTo>
                    <a:pt x="0" y="300"/>
                  </a:lnTo>
                  <a:close/>
                  <a:moveTo>
                    <a:pt x="0" y="266"/>
                  </a:moveTo>
                  <a:lnTo>
                    <a:pt x="0" y="285"/>
                  </a:lnTo>
                  <a:lnTo>
                    <a:pt x="10" y="285"/>
                  </a:lnTo>
                  <a:lnTo>
                    <a:pt x="10" y="266"/>
                  </a:lnTo>
                  <a:lnTo>
                    <a:pt x="0" y="266"/>
                  </a:lnTo>
                  <a:close/>
                  <a:moveTo>
                    <a:pt x="0" y="233"/>
                  </a:moveTo>
                  <a:lnTo>
                    <a:pt x="0" y="252"/>
                  </a:lnTo>
                  <a:lnTo>
                    <a:pt x="10" y="252"/>
                  </a:lnTo>
                  <a:lnTo>
                    <a:pt x="10" y="233"/>
                  </a:lnTo>
                  <a:lnTo>
                    <a:pt x="0" y="233"/>
                  </a:lnTo>
                  <a:close/>
                  <a:moveTo>
                    <a:pt x="0" y="200"/>
                  </a:moveTo>
                  <a:lnTo>
                    <a:pt x="0" y="219"/>
                  </a:lnTo>
                  <a:lnTo>
                    <a:pt x="10" y="219"/>
                  </a:lnTo>
                  <a:lnTo>
                    <a:pt x="10" y="200"/>
                  </a:lnTo>
                  <a:lnTo>
                    <a:pt x="0" y="200"/>
                  </a:lnTo>
                  <a:close/>
                  <a:moveTo>
                    <a:pt x="0" y="166"/>
                  </a:moveTo>
                  <a:lnTo>
                    <a:pt x="0" y="185"/>
                  </a:lnTo>
                  <a:lnTo>
                    <a:pt x="10" y="185"/>
                  </a:lnTo>
                  <a:lnTo>
                    <a:pt x="10" y="166"/>
                  </a:lnTo>
                  <a:lnTo>
                    <a:pt x="0" y="166"/>
                  </a:lnTo>
                  <a:close/>
                  <a:moveTo>
                    <a:pt x="0" y="133"/>
                  </a:moveTo>
                  <a:lnTo>
                    <a:pt x="0" y="152"/>
                  </a:lnTo>
                  <a:lnTo>
                    <a:pt x="10" y="152"/>
                  </a:lnTo>
                  <a:lnTo>
                    <a:pt x="10" y="133"/>
                  </a:lnTo>
                  <a:lnTo>
                    <a:pt x="0" y="133"/>
                  </a:lnTo>
                  <a:close/>
                  <a:moveTo>
                    <a:pt x="0" y="100"/>
                  </a:moveTo>
                  <a:lnTo>
                    <a:pt x="0" y="119"/>
                  </a:lnTo>
                  <a:lnTo>
                    <a:pt x="10" y="119"/>
                  </a:lnTo>
                  <a:lnTo>
                    <a:pt x="10" y="100"/>
                  </a:lnTo>
                  <a:lnTo>
                    <a:pt x="0" y="100"/>
                  </a:lnTo>
                  <a:close/>
                  <a:moveTo>
                    <a:pt x="0" y="67"/>
                  </a:moveTo>
                  <a:lnTo>
                    <a:pt x="0" y="86"/>
                  </a:lnTo>
                  <a:lnTo>
                    <a:pt x="10" y="86"/>
                  </a:lnTo>
                  <a:lnTo>
                    <a:pt x="10" y="67"/>
                  </a:lnTo>
                  <a:lnTo>
                    <a:pt x="0" y="67"/>
                  </a:lnTo>
                  <a:close/>
                  <a:moveTo>
                    <a:pt x="0" y="33"/>
                  </a:moveTo>
                  <a:lnTo>
                    <a:pt x="0" y="52"/>
                  </a:lnTo>
                  <a:lnTo>
                    <a:pt x="10" y="52"/>
                  </a:lnTo>
                  <a:lnTo>
                    <a:pt x="10" y="33"/>
                  </a:lnTo>
                  <a:lnTo>
                    <a:pt x="0" y="33"/>
                  </a:lnTo>
                  <a:close/>
                  <a:moveTo>
                    <a:pt x="0" y="0"/>
                  </a:moveTo>
                  <a:lnTo>
                    <a:pt x="0" y="19"/>
                  </a:lnTo>
                  <a:lnTo>
                    <a:pt x="10" y="19"/>
                  </a:lnTo>
                  <a:lnTo>
                    <a:pt x="10" y="0"/>
                  </a:lnTo>
                  <a:lnTo>
                    <a:pt x="0" y="0"/>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 name="Freeform 212">
              <a:extLst>
                <a:ext uri="{FF2B5EF4-FFF2-40B4-BE49-F238E27FC236}">
                  <a16:creationId xmlns:a16="http://schemas.microsoft.com/office/drawing/2014/main" id="{0A0AEA4D-7E16-4B00-9AEE-A0DAFAE7F936}"/>
                </a:ext>
              </a:extLst>
            </p:cNvPr>
            <p:cNvSpPr>
              <a:spLocks noEditPoints="1"/>
            </p:cNvSpPr>
            <p:nvPr/>
          </p:nvSpPr>
          <p:spPr bwMode="auto">
            <a:xfrm>
              <a:off x="4628619" y="4018423"/>
              <a:ext cx="14429" cy="1409728"/>
            </a:xfrm>
            <a:custGeom>
              <a:avLst/>
              <a:gdLst>
                <a:gd name="T0" fmla="*/ 0 w 10"/>
                <a:gd name="T1" fmla="*/ 977 h 977"/>
                <a:gd name="T2" fmla="*/ 10 w 10"/>
                <a:gd name="T3" fmla="*/ 948 h 977"/>
                <a:gd name="T4" fmla="*/ 0 w 10"/>
                <a:gd name="T5" fmla="*/ 898 h 977"/>
                <a:gd name="T6" fmla="*/ 10 w 10"/>
                <a:gd name="T7" fmla="*/ 927 h 977"/>
                <a:gd name="T8" fmla="*/ 0 w 10"/>
                <a:gd name="T9" fmla="*/ 898 h 977"/>
                <a:gd name="T10" fmla="*/ 0 w 10"/>
                <a:gd name="T11" fmla="*/ 877 h 977"/>
                <a:gd name="T12" fmla="*/ 10 w 10"/>
                <a:gd name="T13" fmla="*/ 848 h 977"/>
                <a:gd name="T14" fmla="*/ 0 w 10"/>
                <a:gd name="T15" fmla="*/ 799 h 977"/>
                <a:gd name="T16" fmla="*/ 10 w 10"/>
                <a:gd name="T17" fmla="*/ 827 h 977"/>
                <a:gd name="T18" fmla="*/ 0 w 10"/>
                <a:gd name="T19" fmla="*/ 799 h 977"/>
                <a:gd name="T20" fmla="*/ 0 w 10"/>
                <a:gd name="T21" fmla="*/ 777 h 977"/>
                <a:gd name="T22" fmla="*/ 10 w 10"/>
                <a:gd name="T23" fmla="*/ 749 h 977"/>
                <a:gd name="T24" fmla="*/ 0 w 10"/>
                <a:gd name="T25" fmla="*/ 699 h 977"/>
                <a:gd name="T26" fmla="*/ 10 w 10"/>
                <a:gd name="T27" fmla="*/ 727 h 977"/>
                <a:gd name="T28" fmla="*/ 0 w 10"/>
                <a:gd name="T29" fmla="*/ 699 h 977"/>
                <a:gd name="T30" fmla="*/ 0 w 10"/>
                <a:gd name="T31" fmla="*/ 677 h 977"/>
                <a:gd name="T32" fmla="*/ 10 w 10"/>
                <a:gd name="T33" fmla="*/ 649 h 977"/>
                <a:gd name="T34" fmla="*/ 0 w 10"/>
                <a:gd name="T35" fmla="*/ 599 h 977"/>
                <a:gd name="T36" fmla="*/ 10 w 10"/>
                <a:gd name="T37" fmla="*/ 627 h 977"/>
                <a:gd name="T38" fmla="*/ 0 w 10"/>
                <a:gd name="T39" fmla="*/ 599 h 977"/>
                <a:gd name="T40" fmla="*/ 0 w 10"/>
                <a:gd name="T41" fmla="*/ 578 h 977"/>
                <a:gd name="T42" fmla="*/ 10 w 10"/>
                <a:gd name="T43" fmla="*/ 549 h 977"/>
                <a:gd name="T44" fmla="*/ 0 w 10"/>
                <a:gd name="T45" fmla="*/ 499 h 977"/>
                <a:gd name="T46" fmla="*/ 10 w 10"/>
                <a:gd name="T47" fmla="*/ 528 h 977"/>
                <a:gd name="T48" fmla="*/ 0 w 10"/>
                <a:gd name="T49" fmla="*/ 499 h 977"/>
                <a:gd name="T50" fmla="*/ 0 w 10"/>
                <a:gd name="T51" fmla="*/ 478 h 977"/>
                <a:gd name="T52" fmla="*/ 10 w 10"/>
                <a:gd name="T53" fmla="*/ 449 h 977"/>
                <a:gd name="T54" fmla="*/ 0 w 10"/>
                <a:gd name="T55" fmla="*/ 399 h 977"/>
                <a:gd name="T56" fmla="*/ 10 w 10"/>
                <a:gd name="T57" fmla="*/ 428 h 977"/>
                <a:gd name="T58" fmla="*/ 0 w 10"/>
                <a:gd name="T59" fmla="*/ 399 h 977"/>
                <a:gd name="T60" fmla="*/ 0 w 10"/>
                <a:gd name="T61" fmla="*/ 378 h 977"/>
                <a:gd name="T62" fmla="*/ 10 w 10"/>
                <a:gd name="T63" fmla="*/ 349 h 977"/>
                <a:gd name="T64" fmla="*/ 0 w 10"/>
                <a:gd name="T65" fmla="*/ 300 h 977"/>
                <a:gd name="T66" fmla="*/ 10 w 10"/>
                <a:gd name="T67" fmla="*/ 328 h 977"/>
                <a:gd name="T68" fmla="*/ 0 w 10"/>
                <a:gd name="T69" fmla="*/ 300 h 977"/>
                <a:gd name="T70" fmla="*/ 0 w 10"/>
                <a:gd name="T71" fmla="*/ 278 h 977"/>
                <a:gd name="T72" fmla="*/ 10 w 10"/>
                <a:gd name="T73" fmla="*/ 250 h 977"/>
                <a:gd name="T74" fmla="*/ 0 w 10"/>
                <a:gd name="T75" fmla="*/ 200 h 977"/>
                <a:gd name="T76" fmla="*/ 10 w 10"/>
                <a:gd name="T77" fmla="*/ 228 h 977"/>
                <a:gd name="T78" fmla="*/ 0 w 10"/>
                <a:gd name="T79" fmla="*/ 200 h 977"/>
                <a:gd name="T80" fmla="*/ 0 w 10"/>
                <a:gd name="T81" fmla="*/ 178 h 977"/>
                <a:gd name="T82" fmla="*/ 10 w 10"/>
                <a:gd name="T83" fmla="*/ 150 h 977"/>
                <a:gd name="T84" fmla="*/ 0 w 10"/>
                <a:gd name="T85" fmla="*/ 100 h 977"/>
                <a:gd name="T86" fmla="*/ 10 w 10"/>
                <a:gd name="T87" fmla="*/ 128 h 977"/>
                <a:gd name="T88" fmla="*/ 0 w 10"/>
                <a:gd name="T89" fmla="*/ 100 h 977"/>
                <a:gd name="T90" fmla="*/ 0 w 10"/>
                <a:gd name="T91" fmla="*/ 79 h 977"/>
                <a:gd name="T92" fmla="*/ 10 w 10"/>
                <a:gd name="T93" fmla="*/ 50 h 977"/>
                <a:gd name="T94" fmla="*/ 0 w 10"/>
                <a:gd name="T95" fmla="*/ 0 h 977"/>
                <a:gd name="T96" fmla="*/ 10 w 10"/>
                <a:gd name="T97" fmla="*/ 29 h 977"/>
                <a:gd name="T98" fmla="*/ 0 w 10"/>
                <a:gd name="T99" fmla="*/ 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 h="977">
                  <a:moveTo>
                    <a:pt x="0" y="948"/>
                  </a:moveTo>
                  <a:lnTo>
                    <a:pt x="0" y="977"/>
                  </a:lnTo>
                  <a:lnTo>
                    <a:pt x="10" y="977"/>
                  </a:lnTo>
                  <a:lnTo>
                    <a:pt x="10" y="948"/>
                  </a:lnTo>
                  <a:lnTo>
                    <a:pt x="0" y="948"/>
                  </a:lnTo>
                  <a:close/>
                  <a:moveTo>
                    <a:pt x="0" y="898"/>
                  </a:moveTo>
                  <a:lnTo>
                    <a:pt x="0" y="927"/>
                  </a:lnTo>
                  <a:lnTo>
                    <a:pt x="10" y="927"/>
                  </a:lnTo>
                  <a:lnTo>
                    <a:pt x="10" y="898"/>
                  </a:lnTo>
                  <a:lnTo>
                    <a:pt x="0" y="898"/>
                  </a:lnTo>
                  <a:close/>
                  <a:moveTo>
                    <a:pt x="0" y="848"/>
                  </a:moveTo>
                  <a:lnTo>
                    <a:pt x="0" y="877"/>
                  </a:lnTo>
                  <a:lnTo>
                    <a:pt x="10" y="877"/>
                  </a:lnTo>
                  <a:lnTo>
                    <a:pt x="10" y="848"/>
                  </a:lnTo>
                  <a:lnTo>
                    <a:pt x="0" y="848"/>
                  </a:lnTo>
                  <a:close/>
                  <a:moveTo>
                    <a:pt x="0" y="799"/>
                  </a:moveTo>
                  <a:lnTo>
                    <a:pt x="0" y="827"/>
                  </a:lnTo>
                  <a:lnTo>
                    <a:pt x="10" y="827"/>
                  </a:lnTo>
                  <a:lnTo>
                    <a:pt x="10" y="799"/>
                  </a:lnTo>
                  <a:lnTo>
                    <a:pt x="0" y="799"/>
                  </a:lnTo>
                  <a:close/>
                  <a:moveTo>
                    <a:pt x="0" y="749"/>
                  </a:moveTo>
                  <a:lnTo>
                    <a:pt x="0" y="777"/>
                  </a:lnTo>
                  <a:lnTo>
                    <a:pt x="10" y="777"/>
                  </a:lnTo>
                  <a:lnTo>
                    <a:pt x="10" y="749"/>
                  </a:lnTo>
                  <a:lnTo>
                    <a:pt x="0" y="749"/>
                  </a:lnTo>
                  <a:close/>
                  <a:moveTo>
                    <a:pt x="0" y="699"/>
                  </a:moveTo>
                  <a:lnTo>
                    <a:pt x="0" y="727"/>
                  </a:lnTo>
                  <a:lnTo>
                    <a:pt x="10" y="727"/>
                  </a:lnTo>
                  <a:lnTo>
                    <a:pt x="10" y="699"/>
                  </a:lnTo>
                  <a:lnTo>
                    <a:pt x="0" y="699"/>
                  </a:lnTo>
                  <a:close/>
                  <a:moveTo>
                    <a:pt x="0" y="649"/>
                  </a:moveTo>
                  <a:lnTo>
                    <a:pt x="0" y="677"/>
                  </a:lnTo>
                  <a:lnTo>
                    <a:pt x="10" y="677"/>
                  </a:lnTo>
                  <a:lnTo>
                    <a:pt x="10" y="649"/>
                  </a:lnTo>
                  <a:lnTo>
                    <a:pt x="0" y="649"/>
                  </a:lnTo>
                  <a:close/>
                  <a:moveTo>
                    <a:pt x="0" y="599"/>
                  </a:moveTo>
                  <a:lnTo>
                    <a:pt x="0" y="627"/>
                  </a:lnTo>
                  <a:lnTo>
                    <a:pt x="10" y="627"/>
                  </a:lnTo>
                  <a:lnTo>
                    <a:pt x="10" y="599"/>
                  </a:lnTo>
                  <a:lnTo>
                    <a:pt x="0" y="599"/>
                  </a:lnTo>
                  <a:close/>
                  <a:moveTo>
                    <a:pt x="0" y="549"/>
                  </a:moveTo>
                  <a:lnTo>
                    <a:pt x="0" y="578"/>
                  </a:lnTo>
                  <a:lnTo>
                    <a:pt x="10" y="578"/>
                  </a:lnTo>
                  <a:lnTo>
                    <a:pt x="10" y="549"/>
                  </a:lnTo>
                  <a:lnTo>
                    <a:pt x="0" y="549"/>
                  </a:lnTo>
                  <a:close/>
                  <a:moveTo>
                    <a:pt x="0" y="499"/>
                  </a:moveTo>
                  <a:lnTo>
                    <a:pt x="0" y="528"/>
                  </a:lnTo>
                  <a:lnTo>
                    <a:pt x="10" y="528"/>
                  </a:lnTo>
                  <a:lnTo>
                    <a:pt x="10" y="499"/>
                  </a:lnTo>
                  <a:lnTo>
                    <a:pt x="0" y="499"/>
                  </a:lnTo>
                  <a:close/>
                  <a:moveTo>
                    <a:pt x="0" y="449"/>
                  </a:moveTo>
                  <a:lnTo>
                    <a:pt x="0" y="478"/>
                  </a:lnTo>
                  <a:lnTo>
                    <a:pt x="10" y="478"/>
                  </a:lnTo>
                  <a:lnTo>
                    <a:pt x="10" y="449"/>
                  </a:lnTo>
                  <a:lnTo>
                    <a:pt x="0" y="449"/>
                  </a:lnTo>
                  <a:close/>
                  <a:moveTo>
                    <a:pt x="0" y="399"/>
                  </a:moveTo>
                  <a:lnTo>
                    <a:pt x="0" y="428"/>
                  </a:lnTo>
                  <a:lnTo>
                    <a:pt x="10" y="428"/>
                  </a:lnTo>
                  <a:lnTo>
                    <a:pt x="10" y="399"/>
                  </a:lnTo>
                  <a:lnTo>
                    <a:pt x="0" y="399"/>
                  </a:lnTo>
                  <a:close/>
                  <a:moveTo>
                    <a:pt x="0" y="349"/>
                  </a:moveTo>
                  <a:lnTo>
                    <a:pt x="0" y="378"/>
                  </a:lnTo>
                  <a:lnTo>
                    <a:pt x="10" y="378"/>
                  </a:lnTo>
                  <a:lnTo>
                    <a:pt x="10" y="349"/>
                  </a:lnTo>
                  <a:lnTo>
                    <a:pt x="0" y="349"/>
                  </a:lnTo>
                  <a:close/>
                  <a:moveTo>
                    <a:pt x="0" y="300"/>
                  </a:moveTo>
                  <a:lnTo>
                    <a:pt x="0" y="328"/>
                  </a:lnTo>
                  <a:lnTo>
                    <a:pt x="10" y="328"/>
                  </a:lnTo>
                  <a:lnTo>
                    <a:pt x="10" y="300"/>
                  </a:lnTo>
                  <a:lnTo>
                    <a:pt x="0" y="300"/>
                  </a:lnTo>
                  <a:close/>
                  <a:moveTo>
                    <a:pt x="0" y="250"/>
                  </a:moveTo>
                  <a:lnTo>
                    <a:pt x="0" y="278"/>
                  </a:lnTo>
                  <a:lnTo>
                    <a:pt x="10" y="278"/>
                  </a:lnTo>
                  <a:lnTo>
                    <a:pt x="10" y="250"/>
                  </a:lnTo>
                  <a:lnTo>
                    <a:pt x="0" y="250"/>
                  </a:lnTo>
                  <a:close/>
                  <a:moveTo>
                    <a:pt x="0" y="200"/>
                  </a:moveTo>
                  <a:lnTo>
                    <a:pt x="0" y="228"/>
                  </a:lnTo>
                  <a:lnTo>
                    <a:pt x="10" y="228"/>
                  </a:lnTo>
                  <a:lnTo>
                    <a:pt x="10" y="200"/>
                  </a:lnTo>
                  <a:lnTo>
                    <a:pt x="0" y="200"/>
                  </a:lnTo>
                  <a:close/>
                  <a:moveTo>
                    <a:pt x="0" y="150"/>
                  </a:moveTo>
                  <a:lnTo>
                    <a:pt x="0" y="178"/>
                  </a:lnTo>
                  <a:lnTo>
                    <a:pt x="10" y="178"/>
                  </a:lnTo>
                  <a:lnTo>
                    <a:pt x="10" y="150"/>
                  </a:lnTo>
                  <a:lnTo>
                    <a:pt x="0" y="150"/>
                  </a:lnTo>
                  <a:close/>
                  <a:moveTo>
                    <a:pt x="0" y="100"/>
                  </a:moveTo>
                  <a:lnTo>
                    <a:pt x="0" y="128"/>
                  </a:lnTo>
                  <a:lnTo>
                    <a:pt x="10" y="128"/>
                  </a:lnTo>
                  <a:lnTo>
                    <a:pt x="10" y="100"/>
                  </a:lnTo>
                  <a:lnTo>
                    <a:pt x="0" y="100"/>
                  </a:lnTo>
                  <a:close/>
                  <a:moveTo>
                    <a:pt x="0" y="50"/>
                  </a:moveTo>
                  <a:lnTo>
                    <a:pt x="0" y="79"/>
                  </a:lnTo>
                  <a:lnTo>
                    <a:pt x="10" y="79"/>
                  </a:lnTo>
                  <a:lnTo>
                    <a:pt x="10" y="50"/>
                  </a:lnTo>
                  <a:lnTo>
                    <a:pt x="0" y="50"/>
                  </a:lnTo>
                  <a:close/>
                  <a:moveTo>
                    <a:pt x="0" y="0"/>
                  </a:moveTo>
                  <a:lnTo>
                    <a:pt x="0" y="29"/>
                  </a:lnTo>
                  <a:lnTo>
                    <a:pt x="10" y="29"/>
                  </a:lnTo>
                  <a:lnTo>
                    <a:pt x="10" y="0"/>
                  </a:lnTo>
                  <a:lnTo>
                    <a:pt x="0" y="0"/>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 name="Freeform 213">
              <a:extLst>
                <a:ext uri="{FF2B5EF4-FFF2-40B4-BE49-F238E27FC236}">
                  <a16:creationId xmlns:a16="http://schemas.microsoft.com/office/drawing/2014/main" id="{33A608D3-AC38-494A-81B2-BD21BFD882CE}"/>
                </a:ext>
              </a:extLst>
            </p:cNvPr>
            <p:cNvSpPr>
              <a:spLocks noEditPoints="1"/>
            </p:cNvSpPr>
            <p:nvPr/>
          </p:nvSpPr>
          <p:spPr bwMode="auto">
            <a:xfrm>
              <a:off x="4628619" y="5736934"/>
              <a:ext cx="14429" cy="795046"/>
            </a:xfrm>
            <a:custGeom>
              <a:avLst/>
              <a:gdLst>
                <a:gd name="T0" fmla="*/ 0 w 10"/>
                <a:gd name="T1" fmla="*/ 549 h 551"/>
                <a:gd name="T2" fmla="*/ 0 w 10"/>
                <a:gd name="T3" fmla="*/ 551 h 551"/>
                <a:gd name="T4" fmla="*/ 10 w 10"/>
                <a:gd name="T5" fmla="*/ 551 h 551"/>
                <a:gd name="T6" fmla="*/ 10 w 10"/>
                <a:gd name="T7" fmla="*/ 549 h 551"/>
                <a:gd name="T8" fmla="*/ 0 w 10"/>
                <a:gd name="T9" fmla="*/ 549 h 551"/>
                <a:gd name="T10" fmla="*/ 0 w 10"/>
                <a:gd name="T11" fmla="*/ 499 h 551"/>
                <a:gd name="T12" fmla="*/ 0 w 10"/>
                <a:gd name="T13" fmla="*/ 527 h 551"/>
                <a:gd name="T14" fmla="*/ 10 w 10"/>
                <a:gd name="T15" fmla="*/ 527 h 551"/>
                <a:gd name="T16" fmla="*/ 10 w 10"/>
                <a:gd name="T17" fmla="*/ 499 h 551"/>
                <a:gd name="T18" fmla="*/ 0 w 10"/>
                <a:gd name="T19" fmla="*/ 499 h 551"/>
                <a:gd name="T20" fmla="*/ 0 w 10"/>
                <a:gd name="T21" fmla="*/ 449 h 551"/>
                <a:gd name="T22" fmla="*/ 0 w 10"/>
                <a:gd name="T23" fmla="*/ 477 h 551"/>
                <a:gd name="T24" fmla="*/ 10 w 10"/>
                <a:gd name="T25" fmla="*/ 477 h 551"/>
                <a:gd name="T26" fmla="*/ 10 w 10"/>
                <a:gd name="T27" fmla="*/ 449 h 551"/>
                <a:gd name="T28" fmla="*/ 0 w 10"/>
                <a:gd name="T29" fmla="*/ 449 h 551"/>
                <a:gd name="T30" fmla="*/ 0 w 10"/>
                <a:gd name="T31" fmla="*/ 399 h 551"/>
                <a:gd name="T32" fmla="*/ 0 w 10"/>
                <a:gd name="T33" fmla="*/ 427 h 551"/>
                <a:gd name="T34" fmla="*/ 10 w 10"/>
                <a:gd name="T35" fmla="*/ 427 h 551"/>
                <a:gd name="T36" fmla="*/ 10 w 10"/>
                <a:gd name="T37" fmla="*/ 399 h 551"/>
                <a:gd name="T38" fmla="*/ 0 w 10"/>
                <a:gd name="T39" fmla="*/ 399 h 551"/>
                <a:gd name="T40" fmla="*/ 0 w 10"/>
                <a:gd name="T41" fmla="*/ 349 h 551"/>
                <a:gd name="T42" fmla="*/ 0 w 10"/>
                <a:gd name="T43" fmla="*/ 377 h 551"/>
                <a:gd name="T44" fmla="*/ 10 w 10"/>
                <a:gd name="T45" fmla="*/ 377 h 551"/>
                <a:gd name="T46" fmla="*/ 10 w 10"/>
                <a:gd name="T47" fmla="*/ 349 h 551"/>
                <a:gd name="T48" fmla="*/ 0 w 10"/>
                <a:gd name="T49" fmla="*/ 349 h 551"/>
                <a:gd name="T50" fmla="*/ 0 w 10"/>
                <a:gd name="T51" fmla="*/ 299 h 551"/>
                <a:gd name="T52" fmla="*/ 0 w 10"/>
                <a:gd name="T53" fmla="*/ 328 h 551"/>
                <a:gd name="T54" fmla="*/ 10 w 10"/>
                <a:gd name="T55" fmla="*/ 328 h 551"/>
                <a:gd name="T56" fmla="*/ 10 w 10"/>
                <a:gd name="T57" fmla="*/ 299 h 551"/>
                <a:gd name="T58" fmla="*/ 0 w 10"/>
                <a:gd name="T59" fmla="*/ 299 h 551"/>
                <a:gd name="T60" fmla="*/ 0 w 10"/>
                <a:gd name="T61" fmla="*/ 249 h 551"/>
                <a:gd name="T62" fmla="*/ 0 w 10"/>
                <a:gd name="T63" fmla="*/ 278 h 551"/>
                <a:gd name="T64" fmla="*/ 10 w 10"/>
                <a:gd name="T65" fmla="*/ 278 h 551"/>
                <a:gd name="T66" fmla="*/ 10 w 10"/>
                <a:gd name="T67" fmla="*/ 249 h 551"/>
                <a:gd name="T68" fmla="*/ 0 w 10"/>
                <a:gd name="T69" fmla="*/ 249 h 551"/>
                <a:gd name="T70" fmla="*/ 0 w 10"/>
                <a:gd name="T71" fmla="*/ 199 h 551"/>
                <a:gd name="T72" fmla="*/ 0 w 10"/>
                <a:gd name="T73" fmla="*/ 228 h 551"/>
                <a:gd name="T74" fmla="*/ 10 w 10"/>
                <a:gd name="T75" fmla="*/ 228 h 551"/>
                <a:gd name="T76" fmla="*/ 10 w 10"/>
                <a:gd name="T77" fmla="*/ 199 h 551"/>
                <a:gd name="T78" fmla="*/ 0 w 10"/>
                <a:gd name="T79" fmla="*/ 199 h 551"/>
                <a:gd name="T80" fmla="*/ 0 w 10"/>
                <a:gd name="T81" fmla="*/ 149 h 551"/>
                <a:gd name="T82" fmla="*/ 0 w 10"/>
                <a:gd name="T83" fmla="*/ 178 h 551"/>
                <a:gd name="T84" fmla="*/ 10 w 10"/>
                <a:gd name="T85" fmla="*/ 178 h 551"/>
                <a:gd name="T86" fmla="*/ 10 w 10"/>
                <a:gd name="T87" fmla="*/ 149 h 551"/>
                <a:gd name="T88" fmla="*/ 0 w 10"/>
                <a:gd name="T89" fmla="*/ 149 h 551"/>
                <a:gd name="T90" fmla="*/ 0 w 10"/>
                <a:gd name="T91" fmla="*/ 99 h 551"/>
                <a:gd name="T92" fmla="*/ 0 w 10"/>
                <a:gd name="T93" fmla="*/ 128 h 551"/>
                <a:gd name="T94" fmla="*/ 10 w 10"/>
                <a:gd name="T95" fmla="*/ 128 h 551"/>
                <a:gd name="T96" fmla="*/ 10 w 10"/>
                <a:gd name="T97" fmla="*/ 99 h 551"/>
                <a:gd name="T98" fmla="*/ 0 w 10"/>
                <a:gd name="T99" fmla="*/ 99 h 551"/>
                <a:gd name="T100" fmla="*/ 0 w 10"/>
                <a:gd name="T101" fmla="*/ 50 h 551"/>
                <a:gd name="T102" fmla="*/ 0 w 10"/>
                <a:gd name="T103" fmla="*/ 78 h 551"/>
                <a:gd name="T104" fmla="*/ 10 w 10"/>
                <a:gd name="T105" fmla="*/ 78 h 551"/>
                <a:gd name="T106" fmla="*/ 10 w 10"/>
                <a:gd name="T107" fmla="*/ 50 h 551"/>
                <a:gd name="T108" fmla="*/ 0 w 10"/>
                <a:gd name="T109" fmla="*/ 50 h 551"/>
                <a:gd name="T110" fmla="*/ 0 w 10"/>
                <a:gd name="T111" fmla="*/ 0 h 551"/>
                <a:gd name="T112" fmla="*/ 0 w 10"/>
                <a:gd name="T113" fmla="*/ 28 h 551"/>
                <a:gd name="T114" fmla="*/ 10 w 10"/>
                <a:gd name="T115" fmla="*/ 28 h 551"/>
                <a:gd name="T116" fmla="*/ 10 w 10"/>
                <a:gd name="T117" fmla="*/ 0 h 551"/>
                <a:gd name="T118" fmla="*/ 0 w 10"/>
                <a:gd name="T119"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 h="551">
                  <a:moveTo>
                    <a:pt x="0" y="549"/>
                  </a:moveTo>
                  <a:lnTo>
                    <a:pt x="0" y="551"/>
                  </a:lnTo>
                  <a:lnTo>
                    <a:pt x="10" y="551"/>
                  </a:lnTo>
                  <a:lnTo>
                    <a:pt x="10" y="549"/>
                  </a:lnTo>
                  <a:lnTo>
                    <a:pt x="0" y="549"/>
                  </a:lnTo>
                  <a:close/>
                  <a:moveTo>
                    <a:pt x="0" y="499"/>
                  </a:moveTo>
                  <a:lnTo>
                    <a:pt x="0" y="527"/>
                  </a:lnTo>
                  <a:lnTo>
                    <a:pt x="10" y="527"/>
                  </a:lnTo>
                  <a:lnTo>
                    <a:pt x="10" y="499"/>
                  </a:lnTo>
                  <a:lnTo>
                    <a:pt x="0" y="499"/>
                  </a:lnTo>
                  <a:close/>
                  <a:moveTo>
                    <a:pt x="0" y="449"/>
                  </a:moveTo>
                  <a:lnTo>
                    <a:pt x="0" y="477"/>
                  </a:lnTo>
                  <a:lnTo>
                    <a:pt x="10" y="477"/>
                  </a:lnTo>
                  <a:lnTo>
                    <a:pt x="10" y="449"/>
                  </a:lnTo>
                  <a:lnTo>
                    <a:pt x="0" y="449"/>
                  </a:lnTo>
                  <a:close/>
                  <a:moveTo>
                    <a:pt x="0" y="399"/>
                  </a:moveTo>
                  <a:lnTo>
                    <a:pt x="0" y="427"/>
                  </a:lnTo>
                  <a:lnTo>
                    <a:pt x="10" y="427"/>
                  </a:lnTo>
                  <a:lnTo>
                    <a:pt x="10" y="399"/>
                  </a:lnTo>
                  <a:lnTo>
                    <a:pt x="0" y="399"/>
                  </a:lnTo>
                  <a:close/>
                  <a:moveTo>
                    <a:pt x="0" y="349"/>
                  </a:moveTo>
                  <a:lnTo>
                    <a:pt x="0" y="377"/>
                  </a:lnTo>
                  <a:lnTo>
                    <a:pt x="10" y="377"/>
                  </a:lnTo>
                  <a:lnTo>
                    <a:pt x="10" y="349"/>
                  </a:lnTo>
                  <a:lnTo>
                    <a:pt x="0" y="349"/>
                  </a:lnTo>
                  <a:close/>
                  <a:moveTo>
                    <a:pt x="0" y="299"/>
                  </a:moveTo>
                  <a:lnTo>
                    <a:pt x="0" y="328"/>
                  </a:lnTo>
                  <a:lnTo>
                    <a:pt x="10" y="328"/>
                  </a:lnTo>
                  <a:lnTo>
                    <a:pt x="10" y="299"/>
                  </a:lnTo>
                  <a:lnTo>
                    <a:pt x="0" y="299"/>
                  </a:lnTo>
                  <a:close/>
                  <a:moveTo>
                    <a:pt x="0" y="249"/>
                  </a:moveTo>
                  <a:lnTo>
                    <a:pt x="0" y="278"/>
                  </a:lnTo>
                  <a:lnTo>
                    <a:pt x="10" y="278"/>
                  </a:lnTo>
                  <a:lnTo>
                    <a:pt x="10" y="249"/>
                  </a:lnTo>
                  <a:lnTo>
                    <a:pt x="0" y="249"/>
                  </a:lnTo>
                  <a:close/>
                  <a:moveTo>
                    <a:pt x="0" y="199"/>
                  </a:moveTo>
                  <a:lnTo>
                    <a:pt x="0" y="228"/>
                  </a:lnTo>
                  <a:lnTo>
                    <a:pt x="10" y="228"/>
                  </a:lnTo>
                  <a:lnTo>
                    <a:pt x="10" y="199"/>
                  </a:lnTo>
                  <a:lnTo>
                    <a:pt x="0" y="199"/>
                  </a:lnTo>
                  <a:close/>
                  <a:moveTo>
                    <a:pt x="0" y="149"/>
                  </a:moveTo>
                  <a:lnTo>
                    <a:pt x="0" y="178"/>
                  </a:lnTo>
                  <a:lnTo>
                    <a:pt x="10" y="178"/>
                  </a:lnTo>
                  <a:lnTo>
                    <a:pt x="10" y="149"/>
                  </a:lnTo>
                  <a:lnTo>
                    <a:pt x="0" y="149"/>
                  </a:lnTo>
                  <a:close/>
                  <a:moveTo>
                    <a:pt x="0" y="99"/>
                  </a:moveTo>
                  <a:lnTo>
                    <a:pt x="0" y="128"/>
                  </a:lnTo>
                  <a:lnTo>
                    <a:pt x="10" y="128"/>
                  </a:lnTo>
                  <a:lnTo>
                    <a:pt x="10" y="99"/>
                  </a:lnTo>
                  <a:lnTo>
                    <a:pt x="0" y="99"/>
                  </a:lnTo>
                  <a:close/>
                  <a:moveTo>
                    <a:pt x="0" y="50"/>
                  </a:moveTo>
                  <a:lnTo>
                    <a:pt x="0" y="78"/>
                  </a:lnTo>
                  <a:lnTo>
                    <a:pt x="10" y="78"/>
                  </a:lnTo>
                  <a:lnTo>
                    <a:pt x="10" y="50"/>
                  </a:lnTo>
                  <a:lnTo>
                    <a:pt x="0" y="50"/>
                  </a:lnTo>
                  <a:close/>
                  <a:moveTo>
                    <a:pt x="0" y="0"/>
                  </a:moveTo>
                  <a:lnTo>
                    <a:pt x="0" y="28"/>
                  </a:lnTo>
                  <a:lnTo>
                    <a:pt x="10" y="28"/>
                  </a:lnTo>
                  <a:lnTo>
                    <a:pt x="10" y="0"/>
                  </a:lnTo>
                  <a:lnTo>
                    <a:pt x="0" y="0"/>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10" name="Group 209">
              <a:extLst>
                <a:ext uri="{FF2B5EF4-FFF2-40B4-BE49-F238E27FC236}">
                  <a16:creationId xmlns:a16="http://schemas.microsoft.com/office/drawing/2014/main" id="{C9CA5C12-54DD-46DC-8BA1-FBB0E176F88F}"/>
                </a:ext>
              </a:extLst>
            </p:cNvPr>
            <p:cNvGrpSpPr/>
            <p:nvPr/>
          </p:nvGrpSpPr>
          <p:grpSpPr>
            <a:xfrm>
              <a:off x="3022651" y="2921809"/>
              <a:ext cx="1418380" cy="144291"/>
              <a:chOff x="1254125" y="1912938"/>
              <a:chExt cx="1560513" cy="158750"/>
            </a:xfrm>
          </p:grpSpPr>
          <p:sp>
            <p:nvSpPr>
              <p:cNvPr id="276" name="Freeform 219">
                <a:extLst>
                  <a:ext uri="{FF2B5EF4-FFF2-40B4-BE49-F238E27FC236}">
                    <a16:creationId xmlns:a16="http://schemas.microsoft.com/office/drawing/2014/main" id="{CE7E0053-7D45-405B-89AC-12C9FDCDF3FF}"/>
                  </a:ext>
                </a:extLst>
              </p:cNvPr>
              <p:cNvSpPr>
                <a:spLocks noEditPoints="1"/>
              </p:cNvSpPr>
              <p:nvPr/>
            </p:nvSpPr>
            <p:spPr bwMode="auto">
              <a:xfrm>
                <a:off x="1254125" y="1916113"/>
                <a:ext cx="128588" cy="150813"/>
              </a:xfrm>
              <a:custGeom>
                <a:avLst/>
                <a:gdLst>
                  <a:gd name="T0" fmla="*/ 32 w 34"/>
                  <a:gd name="T1" fmla="*/ 11 h 40"/>
                  <a:gd name="T2" fmla="*/ 28 w 34"/>
                  <a:gd name="T3" fmla="*/ 5 h 40"/>
                  <a:gd name="T4" fmla="*/ 22 w 34"/>
                  <a:gd name="T5" fmla="*/ 1 h 40"/>
                  <a:gd name="T6" fmla="*/ 13 w 34"/>
                  <a:gd name="T7" fmla="*/ 0 h 40"/>
                  <a:gd name="T8" fmla="*/ 3 w 34"/>
                  <a:gd name="T9" fmla="*/ 0 h 40"/>
                  <a:gd name="T10" fmla="*/ 1 w 34"/>
                  <a:gd name="T11" fmla="*/ 1 h 40"/>
                  <a:gd name="T12" fmla="*/ 0 w 34"/>
                  <a:gd name="T13" fmla="*/ 3 h 40"/>
                  <a:gd name="T14" fmla="*/ 0 w 34"/>
                  <a:gd name="T15" fmla="*/ 38 h 40"/>
                  <a:gd name="T16" fmla="*/ 1 w 34"/>
                  <a:gd name="T17" fmla="*/ 40 h 40"/>
                  <a:gd name="T18" fmla="*/ 3 w 34"/>
                  <a:gd name="T19" fmla="*/ 40 h 40"/>
                  <a:gd name="T20" fmla="*/ 12 w 34"/>
                  <a:gd name="T21" fmla="*/ 40 h 40"/>
                  <a:gd name="T22" fmla="*/ 21 w 34"/>
                  <a:gd name="T23" fmla="*/ 39 h 40"/>
                  <a:gd name="T24" fmla="*/ 28 w 34"/>
                  <a:gd name="T25" fmla="*/ 36 h 40"/>
                  <a:gd name="T26" fmla="*/ 32 w 34"/>
                  <a:gd name="T27" fmla="*/ 29 h 40"/>
                  <a:gd name="T28" fmla="*/ 34 w 34"/>
                  <a:gd name="T29" fmla="*/ 20 h 40"/>
                  <a:gd name="T30" fmla="*/ 32 w 34"/>
                  <a:gd name="T31" fmla="*/ 11 h 40"/>
                  <a:gd name="T32" fmla="*/ 24 w 34"/>
                  <a:gd name="T33" fmla="*/ 26 h 40"/>
                  <a:gd name="T34" fmla="*/ 22 w 34"/>
                  <a:gd name="T35" fmla="*/ 30 h 40"/>
                  <a:gd name="T36" fmla="*/ 18 w 34"/>
                  <a:gd name="T37" fmla="*/ 33 h 40"/>
                  <a:gd name="T38" fmla="*/ 13 w 34"/>
                  <a:gd name="T39" fmla="*/ 34 h 40"/>
                  <a:gd name="T40" fmla="*/ 8 w 34"/>
                  <a:gd name="T41" fmla="*/ 34 h 40"/>
                  <a:gd name="T42" fmla="*/ 8 w 34"/>
                  <a:gd name="T43" fmla="*/ 6 h 40"/>
                  <a:gd name="T44" fmla="*/ 12 w 34"/>
                  <a:gd name="T45" fmla="*/ 6 h 40"/>
                  <a:gd name="T46" fmla="*/ 19 w 34"/>
                  <a:gd name="T47" fmla="*/ 7 h 40"/>
                  <a:gd name="T48" fmla="*/ 22 w 34"/>
                  <a:gd name="T49" fmla="*/ 10 h 40"/>
                  <a:gd name="T50" fmla="*/ 25 w 34"/>
                  <a:gd name="T51" fmla="*/ 15 h 40"/>
                  <a:gd name="T52" fmla="*/ 25 w 34"/>
                  <a:gd name="T53" fmla="*/ 20 h 40"/>
                  <a:gd name="T54" fmla="*/ 24 w 34"/>
                  <a:gd name="T55"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40">
                    <a:moveTo>
                      <a:pt x="32" y="11"/>
                    </a:moveTo>
                    <a:cubicBezTo>
                      <a:pt x="31" y="9"/>
                      <a:pt x="30" y="7"/>
                      <a:pt x="28" y="5"/>
                    </a:cubicBezTo>
                    <a:cubicBezTo>
                      <a:pt x="27" y="3"/>
                      <a:pt x="25" y="2"/>
                      <a:pt x="22" y="1"/>
                    </a:cubicBezTo>
                    <a:cubicBezTo>
                      <a:pt x="20" y="0"/>
                      <a:pt x="16" y="0"/>
                      <a:pt x="13" y="0"/>
                    </a:cubicBezTo>
                    <a:cubicBezTo>
                      <a:pt x="3" y="0"/>
                      <a:pt x="3" y="0"/>
                      <a:pt x="3" y="0"/>
                    </a:cubicBezTo>
                    <a:cubicBezTo>
                      <a:pt x="2" y="0"/>
                      <a:pt x="1" y="0"/>
                      <a:pt x="1" y="1"/>
                    </a:cubicBezTo>
                    <a:cubicBezTo>
                      <a:pt x="0" y="1"/>
                      <a:pt x="0" y="2"/>
                      <a:pt x="0" y="3"/>
                    </a:cubicBezTo>
                    <a:cubicBezTo>
                      <a:pt x="0" y="38"/>
                      <a:pt x="0" y="38"/>
                      <a:pt x="0" y="38"/>
                    </a:cubicBezTo>
                    <a:cubicBezTo>
                      <a:pt x="0" y="39"/>
                      <a:pt x="0" y="39"/>
                      <a:pt x="1" y="40"/>
                    </a:cubicBezTo>
                    <a:cubicBezTo>
                      <a:pt x="1" y="40"/>
                      <a:pt x="2" y="40"/>
                      <a:pt x="3" y="40"/>
                    </a:cubicBezTo>
                    <a:cubicBezTo>
                      <a:pt x="12" y="40"/>
                      <a:pt x="12" y="40"/>
                      <a:pt x="12" y="40"/>
                    </a:cubicBezTo>
                    <a:cubicBezTo>
                      <a:pt x="16" y="40"/>
                      <a:pt x="19" y="40"/>
                      <a:pt x="21" y="39"/>
                    </a:cubicBezTo>
                    <a:cubicBezTo>
                      <a:pt x="24" y="39"/>
                      <a:pt x="26" y="37"/>
                      <a:pt x="28" y="36"/>
                    </a:cubicBezTo>
                    <a:cubicBezTo>
                      <a:pt x="30" y="34"/>
                      <a:pt x="31" y="32"/>
                      <a:pt x="32" y="29"/>
                    </a:cubicBezTo>
                    <a:cubicBezTo>
                      <a:pt x="33" y="27"/>
                      <a:pt x="34" y="23"/>
                      <a:pt x="34" y="20"/>
                    </a:cubicBezTo>
                    <a:cubicBezTo>
                      <a:pt x="34" y="16"/>
                      <a:pt x="33" y="14"/>
                      <a:pt x="32" y="11"/>
                    </a:cubicBezTo>
                    <a:close/>
                    <a:moveTo>
                      <a:pt x="24" y="26"/>
                    </a:moveTo>
                    <a:cubicBezTo>
                      <a:pt x="24" y="28"/>
                      <a:pt x="23" y="29"/>
                      <a:pt x="22" y="30"/>
                    </a:cubicBezTo>
                    <a:cubicBezTo>
                      <a:pt x="21" y="32"/>
                      <a:pt x="20" y="33"/>
                      <a:pt x="18" y="33"/>
                    </a:cubicBezTo>
                    <a:cubicBezTo>
                      <a:pt x="17" y="34"/>
                      <a:pt x="15" y="34"/>
                      <a:pt x="13" y="34"/>
                    </a:cubicBezTo>
                    <a:cubicBezTo>
                      <a:pt x="8" y="34"/>
                      <a:pt x="8" y="34"/>
                      <a:pt x="8" y="34"/>
                    </a:cubicBezTo>
                    <a:cubicBezTo>
                      <a:pt x="8" y="6"/>
                      <a:pt x="8" y="6"/>
                      <a:pt x="8" y="6"/>
                    </a:cubicBezTo>
                    <a:cubicBezTo>
                      <a:pt x="12" y="6"/>
                      <a:pt x="12" y="6"/>
                      <a:pt x="12" y="6"/>
                    </a:cubicBezTo>
                    <a:cubicBezTo>
                      <a:pt x="15" y="6"/>
                      <a:pt x="17" y="7"/>
                      <a:pt x="19" y="7"/>
                    </a:cubicBezTo>
                    <a:cubicBezTo>
                      <a:pt x="20" y="8"/>
                      <a:pt x="21" y="9"/>
                      <a:pt x="22" y="10"/>
                    </a:cubicBezTo>
                    <a:cubicBezTo>
                      <a:pt x="23" y="12"/>
                      <a:pt x="24" y="13"/>
                      <a:pt x="25" y="15"/>
                    </a:cubicBezTo>
                    <a:cubicBezTo>
                      <a:pt x="25" y="16"/>
                      <a:pt x="25" y="18"/>
                      <a:pt x="25" y="20"/>
                    </a:cubicBezTo>
                    <a:cubicBezTo>
                      <a:pt x="25" y="22"/>
                      <a:pt x="25" y="24"/>
                      <a:pt x="24" y="26"/>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 name="Freeform 220">
                <a:extLst>
                  <a:ext uri="{FF2B5EF4-FFF2-40B4-BE49-F238E27FC236}">
                    <a16:creationId xmlns:a16="http://schemas.microsoft.com/office/drawing/2014/main" id="{E19DF7D5-EFEB-4C2C-9A6C-C5C2E8557517}"/>
                  </a:ext>
                </a:extLst>
              </p:cNvPr>
              <p:cNvSpPr>
                <a:spLocks/>
              </p:cNvSpPr>
              <p:nvPr/>
            </p:nvSpPr>
            <p:spPr bwMode="auto">
              <a:xfrm>
                <a:off x="1408113" y="1916113"/>
                <a:ext cx="30163" cy="155575"/>
              </a:xfrm>
              <a:custGeom>
                <a:avLst/>
                <a:gdLst>
                  <a:gd name="T0" fmla="*/ 8 w 8"/>
                  <a:gd name="T1" fmla="*/ 1 h 41"/>
                  <a:gd name="T2" fmla="*/ 8 w 8"/>
                  <a:gd name="T3" fmla="*/ 1 h 41"/>
                  <a:gd name="T4" fmla="*/ 7 w 8"/>
                  <a:gd name="T5" fmla="*/ 0 h 41"/>
                  <a:gd name="T6" fmla="*/ 6 w 8"/>
                  <a:gd name="T7" fmla="*/ 0 h 41"/>
                  <a:gd name="T8" fmla="*/ 4 w 8"/>
                  <a:gd name="T9" fmla="*/ 0 h 41"/>
                  <a:gd name="T10" fmla="*/ 2 w 8"/>
                  <a:gd name="T11" fmla="*/ 0 h 41"/>
                  <a:gd name="T12" fmla="*/ 0 w 8"/>
                  <a:gd name="T13" fmla="*/ 0 h 41"/>
                  <a:gd name="T14" fmla="*/ 0 w 8"/>
                  <a:gd name="T15" fmla="*/ 1 h 41"/>
                  <a:gd name="T16" fmla="*/ 0 w 8"/>
                  <a:gd name="T17" fmla="*/ 1 h 41"/>
                  <a:gd name="T18" fmla="*/ 0 w 8"/>
                  <a:gd name="T19" fmla="*/ 39 h 41"/>
                  <a:gd name="T20" fmla="*/ 0 w 8"/>
                  <a:gd name="T21" fmla="*/ 40 h 41"/>
                  <a:gd name="T22" fmla="*/ 0 w 8"/>
                  <a:gd name="T23" fmla="*/ 40 h 41"/>
                  <a:gd name="T24" fmla="*/ 2 w 8"/>
                  <a:gd name="T25" fmla="*/ 41 h 41"/>
                  <a:gd name="T26" fmla="*/ 4 w 8"/>
                  <a:gd name="T27" fmla="*/ 41 h 41"/>
                  <a:gd name="T28" fmla="*/ 6 w 8"/>
                  <a:gd name="T29" fmla="*/ 41 h 41"/>
                  <a:gd name="T30" fmla="*/ 7 w 8"/>
                  <a:gd name="T31" fmla="*/ 40 h 41"/>
                  <a:gd name="T32" fmla="*/ 8 w 8"/>
                  <a:gd name="T33" fmla="*/ 40 h 41"/>
                  <a:gd name="T34" fmla="*/ 8 w 8"/>
                  <a:gd name="T35" fmla="*/ 39 h 41"/>
                  <a:gd name="T36" fmla="*/ 8 w 8"/>
                  <a:gd name="T37"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41">
                    <a:moveTo>
                      <a:pt x="8" y="1"/>
                    </a:moveTo>
                    <a:cubicBezTo>
                      <a:pt x="8" y="1"/>
                      <a:pt x="8" y="1"/>
                      <a:pt x="8" y="1"/>
                    </a:cubicBezTo>
                    <a:cubicBezTo>
                      <a:pt x="7" y="0"/>
                      <a:pt x="7" y="0"/>
                      <a:pt x="7" y="0"/>
                    </a:cubicBezTo>
                    <a:cubicBezTo>
                      <a:pt x="7" y="0"/>
                      <a:pt x="6" y="0"/>
                      <a:pt x="6" y="0"/>
                    </a:cubicBezTo>
                    <a:cubicBezTo>
                      <a:pt x="5" y="0"/>
                      <a:pt x="4" y="0"/>
                      <a:pt x="4" y="0"/>
                    </a:cubicBezTo>
                    <a:cubicBezTo>
                      <a:pt x="3" y="0"/>
                      <a:pt x="2" y="0"/>
                      <a:pt x="2" y="0"/>
                    </a:cubicBezTo>
                    <a:cubicBezTo>
                      <a:pt x="1" y="0"/>
                      <a:pt x="1" y="0"/>
                      <a:pt x="0" y="0"/>
                    </a:cubicBezTo>
                    <a:cubicBezTo>
                      <a:pt x="0" y="0"/>
                      <a:pt x="0" y="0"/>
                      <a:pt x="0" y="1"/>
                    </a:cubicBezTo>
                    <a:cubicBezTo>
                      <a:pt x="0" y="1"/>
                      <a:pt x="0" y="1"/>
                      <a:pt x="0" y="1"/>
                    </a:cubicBezTo>
                    <a:cubicBezTo>
                      <a:pt x="0" y="39"/>
                      <a:pt x="0" y="39"/>
                      <a:pt x="0" y="39"/>
                    </a:cubicBezTo>
                    <a:cubicBezTo>
                      <a:pt x="0" y="40"/>
                      <a:pt x="0" y="40"/>
                      <a:pt x="0" y="40"/>
                    </a:cubicBezTo>
                    <a:cubicBezTo>
                      <a:pt x="0" y="40"/>
                      <a:pt x="0" y="40"/>
                      <a:pt x="0" y="40"/>
                    </a:cubicBezTo>
                    <a:cubicBezTo>
                      <a:pt x="1" y="40"/>
                      <a:pt x="1" y="41"/>
                      <a:pt x="2" y="41"/>
                    </a:cubicBezTo>
                    <a:cubicBezTo>
                      <a:pt x="2" y="41"/>
                      <a:pt x="3" y="41"/>
                      <a:pt x="4" y="41"/>
                    </a:cubicBezTo>
                    <a:cubicBezTo>
                      <a:pt x="4" y="41"/>
                      <a:pt x="5" y="41"/>
                      <a:pt x="6" y="41"/>
                    </a:cubicBezTo>
                    <a:cubicBezTo>
                      <a:pt x="6" y="41"/>
                      <a:pt x="7" y="40"/>
                      <a:pt x="7" y="40"/>
                    </a:cubicBezTo>
                    <a:cubicBezTo>
                      <a:pt x="7" y="40"/>
                      <a:pt x="7" y="40"/>
                      <a:pt x="8" y="40"/>
                    </a:cubicBezTo>
                    <a:cubicBezTo>
                      <a:pt x="8" y="40"/>
                      <a:pt x="8" y="40"/>
                      <a:pt x="8" y="39"/>
                    </a:cubicBezTo>
                    <a:cubicBezTo>
                      <a:pt x="8" y="1"/>
                      <a:pt x="8" y="1"/>
                      <a:pt x="8" y="1"/>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 name="Freeform 221">
                <a:extLst>
                  <a:ext uri="{FF2B5EF4-FFF2-40B4-BE49-F238E27FC236}">
                    <a16:creationId xmlns:a16="http://schemas.microsoft.com/office/drawing/2014/main" id="{8072E8DA-4BEF-4CAD-8D05-5B3869884302}"/>
                  </a:ext>
                </a:extLst>
              </p:cNvPr>
              <p:cNvSpPr>
                <a:spLocks/>
              </p:cNvSpPr>
              <p:nvPr/>
            </p:nvSpPr>
            <p:spPr bwMode="auto">
              <a:xfrm>
                <a:off x="1462088" y="1912938"/>
                <a:ext cx="131763" cy="158750"/>
              </a:xfrm>
              <a:custGeom>
                <a:avLst/>
                <a:gdLst>
                  <a:gd name="T0" fmla="*/ 35 w 35"/>
                  <a:gd name="T1" fmla="*/ 5 h 42"/>
                  <a:gd name="T2" fmla="*/ 34 w 35"/>
                  <a:gd name="T3" fmla="*/ 4 h 42"/>
                  <a:gd name="T4" fmla="*/ 33 w 35"/>
                  <a:gd name="T5" fmla="*/ 3 h 42"/>
                  <a:gd name="T6" fmla="*/ 30 w 35"/>
                  <a:gd name="T7" fmla="*/ 2 h 42"/>
                  <a:gd name="T8" fmla="*/ 26 w 35"/>
                  <a:gd name="T9" fmla="*/ 1 h 42"/>
                  <a:gd name="T10" fmla="*/ 21 w 35"/>
                  <a:gd name="T11" fmla="*/ 0 h 42"/>
                  <a:gd name="T12" fmla="*/ 13 w 35"/>
                  <a:gd name="T13" fmla="*/ 2 h 42"/>
                  <a:gd name="T14" fmla="*/ 6 w 35"/>
                  <a:gd name="T15" fmla="*/ 6 h 42"/>
                  <a:gd name="T16" fmla="*/ 2 w 35"/>
                  <a:gd name="T17" fmla="*/ 13 h 42"/>
                  <a:gd name="T18" fmla="*/ 0 w 35"/>
                  <a:gd name="T19" fmla="*/ 22 h 42"/>
                  <a:gd name="T20" fmla="*/ 2 w 35"/>
                  <a:gd name="T21" fmla="*/ 30 h 42"/>
                  <a:gd name="T22" fmla="*/ 6 w 35"/>
                  <a:gd name="T23" fmla="*/ 37 h 42"/>
                  <a:gd name="T24" fmla="*/ 12 w 35"/>
                  <a:gd name="T25" fmla="*/ 41 h 42"/>
                  <a:gd name="T26" fmla="*/ 21 w 35"/>
                  <a:gd name="T27" fmla="*/ 42 h 42"/>
                  <a:gd name="T28" fmla="*/ 24 w 35"/>
                  <a:gd name="T29" fmla="*/ 42 h 42"/>
                  <a:gd name="T30" fmla="*/ 28 w 35"/>
                  <a:gd name="T31" fmla="*/ 42 h 42"/>
                  <a:gd name="T32" fmla="*/ 31 w 35"/>
                  <a:gd name="T33" fmla="*/ 41 h 42"/>
                  <a:gd name="T34" fmla="*/ 33 w 35"/>
                  <a:gd name="T35" fmla="*/ 40 h 42"/>
                  <a:gd name="T36" fmla="*/ 35 w 35"/>
                  <a:gd name="T37" fmla="*/ 39 h 42"/>
                  <a:gd name="T38" fmla="*/ 35 w 35"/>
                  <a:gd name="T39" fmla="*/ 37 h 42"/>
                  <a:gd name="T40" fmla="*/ 35 w 35"/>
                  <a:gd name="T41" fmla="*/ 21 h 42"/>
                  <a:gd name="T42" fmla="*/ 35 w 35"/>
                  <a:gd name="T43" fmla="*/ 20 h 42"/>
                  <a:gd name="T44" fmla="*/ 34 w 35"/>
                  <a:gd name="T45" fmla="*/ 19 h 42"/>
                  <a:gd name="T46" fmla="*/ 34 w 35"/>
                  <a:gd name="T47" fmla="*/ 19 h 42"/>
                  <a:gd name="T48" fmla="*/ 33 w 35"/>
                  <a:gd name="T49" fmla="*/ 18 h 42"/>
                  <a:gd name="T50" fmla="*/ 19 w 35"/>
                  <a:gd name="T51" fmla="*/ 18 h 42"/>
                  <a:gd name="T52" fmla="*/ 19 w 35"/>
                  <a:gd name="T53" fmla="*/ 19 h 42"/>
                  <a:gd name="T54" fmla="*/ 18 w 35"/>
                  <a:gd name="T55" fmla="*/ 19 h 42"/>
                  <a:gd name="T56" fmla="*/ 18 w 35"/>
                  <a:gd name="T57" fmla="*/ 20 h 42"/>
                  <a:gd name="T58" fmla="*/ 18 w 35"/>
                  <a:gd name="T59" fmla="*/ 22 h 42"/>
                  <a:gd name="T60" fmla="*/ 18 w 35"/>
                  <a:gd name="T61" fmla="*/ 24 h 42"/>
                  <a:gd name="T62" fmla="*/ 19 w 35"/>
                  <a:gd name="T63" fmla="*/ 25 h 42"/>
                  <a:gd name="T64" fmla="*/ 27 w 35"/>
                  <a:gd name="T65" fmla="*/ 25 h 42"/>
                  <a:gd name="T66" fmla="*/ 27 w 35"/>
                  <a:gd name="T67" fmla="*/ 34 h 42"/>
                  <a:gd name="T68" fmla="*/ 24 w 35"/>
                  <a:gd name="T69" fmla="*/ 35 h 42"/>
                  <a:gd name="T70" fmla="*/ 21 w 35"/>
                  <a:gd name="T71" fmla="*/ 35 h 42"/>
                  <a:gd name="T72" fmla="*/ 16 w 35"/>
                  <a:gd name="T73" fmla="*/ 34 h 42"/>
                  <a:gd name="T74" fmla="*/ 12 w 35"/>
                  <a:gd name="T75" fmla="*/ 32 h 42"/>
                  <a:gd name="T76" fmla="*/ 10 w 35"/>
                  <a:gd name="T77" fmla="*/ 27 h 42"/>
                  <a:gd name="T78" fmla="*/ 9 w 35"/>
                  <a:gd name="T79" fmla="*/ 21 h 42"/>
                  <a:gd name="T80" fmla="*/ 10 w 35"/>
                  <a:gd name="T81" fmla="*/ 15 h 42"/>
                  <a:gd name="T82" fmla="*/ 12 w 35"/>
                  <a:gd name="T83" fmla="*/ 11 h 42"/>
                  <a:gd name="T84" fmla="*/ 16 w 35"/>
                  <a:gd name="T85" fmla="*/ 8 h 42"/>
                  <a:gd name="T86" fmla="*/ 22 w 35"/>
                  <a:gd name="T87" fmla="*/ 7 h 42"/>
                  <a:gd name="T88" fmla="*/ 27 w 35"/>
                  <a:gd name="T89" fmla="*/ 8 h 42"/>
                  <a:gd name="T90" fmla="*/ 30 w 35"/>
                  <a:gd name="T91" fmla="*/ 9 h 42"/>
                  <a:gd name="T92" fmla="*/ 33 w 35"/>
                  <a:gd name="T93" fmla="*/ 10 h 42"/>
                  <a:gd name="T94" fmla="*/ 34 w 35"/>
                  <a:gd name="T95" fmla="*/ 11 h 42"/>
                  <a:gd name="T96" fmla="*/ 34 w 35"/>
                  <a:gd name="T97" fmla="*/ 10 h 42"/>
                  <a:gd name="T98" fmla="*/ 35 w 35"/>
                  <a:gd name="T99" fmla="*/ 10 h 42"/>
                  <a:gd name="T100" fmla="*/ 35 w 35"/>
                  <a:gd name="T101" fmla="*/ 9 h 42"/>
                  <a:gd name="T102" fmla="*/ 35 w 35"/>
                  <a:gd name="T103" fmla="*/ 7 h 42"/>
                  <a:gd name="T104" fmla="*/ 35 w 35"/>
                  <a:gd name="T105"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 h="42">
                    <a:moveTo>
                      <a:pt x="35" y="5"/>
                    </a:moveTo>
                    <a:cubicBezTo>
                      <a:pt x="35" y="4"/>
                      <a:pt x="34" y="4"/>
                      <a:pt x="34" y="4"/>
                    </a:cubicBezTo>
                    <a:cubicBezTo>
                      <a:pt x="34" y="3"/>
                      <a:pt x="33" y="3"/>
                      <a:pt x="33" y="3"/>
                    </a:cubicBezTo>
                    <a:cubicBezTo>
                      <a:pt x="32" y="2"/>
                      <a:pt x="31" y="2"/>
                      <a:pt x="30" y="2"/>
                    </a:cubicBezTo>
                    <a:cubicBezTo>
                      <a:pt x="29" y="1"/>
                      <a:pt x="28" y="1"/>
                      <a:pt x="26" y="1"/>
                    </a:cubicBezTo>
                    <a:cubicBezTo>
                      <a:pt x="25" y="0"/>
                      <a:pt x="23" y="0"/>
                      <a:pt x="21" y="0"/>
                    </a:cubicBezTo>
                    <a:cubicBezTo>
                      <a:pt x="18" y="0"/>
                      <a:pt x="15" y="1"/>
                      <a:pt x="13" y="2"/>
                    </a:cubicBezTo>
                    <a:cubicBezTo>
                      <a:pt x="10" y="3"/>
                      <a:pt x="8" y="4"/>
                      <a:pt x="6" y="6"/>
                    </a:cubicBezTo>
                    <a:cubicBezTo>
                      <a:pt x="4" y="8"/>
                      <a:pt x="3" y="10"/>
                      <a:pt x="2" y="13"/>
                    </a:cubicBezTo>
                    <a:cubicBezTo>
                      <a:pt x="1" y="15"/>
                      <a:pt x="0" y="18"/>
                      <a:pt x="0" y="22"/>
                    </a:cubicBezTo>
                    <a:cubicBezTo>
                      <a:pt x="0" y="25"/>
                      <a:pt x="1" y="28"/>
                      <a:pt x="2" y="30"/>
                    </a:cubicBezTo>
                    <a:cubicBezTo>
                      <a:pt x="3" y="33"/>
                      <a:pt x="4" y="35"/>
                      <a:pt x="6" y="37"/>
                    </a:cubicBezTo>
                    <a:cubicBezTo>
                      <a:pt x="8" y="39"/>
                      <a:pt x="10" y="40"/>
                      <a:pt x="12" y="41"/>
                    </a:cubicBezTo>
                    <a:cubicBezTo>
                      <a:pt x="15" y="42"/>
                      <a:pt x="18" y="42"/>
                      <a:pt x="21" y="42"/>
                    </a:cubicBezTo>
                    <a:cubicBezTo>
                      <a:pt x="22" y="42"/>
                      <a:pt x="23" y="42"/>
                      <a:pt x="24" y="42"/>
                    </a:cubicBezTo>
                    <a:cubicBezTo>
                      <a:pt x="25" y="42"/>
                      <a:pt x="27" y="42"/>
                      <a:pt x="28" y="42"/>
                    </a:cubicBezTo>
                    <a:cubicBezTo>
                      <a:pt x="29" y="41"/>
                      <a:pt x="30" y="41"/>
                      <a:pt x="31" y="41"/>
                    </a:cubicBezTo>
                    <a:cubicBezTo>
                      <a:pt x="32" y="41"/>
                      <a:pt x="33" y="40"/>
                      <a:pt x="33" y="40"/>
                    </a:cubicBezTo>
                    <a:cubicBezTo>
                      <a:pt x="34" y="40"/>
                      <a:pt x="34" y="39"/>
                      <a:pt x="35" y="39"/>
                    </a:cubicBezTo>
                    <a:cubicBezTo>
                      <a:pt x="35" y="38"/>
                      <a:pt x="35" y="38"/>
                      <a:pt x="35" y="37"/>
                    </a:cubicBezTo>
                    <a:cubicBezTo>
                      <a:pt x="35" y="21"/>
                      <a:pt x="35" y="21"/>
                      <a:pt x="35" y="21"/>
                    </a:cubicBezTo>
                    <a:cubicBezTo>
                      <a:pt x="35" y="21"/>
                      <a:pt x="35" y="20"/>
                      <a:pt x="35" y="20"/>
                    </a:cubicBezTo>
                    <a:cubicBezTo>
                      <a:pt x="35" y="20"/>
                      <a:pt x="34" y="19"/>
                      <a:pt x="34" y="19"/>
                    </a:cubicBezTo>
                    <a:cubicBezTo>
                      <a:pt x="34" y="19"/>
                      <a:pt x="34" y="19"/>
                      <a:pt x="34" y="19"/>
                    </a:cubicBezTo>
                    <a:cubicBezTo>
                      <a:pt x="33" y="19"/>
                      <a:pt x="33" y="18"/>
                      <a:pt x="33" y="18"/>
                    </a:cubicBezTo>
                    <a:cubicBezTo>
                      <a:pt x="19" y="18"/>
                      <a:pt x="19" y="18"/>
                      <a:pt x="19" y="18"/>
                    </a:cubicBezTo>
                    <a:cubicBezTo>
                      <a:pt x="19" y="18"/>
                      <a:pt x="19" y="19"/>
                      <a:pt x="19" y="19"/>
                    </a:cubicBezTo>
                    <a:cubicBezTo>
                      <a:pt x="18" y="19"/>
                      <a:pt x="18" y="19"/>
                      <a:pt x="18" y="19"/>
                    </a:cubicBezTo>
                    <a:cubicBezTo>
                      <a:pt x="18" y="19"/>
                      <a:pt x="18" y="20"/>
                      <a:pt x="18" y="20"/>
                    </a:cubicBezTo>
                    <a:cubicBezTo>
                      <a:pt x="18" y="21"/>
                      <a:pt x="18" y="21"/>
                      <a:pt x="18" y="22"/>
                    </a:cubicBezTo>
                    <a:cubicBezTo>
                      <a:pt x="18" y="23"/>
                      <a:pt x="18" y="24"/>
                      <a:pt x="18" y="24"/>
                    </a:cubicBezTo>
                    <a:cubicBezTo>
                      <a:pt x="18" y="24"/>
                      <a:pt x="19" y="25"/>
                      <a:pt x="19" y="25"/>
                    </a:cubicBezTo>
                    <a:cubicBezTo>
                      <a:pt x="27" y="25"/>
                      <a:pt x="27" y="25"/>
                      <a:pt x="27" y="25"/>
                    </a:cubicBezTo>
                    <a:cubicBezTo>
                      <a:pt x="27" y="34"/>
                      <a:pt x="27" y="34"/>
                      <a:pt x="27" y="34"/>
                    </a:cubicBezTo>
                    <a:cubicBezTo>
                      <a:pt x="26" y="34"/>
                      <a:pt x="25" y="35"/>
                      <a:pt x="24" y="35"/>
                    </a:cubicBezTo>
                    <a:cubicBezTo>
                      <a:pt x="23" y="35"/>
                      <a:pt x="22" y="35"/>
                      <a:pt x="21" y="35"/>
                    </a:cubicBezTo>
                    <a:cubicBezTo>
                      <a:pt x="20" y="35"/>
                      <a:pt x="18" y="35"/>
                      <a:pt x="16" y="34"/>
                    </a:cubicBezTo>
                    <a:cubicBezTo>
                      <a:pt x="15" y="34"/>
                      <a:pt x="13" y="33"/>
                      <a:pt x="12" y="32"/>
                    </a:cubicBezTo>
                    <a:cubicBezTo>
                      <a:pt x="11" y="31"/>
                      <a:pt x="10" y="29"/>
                      <a:pt x="10" y="27"/>
                    </a:cubicBezTo>
                    <a:cubicBezTo>
                      <a:pt x="9" y="26"/>
                      <a:pt x="9" y="24"/>
                      <a:pt x="9" y="21"/>
                    </a:cubicBezTo>
                    <a:cubicBezTo>
                      <a:pt x="9" y="19"/>
                      <a:pt x="9" y="17"/>
                      <a:pt x="10" y="15"/>
                    </a:cubicBezTo>
                    <a:cubicBezTo>
                      <a:pt x="10" y="14"/>
                      <a:pt x="11" y="12"/>
                      <a:pt x="12" y="11"/>
                    </a:cubicBezTo>
                    <a:cubicBezTo>
                      <a:pt x="13" y="10"/>
                      <a:pt x="15" y="9"/>
                      <a:pt x="16" y="8"/>
                    </a:cubicBezTo>
                    <a:cubicBezTo>
                      <a:pt x="18" y="7"/>
                      <a:pt x="20" y="7"/>
                      <a:pt x="22" y="7"/>
                    </a:cubicBezTo>
                    <a:cubicBezTo>
                      <a:pt x="24" y="7"/>
                      <a:pt x="25" y="7"/>
                      <a:pt x="27" y="8"/>
                    </a:cubicBezTo>
                    <a:cubicBezTo>
                      <a:pt x="28" y="8"/>
                      <a:pt x="29" y="8"/>
                      <a:pt x="30" y="9"/>
                    </a:cubicBezTo>
                    <a:cubicBezTo>
                      <a:pt x="31" y="9"/>
                      <a:pt x="32" y="10"/>
                      <a:pt x="33" y="10"/>
                    </a:cubicBezTo>
                    <a:cubicBezTo>
                      <a:pt x="33" y="10"/>
                      <a:pt x="34" y="11"/>
                      <a:pt x="34" y="11"/>
                    </a:cubicBezTo>
                    <a:cubicBezTo>
                      <a:pt x="34" y="11"/>
                      <a:pt x="34" y="11"/>
                      <a:pt x="34" y="10"/>
                    </a:cubicBezTo>
                    <a:cubicBezTo>
                      <a:pt x="34" y="10"/>
                      <a:pt x="35" y="10"/>
                      <a:pt x="35" y="10"/>
                    </a:cubicBezTo>
                    <a:cubicBezTo>
                      <a:pt x="35" y="10"/>
                      <a:pt x="35" y="9"/>
                      <a:pt x="35" y="9"/>
                    </a:cubicBezTo>
                    <a:cubicBezTo>
                      <a:pt x="35" y="8"/>
                      <a:pt x="35" y="8"/>
                      <a:pt x="35" y="7"/>
                    </a:cubicBezTo>
                    <a:cubicBezTo>
                      <a:pt x="35" y="6"/>
                      <a:pt x="35" y="5"/>
                      <a:pt x="35" y="5"/>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 name="Freeform 222">
                <a:extLst>
                  <a:ext uri="{FF2B5EF4-FFF2-40B4-BE49-F238E27FC236}">
                    <a16:creationId xmlns:a16="http://schemas.microsoft.com/office/drawing/2014/main" id="{4B05F447-EACD-4A2E-AEDF-9E4F3ADEE66F}"/>
                  </a:ext>
                </a:extLst>
              </p:cNvPr>
              <p:cNvSpPr>
                <a:spLocks/>
              </p:cNvSpPr>
              <p:nvPr/>
            </p:nvSpPr>
            <p:spPr bwMode="auto">
              <a:xfrm>
                <a:off x="1627188" y="1916113"/>
                <a:ext cx="30163" cy="155575"/>
              </a:xfrm>
              <a:custGeom>
                <a:avLst/>
                <a:gdLst>
                  <a:gd name="T0" fmla="*/ 8 w 8"/>
                  <a:gd name="T1" fmla="*/ 1 h 41"/>
                  <a:gd name="T2" fmla="*/ 8 w 8"/>
                  <a:gd name="T3" fmla="*/ 1 h 41"/>
                  <a:gd name="T4" fmla="*/ 7 w 8"/>
                  <a:gd name="T5" fmla="*/ 0 h 41"/>
                  <a:gd name="T6" fmla="*/ 6 w 8"/>
                  <a:gd name="T7" fmla="*/ 0 h 41"/>
                  <a:gd name="T8" fmla="*/ 4 w 8"/>
                  <a:gd name="T9" fmla="*/ 0 h 41"/>
                  <a:gd name="T10" fmla="*/ 2 w 8"/>
                  <a:gd name="T11" fmla="*/ 0 h 41"/>
                  <a:gd name="T12" fmla="*/ 0 w 8"/>
                  <a:gd name="T13" fmla="*/ 0 h 41"/>
                  <a:gd name="T14" fmla="*/ 0 w 8"/>
                  <a:gd name="T15" fmla="*/ 1 h 41"/>
                  <a:gd name="T16" fmla="*/ 0 w 8"/>
                  <a:gd name="T17" fmla="*/ 1 h 41"/>
                  <a:gd name="T18" fmla="*/ 0 w 8"/>
                  <a:gd name="T19" fmla="*/ 39 h 41"/>
                  <a:gd name="T20" fmla="*/ 0 w 8"/>
                  <a:gd name="T21" fmla="*/ 40 h 41"/>
                  <a:gd name="T22" fmla="*/ 0 w 8"/>
                  <a:gd name="T23" fmla="*/ 40 h 41"/>
                  <a:gd name="T24" fmla="*/ 2 w 8"/>
                  <a:gd name="T25" fmla="*/ 41 h 41"/>
                  <a:gd name="T26" fmla="*/ 4 w 8"/>
                  <a:gd name="T27" fmla="*/ 41 h 41"/>
                  <a:gd name="T28" fmla="*/ 6 w 8"/>
                  <a:gd name="T29" fmla="*/ 41 h 41"/>
                  <a:gd name="T30" fmla="*/ 7 w 8"/>
                  <a:gd name="T31" fmla="*/ 40 h 41"/>
                  <a:gd name="T32" fmla="*/ 8 w 8"/>
                  <a:gd name="T33" fmla="*/ 40 h 41"/>
                  <a:gd name="T34" fmla="*/ 8 w 8"/>
                  <a:gd name="T35" fmla="*/ 39 h 41"/>
                  <a:gd name="T36" fmla="*/ 8 w 8"/>
                  <a:gd name="T37"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41">
                    <a:moveTo>
                      <a:pt x="8" y="1"/>
                    </a:moveTo>
                    <a:cubicBezTo>
                      <a:pt x="8" y="1"/>
                      <a:pt x="8" y="1"/>
                      <a:pt x="8" y="1"/>
                    </a:cubicBezTo>
                    <a:cubicBezTo>
                      <a:pt x="7" y="0"/>
                      <a:pt x="7" y="0"/>
                      <a:pt x="7" y="0"/>
                    </a:cubicBezTo>
                    <a:cubicBezTo>
                      <a:pt x="7" y="0"/>
                      <a:pt x="6" y="0"/>
                      <a:pt x="6" y="0"/>
                    </a:cubicBezTo>
                    <a:cubicBezTo>
                      <a:pt x="5" y="0"/>
                      <a:pt x="4" y="0"/>
                      <a:pt x="4" y="0"/>
                    </a:cubicBezTo>
                    <a:cubicBezTo>
                      <a:pt x="3" y="0"/>
                      <a:pt x="2" y="0"/>
                      <a:pt x="2" y="0"/>
                    </a:cubicBezTo>
                    <a:cubicBezTo>
                      <a:pt x="1" y="0"/>
                      <a:pt x="1" y="0"/>
                      <a:pt x="0" y="0"/>
                    </a:cubicBezTo>
                    <a:cubicBezTo>
                      <a:pt x="0" y="0"/>
                      <a:pt x="0" y="0"/>
                      <a:pt x="0" y="1"/>
                    </a:cubicBezTo>
                    <a:cubicBezTo>
                      <a:pt x="0" y="1"/>
                      <a:pt x="0" y="1"/>
                      <a:pt x="0" y="1"/>
                    </a:cubicBezTo>
                    <a:cubicBezTo>
                      <a:pt x="0" y="39"/>
                      <a:pt x="0" y="39"/>
                      <a:pt x="0" y="39"/>
                    </a:cubicBezTo>
                    <a:cubicBezTo>
                      <a:pt x="0" y="40"/>
                      <a:pt x="0" y="40"/>
                      <a:pt x="0" y="40"/>
                    </a:cubicBezTo>
                    <a:cubicBezTo>
                      <a:pt x="0" y="40"/>
                      <a:pt x="0" y="40"/>
                      <a:pt x="0" y="40"/>
                    </a:cubicBezTo>
                    <a:cubicBezTo>
                      <a:pt x="1" y="40"/>
                      <a:pt x="1" y="41"/>
                      <a:pt x="2" y="41"/>
                    </a:cubicBezTo>
                    <a:cubicBezTo>
                      <a:pt x="2" y="41"/>
                      <a:pt x="3" y="41"/>
                      <a:pt x="4" y="41"/>
                    </a:cubicBezTo>
                    <a:cubicBezTo>
                      <a:pt x="4" y="41"/>
                      <a:pt x="5" y="41"/>
                      <a:pt x="6" y="41"/>
                    </a:cubicBezTo>
                    <a:cubicBezTo>
                      <a:pt x="6" y="41"/>
                      <a:pt x="7" y="40"/>
                      <a:pt x="7" y="40"/>
                    </a:cubicBezTo>
                    <a:cubicBezTo>
                      <a:pt x="7" y="40"/>
                      <a:pt x="7" y="40"/>
                      <a:pt x="8" y="40"/>
                    </a:cubicBezTo>
                    <a:cubicBezTo>
                      <a:pt x="8" y="40"/>
                      <a:pt x="8" y="40"/>
                      <a:pt x="8" y="39"/>
                    </a:cubicBezTo>
                    <a:cubicBezTo>
                      <a:pt x="8" y="1"/>
                      <a:pt x="8" y="1"/>
                      <a:pt x="8" y="1"/>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 name="Freeform 223">
                <a:extLst>
                  <a:ext uri="{FF2B5EF4-FFF2-40B4-BE49-F238E27FC236}">
                    <a16:creationId xmlns:a16="http://schemas.microsoft.com/office/drawing/2014/main" id="{068D6240-CA78-43F1-99CA-00281A6277FC}"/>
                  </a:ext>
                </a:extLst>
              </p:cNvPr>
              <p:cNvSpPr>
                <a:spLocks/>
              </p:cNvSpPr>
              <p:nvPr/>
            </p:nvSpPr>
            <p:spPr bwMode="auto">
              <a:xfrm>
                <a:off x="1671638" y="1916113"/>
                <a:ext cx="117475" cy="155575"/>
              </a:xfrm>
              <a:custGeom>
                <a:avLst/>
                <a:gdLst>
                  <a:gd name="T0" fmla="*/ 31 w 31"/>
                  <a:gd name="T1" fmla="*/ 2 h 41"/>
                  <a:gd name="T2" fmla="*/ 31 w 31"/>
                  <a:gd name="T3" fmla="*/ 1 h 41"/>
                  <a:gd name="T4" fmla="*/ 31 w 31"/>
                  <a:gd name="T5" fmla="*/ 0 h 41"/>
                  <a:gd name="T6" fmla="*/ 30 w 31"/>
                  <a:gd name="T7" fmla="*/ 0 h 41"/>
                  <a:gd name="T8" fmla="*/ 2 w 31"/>
                  <a:gd name="T9" fmla="*/ 0 h 41"/>
                  <a:gd name="T10" fmla="*/ 1 w 31"/>
                  <a:gd name="T11" fmla="*/ 0 h 41"/>
                  <a:gd name="T12" fmla="*/ 1 w 31"/>
                  <a:gd name="T13" fmla="*/ 1 h 41"/>
                  <a:gd name="T14" fmla="*/ 1 w 31"/>
                  <a:gd name="T15" fmla="*/ 2 h 41"/>
                  <a:gd name="T16" fmla="*/ 0 w 31"/>
                  <a:gd name="T17" fmla="*/ 3 h 41"/>
                  <a:gd name="T18" fmla="*/ 1 w 31"/>
                  <a:gd name="T19" fmla="*/ 5 h 41"/>
                  <a:gd name="T20" fmla="*/ 1 w 31"/>
                  <a:gd name="T21" fmla="*/ 6 h 41"/>
                  <a:gd name="T22" fmla="*/ 1 w 31"/>
                  <a:gd name="T23" fmla="*/ 7 h 41"/>
                  <a:gd name="T24" fmla="*/ 2 w 31"/>
                  <a:gd name="T25" fmla="*/ 7 h 41"/>
                  <a:gd name="T26" fmla="*/ 12 w 31"/>
                  <a:gd name="T27" fmla="*/ 7 h 41"/>
                  <a:gd name="T28" fmla="*/ 12 w 31"/>
                  <a:gd name="T29" fmla="*/ 39 h 41"/>
                  <a:gd name="T30" fmla="*/ 12 w 31"/>
                  <a:gd name="T31" fmla="*/ 40 h 41"/>
                  <a:gd name="T32" fmla="*/ 13 w 31"/>
                  <a:gd name="T33" fmla="*/ 40 h 41"/>
                  <a:gd name="T34" fmla="*/ 14 w 31"/>
                  <a:gd name="T35" fmla="*/ 41 h 41"/>
                  <a:gd name="T36" fmla="*/ 16 w 31"/>
                  <a:gd name="T37" fmla="*/ 41 h 41"/>
                  <a:gd name="T38" fmla="*/ 18 w 31"/>
                  <a:gd name="T39" fmla="*/ 41 h 41"/>
                  <a:gd name="T40" fmla="*/ 19 w 31"/>
                  <a:gd name="T41" fmla="*/ 40 h 41"/>
                  <a:gd name="T42" fmla="*/ 20 w 31"/>
                  <a:gd name="T43" fmla="*/ 40 h 41"/>
                  <a:gd name="T44" fmla="*/ 20 w 31"/>
                  <a:gd name="T45" fmla="*/ 39 h 41"/>
                  <a:gd name="T46" fmla="*/ 20 w 31"/>
                  <a:gd name="T47" fmla="*/ 7 h 41"/>
                  <a:gd name="T48" fmla="*/ 30 w 31"/>
                  <a:gd name="T49" fmla="*/ 7 h 41"/>
                  <a:gd name="T50" fmla="*/ 31 w 31"/>
                  <a:gd name="T51" fmla="*/ 7 h 41"/>
                  <a:gd name="T52" fmla="*/ 31 w 31"/>
                  <a:gd name="T53" fmla="*/ 6 h 41"/>
                  <a:gd name="T54" fmla="*/ 31 w 31"/>
                  <a:gd name="T55" fmla="*/ 5 h 41"/>
                  <a:gd name="T56" fmla="*/ 31 w 31"/>
                  <a:gd name="T57" fmla="*/ 3 h 41"/>
                  <a:gd name="T58" fmla="*/ 31 w 31"/>
                  <a:gd name="T59"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41">
                    <a:moveTo>
                      <a:pt x="31" y="2"/>
                    </a:moveTo>
                    <a:cubicBezTo>
                      <a:pt x="31" y="1"/>
                      <a:pt x="31" y="1"/>
                      <a:pt x="31" y="1"/>
                    </a:cubicBezTo>
                    <a:cubicBezTo>
                      <a:pt x="31" y="1"/>
                      <a:pt x="31" y="0"/>
                      <a:pt x="31" y="0"/>
                    </a:cubicBezTo>
                    <a:cubicBezTo>
                      <a:pt x="31" y="0"/>
                      <a:pt x="30" y="0"/>
                      <a:pt x="30" y="0"/>
                    </a:cubicBezTo>
                    <a:cubicBezTo>
                      <a:pt x="2" y="0"/>
                      <a:pt x="2" y="0"/>
                      <a:pt x="2" y="0"/>
                    </a:cubicBezTo>
                    <a:cubicBezTo>
                      <a:pt x="2" y="0"/>
                      <a:pt x="1" y="0"/>
                      <a:pt x="1" y="0"/>
                    </a:cubicBezTo>
                    <a:cubicBezTo>
                      <a:pt x="1" y="0"/>
                      <a:pt x="1" y="1"/>
                      <a:pt x="1" y="1"/>
                    </a:cubicBezTo>
                    <a:cubicBezTo>
                      <a:pt x="1" y="1"/>
                      <a:pt x="1" y="1"/>
                      <a:pt x="1" y="2"/>
                    </a:cubicBezTo>
                    <a:cubicBezTo>
                      <a:pt x="1" y="2"/>
                      <a:pt x="0" y="3"/>
                      <a:pt x="0" y="3"/>
                    </a:cubicBezTo>
                    <a:cubicBezTo>
                      <a:pt x="0" y="4"/>
                      <a:pt x="1" y="5"/>
                      <a:pt x="1" y="5"/>
                    </a:cubicBezTo>
                    <a:cubicBezTo>
                      <a:pt x="1" y="5"/>
                      <a:pt x="1" y="6"/>
                      <a:pt x="1" y="6"/>
                    </a:cubicBezTo>
                    <a:cubicBezTo>
                      <a:pt x="1" y="6"/>
                      <a:pt x="1" y="6"/>
                      <a:pt x="1" y="7"/>
                    </a:cubicBezTo>
                    <a:cubicBezTo>
                      <a:pt x="1" y="7"/>
                      <a:pt x="2" y="7"/>
                      <a:pt x="2" y="7"/>
                    </a:cubicBezTo>
                    <a:cubicBezTo>
                      <a:pt x="12" y="7"/>
                      <a:pt x="12" y="7"/>
                      <a:pt x="12" y="7"/>
                    </a:cubicBezTo>
                    <a:cubicBezTo>
                      <a:pt x="12" y="39"/>
                      <a:pt x="12" y="39"/>
                      <a:pt x="12" y="39"/>
                    </a:cubicBezTo>
                    <a:cubicBezTo>
                      <a:pt x="12" y="40"/>
                      <a:pt x="12" y="40"/>
                      <a:pt x="12" y="40"/>
                    </a:cubicBezTo>
                    <a:cubicBezTo>
                      <a:pt x="12" y="40"/>
                      <a:pt x="12" y="40"/>
                      <a:pt x="13" y="40"/>
                    </a:cubicBezTo>
                    <a:cubicBezTo>
                      <a:pt x="13" y="40"/>
                      <a:pt x="13" y="41"/>
                      <a:pt x="14" y="41"/>
                    </a:cubicBezTo>
                    <a:cubicBezTo>
                      <a:pt x="15" y="41"/>
                      <a:pt x="15" y="41"/>
                      <a:pt x="16" y="41"/>
                    </a:cubicBezTo>
                    <a:cubicBezTo>
                      <a:pt x="17" y="41"/>
                      <a:pt x="17" y="41"/>
                      <a:pt x="18" y="41"/>
                    </a:cubicBezTo>
                    <a:cubicBezTo>
                      <a:pt x="18" y="41"/>
                      <a:pt x="19" y="40"/>
                      <a:pt x="19" y="40"/>
                    </a:cubicBezTo>
                    <a:cubicBezTo>
                      <a:pt x="20" y="40"/>
                      <a:pt x="20" y="40"/>
                      <a:pt x="20" y="40"/>
                    </a:cubicBezTo>
                    <a:cubicBezTo>
                      <a:pt x="20" y="40"/>
                      <a:pt x="20" y="40"/>
                      <a:pt x="20" y="39"/>
                    </a:cubicBezTo>
                    <a:cubicBezTo>
                      <a:pt x="20" y="7"/>
                      <a:pt x="20" y="7"/>
                      <a:pt x="20" y="7"/>
                    </a:cubicBezTo>
                    <a:cubicBezTo>
                      <a:pt x="30" y="7"/>
                      <a:pt x="30" y="7"/>
                      <a:pt x="30" y="7"/>
                    </a:cubicBezTo>
                    <a:cubicBezTo>
                      <a:pt x="30" y="7"/>
                      <a:pt x="31" y="7"/>
                      <a:pt x="31" y="7"/>
                    </a:cubicBezTo>
                    <a:cubicBezTo>
                      <a:pt x="31" y="6"/>
                      <a:pt x="31" y="6"/>
                      <a:pt x="31" y="6"/>
                    </a:cubicBezTo>
                    <a:cubicBezTo>
                      <a:pt x="31" y="6"/>
                      <a:pt x="31" y="5"/>
                      <a:pt x="31" y="5"/>
                    </a:cubicBezTo>
                    <a:cubicBezTo>
                      <a:pt x="31" y="5"/>
                      <a:pt x="31" y="4"/>
                      <a:pt x="31" y="3"/>
                    </a:cubicBezTo>
                    <a:cubicBezTo>
                      <a:pt x="31" y="3"/>
                      <a:pt x="31" y="2"/>
                      <a:pt x="31" y="2"/>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 name="Freeform 224">
                <a:extLst>
                  <a:ext uri="{FF2B5EF4-FFF2-40B4-BE49-F238E27FC236}">
                    <a16:creationId xmlns:a16="http://schemas.microsoft.com/office/drawing/2014/main" id="{3D022179-81D2-438B-A944-3F168DB7CB4C}"/>
                  </a:ext>
                </a:extLst>
              </p:cNvPr>
              <p:cNvSpPr>
                <a:spLocks noEditPoints="1"/>
              </p:cNvSpPr>
              <p:nvPr/>
            </p:nvSpPr>
            <p:spPr bwMode="auto">
              <a:xfrm>
                <a:off x="1778000" y="1916113"/>
                <a:ext cx="139700" cy="155575"/>
              </a:xfrm>
              <a:custGeom>
                <a:avLst/>
                <a:gdLst>
                  <a:gd name="T0" fmla="*/ 24 w 37"/>
                  <a:gd name="T1" fmla="*/ 2 h 41"/>
                  <a:gd name="T2" fmla="*/ 24 w 37"/>
                  <a:gd name="T3" fmla="*/ 1 h 41"/>
                  <a:gd name="T4" fmla="*/ 23 w 37"/>
                  <a:gd name="T5" fmla="*/ 0 h 41"/>
                  <a:gd name="T6" fmla="*/ 21 w 37"/>
                  <a:gd name="T7" fmla="*/ 0 h 41"/>
                  <a:gd name="T8" fmla="*/ 18 w 37"/>
                  <a:gd name="T9" fmla="*/ 0 h 41"/>
                  <a:gd name="T10" fmla="*/ 15 w 37"/>
                  <a:gd name="T11" fmla="*/ 0 h 41"/>
                  <a:gd name="T12" fmla="*/ 14 w 37"/>
                  <a:gd name="T13" fmla="*/ 0 h 41"/>
                  <a:gd name="T14" fmla="*/ 13 w 37"/>
                  <a:gd name="T15" fmla="*/ 1 h 41"/>
                  <a:gd name="T16" fmla="*/ 13 w 37"/>
                  <a:gd name="T17" fmla="*/ 1 h 41"/>
                  <a:gd name="T18" fmla="*/ 0 w 37"/>
                  <a:gd name="T19" fmla="*/ 37 h 41"/>
                  <a:gd name="T20" fmla="*/ 0 w 37"/>
                  <a:gd name="T21" fmla="*/ 39 h 41"/>
                  <a:gd name="T22" fmla="*/ 0 w 37"/>
                  <a:gd name="T23" fmla="*/ 40 h 41"/>
                  <a:gd name="T24" fmla="*/ 1 w 37"/>
                  <a:gd name="T25" fmla="*/ 41 h 41"/>
                  <a:gd name="T26" fmla="*/ 3 w 37"/>
                  <a:gd name="T27" fmla="*/ 41 h 41"/>
                  <a:gd name="T28" fmla="*/ 6 w 37"/>
                  <a:gd name="T29" fmla="*/ 41 h 41"/>
                  <a:gd name="T30" fmla="*/ 7 w 37"/>
                  <a:gd name="T31" fmla="*/ 40 h 41"/>
                  <a:gd name="T32" fmla="*/ 7 w 37"/>
                  <a:gd name="T33" fmla="*/ 40 h 41"/>
                  <a:gd name="T34" fmla="*/ 8 w 37"/>
                  <a:gd name="T35" fmla="*/ 39 h 41"/>
                  <a:gd name="T36" fmla="*/ 10 w 37"/>
                  <a:gd name="T37" fmla="*/ 31 h 41"/>
                  <a:gd name="T38" fmla="*/ 26 w 37"/>
                  <a:gd name="T39" fmla="*/ 31 h 41"/>
                  <a:gd name="T40" fmla="*/ 28 w 37"/>
                  <a:gd name="T41" fmla="*/ 39 h 41"/>
                  <a:gd name="T42" fmla="*/ 29 w 37"/>
                  <a:gd name="T43" fmla="*/ 40 h 41"/>
                  <a:gd name="T44" fmla="*/ 29 w 37"/>
                  <a:gd name="T45" fmla="*/ 40 h 41"/>
                  <a:gd name="T46" fmla="*/ 31 w 37"/>
                  <a:gd name="T47" fmla="*/ 41 h 41"/>
                  <a:gd name="T48" fmla="*/ 33 w 37"/>
                  <a:gd name="T49" fmla="*/ 41 h 41"/>
                  <a:gd name="T50" fmla="*/ 35 w 37"/>
                  <a:gd name="T51" fmla="*/ 41 h 41"/>
                  <a:gd name="T52" fmla="*/ 37 w 37"/>
                  <a:gd name="T53" fmla="*/ 40 h 41"/>
                  <a:gd name="T54" fmla="*/ 37 w 37"/>
                  <a:gd name="T55" fmla="*/ 39 h 41"/>
                  <a:gd name="T56" fmla="*/ 36 w 37"/>
                  <a:gd name="T57" fmla="*/ 37 h 41"/>
                  <a:gd name="T58" fmla="*/ 24 w 37"/>
                  <a:gd name="T59" fmla="*/ 2 h 41"/>
                  <a:gd name="T60" fmla="*/ 24 w 37"/>
                  <a:gd name="T61" fmla="*/ 25 h 41"/>
                  <a:gd name="T62" fmla="*/ 12 w 37"/>
                  <a:gd name="T63" fmla="*/ 25 h 41"/>
                  <a:gd name="T64" fmla="*/ 18 w 37"/>
                  <a:gd name="T65" fmla="*/ 8 h 41"/>
                  <a:gd name="T66" fmla="*/ 18 w 37"/>
                  <a:gd name="T67" fmla="*/ 8 h 41"/>
                  <a:gd name="T68" fmla="*/ 24 w 37"/>
                  <a:gd name="T69"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41">
                    <a:moveTo>
                      <a:pt x="24" y="2"/>
                    </a:moveTo>
                    <a:cubicBezTo>
                      <a:pt x="24" y="1"/>
                      <a:pt x="24" y="1"/>
                      <a:pt x="24" y="1"/>
                    </a:cubicBezTo>
                    <a:cubicBezTo>
                      <a:pt x="23" y="0"/>
                      <a:pt x="23" y="0"/>
                      <a:pt x="23" y="0"/>
                    </a:cubicBezTo>
                    <a:cubicBezTo>
                      <a:pt x="22" y="0"/>
                      <a:pt x="22" y="0"/>
                      <a:pt x="21" y="0"/>
                    </a:cubicBezTo>
                    <a:cubicBezTo>
                      <a:pt x="20" y="0"/>
                      <a:pt x="19" y="0"/>
                      <a:pt x="18" y="0"/>
                    </a:cubicBezTo>
                    <a:cubicBezTo>
                      <a:pt x="17" y="0"/>
                      <a:pt x="16" y="0"/>
                      <a:pt x="15" y="0"/>
                    </a:cubicBezTo>
                    <a:cubicBezTo>
                      <a:pt x="15" y="0"/>
                      <a:pt x="14" y="0"/>
                      <a:pt x="14" y="0"/>
                    </a:cubicBezTo>
                    <a:cubicBezTo>
                      <a:pt x="14" y="0"/>
                      <a:pt x="13" y="0"/>
                      <a:pt x="13" y="1"/>
                    </a:cubicBezTo>
                    <a:cubicBezTo>
                      <a:pt x="13" y="1"/>
                      <a:pt x="13" y="1"/>
                      <a:pt x="13" y="1"/>
                    </a:cubicBezTo>
                    <a:cubicBezTo>
                      <a:pt x="0" y="37"/>
                      <a:pt x="0" y="37"/>
                      <a:pt x="0" y="37"/>
                    </a:cubicBezTo>
                    <a:cubicBezTo>
                      <a:pt x="0" y="38"/>
                      <a:pt x="0" y="39"/>
                      <a:pt x="0" y="39"/>
                    </a:cubicBezTo>
                    <a:cubicBezTo>
                      <a:pt x="0" y="40"/>
                      <a:pt x="0" y="40"/>
                      <a:pt x="0" y="40"/>
                    </a:cubicBezTo>
                    <a:cubicBezTo>
                      <a:pt x="0" y="40"/>
                      <a:pt x="1" y="41"/>
                      <a:pt x="1" y="41"/>
                    </a:cubicBezTo>
                    <a:cubicBezTo>
                      <a:pt x="2" y="41"/>
                      <a:pt x="2" y="41"/>
                      <a:pt x="3" y="41"/>
                    </a:cubicBezTo>
                    <a:cubicBezTo>
                      <a:pt x="4" y="41"/>
                      <a:pt x="5" y="41"/>
                      <a:pt x="6" y="41"/>
                    </a:cubicBezTo>
                    <a:cubicBezTo>
                      <a:pt x="6" y="41"/>
                      <a:pt x="6" y="40"/>
                      <a:pt x="7" y="40"/>
                    </a:cubicBezTo>
                    <a:cubicBezTo>
                      <a:pt x="7" y="40"/>
                      <a:pt x="7" y="40"/>
                      <a:pt x="7" y="40"/>
                    </a:cubicBezTo>
                    <a:cubicBezTo>
                      <a:pt x="8" y="40"/>
                      <a:pt x="8" y="39"/>
                      <a:pt x="8" y="39"/>
                    </a:cubicBezTo>
                    <a:cubicBezTo>
                      <a:pt x="10" y="31"/>
                      <a:pt x="10" y="31"/>
                      <a:pt x="10" y="31"/>
                    </a:cubicBezTo>
                    <a:cubicBezTo>
                      <a:pt x="26" y="31"/>
                      <a:pt x="26" y="31"/>
                      <a:pt x="26" y="31"/>
                    </a:cubicBezTo>
                    <a:cubicBezTo>
                      <a:pt x="28" y="39"/>
                      <a:pt x="28" y="39"/>
                      <a:pt x="28" y="39"/>
                    </a:cubicBezTo>
                    <a:cubicBezTo>
                      <a:pt x="28" y="40"/>
                      <a:pt x="28" y="40"/>
                      <a:pt x="29" y="40"/>
                    </a:cubicBezTo>
                    <a:cubicBezTo>
                      <a:pt x="29" y="40"/>
                      <a:pt x="29" y="40"/>
                      <a:pt x="29" y="40"/>
                    </a:cubicBezTo>
                    <a:cubicBezTo>
                      <a:pt x="30" y="41"/>
                      <a:pt x="30" y="41"/>
                      <a:pt x="31" y="41"/>
                    </a:cubicBezTo>
                    <a:cubicBezTo>
                      <a:pt x="31" y="41"/>
                      <a:pt x="32" y="41"/>
                      <a:pt x="33" y="41"/>
                    </a:cubicBezTo>
                    <a:cubicBezTo>
                      <a:pt x="34" y="41"/>
                      <a:pt x="35" y="41"/>
                      <a:pt x="35" y="41"/>
                    </a:cubicBezTo>
                    <a:cubicBezTo>
                      <a:pt x="36" y="41"/>
                      <a:pt x="36" y="40"/>
                      <a:pt x="37" y="40"/>
                    </a:cubicBezTo>
                    <a:cubicBezTo>
                      <a:pt x="37" y="40"/>
                      <a:pt x="37" y="40"/>
                      <a:pt x="37" y="39"/>
                    </a:cubicBezTo>
                    <a:cubicBezTo>
                      <a:pt x="37" y="39"/>
                      <a:pt x="37" y="38"/>
                      <a:pt x="36" y="37"/>
                    </a:cubicBezTo>
                    <a:cubicBezTo>
                      <a:pt x="24" y="2"/>
                      <a:pt x="24" y="2"/>
                      <a:pt x="24" y="2"/>
                    </a:cubicBezTo>
                    <a:close/>
                    <a:moveTo>
                      <a:pt x="24" y="25"/>
                    </a:moveTo>
                    <a:cubicBezTo>
                      <a:pt x="12" y="25"/>
                      <a:pt x="12" y="25"/>
                      <a:pt x="12" y="25"/>
                    </a:cubicBezTo>
                    <a:cubicBezTo>
                      <a:pt x="18" y="8"/>
                      <a:pt x="18" y="8"/>
                      <a:pt x="18" y="8"/>
                    </a:cubicBezTo>
                    <a:cubicBezTo>
                      <a:pt x="18" y="8"/>
                      <a:pt x="18" y="8"/>
                      <a:pt x="18" y="8"/>
                    </a:cubicBezTo>
                    <a:cubicBezTo>
                      <a:pt x="24" y="25"/>
                      <a:pt x="24" y="25"/>
                      <a:pt x="24" y="25"/>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 name="Freeform 225">
                <a:extLst>
                  <a:ext uri="{FF2B5EF4-FFF2-40B4-BE49-F238E27FC236}">
                    <a16:creationId xmlns:a16="http://schemas.microsoft.com/office/drawing/2014/main" id="{654463E9-152D-4CE9-A073-5BA6BBA6F368}"/>
                  </a:ext>
                </a:extLst>
              </p:cNvPr>
              <p:cNvSpPr>
                <a:spLocks/>
              </p:cNvSpPr>
              <p:nvPr/>
            </p:nvSpPr>
            <p:spPr bwMode="auto">
              <a:xfrm>
                <a:off x="1936750" y="1916113"/>
                <a:ext cx="82550" cy="150813"/>
              </a:xfrm>
              <a:custGeom>
                <a:avLst/>
                <a:gdLst>
                  <a:gd name="T0" fmla="*/ 22 w 22"/>
                  <a:gd name="T1" fmla="*/ 35 h 40"/>
                  <a:gd name="T2" fmla="*/ 22 w 22"/>
                  <a:gd name="T3" fmla="*/ 34 h 40"/>
                  <a:gd name="T4" fmla="*/ 22 w 22"/>
                  <a:gd name="T5" fmla="*/ 34 h 40"/>
                  <a:gd name="T6" fmla="*/ 21 w 22"/>
                  <a:gd name="T7" fmla="*/ 34 h 40"/>
                  <a:gd name="T8" fmla="*/ 8 w 22"/>
                  <a:gd name="T9" fmla="*/ 34 h 40"/>
                  <a:gd name="T10" fmla="*/ 8 w 22"/>
                  <a:gd name="T11" fmla="*/ 1 h 40"/>
                  <a:gd name="T12" fmla="*/ 8 w 22"/>
                  <a:gd name="T13" fmla="*/ 1 h 40"/>
                  <a:gd name="T14" fmla="*/ 7 w 22"/>
                  <a:gd name="T15" fmla="*/ 0 h 40"/>
                  <a:gd name="T16" fmla="*/ 6 w 22"/>
                  <a:gd name="T17" fmla="*/ 0 h 40"/>
                  <a:gd name="T18" fmla="*/ 4 w 22"/>
                  <a:gd name="T19" fmla="*/ 0 h 40"/>
                  <a:gd name="T20" fmla="*/ 2 w 22"/>
                  <a:gd name="T21" fmla="*/ 0 h 40"/>
                  <a:gd name="T22" fmla="*/ 1 w 22"/>
                  <a:gd name="T23" fmla="*/ 0 h 40"/>
                  <a:gd name="T24" fmla="*/ 0 w 22"/>
                  <a:gd name="T25" fmla="*/ 1 h 40"/>
                  <a:gd name="T26" fmla="*/ 0 w 22"/>
                  <a:gd name="T27" fmla="*/ 1 h 40"/>
                  <a:gd name="T28" fmla="*/ 0 w 22"/>
                  <a:gd name="T29" fmla="*/ 38 h 40"/>
                  <a:gd name="T30" fmla="*/ 1 w 22"/>
                  <a:gd name="T31" fmla="*/ 40 h 40"/>
                  <a:gd name="T32" fmla="*/ 3 w 22"/>
                  <a:gd name="T33" fmla="*/ 40 h 40"/>
                  <a:gd name="T34" fmla="*/ 21 w 22"/>
                  <a:gd name="T35" fmla="*/ 40 h 40"/>
                  <a:gd name="T36" fmla="*/ 22 w 22"/>
                  <a:gd name="T37" fmla="*/ 40 h 40"/>
                  <a:gd name="T38" fmla="*/ 22 w 22"/>
                  <a:gd name="T39" fmla="*/ 40 h 40"/>
                  <a:gd name="T40" fmla="*/ 22 w 22"/>
                  <a:gd name="T41" fmla="*/ 39 h 40"/>
                  <a:gd name="T42" fmla="*/ 22 w 22"/>
                  <a:gd name="T43" fmla="*/ 37 h 40"/>
                  <a:gd name="T44" fmla="*/ 22 w 22"/>
                  <a:gd name="T45"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0">
                    <a:moveTo>
                      <a:pt x="22" y="35"/>
                    </a:moveTo>
                    <a:cubicBezTo>
                      <a:pt x="22" y="35"/>
                      <a:pt x="22" y="35"/>
                      <a:pt x="22" y="34"/>
                    </a:cubicBezTo>
                    <a:cubicBezTo>
                      <a:pt x="22" y="34"/>
                      <a:pt x="22" y="34"/>
                      <a:pt x="22" y="34"/>
                    </a:cubicBezTo>
                    <a:cubicBezTo>
                      <a:pt x="21" y="34"/>
                      <a:pt x="21" y="34"/>
                      <a:pt x="21" y="34"/>
                    </a:cubicBezTo>
                    <a:cubicBezTo>
                      <a:pt x="8" y="34"/>
                      <a:pt x="8" y="34"/>
                      <a:pt x="8" y="34"/>
                    </a:cubicBezTo>
                    <a:cubicBezTo>
                      <a:pt x="8" y="1"/>
                      <a:pt x="8" y="1"/>
                      <a:pt x="8" y="1"/>
                    </a:cubicBezTo>
                    <a:cubicBezTo>
                      <a:pt x="8" y="1"/>
                      <a:pt x="8" y="1"/>
                      <a:pt x="8" y="1"/>
                    </a:cubicBezTo>
                    <a:cubicBezTo>
                      <a:pt x="8" y="0"/>
                      <a:pt x="8" y="0"/>
                      <a:pt x="7" y="0"/>
                    </a:cubicBezTo>
                    <a:cubicBezTo>
                      <a:pt x="7" y="0"/>
                      <a:pt x="7" y="0"/>
                      <a:pt x="6" y="0"/>
                    </a:cubicBezTo>
                    <a:cubicBezTo>
                      <a:pt x="6" y="0"/>
                      <a:pt x="5" y="0"/>
                      <a:pt x="4" y="0"/>
                    </a:cubicBezTo>
                    <a:cubicBezTo>
                      <a:pt x="3" y="0"/>
                      <a:pt x="3" y="0"/>
                      <a:pt x="2" y="0"/>
                    </a:cubicBezTo>
                    <a:cubicBezTo>
                      <a:pt x="2" y="0"/>
                      <a:pt x="1" y="0"/>
                      <a:pt x="1" y="0"/>
                    </a:cubicBezTo>
                    <a:cubicBezTo>
                      <a:pt x="1" y="0"/>
                      <a:pt x="0" y="0"/>
                      <a:pt x="0" y="1"/>
                    </a:cubicBezTo>
                    <a:cubicBezTo>
                      <a:pt x="0" y="1"/>
                      <a:pt x="0" y="1"/>
                      <a:pt x="0" y="1"/>
                    </a:cubicBezTo>
                    <a:cubicBezTo>
                      <a:pt x="0" y="38"/>
                      <a:pt x="0" y="38"/>
                      <a:pt x="0" y="38"/>
                    </a:cubicBezTo>
                    <a:cubicBezTo>
                      <a:pt x="0" y="39"/>
                      <a:pt x="0" y="39"/>
                      <a:pt x="1" y="40"/>
                    </a:cubicBezTo>
                    <a:cubicBezTo>
                      <a:pt x="1" y="40"/>
                      <a:pt x="2" y="40"/>
                      <a:pt x="3" y="40"/>
                    </a:cubicBezTo>
                    <a:cubicBezTo>
                      <a:pt x="21" y="40"/>
                      <a:pt x="21" y="40"/>
                      <a:pt x="21" y="40"/>
                    </a:cubicBezTo>
                    <a:cubicBezTo>
                      <a:pt x="21" y="40"/>
                      <a:pt x="21" y="40"/>
                      <a:pt x="22" y="40"/>
                    </a:cubicBezTo>
                    <a:cubicBezTo>
                      <a:pt x="22" y="40"/>
                      <a:pt x="22" y="40"/>
                      <a:pt x="22" y="40"/>
                    </a:cubicBezTo>
                    <a:cubicBezTo>
                      <a:pt x="22" y="39"/>
                      <a:pt x="22" y="39"/>
                      <a:pt x="22" y="39"/>
                    </a:cubicBezTo>
                    <a:cubicBezTo>
                      <a:pt x="22" y="38"/>
                      <a:pt x="22" y="38"/>
                      <a:pt x="22" y="37"/>
                    </a:cubicBezTo>
                    <a:cubicBezTo>
                      <a:pt x="22" y="36"/>
                      <a:pt x="22" y="36"/>
                      <a:pt x="22" y="35"/>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 name="Freeform 226">
                <a:extLst>
                  <a:ext uri="{FF2B5EF4-FFF2-40B4-BE49-F238E27FC236}">
                    <a16:creationId xmlns:a16="http://schemas.microsoft.com/office/drawing/2014/main" id="{4EB407CC-374A-4D83-BB03-61CE24B8469C}"/>
                  </a:ext>
                </a:extLst>
              </p:cNvPr>
              <p:cNvSpPr>
                <a:spLocks/>
              </p:cNvSpPr>
              <p:nvPr/>
            </p:nvSpPr>
            <p:spPr bwMode="auto">
              <a:xfrm>
                <a:off x="2038350" y="1916113"/>
                <a:ext cx="30163" cy="155575"/>
              </a:xfrm>
              <a:custGeom>
                <a:avLst/>
                <a:gdLst>
                  <a:gd name="T0" fmla="*/ 8 w 8"/>
                  <a:gd name="T1" fmla="*/ 1 h 41"/>
                  <a:gd name="T2" fmla="*/ 8 w 8"/>
                  <a:gd name="T3" fmla="*/ 1 h 41"/>
                  <a:gd name="T4" fmla="*/ 7 w 8"/>
                  <a:gd name="T5" fmla="*/ 0 h 41"/>
                  <a:gd name="T6" fmla="*/ 6 w 8"/>
                  <a:gd name="T7" fmla="*/ 0 h 41"/>
                  <a:gd name="T8" fmla="*/ 4 w 8"/>
                  <a:gd name="T9" fmla="*/ 0 h 41"/>
                  <a:gd name="T10" fmla="*/ 2 w 8"/>
                  <a:gd name="T11" fmla="*/ 0 h 41"/>
                  <a:gd name="T12" fmla="*/ 1 w 8"/>
                  <a:gd name="T13" fmla="*/ 0 h 41"/>
                  <a:gd name="T14" fmla="*/ 0 w 8"/>
                  <a:gd name="T15" fmla="*/ 1 h 41"/>
                  <a:gd name="T16" fmla="*/ 0 w 8"/>
                  <a:gd name="T17" fmla="*/ 1 h 41"/>
                  <a:gd name="T18" fmla="*/ 0 w 8"/>
                  <a:gd name="T19" fmla="*/ 39 h 41"/>
                  <a:gd name="T20" fmla="*/ 0 w 8"/>
                  <a:gd name="T21" fmla="*/ 40 h 41"/>
                  <a:gd name="T22" fmla="*/ 1 w 8"/>
                  <a:gd name="T23" fmla="*/ 40 h 41"/>
                  <a:gd name="T24" fmla="*/ 2 w 8"/>
                  <a:gd name="T25" fmla="*/ 41 h 41"/>
                  <a:gd name="T26" fmla="*/ 4 w 8"/>
                  <a:gd name="T27" fmla="*/ 41 h 41"/>
                  <a:gd name="T28" fmla="*/ 6 w 8"/>
                  <a:gd name="T29" fmla="*/ 41 h 41"/>
                  <a:gd name="T30" fmla="*/ 7 w 8"/>
                  <a:gd name="T31" fmla="*/ 40 h 41"/>
                  <a:gd name="T32" fmla="*/ 8 w 8"/>
                  <a:gd name="T33" fmla="*/ 40 h 41"/>
                  <a:gd name="T34" fmla="*/ 8 w 8"/>
                  <a:gd name="T35" fmla="*/ 39 h 41"/>
                  <a:gd name="T36" fmla="*/ 8 w 8"/>
                  <a:gd name="T37"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41">
                    <a:moveTo>
                      <a:pt x="8" y="1"/>
                    </a:moveTo>
                    <a:cubicBezTo>
                      <a:pt x="8" y="1"/>
                      <a:pt x="8" y="1"/>
                      <a:pt x="8" y="1"/>
                    </a:cubicBezTo>
                    <a:cubicBezTo>
                      <a:pt x="8" y="0"/>
                      <a:pt x="8" y="0"/>
                      <a:pt x="7" y="0"/>
                    </a:cubicBezTo>
                    <a:cubicBezTo>
                      <a:pt x="7" y="0"/>
                      <a:pt x="7" y="0"/>
                      <a:pt x="6" y="0"/>
                    </a:cubicBezTo>
                    <a:cubicBezTo>
                      <a:pt x="6" y="0"/>
                      <a:pt x="5" y="0"/>
                      <a:pt x="4" y="0"/>
                    </a:cubicBezTo>
                    <a:cubicBezTo>
                      <a:pt x="3" y="0"/>
                      <a:pt x="3" y="0"/>
                      <a:pt x="2" y="0"/>
                    </a:cubicBezTo>
                    <a:cubicBezTo>
                      <a:pt x="2" y="0"/>
                      <a:pt x="1" y="0"/>
                      <a:pt x="1" y="0"/>
                    </a:cubicBezTo>
                    <a:cubicBezTo>
                      <a:pt x="0" y="0"/>
                      <a:pt x="0" y="0"/>
                      <a:pt x="0" y="1"/>
                    </a:cubicBezTo>
                    <a:cubicBezTo>
                      <a:pt x="0" y="1"/>
                      <a:pt x="0" y="1"/>
                      <a:pt x="0" y="1"/>
                    </a:cubicBezTo>
                    <a:cubicBezTo>
                      <a:pt x="0" y="39"/>
                      <a:pt x="0" y="39"/>
                      <a:pt x="0" y="39"/>
                    </a:cubicBezTo>
                    <a:cubicBezTo>
                      <a:pt x="0" y="40"/>
                      <a:pt x="0" y="40"/>
                      <a:pt x="0" y="40"/>
                    </a:cubicBezTo>
                    <a:cubicBezTo>
                      <a:pt x="0" y="40"/>
                      <a:pt x="0" y="40"/>
                      <a:pt x="1" y="40"/>
                    </a:cubicBezTo>
                    <a:cubicBezTo>
                      <a:pt x="1" y="40"/>
                      <a:pt x="2" y="41"/>
                      <a:pt x="2" y="41"/>
                    </a:cubicBezTo>
                    <a:cubicBezTo>
                      <a:pt x="3" y="41"/>
                      <a:pt x="3" y="41"/>
                      <a:pt x="4" y="41"/>
                    </a:cubicBezTo>
                    <a:cubicBezTo>
                      <a:pt x="5" y="41"/>
                      <a:pt x="6" y="41"/>
                      <a:pt x="6" y="41"/>
                    </a:cubicBezTo>
                    <a:cubicBezTo>
                      <a:pt x="7" y="41"/>
                      <a:pt x="7" y="40"/>
                      <a:pt x="7" y="40"/>
                    </a:cubicBezTo>
                    <a:cubicBezTo>
                      <a:pt x="8" y="40"/>
                      <a:pt x="8" y="40"/>
                      <a:pt x="8" y="40"/>
                    </a:cubicBezTo>
                    <a:cubicBezTo>
                      <a:pt x="8" y="40"/>
                      <a:pt x="8" y="40"/>
                      <a:pt x="8" y="39"/>
                    </a:cubicBezTo>
                    <a:cubicBezTo>
                      <a:pt x="8" y="1"/>
                      <a:pt x="8" y="1"/>
                      <a:pt x="8" y="1"/>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 name="Freeform 227">
                <a:extLst>
                  <a:ext uri="{FF2B5EF4-FFF2-40B4-BE49-F238E27FC236}">
                    <a16:creationId xmlns:a16="http://schemas.microsoft.com/office/drawing/2014/main" id="{18B74188-1C45-456F-B324-FCD76197B7DF}"/>
                  </a:ext>
                </a:extLst>
              </p:cNvPr>
              <p:cNvSpPr>
                <a:spLocks/>
              </p:cNvSpPr>
              <p:nvPr/>
            </p:nvSpPr>
            <p:spPr bwMode="auto">
              <a:xfrm>
                <a:off x="2090738" y="1916113"/>
                <a:ext cx="104775" cy="150813"/>
              </a:xfrm>
              <a:custGeom>
                <a:avLst/>
                <a:gdLst>
                  <a:gd name="T0" fmla="*/ 27 w 28"/>
                  <a:gd name="T1" fmla="*/ 35 h 40"/>
                  <a:gd name="T2" fmla="*/ 27 w 28"/>
                  <a:gd name="T3" fmla="*/ 34 h 40"/>
                  <a:gd name="T4" fmla="*/ 10 w 28"/>
                  <a:gd name="T5" fmla="*/ 34 h 40"/>
                  <a:gd name="T6" fmla="*/ 25 w 28"/>
                  <a:gd name="T7" fmla="*/ 9 h 40"/>
                  <a:gd name="T8" fmla="*/ 26 w 28"/>
                  <a:gd name="T9" fmla="*/ 8 h 40"/>
                  <a:gd name="T10" fmla="*/ 27 w 28"/>
                  <a:gd name="T11" fmla="*/ 7 h 40"/>
                  <a:gd name="T12" fmla="*/ 27 w 28"/>
                  <a:gd name="T13" fmla="*/ 6 h 40"/>
                  <a:gd name="T14" fmla="*/ 27 w 28"/>
                  <a:gd name="T15" fmla="*/ 4 h 40"/>
                  <a:gd name="T16" fmla="*/ 27 w 28"/>
                  <a:gd name="T17" fmla="*/ 3 h 40"/>
                  <a:gd name="T18" fmla="*/ 26 w 28"/>
                  <a:gd name="T19" fmla="*/ 1 h 40"/>
                  <a:gd name="T20" fmla="*/ 24 w 28"/>
                  <a:gd name="T21" fmla="*/ 0 h 40"/>
                  <a:gd name="T22" fmla="*/ 2 w 28"/>
                  <a:gd name="T23" fmla="*/ 0 h 40"/>
                  <a:gd name="T24" fmla="*/ 1 w 28"/>
                  <a:gd name="T25" fmla="*/ 0 h 40"/>
                  <a:gd name="T26" fmla="*/ 1 w 28"/>
                  <a:gd name="T27" fmla="*/ 1 h 40"/>
                  <a:gd name="T28" fmla="*/ 1 w 28"/>
                  <a:gd name="T29" fmla="*/ 2 h 40"/>
                  <a:gd name="T30" fmla="*/ 1 w 28"/>
                  <a:gd name="T31" fmla="*/ 3 h 40"/>
                  <a:gd name="T32" fmla="*/ 1 w 28"/>
                  <a:gd name="T33" fmla="*/ 5 h 40"/>
                  <a:gd name="T34" fmla="*/ 1 w 28"/>
                  <a:gd name="T35" fmla="*/ 6 h 40"/>
                  <a:gd name="T36" fmla="*/ 1 w 28"/>
                  <a:gd name="T37" fmla="*/ 6 h 40"/>
                  <a:gd name="T38" fmla="*/ 2 w 28"/>
                  <a:gd name="T39" fmla="*/ 7 h 40"/>
                  <a:gd name="T40" fmla="*/ 18 w 28"/>
                  <a:gd name="T41" fmla="*/ 7 h 40"/>
                  <a:gd name="T42" fmla="*/ 2 w 28"/>
                  <a:gd name="T43" fmla="*/ 31 h 40"/>
                  <a:gd name="T44" fmla="*/ 1 w 28"/>
                  <a:gd name="T45" fmla="*/ 33 h 40"/>
                  <a:gd name="T46" fmla="*/ 0 w 28"/>
                  <a:gd name="T47" fmla="*/ 34 h 40"/>
                  <a:gd name="T48" fmla="*/ 0 w 28"/>
                  <a:gd name="T49" fmla="*/ 35 h 40"/>
                  <a:gd name="T50" fmla="*/ 0 w 28"/>
                  <a:gd name="T51" fmla="*/ 36 h 40"/>
                  <a:gd name="T52" fmla="*/ 0 w 28"/>
                  <a:gd name="T53" fmla="*/ 38 h 40"/>
                  <a:gd name="T54" fmla="*/ 1 w 28"/>
                  <a:gd name="T55" fmla="*/ 40 h 40"/>
                  <a:gd name="T56" fmla="*/ 3 w 28"/>
                  <a:gd name="T57" fmla="*/ 40 h 40"/>
                  <a:gd name="T58" fmla="*/ 27 w 28"/>
                  <a:gd name="T59" fmla="*/ 40 h 40"/>
                  <a:gd name="T60" fmla="*/ 27 w 28"/>
                  <a:gd name="T61" fmla="*/ 40 h 40"/>
                  <a:gd name="T62" fmla="*/ 27 w 28"/>
                  <a:gd name="T63" fmla="*/ 40 h 40"/>
                  <a:gd name="T64" fmla="*/ 28 w 28"/>
                  <a:gd name="T65" fmla="*/ 39 h 40"/>
                  <a:gd name="T66" fmla="*/ 28 w 28"/>
                  <a:gd name="T67" fmla="*/ 37 h 40"/>
                  <a:gd name="T68" fmla="*/ 27 w 28"/>
                  <a:gd name="T69"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40">
                    <a:moveTo>
                      <a:pt x="27" y="35"/>
                    </a:moveTo>
                    <a:cubicBezTo>
                      <a:pt x="27" y="34"/>
                      <a:pt x="27" y="34"/>
                      <a:pt x="27" y="34"/>
                    </a:cubicBezTo>
                    <a:cubicBezTo>
                      <a:pt x="10" y="34"/>
                      <a:pt x="10" y="34"/>
                      <a:pt x="10" y="34"/>
                    </a:cubicBezTo>
                    <a:cubicBezTo>
                      <a:pt x="25" y="9"/>
                      <a:pt x="25" y="9"/>
                      <a:pt x="25" y="9"/>
                    </a:cubicBezTo>
                    <a:cubicBezTo>
                      <a:pt x="25" y="9"/>
                      <a:pt x="26" y="8"/>
                      <a:pt x="26" y="8"/>
                    </a:cubicBezTo>
                    <a:cubicBezTo>
                      <a:pt x="26" y="7"/>
                      <a:pt x="26" y="7"/>
                      <a:pt x="27" y="7"/>
                    </a:cubicBezTo>
                    <a:cubicBezTo>
                      <a:pt x="27" y="6"/>
                      <a:pt x="27" y="6"/>
                      <a:pt x="27" y="6"/>
                    </a:cubicBezTo>
                    <a:cubicBezTo>
                      <a:pt x="27" y="5"/>
                      <a:pt x="27" y="5"/>
                      <a:pt x="27" y="4"/>
                    </a:cubicBezTo>
                    <a:cubicBezTo>
                      <a:pt x="27" y="3"/>
                      <a:pt x="27" y="3"/>
                      <a:pt x="27" y="3"/>
                    </a:cubicBezTo>
                    <a:cubicBezTo>
                      <a:pt x="27" y="2"/>
                      <a:pt x="27" y="1"/>
                      <a:pt x="26" y="1"/>
                    </a:cubicBezTo>
                    <a:cubicBezTo>
                      <a:pt x="26" y="0"/>
                      <a:pt x="25" y="0"/>
                      <a:pt x="24" y="0"/>
                    </a:cubicBezTo>
                    <a:cubicBezTo>
                      <a:pt x="2" y="0"/>
                      <a:pt x="2" y="0"/>
                      <a:pt x="2" y="0"/>
                    </a:cubicBezTo>
                    <a:cubicBezTo>
                      <a:pt x="2" y="0"/>
                      <a:pt x="2" y="0"/>
                      <a:pt x="1" y="0"/>
                    </a:cubicBezTo>
                    <a:cubicBezTo>
                      <a:pt x="1" y="0"/>
                      <a:pt x="1" y="0"/>
                      <a:pt x="1" y="1"/>
                    </a:cubicBezTo>
                    <a:cubicBezTo>
                      <a:pt x="1" y="1"/>
                      <a:pt x="1" y="1"/>
                      <a:pt x="1" y="2"/>
                    </a:cubicBezTo>
                    <a:cubicBezTo>
                      <a:pt x="1" y="2"/>
                      <a:pt x="1" y="3"/>
                      <a:pt x="1" y="3"/>
                    </a:cubicBezTo>
                    <a:cubicBezTo>
                      <a:pt x="1" y="4"/>
                      <a:pt x="1" y="4"/>
                      <a:pt x="1" y="5"/>
                    </a:cubicBezTo>
                    <a:cubicBezTo>
                      <a:pt x="1" y="5"/>
                      <a:pt x="1" y="6"/>
                      <a:pt x="1" y="6"/>
                    </a:cubicBezTo>
                    <a:cubicBezTo>
                      <a:pt x="1" y="6"/>
                      <a:pt x="1" y="6"/>
                      <a:pt x="1" y="6"/>
                    </a:cubicBezTo>
                    <a:cubicBezTo>
                      <a:pt x="2" y="7"/>
                      <a:pt x="2" y="7"/>
                      <a:pt x="2" y="7"/>
                    </a:cubicBezTo>
                    <a:cubicBezTo>
                      <a:pt x="18" y="7"/>
                      <a:pt x="18" y="7"/>
                      <a:pt x="18" y="7"/>
                    </a:cubicBezTo>
                    <a:cubicBezTo>
                      <a:pt x="2" y="31"/>
                      <a:pt x="2" y="31"/>
                      <a:pt x="2" y="31"/>
                    </a:cubicBezTo>
                    <a:cubicBezTo>
                      <a:pt x="2" y="32"/>
                      <a:pt x="1" y="33"/>
                      <a:pt x="1" y="33"/>
                    </a:cubicBezTo>
                    <a:cubicBezTo>
                      <a:pt x="1" y="33"/>
                      <a:pt x="1" y="34"/>
                      <a:pt x="0" y="34"/>
                    </a:cubicBezTo>
                    <a:cubicBezTo>
                      <a:pt x="0" y="34"/>
                      <a:pt x="0" y="35"/>
                      <a:pt x="0" y="35"/>
                    </a:cubicBezTo>
                    <a:cubicBezTo>
                      <a:pt x="0" y="35"/>
                      <a:pt x="0" y="36"/>
                      <a:pt x="0" y="36"/>
                    </a:cubicBezTo>
                    <a:cubicBezTo>
                      <a:pt x="0" y="38"/>
                      <a:pt x="0" y="38"/>
                      <a:pt x="0" y="38"/>
                    </a:cubicBezTo>
                    <a:cubicBezTo>
                      <a:pt x="0" y="39"/>
                      <a:pt x="0" y="39"/>
                      <a:pt x="1" y="40"/>
                    </a:cubicBezTo>
                    <a:cubicBezTo>
                      <a:pt x="1" y="40"/>
                      <a:pt x="2" y="40"/>
                      <a:pt x="3" y="40"/>
                    </a:cubicBezTo>
                    <a:cubicBezTo>
                      <a:pt x="27" y="40"/>
                      <a:pt x="27" y="40"/>
                      <a:pt x="27" y="40"/>
                    </a:cubicBezTo>
                    <a:cubicBezTo>
                      <a:pt x="27" y="40"/>
                      <a:pt x="27" y="40"/>
                      <a:pt x="27" y="40"/>
                    </a:cubicBezTo>
                    <a:cubicBezTo>
                      <a:pt x="27" y="40"/>
                      <a:pt x="27" y="40"/>
                      <a:pt x="27" y="40"/>
                    </a:cubicBezTo>
                    <a:cubicBezTo>
                      <a:pt x="28" y="40"/>
                      <a:pt x="28" y="39"/>
                      <a:pt x="28" y="39"/>
                    </a:cubicBezTo>
                    <a:cubicBezTo>
                      <a:pt x="28" y="38"/>
                      <a:pt x="28" y="38"/>
                      <a:pt x="28" y="37"/>
                    </a:cubicBezTo>
                    <a:cubicBezTo>
                      <a:pt x="28" y="36"/>
                      <a:pt x="28" y="35"/>
                      <a:pt x="27" y="35"/>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 name="Freeform 228">
                <a:extLst>
                  <a:ext uri="{FF2B5EF4-FFF2-40B4-BE49-F238E27FC236}">
                    <a16:creationId xmlns:a16="http://schemas.microsoft.com/office/drawing/2014/main" id="{EE19AC78-9424-4A52-B634-BA2DBD958A5C}"/>
                  </a:ext>
                </a:extLst>
              </p:cNvPr>
              <p:cNvSpPr>
                <a:spLocks noEditPoints="1"/>
              </p:cNvSpPr>
              <p:nvPr/>
            </p:nvSpPr>
            <p:spPr bwMode="auto">
              <a:xfrm>
                <a:off x="2200275" y="1916113"/>
                <a:ext cx="142875" cy="155575"/>
              </a:xfrm>
              <a:custGeom>
                <a:avLst/>
                <a:gdLst>
                  <a:gd name="T0" fmla="*/ 25 w 38"/>
                  <a:gd name="T1" fmla="*/ 2 h 41"/>
                  <a:gd name="T2" fmla="*/ 24 w 38"/>
                  <a:gd name="T3" fmla="*/ 1 h 41"/>
                  <a:gd name="T4" fmla="*/ 23 w 38"/>
                  <a:gd name="T5" fmla="*/ 0 h 41"/>
                  <a:gd name="T6" fmla="*/ 22 w 38"/>
                  <a:gd name="T7" fmla="*/ 0 h 41"/>
                  <a:gd name="T8" fmla="*/ 19 w 38"/>
                  <a:gd name="T9" fmla="*/ 0 h 41"/>
                  <a:gd name="T10" fmla="*/ 16 w 38"/>
                  <a:gd name="T11" fmla="*/ 0 h 41"/>
                  <a:gd name="T12" fmla="*/ 15 w 38"/>
                  <a:gd name="T13" fmla="*/ 0 h 41"/>
                  <a:gd name="T14" fmla="*/ 14 w 38"/>
                  <a:gd name="T15" fmla="*/ 1 h 41"/>
                  <a:gd name="T16" fmla="*/ 13 w 38"/>
                  <a:gd name="T17" fmla="*/ 1 h 41"/>
                  <a:gd name="T18" fmla="*/ 1 w 38"/>
                  <a:gd name="T19" fmla="*/ 37 h 41"/>
                  <a:gd name="T20" fmla="*/ 0 w 38"/>
                  <a:gd name="T21" fmla="*/ 39 h 41"/>
                  <a:gd name="T22" fmla="*/ 1 w 38"/>
                  <a:gd name="T23" fmla="*/ 40 h 41"/>
                  <a:gd name="T24" fmla="*/ 2 w 38"/>
                  <a:gd name="T25" fmla="*/ 41 h 41"/>
                  <a:gd name="T26" fmla="*/ 4 w 38"/>
                  <a:gd name="T27" fmla="*/ 41 h 41"/>
                  <a:gd name="T28" fmla="*/ 6 w 38"/>
                  <a:gd name="T29" fmla="*/ 41 h 41"/>
                  <a:gd name="T30" fmla="*/ 8 w 38"/>
                  <a:gd name="T31" fmla="*/ 40 h 41"/>
                  <a:gd name="T32" fmla="*/ 8 w 38"/>
                  <a:gd name="T33" fmla="*/ 40 h 41"/>
                  <a:gd name="T34" fmla="*/ 9 w 38"/>
                  <a:gd name="T35" fmla="*/ 39 h 41"/>
                  <a:gd name="T36" fmla="*/ 11 w 38"/>
                  <a:gd name="T37" fmla="*/ 31 h 41"/>
                  <a:gd name="T38" fmla="*/ 26 w 38"/>
                  <a:gd name="T39" fmla="*/ 31 h 41"/>
                  <a:gd name="T40" fmla="*/ 29 w 38"/>
                  <a:gd name="T41" fmla="*/ 39 h 41"/>
                  <a:gd name="T42" fmla="*/ 29 w 38"/>
                  <a:gd name="T43" fmla="*/ 40 h 41"/>
                  <a:gd name="T44" fmla="*/ 30 w 38"/>
                  <a:gd name="T45" fmla="*/ 40 h 41"/>
                  <a:gd name="T46" fmla="*/ 31 w 38"/>
                  <a:gd name="T47" fmla="*/ 41 h 41"/>
                  <a:gd name="T48" fmla="*/ 34 w 38"/>
                  <a:gd name="T49" fmla="*/ 41 h 41"/>
                  <a:gd name="T50" fmla="*/ 36 w 38"/>
                  <a:gd name="T51" fmla="*/ 41 h 41"/>
                  <a:gd name="T52" fmla="*/ 37 w 38"/>
                  <a:gd name="T53" fmla="*/ 40 h 41"/>
                  <a:gd name="T54" fmla="*/ 38 w 38"/>
                  <a:gd name="T55" fmla="*/ 39 h 41"/>
                  <a:gd name="T56" fmla="*/ 37 w 38"/>
                  <a:gd name="T57" fmla="*/ 37 h 41"/>
                  <a:gd name="T58" fmla="*/ 25 w 38"/>
                  <a:gd name="T59" fmla="*/ 2 h 41"/>
                  <a:gd name="T60" fmla="*/ 24 w 38"/>
                  <a:gd name="T61" fmla="*/ 25 h 41"/>
                  <a:gd name="T62" fmla="*/ 13 w 38"/>
                  <a:gd name="T63" fmla="*/ 25 h 41"/>
                  <a:gd name="T64" fmla="*/ 19 w 38"/>
                  <a:gd name="T65" fmla="*/ 8 h 41"/>
                  <a:gd name="T66" fmla="*/ 19 w 38"/>
                  <a:gd name="T67" fmla="*/ 8 h 41"/>
                  <a:gd name="T68" fmla="*/ 24 w 38"/>
                  <a:gd name="T69"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41">
                    <a:moveTo>
                      <a:pt x="25" y="2"/>
                    </a:moveTo>
                    <a:cubicBezTo>
                      <a:pt x="25" y="1"/>
                      <a:pt x="24" y="1"/>
                      <a:pt x="24" y="1"/>
                    </a:cubicBezTo>
                    <a:cubicBezTo>
                      <a:pt x="24" y="0"/>
                      <a:pt x="24" y="0"/>
                      <a:pt x="23" y="0"/>
                    </a:cubicBezTo>
                    <a:cubicBezTo>
                      <a:pt x="23" y="0"/>
                      <a:pt x="22" y="0"/>
                      <a:pt x="22" y="0"/>
                    </a:cubicBezTo>
                    <a:cubicBezTo>
                      <a:pt x="21" y="0"/>
                      <a:pt x="20" y="0"/>
                      <a:pt x="19" y="0"/>
                    </a:cubicBezTo>
                    <a:cubicBezTo>
                      <a:pt x="18" y="0"/>
                      <a:pt x="17" y="0"/>
                      <a:pt x="16" y="0"/>
                    </a:cubicBezTo>
                    <a:cubicBezTo>
                      <a:pt x="16" y="0"/>
                      <a:pt x="15" y="0"/>
                      <a:pt x="15" y="0"/>
                    </a:cubicBezTo>
                    <a:cubicBezTo>
                      <a:pt x="14" y="0"/>
                      <a:pt x="14" y="0"/>
                      <a:pt x="14" y="1"/>
                    </a:cubicBezTo>
                    <a:cubicBezTo>
                      <a:pt x="14" y="1"/>
                      <a:pt x="14" y="1"/>
                      <a:pt x="13" y="1"/>
                    </a:cubicBezTo>
                    <a:cubicBezTo>
                      <a:pt x="1" y="37"/>
                      <a:pt x="1" y="37"/>
                      <a:pt x="1" y="37"/>
                    </a:cubicBezTo>
                    <a:cubicBezTo>
                      <a:pt x="1" y="38"/>
                      <a:pt x="1" y="39"/>
                      <a:pt x="0" y="39"/>
                    </a:cubicBezTo>
                    <a:cubicBezTo>
                      <a:pt x="0" y="40"/>
                      <a:pt x="0" y="40"/>
                      <a:pt x="1" y="40"/>
                    </a:cubicBezTo>
                    <a:cubicBezTo>
                      <a:pt x="1" y="40"/>
                      <a:pt x="1" y="41"/>
                      <a:pt x="2" y="41"/>
                    </a:cubicBezTo>
                    <a:cubicBezTo>
                      <a:pt x="2" y="41"/>
                      <a:pt x="3" y="41"/>
                      <a:pt x="4" y="41"/>
                    </a:cubicBezTo>
                    <a:cubicBezTo>
                      <a:pt x="5" y="41"/>
                      <a:pt x="6" y="41"/>
                      <a:pt x="6" y="41"/>
                    </a:cubicBezTo>
                    <a:cubicBezTo>
                      <a:pt x="7" y="41"/>
                      <a:pt x="7" y="40"/>
                      <a:pt x="8" y="40"/>
                    </a:cubicBezTo>
                    <a:cubicBezTo>
                      <a:pt x="8" y="40"/>
                      <a:pt x="8" y="40"/>
                      <a:pt x="8" y="40"/>
                    </a:cubicBezTo>
                    <a:cubicBezTo>
                      <a:pt x="8" y="40"/>
                      <a:pt x="8" y="39"/>
                      <a:pt x="9" y="39"/>
                    </a:cubicBezTo>
                    <a:cubicBezTo>
                      <a:pt x="11" y="31"/>
                      <a:pt x="11" y="31"/>
                      <a:pt x="11" y="31"/>
                    </a:cubicBezTo>
                    <a:cubicBezTo>
                      <a:pt x="26" y="31"/>
                      <a:pt x="26" y="31"/>
                      <a:pt x="26" y="31"/>
                    </a:cubicBezTo>
                    <a:cubicBezTo>
                      <a:pt x="29" y="39"/>
                      <a:pt x="29" y="39"/>
                      <a:pt x="29" y="39"/>
                    </a:cubicBezTo>
                    <a:cubicBezTo>
                      <a:pt x="29" y="40"/>
                      <a:pt x="29" y="40"/>
                      <a:pt x="29" y="40"/>
                    </a:cubicBezTo>
                    <a:cubicBezTo>
                      <a:pt x="29" y="40"/>
                      <a:pt x="30" y="40"/>
                      <a:pt x="30" y="40"/>
                    </a:cubicBezTo>
                    <a:cubicBezTo>
                      <a:pt x="30" y="41"/>
                      <a:pt x="31" y="41"/>
                      <a:pt x="31" y="41"/>
                    </a:cubicBezTo>
                    <a:cubicBezTo>
                      <a:pt x="32" y="41"/>
                      <a:pt x="33" y="41"/>
                      <a:pt x="34" y="41"/>
                    </a:cubicBezTo>
                    <a:cubicBezTo>
                      <a:pt x="35" y="41"/>
                      <a:pt x="36" y="41"/>
                      <a:pt x="36" y="41"/>
                    </a:cubicBezTo>
                    <a:cubicBezTo>
                      <a:pt x="37" y="41"/>
                      <a:pt x="37" y="40"/>
                      <a:pt x="37" y="40"/>
                    </a:cubicBezTo>
                    <a:cubicBezTo>
                      <a:pt x="38" y="40"/>
                      <a:pt x="38" y="40"/>
                      <a:pt x="38" y="39"/>
                    </a:cubicBezTo>
                    <a:cubicBezTo>
                      <a:pt x="38" y="39"/>
                      <a:pt x="37" y="38"/>
                      <a:pt x="37" y="37"/>
                    </a:cubicBezTo>
                    <a:cubicBezTo>
                      <a:pt x="25" y="2"/>
                      <a:pt x="25" y="2"/>
                      <a:pt x="25" y="2"/>
                    </a:cubicBezTo>
                    <a:close/>
                    <a:moveTo>
                      <a:pt x="24" y="25"/>
                    </a:moveTo>
                    <a:cubicBezTo>
                      <a:pt x="13" y="25"/>
                      <a:pt x="13" y="25"/>
                      <a:pt x="13" y="25"/>
                    </a:cubicBezTo>
                    <a:cubicBezTo>
                      <a:pt x="19" y="8"/>
                      <a:pt x="19" y="8"/>
                      <a:pt x="19" y="8"/>
                    </a:cubicBezTo>
                    <a:cubicBezTo>
                      <a:pt x="19" y="8"/>
                      <a:pt x="19" y="8"/>
                      <a:pt x="19" y="8"/>
                    </a:cubicBezTo>
                    <a:cubicBezTo>
                      <a:pt x="24" y="25"/>
                      <a:pt x="24" y="25"/>
                      <a:pt x="24" y="25"/>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 name="Freeform 229">
                <a:extLst>
                  <a:ext uri="{FF2B5EF4-FFF2-40B4-BE49-F238E27FC236}">
                    <a16:creationId xmlns:a16="http://schemas.microsoft.com/office/drawing/2014/main" id="{37804682-71C8-4345-8A01-63F388EE1E76}"/>
                  </a:ext>
                </a:extLst>
              </p:cNvPr>
              <p:cNvSpPr>
                <a:spLocks/>
              </p:cNvSpPr>
              <p:nvPr/>
            </p:nvSpPr>
            <p:spPr bwMode="auto">
              <a:xfrm>
                <a:off x="2327275" y="1916113"/>
                <a:ext cx="117475" cy="155575"/>
              </a:xfrm>
              <a:custGeom>
                <a:avLst/>
                <a:gdLst>
                  <a:gd name="T0" fmla="*/ 31 w 31"/>
                  <a:gd name="T1" fmla="*/ 2 h 41"/>
                  <a:gd name="T2" fmla="*/ 31 w 31"/>
                  <a:gd name="T3" fmla="*/ 1 h 41"/>
                  <a:gd name="T4" fmla="*/ 30 w 31"/>
                  <a:gd name="T5" fmla="*/ 0 h 41"/>
                  <a:gd name="T6" fmla="*/ 30 w 31"/>
                  <a:gd name="T7" fmla="*/ 0 h 41"/>
                  <a:gd name="T8" fmla="*/ 1 w 31"/>
                  <a:gd name="T9" fmla="*/ 0 h 41"/>
                  <a:gd name="T10" fmla="*/ 1 w 31"/>
                  <a:gd name="T11" fmla="*/ 0 h 41"/>
                  <a:gd name="T12" fmla="*/ 0 w 31"/>
                  <a:gd name="T13" fmla="*/ 1 h 41"/>
                  <a:gd name="T14" fmla="*/ 0 w 31"/>
                  <a:gd name="T15" fmla="*/ 2 h 41"/>
                  <a:gd name="T16" fmla="*/ 0 w 31"/>
                  <a:gd name="T17" fmla="*/ 3 h 41"/>
                  <a:gd name="T18" fmla="*/ 0 w 31"/>
                  <a:gd name="T19" fmla="*/ 5 h 41"/>
                  <a:gd name="T20" fmla="*/ 0 w 31"/>
                  <a:gd name="T21" fmla="*/ 6 h 41"/>
                  <a:gd name="T22" fmla="*/ 1 w 31"/>
                  <a:gd name="T23" fmla="*/ 7 h 41"/>
                  <a:gd name="T24" fmla="*/ 1 w 31"/>
                  <a:gd name="T25" fmla="*/ 7 h 41"/>
                  <a:gd name="T26" fmla="*/ 11 w 31"/>
                  <a:gd name="T27" fmla="*/ 7 h 41"/>
                  <a:gd name="T28" fmla="*/ 11 w 31"/>
                  <a:gd name="T29" fmla="*/ 39 h 41"/>
                  <a:gd name="T30" fmla="*/ 12 w 31"/>
                  <a:gd name="T31" fmla="*/ 40 h 41"/>
                  <a:gd name="T32" fmla="*/ 12 w 31"/>
                  <a:gd name="T33" fmla="*/ 40 h 41"/>
                  <a:gd name="T34" fmla="*/ 13 w 31"/>
                  <a:gd name="T35" fmla="*/ 41 h 41"/>
                  <a:gd name="T36" fmla="*/ 15 w 31"/>
                  <a:gd name="T37" fmla="*/ 41 h 41"/>
                  <a:gd name="T38" fmla="*/ 17 w 31"/>
                  <a:gd name="T39" fmla="*/ 41 h 41"/>
                  <a:gd name="T40" fmla="*/ 19 w 31"/>
                  <a:gd name="T41" fmla="*/ 40 h 41"/>
                  <a:gd name="T42" fmla="*/ 19 w 31"/>
                  <a:gd name="T43" fmla="*/ 40 h 41"/>
                  <a:gd name="T44" fmla="*/ 20 w 31"/>
                  <a:gd name="T45" fmla="*/ 39 h 41"/>
                  <a:gd name="T46" fmla="*/ 20 w 31"/>
                  <a:gd name="T47" fmla="*/ 7 h 41"/>
                  <a:gd name="T48" fmla="*/ 30 w 31"/>
                  <a:gd name="T49" fmla="*/ 7 h 41"/>
                  <a:gd name="T50" fmla="*/ 30 w 31"/>
                  <a:gd name="T51" fmla="*/ 7 h 41"/>
                  <a:gd name="T52" fmla="*/ 31 w 31"/>
                  <a:gd name="T53" fmla="*/ 6 h 41"/>
                  <a:gd name="T54" fmla="*/ 31 w 31"/>
                  <a:gd name="T55" fmla="*/ 5 h 41"/>
                  <a:gd name="T56" fmla="*/ 31 w 31"/>
                  <a:gd name="T57" fmla="*/ 3 h 41"/>
                  <a:gd name="T58" fmla="*/ 31 w 31"/>
                  <a:gd name="T59"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41">
                    <a:moveTo>
                      <a:pt x="31" y="2"/>
                    </a:moveTo>
                    <a:cubicBezTo>
                      <a:pt x="31" y="1"/>
                      <a:pt x="31" y="1"/>
                      <a:pt x="31" y="1"/>
                    </a:cubicBezTo>
                    <a:cubicBezTo>
                      <a:pt x="30" y="1"/>
                      <a:pt x="30" y="0"/>
                      <a:pt x="30" y="0"/>
                    </a:cubicBezTo>
                    <a:cubicBezTo>
                      <a:pt x="30" y="0"/>
                      <a:pt x="30" y="0"/>
                      <a:pt x="30" y="0"/>
                    </a:cubicBezTo>
                    <a:cubicBezTo>
                      <a:pt x="1" y="0"/>
                      <a:pt x="1" y="0"/>
                      <a:pt x="1" y="0"/>
                    </a:cubicBezTo>
                    <a:cubicBezTo>
                      <a:pt x="1" y="0"/>
                      <a:pt x="1" y="0"/>
                      <a:pt x="1" y="0"/>
                    </a:cubicBezTo>
                    <a:cubicBezTo>
                      <a:pt x="1" y="0"/>
                      <a:pt x="0" y="1"/>
                      <a:pt x="0" y="1"/>
                    </a:cubicBezTo>
                    <a:cubicBezTo>
                      <a:pt x="0" y="1"/>
                      <a:pt x="0" y="1"/>
                      <a:pt x="0" y="2"/>
                    </a:cubicBezTo>
                    <a:cubicBezTo>
                      <a:pt x="0" y="2"/>
                      <a:pt x="0" y="3"/>
                      <a:pt x="0" y="3"/>
                    </a:cubicBezTo>
                    <a:cubicBezTo>
                      <a:pt x="0" y="4"/>
                      <a:pt x="0" y="5"/>
                      <a:pt x="0" y="5"/>
                    </a:cubicBezTo>
                    <a:cubicBezTo>
                      <a:pt x="0" y="5"/>
                      <a:pt x="0" y="6"/>
                      <a:pt x="0" y="6"/>
                    </a:cubicBezTo>
                    <a:cubicBezTo>
                      <a:pt x="0" y="6"/>
                      <a:pt x="1" y="6"/>
                      <a:pt x="1" y="7"/>
                    </a:cubicBezTo>
                    <a:cubicBezTo>
                      <a:pt x="1" y="7"/>
                      <a:pt x="1" y="7"/>
                      <a:pt x="1" y="7"/>
                    </a:cubicBezTo>
                    <a:cubicBezTo>
                      <a:pt x="11" y="7"/>
                      <a:pt x="11" y="7"/>
                      <a:pt x="11" y="7"/>
                    </a:cubicBezTo>
                    <a:cubicBezTo>
                      <a:pt x="11" y="39"/>
                      <a:pt x="11" y="39"/>
                      <a:pt x="11" y="39"/>
                    </a:cubicBezTo>
                    <a:cubicBezTo>
                      <a:pt x="11" y="40"/>
                      <a:pt x="11" y="40"/>
                      <a:pt x="12" y="40"/>
                    </a:cubicBezTo>
                    <a:cubicBezTo>
                      <a:pt x="12" y="40"/>
                      <a:pt x="12" y="40"/>
                      <a:pt x="12" y="40"/>
                    </a:cubicBezTo>
                    <a:cubicBezTo>
                      <a:pt x="12" y="40"/>
                      <a:pt x="13" y="41"/>
                      <a:pt x="13" y="41"/>
                    </a:cubicBezTo>
                    <a:cubicBezTo>
                      <a:pt x="14" y="41"/>
                      <a:pt x="15" y="41"/>
                      <a:pt x="15" y="41"/>
                    </a:cubicBezTo>
                    <a:cubicBezTo>
                      <a:pt x="16" y="41"/>
                      <a:pt x="17" y="41"/>
                      <a:pt x="17" y="41"/>
                    </a:cubicBezTo>
                    <a:cubicBezTo>
                      <a:pt x="18" y="41"/>
                      <a:pt x="18" y="40"/>
                      <a:pt x="19" y="40"/>
                    </a:cubicBezTo>
                    <a:cubicBezTo>
                      <a:pt x="19" y="40"/>
                      <a:pt x="19" y="40"/>
                      <a:pt x="19" y="40"/>
                    </a:cubicBezTo>
                    <a:cubicBezTo>
                      <a:pt x="19" y="40"/>
                      <a:pt x="20" y="40"/>
                      <a:pt x="20" y="39"/>
                    </a:cubicBezTo>
                    <a:cubicBezTo>
                      <a:pt x="20" y="7"/>
                      <a:pt x="20" y="7"/>
                      <a:pt x="20" y="7"/>
                    </a:cubicBezTo>
                    <a:cubicBezTo>
                      <a:pt x="30" y="7"/>
                      <a:pt x="30" y="7"/>
                      <a:pt x="30" y="7"/>
                    </a:cubicBezTo>
                    <a:cubicBezTo>
                      <a:pt x="30" y="7"/>
                      <a:pt x="30" y="7"/>
                      <a:pt x="30" y="7"/>
                    </a:cubicBezTo>
                    <a:cubicBezTo>
                      <a:pt x="30" y="6"/>
                      <a:pt x="30" y="6"/>
                      <a:pt x="31" y="6"/>
                    </a:cubicBezTo>
                    <a:cubicBezTo>
                      <a:pt x="31" y="6"/>
                      <a:pt x="31" y="5"/>
                      <a:pt x="31" y="5"/>
                    </a:cubicBezTo>
                    <a:cubicBezTo>
                      <a:pt x="31" y="5"/>
                      <a:pt x="31" y="4"/>
                      <a:pt x="31" y="3"/>
                    </a:cubicBezTo>
                    <a:cubicBezTo>
                      <a:pt x="31" y="3"/>
                      <a:pt x="31" y="2"/>
                      <a:pt x="31" y="2"/>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7" name="Freeform 230">
                <a:extLst>
                  <a:ext uri="{FF2B5EF4-FFF2-40B4-BE49-F238E27FC236}">
                    <a16:creationId xmlns:a16="http://schemas.microsoft.com/office/drawing/2014/main" id="{CD15520C-249E-4ECC-B8E8-04CFE9FBF38E}"/>
                  </a:ext>
                </a:extLst>
              </p:cNvPr>
              <p:cNvSpPr>
                <a:spLocks/>
              </p:cNvSpPr>
              <p:nvPr/>
            </p:nvSpPr>
            <p:spPr bwMode="auto">
              <a:xfrm>
                <a:off x="2463800" y="1916113"/>
                <a:ext cx="30163" cy="155575"/>
              </a:xfrm>
              <a:custGeom>
                <a:avLst/>
                <a:gdLst>
                  <a:gd name="T0" fmla="*/ 8 w 8"/>
                  <a:gd name="T1" fmla="*/ 1 h 41"/>
                  <a:gd name="T2" fmla="*/ 8 w 8"/>
                  <a:gd name="T3" fmla="*/ 1 h 41"/>
                  <a:gd name="T4" fmla="*/ 7 w 8"/>
                  <a:gd name="T5" fmla="*/ 0 h 41"/>
                  <a:gd name="T6" fmla="*/ 6 w 8"/>
                  <a:gd name="T7" fmla="*/ 0 h 41"/>
                  <a:gd name="T8" fmla="*/ 4 w 8"/>
                  <a:gd name="T9" fmla="*/ 0 h 41"/>
                  <a:gd name="T10" fmla="*/ 2 w 8"/>
                  <a:gd name="T11" fmla="*/ 0 h 41"/>
                  <a:gd name="T12" fmla="*/ 1 w 8"/>
                  <a:gd name="T13" fmla="*/ 0 h 41"/>
                  <a:gd name="T14" fmla="*/ 0 w 8"/>
                  <a:gd name="T15" fmla="*/ 1 h 41"/>
                  <a:gd name="T16" fmla="*/ 0 w 8"/>
                  <a:gd name="T17" fmla="*/ 1 h 41"/>
                  <a:gd name="T18" fmla="*/ 0 w 8"/>
                  <a:gd name="T19" fmla="*/ 39 h 41"/>
                  <a:gd name="T20" fmla="*/ 0 w 8"/>
                  <a:gd name="T21" fmla="*/ 40 h 41"/>
                  <a:gd name="T22" fmla="*/ 1 w 8"/>
                  <a:gd name="T23" fmla="*/ 40 h 41"/>
                  <a:gd name="T24" fmla="*/ 2 w 8"/>
                  <a:gd name="T25" fmla="*/ 41 h 41"/>
                  <a:gd name="T26" fmla="*/ 4 w 8"/>
                  <a:gd name="T27" fmla="*/ 41 h 41"/>
                  <a:gd name="T28" fmla="*/ 6 w 8"/>
                  <a:gd name="T29" fmla="*/ 41 h 41"/>
                  <a:gd name="T30" fmla="*/ 7 w 8"/>
                  <a:gd name="T31" fmla="*/ 40 h 41"/>
                  <a:gd name="T32" fmla="*/ 8 w 8"/>
                  <a:gd name="T33" fmla="*/ 40 h 41"/>
                  <a:gd name="T34" fmla="*/ 8 w 8"/>
                  <a:gd name="T35" fmla="*/ 39 h 41"/>
                  <a:gd name="T36" fmla="*/ 8 w 8"/>
                  <a:gd name="T37"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41">
                    <a:moveTo>
                      <a:pt x="8" y="1"/>
                    </a:moveTo>
                    <a:cubicBezTo>
                      <a:pt x="8" y="1"/>
                      <a:pt x="8" y="1"/>
                      <a:pt x="8" y="1"/>
                    </a:cubicBezTo>
                    <a:cubicBezTo>
                      <a:pt x="8" y="0"/>
                      <a:pt x="7" y="0"/>
                      <a:pt x="7" y="0"/>
                    </a:cubicBezTo>
                    <a:cubicBezTo>
                      <a:pt x="7" y="0"/>
                      <a:pt x="6" y="0"/>
                      <a:pt x="6" y="0"/>
                    </a:cubicBezTo>
                    <a:cubicBezTo>
                      <a:pt x="5" y="0"/>
                      <a:pt x="5" y="0"/>
                      <a:pt x="4" y="0"/>
                    </a:cubicBezTo>
                    <a:cubicBezTo>
                      <a:pt x="3" y="0"/>
                      <a:pt x="2" y="0"/>
                      <a:pt x="2" y="0"/>
                    </a:cubicBezTo>
                    <a:cubicBezTo>
                      <a:pt x="1" y="0"/>
                      <a:pt x="1" y="0"/>
                      <a:pt x="1" y="0"/>
                    </a:cubicBezTo>
                    <a:cubicBezTo>
                      <a:pt x="0" y="0"/>
                      <a:pt x="0" y="0"/>
                      <a:pt x="0" y="1"/>
                    </a:cubicBezTo>
                    <a:cubicBezTo>
                      <a:pt x="0" y="1"/>
                      <a:pt x="0" y="1"/>
                      <a:pt x="0" y="1"/>
                    </a:cubicBezTo>
                    <a:cubicBezTo>
                      <a:pt x="0" y="39"/>
                      <a:pt x="0" y="39"/>
                      <a:pt x="0" y="39"/>
                    </a:cubicBezTo>
                    <a:cubicBezTo>
                      <a:pt x="0" y="40"/>
                      <a:pt x="0" y="40"/>
                      <a:pt x="0" y="40"/>
                    </a:cubicBezTo>
                    <a:cubicBezTo>
                      <a:pt x="0" y="40"/>
                      <a:pt x="0" y="40"/>
                      <a:pt x="1" y="40"/>
                    </a:cubicBezTo>
                    <a:cubicBezTo>
                      <a:pt x="1" y="40"/>
                      <a:pt x="1" y="41"/>
                      <a:pt x="2" y="41"/>
                    </a:cubicBezTo>
                    <a:cubicBezTo>
                      <a:pt x="2" y="41"/>
                      <a:pt x="3" y="41"/>
                      <a:pt x="4" y="41"/>
                    </a:cubicBezTo>
                    <a:cubicBezTo>
                      <a:pt x="5" y="41"/>
                      <a:pt x="5" y="41"/>
                      <a:pt x="6" y="41"/>
                    </a:cubicBezTo>
                    <a:cubicBezTo>
                      <a:pt x="6" y="41"/>
                      <a:pt x="7" y="40"/>
                      <a:pt x="7" y="40"/>
                    </a:cubicBezTo>
                    <a:cubicBezTo>
                      <a:pt x="7" y="40"/>
                      <a:pt x="8" y="40"/>
                      <a:pt x="8" y="40"/>
                    </a:cubicBezTo>
                    <a:cubicBezTo>
                      <a:pt x="8" y="40"/>
                      <a:pt x="8" y="40"/>
                      <a:pt x="8" y="39"/>
                    </a:cubicBezTo>
                    <a:cubicBezTo>
                      <a:pt x="8" y="1"/>
                      <a:pt x="8" y="1"/>
                      <a:pt x="8" y="1"/>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231">
                <a:extLst>
                  <a:ext uri="{FF2B5EF4-FFF2-40B4-BE49-F238E27FC236}">
                    <a16:creationId xmlns:a16="http://schemas.microsoft.com/office/drawing/2014/main" id="{934E2143-F9B8-419A-B54E-A850BBD62212}"/>
                  </a:ext>
                </a:extLst>
              </p:cNvPr>
              <p:cNvSpPr>
                <a:spLocks noEditPoints="1"/>
              </p:cNvSpPr>
              <p:nvPr/>
            </p:nvSpPr>
            <p:spPr bwMode="auto">
              <a:xfrm>
                <a:off x="2520950" y="1912938"/>
                <a:ext cx="142875" cy="158750"/>
              </a:xfrm>
              <a:custGeom>
                <a:avLst/>
                <a:gdLst>
                  <a:gd name="T0" fmla="*/ 37 w 38"/>
                  <a:gd name="T1" fmla="*/ 12 h 42"/>
                  <a:gd name="T2" fmla="*/ 33 w 38"/>
                  <a:gd name="T3" fmla="*/ 5 h 42"/>
                  <a:gd name="T4" fmla="*/ 27 w 38"/>
                  <a:gd name="T5" fmla="*/ 2 h 42"/>
                  <a:gd name="T6" fmla="*/ 19 w 38"/>
                  <a:gd name="T7" fmla="*/ 0 h 42"/>
                  <a:gd name="T8" fmla="*/ 11 w 38"/>
                  <a:gd name="T9" fmla="*/ 2 h 42"/>
                  <a:gd name="T10" fmla="*/ 5 w 38"/>
                  <a:gd name="T11" fmla="*/ 6 h 42"/>
                  <a:gd name="T12" fmla="*/ 1 w 38"/>
                  <a:gd name="T13" fmla="*/ 13 h 42"/>
                  <a:gd name="T14" fmla="*/ 0 w 38"/>
                  <a:gd name="T15" fmla="*/ 22 h 42"/>
                  <a:gd name="T16" fmla="*/ 1 w 38"/>
                  <a:gd name="T17" fmla="*/ 31 h 42"/>
                  <a:gd name="T18" fmla="*/ 5 w 38"/>
                  <a:gd name="T19" fmla="*/ 37 h 42"/>
                  <a:gd name="T20" fmla="*/ 10 w 38"/>
                  <a:gd name="T21" fmla="*/ 41 h 42"/>
                  <a:gd name="T22" fmla="*/ 19 w 38"/>
                  <a:gd name="T23" fmla="*/ 42 h 42"/>
                  <a:gd name="T24" fmla="*/ 27 w 38"/>
                  <a:gd name="T25" fmla="*/ 41 h 42"/>
                  <a:gd name="T26" fmla="*/ 33 w 38"/>
                  <a:gd name="T27" fmla="*/ 37 h 42"/>
                  <a:gd name="T28" fmla="*/ 37 w 38"/>
                  <a:gd name="T29" fmla="*/ 30 h 42"/>
                  <a:gd name="T30" fmla="*/ 38 w 38"/>
                  <a:gd name="T31" fmla="*/ 21 h 42"/>
                  <a:gd name="T32" fmla="*/ 37 w 38"/>
                  <a:gd name="T33" fmla="*/ 12 h 42"/>
                  <a:gd name="T34" fmla="*/ 29 w 38"/>
                  <a:gd name="T35" fmla="*/ 27 h 42"/>
                  <a:gd name="T36" fmla="*/ 27 w 38"/>
                  <a:gd name="T37" fmla="*/ 31 h 42"/>
                  <a:gd name="T38" fmla="*/ 24 w 38"/>
                  <a:gd name="T39" fmla="*/ 34 h 42"/>
                  <a:gd name="T40" fmla="*/ 19 w 38"/>
                  <a:gd name="T41" fmla="*/ 35 h 42"/>
                  <a:gd name="T42" fmla="*/ 14 w 38"/>
                  <a:gd name="T43" fmla="*/ 34 h 42"/>
                  <a:gd name="T44" fmla="*/ 11 w 38"/>
                  <a:gd name="T45" fmla="*/ 32 h 42"/>
                  <a:gd name="T46" fmla="*/ 9 w 38"/>
                  <a:gd name="T47" fmla="*/ 27 h 42"/>
                  <a:gd name="T48" fmla="*/ 8 w 38"/>
                  <a:gd name="T49" fmla="*/ 21 h 42"/>
                  <a:gd name="T50" fmla="*/ 9 w 38"/>
                  <a:gd name="T51" fmla="*/ 16 h 42"/>
                  <a:gd name="T52" fmla="*/ 11 w 38"/>
                  <a:gd name="T53" fmla="*/ 11 h 42"/>
                  <a:gd name="T54" fmla="*/ 14 w 38"/>
                  <a:gd name="T55" fmla="*/ 8 h 42"/>
                  <a:gd name="T56" fmla="*/ 19 w 38"/>
                  <a:gd name="T57" fmla="*/ 7 h 42"/>
                  <a:gd name="T58" fmla="*/ 24 w 38"/>
                  <a:gd name="T59" fmla="*/ 8 h 42"/>
                  <a:gd name="T60" fmla="*/ 27 w 38"/>
                  <a:gd name="T61" fmla="*/ 11 h 42"/>
                  <a:gd name="T62" fmla="*/ 29 w 38"/>
                  <a:gd name="T63" fmla="*/ 15 h 42"/>
                  <a:gd name="T64" fmla="*/ 29 w 38"/>
                  <a:gd name="T65" fmla="*/ 21 h 42"/>
                  <a:gd name="T66" fmla="*/ 29 w 38"/>
                  <a:gd name="T67" fmla="*/ 2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42">
                    <a:moveTo>
                      <a:pt x="37" y="12"/>
                    </a:moveTo>
                    <a:cubicBezTo>
                      <a:pt x="36" y="9"/>
                      <a:pt x="35" y="7"/>
                      <a:pt x="33" y="5"/>
                    </a:cubicBezTo>
                    <a:cubicBezTo>
                      <a:pt x="32" y="4"/>
                      <a:pt x="30" y="2"/>
                      <a:pt x="27" y="2"/>
                    </a:cubicBezTo>
                    <a:cubicBezTo>
                      <a:pt x="25" y="1"/>
                      <a:pt x="22" y="0"/>
                      <a:pt x="19" y="0"/>
                    </a:cubicBezTo>
                    <a:cubicBezTo>
                      <a:pt x="16" y="0"/>
                      <a:pt x="13" y="1"/>
                      <a:pt x="11" y="2"/>
                    </a:cubicBezTo>
                    <a:cubicBezTo>
                      <a:pt x="8" y="3"/>
                      <a:pt x="6" y="4"/>
                      <a:pt x="5" y="6"/>
                    </a:cubicBezTo>
                    <a:cubicBezTo>
                      <a:pt x="3" y="8"/>
                      <a:pt x="2" y="10"/>
                      <a:pt x="1" y="13"/>
                    </a:cubicBezTo>
                    <a:cubicBezTo>
                      <a:pt x="0" y="15"/>
                      <a:pt x="0" y="18"/>
                      <a:pt x="0" y="22"/>
                    </a:cubicBezTo>
                    <a:cubicBezTo>
                      <a:pt x="0" y="25"/>
                      <a:pt x="0" y="28"/>
                      <a:pt x="1" y="31"/>
                    </a:cubicBezTo>
                    <a:cubicBezTo>
                      <a:pt x="2" y="33"/>
                      <a:pt x="3" y="36"/>
                      <a:pt x="5" y="37"/>
                    </a:cubicBezTo>
                    <a:cubicBezTo>
                      <a:pt x="6" y="39"/>
                      <a:pt x="8" y="40"/>
                      <a:pt x="10" y="41"/>
                    </a:cubicBezTo>
                    <a:cubicBezTo>
                      <a:pt x="13" y="42"/>
                      <a:pt x="15" y="42"/>
                      <a:pt x="19" y="42"/>
                    </a:cubicBezTo>
                    <a:cubicBezTo>
                      <a:pt x="22" y="42"/>
                      <a:pt x="25" y="42"/>
                      <a:pt x="27" y="41"/>
                    </a:cubicBezTo>
                    <a:cubicBezTo>
                      <a:pt x="29" y="40"/>
                      <a:pt x="32" y="38"/>
                      <a:pt x="33" y="37"/>
                    </a:cubicBezTo>
                    <a:cubicBezTo>
                      <a:pt x="35" y="35"/>
                      <a:pt x="36" y="32"/>
                      <a:pt x="37" y="30"/>
                    </a:cubicBezTo>
                    <a:cubicBezTo>
                      <a:pt x="38" y="27"/>
                      <a:pt x="38" y="24"/>
                      <a:pt x="38" y="21"/>
                    </a:cubicBezTo>
                    <a:cubicBezTo>
                      <a:pt x="38" y="17"/>
                      <a:pt x="38" y="14"/>
                      <a:pt x="37" y="12"/>
                    </a:cubicBezTo>
                    <a:close/>
                    <a:moveTo>
                      <a:pt x="29" y="27"/>
                    </a:moveTo>
                    <a:cubicBezTo>
                      <a:pt x="29" y="28"/>
                      <a:pt x="28" y="30"/>
                      <a:pt x="27" y="31"/>
                    </a:cubicBezTo>
                    <a:cubicBezTo>
                      <a:pt x="26" y="33"/>
                      <a:pt x="25" y="34"/>
                      <a:pt x="24" y="34"/>
                    </a:cubicBezTo>
                    <a:cubicBezTo>
                      <a:pt x="23" y="35"/>
                      <a:pt x="21" y="35"/>
                      <a:pt x="19" y="35"/>
                    </a:cubicBezTo>
                    <a:cubicBezTo>
                      <a:pt x="17" y="35"/>
                      <a:pt x="15" y="35"/>
                      <a:pt x="14" y="34"/>
                    </a:cubicBezTo>
                    <a:cubicBezTo>
                      <a:pt x="13" y="34"/>
                      <a:pt x="11" y="33"/>
                      <a:pt x="11" y="32"/>
                    </a:cubicBezTo>
                    <a:cubicBezTo>
                      <a:pt x="10" y="30"/>
                      <a:pt x="9" y="29"/>
                      <a:pt x="9" y="27"/>
                    </a:cubicBezTo>
                    <a:cubicBezTo>
                      <a:pt x="9" y="25"/>
                      <a:pt x="8" y="23"/>
                      <a:pt x="8" y="21"/>
                    </a:cubicBezTo>
                    <a:cubicBezTo>
                      <a:pt x="8" y="19"/>
                      <a:pt x="9" y="17"/>
                      <a:pt x="9" y="16"/>
                    </a:cubicBezTo>
                    <a:cubicBezTo>
                      <a:pt x="9" y="14"/>
                      <a:pt x="10" y="13"/>
                      <a:pt x="11" y="11"/>
                    </a:cubicBezTo>
                    <a:cubicBezTo>
                      <a:pt x="12" y="10"/>
                      <a:pt x="13" y="9"/>
                      <a:pt x="14" y="8"/>
                    </a:cubicBezTo>
                    <a:cubicBezTo>
                      <a:pt x="15" y="7"/>
                      <a:pt x="17" y="7"/>
                      <a:pt x="19" y="7"/>
                    </a:cubicBezTo>
                    <a:cubicBezTo>
                      <a:pt x="21" y="7"/>
                      <a:pt x="23" y="7"/>
                      <a:pt x="24" y="8"/>
                    </a:cubicBezTo>
                    <a:cubicBezTo>
                      <a:pt x="25" y="9"/>
                      <a:pt x="26" y="10"/>
                      <a:pt x="27" y="11"/>
                    </a:cubicBezTo>
                    <a:cubicBezTo>
                      <a:pt x="28" y="12"/>
                      <a:pt x="29" y="14"/>
                      <a:pt x="29" y="15"/>
                    </a:cubicBezTo>
                    <a:cubicBezTo>
                      <a:pt x="29" y="17"/>
                      <a:pt x="29" y="19"/>
                      <a:pt x="29" y="21"/>
                    </a:cubicBezTo>
                    <a:cubicBezTo>
                      <a:pt x="29" y="23"/>
                      <a:pt x="29" y="25"/>
                      <a:pt x="29" y="27"/>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Freeform 232">
                <a:extLst>
                  <a:ext uri="{FF2B5EF4-FFF2-40B4-BE49-F238E27FC236}">
                    <a16:creationId xmlns:a16="http://schemas.microsoft.com/office/drawing/2014/main" id="{D6AFBA87-B00A-40E9-9608-6905AD3C287A}"/>
                  </a:ext>
                </a:extLst>
              </p:cNvPr>
              <p:cNvSpPr>
                <a:spLocks/>
              </p:cNvSpPr>
              <p:nvPr/>
            </p:nvSpPr>
            <p:spPr bwMode="auto">
              <a:xfrm>
                <a:off x="2689225" y="1916113"/>
                <a:ext cx="125413" cy="155575"/>
              </a:xfrm>
              <a:custGeom>
                <a:avLst/>
                <a:gdLst>
                  <a:gd name="T0" fmla="*/ 33 w 33"/>
                  <a:gd name="T1" fmla="*/ 1 h 41"/>
                  <a:gd name="T2" fmla="*/ 33 w 33"/>
                  <a:gd name="T3" fmla="*/ 1 h 41"/>
                  <a:gd name="T4" fmla="*/ 33 w 33"/>
                  <a:gd name="T5" fmla="*/ 0 h 41"/>
                  <a:gd name="T6" fmla="*/ 31 w 33"/>
                  <a:gd name="T7" fmla="*/ 0 h 41"/>
                  <a:gd name="T8" fmla="*/ 30 w 33"/>
                  <a:gd name="T9" fmla="*/ 0 h 41"/>
                  <a:gd name="T10" fmla="*/ 28 w 33"/>
                  <a:gd name="T11" fmla="*/ 0 h 41"/>
                  <a:gd name="T12" fmla="*/ 27 w 33"/>
                  <a:gd name="T13" fmla="*/ 0 h 41"/>
                  <a:gd name="T14" fmla="*/ 26 w 33"/>
                  <a:gd name="T15" fmla="*/ 1 h 41"/>
                  <a:gd name="T16" fmla="*/ 26 w 33"/>
                  <a:gd name="T17" fmla="*/ 1 h 41"/>
                  <a:gd name="T18" fmla="*/ 26 w 33"/>
                  <a:gd name="T19" fmla="*/ 20 h 41"/>
                  <a:gd name="T20" fmla="*/ 26 w 33"/>
                  <a:gd name="T21" fmla="*/ 25 h 41"/>
                  <a:gd name="T22" fmla="*/ 26 w 33"/>
                  <a:gd name="T23" fmla="*/ 29 h 41"/>
                  <a:gd name="T24" fmla="*/ 26 w 33"/>
                  <a:gd name="T25" fmla="*/ 29 h 41"/>
                  <a:gd name="T26" fmla="*/ 25 w 33"/>
                  <a:gd name="T27" fmla="*/ 27 h 41"/>
                  <a:gd name="T28" fmla="*/ 24 w 33"/>
                  <a:gd name="T29" fmla="*/ 24 h 41"/>
                  <a:gd name="T30" fmla="*/ 22 w 33"/>
                  <a:gd name="T31" fmla="*/ 22 h 41"/>
                  <a:gd name="T32" fmla="*/ 21 w 33"/>
                  <a:gd name="T33" fmla="*/ 19 h 41"/>
                  <a:gd name="T34" fmla="*/ 13 w 33"/>
                  <a:gd name="T35" fmla="*/ 4 h 41"/>
                  <a:gd name="T36" fmla="*/ 12 w 33"/>
                  <a:gd name="T37" fmla="*/ 2 h 41"/>
                  <a:gd name="T38" fmla="*/ 11 w 33"/>
                  <a:gd name="T39" fmla="*/ 1 h 41"/>
                  <a:gd name="T40" fmla="*/ 9 w 33"/>
                  <a:gd name="T41" fmla="*/ 0 h 41"/>
                  <a:gd name="T42" fmla="*/ 7 w 33"/>
                  <a:gd name="T43" fmla="*/ 0 h 41"/>
                  <a:gd name="T44" fmla="*/ 3 w 33"/>
                  <a:gd name="T45" fmla="*/ 0 h 41"/>
                  <a:gd name="T46" fmla="*/ 1 w 33"/>
                  <a:gd name="T47" fmla="*/ 1 h 41"/>
                  <a:gd name="T48" fmla="*/ 0 w 33"/>
                  <a:gd name="T49" fmla="*/ 3 h 41"/>
                  <a:gd name="T50" fmla="*/ 0 w 33"/>
                  <a:gd name="T51" fmla="*/ 39 h 41"/>
                  <a:gd name="T52" fmla="*/ 0 w 33"/>
                  <a:gd name="T53" fmla="*/ 40 h 41"/>
                  <a:gd name="T54" fmla="*/ 1 w 33"/>
                  <a:gd name="T55" fmla="*/ 40 h 41"/>
                  <a:gd name="T56" fmla="*/ 2 w 33"/>
                  <a:gd name="T57" fmla="*/ 41 h 41"/>
                  <a:gd name="T58" fmla="*/ 4 w 33"/>
                  <a:gd name="T59" fmla="*/ 41 h 41"/>
                  <a:gd name="T60" fmla="*/ 5 w 33"/>
                  <a:gd name="T61" fmla="*/ 41 h 41"/>
                  <a:gd name="T62" fmla="*/ 7 w 33"/>
                  <a:gd name="T63" fmla="*/ 40 h 41"/>
                  <a:gd name="T64" fmla="*/ 7 w 33"/>
                  <a:gd name="T65" fmla="*/ 40 h 41"/>
                  <a:gd name="T66" fmla="*/ 7 w 33"/>
                  <a:gd name="T67" fmla="*/ 39 h 41"/>
                  <a:gd name="T68" fmla="*/ 7 w 33"/>
                  <a:gd name="T69" fmla="*/ 18 h 41"/>
                  <a:gd name="T70" fmla="*/ 7 w 33"/>
                  <a:gd name="T71" fmla="*/ 14 h 41"/>
                  <a:gd name="T72" fmla="*/ 7 w 33"/>
                  <a:gd name="T73" fmla="*/ 9 h 41"/>
                  <a:gd name="T74" fmla="*/ 7 w 33"/>
                  <a:gd name="T75" fmla="*/ 9 h 41"/>
                  <a:gd name="T76" fmla="*/ 9 w 33"/>
                  <a:gd name="T77" fmla="*/ 13 h 41"/>
                  <a:gd name="T78" fmla="*/ 11 w 33"/>
                  <a:gd name="T79" fmla="*/ 17 h 41"/>
                  <a:gd name="T80" fmla="*/ 21 w 33"/>
                  <a:gd name="T81" fmla="*/ 35 h 41"/>
                  <a:gd name="T82" fmla="*/ 22 w 33"/>
                  <a:gd name="T83" fmla="*/ 38 h 41"/>
                  <a:gd name="T84" fmla="*/ 23 w 33"/>
                  <a:gd name="T85" fmla="*/ 40 h 41"/>
                  <a:gd name="T86" fmla="*/ 25 w 33"/>
                  <a:gd name="T87" fmla="*/ 40 h 41"/>
                  <a:gd name="T88" fmla="*/ 27 w 33"/>
                  <a:gd name="T89" fmla="*/ 41 h 41"/>
                  <a:gd name="T90" fmla="*/ 30 w 33"/>
                  <a:gd name="T91" fmla="*/ 41 h 41"/>
                  <a:gd name="T92" fmla="*/ 31 w 33"/>
                  <a:gd name="T93" fmla="*/ 40 h 41"/>
                  <a:gd name="T94" fmla="*/ 32 w 33"/>
                  <a:gd name="T95" fmla="*/ 40 h 41"/>
                  <a:gd name="T96" fmla="*/ 33 w 33"/>
                  <a:gd name="T97" fmla="*/ 39 h 41"/>
                  <a:gd name="T98" fmla="*/ 33 w 33"/>
                  <a:gd name="T99" fmla="*/ 38 h 41"/>
                  <a:gd name="T100" fmla="*/ 33 w 33"/>
                  <a:gd name="T101"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41">
                    <a:moveTo>
                      <a:pt x="33" y="1"/>
                    </a:moveTo>
                    <a:cubicBezTo>
                      <a:pt x="33" y="1"/>
                      <a:pt x="33" y="1"/>
                      <a:pt x="33" y="1"/>
                    </a:cubicBezTo>
                    <a:cubicBezTo>
                      <a:pt x="33" y="1"/>
                      <a:pt x="33" y="0"/>
                      <a:pt x="33" y="0"/>
                    </a:cubicBezTo>
                    <a:cubicBezTo>
                      <a:pt x="32" y="0"/>
                      <a:pt x="32" y="0"/>
                      <a:pt x="31" y="0"/>
                    </a:cubicBezTo>
                    <a:cubicBezTo>
                      <a:pt x="31" y="0"/>
                      <a:pt x="30" y="0"/>
                      <a:pt x="30" y="0"/>
                    </a:cubicBezTo>
                    <a:cubicBezTo>
                      <a:pt x="29" y="0"/>
                      <a:pt x="28" y="0"/>
                      <a:pt x="28" y="0"/>
                    </a:cubicBezTo>
                    <a:cubicBezTo>
                      <a:pt x="27" y="0"/>
                      <a:pt x="27" y="0"/>
                      <a:pt x="27" y="0"/>
                    </a:cubicBezTo>
                    <a:cubicBezTo>
                      <a:pt x="26" y="0"/>
                      <a:pt x="26" y="1"/>
                      <a:pt x="26" y="1"/>
                    </a:cubicBezTo>
                    <a:cubicBezTo>
                      <a:pt x="26" y="1"/>
                      <a:pt x="26" y="1"/>
                      <a:pt x="26" y="1"/>
                    </a:cubicBezTo>
                    <a:cubicBezTo>
                      <a:pt x="26" y="20"/>
                      <a:pt x="26" y="20"/>
                      <a:pt x="26" y="20"/>
                    </a:cubicBezTo>
                    <a:cubicBezTo>
                      <a:pt x="26" y="22"/>
                      <a:pt x="26" y="23"/>
                      <a:pt x="26" y="25"/>
                    </a:cubicBezTo>
                    <a:cubicBezTo>
                      <a:pt x="26" y="26"/>
                      <a:pt x="26" y="28"/>
                      <a:pt x="26" y="29"/>
                    </a:cubicBezTo>
                    <a:cubicBezTo>
                      <a:pt x="26" y="29"/>
                      <a:pt x="26" y="29"/>
                      <a:pt x="26" y="29"/>
                    </a:cubicBezTo>
                    <a:cubicBezTo>
                      <a:pt x="26" y="28"/>
                      <a:pt x="25" y="28"/>
                      <a:pt x="25" y="27"/>
                    </a:cubicBezTo>
                    <a:cubicBezTo>
                      <a:pt x="24" y="26"/>
                      <a:pt x="24" y="25"/>
                      <a:pt x="24" y="24"/>
                    </a:cubicBezTo>
                    <a:cubicBezTo>
                      <a:pt x="23" y="23"/>
                      <a:pt x="23" y="23"/>
                      <a:pt x="22" y="22"/>
                    </a:cubicBezTo>
                    <a:cubicBezTo>
                      <a:pt x="22" y="21"/>
                      <a:pt x="21" y="20"/>
                      <a:pt x="21" y="19"/>
                    </a:cubicBezTo>
                    <a:cubicBezTo>
                      <a:pt x="13" y="4"/>
                      <a:pt x="13" y="4"/>
                      <a:pt x="13" y="4"/>
                    </a:cubicBezTo>
                    <a:cubicBezTo>
                      <a:pt x="13" y="3"/>
                      <a:pt x="12" y="3"/>
                      <a:pt x="12" y="2"/>
                    </a:cubicBezTo>
                    <a:cubicBezTo>
                      <a:pt x="12" y="2"/>
                      <a:pt x="11" y="1"/>
                      <a:pt x="11" y="1"/>
                    </a:cubicBezTo>
                    <a:cubicBezTo>
                      <a:pt x="10" y="1"/>
                      <a:pt x="10" y="0"/>
                      <a:pt x="9" y="0"/>
                    </a:cubicBezTo>
                    <a:cubicBezTo>
                      <a:pt x="9" y="0"/>
                      <a:pt x="8" y="0"/>
                      <a:pt x="7" y="0"/>
                    </a:cubicBezTo>
                    <a:cubicBezTo>
                      <a:pt x="3" y="0"/>
                      <a:pt x="3" y="0"/>
                      <a:pt x="3" y="0"/>
                    </a:cubicBezTo>
                    <a:cubicBezTo>
                      <a:pt x="2" y="0"/>
                      <a:pt x="1" y="0"/>
                      <a:pt x="1" y="1"/>
                    </a:cubicBezTo>
                    <a:cubicBezTo>
                      <a:pt x="0" y="1"/>
                      <a:pt x="0" y="2"/>
                      <a:pt x="0" y="3"/>
                    </a:cubicBezTo>
                    <a:cubicBezTo>
                      <a:pt x="0" y="39"/>
                      <a:pt x="0" y="39"/>
                      <a:pt x="0" y="39"/>
                    </a:cubicBezTo>
                    <a:cubicBezTo>
                      <a:pt x="0" y="40"/>
                      <a:pt x="0" y="40"/>
                      <a:pt x="0" y="40"/>
                    </a:cubicBezTo>
                    <a:cubicBezTo>
                      <a:pt x="0" y="40"/>
                      <a:pt x="0" y="40"/>
                      <a:pt x="1" y="40"/>
                    </a:cubicBezTo>
                    <a:cubicBezTo>
                      <a:pt x="1" y="40"/>
                      <a:pt x="1" y="41"/>
                      <a:pt x="2" y="41"/>
                    </a:cubicBezTo>
                    <a:cubicBezTo>
                      <a:pt x="2" y="41"/>
                      <a:pt x="3" y="41"/>
                      <a:pt x="4" y="41"/>
                    </a:cubicBezTo>
                    <a:cubicBezTo>
                      <a:pt x="4" y="41"/>
                      <a:pt x="5" y="41"/>
                      <a:pt x="5" y="41"/>
                    </a:cubicBezTo>
                    <a:cubicBezTo>
                      <a:pt x="6" y="41"/>
                      <a:pt x="6" y="40"/>
                      <a:pt x="7" y="40"/>
                    </a:cubicBezTo>
                    <a:cubicBezTo>
                      <a:pt x="7" y="40"/>
                      <a:pt x="7" y="40"/>
                      <a:pt x="7" y="40"/>
                    </a:cubicBezTo>
                    <a:cubicBezTo>
                      <a:pt x="7" y="40"/>
                      <a:pt x="7" y="40"/>
                      <a:pt x="7" y="39"/>
                    </a:cubicBezTo>
                    <a:cubicBezTo>
                      <a:pt x="7" y="18"/>
                      <a:pt x="7" y="18"/>
                      <a:pt x="7" y="18"/>
                    </a:cubicBezTo>
                    <a:cubicBezTo>
                      <a:pt x="7" y="17"/>
                      <a:pt x="7" y="15"/>
                      <a:pt x="7" y="14"/>
                    </a:cubicBezTo>
                    <a:cubicBezTo>
                      <a:pt x="7" y="12"/>
                      <a:pt x="7" y="11"/>
                      <a:pt x="7" y="9"/>
                    </a:cubicBezTo>
                    <a:cubicBezTo>
                      <a:pt x="7" y="9"/>
                      <a:pt x="7" y="9"/>
                      <a:pt x="7" y="9"/>
                    </a:cubicBezTo>
                    <a:cubicBezTo>
                      <a:pt x="8" y="10"/>
                      <a:pt x="8" y="12"/>
                      <a:pt x="9" y="13"/>
                    </a:cubicBezTo>
                    <a:cubicBezTo>
                      <a:pt x="9" y="14"/>
                      <a:pt x="10" y="15"/>
                      <a:pt x="11" y="17"/>
                    </a:cubicBezTo>
                    <a:cubicBezTo>
                      <a:pt x="21" y="35"/>
                      <a:pt x="21" y="35"/>
                      <a:pt x="21" y="35"/>
                    </a:cubicBezTo>
                    <a:cubicBezTo>
                      <a:pt x="21" y="36"/>
                      <a:pt x="22" y="37"/>
                      <a:pt x="22" y="38"/>
                    </a:cubicBezTo>
                    <a:cubicBezTo>
                      <a:pt x="22" y="39"/>
                      <a:pt x="23" y="39"/>
                      <a:pt x="23" y="40"/>
                    </a:cubicBezTo>
                    <a:cubicBezTo>
                      <a:pt x="24" y="40"/>
                      <a:pt x="24" y="40"/>
                      <a:pt x="25" y="40"/>
                    </a:cubicBezTo>
                    <a:cubicBezTo>
                      <a:pt x="25" y="40"/>
                      <a:pt x="26" y="41"/>
                      <a:pt x="27" y="41"/>
                    </a:cubicBezTo>
                    <a:cubicBezTo>
                      <a:pt x="30" y="41"/>
                      <a:pt x="30" y="41"/>
                      <a:pt x="30" y="41"/>
                    </a:cubicBezTo>
                    <a:cubicBezTo>
                      <a:pt x="31" y="41"/>
                      <a:pt x="31" y="40"/>
                      <a:pt x="31" y="40"/>
                    </a:cubicBezTo>
                    <a:cubicBezTo>
                      <a:pt x="32" y="40"/>
                      <a:pt x="32" y="40"/>
                      <a:pt x="32" y="40"/>
                    </a:cubicBezTo>
                    <a:cubicBezTo>
                      <a:pt x="33" y="40"/>
                      <a:pt x="33" y="39"/>
                      <a:pt x="33" y="39"/>
                    </a:cubicBezTo>
                    <a:cubicBezTo>
                      <a:pt x="33" y="39"/>
                      <a:pt x="33" y="38"/>
                      <a:pt x="33" y="38"/>
                    </a:cubicBezTo>
                    <a:cubicBezTo>
                      <a:pt x="33" y="1"/>
                      <a:pt x="33" y="1"/>
                      <a:pt x="33" y="1"/>
                    </a:cubicBezTo>
                    <a:close/>
                  </a:path>
                </a:pathLst>
              </a:custGeom>
              <a:solidFill>
                <a:srgbClr val="1E3A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11" name="Freeform 233">
              <a:extLst>
                <a:ext uri="{FF2B5EF4-FFF2-40B4-BE49-F238E27FC236}">
                  <a16:creationId xmlns:a16="http://schemas.microsoft.com/office/drawing/2014/main" id="{ED652EB3-9C26-4A56-9ED6-DAFFA88D78F5}"/>
                </a:ext>
              </a:extLst>
            </p:cNvPr>
            <p:cNvSpPr>
              <a:spLocks/>
            </p:cNvSpPr>
            <p:nvPr/>
          </p:nvSpPr>
          <p:spPr bwMode="auto">
            <a:xfrm>
              <a:off x="4720965" y="5174197"/>
              <a:ext cx="5113687" cy="328984"/>
            </a:xfrm>
            <a:custGeom>
              <a:avLst/>
              <a:gdLst>
                <a:gd name="T0" fmla="*/ 3 w 1493"/>
                <a:gd name="T1" fmla="*/ 18 h 96"/>
                <a:gd name="T2" fmla="*/ 6 w 1493"/>
                <a:gd name="T3" fmla="*/ 18 h 96"/>
                <a:gd name="T4" fmla="*/ 18 w 1493"/>
                <a:gd name="T5" fmla="*/ 6 h 96"/>
                <a:gd name="T6" fmla="*/ 1475 w 1493"/>
                <a:gd name="T7" fmla="*/ 6 h 96"/>
                <a:gd name="T8" fmla="*/ 1487 w 1493"/>
                <a:gd name="T9" fmla="*/ 18 h 96"/>
                <a:gd name="T10" fmla="*/ 1487 w 1493"/>
                <a:gd name="T11" fmla="*/ 78 h 96"/>
                <a:gd name="T12" fmla="*/ 1475 w 1493"/>
                <a:gd name="T13" fmla="*/ 90 h 96"/>
                <a:gd name="T14" fmla="*/ 18 w 1493"/>
                <a:gd name="T15" fmla="*/ 90 h 96"/>
                <a:gd name="T16" fmla="*/ 6 w 1493"/>
                <a:gd name="T17" fmla="*/ 78 h 96"/>
                <a:gd name="T18" fmla="*/ 6 w 1493"/>
                <a:gd name="T19" fmla="*/ 18 h 96"/>
                <a:gd name="T20" fmla="*/ 3 w 1493"/>
                <a:gd name="T21" fmla="*/ 18 h 96"/>
                <a:gd name="T22" fmla="*/ 0 w 1493"/>
                <a:gd name="T23" fmla="*/ 18 h 96"/>
                <a:gd name="T24" fmla="*/ 0 w 1493"/>
                <a:gd name="T25" fmla="*/ 78 h 96"/>
                <a:gd name="T26" fmla="*/ 18 w 1493"/>
                <a:gd name="T27" fmla="*/ 96 h 96"/>
                <a:gd name="T28" fmla="*/ 1475 w 1493"/>
                <a:gd name="T29" fmla="*/ 96 h 96"/>
                <a:gd name="T30" fmla="*/ 1493 w 1493"/>
                <a:gd name="T31" fmla="*/ 78 h 96"/>
                <a:gd name="T32" fmla="*/ 1493 w 1493"/>
                <a:gd name="T33" fmla="*/ 18 h 96"/>
                <a:gd name="T34" fmla="*/ 1475 w 1493"/>
                <a:gd name="T35" fmla="*/ 0 h 96"/>
                <a:gd name="T36" fmla="*/ 18 w 1493"/>
                <a:gd name="T37" fmla="*/ 0 h 96"/>
                <a:gd name="T38" fmla="*/ 0 w 1493"/>
                <a:gd name="T39" fmla="*/ 18 h 96"/>
                <a:gd name="T40" fmla="*/ 3 w 1493"/>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3" h="96">
                  <a:moveTo>
                    <a:pt x="3" y="18"/>
                  </a:moveTo>
                  <a:cubicBezTo>
                    <a:pt x="6" y="18"/>
                    <a:pt x="6" y="18"/>
                    <a:pt x="6" y="18"/>
                  </a:cubicBezTo>
                  <a:cubicBezTo>
                    <a:pt x="6" y="12"/>
                    <a:pt x="11" y="6"/>
                    <a:pt x="18" y="6"/>
                  </a:cubicBezTo>
                  <a:cubicBezTo>
                    <a:pt x="1475" y="6"/>
                    <a:pt x="1475" y="6"/>
                    <a:pt x="1475" y="6"/>
                  </a:cubicBezTo>
                  <a:cubicBezTo>
                    <a:pt x="1481" y="6"/>
                    <a:pt x="1487" y="12"/>
                    <a:pt x="1487" y="18"/>
                  </a:cubicBezTo>
                  <a:cubicBezTo>
                    <a:pt x="1487" y="78"/>
                    <a:pt x="1487" y="78"/>
                    <a:pt x="1487" y="78"/>
                  </a:cubicBezTo>
                  <a:cubicBezTo>
                    <a:pt x="1487" y="84"/>
                    <a:pt x="1481" y="90"/>
                    <a:pt x="1475" y="90"/>
                  </a:cubicBezTo>
                  <a:cubicBezTo>
                    <a:pt x="18" y="90"/>
                    <a:pt x="18" y="90"/>
                    <a:pt x="18" y="90"/>
                  </a:cubicBezTo>
                  <a:cubicBezTo>
                    <a:pt x="11" y="90"/>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8"/>
                    <a:pt x="8" y="96"/>
                    <a:pt x="18" y="96"/>
                  </a:cubicBezTo>
                  <a:cubicBezTo>
                    <a:pt x="1475" y="96"/>
                    <a:pt x="1475" y="96"/>
                    <a:pt x="1475" y="96"/>
                  </a:cubicBezTo>
                  <a:cubicBezTo>
                    <a:pt x="1485" y="96"/>
                    <a:pt x="1493" y="88"/>
                    <a:pt x="1493" y="78"/>
                  </a:cubicBezTo>
                  <a:cubicBezTo>
                    <a:pt x="1493" y="18"/>
                    <a:pt x="1493" y="18"/>
                    <a:pt x="1493" y="18"/>
                  </a:cubicBezTo>
                  <a:cubicBezTo>
                    <a:pt x="1493" y="8"/>
                    <a:pt x="1485" y="0"/>
                    <a:pt x="1475" y="0"/>
                  </a:cubicBezTo>
                  <a:cubicBezTo>
                    <a:pt x="18" y="0"/>
                    <a:pt x="18" y="0"/>
                    <a:pt x="18" y="0"/>
                  </a:cubicBezTo>
                  <a:cubicBezTo>
                    <a:pt x="8" y="0"/>
                    <a:pt x="0" y="8"/>
                    <a:pt x="0" y="18"/>
                  </a:cubicBezTo>
                  <a:lnTo>
                    <a:pt x="3" y="18"/>
                  </a:lnTo>
                  <a:close/>
                </a:path>
              </a:pathLst>
            </a:custGeom>
            <a:solidFill>
              <a:srgbClr val="7E249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2" name="Freeform 234">
              <a:extLst>
                <a:ext uri="{FF2B5EF4-FFF2-40B4-BE49-F238E27FC236}">
                  <a16:creationId xmlns:a16="http://schemas.microsoft.com/office/drawing/2014/main" id="{0CD8DCED-F64D-4BF9-B0E0-FC86BE0B59C3}"/>
                </a:ext>
              </a:extLst>
            </p:cNvPr>
            <p:cNvSpPr>
              <a:spLocks noEditPoints="1"/>
            </p:cNvSpPr>
            <p:nvPr/>
          </p:nvSpPr>
          <p:spPr bwMode="auto">
            <a:xfrm>
              <a:off x="5787278" y="5276645"/>
              <a:ext cx="88018" cy="102447"/>
            </a:xfrm>
            <a:custGeom>
              <a:avLst/>
              <a:gdLst>
                <a:gd name="T0" fmla="*/ 16 w 26"/>
                <a:gd name="T1" fmla="*/ 1 h 30"/>
                <a:gd name="T2" fmla="*/ 16 w 26"/>
                <a:gd name="T3" fmla="*/ 0 h 30"/>
                <a:gd name="T4" fmla="*/ 15 w 26"/>
                <a:gd name="T5" fmla="*/ 0 h 30"/>
                <a:gd name="T6" fmla="*/ 14 w 26"/>
                <a:gd name="T7" fmla="*/ 0 h 30"/>
                <a:gd name="T8" fmla="*/ 13 w 26"/>
                <a:gd name="T9" fmla="*/ 0 h 30"/>
                <a:gd name="T10" fmla="*/ 12 w 26"/>
                <a:gd name="T11" fmla="*/ 0 h 30"/>
                <a:gd name="T12" fmla="*/ 11 w 26"/>
                <a:gd name="T13" fmla="*/ 0 h 30"/>
                <a:gd name="T14" fmla="*/ 11 w 26"/>
                <a:gd name="T15" fmla="*/ 0 h 30"/>
                <a:gd name="T16" fmla="*/ 11 w 26"/>
                <a:gd name="T17" fmla="*/ 1 h 30"/>
                <a:gd name="T18" fmla="*/ 0 w 26"/>
                <a:gd name="T19" fmla="*/ 29 h 30"/>
                <a:gd name="T20" fmla="*/ 0 w 26"/>
                <a:gd name="T21" fmla="*/ 30 h 30"/>
                <a:gd name="T22" fmla="*/ 0 w 26"/>
                <a:gd name="T23" fmla="*/ 30 h 30"/>
                <a:gd name="T24" fmla="*/ 1 w 26"/>
                <a:gd name="T25" fmla="*/ 30 h 30"/>
                <a:gd name="T26" fmla="*/ 2 w 26"/>
                <a:gd name="T27" fmla="*/ 30 h 30"/>
                <a:gd name="T28" fmla="*/ 3 w 26"/>
                <a:gd name="T29" fmla="*/ 30 h 30"/>
                <a:gd name="T30" fmla="*/ 4 w 26"/>
                <a:gd name="T31" fmla="*/ 30 h 30"/>
                <a:gd name="T32" fmla="*/ 4 w 26"/>
                <a:gd name="T33" fmla="*/ 30 h 30"/>
                <a:gd name="T34" fmla="*/ 4 w 26"/>
                <a:gd name="T35" fmla="*/ 30 h 30"/>
                <a:gd name="T36" fmla="*/ 7 w 26"/>
                <a:gd name="T37" fmla="*/ 22 h 30"/>
                <a:gd name="T38" fmla="*/ 19 w 26"/>
                <a:gd name="T39" fmla="*/ 22 h 30"/>
                <a:gd name="T40" fmla="*/ 22 w 26"/>
                <a:gd name="T41" fmla="*/ 30 h 30"/>
                <a:gd name="T42" fmla="*/ 22 w 26"/>
                <a:gd name="T43" fmla="*/ 30 h 30"/>
                <a:gd name="T44" fmla="*/ 22 w 26"/>
                <a:gd name="T45" fmla="*/ 30 h 30"/>
                <a:gd name="T46" fmla="*/ 23 w 26"/>
                <a:gd name="T47" fmla="*/ 30 h 30"/>
                <a:gd name="T48" fmla="*/ 24 w 26"/>
                <a:gd name="T49" fmla="*/ 30 h 30"/>
                <a:gd name="T50" fmla="*/ 25 w 26"/>
                <a:gd name="T51" fmla="*/ 30 h 30"/>
                <a:gd name="T52" fmla="*/ 26 w 26"/>
                <a:gd name="T53" fmla="*/ 30 h 30"/>
                <a:gd name="T54" fmla="*/ 26 w 26"/>
                <a:gd name="T55" fmla="*/ 30 h 30"/>
                <a:gd name="T56" fmla="*/ 26 w 26"/>
                <a:gd name="T57" fmla="*/ 29 h 30"/>
                <a:gd name="T58" fmla="*/ 16 w 26"/>
                <a:gd name="T59" fmla="*/ 1 h 30"/>
                <a:gd name="T60" fmla="*/ 18 w 26"/>
                <a:gd name="T61" fmla="*/ 19 h 30"/>
                <a:gd name="T62" fmla="*/ 8 w 26"/>
                <a:gd name="T63" fmla="*/ 19 h 30"/>
                <a:gd name="T64" fmla="*/ 13 w 26"/>
                <a:gd name="T65" fmla="*/ 4 h 30"/>
                <a:gd name="T66" fmla="*/ 13 w 26"/>
                <a:gd name="T67" fmla="*/ 4 h 30"/>
                <a:gd name="T68" fmla="*/ 18 w 26"/>
                <a:gd name="T6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6" y="1"/>
                  </a:moveTo>
                  <a:cubicBezTo>
                    <a:pt x="16" y="0"/>
                    <a:pt x="16" y="0"/>
                    <a:pt x="16" y="0"/>
                  </a:cubicBezTo>
                  <a:cubicBezTo>
                    <a:pt x="16" y="0"/>
                    <a:pt x="15" y="0"/>
                    <a:pt x="15" y="0"/>
                  </a:cubicBezTo>
                  <a:cubicBezTo>
                    <a:pt x="15" y="0"/>
                    <a:pt x="15" y="0"/>
                    <a:pt x="14" y="0"/>
                  </a:cubicBezTo>
                  <a:cubicBezTo>
                    <a:pt x="14" y="0"/>
                    <a:pt x="14" y="0"/>
                    <a:pt x="13" y="0"/>
                  </a:cubicBezTo>
                  <a:cubicBezTo>
                    <a:pt x="13" y="0"/>
                    <a:pt x="12" y="0"/>
                    <a:pt x="12" y="0"/>
                  </a:cubicBezTo>
                  <a:cubicBezTo>
                    <a:pt x="12" y="0"/>
                    <a:pt x="11" y="0"/>
                    <a:pt x="11" y="0"/>
                  </a:cubicBezTo>
                  <a:cubicBezTo>
                    <a:pt x="11" y="0"/>
                    <a:pt x="11" y="0"/>
                    <a:pt x="11" y="0"/>
                  </a:cubicBezTo>
                  <a:cubicBezTo>
                    <a:pt x="11" y="0"/>
                    <a:pt x="11" y="0"/>
                    <a:pt x="11" y="1"/>
                  </a:cubicBezTo>
                  <a:cubicBezTo>
                    <a:pt x="0" y="29"/>
                    <a:pt x="0" y="29"/>
                    <a:pt x="0" y="29"/>
                  </a:cubicBezTo>
                  <a:cubicBezTo>
                    <a:pt x="0" y="29"/>
                    <a:pt x="0" y="29"/>
                    <a:pt x="0" y="30"/>
                  </a:cubicBezTo>
                  <a:cubicBezTo>
                    <a:pt x="0" y="30"/>
                    <a:pt x="0" y="30"/>
                    <a:pt x="0" y="30"/>
                  </a:cubicBezTo>
                  <a:cubicBezTo>
                    <a:pt x="0" y="30"/>
                    <a:pt x="1" y="30"/>
                    <a:pt x="1" y="30"/>
                  </a:cubicBezTo>
                  <a:cubicBezTo>
                    <a:pt x="1" y="30"/>
                    <a:pt x="2" y="30"/>
                    <a:pt x="2" y="30"/>
                  </a:cubicBezTo>
                  <a:cubicBezTo>
                    <a:pt x="2" y="30"/>
                    <a:pt x="3" y="30"/>
                    <a:pt x="3" y="30"/>
                  </a:cubicBezTo>
                  <a:cubicBezTo>
                    <a:pt x="3" y="30"/>
                    <a:pt x="4" y="30"/>
                    <a:pt x="4" y="30"/>
                  </a:cubicBezTo>
                  <a:cubicBezTo>
                    <a:pt x="4" y="30"/>
                    <a:pt x="4" y="30"/>
                    <a:pt x="4" y="30"/>
                  </a:cubicBezTo>
                  <a:cubicBezTo>
                    <a:pt x="4" y="30"/>
                    <a:pt x="4" y="30"/>
                    <a:pt x="4" y="30"/>
                  </a:cubicBezTo>
                  <a:cubicBezTo>
                    <a:pt x="7" y="22"/>
                    <a:pt x="7" y="22"/>
                    <a:pt x="7" y="22"/>
                  </a:cubicBezTo>
                  <a:cubicBezTo>
                    <a:pt x="19" y="22"/>
                    <a:pt x="19" y="22"/>
                    <a:pt x="19" y="22"/>
                  </a:cubicBezTo>
                  <a:cubicBezTo>
                    <a:pt x="22" y="30"/>
                    <a:pt x="22" y="30"/>
                    <a:pt x="22" y="30"/>
                  </a:cubicBezTo>
                  <a:cubicBezTo>
                    <a:pt x="22" y="30"/>
                    <a:pt x="22" y="30"/>
                    <a:pt x="22" y="30"/>
                  </a:cubicBezTo>
                  <a:cubicBezTo>
                    <a:pt x="22" y="30"/>
                    <a:pt x="22" y="30"/>
                    <a:pt x="22" y="30"/>
                  </a:cubicBezTo>
                  <a:cubicBezTo>
                    <a:pt x="23" y="30"/>
                    <a:pt x="23" y="30"/>
                    <a:pt x="23" y="30"/>
                  </a:cubicBezTo>
                  <a:cubicBezTo>
                    <a:pt x="23" y="30"/>
                    <a:pt x="24" y="30"/>
                    <a:pt x="24" y="30"/>
                  </a:cubicBezTo>
                  <a:cubicBezTo>
                    <a:pt x="25" y="30"/>
                    <a:pt x="25" y="30"/>
                    <a:pt x="25" y="30"/>
                  </a:cubicBezTo>
                  <a:cubicBezTo>
                    <a:pt x="26" y="30"/>
                    <a:pt x="26" y="30"/>
                    <a:pt x="26" y="30"/>
                  </a:cubicBezTo>
                  <a:cubicBezTo>
                    <a:pt x="26" y="30"/>
                    <a:pt x="26" y="30"/>
                    <a:pt x="26" y="30"/>
                  </a:cubicBezTo>
                  <a:cubicBezTo>
                    <a:pt x="26" y="29"/>
                    <a:pt x="26" y="29"/>
                    <a:pt x="26" y="29"/>
                  </a:cubicBezTo>
                  <a:cubicBezTo>
                    <a:pt x="16" y="1"/>
                    <a:pt x="16" y="1"/>
                    <a:pt x="16" y="1"/>
                  </a:cubicBezTo>
                  <a:close/>
                  <a:moveTo>
                    <a:pt x="18" y="19"/>
                  </a:moveTo>
                  <a:cubicBezTo>
                    <a:pt x="8" y="19"/>
                    <a:pt x="8" y="19"/>
                    <a:pt x="8" y="19"/>
                  </a:cubicBezTo>
                  <a:cubicBezTo>
                    <a:pt x="13" y="4"/>
                    <a:pt x="13" y="4"/>
                    <a:pt x="13" y="4"/>
                  </a:cubicBezTo>
                  <a:cubicBezTo>
                    <a:pt x="13" y="4"/>
                    <a:pt x="13" y="4"/>
                    <a:pt x="13" y="4"/>
                  </a:cubicBezTo>
                  <a:cubicBezTo>
                    <a:pt x="18" y="19"/>
                    <a:pt x="18" y="19"/>
                    <a:pt x="18" y="19"/>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 name="Freeform 235">
              <a:extLst>
                <a:ext uri="{FF2B5EF4-FFF2-40B4-BE49-F238E27FC236}">
                  <a16:creationId xmlns:a16="http://schemas.microsoft.com/office/drawing/2014/main" id="{FFA0CD5A-1391-4228-8FDE-EFB126452207}"/>
                </a:ext>
              </a:extLst>
            </p:cNvPr>
            <p:cNvSpPr>
              <a:spLocks noEditPoints="1"/>
            </p:cNvSpPr>
            <p:nvPr/>
          </p:nvSpPr>
          <p:spPr bwMode="auto">
            <a:xfrm>
              <a:off x="5882511" y="5301174"/>
              <a:ext cx="69260" cy="109661"/>
            </a:xfrm>
            <a:custGeom>
              <a:avLst/>
              <a:gdLst>
                <a:gd name="T0" fmla="*/ 20 w 20"/>
                <a:gd name="T1" fmla="*/ 1 h 32"/>
                <a:gd name="T2" fmla="*/ 12 w 20"/>
                <a:gd name="T3" fmla="*/ 1 h 32"/>
                <a:gd name="T4" fmla="*/ 6 w 20"/>
                <a:gd name="T5" fmla="*/ 1 h 32"/>
                <a:gd name="T6" fmla="*/ 2 w 20"/>
                <a:gd name="T7" fmla="*/ 5 h 32"/>
                <a:gd name="T8" fmla="*/ 2 w 20"/>
                <a:gd name="T9" fmla="*/ 11 h 32"/>
                <a:gd name="T10" fmla="*/ 2 w 20"/>
                <a:gd name="T11" fmla="*/ 15 h 32"/>
                <a:gd name="T12" fmla="*/ 2 w 20"/>
                <a:gd name="T13" fmla="*/ 19 h 32"/>
                <a:gd name="T14" fmla="*/ 2 w 20"/>
                <a:gd name="T15" fmla="*/ 22 h 32"/>
                <a:gd name="T16" fmla="*/ 1 w 20"/>
                <a:gd name="T17" fmla="*/ 25 h 32"/>
                <a:gd name="T18" fmla="*/ 1 w 20"/>
                <a:gd name="T19" fmla="*/ 28 h 32"/>
                <a:gd name="T20" fmla="*/ 5 w 20"/>
                <a:gd name="T21" fmla="*/ 31 h 32"/>
                <a:gd name="T22" fmla="*/ 14 w 20"/>
                <a:gd name="T23" fmla="*/ 31 h 32"/>
                <a:gd name="T24" fmla="*/ 19 w 20"/>
                <a:gd name="T25" fmla="*/ 27 h 32"/>
                <a:gd name="T26" fmla="*/ 20 w 20"/>
                <a:gd name="T27" fmla="*/ 22 h 32"/>
                <a:gd name="T28" fmla="*/ 16 w 20"/>
                <a:gd name="T29" fmla="*/ 19 h 32"/>
                <a:gd name="T30" fmla="*/ 7 w 20"/>
                <a:gd name="T31" fmla="*/ 19 h 32"/>
                <a:gd name="T32" fmla="*/ 5 w 20"/>
                <a:gd name="T33" fmla="*/ 17 h 32"/>
                <a:gd name="T34" fmla="*/ 6 w 20"/>
                <a:gd name="T35" fmla="*/ 14 h 32"/>
                <a:gd name="T36" fmla="*/ 10 w 20"/>
                <a:gd name="T37" fmla="*/ 16 h 32"/>
                <a:gd name="T38" fmla="*/ 16 w 20"/>
                <a:gd name="T39" fmla="*/ 14 h 32"/>
                <a:gd name="T40" fmla="*/ 18 w 20"/>
                <a:gd name="T41" fmla="*/ 8 h 32"/>
                <a:gd name="T42" fmla="*/ 16 w 20"/>
                <a:gd name="T43" fmla="*/ 4 h 32"/>
                <a:gd name="T44" fmla="*/ 20 w 20"/>
                <a:gd name="T45" fmla="*/ 4 h 32"/>
                <a:gd name="T46" fmla="*/ 20 w 20"/>
                <a:gd name="T47" fmla="*/ 1 h 32"/>
                <a:gd name="T48" fmla="*/ 13 w 20"/>
                <a:gd name="T49" fmla="*/ 11 h 32"/>
                <a:gd name="T50" fmla="*/ 10 w 20"/>
                <a:gd name="T51" fmla="*/ 13 h 32"/>
                <a:gd name="T52" fmla="*/ 5 w 20"/>
                <a:gd name="T53" fmla="*/ 8 h 32"/>
                <a:gd name="T54" fmla="*/ 6 w 20"/>
                <a:gd name="T55" fmla="*/ 5 h 32"/>
                <a:gd name="T56" fmla="*/ 10 w 20"/>
                <a:gd name="T57" fmla="*/ 3 h 32"/>
                <a:gd name="T58" fmla="*/ 14 w 20"/>
                <a:gd name="T59" fmla="*/ 8 h 32"/>
                <a:gd name="T60" fmla="*/ 16 w 20"/>
                <a:gd name="T61" fmla="*/ 26 h 32"/>
                <a:gd name="T62" fmla="*/ 13 w 20"/>
                <a:gd name="T63" fmla="*/ 28 h 32"/>
                <a:gd name="T64" fmla="*/ 6 w 20"/>
                <a:gd name="T65" fmla="*/ 28 h 32"/>
                <a:gd name="T66" fmla="*/ 4 w 20"/>
                <a:gd name="T67" fmla="*/ 25 h 32"/>
                <a:gd name="T68" fmla="*/ 5 w 20"/>
                <a:gd name="T69" fmla="*/ 23 h 32"/>
                <a:gd name="T70" fmla="*/ 12 w 20"/>
                <a:gd name="T71" fmla="*/ 22 h 32"/>
                <a:gd name="T72" fmla="*/ 16 w 20"/>
                <a:gd name="T73"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32">
                  <a:moveTo>
                    <a:pt x="20" y="1"/>
                  </a:moveTo>
                  <a:cubicBezTo>
                    <a:pt x="20" y="1"/>
                    <a:pt x="20" y="1"/>
                    <a:pt x="20" y="1"/>
                  </a:cubicBezTo>
                  <a:cubicBezTo>
                    <a:pt x="13" y="1"/>
                    <a:pt x="13" y="1"/>
                    <a:pt x="13" y="1"/>
                  </a:cubicBezTo>
                  <a:cubicBezTo>
                    <a:pt x="13" y="1"/>
                    <a:pt x="12" y="1"/>
                    <a:pt x="12" y="1"/>
                  </a:cubicBezTo>
                  <a:cubicBezTo>
                    <a:pt x="11" y="1"/>
                    <a:pt x="10" y="0"/>
                    <a:pt x="10" y="0"/>
                  </a:cubicBezTo>
                  <a:cubicBezTo>
                    <a:pt x="9" y="0"/>
                    <a:pt x="7" y="1"/>
                    <a:pt x="6" y="1"/>
                  </a:cubicBezTo>
                  <a:cubicBezTo>
                    <a:pt x="5" y="1"/>
                    <a:pt x="5" y="2"/>
                    <a:pt x="4" y="3"/>
                  </a:cubicBezTo>
                  <a:cubicBezTo>
                    <a:pt x="3" y="3"/>
                    <a:pt x="3" y="4"/>
                    <a:pt x="2" y="5"/>
                  </a:cubicBezTo>
                  <a:cubicBezTo>
                    <a:pt x="2" y="6"/>
                    <a:pt x="2" y="7"/>
                    <a:pt x="2" y="8"/>
                  </a:cubicBezTo>
                  <a:cubicBezTo>
                    <a:pt x="2" y="9"/>
                    <a:pt x="2" y="10"/>
                    <a:pt x="2" y="11"/>
                  </a:cubicBezTo>
                  <a:cubicBezTo>
                    <a:pt x="2" y="12"/>
                    <a:pt x="3" y="12"/>
                    <a:pt x="3" y="13"/>
                  </a:cubicBezTo>
                  <a:cubicBezTo>
                    <a:pt x="3" y="13"/>
                    <a:pt x="2" y="14"/>
                    <a:pt x="2" y="15"/>
                  </a:cubicBezTo>
                  <a:cubicBezTo>
                    <a:pt x="1" y="16"/>
                    <a:pt x="1" y="16"/>
                    <a:pt x="1" y="17"/>
                  </a:cubicBezTo>
                  <a:cubicBezTo>
                    <a:pt x="1" y="18"/>
                    <a:pt x="1" y="19"/>
                    <a:pt x="2" y="19"/>
                  </a:cubicBezTo>
                  <a:cubicBezTo>
                    <a:pt x="2" y="20"/>
                    <a:pt x="3" y="20"/>
                    <a:pt x="3" y="21"/>
                  </a:cubicBezTo>
                  <a:cubicBezTo>
                    <a:pt x="3" y="21"/>
                    <a:pt x="2" y="22"/>
                    <a:pt x="2" y="22"/>
                  </a:cubicBezTo>
                  <a:cubicBezTo>
                    <a:pt x="2" y="22"/>
                    <a:pt x="1" y="23"/>
                    <a:pt x="1" y="23"/>
                  </a:cubicBezTo>
                  <a:cubicBezTo>
                    <a:pt x="1" y="24"/>
                    <a:pt x="1" y="24"/>
                    <a:pt x="1" y="25"/>
                  </a:cubicBezTo>
                  <a:cubicBezTo>
                    <a:pt x="0" y="25"/>
                    <a:pt x="0" y="26"/>
                    <a:pt x="0" y="26"/>
                  </a:cubicBezTo>
                  <a:cubicBezTo>
                    <a:pt x="0" y="27"/>
                    <a:pt x="1" y="28"/>
                    <a:pt x="1" y="28"/>
                  </a:cubicBezTo>
                  <a:cubicBezTo>
                    <a:pt x="1" y="29"/>
                    <a:pt x="2" y="30"/>
                    <a:pt x="3" y="30"/>
                  </a:cubicBezTo>
                  <a:cubicBezTo>
                    <a:pt x="3" y="31"/>
                    <a:pt x="4" y="31"/>
                    <a:pt x="5" y="31"/>
                  </a:cubicBezTo>
                  <a:cubicBezTo>
                    <a:pt x="7" y="32"/>
                    <a:pt x="8" y="32"/>
                    <a:pt x="10" y="32"/>
                  </a:cubicBezTo>
                  <a:cubicBezTo>
                    <a:pt x="12" y="32"/>
                    <a:pt x="13" y="32"/>
                    <a:pt x="14" y="31"/>
                  </a:cubicBezTo>
                  <a:cubicBezTo>
                    <a:pt x="16" y="31"/>
                    <a:pt x="17" y="30"/>
                    <a:pt x="18" y="30"/>
                  </a:cubicBezTo>
                  <a:cubicBezTo>
                    <a:pt x="18" y="29"/>
                    <a:pt x="19" y="28"/>
                    <a:pt x="19" y="27"/>
                  </a:cubicBezTo>
                  <a:cubicBezTo>
                    <a:pt x="20" y="26"/>
                    <a:pt x="20" y="25"/>
                    <a:pt x="20" y="25"/>
                  </a:cubicBezTo>
                  <a:cubicBezTo>
                    <a:pt x="20" y="24"/>
                    <a:pt x="20" y="23"/>
                    <a:pt x="20" y="22"/>
                  </a:cubicBezTo>
                  <a:cubicBezTo>
                    <a:pt x="19" y="21"/>
                    <a:pt x="19" y="21"/>
                    <a:pt x="18" y="20"/>
                  </a:cubicBezTo>
                  <a:cubicBezTo>
                    <a:pt x="17" y="20"/>
                    <a:pt x="17" y="19"/>
                    <a:pt x="16" y="19"/>
                  </a:cubicBezTo>
                  <a:cubicBezTo>
                    <a:pt x="15" y="19"/>
                    <a:pt x="14" y="19"/>
                    <a:pt x="13" y="19"/>
                  </a:cubicBezTo>
                  <a:cubicBezTo>
                    <a:pt x="7" y="19"/>
                    <a:pt x="7" y="19"/>
                    <a:pt x="7" y="19"/>
                  </a:cubicBezTo>
                  <a:cubicBezTo>
                    <a:pt x="7" y="19"/>
                    <a:pt x="6" y="18"/>
                    <a:pt x="5" y="18"/>
                  </a:cubicBezTo>
                  <a:cubicBezTo>
                    <a:pt x="5" y="18"/>
                    <a:pt x="5" y="17"/>
                    <a:pt x="5" y="17"/>
                  </a:cubicBezTo>
                  <a:cubicBezTo>
                    <a:pt x="5" y="16"/>
                    <a:pt x="5" y="16"/>
                    <a:pt x="5" y="15"/>
                  </a:cubicBezTo>
                  <a:cubicBezTo>
                    <a:pt x="5" y="15"/>
                    <a:pt x="5" y="15"/>
                    <a:pt x="6" y="14"/>
                  </a:cubicBezTo>
                  <a:cubicBezTo>
                    <a:pt x="6" y="15"/>
                    <a:pt x="7" y="15"/>
                    <a:pt x="7" y="15"/>
                  </a:cubicBezTo>
                  <a:cubicBezTo>
                    <a:pt x="8" y="16"/>
                    <a:pt x="9" y="16"/>
                    <a:pt x="10" y="16"/>
                  </a:cubicBezTo>
                  <a:cubicBezTo>
                    <a:pt x="11" y="16"/>
                    <a:pt x="12" y="15"/>
                    <a:pt x="13" y="15"/>
                  </a:cubicBezTo>
                  <a:cubicBezTo>
                    <a:pt x="14" y="15"/>
                    <a:pt x="15" y="14"/>
                    <a:pt x="16" y="14"/>
                  </a:cubicBezTo>
                  <a:cubicBezTo>
                    <a:pt x="16" y="13"/>
                    <a:pt x="17" y="12"/>
                    <a:pt x="17" y="11"/>
                  </a:cubicBezTo>
                  <a:cubicBezTo>
                    <a:pt x="18" y="10"/>
                    <a:pt x="18" y="9"/>
                    <a:pt x="18" y="8"/>
                  </a:cubicBezTo>
                  <a:cubicBezTo>
                    <a:pt x="18" y="7"/>
                    <a:pt x="18" y="7"/>
                    <a:pt x="18" y="6"/>
                  </a:cubicBezTo>
                  <a:cubicBezTo>
                    <a:pt x="17" y="5"/>
                    <a:pt x="17" y="5"/>
                    <a:pt x="16" y="4"/>
                  </a:cubicBezTo>
                  <a:cubicBezTo>
                    <a:pt x="20" y="4"/>
                    <a:pt x="20" y="4"/>
                    <a:pt x="20" y="4"/>
                  </a:cubicBezTo>
                  <a:cubicBezTo>
                    <a:pt x="20" y="4"/>
                    <a:pt x="20" y="4"/>
                    <a:pt x="20" y="4"/>
                  </a:cubicBezTo>
                  <a:cubicBezTo>
                    <a:pt x="20" y="3"/>
                    <a:pt x="20" y="3"/>
                    <a:pt x="20" y="2"/>
                  </a:cubicBezTo>
                  <a:cubicBezTo>
                    <a:pt x="20" y="2"/>
                    <a:pt x="20" y="2"/>
                    <a:pt x="20" y="1"/>
                  </a:cubicBezTo>
                  <a:close/>
                  <a:moveTo>
                    <a:pt x="14" y="10"/>
                  </a:moveTo>
                  <a:cubicBezTo>
                    <a:pt x="14" y="10"/>
                    <a:pt x="14" y="11"/>
                    <a:pt x="13" y="11"/>
                  </a:cubicBezTo>
                  <a:cubicBezTo>
                    <a:pt x="13" y="12"/>
                    <a:pt x="12" y="12"/>
                    <a:pt x="12" y="12"/>
                  </a:cubicBezTo>
                  <a:cubicBezTo>
                    <a:pt x="11" y="13"/>
                    <a:pt x="11" y="13"/>
                    <a:pt x="10" y="13"/>
                  </a:cubicBezTo>
                  <a:cubicBezTo>
                    <a:pt x="8" y="13"/>
                    <a:pt x="7" y="12"/>
                    <a:pt x="6" y="11"/>
                  </a:cubicBezTo>
                  <a:cubicBezTo>
                    <a:pt x="6" y="11"/>
                    <a:pt x="5" y="10"/>
                    <a:pt x="5" y="8"/>
                  </a:cubicBezTo>
                  <a:cubicBezTo>
                    <a:pt x="5" y="8"/>
                    <a:pt x="5" y="7"/>
                    <a:pt x="6" y="6"/>
                  </a:cubicBezTo>
                  <a:cubicBezTo>
                    <a:pt x="6" y="6"/>
                    <a:pt x="6" y="5"/>
                    <a:pt x="6" y="5"/>
                  </a:cubicBezTo>
                  <a:cubicBezTo>
                    <a:pt x="7" y="4"/>
                    <a:pt x="7" y="4"/>
                    <a:pt x="8" y="4"/>
                  </a:cubicBezTo>
                  <a:cubicBezTo>
                    <a:pt x="8" y="4"/>
                    <a:pt x="9" y="3"/>
                    <a:pt x="10" y="3"/>
                  </a:cubicBezTo>
                  <a:cubicBezTo>
                    <a:pt x="11" y="3"/>
                    <a:pt x="12" y="4"/>
                    <a:pt x="13" y="5"/>
                  </a:cubicBezTo>
                  <a:cubicBezTo>
                    <a:pt x="14" y="5"/>
                    <a:pt x="14" y="7"/>
                    <a:pt x="14" y="8"/>
                  </a:cubicBezTo>
                  <a:cubicBezTo>
                    <a:pt x="14" y="9"/>
                    <a:pt x="14" y="9"/>
                    <a:pt x="14" y="10"/>
                  </a:cubicBezTo>
                  <a:close/>
                  <a:moveTo>
                    <a:pt x="16" y="26"/>
                  </a:moveTo>
                  <a:cubicBezTo>
                    <a:pt x="16" y="27"/>
                    <a:pt x="15" y="27"/>
                    <a:pt x="15" y="28"/>
                  </a:cubicBezTo>
                  <a:cubicBezTo>
                    <a:pt x="14" y="28"/>
                    <a:pt x="14" y="28"/>
                    <a:pt x="13" y="28"/>
                  </a:cubicBezTo>
                  <a:cubicBezTo>
                    <a:pt x="12" y="29"/>
                    <a:pt x="11" y="29"/>
                    <a:pt x="10" y="29"/>
                  </a:cubicBezTo>
                  <a:cubicBezTo>
                    <a:pt x="8" y="29"/>
                    <a:pt x="7" y="29"/>
                    <a:pt x="6" y="28"/>
                  </a:cubicBezTo>
                  <a:cubicBezTo>
                    <a:pt x="5" y="27"/>
                    <a:pt x="4" y="27"/>
                    <a:pt x="4" y="26"/>
                  </a:cubicBezTo>
                  <a:cubicBezTo>
                    <a:pt x="4" y="25"/>
                    <a:pt x="4" y="25"/>
                    <a:pt x="4" y="25"/>
                  </a:cubicBezTo>
                  <a:cubicBezTo>
                    <a:pt x="4" y="24"/>
                    <a:pt x="4" y="24"/>
                    <a:pt x="5" y="24"/>
                  </a:cubicBezTo>
                  <a:cubicBezTo>
                    <a:pt x="5" y="23"/>
                    <a:pt x="5" y="23"/>
                    <a:pt x="5" y="23"/>
                  </a:cubicBezTo>
                  <a:cubicBezTo>
                    <a:pt x="6" y="22"/>
                    <a:pt x="6" y="22"/>
                    <a:pt x="7" y="22"/>
                  </a:cubicBezTo>
                  <a:cubicBezTo>
                    <a:pt x="12" y="22"/>
                    <a:pt x="12" y="22"/>
                    <a:pt x="12" y="22"/>
                  </a:cubicBezTo>
                  <a:cubicBezTo>
                    <a:pt x="13" y="22"/>
                    <a:pt x="14" y="22"/>
                    <a:pt x="15" y="23"/>
                  </a:cubicBezTo>
                  <a:cubicBezTo>
                    <a:pt x="16" y="23"/>
                    <a:pt x="16" y="24"/>
                    <a:pt x="16" y="25"/>
                  </a:cubicBezTo>
                  <a:cubicBezTo>
                    <a:pt x="16" y="25"/>
                    <a:pt x="16" y="26"/>
                    <a:pt x="16" y="26"/>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 name="Freeform 236">
              <a:extLst>
                <a:ext uri="{FF2B5EF4-FFF2-40B4-BE49-F238E27FC236}">
                  <a16:creationId xmlns:a16="http://schemas.microsoft.com/office/drawing/2014/main" id="{2FB501F8-4B1F-4D94-8A44-3340F69CBF7D}"/>
                </a:ext>
              </a:extLst>
            </p:cNvPr>
            <p:cNvSpPr>
              <a:spLocks noEditPoints="1"/>
            </p:cNvSpPr>
            <p:nvPr/>
          </p:nvSpPr>
          <p:spPr bwMode="auto">
            <a:xfrm>
              <a:off x="5967643" y="5273759"/>
              <a:ext cx="17315" cy="105333"/>
            </a:xfrm>
            <a:custGeom>
              <a:avLst/>
              <a:gdLst>
                <a:gd name="T0" fmla="*/ 4 w 5"/>
                <a:gd name="T1" fmla="*/ 10 h 31"/>
                <a:gd name="T2" fmla="*/ 4 w 5"/>
                <a:gd name="T3" fmla="*/ 9 h 31"/>
                <a:gd name="T4" fmla="*/ 4 w 5"/>
                <a:gd name="T5" fmla="*/ 9 h 31"/>
                <a:gd name="T6" fmla="*/ 3 w 5"/>
                <a:gd name="T7" fmla="*/ 9 h 31"/>
                <a:gd name="T8" fmla="*/ 2 w 5"/>
                <a:gd name="T9" fmla="*/ 9 h 31"/>
                <a:gd name="T10" fmla="*/ 1 w 5"/>
                <a:gd name="T11" fmla="*/ 9 h 31"/>
                <a:gd name="T12" fmla="*/ 1 w 5"/>
                <a:gd name="T13" fmla="*/ 9 h 31"/>
                <a:gd name="T14" fmla="*/ 0 w 5"/>
                <a:gd name="T15" fmla="*/ 9 h 31"/>
                <a:gd name="T16" fmla="*/ 0 w 5"/>
                <a:gd name="T17" fmla="*/ 10 h 31"/>
                <a:gd name="T18" fmla="*/ 0 w 5"/>
                <a:gd name="T19" fmla="*/ 31 h 31"/>
                <a:gd name="T20" fmla="*/ 0 w 5"/>
                <a:gd name="T21" fmla="*/ 31 h 31"/>
                <a:gd name="T22" fmla="*/ 1 w 5"/>
                <a:gd name="T23" fmla="*/ 31 h 31"/>
                <a:gd name="T24" fmla="*/ 1 w 5"/>
                <a:gd name="T25" fmla="*/ 31 h 31"/>
                <a:gd name="T26" fmla="*/ 2 w 5"/>
                <a:gd name="T27" fmla="*/ 31 h 31"/>
                <a:gd name="T28" fmla="*/ 3 w 5"/>
                <a:gd name="T29" fmla="*/ 31 h 31"/>
                <a:gd name="T30" fmla="*/ 4 w 5"/>
                <a:gd name="T31" fmla="*/ 31 h 31"/>
                <a:gd name="T32" fmla="*/ 4 w 5"/>
                <a:gd name="T33" fmla="*/ 31 h 31"/>
                <a:gd name="T34" fmla="*/ 4 w 5"/>
                <a:gd name="T35" fmla="*/ 31 h 31"/>
                <a:gd name="T36" fmla="*/ 4 w 5"/>
                <a:gd name="T37" fmla="*/ 10 h 31"/>
                <a:gd name="T38" fmla="*/ 4 w 5"/>
                <a:gd name="T39" fmla="*/ 1 h 31"/>
                <a:gd name="T40" fmla="*/ 2 w 5"/>
                <a:gd name="T41" fmla="*/ 0 h 31"/>
                <a:gd name="T42" fmla="*/ 0 w 5"/>
                <a:gd name="T43" fmla="*/ 1 h 31"/>
                <a:gd name="T44" fmla="*/ 0 w 5"/>
                <a:gd name="T45" fmla="*/ 2 h 31"/>
                <a:gd name="T46" fmla="*/ 0 w 5"/>
                <a:gd name="T47" fmla="*/ 4 h 31"/>
                <a:gd name="T48" fmla="*/ 2 w 5"/>
                <a:gd name="T49" fmla="*/ 5 h 31"/>
                <a:gd name="T50" fmla="*/ 4 w 5"/>
                <a:gd name="T51" fmla="*/ 4 h 31"/>
                <a:gd name="T52" fmla="*/ 5 w 5"/>
                <a:gd name="T53" fmla="*/ 2 h 31"/>
                <a:gd name="T54" fmla="*/ 4 w 5"/>
                <a:gd name="T5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4" y="10"/>
                  </a:moveTo>
                  <a:cubicBezTo>
                    <a:pt x="4" y="9"/>
                    <a:pt x="4" y="9"/>
                    <a:pt x="4" y="9"/>
                  </a:cubicBezTo>
                  <a:cubicBezTo>
                    <a:pt x="4" y="9"/>
                    <a:pt x="4" y="9"/>
                    <a:pt x="4" y="9"/>
                  </a:cubicBezTo>
                  <a:cubicBezTo>
                    <a:pt x="4" y="9"/>
                    <a:pt x="3" y="9"/>
                    <a:pt x="3" y="9"/>
                  </a:cubicBezTo>
                  <a:cubicBezTo>
                    <a:pt x="3" y="9"/>
                    <a:pt x="3" y="9"/>
                    <a:pt x="2" y="9"/>
                  </a:cubicBezTo>
                  <a:cubicBezTo>
                    <a:pt x="2" y="9"/>
                    <a:pt x="2" y="9"/>
                    <a:pt x="1" y="9"/>
                  </a:cubicBezTo>
                  <a:cubicBezTo>
                    <a:pt x="1" y="9"/>
                    <a:pt x="1" y="9"/>
                    <a:pt x="1" y="9"/>
                  </a:cubicBezTo>
                  <a:cubicBezTo>
                    <a:pt x="1" y="9"/>
                    <a:pt x="0" y="9"/>
                    <a:pt x="0" y="9"/>
                  </a:cubicBezTo>
                  <a:cubicBezTo>
                    <a:pt x="0" y="9"/>
                    <a:pt x="0" y="9"/>
                    <a:pt x="0" y="10"/>
                  </a:cubicBezTo>
                  <a:cubicBezTo>
                    <a:pt x="0" y="31"/>
                    <a:pt x="0" y="31"/>
                    <a:pt x="0" y="31"/>
                  </a:cubicBezTo>
                  <a:cubicBezTo>
                    <a:pt x="0" y="31"/>
                    <a:pt x="0" y="31"/>
                    <a:pt x="0" y="31"/>
                  </a:cubicBezTo>
                  <a:cubicBezTo>
                    <a:pt x="0" y="31"/>
                    <a:pt x="1" y="31"/>
                    <a:pt x="1" y="31"/>
                  </a:cubicBezTo>
                  <a:cubicBezTo>
                    <a:pt x="1" y="31"/>
                    <a:pt x="1" y="31"/>
                    <a:pt x="1" y="31"/>
                  </a:cubicBezTo>
                  <a:cubicBezTo>
                    <a:pt x="2" y="31"/>
                    <a:pt x="2" y="31"/>
                    <a:pt x="2" y="31"/>
                  </a:cubicBezTo>
                  <a:cubicBezTo>
                    <a:pt x="3" y="31"/>
                    <a:pt x="3" y="31"/>
                    <a:pt x="3" y="31"/>
                  </a:cubicBezTo>
                  <a:cubicBezTo>
                    <a:pt x="3" y="31"/>
                    <a:pt x="4" y="31"/>
                    <a:pt x="4" y="31"/>
                  </a:cubicBezTo>
                  <a:cubicBezTo>
                    <a:pt x="4" y="31"/>
                    <a:pt x="4" y="31"/>
                    <a:pt x="4" y="31"/>
                  </a:cubicBezTo>
                  <a:cubicBezTo>
                    <a:pt x="4" y="31"/>
                    <a:pt x="4" y="31"/>
                    <a:pt x="4" y="31"/>
                  </a:cubicBezTo>
                  <a:cubicBezTo>
                    <a:pt x="4" y="10"/>
                    <a:pt x="4" y="10"/>
                    <a:pt x="4" y="10"/>
                  </a:cubicBezTo>
                  <a:close/>
                  <a:moveTo>
                    <a:pt x="4" y="1"/>
                  </a:moveTo>
                  <a:cubicBezTo>
                    <a:pt x="4" y="0"/>
                    <a:pt x="3" y="0"/>
                    <a:pt x="2" y="0"/>
                  </a:cubicBezTo>
                  <a:cubicBezTo>
                    <a:pt x="1" y="0"/>
                    <a:pt x="1" y="0"/>
                    <a:pt x="0" y="1"/>
                  </a:cubicBezTo>
                  <a:cubicBezTo>
                    <a:pt x="0" y="1"/>
                    <a:pt x="0" y="2"/>
                    <a:pt x="0" y="2"/>
                  </a:cubicBezTo>
                  <a:cubicBezTo>
                    <a:pt x="0" y="3"/>
                    <a:pt x="0" y="4"/>
                    <a:pt x="0" y="4"/>
                  </a:cubicBezTo>
                  <a:cubicBezTo>
                    <a:pt x="1" y="5"/>
                    <a:pt x="1" y="5"/>
                    <a:pt x="2" y="5"/>
                  </a:cubicBezTo>
                  <a:cubicBezTo>
                    <a:pt x="3" y="5"/>
                    <a:pt x="4" y="5"/>
                    <a:pt x="4" y="4"/>
                  </a:cubicBezTo>
                  <a:cubicBezTo>
                    <a:pt x="4" y="4"/>
                    <a:pt x="5" y="3"/>
                    <a:pt x="5" y="2"/>
                  </a:cubicBezTo>
                  <a:cubicBezTo>
                    <a:pt x="5" y="1"/>
                    <a:pt x="4" y="1"/>
                    <a:pt x="4" y="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 name="Freeform 237">
              <a:extLst>
                <a:ext uri="{FF2B5EF4-FFF2-40B4-BE49-F238E27FC236}">
                  <a16:creationId xmlns:a16="http://schemas.microsoft.com/office/drawing/2014/main" id="{5C39735E-6C5F-48BB-BAD1-E13373BE81A5}"/>
                </a:ext>
              </a:extLst>
            </p:cNvPr>
            <p:cNvSpPr>
              <a:spLocks/>
            </p:cNvSpPr>
            <p:nvPr/>
          </p:nvSpPr>
          <p:spPr bwMode="auto">
            <a:xfrm>
              <a:off x="6006601" y="5269430"/>
              <a:ext cx="12987" cy="109661"/>
            </a:xfrm>
            <a:custGeom>
              <a:avLst/>
              <a:gdLst>
                <a:gd name="T0" fmla="*/ 4 w 4"/>
                <a:gd name="T1" fmla="*/ 0 h 32"/>
                <a:gd name="T2" fmla="*/ 4 w 4"/>
                <a:gd name="T3" fmla="*/ 0 h 32"/>
                <a:gd name="T4" fmla="*/ 4 w 4"/>
                <a:gd name="T5" fmla="*/ 0 h 32"/>
                <a:gd name="T6" fmla="*/ 3 w 4"/>
                <a:gd name="T7" fmla="*/ 0 h 32"/>
                <a:gd name="T8" fmla="*/ 2 w 4"/>
                <a:gd name="T9" fmla="*/ 0 h 32"/>
                <a:gd name="T10" fmla="*/ 1 w 4"/>
                <a:gd name="T11" fmla="*/ 0 h 32"/>
                <a:gd name="T12" fmla="*/ 1 w 4"/>
                <a:gd name="T13" fmla="*/ 0 h 32"/>
                <a:gd name="T14" fmla="*/ 0 w 4"/>
                <a:gd name="T15" fmla="*/ 0 h 32"/>
                <a:gd name="T16" fmla="*/ 0 w 4"/>
                <a:gd name="T17" fmla="*/ 0 h 32"/>
                <a:gd name="T18" fmla="*/ 0 w 4"/>
                <a:gd name="T19" fmla="*/ 32 h 32"/>
                <a:gd name="T20" fmla="*/ 0 w 4"/>
                <a:gd name="T21" fmla="*/ 32 h 32"/>
                <a:gd name="T22" fmla="*/ 1 w 4"/>
                <a:gd name="T23" fmla="*/ 32 h 32"/>
                <a:gd name="T24" fmla="*/ 1 w 4"/>
                <a:gd name="T25" fmla="*/ 32 h 32"/>
                <a:gd name="T26" fmla="*/ 2 w 4"/>
                <a:gd name="T27" fmla="*/ 32 h 32"/>
                <a:gd name="T28" fmla="*/ 3 w 4"/>
                <a:gd name="T29" fmla="*/ 32 h 32"/>
                <a:gd name="T30" fmla="*/ 4 w 4"/>
                <a:gd name="T31" fmla="*/ 32 h 32"/>
                <a:gd name="T32" fmla="*/ 4 w 4"/>
                <a:gd name="T33" fmla="*/ 32 h 32"/>
                <a:gd name="T34" fmla="*/ 4 w 4"/>
                <a:gd name="T35" fmla="*/ 32 h 32"/>
                <a:gd name="T36" fmla="*/ 4 w 4"/>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32">
                  <a:moveTo>
                    <a:pt x="4" y="0"/>
                  </a:moveTo>
                  <a:cubicBezTo>
                    <a:pt x="4" y="0"/>
                    <a:pt x="4" y="0"/>
                    <a:pt x="4" y="0"/>
                  </a:cubicBezTo>
                  <a:cubicBezTo>
                    <a:pt x="4" y="0"/>
                    <a:pt x="4" y="0"/>
                    <a:pt x="4" y="0"/>
                  </a:cubicBezTo>
                  <a:cubicBezTo>
                    <a:pt x="4" y="0"/>
                    <a:pt x="3" y="0"/>
                    <a:pt x="3" y="0"/>
                  </a:cubicBezTo>
                  <a:cubicBezTo>
                    <a:pt x="3" y="0"/>
                    <a:pt x="3" y="0"/>
                    <a:pt x="2" y="0"/>
                  </a:cubicBezTo>
                  <a:cubicBezTo>
                    <a:pt x="2" y="0"/>
                    <a:pt x="2" y="0"/>
                    <a:pt x="1" y="0"/>
                  </a:cubicBezTo>
                  <a:cubicBezTo>
                    <a:pt x="1" y="0"/>
                    <a:pt x="1" y="0"/>
                    <a:pt x="1" y="0"/>
                  </a:cubicBezTo>
                  <a:cubicBezTo>
                    <a:pt x="1" y="0"/>
                    <a:pt x="0" y="0"/>
                    <a:pt x="0" y="0"/>
                  </a:cubicBezTo>
                  <a:cubicBezTo>
                    <a:pt x="0" y="0"/>
                    <a:pt x="0" y="0"/>
                    <a:pt x="0" y="0"/>
                  </a:cubicBezTo>
                  <a:cubicBezTo>
                    <a:pt x="0" y="32"/>
                    <a:pt x="0" y="32"/>
                    <a:pt x="0" y="32"/>
                  </a:cubicBezTo>
                  <a:cubicBezTo>
                    <a:pt x="0" y="32"/>
                    <a:pt x="0" y="32"/>
                    <a:pt x="0" y="32"/>
                  </a:cubicBezTo>
                  <a:cubicBezTo>
                    <a:pt x="0" y="32"/>
                    <a:pt x="1" y="32"/>
                    <a:pt x="1" y="32"/>
                  </a:cubicBezTo>
                  <a:cubicBezTo>
                    <a:pt x="1" y="32"/>
                    <a:pt x="1" y="32"/>
                    <a:pt x="1" y="32"/>
                  </a:cubicBezTo>
                  <a:cubicBezTo>
                    <a:pt x="2" y="32"/>
                    <a:pt x="2" y="32"/>
                    <a:pt x="2" y="32"/>
                  </a:cubicBezTo>
                  <a:cubicBezTo>
                    <a:pt x="3" y="32"/>
                    <a:pt x="3" y="32"/>
                    <a:pt x="3" y="32"/>
                  </a:cubicBezTo>
                  <a:cubicBezTo>
                    <a:pt x="3" y="32"/>
                    <a:pt x="4" y="32"/>
                    <a:pt x="4" y="32"/>
                  </a:cubicBezTo>
                  <a:cubicBezTo>
                    <a:pt x="4" y="32"/>
                    <a:pt x="4" y="32"/>
                    <a:pt x="4" y="32"/>
                  </a:cubicBezTo>
                  <a:cubicBezTo>
                    <a:pt x="4" y="32"/>
                    <a:pt x="4" y="32"/>
                    <a:pt x="4" y="32"/>
                  </a:cubicBezTo>
                  <a:cubicBezTo>
                    <a:pt x="4" y="0"/>
                    <a:pt x="4" y="0"/>
                    <a:pt x="4" y="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 name="Freeform 238">
              <a:extLst>
                <a:ext uri="{FF2B5EF4-FFF2-40B4-BE49-F238E27FC236}">
                  <a16:creationId xmlns:a16="http://schemas.microsoft.com/office/drawing/2014/main" id="{D4190FB4-2999-4A91-8523-2C05AB7D9A04}"/>
                </a:ext>
              </a:extLst>
            </p:cNvPr>
            <p:cNvSpPr>
              <a:spLocks noEditPoints="1"/>
            </p:cNvSpPr>
            <p:nvPr/>
          </p:nvSpPr>
          <p:spPr bwMode="auto">
            <a:xfrm>
              <a:off x="6039789" y="5301174"/>
              <a:ext cx="64932" cy="82247"/>
            </a:xfrm>
            <a:custGeom>
              <a:avLst/>
              <a:gdLst>
                <a:gd name="T0" fmla="*/ 19 w 19"/>
                <a:gd name="T1" fmla="*/ 10 h 24"/>
                <a:gd name="T2" fmla="*/ 19 w 19"/>
                <a:gd name="T3" fmla="*/ 7 h 24"/>
                <a:gd name="T4" fmla="*/ 17 w 19"/>
                <a:gd name="T5" fmla="*/ 3 h 24"/>
                <a:gd name="T6" fmla="*/ 14 w 19"/>
                <a:gd name="T7" fmla="*/ 1 h 24"/>
                <a:gd name="T8" fmla="*/ 10 w 19"/>
                <a:gd name="T9" fmla="*/ 0 h 24"/>
                <a:gd name="T10" fmla="*/ 6 w 19"/>
                <a:gd name="T11" fmla="*/ 1 h 24"/>
                <a:gd name="T12" fmla="*/ 3 w 19"/>
                <a:gd name="T13" fmla="*/ 4 h 24"/>
                <a:gd name="T14" fmla="*/ 1 w 19"/>
                <a:gd name="T15" fmla="*/ 7 h 24"/>
                <a:gd name="T16" fmla="*/ 0 w 19"/>
                <a:gd name="T17" fmla="*/ 12 h 24"/>
                <a:gd name="T18" fmla="*/ 1 w 19"/>
                <a:gd name="T19" fmla="*/ 17 h 24"/>
                <a:gd name="T20" fmla="*/ 3 w 19"/>
                <a:gd name="T21" fmla="*/ 21 h 24"/>
                <a:gd name="T22" fmla="*/ 6 w 19"/>
                <a:gd name="T23" fmla="*/ 23 h 24"/>
                <a:gd name="T24" fmla="*/ 10 w 19"/>
                <a:gd name="T25" fmla="*/ 24 h 24"/>
                <a:gd name="T26" fmla="*/ 13 w 19"/>
                <a:gd name="T27" fmla="*/ 23 h 24"/>
                <a:gd name="T28" fmla="*/ 16 w 19"/>
                <a:gd name="T29" fmla="*/ 23 h 24"/>
                <a:gd name="T30" fmla="*/ 17 w 19"/>
                <a:gd name="T31" fmla="*/ 22 h 24"/>
                <a:gd name="T32" fmla="*/ 18 w 19"/>
                <a:gd name="T33" fmla="*/ 22 h 24"/>
                <a:gd name="T34" fmla="*/ 18 w 19"/>
                <a:gd name="T35" fmla="*/ 22 h 24"/>
                <a:gd name="T36" fmla="*/ 18 w 19"/>
                <a:gd name="T37" fmla="*/ 21 h 24"/>
                <a:gd name="T38" fmla="*/ 18 w 19"/>
                <a:gd name="T39" fmla="*/ 21 h 24"/>
                <a:gd name="T40" fmla="*/ 18 w 19"/>
                <a:gd name="T41" fmla="*/ 20 h 24"/>
                <a:gd name="T42" fmla="*/ 18 w 19"/>
                <a:gd name="T43" fmla="*/ 20 h 24"/>
                <a:gd name="T44" fmla="*/ 18 w 19"/>
                <a:gd name="T45" fmla="*/ 19 h 24"/>
                <a:gd name="T46" fmla="*/ 18 w 19"/>
                <a:gd name="T47" fmla="*/ 19 h 24"/>
                <a:gd name="T48" fmla="*/ 18 w 19"/>
                <a:gd name="T49" fmla="*/ 19 h 24"/>
                <a:gd name="T50" fmla="*/ 17 w 19"/>
                <a:gd name="T51" fmla="*/ 19 h 24"/>
                <a:gd name="T52" fmla="*/ 16 w 19"/>
                <a:gd name="T53" fmla="*/ 20 h 24"/>
                <a:gd name="T54" fmla="*/ 14 w 19"/>
                <a:gd name="T55" fmla="*/ 20 h 24"/>
                <a:gd name="T56" fmla="*/ 11 w 19"/>
                <a:gd name="T57" fmla="*/ 20 h 24"/>
                <a:gd name="T58" fmla="*/ 8 w 19"/>
                <a:gd name="T59" fmla="*/ 20 h 24"/>
                <a:gd name="T60" fmla="*/ 5 w 19"/>
                <a:gd name="T61" fmla="*/ 18 h 24"/>
                <a:gd name="T62" fmla="*/ 4 w 19"/>
                <a:gd name="T63" fmla="*/ 16 h 24"/>
                <a:gd name="T64" fmla="*/ 4 w 19"/>
                <a:gd name="T65" fmla="*/ 13 h 24"/>
                <a:gd name="T66" fmla="*/ 18 w 19"/>
                <a:gd name="T67" fmla="*/ 13 h 24"/>
                <a:gd name="T68" fmla="*/ 19 w 19"/>
                <a:gd name="T69" fmla="*/ 12 h 24"/>
                <a:gd name="T70" fmla="*/ 19 w 19"/>
                <a:gd name="T71" fmla="*/ 11 h 24"/>
                <a:gd name="T72" fmla="*/ 19 w 19"/>
                <a:gd name="T73" fmla="*/ 10 h 24"/>
                <a:gd name="T74" fmla="*/ 4 w 19"/>
                <a:gd name="T75" fmla="*/ 10 h 24"/>
                <a:gd name="T76" fmla="*/ 4 w 19"/>
                <a:gd name="T77" fmla="*/ 8 h 24"/>
                <a:gd name="T78" fmla="*/ 6 w 19"/>
                <a:gd name="T79" fmla="*/ 5 h 24"/>
                <a:gd name="T80" fmla="*/ 7 w 19"/>
                <a:gd name="T81" fmla="*/ 4 h 24"/>
                <a:gd name="T82" fmla="*/ 10 w 19"/>
                <a:gd name="T83" fmla="*/ 3 h 24"/>
                <a:gd name="T84" fmla="*/ 14 w 19"/>
                <a:gd name="T85" fmla="*/ 5 h 24"/>
                <a:gd name="T86" fmla="*/ 15 w 19"/>
                <a:gd name="T87" fmla="*/ 10 h 24"/>
                <a:gd name="T88" fmla="*/ 4 w 19"/>
                <a:gd name="T89"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4">
                  <a:moveTo>
                    <a:pt x="19" y="10"/>
                  </a:moveTo>
                  <a:cubicBezTo>
                    <a:pt x="19" y="9"/>
                    <a:pt x="19" y="8"/>
                    <a:pt x="19" y="7"/>
                  </a:cubicBezTo>
                  <a:cubicBezTo>
                    <a:pt x="18" y="5"/>
                    <a:pt x="18" y="4"/>
                    <a:pt x="17" y="3"/>
                  </a:cubicBezTo>
                  <a:cubicBezTo>
                    <a:pt x="16" y="2"/>
                    <a:pt x="15" y="2"/>
                    <a:pt x="14" y="1"/>
                  </a:cubicBezTo>
                  <a:cubicBezTo>
                    <a:pt x="13" y="1"/>
                    <a:pt x="12" y="0"/>
                    <a:pt x="10" y="0"/>
                  </a:cubicBezTo>
                  <a:cubicBezTo>
                    <a:pt x="9" y="0"/>
                    <a:pt x="7" y="1"/>
                    <a:pt x="6" y="1"/>
                  </a:cubicBezTo>
                  <a:cubicBezTo>
                    <a:pt x="5" y="2"/>
                    <a:pt x="4" y="3"/>
                    <a:pt x="3" y="4"/>
                  </a:cubicBezTo>
                  <a:cubicBezTo>
                    <a:pt x="2" y="5"/>
                    <a:pt x="1" y="6"/>
                    <a:pt x="1" y="7"/>
                  </a:cubicBezTo>
                  <a:cubicBezTo>
                    <a:pt x="0" y="9"/>
                    <a:pt x="0" y="10"/>
                    <a:pt x="0" y="12"/>
                  </a:cubicBezTo>
                  <a:cubicBezTo>
                    <a:pt x="0" y="14"/>
                    <a:pt x="0" y="16"/>
                    <a:pt x="1" y="17"/>
                  </a:cubicBezTo>
                  <a:cubicBezTo>
                    <a:pt x="1" y="19"/>
                    <a:pt x="2" y="20"/>
                    <a:pt x="3" y="21"/>
                  </a:cubicBezTo>
                  <a:cubicBezTo>
                    <a:pt x="4" y="22"/>
                    <a:pt x="5" y="22"/>
                    <a:pt x="6" y="23"/>
                  </a:cubicBezTo>
                  <a:cubicBezTo>
                    <a:pt x="7" y="23"/>
                    <a:pt x="9" y="24"/>
                    <a:pt x="10" y="24"/>
                  </a:cubicBezTo>
                  <a:cubicBezTo>
                    <a:pt x="11" y="24"/>
                    <a:pt x="12" y="24"/>
                    <a:pt x="13" y="23"/>
                  </a:cubicBezTo>
                  <a:cubicBezTo>
                    <a:pt x="14" y="23"/>
                    <a:pt x="15" y="23"/>
                    <a:pt x="16" y="23"/>
                  </a:cubicBezTo>
                  <a:cubicBezTo>
                    <a:pt x="16" y="23"/>
                    <a:pt x="17" y="23"/>
                    <a:pt x="17" y="22"/>
                  </a:cubicBezTo>
                  <a:cubicBezTo>
                    <a:pt x="18" y="22"/>
                    <a:pt x="18" y="22"/>
                    <a:pt x="18" y="22"/>
                  </a:cubicBezTo>
                  <a:cubicBezTo>
                    <a:pt x="18" y="22"/>
                    <a:pt x="18" y="22"/>
                    <a:pt x="18" y="22"/>
                  </a:cubicBezTo>
                  <a:cubicBezTo>
                    <a:pt x="18" y="22"/>
                    <a:pt x="18" y="21"/>
                    <a:pt x="18" y="21"/>
                  </a:cubicBezTo>
                  <a:cubicBezTo>
                    <a:pt x="18" y="21"/>
                    <a:pt x="18" y="21"/>
                    <a:pt x="18" y="21"/>
                  </a:cubicBezTo>
                  <a:cubicBezTo>
                    <a:pt x="18" y="21"/>
                    <a:pt x="18" y="21"/>
                    <a:pt x="18" y="20"/>
                  </a:cubicBezTo>
                  <a:cubicBezTo>
                    <a:pt x="18" y="20"/>
                    <a:pt x="18" y="20"/>
                    <a:pt x="18" y="20"/>
                  </a:cubicBezTo>
                  <a:cubicBezTo>
                    <a:pt x="18" y="19"/>
                    <a:pt x="18" y="19"/>
                    <a:pt x="18" y="19"/>
                  </a:cubicBezTo>
                  <a:cubicBezTo>
                    <a:pt x="18" y="19"/>
                    <a:pt x="18" y="19"/>
                    <a:pt x="18" y="19"/>
                  </a:cubicBezTo>
                  <a:cubicBezTo>
                    <a:pt x="18" y="19"/>
                    <a:pt x="18" y="19"/>
                    <a:pt x="18" y="19"/>
                  </a:cubicBezTo>
                  <a:cubicBezTo>
                    <a:pt x="18" y="19"/>
                    <a:pt x="17" y="19"/>
                    <a:pt x="17" y="19"/>
                  </a:cubicBezTo>
                  <a:cubicBezTo>
                    <a:pt x="17" y="19"/>
                    <a:pt x="16" y="19"/>
                    <a:pt x="16" y="20"/>
                  </a:cubicBezTo>
                  <a:cubicBezTo>
                    <a:pt x="15" y="20"/>
                    <a:pt x="14" y="20"/>
                    <a:pt x="14" y="20"/>
                  </a:cubicBezTo>
                  <a:cubicBezTo>
                    <a:pt x="13" y="20"/>
                    <a:pt x="12" y="20"/>
                    <a:pt x="11" y="20"/>
                  </a:cubicBezTo>
                  <a:cubicBezTo>
                    <a:pt x="10" y="20"/>
                    <a:pt x="9" y="20"/>
                    <a:pt x="8" y="20"/>
                  </a:cubicBezTo>
                  <a:cubicBezTo>
                    <a:pt x="7" y="20"/>
                    <a:pt x="6" y="19"/>
                    <a:pt x="5" y="18"/>
                  </a:cubicBezTo>
                  <a:cubicBezTo>
                    <a:pt x="5" y="18"/>
                    <a:pt x="5" y="17"/>
                    <a:pt x="4" y="16"/>
                  </a:cubicBezTo>
                  <a:cubicBezTo>
                    <a:pt x="4" y="15"/>
                    <a:pt x="4" y="14"/>
                    <a:pt x="4" y="13"/>
                  </a:cubicBezTo>
                  <a:cubicBezTo>
                    <a:pt x="18" y="13"/>
                    <a:pt x="18" y="13"/>
                    <a:pt x="18" y="13"/>
                  </a:cubicBezTo>
                  <a:cubicBezTo>
                    <a:pt x="18" y="13"/>
                    <a:pt x="19" y="13"/>
                    <a:pt x="19" y="12"/>
                  </a:cubicBezTo>
                  <a:cubicBezTo>
                    <a:pt x="19" y="12"/>
                    <a:pt x="19" y="12"/>
                    <a:pt x="19" y="11"/>
                  </a:cubicBezTo>
                  <a:cubicBezTo>
                    <a:pt x="19" y="10"/>
                    <a:pt x="19" y="10"/>
                    <a:pt x="19" y="10"/>
                  </a:cubicBezTo>
                  <a:close/>
                  <a:moveTo>
                    <a:pt x="4" y="10"/>
                  </a:moveTo>
                  <a:cubicBezTo>
                    <a:pt x="4" y="9"/>
                    <a:pt x="4" y="8"/>
                    <a:pt x="4" y="8"/>
                  </a:cubicBezTo>
                  <a:cubicBezTo>
                    <a:pt x="5" y="7"/>
                    <a:pt x="5" y="6"/>
                    <a:pt x="6" y="5"/>
                  </a:cubicBezTo>
                  <a:cubicBezTo>
                    <a:pt x="6" y="5"/>
                    <a:pt x="7" y="4"/>
                    <a:pt x="7" y="4"/>
                  </a:cubicBezTo>
                  <a:cubicBezTo>
                    <a:pt x="8" y="4"/>
                    <a:pt x="9" y="3"/>
                    <a:pt x="10" y="3"/>
                  </a:cubicBezTo>
                  <a:cubicBezTo>
                    <a:pt x="12" y="3"/>
                    <a:pt x="13" y="4"/>
                    <a:pt x="14" y="5"/>
                  </a:cubicBezTo>
                  <a:cubicBezTo>
                    <a:pt x="15" y="6"/>
                    <a:pt x="16" y="8"/>
                    <a:pt x="15" y="10"/>
                  </a:cubicBezTo>
                  <a:cubicBezTo>
                    <a:pt x="4" y="10"/>
                    <a:pt x="4" y="10"/>
                    <a:pt x="4" y="1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 name="Freeform 239">
              <a:extLst>
                <a:ext uri="{FF2B5EF4-FFF2-40B4-BE49-F238E27FC236}">
                  <a16:creationId xmlns:a16="http://schemas.microsoft.com/office/drawing/2014/main" id="{E6EDFA65-A9F6-4B8B-854B-3856F8111952}"/>
                </a:ext>
              </a:extLst>
            </p:cNvPr>
            <p:cNvSpPr>
              <a:spLocks/>
            </p:cNvSpPr>
            <p:nvPr/>
          </p:nvSpPr>
          <p:spPr bwMode="auto">
            <a:xfrm>
              <a:off x="6116263" y="53790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 name="Freeform 240">
              <a:extLst>
                <a:ext uri="{FF2B5EF4-FFF2-40B4-BE49-F238E27FC236}">
                  <a16:creationId xmlns:a16="http://schemas.microsoft.com/office/drawing/2014/main" id="{3698E6D0-A463-4700-BA9D-FD2888DC5F67}"/>
                </a:ext>
              </a:extLst>
            </p:cNvPr>
            <p:cNvSpPr>
              <a:spLocks noEditPoints="1"/>
            </p:cNvSpPr>
            <p:nvPr/>
          </p:nvSpPr>
          <p:spPr bwMode="auto">
            <a:xfrm>
              <a:off x="6149450" y="5269430"/>
              <a:ext cx="106776" cy="113991"/>
            </a:xfrm>
            <a:custGeom>
              <a:avLst/>
              <a:gdLst>
                <a:gd name="T0" fmla="*/ 4 w 31"/>
                <a:gd name="T1" fmla="*/ 29 h 33"/>
                <a:gd name="T2" fmla="*/ 8 w 31"/>
                <a:gd name="T3" fmla="*/ 32 h 33"/>
                <a:gd name="T4" fmla="*/ 13 w 31"/>
                <a:gd name="T5" fmla="*/ 33 h 33"/>
                <a:gd name="T6" fmla="*/ 19 w 31"/>
                <a:gd name="T7" fmla="*/ 32 h 33"/>
                <a:gd name="T8" fmla="*/ 23 w 31"/>
                <a:gd name="T9" fmla="*/ 29 h 33"/>
                <a:gd name="T10" fmla="*/ 27 w 31"/>
                <a:gd name="T11" fmla="*/ 32 h 33"/>
                <a:gd name="T12" fmla="*/ 29 w 31"/>
                <a:gd name="T13" fmla="*/ 33 h 33"/>
                <a:gd name="T14" fmla="*/ 31 w 31"/>
                <a:gd name="T15" fmla="*/ 32 h 33"/>
                <a:gd name="T16" fmla="*/ 31 w 31"/>
                <a:gd name="T17" fmla="*/ 31 h 33"/>
                <a:gd name="T18" fmla="*/ 31 w 31"/>
                <a:gd name="T19" fmla="*/ 30 h 33"/>
                <a:gd name="T20" fmla="*/ 31 w 31"/>
                <a:gd name="T21" fmla="*/ 29 h 33"/>
                <a:gd name="T22" fmla="*/ 30 w 31"/>
                <a:gd name="T23" fmla="*/ 29 h 33"/>
                <a:gd name="T24" fmla="*/ 27 w 31"/>
                <a:gd name="T25" fmla="*/ 28 h 33"/>
                <a:gd name="T26" fmla="*/ 27 w 31"/>
                <a:gd name="T27" fmla="*/ 24 h 33"/>
                <a:gd name="T28" fmla="*/ 28 w 31"/>
                <a:gd name="T29" fmla="*/ 19 h 33"/>
                <a:gd name="T30" fmla="*/ 29 w 31"/>
                <a:gd name="T31" fmla="*/ 16 h 33"/>
                <a:gd name="T32" fmla="*/ 28 w 31"/>
                <a:gd name="T33" fmla="*/ 16 h 33"/>
                <a:gd name="T34" fmla="*/ 27 w 31"/>
                <a:gd name="T35" fmla="*/ 15 h 33"/>
                <a:gd name="T36" fmla="*/ 25 w 31"/>
                <a:gd name="T37" fmla="*/ 16 h 33"/>
                <a:gd name="T38" fmla="*/ 25 w 31"/>
                <a:gd name="T39" fmla="*/ 16 h 33"/>
                <a:gd name="T40" fmla="*/ 25 w 31"/>
                <a:gd name="T41" fmla="*/ 19 h 33"/>
                <a:gd name="T42" fmla="*/ 24 w 31"/>
                <a:gd name="T43" fmla="*/ 23 h 33"/>
                <a:gd name="T44" fmla="*/ 21 w 31"/>
                <a:gd name="T45" fmla="*/ 22 h 33"/>
                <a:gd name="T46" fmla="*/ 17 w 31"/>
                <a:gd name="T47" fmla="*/ 18 h 33"/>
                <a:gd name="T48" fmla="*/ 19 w 31"/>
                <a:gd name="T49" fmla="*/ 14 h 33"/>
                <a:gd name="T50" fmla="*/ 23 w 31"/>
                <a:gd name="T51" fmla="*/ 9 h 33"/>
                <a:gd name="T52" fmla="*/ 22 w 31"/>
                <a:gd name="T53" fmla="*/ 4 h 33"/>
                <a:gd name="T54" fmla="*/ 18 w 31"/>
                <a:gd name="T55" fmla="*/ 1 h 33"/>
                <a:gd name="T56" fmla="*/ 11 w 31"/>
                <a:gd name="T57" fmla="*/ 1 h 33"/>
                <a:gd name="T58" fmla="*/ 6 w 31"/>
                <a:gd name="T59" fmla="*/ 5 h 33"/>
                <a:gd name="T60" fmla="*/ 6 w 31"/>
                <a:gd name="T61" fmla="*/ 9 h 33"/>
                <a:gd name="T62" fmla="*/ 8 w 31"/>
                <a:gd name="T63" fmla="*/ 13 h 33"/>
                <a:gd name="T64" fmla="*/ 6 w 31"/>
                <a:gd name="T65" fmla="*/ 17 h 33"/>
                <a:gd name="T66" fmla="*/ 3 w 31"/>
                <a:gd name="T67" fmla="*/ 22 h 33"/>
                <a:gd name="T68" fmla="*/ 3 w 31"/>
                <a:gd name="T69" fmla="*/ 27 h 33"/>
                <a:gd name="T70" fmla="*/ 11 w 31"/>
                <a:gd name="T71" fmla="*/ 5 h 33"/>
                <a:gd name="T72" fmla="*/ 15 w 31"/>
                <a:gd name="T73" fmla="*/ 4 h 33"/>
                <a:gd name="T74" fmla="*/ 18 w 31"/>
                <a:gd name="T75" fmla="*/ 5 h 33"/>
                <a:gd name="T76" fmla="*/ 19 w 31"/>
                <a:gd name="T77" fmla="*/ 7 h 33"/>
                <a:gd name="T78" fmla="*/ 18 w 31"/>
                <a:gd name="T79" fmla="*/ 10 h 33"/>
                <a:gd name="T80" fmla="*/ 13 w 31"/>
                <a:gd name="T81" fmla="*/ 14 h 33"/>
                <a:gd name="T82" fmla="*/ 11 w 31"/>
                <a:gd name="T83" fmla="*/ 10 h 33"/>
                <a:gd name="T84" fmla="*/ 10 w 31"/>
                <a:gd name="T85" fmla="*/ 7 h 33"/>
                <a:gd name="T86" fmla="*/ 7 w 31"/>
                <a:gd name="T87" fmla="*/ 22 h 33"/>
                <a:gd name="T88" fmla="*/ 9 w 31"/>
                <a:gd name="T89" fmla="*/ 19 h 33"/>
                <a:gd name="T90" fmla="*/ 13 w 31"/>
                <a:gd name="T91" fmla="*/ 20 h 33"/>
                <a:gd name="T92" fmla="*/ 18 w 31"/>
                <a:gd name="T93" fmla="*/ 25 h 33"/>
                <a:gd name="T94" fmla="*/ 19 w 31"/>
                <a:gd name="T95" fmla="*/ 28 h 33"/>
                <a:gd name="T96" fmla="*/ 15 w 31"/>
                <a:gd name="T97" fmla="*/ 29 h 33"/>
                <a:gd name="T98" fmla="*/ 11 w 31"/>
                <a:gd name="T99" fmla="*/ 29 h 33"/>
                <a:gd name="T100" fmla="*/ 8 w 31"/>
                <a:gd name="T101" fmla="*/ 26 h 33"/>
                <a:gd name="T102" fmla="*/ 7 w 31"/>
                <a:gd name="T103" fmla="*/ 22 h 33"/>
                <a:gd name="T104" fmla="*/ 0 w 31"/>
                <a:gd name="T105"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 h="33">
                  <a:moveTo>
                    <a:pt x="3" y="27"/>
                  </a:moveTo>
                  <a:cubicBezTo>
                    <a:pt x="4" y="27"/>
                    <a:pt x="4" y="28"/>
                    <a:pt x="4" y="29"/>
                  </a:cubicBezTo>
                  <a:cubicBezTo>
                    <a:pt x="5" y="29"/>
                    <a:pt x="5" y="30"/>
                    <a:pt x="6" y="30"/>
                  </a:cubicBezTo>
                  <a:cubicBezTo>
                    <a:pt x="6" y="31"/>
                    <a:pt x="7" y="31"/>
                    <a:pt x="8" y="32"/>
                  </a:cubicBezTo>
                  <a:cubicBezTo>
                    <a:pt x="9" y="32"/>
                    <a:pt x="9" y="32"/>
                    <a:pt x="10" y="32"/>
                  </a:cubicBezTo>
                  <a:cubicBezTo>
                    <a:pt x="11" y="33"/>
                    <a:pt x="12" y="33"/>
                    <a:pt x="13" y="33"/>
                  </a:cubicBezTo>
                  <a:cubicBezTo>
                    <a:pt x="14" y="33"/>
                    <a:pt x="15" y="33"/>
                    <a:pt x="16" y="32"/>
                  </a:cubicBezTo>
                  <a:cubicBezTo>
                    <a:pt x="17" y="32"/>
                    <a:pt x="18" y="32"/>
                    <a:pt x="19" y="32"/>
                  </a:cubicBezTo>
                  <a:cubicBezTo>
                    <a:pt x="19" y="31"/>
                    <a:pt x="20" y="31"/>
                    <a:pt x="21" y="30"/>
                  </a:cubicBezTo>
                  <a:cubicBezTo>
                    <a:pt x="22" y="30"/>
                    <a:pt x="22" y="29"/>
                    <a:pt x="23" y="29"/>
                  </a:cubicBezTo>
                  <a:cubicBezTo>
                    <a:pt x="24" y="30"/>
                    <a:pt x="25" y="30"/>
                    <a:pt x="25" y="31"/>
                  </a:cubicBezTo>
                  <a:cubicBezTo>
                    <a:pt x="26" y="31"/>
                    <a:pt x="27" y="32"/>
                    <a:pt x="27" y="32"/>
                  </a:cubicBezTo>
                  <a:cubicBezTo>
                    <a:pt x="28" y="32"/>
                    <a:pt x="28" y="32"/>
                    <a:pt x="28" y="32"/>
                  </a:cubicBezTo>
                  <a:cubicBezTo>
                    <a:pt x="29" y="33"/>
                    <a:pt x="29" y="33"/>
                    <a:pt x="29" y="33"/>
                  </a:cubicBezTo>
                  <a:cubicBezTo>
                    <a:pt x="30" y="33"/>
                    <a:pt x="30" y="33"/>
                    <a:pt x="30" y="32"/>
                  </a:cubicBezTo>
                  <a:cubicBezTo>
                    <a:pt x="31" y="32"/>
                    <a:pt x="31" y="32"/>
                    <a:pt x="31" y="32"/>
                  </a:cubicBezTo>
                  <a:cubicBezTo>
                    <a:pt x="31" y="32"/>
                    <a:pt x="31" y="32"/>
                    <a:pt x="31" y="32"/>
                  </a:cubicBezTo>
                  <a:cubicBezTo>
                    <a:pt x="31" y="32"/>
                    <a:pt x="31" y="32"/>
                    <a:pt x="31" y="31"/>
                  </a:cubicBezTo>
                  <a:cubicBezTo>
                    <a:pt x="31" y="31"/>
                    <a:pt x="31" y="31"/>
                    <a:pt x="31" y="31"/>
                  </a:cubicBezTo>
                  <a:cubicBezTo>
                    <a:pt x="31" y="30"/>
                    <a:pt x="31" y="30"/>
                    <a:pt x="31" y="30"/>
                  </a:cubicBezTo>
                  <a:cubicBezTo>
                    <a:pt x="31" y="29"/>
                    <a:pt x="31" y="29"/>
                    <a:pt x="31" y="29"/>
                  </a:cubicBezTo>
                  <a:cubicBezTo>
                    <a:pt x="31" y="29"/>
                    <a:pt x="31" y="29"/>
                    <a:pt x="31" y="29"/>
                  </a:cubicBezTo>
                  <a:cubicBezTo>
                    <a:pt x="30" y="29"/>
                    <a:pt x="30" y="29"/>
                    <a:pt x="30" y="29"/>
                  </a:cubicBezTo>
                  <a:cubicBezTo>
                    <a:pt x="30" y="29"/>
                    <a:pt x="30" y="29"/>
                    <a:pt x="30" y="29"/>
                  </a:cubicBezTo>
                  <a:cubicBezTo>
                    <a:pt x="29" y="29"/>
                    <a:pt x="29" y="29"/>
                    <a:pt x="29" y="29"/>
                  </a:cubicBezTo>
                  <a:cubicBezTo>
                    <a:pt x="28" y="28"/>
                    <a:pt x="28" y="28"/>
                    <a:pt x="27" y="28"/>
                  </a:cubicBezTo>
                  <a:cubicBezTo>
                    <a:pt x="27" y="27"/>
                    <a:pt x="26" y="27"/>
                    <a:pt x="25" y="26"/>
                  </a:cubicBezTo>
                  <a:cubicBezTo>
                    <a:pt x="26" y="26"/>
                    <a:pt x="26" y="25"/>
                    <a:pt x="27" y="24"/>
                  </a:cubicBezTo>
                  <a:cubicBezTo>
                    <a:pt x="27" y="24"/>
                    <a:pt x="27" y="23"/>
                    <a:pt x="28" y="22"/>
                  </a:cubicBezTo>
                  <a:cubicBezTo>
                    <a:pt x="28" y="21"/>
                    <a:pt x="28" y="20"/>
                    <a:pt x="28" y="19"/>
                  </a:cubicBezTo>
                  <a:cubicBezTo>
                    <a:pt x="28" y="19"/>
                    <a:pt x="29" y="18"/>
                    <a:pt x="29" y="17"/>
                  </a:cubicBezTo>
                  <a:cubicBezTo>
                    <a:pt x="29" y="16"/>
                    <a:pt x="29" y="16"/>
                    <a:pt x="29" y="16"/>
                  </a:cubicBezTo>
                  <a:cubicBezTo>
                    <a:pt x="29" y="16"/>
                    <a:pt x="29" y="16"/>
                    <a:pt x="28" y="16"/>
                  </a:cubicBezTo>
                  <a:cubicBezTo>
                    <a:pt x="28" y="16"/>
                    <a:pt x="28" y="16"/>
                    <a:pt x="28" y="16"/>
                  </a:cubicBezTo>
                  <a:cubicBezTo>
                    <a:pt x="28" y="16"/>
                    <a:pt x="28" y="15"/>
                    <a:pt x="28" y="15"/>
                  </a:cubicBezTo>
                  <a:cubicBezTo>
                    <a:pt x="27" y="15"/>
                    <a:pt x="27" y="15"/>
                    <a:pt x="27" y="15"/>
                  </a:cubicBezTo>
                  <a:cubicBezTo>
                    <a:pt x="26" y="15"/>
                    <a:pt x="26" y="15"/>
                    <a:pt x="26" y="15"/>
                  </a:cubicBezTo>
                  <a:cubicBezTo>
                    <a:pt x="25" y="16"/>
                    <a:pt x="25" y="16"/>
                    <a:pt x="25" y="16"/>
                  </a:cubicBezTo>
                  <a:cubicBezTo>
                    <a:pt x="25" y="16"/>
                    <a:pt x="25" y="16"/>
                    <a:pt x="25" y="16"/>
                  </a:cubicBezTo>
                  <a:cubicBezTo>
                    <a:pt x="25" y="16"/>
                    <a:pt x="25" y="16"/>
                    <a:pt x="25" y="16"/>
                  </a:cubicBezTo>
                  <a:cubicBezTo>
                    <a:pt x="25" y="17"/>
                    <a:pt x="25" y="17"/>
                    <a:pt x="25" y="17"/>
                  </a:cubicBezTo>
                  <a:cubicBezTo>
                    <a:pt x="25" y="18"/>
                    <a:pt x="25" y="18"/>
                    <a:pt x="25" y="19"/>
                  </a:cubicBezTo>
                  <a:cubicBezTo>
                    <a:pt x="25" y="20"/>
                    <a:pt x="24" y="20"/>
                    <a:pt x="24" y="21"/>
                  </a:cubicBezTo>
                  <a:cubicBezTo>
                    <a:pt x="24" y="21"/>
                    <a:pt x="24" y="22"/>
                    <a:pt x="24" y="23"/>
                  </a:cubicBezTo>
                  <a:cubicBezTo>
                    <a:pt x="23" y="23"/>
                    <a:pt x="23" y="24"/>
                    <a:pt x="23" y="24"/>
                  </a:cubicBezTo>
                  <a:cubicBezTo>
                    <a:pt x="22" y="23"/>
                    <a:pt x="21" y="23"/>
                    <a:pt x="21" y="22"/>
                  </a:cubicBezTo>
                  <a:cubicBezTo>
                    <a:pt x="20" y="21"/>
                    <a:pt x="19" y="21"/>
                    <a:pt x="19" y="20"/>
                  </a:cubicBezTo>
                  <a:cubicBezTo>
                    <a:pt x="18" y="19"/>
                    <a:pt x="17" y="19"/>
                    <a:pt x="17" y="18"/>
                  </a:cubicBezTo>
                  <a:cubicBezTo>
                    <a:pt x="16" y="17"/>
                    <a:pt x="15" y="17"/>
                    <a:pt x="15" y="16"/>
                  </a:cubicBezTo>
                  <a:cubicBezTo>
                    <a:pt x="16" y="15"/>
                    <a:pt x="18" y="14"/>
                    <a:pt x="19" y="14"/>
                  </a:cubicBezTo>
                  <a:cubicBezTo>
                    <a:pt x="20" y="13"/>
                    <a:pt x="20" y="12"/>
                    <a:pt x="21" y="11"/>
                  </a:cubicBezTo>
                  <a:cubicBezTo>
                    <a:pt x="22" y="11"/>
                    <a:pt x="22" y="10"/>
                    <a:pt x="23" y="9"/>
                  </a:cubicBezTo>
                  <a:cubicBezTo>
                    <a:pt x="23" y="8"/>
                    <a:pt x="23" y="8"/>
                    <a:pt x="23" y="7"/>
                  </a:cubicBezTo>
                  <a:cubicBezTo>
                    <a:pt x="23" y="6"/>
                    <a:pt x="23" y="5"/>
                    <a:pt x="22" y="4"/>
                  </a:cubicBezTo>
                  <a:cubicBezTo>
                    <a:pt x="22" y="3"/>
                    <a:pt x="22" y="3"/>
                    <a:pt x="21" y="2"/>
                  </a:cubicBezTo>
                  <a:cubicBezTo>
                    <a:pt x="20" y="2"/>
                    <a:pt x="19" y="1"/>
                    <a:pt x="18" y="1"/>
                  </a:cubicBezTo>
                  <a:cubicBezTo>
                    <a:pt x="17" y="1"/>
                    <a:pt x="16" y="0"/>
                    <a:pt x="15" y="0"/>
                  </a:cubicBezTo>
                  <a:cubicBezTo>
                    <a:pt x="13" y="0"/>
                    <a:pt x="12" y="1"/>
                    <a:pt x="11" y="1"/>
                  </a:cubicBezTo>
                  <a:cubicBezTo>
                    <a:pt x="10" y="1"/>
                    <a:pt x="9" y="2"/>
                    <a:pt x="8" y="3"/>
                  </a:cubicBezTo>
                  <a:cubicBezTo>
                    <a:pt x="7" y="3"/>
                    <a:pt x="7" y="4"/>
                    <a:pt x="6" y="5"/>
                  </a:cubicBezTo>
                  <a:cubicBezTo>
                    <a:pt x="6" y="6"/>
                    <a:pt x="6" y="7"/>
                    <a:pt x="6" y="8"/>
                  </a:cubicBezTo>
                  <a:cubicBezTo>
                    <a:pt x="6" y="8"/>
                    <a:pt x="6" y="9"/>
                    <a:pt x="6" y="9"/>
                  </a:cubicBezTo>
                  <a:cubicBezTo>
                    <a:pt x="6" y="10"/>
                    <a:pt x="6" y="11"/>
                    <a:pt x="7" y="11"/>
                  </a:cubicBezTo>
                  <a:cubicBezTo>
                    <a:pt x="7" y="12"/>
                    <a:pt x="7" y="12"/>
                    <a:pt x="8" y="13"/>
                  </a:cubicBezTo>
                  <a:cubicBezTo>
                    <a:pt x="8" y="14"/>
                    <a:pt x="9" y="14"/>
                    <a:pt x="9" y="15"/>
                  </a:cubicBezTo>
                  <a:cubicBezTo>
                    <a:pt x="8" y="16"/>
                    <a:pt x="7" y="17"/>
                    <a:pt x="6" y="17"/>
                  </a:cubicBezTo>
                  <a:cubicBezTo>
                    <a:pt x="6" y="18"/>
                    <a:pt x="5" y="19"/>
                    <a:pt x="4" y="19"/>
                  </a:cubicBezTo>
                  <a:cubicBezTo>
                    <a:pt x="4" y="20"/>
                    <a:pt x="4" y="21"/>
                    <a:pt x="3" y="22"/>
                  </a:cubicBezTo>
                  <a:cubicBezTo>
                    <a:pt x="3" y="23"/>
                    <a:pt x="3" y="23"/>
                    <a:pt x="3" y="24"/>
                  </a:cubicBezTo>
                  <a:cubicBezTo>
                    <a:pt x="3" y="25"/>
                    <a:pt x="3" y="26"/>
                    <a:pt x="3" y="27"/>
                  </a:cubicBezTo>
                  <a:close/>
                  <a:moveTo>
                    <a:pt x="10" y="6"/>
                  </a:moveTo>
                  <a:cubicBezTo>
                    <a:pt x="10" y="6"/>
                    <a:pt x="11" y="5"/>
                    <a:pt x="11" y="5"/>
                  </a:cubicBezTo>
                  <a:cubicBezTo>
                    <a:pt x="11" y="4"/>
                    <a:pt x="12" y="4"/>
                    <a:pt x="12" y="4"/>
                  </a:cubicBezTo>
                  <a:cubicBezTo>
                    <a:pt x="13" y="4"/>
                    <a:pt x="14" y="4"/>
                    <a:pt x="15" y="4"/>
                  </a:cubicBezTo>
                  <a:cubicBezTo>
                    <a:pt x="15" y="4"/>
                    <a:pt x="16" y="4"/>
                    <a:pt x="16" y="4"/>
                  </a:cubicBezTo>
                  <a:cubicBezTo>
                    <a:pt x="17" y="4"/>
                    <a:pt x="17" y="4"/>
                    <a:pt x="18" y="5"/>
                  </a:cubicBezTo>
                  <a:cubicBezTo>
                    <a:pt x="18" y="5"/>
                    <a:pt x="18" y="5"/>
                    <a:pt x="19" y="6"/>
                  </a:cubicBezTo>
                  <a:cubicBezTo>
                    <a:pt x="19" y="6"/>
                    <a:pt x="19" y="7"/>
                    <a:pt x="19" y="7"/>
                  </a:cubicBezTo>
                  <a:cubicBezTo>
                    <a:pt x="19" y="8"/>
                    <a:pt x="19" y="8"/>
                    <a:pt x="19" y="9"/>
                  </a:cubicBezTo>
                  <a:cubicBezTo>
                    <a:pt x="18" y="9"/>
                    <a:pt x="18" y="10"/>
                    <a:pt x="18" y="10"/>
                  </a:cubicBezTo>
                  <a:cubicBezTo>
                    <a:pt x="17" y="11"/>
                    <a:pt x="16" y="11"/>
                    <a:pt x="16" y="12"/>
                  </a:cubicBezTo>
                  <a:cubicBezTo>
                    <a:pt x="15" y="12"/>
                    <a:pt x="14" y="13"/>
                    <a:pt x="13" y="14"/>
                  </a:cubicBezTo>
                  <a:cubicBezTo>
                    <a:pt x="12" y="13"/>
                    <a:pt x="12" y="12"/>
                    <a:pt x="12" y="12"/>
                  </a:cubicBezTo>
                  <a:cubicBezTo>
                    <a:pt x="11" y="11"/>
                    <a:pt x="11" y="11"/>
                    <a:pt x="11" y="10"/>
                  </a:cubicBezTo>
                  <a:cubicBezTo>
                    <a:pt x="10" y="10"/>
                    <a:pt x="10" y="9"/>
                    <a:pt x="10" y="9"/>
                  </a:cubicBezTo>
                  <a:cubicBezTo>
                    <a:pt x="10" y="8"/>
                    <a:pt x="10" y="8"/>
                    <a:pt x="10" y="7"/>
                  </a:cubicBezTo>
                  <a:cubicBezTo>
                    <a:pt x="10" y="7"/>
                    <a:pt x="10" y="6"/>
                    <a:pt x="10" y="6"/>
                  </a:cubicBezTo>
                  <a:close/>
                  <a:moveTo>
                    <a:pt x="7" y="22"/>
                  </a:moveTo>
                  <a:cubicBezTo>
                    <a:pt x="8" y="22"/>
                    <a:pt x="8" y="21"/>
                    <a:pt x="8" y="21"/>
                  </a:cubicBezTo>
                  <a:cubicBezTo>
                    <a:pt x="8" y="20"/>
                    <a:pt x="9" y="20"/>
                    <a:pt x="9" y="19"/>
                  </a:cubicBezTo>
                  <a:cubicBezTo>
                    <a:pt x="10" y="19"/>
                    <a:pt x="11" y="18"/>
                    <a:pt x="11" y="18"/>
                  </a:cubicBezTo>
                  <a:cubicBezTo>
                    <a:pt x="12" y="18"/>
                    <a:pt x="13" y="19"/>
                    <a:pt x="13" y="20"/>
                  </a:cubicBezTo>
                  <a:cubicBezTo>
                    <a:pt x="14" y="21"/>
                    <a:pt x="15" y="22"/>
                    <a:pt x="15" y="22"/>
                  </a:cubicBezTo>
                  <a:cubicBezTo>
                    <a:pt x="16" y="23"/>
                    <a:pt x="17" y="24"/>
                    <a:pt x="18" y="25"/>
                  </a:cubicBezTo>
                  <a:cubicBezTo>
                    <a:pt x="19" y="25"/>
                    <a:pt x="19" y="26"/>
                    <a:pt x="20" y="27"/>
                  </a:cubicBezTo>
                  <a:cubicBezTo>
                    <a:pt x="20" y="27"/>
                    <a:pt x="19" y="27"/>
                    <a:pt x="19" y="28"/>
                  </a:cubicBezTo>
                  <a:cubicBezTo>
                    <a:pt x="18" y="28"/>
                    <a:pt x="18" y="28"/>
                    <a:pt x="17" y="29"/>
                  </a:cubicBezTo>
                  <a:cubicBezTo>
                    <a:pt x="17" y="29"/>
                    <a:pt x="16" y="29"/>
                    <a:pt x="15" y="29"/>
                  </a:cubicBezTo>
                  <a:cubicBezTo>
                    <a:pt x="15" y="29"/>
                    <a:pt x="14" y="29"/>
                    <a:pt x="14" y="29"/>
                  </a:cubicBezTo>
                  <a:cubicBezTo>
                    <a:pt x="13" y="29"/>
                    <a:pt x="12" y="29"/>
                    <a:pt x="11" y="29"/>
                  </a:cubicBezTo>
                  <a:cubicBezTo>
                    <a:pt x="10" y="29"/>
                    <a:pt x="9" y="28"/>
                    <a:pt x="9" y="28"/>
                  </a:cubicBezTo>
                  <a:cubicBezTo>
                    <a:pt x="8" y="27"/>
                    <a:pt x="8" y="27"/>
                    <a:pt x="8" y="26"/>
                  </a:cubicBezTo>
                  <a:cubicBezTo>
                    <a:pt x="7" y="25"/>
                    <a:pt x="7" y="25"/>
                    <a:pt x="7" y="24"/>
                  </a:cubicBezTo>
                  <a:cubicBezTo>
                    <a:pt x="7" y="23"/>
                    <a:pt x="7" y="23"/>
                    <a:pt x="7" y="22"/>
                  </a:cubicBezTo>
                  <a:close/>
                  <a:moveTo>
                    <a:pt x="0" y="2"/>
                  </a:moveTo>
                  <a:cubicBezTo>
                    <a:pt x="0" y="2"/>
                    <a:pt x="0" y="2"/>
                    <a:pt x="0" y="2"/>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 name="Freeform 241">
              <a:extLst>
                <a:ext uri="{FF2B5EF4-FFF2-40B4-BE49-F238E27FC236}">
                  <a16:creationId xmlns:a16="http://schemas.microsoft.com/office/drawing/2014/main" id="{1BD47265-B2FF-4193-924C-935857C4246E}"/>
                </a:ext>
              </a:extLst>
            </p:cNvPr>
            <p:cNvSpPr>
              <a:spLocks/>
            </p:cNvSpPr>
            <p:nvPr/>
          </p:nvSpPr>
          <p:spPr bwMode="auto">
            <a:xfrm>
              <a:off x="6263440" y="53790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 name="Freeform 242">
              <a:extLst>
                <a:ext uri="{FF2B5EF4-FFF2-40B4-BE49-F238E27FC236}">
                  <a16:creationId xmlns:a16="http://schemas.microsoft.com/office/drawing/2014/main" id="{02592DC6-C85C-4F6F-85FE-324752BCB775}"/>
                </a:ext>
              </a:extLst>
            </p:cNvPr>
            <p:cNvSpPr>
              <a:spLocks noEditPoints="1"/>
            </p:cNvSpPr>
            <p:nvPr/>
          </p:nvSpPr>
          <p:spPr bwMode="auto">
            <a:xfrm>
              <a:off x="6313942" y="5276645"/>
              <a:ext cx="79361" cy="102447"/>
            </a:xfrm>
            <a:custGeom>
              <a:avLst/>
              <a:gdLst>
                <a:gd name="T0" fmla="*/ 23 w 23"/>
                <a:gd name="T1" fmla="*/ 8 h 30"/>
                <a:gd name="T2" fmla="*/ 20 w 23"/>
                <a:gd name="T3" fmla="*/ 4 h 30"/>
                <a:gd name="T4" fmla="*/ 15 w 23"/>
                <a:gd name="T5" fmla="*/ 1 h 30"/>
                <a:gd name="T6" fmla="*/ 9 w 23"/>
                <a:gd name="T7" fmla="*/ 0 h 30"/>
                <a:gd name="T8" fmla="*/ 2 w 23"/>
                <a:gd name="T9" fmla="*/ 0 h 30"/>
                <a:gd name="T10" fmla="*/ 1 w 23"/>
                <a:gd name="T11" fmla="*/ 0 h 30"/>
                <a:gd name="T12" fmla="*/ 0 w 23"/>
                <a:gd name="T13" fmla="*/ 1 h 30"/>
                <a:gd name="T14" fmla="*/ 0 w 23"/>
                <a:gd name="T15" fmla="*/ 29 h 30"/>
                <a:gd name="T16" fmla="*/ 1 w 23"/>
                <a:gd name="T17" fmla="*/ 30 h 30"/>
                <a:gd name="T18" fmla="*/ 2 w 23"/>
                <a:gd name="T19" fmla="*/ 30 h 30"/>
                <a:gd name="T20" fmla="*/ 8 w 23"/>
                <a:gd name="T21" fmla="*/ 30 h 30"/>
                <a:gd name="T22" fmla="*/ 15 w 23"/>
                <a:gd name="T23" fmla="*/ 29 h 30"/>
                <a:gd name="T24" fmla="*/ 20 w 23"/>
                <a:gd name="T25" fmla="*/ 26 h 30"/>
                <a:gd name="T26" fmla="*/ 22 w 23"/>
                <a:gd name="T27" fmla="*/ 21 h 30"/>
                <a:gd name="T28" fmla="*/ 23 w 23"/>
                <a:gd name="T29" fmla="*/ 15 h 30"/>
                <a:gd name="T30" fmla="*/ 23 w 23"/>
                <a:gd name="T31" fmla="*/ 8 h 30"/>
                <a:gd name="T32" fmla="*/ 19 w 23"/>
                <a:gd name="T33" fmla="*/ 20 h 30"/>
                <a:gd name="T34" fmla="*/ 17 w 23"/>
                <a:gd name="T35" fmla="*/ 24 h 30"/>
                <a:gd name="T36" fmla="*/ 13 w 23"/>
                <a:gd name="T37" fmla="*/ 26 h 30"/>
                <a:gd name="T38" fmla="*/ 8 w 23"/>
                <a:gd name="T39" fmla="*/ 27 h 30"/>
                <a:gd name="T40" fmla="*/ 4 w 23"/>
                <a:gd name="T41" fmla="*/ 27 h 30"/>
                <a:gd name="T42" fmla="*/ 4 w 23"/>
                <a:gd name="T43" fmla="*/ 3 h 30"/>
                <a:gd name="T44" fmla="*/ 8 w 23"/>
                <a:gd name="T45" fmla="*/ 3 h 30"/>
                <a:gd name="T46" fmla="*/ 13 w 23"/>
                <a:gd name="T47" fmla="*/ 4 h 30"/>
                <a:gd name="T48" fmla="*/ 17 w 23"/>
                <a:gd name="T49" fmla="*/ 6 h 30"/>
                <a:gd name="T50" fmla="*/ 19 w 23"/>
                <a:gd name="T51" fmla="*/ 10 h 30"/>
                <a:gd name="T52" fmla="*/ 19 w 23"/>
                <a:gd name="T53" fmla="*/ 15 h 30"/>
                <a:gd name="T54" fmla="*/ 19 w 23"/>
                <a:gd name="T55"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30">
                  <a:moveTo>
                    <a:pt x="23" y="8"/>
                  </a:moveTo>
                  <a:cubicBezTo>
                    <a:pt x="22" y="7"/>
                    <a:pt x="21" y="5"/>
                    <a:pt x="20" y="4"/>
                  </a:cubicBezTo>
                  <a:cubicBezTo>
                    <a:pt x="19" y="3"/>
                    <a:pt x="17" y="2"/>
                    <a:pt x="15" y="1"/>
                  </a:cubicBezTo>
                  <a:cubicBezTo>
                    <a:pt x="13" y="0"/>
                    <a:pt x="11" y="0"/>
                    <a:pt x="9" y="0"/>
                  </a:cubicBezTo>
                  <a:cubicBezTo>
                    <a:pt x="2" y="0"/>
                    <a:pt x="2" y="0"/>
                    <a:pt x="2" y="0"/>
                  </a:cubicBezTo>
                  <a:cubicBezTo>
                    <a:pt x="1" y="0"/>
                    <a:pt x="1" y="0"/>
                    <a:pt x="1" y="0"/>
                  </a:cubicBezTo>
                  <a:cubicBezTo>
                    <a:pt x="0" y="0"/>
                    <a:pt x="0" y="1"/>
                    <a:pt x="0" y="1"/>
                  </a:cubicBezTo>
                  <a:cubicBezTo>
                    <a:pt x="0" y="29"/>
                    <a:pt x="0" y="29"/>
                    <a:pt x="0" y="29"/>
                  </a:cubicBezTo>
                  <a:cubicBezTo>
                    <a:pt x="0" y="29"/>
                    <a:pt x="0" y="30"/>
                    <a:pt x="1" y="30"/>
                  </a:cubicBezTo>
                  <a:cubicBezTo>
                    <a:pt x="1" y="30"/>
                    <a:pt x="1" y="30"/>
                    <a:pt x="2" y="30"/>
                  </a:cubicBezTo>
                  <a:cubicBezTo>
                    <a:pt x="8" y="30"/>
                    <a:pt x="8" y="30"/>
                    <a:pt x="8" y="30"/>
                  </a:cubicBezTo>
                  <a:cubicBezTo>
                    <a:pt x="11" y="30"/>
                    <a:pt x="13" y="30"/>
                    <a:pt x="15" y="29"/>
                  </a:cubicBezTo>
                  <a:cubicBezTo>
                    <a:pt x="17" y="29"/>
                    <a:pt x="18" y="28"/>
                    <a:pt x="20" y="26"/>
                  </a:cubicBezTo>
                  <a:cubicBezTo>
                    <a:pt x="21" y="25"/>
                    <a:pt x="22" y="23"/>
                    <a:pt x="22" y="21"/>
                  </a:cubicBezTo>
                  <a:cubicBezTo>
                    <a:pt x="23" y="19"/>
                    <a:pt x="23" y="17"/>
                    <a:pt x="23" y="15"/>
                  </a:cubicBezTo>
                  <a:cubicBezTo>
                    <a:pt x="23" y="12"/>
                    <a:pt x="23" y="10"/>
                    <a:pt x="23" y="8"/>
                  </a:cubicBezTo>
                  <a:close/>
                  <a:moveTo>
                    <a:pt x="19" y="20"/>
                  </a:moveTo>
                  <a:cubicBezTo>
                    <a:pt x="18" y="22"/>
                    <a:pt x="17" y="23"/>
                    <a:pt x="17" y="24"/>
                  </a:cubicBezTo>
                  <a:cubicBezTo>
                    <a:pt x="16" y="25"/>
                    <a:pt x="15" y="26"/>
                    <a:pt x="13" y="26"/>
                  </a:cubicBezTo>
                  <a:cubicBezTo>
                    <a:pt x="12" y="27"/>
                    <a:pt x="10" y="27"/>
                    <a:pt x="8" y="27"/>
                  </a:cubicBezTo>
                  <a:cubicBezTo>
                    <a:pt x="4" y="27"/>
                    <a:pt x="4" y="27"/>
                    <a:pt x="4" y="27"/>
                  </a:cubicBezTo>
                  <a:cubicBezTo>
                    <a:pt x="4" y="3"/>
                    <a:pt x="4" y="3"/>
                    <a:pt x="4" y="3"/>
                  </a:cubicBezTo>
                  <a:cubicBezTo>
                    <a:pt x="8" y="3"/>
                    <a:pt x="8" y="3"/>
                    <a:pt x="8" y="3"/>
                  </a:cubicBezTo>
                  <a:cubicBezTo>
                    <a:pt x="10" y="3"/>
                    <a:pt x="12" y="3"/>
                    <a:pt x="13" y="4"/>
                  </a:cubicBezTo>
                  <a:cubicBezTo>
                    <a:pt x="15" y="5"/>
                    <a:pt x="16" y="5"/>
                    <a:pt x="17" y="6"/>
                  </a:cubicBezTo>
                  <a:cubicBezTo>
                    <a:pt x="18" y="8"/>
                    <a:pt x="18" y="9"/>
                    <a:pt x="19" y="10"/>
                  </a:cubicBezTo>
                  <a:cubicBezTo>
                    <a:pt x="19" y="12"/>
                    <a:pt x="19" y="13"/>
                    <a:pt x="19" y="15"/>
                  </a:cubicBezTo>
                  <a:cubicBezTo>
                    <a:pt x="19" y="17"/>
                    <a:pt x="19" y="19"/>
                    <a:pt x="19" y="2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 name="Freeform 243">
              <a:extLst>
                <a:ext uri="{FF2B5EF4-FFF2-40B4-BE49-F238E27FC236}">
                  <a16:creationId xmlns:a16="http://schemas.microsoft.com/office/drawing/2014/main" id="{66C59BBA-7030-4CC1-B44D-93C4E0A40E65}"/>
                </a:ext>
              </a:extLst>
            </p:cNvPr>
            <p:cNvSpPr>
              <a:spLocks noEditPoints="1"/>
            </p:cNvSpPr>
            <p:nvPr/>
          </p:nvSpPr>
          <p:spPr bwMode="auto">
            <a:xfrm>
              <a:off x="6410617" y="5301174"/>
              <a:ext cx="64932" cy="82247"/>
            </a:xfrm>
            <a:custGeom>
              <a:avLst/>
              <a:gdLst>
                <a:gd name="T0" fmla="*/ 19 w 19"/>
                <a:gd name="T1" fmla="*/ 10 h 24"/>
                <a:gd name="T2" fmla="*/ 19 w 19"/>
                <a:gd name="T3" fmla="*/ 7 h 24"/>
                <a:gd name="T4" fmla="*/ 17 w 19"/>
                <a:gd name="T5" fmla="*/ 3 h 24"/>
                <a:gd name="T6" fmla="*/ 14 w 19"/>
                <a:gd name="T7" fmla="*/ 1 h 24"/>
                <a:gd name="T8" fmla="*/ 10 w 19"/>
                <a:gd name="T9" fmla="*/ 0 h 24"/>
                <a:gd name="T10" fmla="*/ 6 w 19"/>
                <a:gd name="T11" fmla="*/ 1 h 24"/>
                <a:gd name="T12" fmla="*/ 3 w 19"/>
                <a:gd name="T13" fmla="*/ 4 h 24"/>
                <a:gd name="T14" fmla="*/ 1 w 19"/>
                <a:gd name="T15" fmla="*/ 7 h 24"/>
                <a:gd name="T16" fmla="*/ 0 w 19"/>
                <a:gd name="T17" fmla="*/ 12 h 24"/>
                <a:gd name="T18" fmla="*/ 1 w 19"/>
                <a:gd name="T19" fmla="*/ 17 h 24"/>
                <a:gd name="T20" fmla="*/ 3 w 19"/>
                <a:gd name="T21" fmla="*/ 21 h 24"/>
                <a:gd name="T22" fmla="*/ 6 w 19"/>
                <a:gd name="T23" fmla="*/ 23 h 24"/>
                <a:gd name="T24" fmla="*/ 10 w 19"/>
                <a:gd name="T25" fmla="*/ 24 h 24"/>
                <a:gd name="T26" fmla="*/ 13 w 19"/>
                <a:gd name="T27" fmla="*/ 23 h 24"/>
                <a:gd name="T28" fmla="*/ 16 w 19"/>
                <a:gd name="T29" fmla="*/ 23 h 24"/>
                <a:gd name="T30" fmla="*/ 17 w 19"/>
                <a:gd name="T31" fmla="*/ 22 h 24"/>
                <a:gd name="T32" fmla="*/ 18 w 19"/>
                <a:gd name="T33" fmla="*/ 22 h 24"/>
                <a:gd name="T34" fmla="*/ 18 w 19"/>
                <a:gd name="T35" fmla="*/ 22 h 24"/>
                <a:gd name="T36" fmla="*/ 18 w 19"/>
                <a:gd name="T37" fmla="*/ 21 h 24"/>
                <a:gd name="T38" fmla="*/ 18 w 19"/>
                <a:gd name="T39" fmla="*/ 21 h 24"/>
                <a:gd name="T40" fmla="*/ 18 w 19"/>
                <a:gd name="T41" fmla="*/ 20 h 24"/>
                <a:gd name="T42" fmla="*/ 18 w 19"/>
                <a:gd name="T43" fmla="*/ 20 h 24"/>
                <a:gd name="T44" fmla="*/ 18 w 19"/>
                <a:gd name="T45" fmla="*/ 19 h 24"/>
                <a:gd name="T46" fmla="*/ 18 w 19"/>
                <a:gd name="T47" fmla="*/ 19 h 24"/>
                <a:gd name="T48" fmla="*/ 18 w 19"/>
                <a:gd name="T49" fmla="*/ 19 h 24"/>
                <a:gd name="T50" fmla="*/ 17 w 19"/>
                <a:gd name="T51" fmla="*/ 19 h 24"/>
                <a:gd name="T52" fmla="*/ 15 w 19"/>
                <a:gd name="T53" fmla="*/ 20 h 24"/>
                <a:gd name="T54" fmla="*/ 13 w 19"/>
                <a:gd name="T55" fmla="*/ 20 h 24"/>
                <a:gd name="T56" fmla="*/ 11 w 19"/>
                <a:gd name="T57" fmla="*/ 20 h 24"/>
                <a:gd name="T58" fmla="*/ 8 w 19"/>
                <a:gd name="T59" fmla="*/ 20 h 24"/>
                <a:gd name="T60" fmla="*/ 5 w 19"/>
                <a:gd name="T61" fmla="*/ 18 h 24"/>
                <a:gd name="T62" fmla="*/ 4 w 19"/>
                <a:gd name="T63" fmla="*/ 16 h 24"/>
                <a:gd name="T64" fmla="*/ 4 w 19"/>
                <a:gd name="T65" fmla="*/ 13 h 24"/>
                <a:gd name="T66" fmla="*/ 18 w 19"/>
                <a:gd name="T67" fmla="*/ 13 h 24"/>
                <a:gd name="T68" fmla="*/ 19 w 19"/>
                <a:gd name="T69" fmla="*/ 12 h 24"/>
                <a:gd name="T70" fmla="*/ 19 w 19"/>
                <a:gd name="T71" fmla="*/ 11 h 24"/>
                <a:gd name="T72" fmla="*/ 19 w 19"/>
                <a:gd name="T73" fmla="*/ 10 h 24"/>
                <a:gd name="T74" fmla="*/ 4 w 19"/>
                <a:gd name="T75" fmla="*/ 10 h 24"/>
                <a:gd name="T76" fmla="*/ 4 w 19"/>
                <a:gd name="T77" fmla="*/ 8 h 24"/>
                <a:gd name="T78" fmla="*/ 5 w 19"/>
                <a:gd name="T79" fmla="*/ 5 h 24"/>
                <a:gd name="T80" fmla="*/ 7 w 19"/>
                <a:gd name="T81" fmla="*/ 4 h 24"/>
                <a:gd name="T82" fmla="*/ 10 w 19"/>
                <a:gd name="T83" fmla="*/ 3 h 24"/>
                <a:gd name="T84" fmla="*/ 14 w 19"/>
                <a:gd name="T85" fmla="*/ 5 h 24"/>
                <a:gd name="T86" fmla="*/ 15 w 19"/>
                <a:gd name="T87" fmla="*/ 10 h 24"/>
                <a:gd name="T88" fmla="*/ 4 w 19"/>
                <a:gd name="T89"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4">
                  <a:moveTo>
                    <a:pt x="19" y="10"/>
                  </a:moveTo>
                  <a:cubicBezTo>
                    <a:pt x="19" y="9"/>
                    <a:pt x="19" y="8"/>
                    <a:pt x="19" y="7"/>
                  </a:cubicBezTo>
                  <a:cubicBezTo>
                    <a:pt x="18" y="5"/>
                    <a:pt x="18" y="4"/>
                    <a:pt x="17" y="3"/>
                  </a:cubicBezTo>
                  <a:cubicBezTo>
                    <a:pt x="16" y="2"/>
                    <a:pt x="15" y="2"/>
                    <a:pt x="14" y="1"/>
                  </a:cubicBezTo>
                  <a:cubicBezTo>
                    <a:pt x="13" y="1"/>
                    <a:pt x="12" y="0"/>
                    <a:pt x="10" y="0"/>
                  </a:cubicBezTo>
                  <a:cubicBezTo>
                    <a:pt x="8" y="0"/>
                    <a:pt x="7" y="1"/>
                    <a:pt x="6" y="1"/>
                  </a:cubicBezTo>
                  <a:cubicBezTo>
                    <a:pt x="5" y="2"/>
                    <a:pt x="3" y="3"/>
                    <a:pt x="3" y="4"/>
                  </a:cubicBezTo>
                  <a:cubicBezTo>
                    <a:pt x="2" y="5"/>
                    <a:pt x="1" y="6"/>
                    <a:pt x="1" y="7"/>
                  </a:cubicBezTo>
                  <a:cubicBezTo>
                    <a:pt x="0" y="9"/>
                    <a:pt x="0" y="10"/>
                    <a:pt x="0" y="12"/>
                  </a:cubicBezTo>
                  <a:cubicBezTo>
                    <a:pt x="0" y="14"/>
                    <a:pt x="0" y="16"/>
                    <a:pt x="1" y="17"/>
                  </a:cubicBezTo>
                  <a:cubicBezTo>
                    <a:pt x="1" y="19"/>
                    <a:pt x="2" y="20"/>
                    <a:pt x="3" y="21"/>
                  </a:cubicBezTo>
                  <a:cubicBezTo>
                    <a:pt x="3" y="22"/>
                    <a:pt x="5" y="22"/>
                    <a:pt x="6" y="23"/>
                  </a:cubicBezTo>
                  <a:cubicBezTo>
                    <a:pt x="7" y="23"/>
                    <a:pt x="9" y="24"/>
                    <a:pt x="10" y="24"/>
                  </a:cubicBezTo>
                  <a:cubicBezTo>
                    <a:pt x="11" y="24"/>
                    <a:pt x="12" y="24"/>
                    <a:pt x="13" y="23"/>
                  </a:cubicBezTo>
                  <a:cubicBezTo>
                    <a:pt x="14" y="23"/>
                    <a:pt x="15" y="23"/>
                    <a:pt x="16" y="23"/>
                  </a:cubicBezTo>
                  <a:cubicBezTo>
                    <a:pt x="16" y="23"/>
                    <a:pt x="17" y="23"/>
                    <a:pt x="17" y="22"/>
                  </a:cubicBezTo>
                  <a:cubicBezTo>
                    <a:pt x="18" y="22"/>
                    <a:pt x="18" y="22"/>
                    <a:pt x="18" y="22"/>
                  </a:cubicBezTo>
                  <a:cubicBezTo>
                    <a:pt x="18" y="22"/>
                    <a:pt x="18" y="22"/>
                    <a:pt x="18" y="22"/>
                  </a:cubicBezTo>
                  <a:cubicBezTo>
                    <a:pt x="18" y="22"/>
                    <a:pt x="18" y="21"/>
                    <a:pt x="18" y="21"/>
                  </a:cubicBezTo>
                  <a:cubicBezTo>
                    <a:pt x="18" y="21"/>
                    <a:pt x="18" y="21"/>
                    <a:pt x="18" y="21"/>
                  </a:cubicBezTo>
                  <a:cubicBezTo>
                    <a:pt x="18" y="21"/>
                    <a:pt x="18" y="21"/>
                    <a:pt x="18" y="20"/>
                  </a:cubicBezTo>
                  <a:cubicBezTo>
                    <a:pt x="18" y="20"/>
                    <a:pt x="18" y="20"/>
                    <a:pt x="18" y="20"/>
                  </a:cubicBezTo>
                  <a:cubicBezTo>
                    <a:pt x="18" y="19"/>
                    <a:pt x="18" y="19"/>
                    <a:pt x="18" y="19"/>
                  </a:cubicBezTo>
                  <a:cubicBezTo>
                    <a:pt x="18" y="19"/>
                    <a:pt x="18" y="19"/>
                    <a:pt x="18" y="19"/>
                  </a:cubicBezTo>
                  <a:cubicBezTo>
                    <a:pt x="18" y="19"/>
                    <a:pt x="18" y="19"/>
                    <a:pt x="18" y="19"/>
                  </a:cubicBezTo>
                  <a:cubicBezTo>
                    <a:pt x="18" y="19"/>
                    <a:pt x="17" y="19"/>
                    <a:pt x="17" y="19"/>
                  </a:cubicBezTo>
                  <a:cubicBezTo>
                    <a:pt x="17" y="19"/>
                    <a:pt x="16" y="19"/>
                    <a:pt x="15" y="20"/>
                  </a:cubicBezTo>
                  <a:cubicBezTo>
                    <a:pt x="15" y="20"/>
                    <a:pt x="14" y="20"/>
                    <a:pt x="13" y="20"/>
                  </a:cubicBezTo>
                  <a:cubicBezTo>
                    <a:pt x="13" y="20"/>
                    <a:pt x="12" y="20"/>
                    <a:pt x="11" y="20"/>
                  </a:cubicBezTo>
                  <a:cubicBezTo>
                    <a:pt x="9" y="20"/>
                    <a:pt x="8" y="20"/>
                    <a:pt x="8" y="20"/>
                  </a:cubicBezTo>
                  <a:cubicBezTo>
                    <a:pt x="7" y="20"/>
                    <a:pt x="6" y="19"/>
                    <a:pt x="5" y="18"/>
                  </a:cubicBezTo>
                  <a:cubicBezTo>
                    <a:pt x="5" y="18"/>
                    <a:pt x="4" y="17"/>
                    <a:pt x="4" y="16"/>
                  </a:cubicBezTo>
                  <a:cubicBezTo>
                    <a:pt x="4" y="15"/>
                    <a:pt x="4" y="14"/>
                    <a:pt x="4" y="13"/>
                  </a:cubicBezTo>
                  <a:cubicBezTo>
                    <a:pt x="18" y="13"/>
                    <a:pt x="18" y="13"/>
                    <a:pt x="18" y="13"/>
                  </a:cubicBezTo>
                  <a:cubicBezTo>
                    <a:pt x="18" y="13"/>
                    <a:pt x="18" y="13"/>
                    <a:pt x="19" y="12"/>
                  </a:cubicBezTo>
                  <a:cubicBezTo>
                    <a:pt x="19" y="12"/>
                    <a:pt x="19" y="12"/>
                    <a:pt x="19" y="11"/>
                  </a:cubicBezTo>
                  <a:cubicBezTo>
                    <a:pt x="19" y="10"/>
                    <a:pt x="19" y="10"/>
                    <a:pt x="19" y="10"/>
                  </a:cubicBezTo>
                  <a:close/>
                  <a:moveTo>
                    <a:pt x="4" y="10"/>
                  </a:moveTo>
                  <a:cubicBezTo>
                    <a:pt x="4" y="9"/>
                    <a:pt x="4" y="8"/>
                    <a:pt x="4" y="8"/>
                  </a:cubicBezTo>
                  <a:cubicBezTo>
                    <a:pt x="5" y="7"/>
                    <a:pt x="5" y="6"/>
                    <a:pt x="5" y="5"/>
                  </a:cubicBezTo>
                  <a:cubicBezTo>
                    <a:pt x="6" y="5"/>
                    <a:pt x="7" y="4"/>
                    <a:pt x="7" y="4"/>
                  </a:cubicBezTo>
                  <a:cubicBezTo>
                    <a:pt x="8" y="4"/>
                    <a:pt x="9" y="3"/>
                    <a:pt x="10" y="3"/>
                  </a:cubicBezTo>
                  <a:cubicBezTo>
                    <a:pt x="12" y="3"/>
                    <a:pt x="13" y="4"/>
                    <a:pt x="14" y="5"/>
                  </a:cubicBezTo>
                  <a:cubicBezTo>
                    <a:pt x="15" y="6"/>
                    <a:pt x="15" y="8"/>
                    <a:pt x="15" y="10"/>
                  </a:cubicBezTo>
                  <a:cubicBezTo>
                    <a:pt x="4" y="10"/>
                    <a:pt x="4" y="10"/>
                    <a:pt x="4" y="1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 name="Freeform 244">
              <a:extLst>
                <a:ext uri="{FF2B5EF4-FFF2-40B4-BE49-F238E27FC236}">
                  <a16:creationId xmlns:a16="http://schemas.microsoft.com/office/drawing/2014/main" id="{0920FD1B-8728-474F-BE14-3A908FB8BFB4}"/>
                </a:ext>
              </a:extLst>
            </p:cNvPr>
            <p:cNvSpPr>
              <a:spLocks/>
            </p:cNvSpPr>
            <p:nvPr/>
          </p:nvSpPr>
          <p:spPr bwMode="auto">
            <a:xfrm>
              <a:off x="6485649" y="5304060"/>
              <a:ext cx="67817" cy="75032"/>
            </a:xfrm>
            <a:custGeom>
              <a:avLst/>
              <a:gdLst>
                <a:gd name="T0" fmla="*/ 20 w 20"/>
                <a:gd name="T1" fmla="*/ 0 h 22"/>
                <a:gd name="T2" fmla="*/ 20 w 20"/>
                <a:gd name="T3" fmla="*/ 0 h 22"/>
                <a:gd name="T4" fmla="*/ 20 w 20"/>
                <a:gd name="T5" fmla="*/ 0 h 22"/>
                <a:gd name="T6" fmla="*/ 19 w 20"/>
                <a:gd name="T7" fmla="*/ 0 h 22"/>
                <a:gd name="T8" fmla="*/ 18 w 20"/>
                <a:gd name="T9" fmla="*/ 0 h 22"/>
                <a:gd name="T10" fmla="*/ 17 w 20"/>
                <a:gd name="T11" fmla="*/ 0 h 22"/>
                <a:gd name="T12" fmla="*/ 17 w 20"/>
                <a:gd name="T13" fmla="*/ 0 h 22"/>
                <a:gd name="T14" fmla="*/ 16 w 20"/>
                <a:gd name="T15" fmla="*/ 1 h 22"/>
                <a:gd name="T16" fmla="*/ 11 w 20"/>
                <a:gd name="T17" fmla="*/ 18 h 22"/>
                <a:gd name="T18" fmla="*/ 11 w 20"/>
                <a:gd name="T19" fmla="*/ 18 h 22"/>
                <a:gd name="T20" fmla="*/ 10 w 20"/>
                <a:gd name="T21" fmla="*/ 18 h 22"/>
                <a:gd name="T22" fmla="*/ 4 w 20"/>
                <a:gd name="T23" fmla="*/ 1 h 22"/>
                <a:gd name="T24" fmla="*/ 4 w 20"/>
                <a:gd name="T25" fmla="*/ 0 h 22"/>
                <a:gd name="T26" fmla="*/ 4 w 20"/>
                <a:gd name="T27" fmla="*/ 0 h 22"/>
                <a:gd name="T28" fmla="*/ 3 w 20"/>
                <a:gd name="T29" fmla="*/ 0 h 22"/>
                <a:gd name="T30" fmla="*/ 2 w 20"/>
                <a:gd name="T31" fmla="*/ 0 h 22"/>
                <a:gd name="T32" fmla="*/ 1 w 20"/>
                <a:gd name="T33" fmla="*/ 0 h 22"/>
                <a:gd name="T34" fmla="*/ 1 w 20"/>
                <a:gd name="T35" fmla="*/ 0 h 22"/>
                <a:gd name="T36" fmla="*/ 0 w 20"/>
                <a:gd name="T37" fmla="*/ 0 h 22"/>
                <a:gd name="T38" fmla="*/ 0 w 20"/>
                <a:gd name="T39" fmla="*/ 0 h 22"/>
                <a:gd name="T40" fmla="*/ 0 w 20"/>
                <a:gd name="T41" fmla="*/ 1 h 22"/>
                <a:gd name="T42" fmla="*/ 0 w 20"/>
                <a:gd name="T43" fmla="*/ 1 h 22"/>
                <a:gd name="T44" fmla="*/ 1 w 20"/>
                <a:gd name="T45" fmla="*/ 1 h 22"/>
                <a:gd name="T46" fmla="*/ 8 w 20"/>
                <a:gd name="T47" fmla="*/ 21 h 22"/>
                <a:gd name="T48" fmla="*/ 8 w 20"/>
                <a:gd name="T49" fmla="*/ 22 h 22"/>
                <a:gd name="T50" fmla="*/ 8 w 20"/>
                <a:gd name="T51" fmla="*/ 22 h 22"/>
                <a:gd name="T52" fmla="*/ 9 w 20"/>
                <a:gd name="T53" fmla="*/ 22 h 22"/>
                <a:gd name="T54" fmla="*/ 10 w 20"/>
                <a:gd name="T55" fmla="*/ 22 h 22"/>
                <a:gd name="T56" fmla="*/ 12 w 20"/>
                <a:gd name="T57" fmla="*/ 22 h 22"/>
                <a:gd name="T58" fmla="*/ 12 w 20"/>
                <a:gd name="T59" fmla="*/ 22 h 22"/>
                <a:gd name="T60" fmla="*/ 13 w 20"/>
                <a:gd name="T61" fmla="*/ 22 h 22"/>
                <a:gd name="T62" fmla="*/ 13 w 20"/>
                <a:gd name="T63" fmla="*/ 21 h 22"/>
                <a:gd name="T64" fmla="*/ 20 w 20"/>
                <a:gd name="T65" fmla="*/ 1 h 22"/>
                <a:gd name="T66" fmla="*/ 20 w 20"/>
                <a:gd name="T67" fmla="*/ 1 h 22"/>
                <a:gd name="T68" fmla="*/ 20 w 20"/>
                <a:gd name="T69" fmla="*/ 1 h 22"/>
                <a:gd name="T70" fmla="*/ 20 w 20"/>
                <a:gd name="T71" fmla="*/ 1 h 22"/>
                <a:gd name="T72" fmla="*/ 20 w 20"/>
                <a:gd name="T73" fmla="*/ 0 h 22"/>
                <a:gd name="T74" fmla="*/ 20 w 20"/>
                <a:gd name="T7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22">
                  <a:moveTo>
                    <a:pt x="20" y="0"/>
                  </a:moveTo>
                  <a:cubicBezTo>
                    <a:pt x="20" y="0"/>
                    <a:pt x="20" y="0"/>
                    <a:pt x="20" y="0"/>
                  </a:cubicBezTo>
                  <a:cubicBezTo>
                    <a:pt x="20" y="0"/>
                    <a:pt x="20" y="0"/>
                    <a:pt x="20" y="0"/>
                  </a:cubicBezTo>
                  <a:cubicBezTo>
                    <a:pt x="19" y="0"/>
                    <a:pt x="19" y="0"/>
                    <a:pt x="19" y="0"/>
                  </a:cubicBezTo>
                  <a:cubicBezTo>
                    <a:pt x="18" y="0"/>
                    <a:pt x="18" y="0"/>
                    <a:pt x="18" y="0"/>
                  </a:cubicBezTo>
                  <a:cubicBezTo>
                    <a:pt x="17" y="0"/>
                    <a:pt x="17" y="0"/>
                    <a:pt x="17" y="0"/>
                  </a:cubicBezTo>
                  <a:cubicBezTo>
                    <a:pt x="17" y="0"/>
                    <a:pt x="17" y="0"/>
                    <a:pt x="17" y="0"/>
                  </a:cubicBezTo>
                  <a:cubicBezTo>
                    <a:pt x="17" y="0"/>
                    <a:pt x="17" y="0"/>
                    <a:pt x="16" y="1"/>
                  </a:cubicBezTo>
                  <a:cubicBezTo>
                    <a:pt x="11" y="18"/>
                    <a:pt x="11" y="18"/>
                    <a:pt x="11" y="18"/>
                  </a:cubicBezTo>
                  <a:cubicBezTo>
                    <a:pt x="11" y="18"/>
                    <a:pt x="11" y="18"/>
                    <a:pt x="11" y="18"/>
                  </a:cubicBezTo>
                  <a:cubicBezTo>
                    <a:pt x="10" y="18"/>
                    <a:pt x="10" y="18"/>
                    <a:pt x="10" y="18"/>
                  </a:cubicBezTo>
                  <a:cubicBezTo>
                    <a:pt x="4" y="1"/>
                    <a:pt x="4" y="1"/>
                    <a:pt x="4" y="1"/>
                  </a:cubicBezTo>
                  <a:cubicBezTo>
                    <a:pt x="4" y="0"/>
                    <a:pt x="4" y="0"/>
                    <a:pt x="4" y="0"/>
                  </a:cubicBezTo>
                  <a:cubicBezTo>
                    <a:pt x="4" y="0"/>
                    <a:pt x="4" y="0"/>
                    <a:pt x="4" y="0"/>
                  </a:cubicBezTo>
                  <a:cubicBezTo>
                    <a:pt x="4" y="0"/>
                    <a:pt x="4" y="0"/>
                    <a:pt x="3" y="0"/>
                  </a:cubicBezTo>
                  <a:cubicBezTo>
                    <a:pt x="3" y="0"/>
                    <a:pt x="3" y="0"/>
                    <a:pt x="2" y="0"/>
                  </a:cubicBezTo>
                  <a:cubicBezTo>
                    <a:pt x="2" y="0"/>
                    <a:pt x="2" y="0"/>
                    <a:pt x="1" y="0"/>
                  </a:cubicBezTo>
                  <a:cubicBezTo>
                    <a:pt x="1" y="0"/>
                    <a:pt x="1" y="0"/>
                    <a:pt x="1" y="0"/>
                  </a:cubicBezTo>
                  <a:cubicBezTo>
                    <a:pt x="1" y="0"/>
                    <a:pt x="1" y="0"/>
                    <a:pt x="0" y="0"/>
                  </a:cubicBezTo>
                  <a:cubicBezTo>
                    <a:pt x="0" y="0"/>
                    <a:pt x="0" y="0"/>
                    <a:pt x="0" y="0"/>
                  </a:cubicBezTo>
                  <a:cubicBezTo>
                    <a:pt x="0" y="1"/>
                    <a:pt x="0" y="1"/>
                    <a:pt x="0" y="1"/>
                  </a:cubicBezTo>
                  <a:cubicBezTo>
                    <a:pt x="0" y="1"/>
                    <a:pt x="0" y="1"/>
                    <a:pt x="0" y="1"/>
                  </a:cubicBezTo>
                  <a:cubicBezTo>
                    <a:pt x="0" y="1"/>
                    <a:pt x="1" y="1"/>
                    <a:pt x="1" y="1"/>
                  </a:cubicBezTo>
                  <a:cubicBezTo>
                    <a:pt x="8" y="21"/>
                    <a:pt x="8" y="21"/>
                    <a:pt x="8" y="21"/>
                  </a:cubicBezTo>
                  <a:cubicBezTo>
                    <a:pt x="8" y="22"/>
                    <a:pt x="8" y="22"/>
                    <a:pt x="8" y="22"/>
                  </a:cubicBezTo>
                  <a:cubicBezTo>
                    <a:pt x="8" y="22"/>
                    <a:pt x="8" y="22"/>
                    <a:pt x="8" y="22"/>
                  </a:cubicBezTo>
                  <a:cubicBezTo>
                    <a:pt x="9" y="22"/>
                    <a:pt x="9" y="22"/>
                    <a:pt x="9" y="22"/>
                  </a:cubicBezTo>
                  <a:cubicBezTo>
                    <a:pt x="10" y="22"/>
                    <a:pt x="10" y="22"/>
                    <a:pt x="10" y="22"/>
                  </a:cubicBezTo>
                  <a:cubicBezTo>
                    <a:pt x="11" y="22"/>
                    <a:pt x="11" y="22"/>
                    <a:pt x="12" y="22"/>
                  </a:cubicBezTo>
                  <a:cubicBezTo>
                    <a:pt x="12" y="22"/>
                    <a:pt x="12" y="22"/>
                    <a:pt x="12" y="22"/>
                  </a:cubicBezTo>
                  <a:cubicBezTo>
                    <a:pt x="13" y="22"/>
                    <a:pt x="13" y="22"/>
                    <a:pt x="13" y="22"/>
                  </a:cubicBezTo>
                  <a:cubicBezTo>
                    <a:pt x="13" y="22"/>
                    <a:pt x="13" y="22"/>
                    <a:pt x="13" y="21"/>
                  </a:cubicBezTo>
                  <a:cubicBezTo>
                    <a:pt x="20" y="1"/>
                    <a:pt x="20" y="1"/>
                    <a:pt x="20" y="1"/>
                  </a:cubicBezTo>
                  <a:cubicBezTo>
                    <a:pt x="20" y="1"/>
                    <a:pt x="20" y="1"/>
                    <a:pt x="20" y="1"/>
                  </a:cubicBezTo>
                  <a:cubicBezTo>
                    <a:pt x="20" y="1"/>
                    <a:pt x="20" y="1"/>
                    <a:pt x="20" y="1"/>
                  </a:cubicBezTo>
                  <a:cubicBezTo>
                    <a:pt x="20" y="1"/>
                    <a:pt x="20" y="1"/>
                    <a:pt x="20" y="1"/>
                  </a:cubicBezTo>
                  <a:cubicBezTo>
                    <a:pt x="20" y="1"/>
                    <a:pt x="20" y="1"/>
                    <a:pt x="20" y="0"/>
                  </a:cubicBezTo>
                  <a:cubicBezTo>
                    <a:pt x="20" y="0"/>
                    <a:pt x="20" y="0"/>
                    <a:pt x="20" y="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45">
              <a:extLst>
                <a:ext uri="{FF2B5EF4-FFF2-40B4-BE49-F238E27FC236}">
                  <a16:creationId xmlns:a16="http://schemas.microsoft.com/office/drawing/2014/main" id="{CCF16753-2590-4F97-9818-91072C5050BC}"/>
                </a:ext>
              </a:extLst>
            </p:cNvPr>
            <p:cNvSpPr>
              <a:spLocks noEditPoints="1"/>
            </p:cNvSpPr>
            <p:nvPr/>
          </p:nvSpPr>
          <p:spPr bwMode="auto">
            <a:xfrm>
              <a:off x="6567895" y="5273759"/>
              <a:ext cx="92346" cy="109661"/>
            </a:xfrm>
            <a:custGeom>
              <a:avLst/>
              <a:gdLst>
                <a:gd name="T0" fmla="*/ 26 w 27"/>
                <a:gd name="T1" fmla="*/ 9 h 32"/>
                <a:gd name="T2" fmla="*/ 23 w 27"/>
                <a:gd name="T3" fmla="*/ 4 h 32"/>
                <a:gd name="T4" fmla="*/ 19 w 27"/>
                <a:gd name="T5" fmla="*/ 1 h 32"/>
                <a:gd name="T6" fmla="*/ 13 w 27"/>
                <a:gd name="T7" fmla="*/ 0 h 32"/>
                <a:gd name="T8" fmla="*/ 7 w 27"/>
                <a:gd name="T9" fmla="*/ 2 h 32"/>
                <a:gd name="T10" fmla="*/ 3 w 27"/>
                <a:gd name="T11" fmla="*/ 5 h 32"/>
                <a:gd name="T12" fmla="*/ 0 w 27"/>
                <a:gd name="T13" fmla="*/ 10 h 32"/>
                <a:gd name="T14" fmla="*/ 0 w 27"/>
                <a:gd name="T15" fmla="*/ 16 h 32"/>
                <a:gd name="T16" fmla="*/ 0 w 27"/>
                <a:gd name="T17" fmla="*/ 23 h 32"/>
                <a:gd name="T18" fmla="*/ 3 w 27"/>
                <a:gd name="T19" fmla="*/ 28 h 32"/>
                <a:gd name="T20" fmla="*/ 7 w 27"/>
                <a:gd name="T21" fmla="*/ 31 h 32"/>
                <a:gd name="T22" fmla="*/ 13 w 27"/>
                <a:gd name="T23" fmla="*/ 32 h 32"/>
                <a:gd name="T24" fmla="*/ 19 w 27"/>
                <a:gd name="T25" fmla="*/ 31 h 32"/>
                <a:gd name="T26" fmla="*/ 23 w 27"/>
                <a:gd name="T27" fmla="*/ 27 h 32"/>
                <a:gd name="T28" fmla="*/ 26 w 27"/>
                <a:gd name="T29" fmla="*/ 22 h 32"/>
                <a:gd name="T30" fmla="*/ 27 w 27"/>
                <a:gd name="T31" fmla="*/ 16 h 32"/>
                <a:gd name="T32" fmla="*/ 26 w 27"/>
                <a:gd name="T33" fmla="*/ 9 h 32"/>
                <a:gd name="T34" fmla="*/ 22 w 27"/>
                <a:gd name="T35" fmla="*/ 21 h 32"/>
                <a:gd name="T36" fmla="*/ 20 w 27"/>
                <a:gd name="T37" fmla="*/ 24 h 32"/>
                <a:gd name="T38" fmla="*/ 18 w 27"/>
                <a:gd name="T39" fmla="*/ 27 h 32"/>
                <a:gd name="T40" fmla="*/ 13 w 27"/>
                <a:gd name="T41" fmla="*/ 28 h 32"/>
                <a:gd name="T42" fmla="*/ 9 w 27"/>
                <a:gd name="T43" fmla="*/ 27 h 32"/>
                <a:gd name="T44" fmla="*/ 6 w 27"/>
                <a:gd name="T45" fmla="*/ 25 h 32"/>
                <a:gd name="T46" fmla="*/ 4 w 27"/>
                <a:gd name="T47" fmla="*/ 21 h 32"/>
                <a:gd name="T48" fmla="*/ 4 w 27"/>
                <a:gd name="T49" fmla="*/ 16 h 32"/>
                <a:gd name="T50" fmla="*/ 4 w 27"/>
                <a:gd name="T51" fmla="*/ 11 h 32"/>
                <a:gd name="T52" fmla="*/ 6 w 27"/>
                <a:gd name="T53" fmla="*/ 7 h 32"/>
                <a:gd name="T54" fmla="*/ 9 w 27"/>
                <a:gd name="T55" fmla="*/ 5 h 32"/>
                <a:gd name="T56" fmla="*/ 13 w 27"/>
                <a:gd name="T57" fmla="*/ 4 h 32"/>
                <a:gd name="T58" fmla="*/ 18 w 27"/>
                <a:gd name="T59" fmla="*/ 5 h 32"/>
                <a:gd name="T60" fmla="*/ 20 w 27"/>
                <a:gd name="T61" fmla="*/ 7 h 32"/>
                <a:gd name="T62" fmla="*/ 22 w 27"/>
                <a:gd name="T63" fmla="*/ 11 h 32"/>
                <a:gd name="T64" fmla="*/ 22 w 27"/>
                <a:gd name="T65" fmla="*/ 16 h 32"/>
                <a:gd name="T66" fmla="*/ 22 w 27"/>
                <a:gd name="T6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32">
                  <a:moveTo>
                    <a:pt x="26" y="9"/>
                  </a:moveTo>
                  <a:cubicBezTo>
                    <a:pt x="25" y="7"/>
                    <a:pt x="25" y="6"/>
                    <a:pt x="23" y="4"/>
                  </a:cubicBezTo>
                  <a:cubicBezTo>
                    <a:pt x="22" y="3"/>
                    <a:pt x="21" y="2"/>
                    <a:pt x="19" y="1"/>
                  </a:cubicBezTo>
                  <a:cubicBezTo>
                    <a:pt x="18" y="1"/>
                    <a:pt x="16" y="0"/>
                    <a:pt x="13" y="0"/>
                  </a:cubicBezTo>
                  <a:cubicBezTo>
                    <a:pt x="11" y="0"/>
                    <a:pt x="9" y="1"/>
                    <a:pt x="7" y="2"/>
                  </a:cubicBezTo>
                  <a:cubicBezTo>
                    <a:pt x="6" y="2"/>
                    <a:pt x="4" y="3"/>
                    <a:pt x="3" y="5"/>
                  </a:cubicBezTo>
                  <a:cubicBezTo>
                    <a:pt x="2" y="6"/>
                    <a:pt x="1" y="8"/>
                    <a:pt x="0" y="10"/>
                  </a:cubicBezTo>
                  <a:cubicBezTo>
                    <a:pt x="0" y="12"/>
                    <a:pt x="0" y="14"/>
                    <a:pt x="0" y="16"/>
                  </a:cubicBezTo>
                  <a:cubicBezTo>
                    <a:pt x="0" y="19"/>
                    <a:pt x="0" y="21"/>
                    <a:pt x="0" y="23"/>
                  </a:cubicBezTo>
                  <a:cubicBezTo>
                    <a:pt x="1" y="25"/>
                    <a:pt x="2" y="26"/>
                    <a:pt x="3" y="28"/>
                  </a:cubicBezTo>
                  <a:cubicBezTo>
                    <a:pt x="4" y="29"/>
                    <a:pt x="5" y="30"/>
                    <a:pt x="7" y="31"/>
                  </a:cubicBezTo>
                  <a:cubicBezTo>
                    <a:pt x="9" y="31"/>
                    <a:pt x="11" y="32"/>
                    <a:pt x="13" y="32"/>
                  </a:cubicBezTo>
                  <a:cubicBezTo>
                    <a:pt x="15" y="32"/>
                    <a:pt x="17" y="31"/>
                    <a:pt x="19" y="31"/>
                  </a:cubicBezTo>
                  <a:cubicBezTo>
                    <a:pt x="21" y="30"/>
                    <a:pt x="22" y="29"/>
                    <a:pt x="23" y="27"/>
                  </a:cubicBezTo>
                  <a:cubicBezTo>
                    <a:pt x="24" y="26"/>
                    <a:pt x="25" y="24"/>
                    <a:pt x="26" y="22"/>
                  </a:cubicBezTo>
                  <a:cubicBezTo>
                    <a:pt x="26" y="20"/>
                    <a:pt x="27" y="18"/>
                    <a:pt x="27" y="16"/>
                  </a:cubicBezTo>
                  <a:cubicBezTo>
                    <a:pt x="27" y="13"/>
                    <a:pt x="26" y="11"/>
                    <a:pt x="26" y="9"/>
                  </a:cubicBezTo>
                  <a:close/>
                  <a:moveTo>
                    <a:pt x="22" y="21"/>
                  </a:moveTo>
                  <a:cubicBezTo>
                    <a:pt x="22" y="22"/>
                    <a:pt x="21" y="23"/>
                    <a:pt x="20" y="24"/>
                  </a:cubicBezTo>
                  <a:cubicBezTo>
                    <a:pt x="20" y="26"/>
                    <a:pt x="19" y="26"/>
                    <a:pt x="18" y="27"/>
                  </a:cubicBezTo>
                  <a:cubicBezTo>
                    <a:pt x="16" y="28"/>
                    <a:pt x="15" y="28"/>
                    <a:pt x="13" y="28"/>
                  </a:cubicBezTo>
                  <a:cubicBezTo>
                    <a:pt x="11" y="28"/>
                    <a:pt x="10" y="28"/>
                    <a:pt x="9" y="27"/>
                  </a:cubicBezTo>
                  <a:cubicBezTo>
                    <a:pt x="7" y="27"/>
                    <a:pt x="7" y="26"/>
                    <a:pt x="6" y="25"/>
                  </a:cubicBezTo>
                  <a:cubicBezTo>
                    <a:pt x="5" y="24"/>
                    <a:pt x="5" y="22"/>
                    <a:pt x="4" y="21"/>
                  </a:cubicBezTo>
                  <a:cubicBezTo>
                    <a:pt x="4" y="19"/>
                    <a:pt x="4" y="18"/>
                    <a:pt x="4" y="16"/>
                  </a:cubicBezTo>
                  <a:cubicBezTo>
                    <a:pt x="4" y="14"/>
                    <a:pt x="4" y="13"/>
                    <a:pt x="4" y="11"/>
                  </a:cubicBezTo>
                  <a:cubicBezTo>
                    <a:pt x="5" y="10"/>
                    <a:pt x="5" y="9"/>
                    <a:pt x="6" y="7"/>
                  </a:cubicBezTo>
                  <a:cubicBezTo>
                    <a:pt x="7" y="6"/>
                    <a:pt x="8" y="5"/>
                    <a:pt x="9" y="5"/>
                  </a:cubicBezTo>
                  <a:cubicBezTo>
                    <a:pt x="10" y="4"/>
                    <a:pt x="11" y="4"/>
                    <a:pt x="13" y="4"/>
                  </a:cubicBezTo>
                  <a:cubicBezTo>
                    <a:pt x="15" y="4"/>
                    <a:pt x="16" y="4"/>
                    <a:pt x="18" y="5"/>
                  </a:cubicBezTo>
                  <a:cubicBezTo>
                    <a:pt x="19" y="5"/>
                    <a:pt x="20" y="6"/>
                    <a:pt x="20" y="7"/>
                  </a:cubicBezTo>
                  <a:cubicBezTo>
                    <a:pt x="21" y="8"/>
                    <a:pt x="22" y="10"/>
                    <a:pt x="22" y="11"/>
                  </a:cubicBezTo>
                  <a:cubicBezTo>
                    <a:pt x="22" y="13"/>
                    <a:pt x="22" y="14"/>
                    <a:pt x="22" y="16"/>
                  </a:cubicBezTo>
                  <a:cubicBezTo>
                    <a:pt x="22" y="18"/>
                    <a:pt x="22" y="19"/>
                    <a:pt x="22" y="2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46">
              <a:extLst>
                <a:ext uri="{FF2B5EF4-FFF2-40B4-BE49-F238E27FC236}">
                  <a16:creationId xmlns:a16="http://schemas.microsoft.com/office/drawing/2014/main" id="{DB7AE87E-1F56-42D4-8292-76EC86AADB2D}"/>
                </a:ext>
              </a:extLst>
            </p:cNvPr>
            <p:cNvSpPr>
              <a:spLocks noEditPoints="1"/>
            </p:cNvSpPr>
            <p:nvPr/>
          </p:nvSpPr>
          <p:spPr bwMode="auto">
            <a:xfrm>
              <a:off x="6680442" y="5276645"/>
              <a:ext cx="64932" cy="102447"/>
            </a:xfrm>
            <a:custGeom>
              <a:avLst/>
              <a:gdLst>
                <a:gd name="T0" fmla="*/ 18 w 19"/>
                <a:gd name="T1" fmla="*/ 6 h 30"/>
                <a:gd name="T2" fmla="*/ 17 w 19"/>
                <a:gd name="T3" fmla="*/ 3 h 30"/>
                <a:gd name="T4" fmla="*/ 15 w 19"/>
                <a:gd name="T5" fmla="*/ 1 h 30"/>
                <a:gd name="T6" fmla="*/ 12 w 19"/>
                <a:gd name="T7" fmla="*/ 0 h 30"/>
                <a:gd name="T8" fmla="*/ 10 w 19"/>
                <a:gd name="T9" fmla="*/ 0 h 30"/>
                <a:gd name="T10" fmla="*/ 8 w 19"/>
                <a:gd name="T11" fmla="*/ 0 h 30"/>
                <a:gd name="T12" fmla="*/ 2 w 19"/>
                <a:gd name="T13" fmla="*/ 0 h 30"/>
                <a:gd name="T14" fmla="*/ 1 w 19"/>
                <a:gd name="T15" fmla="*/ 0 h 30"/>
                <a:gd name="T16" fmla="*/ 0 w 19"/>
                <a:gd name="T17" fmla="*/ 2 h 30"/>
                <a:gd name="T18" fmla="*/ 0 w 19"/>
                <a:gd name="T19" fmla="*/ 30 h 30"/>
                <a:gd name="T20" fmla="*/ 0 w 19"/>
                <a:gd name="T21" fmla="*/ 30 h 30"/>
                <a:gd name="T22" fmla="*/ 1 w 19"/>
                <a:gd name="T23" fmla="*/ 30 h 30"/>
                <a:gd name="T24" fmla="*/ 1 w 19"/>
                <a:gd name="T25" fmla="*/ 30 h 30"/>
                <a:gd name="T26" fmla="*/ 2 w 19"/>
                <a:gd name="T27" fmla="*/ 30 h 30"/>
                <a:gd name="T28" fmla="*/ 3 w 19"/>
                <a:gd name="T29" fmla="*/ 30 h 30"/>
                <a:gd name="T30" fmla="*/ 4 w 19"/>
                <a:gd name="T31" fmla="*/ 30 h 30"/>
                <a:gd name="T32" fmla="*/ 4 w 19"/>
                <a:gd name="T33" fmla="*/ 30 h 30"/>
                <a:gd name="T34" fmla="*/ 4 w 19"/>
                <a:gd name="T35" fmla="*/ 30 h 30"/>
                <a:gd name="T36" fmla="*/ 4 w 19"/>
                <a:gd name="T37" fmla="*/ 19 h 30"/>
                <a:gd name="T38" fmla="*/ 8 w 19"/>
                <a:gd name="T39" fmla="*/ 19 h 30"/>
                <a:gd name="T40" fmla="*/ 12 w 19"/>
                <a:gd name="T41" fmla="*/ 18 h 30"/>
                <a:gd name="T42" fmla="*/ 16 w 19"/>
                <a:gd name="T43" fmla="*/ 16 h 30"/>
                <a:gd name="T44" fmla="*/ 18 w 19"/>
                <a:gd name="T45" fmla="*/ 13 h 30"/>
                <a:gd name="T46" fmla="*/ 19 w 19"/>
                <a:gd name="T47" fmla="*/ 9 h 30"/>
                <a:gd name="T48" fmla="*/ 18 w 19"/>
                <a:gd name="T49" fmla="*/ 6 h 30"/>
                <a:gd name="T50" fmla="*/ 14 w 19"/>
                <a:gd name="T51" fmla="*/ 12 h 30"/>
                <a:gd name="T52" fmla="*/ 13 w 19"/>
                <a:gd name="T53" fmla="*/ 14 h 30"/>
                <a:gd name="T54" fmla="*/ 11 w 19"/>
                <a:gd name="T55" fmla="*/ 15 h 30"/>
                <a:gd name="T56" fmla="*/ 8 w 19"/>
                <a:gd name="T57" fmla="*/ 15 h 30"/>
                <a:gd name="T58" fmla="*/ 4 w 19"/>
                <a:gd name="T59" fmla="*/ 15 h 30"/>
                <a:gd name="T60" fmla="*/ 4 w 19"/>
                <a:gd name="T61" fmla="*/ 3 h 30"/>
                <a:gd name="T62" fmla="*/ 8 w 19"/>
                <a:gd name="T63" fmla="*/ 3 h 30"/>
                <a:gd name="T64" fmla="*/ 10 w 19"/>
                <a:gd name="T65" fmla="*/ 3 h 30"/>
                <a:gd name="T66" fmla="*/ 12 w 19"/>
                <a:gd name="T67" fmla="*/ 4 h 30"/>
                <a:gd name="T68" fmla="*/ 14 w 19"/>
                <a:gd name="T69" fmla="*/ 6 h 30"/>
                <a:gd name="T70" fmla="*/ 14 w 19"/>
                <a:gd name="T71" fmla="*/ 9 h 30"/>
                <a:gd name="T72" fmla="*/ 14 w 19"/>
                <a:gd name="T73"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 h="30">
                  <a:moveTo>
                    <a:pt x="18" y="6"/>
                  </a:moveTo>
                  <a:cubicBezTo>
                    <a:pt x="18" y="5"/>
                    <a:pt x="17" y="4"/>
                    <a:pt x="17" y="3"/>
                  </a:cubicBezTo>
                  <a:cubicBezTo>
                    <a:pt x="16" y="2"/>
                    <a:pt x="16" y="2"/>
                    <a:pt x="15" y="1"/>
                  </a:cubicBezTo>
                  <a:cubicBezTo>
                    <a:pt x="14" y="1"/>
                    <a:pt x="13" y="0"/>
                    <a:pt x="12" y="0"/>
                  </a:cubicBezTo>
                  <a:cubicBezTo>
                    <a:pt x="11" y="0"/>
                    <a:pt x="11" y="0"/>
                    <a:pt x="10" y="0"/>
                  </a:cubicBezTo>
                  <a:cubicBezTo>
                    <a:pt x="9" y="0"/>
                    <a:pt x="9" y="0"/>
                    <a:pt x="8" y="0"/>
                  </a:cubicBezTo>
                  <a:cubicBezTo>
                    <a:pt x="2" y="0"/>
                    <a:pt x="2" y="0"/>
                    <a:pt x="2" y="0"/>
                  </a:cubicBezTo>
                  <a:cubicBezTo>
                    <a:pt x="1" y="0"/>
                    <a:pt x="1" y="0"/>
                    <a:pt x="1" y="0"/>
                  </a:cubicBezTo>
                  <a:cubicBezTo>
                    <a:pt x="0" y="1"/>
                    <a:pt x="0" y="1"/>
                    <a:pt x="0" y="2"/>
                  </a:cubicBezTo>
                  <a:cubicBezTo>
                    <a:pt x="0" y="30"/>
                    <a:pt x="0" y="30"/>
                    <a:pt x="0" y="30"/>
                  </a:cubicBezTo>
                  <a:cubicBezTo>
                    <a:pt x="0" y="30"/>
                    <a:pt x="0" y="30"/>
                    <a:pt x="0" y="30"/>
                  </a:cubicBezTo>
                  <a:cubicBezTo>
                    <a:pt x="0" y="30"/>
                    <a:pt x="0" y="30"/>
                    <a:pt x="1" y="30"/>
                  </a:cubicBezTo>
                  <a:cubicBezTo>
                    <a:pt x="1" y="30"/>
                    <a:pt x="1" y="30"/>
                    <a:pt x="1" y="30"/>
                  </a:cubicBezTo>
                  <a:cubicBezTo>
                    <a:pt x="1" y="30"/>
                    <a:pt x="2" y="30"/>
                    <a:pt x="2" y="30"/>
                  </a:cubicBezTo>
                  <a:cubicBezTo>
                    <a:pt x="2" y="30"/>
                    <a:pt x="3" y="30"/>
                    <a:pt x="3" y="30"/>
                  </a:cubicBezTo>
                  <a:cubicBezTo>
                    <a:pt x="3" y="30"/>
                    <a:pt x="4" y="30"/>
                    <a:pt x="4" y="30"/>
                  </a:cubicBezTo>
                  <a:cubicBezTo>
                    <a:pt x="4" y="30"/>
                    <a:pt x="4" y="30"/>
                    <a:pt x="4" y="30"/>
                  </a:cubicBezTo>
                  <a:cubicBezTo>
                    <a:pt x="4" y="30"/>
                    <a:pt x="4" y="30"/>
                    <a:pt x="4" y="30"/>
                  </a:cubicBezTo>
                  <a:cubicBezTo>
                    <a:pt x="4" y="19"/>
                    <a:pt x="4" y="19"/>
                    <a:pt x="4" y="19"/>
                  </a:cubicBezTo>
                  <a:cubicBezTo>
                    <a:pt x="8" y="19"/>
                    <a:pt x="8" y="19"/>
                    <a:pt x="8" y="19"/>
                  </a:cubicBezTo>
                  <a:cubicBezTo>
                    <a:pt x="9" y="19"/>
                    <a:pt x="11" y="18"/>
                    <a:pt x="12" y="18"/>
                  </a:cubicBezTo>
                  <a:cubicBezTo>
                    <a:pt x="14" y="17"/>
                    <a:pt x="15" y="17"/>
                    <a:pt x="16" y="16"/>
                  </a:cubicBezTo>
                  <a:cubicBezTo>
                    <a:pt x="17" y="15"/>
                    <a:pt x="17" y="14"/>
                    <a:pt x="18" y="13"/>
                  </a:cubicBezTo>
                  <a:cubicBezTo>
                    <a:pt x="18" y="12"/>
                    <a:pt x="19" y="10"/>
                    <a:pt x="19" y="9"/>
                  </a:cubicBezTo>
                  <a:cubicBezTo>
                    <a:pt x="19" y="8"/>
                    <a:pt x="19" y="7"/>
                    <a:pt x="18" y="6"/>
                  </a:cubicBezTo>
                  <a:close/>
                  <a:moveTo>
                    <a:pt x="14" y="12"/>
                  </a:moveTo>
                  <a:cubicBezTo>
                    <a:pt x="14" y="12"/>
                    <a:pt x="13" y="13"/>
                    <a:pt x="13" y="14"/>
                  </a:cubicBezTo>
                  <a:cubicBezTo>
                    <a:pt x="12" y="14"/>
                    <a:pt x="12" y="15"/>
                    <a:pt x="11" y="15"/>
                  </a:cubicBezTo>
                  <a:cubicBezTo>
                    <a:pt x="10" y="15"/>
                    <a:pt x="9" y="15"/>
                    <a:pt x="8" y="15"/>
                  </a:cubicBezTo>
                  <a:cubicBezTo>
                    <a:pt x="4" y="15"/>
                    <a:pt x="4" y="15"/>
                    <a:pt x="4" y="15"/>
                  </a:cubicBezTo>
                  <a:cubicBezTo>
                    <a:pt x="4" y="3"/>
                    <a:pt x="4" y="3"/>
                    <a:pt x="4" y="3"/>
                  </a:cubicBezTo>
                  <a:cubicBezTo>
                    <a:pt x="8" y="3"/>
                    <a:pt x="8" y="3"/>
                    <a:pt x="8" y="3"/>
                  </a:cubicBezTo>
                  <a:cubicBezTo>
                    <a:pt x="9" y="3"/>
                    <a:pt x="9" y="3"/>
                    <a:pt x="10" y="3"/>
                  </a:cubicBezTo>
                  <a:cubicBezTo>
                    <a:pt x="11" y="3"/>
                    <a:pt x="11" y="4"/>
                    <a:pt x="12" y="4"/>
                  </a:cubicBezTo>
                  <a:cubicBezTo>
                    <a:pt x="13" y="5"/>
                    <a:pt x="13" y="5"/>
                    <a:pt x="14" y="6"/>
                  </a:cubicBezTo>
                  <a:cubicBezTo>
                    <a:pt x="14" y="7"/>
                    <a:pt x="14" y="8"/>
                    <a:pt x="14" y="9"/>
                  </a:cubicBezTo>
                  <a:cubicBezTo>
                    <a:pt x="14" y="10"/>
                    <a:pt x="14" y="11"/>
                    <a:pt x="14" y="12"/>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47">
              <a:extLst>
                <a:ext uri="{FF2B5EF4-FFF2-40B4-BE49-F238E27FC236}">
                  <a16:creationId xmlns:a16="http://schemas.microsoft.com/office/drawing/2014/main" id="{9DD8DF06-C535-4AF5-8697-C7AD6CFA5924}"/>
                </a:ext>
              </a:extLst>
            </p:cNvPr>
            <p:cNvSpPr>
              <a:spLocks/>
            </p:cNvSpPr>
            <p:nvPr/>
          </p:nvSpPr>
          <p:spPr bwMode="auto">
            <a:xfrm>
              <a:off x="6759802" y="5273759"/>
              <a:ext cx="62046" cy="109661"/>
            </a:xfrm>
            <a:custGeom>
              <a:avLst/>
              <a:gdLst>
                <a:gd name="T0" fmla="*/ 18 w 18"/>
                <a:gd name="T1" fmla="*/ 20 h 32"/>
                <a:gd name="T2" fmla="*/ 16 w 18"/>
                <a:gd name="T3" fmla="*/ 17 h 32"/>
                <a:gd name="T4" fmla="*/ 14 w 18"/>
                <a:gd name="T5" fmla="*/ 16 h 32"/>
                <a:gd name="T6" fmla="*/ 11 w 18"/>
                <a:gd name="T7" fmla="*/ 14 h 32"/>
                <a:gd name="T8" fmla="*/ 9 w 18"/>
                <a:gd name="T9" fmla="*/ 13 h 32"/>
                <a:gd name="T10" fmla="*/ 7 w 18"/>
                <a:gd name="T11" fmla="*/ 12 h 32"/>
                <a:gd name="T12" fmla="*/ 5 w 18"/>
                <a:gd name="T13" fmla="*/ 10 h 32"/>
                <a:gd name="T14" fmla="*/ 4 w 18"/>
                <a:gd name="T15" fmla="*/ 8 h 32"/>
                <a:gd name="T16" fmla="*/ 5 w 18"/>
                <a:gd name="T17" fmla="*/ 6 h 32"/>
                <a:gd name="T18" fmla="*/ 6 w 18"/>
                <a:gd name="T19" fmla="*/ 5 h 32"/>
                <a:gd name="T20" fmla="*/ 7 w 18"/>
                <a:gd name="T21" fmla="*/ 4 h 32"/>
                <a:gd name="T22" fmla="*/ 9 w 18"/>
                <a:gd name="T23" fmla="*/ 4 h 32"/>
                <a:gd name="T24" fmla="*/ 12 w 18"/>
                <a:gd name="T25" fmla="*/ 4 h 32"/>
                <a:gd name="T26" fmla="*/ 14 w 18"/>
                <a:gd name="T27" fmla="*/ 5 h 32"/>
                <a:gd name="T28" fmla="*/ 15 w 18"/>
                <a:gd name="T29" fmla="*/ 6 h 32"/>
                <a:gd name="T30" fmla="*/ 16 w 18"/>
                <a:gd name="T31" fmla="*/ 6 h 32"/>
                <a:gd name="T32" fmla="*/ 16 w 18"/>
                <a:gd name="T33" fmla="*/ 6 h 32"/>
                <a:gd name="T34" fmla="*/ 16 w 18"/>
                <a:gd name="T35" fmla="*/ 5 h 32"/>
                <a:gd name="T36" fmla="*/ 16 w 18"/>
                <a:gd name="T37" fmla="*/ 5 h 32"/>
                <a:gd name="T38" fmla="*/ 16 w 18"/>
                <a:gd name="T39" fmla="*/ 4 h 32"/>
                <a:gd name="T40" fmla="*/ 16 w 18"/>
                <a:gd name="T41" fmla="*/ 3 h 32"/>
                <a:gd name="T42" fmla="*/ 16 w 18"/>
                <a:gd name="T43" fmla="*/ 3 h 32"/>
                <a:gd name="T44" fmla="*/ 16 w 18"/>
                <a:gd name="T45" fmla="*/ 3 h 32"/>
                <a:gd name="T46" fmla="*/ 16 w 18"/>
                <a:gd name="T47" fmla="*/ 2 h 32"/>
                <a:gd name="T48" fmla="*/ 15 w 18"/>
                <a:gd name="T49" fmla="*/ 2 h 32"/>
                <a:gd name="T50" fmla="*/ 13 w 18"/>
                <a:gd name="T51" fmla="*/ 1 h 32"/>
                <a:gd name="T52" fmla="*/ 12 w 18"/>
                <a:gd name="T53" fmla="*/ 1 h 32"/>
                <a:gd name="T54" fmla="*/ 9 w 18"/>
                <a:gd name="T55" fmla="*/ 0 h 32"/>
                <a:gd name="T56" fmla="*/ 6 w 18"/>
                <a:gd name="T57" fmla="*/ 1 h 32"/>
                <a:gd name="T58" fmla="*/ 3 w 18"/>
                <a:gd name="T59" fmla="*/ 2 h 32"/>
                <a:gd name="T60" fmla="*/ 1 w 18"/>
                <a:gd name="T61" fmla="*/ 5 h 32"/>
                <a:gd name="T62" fmla="*/ 0 w 18"/>
                <a:gd name="T63" fmla="*/ 8 h 32"/>
                <a:gd name="T64" fmla="*/ 1 w 18"/>
                <a:gd name="T65" fmla="*/ 12 h 32"/>
                <a:gd name="T66" fmla="*/ 2 w 18"/>
                <a:gd name="T67" fmla="*/ 14 h 32"/>
                <a:gd name="T68" fmla="*/ 5 w 18"/>
                <a:gd name="T69" fmla="*/ 16 h 32"/>
                <a:gd name="T70" fmla="*/ 7 w 18"/>
                <a:gd name="T71" fmla="*/ 17 h 32"/>
                <a:gd name="T72" fmla="*/ 10 w 18"/>
                <a:gd name="T73" fmla="*/ 18 h 32"/>
                <a:gd name="T74" fmla="*/ 12 w 18"/>
                <a:gd name="T75" fmla="*/ 19 h 32"/>
                <a:gd name="T76" fmla="*/ 13 w 18"/>
                <a:gd name="T77" fmla="*/ 21 h 32"/>
                <a:gd name="T78" fmla="*/ 14 w 18"/>
                <a:gd name="T79" fmla="*/ 23 h 32"/>
                <a:gd name="T80" fmla="*/ 14 w 18"/>
                <a:gd name="T81" fmla="*/ 25 h 32"/>
                <a:gd name="T82" fmla="*/ 12 w 18"/>
                <a:gd name="T83" fmla="*/ 27 h 32"/>
                <a:gd name="T84" fmla="*/ 10 w 18"/>
                <a:gd name="T85" fmla="*/ 28 h 32"/>
                <a:gd name="T86" fmla="*/ 8 w 18"/>
                <a:gd name="T87" fmla="*/ 28 h 32"/>
                <a:gd name="T88" fmla="*/ 5 w 18"/>
                <a:gd name="T89" fmla="*/ 28 h 32"/>
                <a:gd name="T90" fmla="*/ 3 w 18"/>
                <a:gd name="T91" fmla="*/ 27 h 32"/>
                <a:gd name="T92" fmla="*/ 1 w 18"/>
                <a:gd name="T93" fmla="*/ 26 h 32"/>
                <a:gd name="T94" fmla="*/ 0 w 18"/>
                <a:gd name="T95" fmla="*/ 26 h 32"/>
                <a:gd name="T96" fmla="*/ 0 w 18"/>
                <a:gd name="T97" fmla="*/ 26 h 32"/>
                <a:gd name="T98" fmla="*/ 0 w 18"/>
                <a:gd name="T99" fmla="*/ 26 h 32"/>
                <a:gd name="T100" fmla="*/ 0 w 18"/>
                <a:gd name="T101" fmla="*/ 27 h 32"/>
                <a:gd name="T102" fmla="*/ 0 w 18"/>
                <a:gd name="T103" fmla="*/ 27 h 32"/>
                <a:gd name="T104" fmla="*/ 0 w 18"/>
                <a:gd name="T105" fmla="*/ 29 h 32"/>
                <a:gd name="T106" fmla="*/ 0 w 18"/>
                <a:gd name="T107" fmla="*/ 29 h 32"/>
                <a:gd name="T108" fmla="*/ 1 w 18"/>
                <a:gd name="T109" fmla="*/ 30 h 32"/>
                <a:gd name="T110" fmla="*/ 3 w 18"/>
                <a:gd name="T111" fmla="*/ 31 h 32"/>
                <a:gd name="T112" fmla="*/ 5 w 18"/>
                <a:gd name="T113" fmla="*/ 31 h 32"/>
                <a:gd name="T114" fmla="*/ 8 w 18"/>
                <a:gd name="T115" fmla="*/ 32 h 32"/>
                <a:gd name="T116" fmla="*/ 12 w 18"/>
                <a:gd name="T117" fmla="*/ 31 h 32"/>
                <a:gd name="T118" fmla="*/ 15 w 18"/>
                <a:gd name="T119" fmla="*/ 29 h 32"/>
                <a:gd name="T120" fmla="*/ 17 w 18"/>
                <a:gd name="T121" fmla="*/ 26 h 32"/>
                <a:gd name="T122" fmla="*/ 18 w 18"/>
                <a:gd name="T123" fmla="*/ 23 h 32"/>
                <a:gd name="T124" fmla="*/ 18 w 18"/>
                <a:gd name="T12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 h="32">
                  <a:moveTo>
                    <a:pt x="18" y="20"/>
                  </a:moveTo>
                  <a:cubicBezTo>
                    <a:pt x="17" y="19"/>
                    <a:pt x="17" y="18"/>
                    <a:pt x="16" y="17"/>
                  </a:cubicBezTo>
                  <a:cubicBezTo>
                    <a:pt x="15" y="17"/>
                    <a:pt x="15" y="16"/>
                    <a:pt x="14" y="16"/>
                  </a:cubicBezTo>
                  <a:cubicBezTo>
                    <a:pt x="13" y="15"/>
                    <a:pt x="12" y="15"/>
                    <a:pt x="11" y="14"/>
                  </a:cubicBezTo>
                  <a:cubicBezTo>
                    <a:pt x="10" y="14"/>
                    <a:pt x="10" y="13"/>
                    <a:pt x="9" y="13"/>
                  </a:cubicBezTo>
                  <a:cubicBezTo>
                    <a:pt x="8" y="13"/>
                    <a:pt x="7" y="12"/>
                    <a:pt x="7" y="12"/>
                  </a:cubicBezTo>
                  <a:cubicBezTo>
                    <a:pt x="6" y="11"/>
                    <a:pt x="5" y="11"/>
                    <a:pt x="5" y="10"/>
                  </a:cubicBezTo>
                  <a:cubicBezTo>
                    <a:pt x="5" y="10"/>
                    <a:pt x="4" y="9"/>
                    <a:pt x="4" y="8"/>
                  </a:cubicBezTo>
                  <a:cubicBezTo>
                    <a:pt x="4" y="7"/>
                    <a:pt x="4" y="7"/>
                    <a:pt x="5" y="6"/>
                  </a:cubicBezTo>
                  <a:cubicBezTo>
                    <a:pt x="5" y="6"/>
                    <a:pt x="5" y="5"/>
                    <a:pt x="6" y="5"/>
                  </a:cubicBezTo>
                  <a:cubicBezTo>
                    <a:pt x="6" y="5"/>
                    <a:pt x="7" y="4"/>
                    <a:pt x="7" y="4"/>
                  </a:cubicBezTo>
                  <a:cubicBezTo>
                    <a:pt x="8" y="4"/>
                    <a:pt x="8" y="4"/>
                    <a:pt x="9" y="4"/>
                  </a:cubicBezTo>
                  <a:cubicBezTo>
                    <a:pt x="10" y="4"/>
                    <a:pt x="11" y="4"/>
                    <a:pt x="12" y="4"/>
                  </a:cubicBezTo>
                  <a:cubicBezTo>
                    <a:pt x="13" y="4"/>
                    <a:pt x="13" y="5"/>
                    <a:pt x="14" y="5"/>
                  </a:cubicBezTo>
                  <a:cubicBezTo>
                    <a:pt x="14" y="5"/>
                    <a:pt x="15" y="5"/>
                    <a:pt x="15" y="6"/>
                  </a:cubicBezTo>
                  <a:cubicBezTo>
                    <a:pt x="15" y="6"/>
                    <a:pt x="16" y="6"/>
                    <a:pt x="16" y="6"/>
                  </a:cubicBezTo>
                  <a:cubicBezTo>
                    <a:pt x="16" y="6"/>
                    <a:pt x="16" y="6"/>
                    <a:pt x="16" y="6"/>
                  </a:cubicBezTo>
                  <a:cubicBezTo>
                    <a:pt x="16" y="6"/>
                    <a:pt x="16" y="6"/>
                    <a:pt x="16" y="5"/>
                  </a:cubicBezTo>
                  <a:cubicBezTo>
                    <a:pt x="16" y="5"/>
                    <a:pt x="16" y="5"/>
                    <a:pt x="16" y="5"/>
                  </a:cubicBezTo>
                  <a:cubicBezTo>
                    <a:pt x="16" y="5"/>
                    <a:pt x="16" y="4"/>
                    <a:pt x="16" y="4"/>
                  </a:cubicBezTo>
                  <a:cubicBezTo>
                    <a:pt x="16" y="4"/>
                    <a:pt x="16" y="4"/>
                    <a:pt x="16" y="3"/>
                  </a:cubicBezTo>
                  <a:cubicBezTo>
                    <a:pt x="16" y="3"/>
                    <a:pt x="16" y="3"/>
                    <a:pt x="16" y="3"/>
                  </a:cubicBezTo>
                  <a:cubicBezTo>
                    <a:pt x="16" y="3"/>
                    <a:pt x="16" y="3"/>
                    <a:pt x="16" y="3"/>
                  </a:cubicBezTo>
                  <a:cubicBezTo>
                    <a:pt x="16" y="3"/>
                    <a:pt x="16" y="2"/>
                    <a:pt x="16" y="2"/>
                  </a:cubicBezTo>
                  <a:cubicBezTo>
                    <a:pt x="16" y="2"/>
                    <a:pt x="16" y="2"/>
                    <a:pt x="15" y="2"/>
                  </a:cubicBezTo>
                  <a:cubicBezTo>
                    <a:pt x="15" y="1"/>
                    <a:pt x="14" y="1"/>
                    <a:pt x="13" y="1"/>
                  </a:cubicBezTo>
                  <a:cubicBezTo>
                    <a:pt x="13" y="1"/>
                    <a:pt x="12" y="1"/>
                    <a:pt x="12" y="1"/>
                  </a:cubicBezTo>
                  <a:cubicBezTo>
                    <a:pt x="11" y="0"/>
                    <a:pt x="10" y="0"/>
                    <a:pt x="9" y="0"/>
                  </a:cubicBezTo>
                  <a:cubicBezTo>
                    <a:pt x="8" y="0"/>
                    <a:pt x="7" y="1"/>
                    <a:pt x="6" y="1"/>
                  </a:cubicBezTo>
                  <a:cubicBezTo>
                    <a:pt x="5" y="1"/>
                    <a:pt x="4" y="2"/>
                    <a:pt x="3" y="2"/>
                  </a:cubicBezTo>
                  <a:cubicBezTo>
                    <a:pt x="2" y="3"/>
                    <a:pt x="1" y="4"/>
                    <a:pt x="1" y="5"/>
                  </a:cubicBezTo>
                  <a:cubicBezTo>
                    <a:pt x="1" y="6"/>
                    <a:pt x="0" y="7"/>
                    <a:pt x="0" y="8"/>
                  </a:cubicBezTo>
                  <a:cubicBezTo>
                    <a:pt x="0" y="10"/>
                    <a:pt x="0" y="11"/>
                    <a:pt x="1" y="12"/>
                  </a:cubicBezTo>
                  <a:cubicBezTo>
                    <a:pt x="1" y="12"/>
                    <a:pt x="2" y="13"/>
                    <a:pt x="2" y="14"/>
                  </a:cubicBezTo>
                  <a:cubicBezTo>
                    <a:pt x="3" y="14"/>
                    <a:pt x="4" y="15"/>
                    <a:pt x="5" y="16"/>
                  </a:cubicBezTo>
                  <a:cubicBezTo>
                    <a:pt x="5" y="16"/>
                    <a:pt x="6" y="16"/>
                    <a:pt x="7" y="17"/>
                  </a:cubicBezTo>
                  <a:cubicBezTo>
                    <a:pt x="8" y="17"/>
                    <a:pt x="9" y="18"/>
                    <a:pt x="10" y="18"/>
                  </a:cubicBezTo>
                  <a:cubicBezTo>
                    <a:pt x="10" y="18"/>
                    <a:pt x="11" y="19"/>
                    <a:pt x="12" y="19"/>
                  </a:cubicBezTo>
                  <a:cubicBezTo>
                    <a:pt x="12" y="20"/>
                    <a:pt x="13" y="20"/>
                    <a:pt x="13" y="21"/>
                  </a:cubicBezTo>
                  <a:cubicBezTo>
                    <a:pt x="14" y="22"/>
                    <a:pt x="14" y="22"/>
                    <a:pt x="14" y="23"/>
                  </a:cubicBezTo>
                  <a:cubicBezTo>
                    <a:pt x="14" y="24"/>
                    <a:pt x="14" y="25"/>
                    <a:pt x="14" y="25"/>
                  </a:cubicBezTo>
                  <a:cubicBezTo>
                    <a:pt x="13" y="26"/>
                    <a:pt x="13" y="26"/>
                    <a:pt x="12" y="27"/>
                  </a:cubicBezTo>
                  <a:cubicBezTo>
                    <a:pt x="12" y="27"/>
                    <a:pt x="11" y="28"/>
                    <a:pt x="10" y="28"/>
                  </a:cubicBezTo>
                  <a:cubicBezTo>
                    <a:pt x="10" y="28"/>
                    <a:pt x="9" y="28"/>
                    <a:pt x="8" y="28"/>
                  </a:cubicBezTo>
                  <a:cubicBezTo>
                    <a:pt x="7" y="28"/>
                    <a:pt x="6" y="28"/>
                    <a:pt x="5" y="28"/>
                  </a:cubicBezTo>
                  <a:cubicBezTo>
                    <a:pt x="4" y="28"/>
                    <a:pt x="3" y="27"/>
                    <a:pt x="3" y="27"/>
                  </a:cubicBezTo>
                  <a:cubicBezTo>
                    <a:pt x="2" y="27"/>
                    <a:pt x="2" y="26"/>
                    <a:pt x="1" y="26"/>
                  </a:cubicBezTo>
                  <a:cubicBezTo>
                    <a:pt x="1" y="26"/>
                    <a:pt x="0" y="26"/>
                    <a:pt x="0" y="26"/>
                  </a:cubicBezTo>
                  <a:cubicBezTo>
                    <a:pt x="0" y="26"/>
                    <a:pt x="0" y="26"/>
                    <a:pt x="0" y="26"/>
                  </a:cubicBezTo>
                  <a:cubicBezTo>
                    <a:pt x="0" y="26"/>
                    <a:pt x="0" y="26"/>
                    <a:pt x="0" y="26"/>
                  </a:cubicBezTo>
                  <a:cubicBezTo>
                    <a:pt x="0" y="26"/>
                    <a:pt x="0" y="26"/>
                    <a:pt x="0" y="27"/>
                  </a:cubicBezTo>
                  <a:cubicBezTo>
                    <a:pt x="0" y="27"/>
                    <a:pt x="0" y="27"/>
                    <a:pt x="0" y="27"/>
                  </a:cubicBezTo>
                  <a:cubicBezTo>
                    <a:pt x="0" y="28"/>
                    <a:pt x="0" y="28"/>
                    <a:pt x="0" y="29"/>
                  </a:cubicBezTo>
                  <a:cubicBezTo>
                    <a:pt x="0" y="29"/>
                    <a:pt x="0" y="29"/>
                    <a:pt x="0" y="29"/>
                  </a:cubicBezTo>
                  <a:cubicBezTo>
                    <a:pt x="0" y="29"/>
                    <a:pt x="1" y="30"/>
                    <a:pt x="1" y="30"/>
                  </a:cubicBezTo>
                  <a:cubicBezTo>
                    <a:pt x="1" y="30"/>
                    <a:pt x="2" y="30"/>
                    <a:pt x="3" y="31"/>
                  </a:cubicBezTo>
                  <a:cubicBezTo>
                    <a:pt x="3" y="31"/>
                    <a:pt x="4" y="31"/>
                    <a:pt x="5" y="31"/>
                  </a:cubicBezTo>
                  <a:cubicBezTo>
                    <a:pt x="6" y="32"/>
                    <a:pt x="7" y="32"/>
                    <a:pt x="8" y="32"/>
                  </a:cubicBezTo>
                  <a:cubicBezTo>
                    <a:pt x="9" y="32"/>
                    <a:pt x="11" y="31"/>
                    <a:pt x="12" y="31"/>
                  </a:cubicBezTo>
                  <a:cubicBezTo>
                    <a:pt x="13" y="31"/>
                    <a:pt x="14" y="30"/>
                    <a:pt x="15" y="29"/>
                  </a:cubicBezTo>
                  <a:cubicBezTo>
                    <a:pt x="16" y="29"/>
                    <a:pt x="17" y="28"/>
                    <a:pt x="17" y="26"/>
                  </a:cubicBezTo>
                  <a:cubicBezTo>
                    <a:pt x="18" y="25"/>
                    <a:pt x="18" y="24"/>
                    <a:pt x="18" y="23"/>
                  </a:cubicBezTo>
                  <a:cubicBezTo>
                    <a:pt x="18" y="21"/>
                    <a:pt x="18" y="20"/>
                    <a:pt x="18" y="2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48">
              <a:extLst>
                <a:ext uri="{FF2B5EF4-FFF2-40B4-BE49-F238E27FC236}">
                  <a16:creationId xmlns:a16="http://schemas.microsoft.com/office/drawing/2014/main" id="{C42D30DD-25BC-4FAF-B5E8-960947CAC586}"/>
                </a:ext>
              </a:extLst>
            </p:cNvPr>
            <p:cNvSpPr>
              <a:spLocks/>
            </p:cNvSpPr>
            <p:nvPr/>
          </p:nvSpPr>
          <p:spPr bwMode="auto">
            <a:xfrm>
              <a:off x="6831948" y="5363219"/>
              <a:ext cx="27416" cy="40402"/>
            </a:xfrm>
            <a:custGeom>
              <a:avLst/>
              <a:gdLst>
                <a:gd name="T0" fmla="*/ 7 w 8"/>
                <a:gd name="T1" fmla="*/ 1 h 12"/>
                <a:gd name="T2" fmla="*/ 7 w 8"/>
                <a:gd name="T3" fmla="*/ 0 h 12"/>
                <a:gd name="T4" fmla="*/ 6 w 8"/>
                <a:gd name="T5" fmla="*/ 0 h 12"/>
                <a:gd name="T6" fmla="*/ 5 w 8"/>
                <a:gd name="T7" fmla="*/ 0 h 12"/>
                <a:gd name="T8" fmla="*/ 4 w 8"/>
                <a:gd name="T9" fmla="*/ 0 h 12"/>
                <a:gd name="T10" fmla="*/ 4 w 8"/>
                <a:gd name="T11" fmla="*/ 0 h 12"/>
                <a:gd name="T12" fmla="*/ 3 w 8"/>
                <a:gd name="T13" fmla="*/ 1 h 12"/>
                <a:gd name="T14" fmla="*/ 3 w 8"/>
                <a:gd name="T15" fmla="*/ 2 h 12"/>
                <a:gd name="T16" fmla="*/ 3 w 8"/>
                <a:gd name="T17" fmla="*/ 5 h 12"/>
                <a:gd name="T18" fmla="*/ 0 w 8"/>
                <a:gd name="T19" fmla="*/ 11 h 12"/>
                <a:gd name="T20" fmla="*/ 0 w 8"/>
                <a:gd name="T21" fmla="*/ 12 h 12"/>
                <a:gd name="T22" fmla="*/ 0 w 8"/>
                <a:gd name="T23" fmla="*/ 12 h 12"/>
                <a:gd name="T24" fmla="*/ 0 w 8"/>
                <a:gd name="T25" fmla="*/ 12 h 12"/>
                <a:gd name="T26" fmla="*/ 1 w 8"/>
                <a:gd name="T27" fmla="*/ 12 h 12"/>
                <a:gd name="T28" fmla="*/ 2 w 8"/>
                <a:gd name="T29" fmla="*/ 12 h 12"/>
                <a:gd name="T30" fmla="*/ 2 w 8"/>
                <a:gd name="T31" fmla="*/ 12 h 12"/>
                <a:gd name="T32" fmla="*/ 3 w 8"/>
                <a:gd name="T33" fmla="*/ 12 h 12"/>
                <a:gd name="T34" fmla="*/ 3 w 8"/>
                <a:gd name="T35" fmla="*/ 11 h 12"/>
                <a:gd name="T36" fmla="*/ 6 w 8"/>
                <a:gd name="T37" fmla="*/ 6 h 12"/>
                <a:gd name="T38" fmla="*/ 7 w 8"/>
                <a:gd name="T39" fmla="*/ 5 h 12"/>
                <a:gd name="T40" fmla="*/ 7 w 8"/>
                <a:gd name="T41" fmla="*/ 4 h 12"/>
                <a:gd name="T42" fmla="*/ 8 w 8"/>
                <a:gd name="T43" fmla="*/ 3 h 12"/>
                <a:gd name="T44" fmla="*/ 8 w 8"/>
                <a:gd name="T45" fmla="*/ 2 h 12"/>
                <a:gd name="T46" fmla="*/ 7 w 8"/>
                <a:gd name="T4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2">
                  <a:moveTo>
                    <a:pt x="7" y="1"/>
                  </a:moveTo>
                  <a:cubicBezTo>
                    <a:pt x="7" y="1"/>
                    <a:pt x="7" y="0"/>
                    <a:pt x="7" y="0"/>
                  </a:cubicBezTo>
                  <a:cubicBezTo>
                    <a:pt x="7" y="0"/>
                    <a:pt x="7" y="0"/>
                    <a:pt x="6" y="0"/>
                  </a:cubicBezTo>
                  <a:cubicBezTo>
                    <a:pt x="6" y="0"/>
                    <a:pt x="6" y="0"/>
                    <a:pt x="5" y="0"/>
                  </a:cubicBezTo>
                  <a:cubicBezTo>
                    <a:pt x="5" y="0"/>
                    <a:pt x="5" y="0"/>
                    <a:pt x="4" y="0"/>
                  </a:cubicBezTo>
                  <a:cubicBezTo>
                    <a:pt x="4" y="0"/>
                    <a:pt x="4" y="0"/>
                    <a:pt x="4" y="0"/>
                  </a:cubicBezTo>
                  <a:cubicBezTo>
                    <a:pt x="3" y="0"/>
                    <a:pt x="3" y="1"/>
                    <a:pt x="3" y="1"/>
                  </a:cubicBezTo>
                  <a:cubicBezTo>
                    <a:pt x="3" y="1"/>
                    <a:pt x="3" y="1"/>
                    <a:pt x="3" y="2"/>
                  </a:cubicBezTo>
                  <a:cubicBezTo>
                    <a:pt x="3" y="5"/>
                    <a:pt x="3" y="5"/>
                    <a:pt x="3" y="5"/>
                  </a:cubicBezTo>
                  <a:cubicBezTo>
                    <a:pt x="0" y="11"/>
                    <a:pt x="0" y="11"/>
                    <a:pt x="0" y="11"/>
                  </a:cubicBezTo>
                  <a:cubicBezTo>
                    <a:pt x="0" y="11"/>
                    <a:pt x="0" y="12"/>
                    <a:pt x="0" y="12"/>
                  </a:cubicBezTo>
                  <a:cubicBezTo>
                    <a:pt x="0" y="12"/>
                    <a:pt x="0" y="12"/>
                    <a:pt x="0" y="12"/>
                  </a:cubicBezTo>
                  <a:cubicBezTo>
                    <a:pt x="0" y="12"/>
                    <a:pt x="0" y="12"/>
                    <a:pt x="0" y="12"/>
                  </a:cubicBezTo>
                  <a:cubicBezTo>
                    <a:pt x="1" y="12"/>
                    <a:pt x="1" y="12"/>
                    <a:pt x="1" y="12"/>
                  </a:cubicBezTo>
                  <a:cubicBezTo>
                    <a:pt x="1" y="12"/>
                    <a:pt x="2" y="12"/>
                    <a:pt x="2" y="12"/>
                  </a:cubicBezTo>
                  <a:cubicBezTo>
                    <a:pt x="2" y="12"/>
                    <a:pt x="2" y="12"/>
                    <a:pt x="2" y="12"/>
                  </a:cubicBezTo>
                  <a:cubicBezTo>
                    <a:pt x="2" y="12"/>
                    <a:pt x="3" y="12"/>
                    <a:pt x="3" y="12"/>
                  </a:cubicBezTo>
                  <a:cubicBezTo>
                    <a:pt x="3" y="12"/>
                    <a:pt x="3" y="11"/>
                    <a:pt x="3" y="11"/>
                  </a:cubicBezTo>
                  <a:cubicBezTo>
                    <a:pt x="6" y="6"/>
                    <a:pt x="6" y="6"/>
                    <a:pt x="6" y="6"/>
                  </a:cubicBezTo>
                  <a:cubicBezTo>
                    <a:pt x="6" y="6"/>
                    <a:pt x="7" y="6"/>
                    <a:pt x="7" y="5"/>
                  </a:cubicBezTo>
                  <a:cubicBezTo>
                    <a:pt x="7" y="5"/>
                    <a:pt x="7" y="5"/>
                    <a:pt x="7" y="4"/>
                  </a:cubicBezTo>
                  <a:cubicBezTo>
                    <a:pt x="7" y="4"/>
                    <a:pt x="7" y="4"/>
                    <a:pt x="8" y="3"/>
                  </a:cubicBezTo>
                  <a:cubicBezTo>
                    <a:pt x="8" y="3"/>
                    <a:pt x="8" y="2"/>
                    <a:pt x="8" y="2"/>
                  </a:cubicBezTo>
                  <a:cubicBezTo>
                    <a:pt x="8" y="1"/>
                    <a:pt x="8" y="1"/>
                    <a:pt x="7" y="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49">
              <a:extLst>
                <a:ext uri="{FF2B5EF4-FFF2-40B4-BE49-F238E27FC236}">
                  <a16:creationId xmlns:a16="http://schemas.microsoft.com/office/drawing/2014/main" id="{3F6FC58A-5FF7-4431-89BC-5C6EC284A35D}"/>
                </a:ext>
              </a:extLst>
            </p:cNvPr>
            <p:cNvSpPr>
              <a:spLocks/>
            </p:cNvSpPr>
            <p:nvPr/>
          </p:nvSpPr>
          <p:spPr bwMode="auto">
            <a:xfrm>
              <a:off x="6869464" y="53790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50">
              <a:extLst>
                <a:ext uri="{FF2B5EF4-FFF2-40B4-BE49-F238E27FC236}">
                  <a16:creationId xmlns:a16="http://schemas.microsoft.com/office/drawing/2014/main" id="{939C2A9D-57FA-44E2-827E-12AC0C62828D}"/>
                </a:ext>
              </a:extLst>
            </p:cNvPr>
            <p:cNvSpPr>
              <a:spLocks noEditPoints="1"/>
            </p:cNvSpPr>
            <p:nvPr/>
          </p:nvSpPr>
          <p:spPr bwMode="auto">
            <a:xfrm>
              <a:off x="6914194" y="5273759"/>
              <a:ext cx="92346" cy="109661"/>
            </a:xfrm>
            <a:custGeom>
              <a:avLst/>
              <a:gdLst>
                <a:gd name="T0" fmla="*/ 26 w 27"/>
                <a:gd name="T1" fmla="*/ 9 h 32"/>
                <a:gd name="T2" fmla="*/ 24 w 27"/>
                <a:gd name="T3" fmla="*/ 4 h 32"/>
                <a:gd name="T4" fmla="*/ 20 w 27"/>
                <a:gd name="T5" fmla="*/ 1 h 32"/>
                <a:gd name="T6" fmla="*/ 14 w 27"/>
                <a:gd name="T7" fmla="*/ 0 h 32"/>
                <a:gd name="T8" fmla="*/ 8 w 27"/>
                <a:gd name="T9" fmla="*/ 2 h 32"/>
                <a:gd name="T10" fmla="*/ 4 w 27"/>
                <a:gd name="T11" fmla="*/ 5 h 32"/>
                <a:gd name="T12" fmla="*/ 1 w 27"/>
                <a:gd name="T13" fmla="*/ 10 h 32"/>
                <a:gd name="T14" fmla="*/ 0 w 27"/>
                <a:gd name="T15" fmla="*/ 16 h 32"/>
                <a:gd name="T16" fmla="*/ 1 w 27"/>
                <a:gd name="T17" fmla="*/ 23 h 32"/>
                <a:gd name="T18" fmla="*/ 3 w 27"/>
                <a:gd name="T19" fmla="*/ 28 h 32"/>
                <a:gd name="T20" fmla="*/ 7 w 27"/>
                <a:gd name="T21" fmla="*/ 31 h 32"/>
                <a:gd name="T22" fmla="*/ 13 w 27"/>
                <a:gd name="T23" fmla="*/ 32 h 32"/>
                <a:gd name="T24" fmla="*/ 19 w 27"/>
                <a:gd name="T25" fmla="*/ 31 h 32"/>
                <a:gd name="T26" fmla="*/ 24 w 27"/>
                <a:gd name="T27" fmla="*/ 27 h 32"/>
                <a:gd name="T28" fmla="*/ 26 w 27"/>
                <a:gd name="T29" fmla="*/ 22 h 32"/>
                <a:gd name="T30" fmla="*/ 27 w 27"/>
                <a:gd name="T31" fmla="*/ 16 h 32"/>
                <a:gd name="T32" fmla="*/ 26 w 27"/>
                <a:gd name="T33" fmla="*/ 9 h 32"/>
                <a:gd name="T34" fmla="*/ 22 w 27"/>
                <a:gd name="T35" fmla="*/ 21 h 32"/>
                <a:gd name="T36" fmla="*/ 21 w 27"/>
                <a:gd name="T37" fmla="*/ 24 h 32"/>
                <a:gd name="T38" fmla="*/ 18 w 27"/>
                <a:gd name="T39" fmla="*/ 27 h 32"/>
                <a:gd name="T40" fmla="*/ 14 w 27"/>
                <a:gd name="T41" fmla="*/ 28 h 32"/>
                <a:gd name="T42" fmla="*/ 9 w 27"/>
                <a:gd name="T43" fmla="*/ 27 h 32"/>
                <a:gd name="T44" fmla="*/ 6 w 27"/>
                <a:gd name="T45" fmla="*/ 25 h 32"/>
                <a:gd name="T46" fmla="*/ 5 w 27"/>
                <a:gd name="T47" fmla="*/ 21 h 32"/>
                <a:gd name="T48" fmla="*/ 4 w 27"/>
                <a:gd name="T49" fmla="*/ 16 h 32"/>
                <a:gd name="T50" fmla="*/ 5 w 27"/>
                <a:gd name="T51" fmla="*/ 11 h 32"/>
                <a:gd name="T52" fmla="*/ 6 w 27"/>
                <a:gd name="T53" fmla="*/ 7 h 32"/>
                <a:gd name="T54" fmla="*/ 9 w 27"/>
                <a:gd name="T55" fmla="*/ 5 h 32"/>
                <a:gd name="T56" fmla="*/ 14 w 27"/>
                <a:gd name="T57" fmla="*/ 4 h 32"/>
                <a:gd name="T58" fmla="*/ 18 w 27"/>
                <a:gd name="T59" fmla="*/ 5 h 32"/>
                <a:gd name="T60" fmla="*/ 21 w 27"/>
                <a:gd name="T61" fmla="*/ 7 h 32"/>
                <a:gd name="T62" fmla="*/ 23 w 27"/>
                <a:gd name="T63" fmla="*/ 11 h 32"/>
                <a:gd name="T64" fmla="*/ 23 w 27"/>
                <a:gd name="T65" fmla="*/ 16 h 32"/>
                <a:gd name="T66" fmla="*/ 22 w 27"/>
                <a:gd name="T6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32">
                  <a:moveTo>
                    <a:pt x="26" y="9"/>
                  </a:moveTo>
                  <a:cubicBezTo>
                    <a:pt x="26" y="7"/>
                    <a:pt x="25" y="6"/>
                    <a:pt x="24" y="4"/>
                  </a:cubicBezTo>
                  <a:cubicBezTo>
                    <a:pt x="23" y="3"/>
                    <a:pt x="21" y="2"/>
                    <a:pt x="20" y="1"/>
                  </a:cubicBezTo>
                  <a:cubicBezTo>
                    <a:pt x="18" y="1"/>
                    <a:pt x="16" y="0"/>
                    <a:pt x="14" y="0"/>
                  </a:cubicBezTo>
                  <a:cubicBezTo>
                    <a:pt x="12" y="0"/>
                    <a:pt x="10" y="1"/>
                    <a:pt x="8" y="2"/>
                  </a:cubicBezTo>
                  <a:cubicBezTo>
                    <a:pt x="6" y="2"/>
                    <a:pt x="5" y="3"/>
                    <a:pt x="4" y="5"/>
                  </a:cubicBezTo>
                  <a:cubicBezTo>
                    <a:pt x="2" y="6"/>
                    <a:pt x="2" y="8"/>
                    <a:pt x="1" y="10"/>
                  </a:cubicBezTo>
                  <a:cubicBezTo>
                    <a:pt x="0" y="12"/>
                    <a:pt x="0" y="14"/>
                    <a:pt x="0" y="16"/>
                  </a:cubicBezTo>
                  <a:cubicBezTo>
                    <a:pt x="0" y="19"/>
                    <a:pt x="0" y="21"/>
                    <a:pt x="1" y="23"/>
                  </a:cubicBezTo>
                  <a:cubicBezTo>
                    <a:pt x="1" y="25"/>
                    <a:pt x="2" y="26"/>
                    <a:pt x="3" y="28"/>
                  </a:cubicBezTo>
                  <a:cubicBezTo>
                    <a:pt x="4" y="29"/>
                    <a:pt x="6" y="30"/>
                    <a:pt x="7" y="31"/>
                  </a:cubicBezTo>
                  <a:cubicBezTo>
                    <a:pt x="9" y="31"/>
                    <a:pt x="11" y="32"/>
                    <a:pt x="13" y="32"/>
                  </a:cubicBezTo>
                  <a:cubicBezTo>
                    <a:pt x="16" y="32"/>
                    <a:pt x="18" y="31"/>
                    <a:pt x="19" y="31"/>
                  </a:cubicBezTo>
                  <a:cubicBezTo>
                    <a:pt x="21" y="30"/>
                    <a:pt x="23" y="29"/>
                    <a:pt x="24" y="27"/>
                  </a:cubicBezTo>
                  <a:cubicBezTo>
                    <a:pt x="25" y="26"/>
                    <a:pt x="26" y="24"/>
                    <a:pt x="26" y="22"/>
                  </a:cubicBezTo>
                  <a:cubicBezTo>
                    <a:pt x="27" y="20"/>
                    <a:pt x="27" y="18"/>
                    <a:pt x="27" y="16"/>
                  </a:cubicBezTo>
                  <a:cubicBezTo>
                    <a:pt x="27" y="13"/>
                    <a:pt x="27" y="11"/>
                    <a:pt x="26" y="9"/>
                  </a:cubicBezTo>
                  <a:close/>
                  <a:moveTo>
                    <a:pt x="22" y="21"/>
                  </a:moveTo>
                  <a:cubicBezTo>
                    <a:pt x="22" y="22"/>
                    <a:pt x="22" y="23"/>
                    <a:pt x="21" y="24"/>
                  </a:cubicBezTo>
                  <a:cubicBezTo>
                    <a:pt x="20" y="26"/>
                    <a:pt x="19" y="26"/>
                    <a:pt x="18" y="27"/>
                  </a:cubicBezTo>
                  <a:cubicBezTo>
                    <a:pt x="17" y="28"/>
                    <a:pt x="15" y="28"/>
                    <a:pt x="14" y="28"/>
                  </a:cubicBezTo>
                  <a:cubicBezTo>
                    <a:pt x="12" y="28"/>
                    <a:pt x="10" y="28"/>
                    <a:pt x="9" y="27"/>
                  </a:cubicBezTo>
                  <a:cubicBezTo>
                    <a:pt x="8" y="27"/>
                    <a:pt x="7" y="26"/>
                    <a:pt x="6" y="25"/>
                  </a:cubicBezTo>
                  <a:cubicBezTo>
                    <a:pt x="6" y="24"/>
                    <a:pt x="5" y="22"/>
                    <a:pt x="5" y="21"/>
                  </a:cubicBezTo>
                  <a:cubicBezTo>
                    <a:pt x="5" y="19"/>
                    <a:pt x="4" y="18"/>
                    <a:pt x="4" y="16"/>
                  </a:cubicBezTo>
                  <a:cubicBezTo>
                    <a:pt x="4" y="14"/>
                    <a:pt x="5" y="13"/>
                    <a:pt x="5" y="11"/>
                  </a:cubicBezTo>
                  <a:cubicBezTo>
                    <a:pt x="5" y="10"/>
                    <a:pt x="6" y="9"/>
                    <a:pt x="6" y="7"/>
                  </a:cubicBezTo>
                  <a:cubicBezTo>
                    <a:pt x="7" y="6"/>
                    <a:pt x="8" y="5"/>
                    <a:pt x="9" y="5"/>
                  </a:cubicBezTo>
                  <a:cubicBezTo>
                    <a:pt x="11" y="4"/>
                    <a:pt x="12" y="4"/>
                    <a:pt x="14" y="4"/>
                  </a:cubicBezTo>
                  <a:cubicBezTo>
                    <a:pt x="15" y="4"/>
                    <a:pt x="17" y="4"/>
                    <a:pt x="18" y="5"/>
                  </a:cubicBezTo>
                  <a:cubicBezTo>
                    <a:pt x="19" y="5"/>
                    <a:pt x="20" y="6"/>
                    <a:pt x="21" y="7"/>
                  </a:cubicBezTo>
                  <a:cubicBezTo>
                    <a:pt x="22" y="8"/>
                    <a:pt x="22" y="10"/>
                    <a:pt x="23" y="11"/>
                  </a:cubicBezTo>
                  <a:cubicBezTo>
                    <a:pt x="23" y="13"/>
                    <a:pt x="23" y="14"/>
                    <a:pt x="23" y="16"/>
                  </a:cubicBezTo>
                  <a:cubicBezTo>
                    <a:pt x="23" y="18"/>
                    <a:pt x="23" y="19"/>
                    <a:pt x="22" y="2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51">
              <a:extLst>
                <a:ext uri="{FF2B5EF4-FFF2-40B4-BE49-F238E27FC236}">
                  <a16:creationId xmlns:a16="http://schemas.microsoft.com/office/drawing/2014/main" id="{15D5AFF9-AF81-4781-9439-DFBB96CC88B8}"/>
                </a:ext>
              </a:extLst>
            </p:cNvPr>
            <p:cNvSpPr>
              <a:spLocks noEditPoints="1"/>
            </p:cNvSpPr>
            <p:nvPr/>
          </p:nvSpPr>
          <p:spPr bwMode="auto">
            <a:xfrm>
              <a:off x="7026742" y="5301174"/>
              <a:ext cx="67817" cy="109661"/>
            </a:xfrm>
            <a:custGeom>
              <a:avLst/>
              <a:gdLst>
                <a:gd name="T0" fmla="*/ 19 w 20"/>
                <a:gd name="T1" fmla="*/ 7 h 32"/>
                <a:gd name="T2" fmla="*/ 18 w 20"/>
                <a:gd name="T3" fmla="*/ 4 h 32"/>
                <a:gd name="T4" fmla="*/ 15 w 20"/>
                <a:gd name="T5" fmla="*/ 1 h 32"/>
                <a:gd name="T6" fmla="*/ 11 w 20"/>
                <a:gd name="T7" fmla="*/ 0 h 32"/>
                <a:gd name="T8" fmla="*/ 9 w 20"/>
                <a:gd name="T9" fmla="*/ 1 h 32"/>
                <a:gd name="T10" fmla="*/ 7 w 20"/>
                <a:gd name="T11" fmla="*/ 1 h 32"/>
                <a:gd name="T12" fmla="*/ 5 w 20"/>
                <a:gd name="T13" fmla="*/ 3 h 32"/>
                <a:gd name="T14" fmla="*/ 4 w 20"/>
                <a:gd name="T15" fmla="*/ 4 h 32"/>
                <a:gd name="T16" fmla="*/ 4 w 20"/>
                <a:gd name="T17" fmla="*/ 2 h 32"/>
                <a:gd name="T18" fmla="*/ 3 w 20"/>
                <a:gd name="T19" fmla="*/ 1 h 32"/>
                <a:gd name="T20" fmla="*/ 3 w 20"/>
                <a:gd name="T21" fmla="*/ 1 h 32"/>
                <a:gd name="T22" fmla="*/ 3 w 20"/>
                <a:gd name="T23" fmla="*/ 1 h 32"/>
                <a:gd name="T24" fmla="*/ 2 w 20"/>
                <a:gd name="T25" fmla="*/ 1 h 32"/>
                <a:gd name="T26" fmla="*/ 1 w 20"/>
                <a:gd name="T27" fmla="*/ 1 h 32"/>
                <a:gd name="T28" fmla="*/ 1 w 20"/>
                <a:gd name="T29" fmla="*/ 1 h 32"/>
                <a:gd name="T30" fmla="*/ 0 w 20"/>
                <a:gd name="T31" fmla="*/ 1 h 32"/>
                <a:gd name="T32" fmla="*/ 0 w 20"/>
                <a:gd name="T33" fmla="*/ 2 h 32"/>
                <a:gd name="T34" fmla="*/ 0 w 20"/>
                <a:gd name="T35" fmla="*/ 31 h 32"/>
                <a:gd name="T36" fmla="*/ 0 w 20"/>
                <a:gd name="T37" fmla="*/ 31 h 32"/>
                <a:gd name="T38" fmla="*/ 1 w 20"/>
                <a:gd name="T39" fmla="*/ 32 h 32"/>
                <a:gd name="T40" fmla="*/ 1 w 20"/>
                <a:gd name="T41" fmla="*/ 32 h 32"/>
                <a:gd name="T42" fmla="*/ 2 w 20"/>
                <a:gd name="T43" fmla="*/ 32 h 32"/>
                <a:gd name="T44" fmla="*/ 3 w 20"/>
                <a:gd name="T45" fmla="*/ 32 h 32"/>
                <a:gd name="T46" fmla="*/ 4 w 20"/>
                <a:gd name="T47" fmla="*/ 32 h 32"/>
                <a:gd name="T48" fmla="*/ 4 w 20"/>
                <a:gd name="T49" fmla="*/ 31 h 32"/>
                <a:gd name="T50" fmla="*/ 4 w 20"/>
                <a:gd name="T51" fmla="*/ 31 h 32"/>
                <a:gd name="T52" fmla="*/ 4 w 20"/>
                <a:gd name="T53" fmla="*/ 20 h 32"/>
                <a:gd name="T54" fmla="*/ 6 w 20"/>
                <a:gd name="T55" fmla="*/ 22 h 32"/>
                <a:gd name="T56" fmla="*/ 7 w 20"/>
                <a:gd name="T57" fmla="*/ 23 h 32"/>
                <a:gd name="T58" fmla="*/ 9 w 20"/>
                <a:gd name="T59" fmla="*/ 23 h 32"/>
                <a:gd name="T60" fmla="*/ 10 w 20"/>
                <a:gd name="T61" fmla="*/ 24 h 32"/>
                <a:gd name="T62" fmla="*/ 14 w 20"/>
                <a:gd name="T63" fmla="*/ 23 h 32"/>
                <a:gd name="T64" fmla="*/ 17 w 20"/>
                <a:gd name="T65" fmla="*/ 20 h 32"/>
                <a:gd name="T66" fmla="*/ 19 w 20"/>
                <a:gd name="T67" fmla="*/ 17 h 32"/>
                <a:gd name="T68" fmla="*/ 20 w 20"/>
                <a:gd name="T69" fmla="*/ 12 h 32"/>
                <a:gd name="T70" fmla="*/ 19 w 20"/>
                <a:gd name="T71" fmla="*/ 7 h 32"/>
                <a:gd name="T72" fmla="*/ 15 w 20"/>
                <a:gd name="T73" fmla="*/ 15 h 32"/>
                <a:gd name="T74" fmla="*/ 14 w 20"/>
                <a:gd name="T75" fmla="*/ 18 h 32"/>
                <a:gd name="T76" fmla="*/ 13 w 20"/>
                <a:gd name="T77" fmla="*/ 20 h 32"/>
                <a:gd name="T78" fmla="*/ 10 w 20"/>
                <a:gd name="T79" fmla="*/ 20 h 32"/>
                <a:gd name="T80" fmla="*/ 7 w 20"/>
                <a:gd name="T81" fmla="*/ 19 h 32"/>
                <a:gd name="T82" fmla="*/ 4 w 20"/>
                <a:gd name="T83" fmla="*/ 16 h 32"/>
                <a:gd name="T84" fmla="*/ 4 w 20"/>
                <a:gd name="T85" fmla="*/ 8 h 32"/>
                <a:gd name="T86" fmla="*/ 6 w 20"/>
                <a:gd name="T87" fmla="*/ 6 h 32"/>
                <a:gd name="T88" fmla="*/ 7 w 20"/>
                <a:gd name="T89" fmla="*/ 5 h 32"/>
                <a:gd name="T90" fmla="*/ 9 w 20"/>
                <a:gd name="T91" fmla="*/ 4 h 32"/>
                <a:gd name="T92" fmla="*/ 10 w 20"/>
                <a:gd name="T93" fmla="*/ 4 h 32"/>
                <a:gd name="T94" fmla="*/ 13 w 20"/>
                <a:gd name="T95" fmla="*/ 4 h 32"/>
                <a:gd name="T96" fmla="*/ 14 w 20"/>
                <a:gd name="T97" fmla="*/ 6 h 32"/>
                <a:gd name="T98" fmla="*/ 15 w 20"/>
                <a:gd name="T99" fmla="*/ 9 h 32"/>
                <a:gd name="T100" fmla="*/ 16 w 20"/>
                <a:gd name="T101" fmla="*/ 12 h 32"/>
                <a:gd name="T102" fmla="*/ 15 w 20"/>
                <a:gd name="T10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 h="32">
                  <a:moveTo>
                    <a:pt x="19" y="7"/>
                  </a:moveTo>
                  <a:cubicBezTo>
                    <a:pt x="19" y="6"/>
                    <a:pt x="18" y="5"/>
                    <a:pt x="18" y="4"/>
                  </a:cubicBezTo>
                  <a:cubicBezTo>
                    <a:pt x="17" y="3"/>
                    <a:pt x="16" y="2"/>
                    <a:pt x="15" y="1"/>
                  </a:cubicBezTo>
                  <a:cubicBezTo>
                    <a:pt x="14" y="1"/>
                    <a:pt x="13" y="0"/>
                    <a:pt x="11" y="0"/>
                  </a:cubicBezTo>
                  <a:cubicBezTo>
                    <a:pt x="10" y="0"/>
                    <a:pt x="10" y="1"/>
                    <a:pt x="9" y="1"/>
                  </a:cubicBezTo>
                  <a:cubicBezTo>
                    <a:pt x="8" y="1"/>
                    <a:pt x="8" y="1"/>
                    <a:pt x="7" y="1"/>
                  </a:cubicBezTo>
                  <a:cubicBezTo>
                    <a:pt x="7" y="2"/>
                    <a:pt x="6" y="2"/>
                    <a:pt x="5" y="3"/>
                  </a:cubicBezTo>
                  <a:cubicBezTo>
                    <a:pt x="5" y="3"/>
                    <a:pt x="4" y="4"/>
                    <a:pt x="4" y="4"/>
                  </a:cubicBezTo>
                  <a:cubicBezTo>
                    <a:pt x="4" y="2"/>
                    <a:pt x="4" y="2"/>
                    <a:pt x="4" y="2"/>
                  </a:cubicBezTo>
                  <a:cubicBezTo>
                    <a:pt x="4" y="1"/>
                    <a:pt x="4" y="1"/>
                    <a:pt x="3" y="1"/>
                  </a:cubicBezTo>
                  <a:cubicBezTo>
                    <a:pt x="3" y="1"/>
                    <a:pt x="3" y="1"/>
                    <a:pt x="3" y="1"/>
                  </a:cubicBezTo>
                  <a:cubicBezTo>
                    <a:pt x="3" y="1"/>
                    <a:pt x="3" y="1"/>
                    <a:pt x="3" y="1"/>
                  </a:cubicBezTo>
                  <a:cubicBezTo>
                    <a:pt x="2" y="1"/>
                    <a:pt x="2" y="1"/>
                    <a:pt x="2" y="1"/>
                  </a:cubicBezTo>
                  <a:cubicBezTo>
                    <a:pt x="2" y="1"/>
                    <a:pt x="1" y="1"/>
                    <a:pt x="1" y="1"/>
                  </a:cubicBezTo>
                  <a:cubicBezTo>
                    <a:pt x="1" y="1"/>
                    <a:pt x="1" y="1"/>
                    <a:pt x="1" y="1"/>
                  </a:cubicBezTo>
                  <a:cubicBezTo>
                    <a:pt x="0" y="1"/>
                    <a:pt x="0" y="1"/>
                    <a:pt x="0" y="1"/>
                  </a:cubicBezTo>
                  <a:cubicBezTo>
                    <a:pt x="0" y="1"/>
                    <a:pt x="0" y="1"/>
                    <a:pt x="0" y="2"/>
                  </a:cubicBezTo>
                  <a:cubicBezTo>
                    <a:pt x="0" y="31"/>
                    <a:pt x="0" y="31"/>
                    <a:pt x="0" y="31"/>
                  </a:cubicBezTo>
                  <a:cubicBezTo>
                    <a:pt x="0" y="31"/>
                    <a:pt x="0" y="31"/>
                    <a:pt x="0" y="31"/>
                  </a:cubicBezTo>
                  <a:cubicBezTo>
                    <a:pt x="0" y="31"/>
                    <a:pt x="0" y="31"/>
                    <a:pt x="1" y="32"/>
                  </a:cubicBezTo>
                  <a:cubicBezTo>
                    <a:pt x="1" y="32"/>
                    <a:pt x="1" y="32"/>
                    <a:pt x="1" y="32"/>
                  </a:cubicBezTo>
                  <a:cubicBezTo>
                    <a:pt x="1" y="32"/>
                    <a:pt x="2" y="32"/>
                    <a:pt x="2" y="32"/>
                  </a:cubicBezTo>
                  <a:cubicBezTo>
                    <a:pt x="2" y="32"/>
                    <a:pt x="3" y="32"/>
                    <a:pt x="3" y="32"/>
                  </a:cubicBezTo>
                  <a:cubicBezTo>
                    <a:pt x="3" y="32"/>
                    <a:pt x="3" y="32"/>
                    <a:pt x="4" y="32"/>
                  </a:cubicBezTo>
                  <a:cubicBezTo>
                    <a:pt x="4" y="31"/>
                    <a:pt x="4" y="31"/>
                    <a:pt x="4" y="31"/>
                  </a:cubicBezTo>
                  <a:cubicBezTo>
                    <a:pt x="4" y="31"/>
                    <a:pt x="4" y="31"/>
                    <a:pt x="4" y="31"/>
                  </a:cubicBezTo>
                  <a:cubicBezTo>
                    <a:pt x="4" y="20"/>
                    <a:pt x="4" y="20"/>
                    <a:pt x="4" y="20"/>
                  </a:cubicBezTo>
                  <a:cubicBezTo>
                    <a:pt x="5" y="21"/>
                    <a:pt x="5" y="21"/>
                    <a:pt x="6" y="22"/>
                  </a:cubicBezTo>
                  <a:cubicBezTo>
                    <a:pt x="6" y="22"/>
                    <a:pt x="7" y="23"/>
                    <a:pt x="7" y="23"/>
                  </a:cubicBezTo>
                  <a:cubicBezTo>
                    <a:pt x="8" y="23"/>
                    <a:pt x="8" y="23"/>
                    <a:pt x="9" y="23"/>
                  </a:cubicBezTo>
                  <a:cubicBezTo>
                    <a:pt x="9" y="24"/>
                    <a:pt x="10" y="24"/>
                    <a:pt x="10" y="24"/>
                  </a:cubicBezTo>
                  <a:cubicBezTo>
                    <a:pt x="12" y="24"/>
                    <a:pt x="13" y="23"/>
                    <a:pt x="14" y="23"/>
                  </a:cubicBezTo>
                  <a:cubicBezTo>
                    <a:pt x="15" y="22"/>
                    <a:pt x="16" y="21"/>
                    <a:pt x="17" y="20"/>
                  </a:cubicBezTo>
                  <a:cubicBezTo>
                    <a:pt x="18" y="19"/>
                    <a:pt x="19" y="18"/>
                    <a:pt x="19" y="17"/>
                  </a:cubicBezTo>
                  <a:cubicBezTo>
                    <a:pt x="19" y="15"/>
                    <a:pt x="20" y="14"/>
                    <a:pt x="20" y="12"/>
                  </a:cubicBezTo>
                  <a:cubicBezTo>
                    <a:pt x="20" y="10"/>
                    <a:pt x="19" y="9"/>
                    <a:pt x="19" y="7"/>
                  </a:cubicBezTo>
                  <a:close/>
                  <a:moveTo>
                    <a:pt x="15" y="15"/>
                  </a:moveTo>
                  <a:cubicBezTo>
                    <a:pt x="15" y="16"/>
                    <a:pt x="15" y="17"/>
                    <a:pt x="14" y="18"/>
                  </a:cubicBezTo>
                  <a:cubicBezTo>
                    <a:pt x="14" y="19"/>
                    <a:pt x="13" y="19"/>
                    <a:pt x="13" y="20"/>
                  </a:cubicBezTo>
                  <a:cubicBezTo>
                    <a:pt x="12" y="20"/>
                    <a:pt x="11" y="20"/>
                    <a:pt x="10" y="20"/>
                  </a:cubicBezTo>
                  <a:cubicBezTo>
                    <a:pt x="9" y="20"/>
                    <a:pt x="8" y="20"/>
                    <a:pt x="7" y="19"/>
                  </a:cubicBezTo>
                  <a:cubicBezTo>
                    <a:pt x="6" y="19"/>
                    <a:pt x="5" y="18"/>
                    <a:pt x="4" y="16"/>
                  </a:cubicBezTo>
                  <a:cubicBezTo>
                    <a:pt x="4" y="8"/>
                    <a:pt x="4" y="8"/>
                    <a:pt x="4" y="8"/>
                  </a:cubicBezTo>
                  <a:cubicBezTo>
                    <a:pt x="5" y="7"/>
                    <a:pt x="5" y="6"/>
                    <a:pt x="6" y="6"/>
                  </a:cubicBezTo>
                  <a:cubicBezTo>
                    <a:pt x="6" y="5"/>
                    <a:pt x="7" y="5"/>
                    <a:pt x="7" y="5"/>
                  </a:cubicBezTo>
                  <a:cubicBezTo>
                    <a:pt x="8" y="4"/>
                    <a:pt x="8" y="4"/>
                    <a:pt x="9" y="4"/>
                  </a:cubicBezTo>
                  <a:cubicBezTo>
                    <a:pt x="9" y="4"/>
                    <a:pt x="10" y="4"/>
                    <a:pt x="10" y="4"/>
                  </a:cubicBezTo>
                  <a:cubicBezTo>
                    <a:pt x="11" y="4"/>
                    <a:pt x="12" y="4"/>
                    <a:pt x="13" y="4"/>
                  </a:cubicBezTo>
                  <a:cubicBezTo>
                    <a:pt x="14" y="5"/>
                    <a:pt x="14" y="6"/>
                    <a:pt x="14" y="6"/>
                  </a:cubicBezTo>
                  <a:cubicBezTo>
                    <a:pt x="15" y="7"/>
                    <a:pt x="15" y="8"/>
                    <a:pt x="15" y="9"/>
                  </a:cubicBezTo>
                  <a:cubicBezTo>
                    <a:pt x="15" y="10"/>
                    <a:pt x="16" y="11"/>
                    <a:pt x="16" y="12"/>
                  </a:cubicBezTo>
                  <a:cubicBezTo>
                    <a:pt x="16" y="13"/>
                    <a:pt x="15" y="14"/>
                    <a:pt x="15" y="15"/>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52">
              <a:extLst>
                <a:ext uri="{FF2B5EF4-FFF2-40B4-BE49-F238E27FC236}">
                  <a16:creationId xmlns:a16="http://schemas.microsoft.com/office/drawing/2014/main" id="{D4FF0A5E-1B5F-4F06-AF99-88CD2B132350}"/>
                </a:ext>
              </a:extLst>
            </p:cNvPr>
            <p:cNvSpPr>
              <a:spLocks noEditPoints="1"/>
            </p:cNvSpPr>
            <p:nvPr/>
          </p:nvSpPr>
          <p:spPr bwMode="auto">
            <a:xfrm>
              <a:off x="7108987" y="5301174"/>
              <a:ext cx="64932" cy="82247"/>
            </a:xfrm>
            <a:custGeom>
              <a:avLst/>
              <a:gdLst>
                <a:gd name="T0" fmla="*/ 19 w 19"/>
                <a:gd name="T1" fmla="*/ 10 h 24"/>
                <a:gd name="T2" fmla="*/ 19 w 19"/>
                <a:gd name="T3" fmla="*/ 7 h 24"/>
                <a:gd name="T4" fmla="*/ 17 w 19"/>
                <a:gd name="T5" fmla="*/ 3 h 24"/>
                <a:gd name="T6" fmla="*/ 14 w 19"/>
                <a:gd name="T7" fmla="*/ 1 h 24"/>
                <a:gd name="T8" fmla="*/ 10 w 19"/>
                <a:gd name="T9" fmla="*/ 0 h 24"/>
                <a:gd name="T10" fmla="*/ 6 w 19"/>
                <a:gd name="T11" fmla="*/ 1 h 24"/>
                <a:gd name="T12" fmla="*/ 3 w 19"/>
                <a:gd name="T13" fmla="*/ 4 h 24"/>
                <a:gd name="T14" fmla="*/ 1 w 19"/>
                <a:gd name="T15" fmla="*/ 7 h 24"/>
                <a:gd name="T16" fmla="*/ 0 w 19"/>
                <a:gd name="T17" fmla="*/ 12 h 24"/>
                <a:gd name="T18" fmla="*/ 1 w 19"/>
                <a:gd name="T19" fmla="*/ 17 h 24"/>
                <a:gd name="T20" fmla="*/ 3 w 19"/>
                <a:gd name="T21" fmla="*/ 21 h 24"/>
                <a:gd name="T22" fmla="*/ 6 w 19"/>
                <a:gd name="T23" fmla="*/ 23 h 24"/>
                <a:gd name="T24" fmla="*/ 11 w 19"/>
                <a:gd name="T25" fmla="*/ 24 h 24"/>
                <a:gd name="T26" fmla="*/ 13 w 19"/>
                <a:gd name="T27" fmla="*/ 23 h 24"/>
                <a:gd name="T28" fmla="*/ 16 w 19"/>
                <a:gd name="T29" fmla="*/ 23 h 24"/>
                <a:gd name="T30" fmla="*/ 17 w 19"/>
                <a:gd name="T31" fmla="*/ 22 h 24"/>
                <a:gd name="T32" fmla="*/ 18 w 19"/>
                <a:gd name="T33" fmla="*/ 22 h 24"/>
                <a:gd name="T34" fmla="*/ 18 w 19"/>
                <a:gd name="T35" fmla="*/ 22 h 24"/>
                <a:gd name="T36" fmla="*/ 18 w 19"/>
                <a:gd name="T37" fmla="*/ 21 h 24"/>
                <a:gd name="T38" fmla="*/ 18 w 19"/>
                <a:gd name="T39" fmla="*/ 21 h 24"/>
                <a:gd name="T40" fmla="*/ 18 w 19"/>
                <a:gd name="T41" fmla="*/ 20 h 24"/>
                <a:gd name="T42" fmla="*/ 18 w 19"/>
                <a:gd name="T43" fmla="*/ 20 h 24"/>
                <a:gd name="T44" fmla="*/ 18 w 19"/>
                <a:gd name="T45" fmla="*/ 19 h 24"/>
                <a:gd name="T46" fmla="*/ 18 w 19"/>
                <a:gd name="T47" fmla="*/ 19 h 24"/>
                <a:gd name="T48" fmla="*/ 18 w 19"/>
                <a:gd name="T49" fmla="*/ 19 h 24"/>
                <a:gd name="T50" fmla="*/ 17 w 19"/>
                <a:gd name="T51" fmla="*/ 19 h 24"/>
                <a:gd name="T52" fmla="*/ 16 w 19"/>
                <a:gd name="T53" fmla="*/ 20 h 24"/>
                <a:gd name="T54" fmla="*/ 14 w 19"/>
                <a:gd name="T55" fmla="*/ 20 h 24"/>
                <a:gd name="T56" fmla="*/ 11 w 19"/>
                <a:gd name="T57" fmla="*/ 20 h 24"/>
                <a:gd name="T58" fmla="*/ 8 w 19"/>
                <a:gd name="T59" fmla="*/ 20 h 24"/>
                <a:gd name="T60" fmla="*/ 6 w 19"/>
                <a:gd name="T61" fmla="*/ 18 h 24"/>
                <a:gd name="T62" fmla="*/ 4 w 19"/>
                <a:gd name="T63" fmla="*/ 16 h 24"/>
                <a:gd name="T64" fmla="*/ 4 w 19"/>
                <a:gd name="T65" fmla="*/ 13 h 24"/>
                <a:gd name="T66" fmla="*/ 18 w 19"/>
                <a:gd name="T67" fmla="*/ 13 h 24"/>
                <a:gd name="T68" fmla="*/ 19 w 19"/>
                <a:gd name="T69" fmla="*/ 12 h 24"/>
                <a:gd name="T70" fmla="*/ 19 w 19"/>
                <a:gd name="T71" fmla="*/ 11 h 24"/>
                <a:gd name="T72" fmla="*/ 19 w 19"/>
                <a:gd name="T73" fmla="*/ 10 h 24"/>
                <a:gd name="T74" fmla="*/ 4 w 19"/>
                <a:gd name="T75" fmla="*/ 10 h 24"/>
                <a:gd name="T76" fmla="*/ 4 w 19"/>
                <a:gd name="T77" fmla="*/ 8 h 24"/>
                <a:gd name="T78" fmla="*/ 6 w 19"/>
                <a:gd name="T79" fmla="*/ 5 h 24"/>
                <a:gd name="T80" fmla="*/ 7 w 19"/>
                <a:gd name="T81" fmla="*/ 4 h 24"/>
                <a:gd name="T82" fmla="*/ 10 w 19"/>
                <a:gd name="T83" fmla="*/ 3 h 24"/>
                <a:gd name="T84" fmla="*/ 14 w 19"/>
                <a:gd name="T85" fmla="*/ 5 h 24"/>
                <a:gd name="T86" fmla="*/ 15 w 19"/>
                <a:gd name="T87" fmla="*/ 10 h 24"/>
                <a:gd name="T88" fmla="*/ 4 w 19"/>
                <a:gd name="T89"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4">
                  <a:moveTo>
                    <a:pt x="19" y="10"/>
                  </a:moveTo>
                  <a:cubicBezTo>
                    <a:pt x="19" y="9"/>
                    <a:pt x="19" y="8"/>
                    <a:pt x="19" y="7"/>
                  </a:cubicBezTo>
                  <a:cubicBezTo>
                    <a:pt x="18" y="5"/>
                    <a:pt x="18" y="4"/>
                    <a:pt x="17" y="3"/>
                  </a:cubicBezTo>
                  <a:cubicBezTo>
                    <a:pt x="16" y="2"/>
                    <a:pt x="15" y="2"/>
                    <a:pt x="14" y="1"/>
                  </a:cubicBezTo>
                  <a:cubicBezTo>
                    <a:pt x="13" y="1"/>
                    <a:pt x="12" y="0"/>
                    <a:pt x="10" y="0"/>
                  </a:cubicBezTo>
                  <a:cubicBezTo>
                    <a:pt x="9" y="0"/>
                    <a:pt x="7" y="1"/>
                    <a:pt x="6" y="1"/>
                  </a:cubicBezTo>
                  <a:cubicBezTo>
                    <a:pt x="5" y="2"/>
                    <a:pt x="4" y="3"/>
                    <a:pt x="3" y="4"/>
                  </a:cubicBezTo>
                  <a:cubicBezTo>
                    <a:pt x="2" y="5"/>
                    <a:pt x="1" y="6"/>
                    <a:pt x="1" y="7"/>
                  </a:cubicBezTo>
                  <a:cubicBezTo>
                    <a:pt x="0" y="9"/>
                    <a:pt x="0" y="10"/>
                    <a:pt x="0" y="12"/>
                  </a:cubicBezTo>
                  <a:cubicBezTo>
                    <a:pt x="0" y="14"/>
                    <a:pt x="0" y="16"/>
                    <a:pt x="1" y="17"/>
                  </a:cubicBezTo>
                  <a:cubicBezTo>
                    <a:pt x="1" y="19"/>
                    <a:pt x="2" y="20"/>
                    <a:pt x="3" y="21"/>
                  </a:cubicBezTo>
                  <a:cubicBezTo>
                    <a:pt x="4" y="22"/>
                    <a:pt x="5" y="22"/>
                    <a:pt x="6" y="23"/>
                  </a:cubicBezTo>
                  <a:cubicBezTo>
                    <a:pt x="7" y="23"/>
                    <a:pt x="9" y="24"/>
                    <a:pt x="11" y="24"/>
                  </a:cubicBezTo>
                  <a:cubicBezTo>
                    <a:pt x="12" y="24"/>
                    <a:pt x="12" y="24"/>
                    <a:pt x="13" y="23"/>
                  </a:cubicBezTo>
                  <a:cubicBezTo>
                    <a:pt x="14" y="23"/>
                    <a:pt x="15" y="23"/>
                    <a:pt x="16" y="23"/>
                  </a:cubicBezTo>
                  <a:cubicBezTo>
                    <a:pt x="16" y="23"/>
                    <a:pt x="17" y="23"/>
                    <a:pt x="17" y="22"/>
                  </a:cubicBezTo>
                  <a:cubicBezTo>
                    <a:pt x="18" y="22"/>
                    <a:pt x="18" y="22"/>
                    <a:pt x="18" y="22"/>
                  </a:cubicBezTo>
                  <a:cubicBezTo>
                    <a:pt x="18" y="22"/>
                    <a:pt x="18" y="22"/>
                    <a:pt x="18" y="22"/>
                  </a:cubicBezTo>
                  <a:cubicBezTo>
                    <a:pt x="18" y="22"/>
                    <a:pt x="18" y="21"/>
                    <a:pt x="18" y="21"/>
                  </a:cubicBezTo>
                  <a:cubicBezTo>
                    <a:pt x="18" y="21"/>
                    <a:pt x="18" y="21"/>
                    <a:pt x="18" y="21"/>
                  </a:cubicBezTo>
                  <a:cubicBezTo>
                    <a:pt x="18" y="21"/>
                    <a:pt x="18" y="21"/>
                    <a:pt x="18" y="20"/>
                  </a:cubicBezTo>
                  <a:cubicBezTo>
                    <a:pt x="18" y="20"/>
                    <a:pt x="18" y="20"/>
                    <a:pt x="18" y="20"/>
                  </a:cubicBezTo>
                  <a:cubicBezTo>
                    <a:pt x="18" y="19"/>
                    <a:pt x="18" y="19"/>
                    <a:pt x="18" y="19"/>
                  </a:cubicBezTo>
                  <a:cubicBezTo>
                    <a:pt x="18" y="19"/>
                    <a:pt x="18" y="19"/>
                    <a:pt x="18" y="19"/>
                  </a:cubicBezTo>
                  <a:cubicBezTo>
                    <a:pt x="18" y="19"/>
                    <a:pt x="18" y="19"/>
                    <a:pt x="18" y="19"/>
                  </a:cubicBezTo>
                  <a:cubicBezTo>
                    <a:pt x="18" y="19"/>
                    <a:pt x="17" y="19"/>
                    <a:pt x="17" y="19"/>
                  </a:cubicBezTo>
                  <a:cubicBezTo>
                    <a:pt x="17" y="19"/>
                    <a:pt x="16" y="19"/>
                    <a:pt x="16" y="20"/>
                  </a:cubicBezTo>
                  <a:cubicBezTo>
                    <a:pt x="15" y="20"/>
                    <a:pt x="14" y="20"/>
                    <a:pt x="14" y="20"/>
                  </a:cubicBezTo>
                  <a:cubicBezTo>
                    <a:pt x="13" y="20"/>
                    <a:pt x="12" y="20"/>
                    <a:pt x="11" y="20"/>
                  </a:cubicBezTo>
                  <a:cubicBezTo>
                    <a:pt x="10" y="20"/>
                    <a:pt x="9" y="20"/>
                    <a:pt x="8" y="20"/>
                  </a:cubicBezTo>
                  <a:cubicBezTo>
                    <a:pt x="7" y="20"/>
                    <a:pt x="6" y="19"/>
                    <a:pt x="6" y="18"/>
                  </a:cubicBezTo>
                  <a:cubicBezTo>
                    <a:pt x="5" y="18"/>
                    <a:pt x="5" y="17"/>
                    <a:pt x="4" y="16"/>
                  </a:cubicBezTo>
                  <a:cubicBezTo>
                    <a:pt x="4" y="15"/>
                    <a:pt x="4" y="14"/>
                    <a:pt x="4" y="13"/>
                  </a:cubicBezTo>
                  <a:cubicBezTo>
                    <a:pt x="18" y="13"/>
                    <a:pt x="18" y="13"/>
                    <a:pt x="18" y="13"/>
                  </a:cubicBezTo>
                  <a:cubicBezTo>
                    <a:pt x="18" y="13"/>
                    <a:pt x="19" y="13"/>
                    <a:pt x="19" y="12"/>
                  </a:cubicBezTo>
                  <a:cubicBezTo>
                    <a:pt x="19" y="12"/>
                    <a:pt x="19" y="12"/>
                    <a:pt x="19" y="11"/>
                  </a:cubicBezTo>
                  <a:cubicBezTo>
                    <a:pt x="19" y="10"/>
                    <a:pt x="19" y="10"/>
                    <a:pt x="19" y="10"/>
                  </a:cubicBezTo>
                  <a:close/>
                  <a:moveTo>
                    <a:pt x="4" y="10"/>
                  </a:moveTo>
                  <a:cubicBezTo>
                    <a:pt x="4" y="9"/>
                    <a:pt x="4" y="8"/>
                    <a:pt x="4" y="8"/>
                  </a:cubicBezTo>
                  <a:cubicBezTo>
                    <a:pt x="5" y="7"/>
                    <a:pt x="5" y="6"/>
                    <a:pt x="6" y="5"/>
                  </a:cubicBezTo>
                  <a:cubicBezTo>
                    <a:pt x="6" y="5"/>
                    <a:pt x="7" y="4"/>
                    <a:pt x="7" y="4"/>
                  </a:cubicBezTo>
                  <a:cubicBezTo>
                    <a:pt x="8" y="4"/>
                    <a:pt x="9" y="3"/>
                    <a:pt x="10" y="3"/>
                  </a:cubicBezTo>
                  <a:cubicBezTo>
                    <a:pt x="12" y="3"/>
                    <a:pt x="13" y="4"/>
                    <a:pt x="14" y="5"/>
                  </a:cubicBezTo>
                  <a:cubicBezTo>
                    <a:pt x="15" y="6"/>
                    <a:pt x="16" y="8"/>
                    <a:pt x="15" y="10"/>
                  </a:cubicBezTo>
                  <a:cubicBezTo>
                    <a:pt x="4" y="10"/>
                    <a:pt x="4" y="10"/>
                    <a:pt x="4" y="1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53">
              <a:extLst>
                <a:ext uri="{FF2B5EF4-FFF2-40B4-BE49-F238E27FC236}">
                  <a16:creationId xmlns:a16="http://schemas.microsoft.com/office/drawing/2014/main" id="{FCC71B75-1232-48DD-944F-7F7AADC2C80A}"/>
                </a:ext>
              </a:extLst>
            </p:cNvPr>
            <p:cNvSpPr>
              <a:spLocks/>
            </p:cNvSpPr>
            <p:nvPr/>
          </p:nvSpPr>
          <p:spPr bwMode="auto">
            <a:xfrm>
              <a:off x="7194120" y="5301174"/>
              <a:ext cx="62046" cy="77917"/>
            </a:xfrm>
            <a:custGeom>
              <a:avLst/>
              <a:gdLst>
                <a:gd name="T0" fmla="*/ 18 w 18"/>
                <a:gd name="T1" fmla="*/ 10 h 23"/>
                <a:gd name="T2" fmla="*/ 18 w 18"/>
                <a:gd name="T3" fmla="*/ 6 h 23"/>
                <a:gd name="T4" fmla="*/ 17 w 18"/>
                <a:gd name="T5" fmla="*/ 3 h 23"/>
                <a:gd name="T6" fmla="*/ 14 w 18"/>
                <a:gd name="T7" fmla="*/ 1 h 23"/>
                <a:gd name="T8" fmla="*/ 11 w 18"/>
                <a:gd name="T9" fmla="*/ 0 h 23"/>
                <a:gd name="T10" fmla="*/ 7 w 18"/>
                <a:gd name="T11" fmla="*/ 1 h 23"/>
                <a:gd name="T12" fmla="*/ 4 w 18"/>
                <a:gd name="T13" fmla="*/ 4 h 23"/>
                <a:gd name="T14" fmla="*/ 4 w 18"/>
                <a:gd name="T15" fmla="*/ 2 h 23"/>
                <a:gd name="T16" fmla="*/ 4 w 18"/>
                <a:gd name="T17" fmla="*/ 1 h 23"/>
                <a:gd name="T18" fmla="*/ 3 w 18"/>
                <a:gd name="T19" fmla="*/ 1 h 23"/>
                <a:gd name="T20" fmla="*/ 3 w 18"/>
                <a:gd name="T21" fmla="*/ 1 h 23"/>
                <a:gd name="T22" fmla="*/ 2 w 18"/>
                <a:gd name="T23" fmla="*/ 1 h 23"/>
                <a:gd name="T24" fmla="*/ 1 w 18"/>
                <a:gd name="T25" fmla="*/ 1 h 23"/>
                <a:gd name="T26" fmla="*/ 1 w 18"/>
                <a:gd name="T27" fmla="*/ 1 h 23"/>
                <a:gd name="T28" fmla="*/ 0 w 18"/>
                <a:gd name="T29" fmla="*/ 1 h 23"/>
                <a:gd name="T30" fmla="*/ 0 w 18"/>
                <a:gd name="T31" fmla="*/ 2 h 23"/>
                <a:gd name="T32" fmla="*/ 0 w 18"/>
                <a:gd name="T33" fmla="*/ 23 h 23"/>
                <a:gd name="T34" fmla="*/ 0 w 18"/>
                <a:gd name="T35" fmla="*/ 23 h 23"/>
                <a:gd name="T36" fmla="*/ 1 w 18"/>
                <a:gd name="T37" fmla="*/ 23 h 23"/>
                <a:gd name="T38" fmla="*/ 1 w 18"/>
                <a:gd name="T39" fmla="*/ 23 h 23"/>
                <a:gd name="T40" fmla="*/ 2 w 18"/>
                <a:gd name="T41" fmla="*/ 23 h 23"/>
                <a:gd name="T42" fmla="*/ 3 w 18"/>
                <a:gd name="T43" fmla="*/ 23 h 23"/>
                <a:gd name="T44" fmla="*/ 4 w 18"/>
                <a:gd name="T45" fmla="*/ 23 h 23"/>
                <a:gd name="T46" fmla="*/ 4 w 18"/>
                <a:gd name="T47" fmla="*/ 23 h 23"/>
                <a:gd name="T48" fmla="*/ 4 w 18"/>
                <a:gd name="T49" fmla="*/ 23 h 23"/>
                <a:gd name="T50" fmla="*/ 4 w 18"/>
                <a:gd name="T51" fmla="*/ 8 h 23"/>
                <a:gd name="T52" fmla="*/ 7 w 18"/>
                <a:gd name="T53" fmla="*/ 5 h 23"/>
                <a:gd name="T54" fmla="*/ 10 w 18"/>
                <a:gd name="T55" fmla="*/ 4 h 23"/>
                <a:gd name="T56" fmla="*/ 12 w 18"/>
                <a:gd name="T57" fmla="*/ 4 h 23"/>
                <a:gd name="T58" fmla="*/ 13 w 18"/>
                <a:gd name="T59" fmla="*/ 5 h 23"/>
                <a:gd name="T60" fmla="*/ 14 w 18"/>
                <a:gd name="T61" fmla="*/ 7 h 23"/>
                <a:gd name="T62" fmla="*/ 15 w 18"/>
                <a:gd name="T63" fmla="*/ 10 h 23"/>
                <a:gd name="T64" fmla="*/ 15 w 18"/>
                <a:gd name="T65" fmla="*/ 23 h 23"/>
                <a:gd name="T66" fmla="*/ 15 w 18"/>
                <a:gd name="T67" fmla="*/ 23 h 23"/>
                <a:gd name="T68" fmla="*/ 15 w 18"/>
                <a:gd name="T69" fmla="*/ 23 h 23"/>
                <a:gd name="T70" fmla="*/ 16 w 18"/>
                <a:gd name="T71" fmla="*/ 23 h 23"/>
                <a:gd name="T72" fmla="*/ 16 w 18"/>
                <a:gd name="T73" fmla="*/ 23 h 23"/>
                <a:gd name="T74" fmla="*/ 17 w 18"/>
                <a:gd name="T75" fmla="*/ 23 h 23"/>
                <a:gd name="T76" fmla="*/ 18 w 18"/>
                <a:gd name="T77" fmla="*/ 23 h 23"/>
                <a:gd name="T78" fmla="*/ 18 w 18"/>
                <a:gd name="T79" fmla="*/ 23 h 23"/>
                <a:gd name="T80" fmla="*/ 18 w 18"/>
                <a:gd name="T81" fmla="*/ 23 h 23"/>
                <a:gd name="T82" fmla="*/ 18 w 18"/>
                <a:gd name="T83"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0"/>
                  </a:moveTo>
                  <a:cubicBezTo>
                    <a:pt x="18" y="8"/>
                    <a:pt x="18" y="7"/>
                    <a:pt x="18" y="6"/>
                  </a:cubicBezTo>
                  <a:cubicBezTo>
                    <a:pt x="18" y="5"/>
                    <a:pt x="17" y="4"/>
                    <a:pt x="17" y="3"/>
                  </a:cubicBezTo>
                  <a:cubicBezTo>
                    <a:pt x="16" y="2"/>
                    <a:pt x="15" y="2"/>
                    <a:pt x="14" y="1"/>
                  </a:cubicBezTo>
                  <a:cubicBezTo>
                    <a:pt x="13" y="1"/>
                    <a:pt x="12" y="0"/>
                    <a:pt x="11" y="0"/>
                  </a:cubicBezTo>
                  <a:cubicBezTo>
                    <a:pt x="10" y="0"/>
                    <a:pt x="8" y="1"/>
                    <a:pt x="7" y="1"/>
                  </a:cubicBezTo>
                  <a:cubicBezTo>
                    <a:pt x="6" y="2"/>
                    <a:pt x="5" y="3"/>
                    <a:pt x="4" y="4"/>
                  </a:cubicBezTo>
                  <a:cubicBezTo>
                    <a:pt x="4" y="2"/>
                    <a:pt x="4" y="2"/>
                    <a:pt x="4" y="2"/>
                  </a:cubicBezTo>
                  <a:cubicBezTo>
                    <a:pt x="4" y="1"/>
                    <a:pt x="4" y="1"/>
                    <a:pt x="4" y="1"/>
                  </a:cubicBezTo>
                  <a:cubicBezTo>
                    <a:pt x="4" y="1"/>
                    <a:pt x="4" y="1"/>
                    <a:pt x="3" y="1"/>
                  </a:cubicBezTo>
                  <a:cubicBezTo>
                    <a:pt x="3" y="1"/>
                    <a:pt x="3" y="1"/>
                    <a:pt x="3" y="1"/>
                  </a:cubicBezTo>
                  <a:cubicBezTo>
                    <a:pt x="3" y="1"/>
                    <a:pt x="2" y="1"/>
                    <a:pt x="2" y="1"/>
                  </a:cubicBezTo>
                  <a:cubicBezTo>
                    <a:pt x="2" y="1"/>
                    <a:pt x="1" y="1"/>
                    <a:pt x="1" y="1"/>
                  </a:cubicBezTo>
                  <a:cubicBezTo>
                    <a:pt x="1" y="1"/>
                    <a:pt x="1" y="1"/>
                    <a:pt x="1" y="1"/>
                  </a:cubicBezTo>
                  <a:cubicBezTo>
                    <a:pt x="0" y="1"/>
                    <a:pt x="0" y="1"/>
                    <a:pt x="0" y="1"/>
                  </a:cubicBezTo>
                  <a:cubicBezTo>
                    <a:pt x="0" y="1"/>
                    <a:pt x="0" y="1"/>
                    <a:pt x="0" y="2"/>
                  </a:cubicBezTo>
                  <a:cubicBezTo>
                    <a:pt x="0" y="23"/>
                    <a:pt x="0" y="23"/>
                    <a:pt x="0" y="23"/>
                  </a:cubicBezTo>
                  <a:cubicBezTo>
                    <a:pt x="0" y="23"/>
                    <a:pt x="0" y="23"/>
                    <a:pt x="0" y="23"/>
                  </a:cubicBezTo>
                  <a:cubicBezTo>
                    <a:pt x="0" y="23"/>
                    <a:pt x="0" y="23"/>
                    <a:pt x="1" y="23"/>
                  </a:cubicBezTo>
                  <a:cubicBezTo>
                    <a:pt x="1" y="23"/>
                    <a:pt x="1" y="23"/>
                    <a:pt x="1" y="23"/>
                  </a:cubicBezTo>
                  <a:cubicBezTo>
                    <a:pt x="1" y="23"/>
                    <a:pt x="2" y="23"/>
                    <a:pt x="2" y="23"/>
                  </a:cubicBezTo>
                  <a:cubicBezTo>
                    <a:pt x="3" y="23"/>
                    <a:pt x="3" y="23"/>
                    <a:pt x="3" y="23"/>
                  </a:cubicBezTo>
                  <a:cubicBezTo>
                    <a:pt x="3" y="23"/>
                    <a:pt x="4" y="23"/>
                    <a:pt x="4" y="23"/>
                  </a:cubicBezTo>
                  <a:cubicBezTo>
                    <a:pt x="4" y="23"/>
                    <a:pt x="4" y="23"/>
                    <a:pt x="4" y="23"/>
                  </a:cubicBezTo>
                  <a:cubicBezTo>
                    <a:pt x="4" y="23"/>
                    <a:pt x="4" y="23"/>
                    <a:pt x="4" y="23"/>
                  </a:cubicBezTo>
                  <a:cubicBezTo>
                    <a:pt x="4" y="8"/>
                    <a:pt x="4" y="8"/>
                    <a:pt x="4" y="8"/>
                  </a:cubicBezTo>
                  <a:cubicBezTo>
                    <a:pt x="5" y="7"/>
                    <a:pt x="6" y="6"/>
                    <a:pt x="7" y="5"/>
                  </a:cubicBezTo>
                  <a:cubicBezTo>
                    <a:pt x="8" y="4"/>
                    <a:pt x="9" y="4"/>
                    <a:pt x="10" y="4"/>
                  </a:cubicBezTo>
                  <a:cubicBezTo>
                    <a:pt x="11" y="4"/>
                    <a:pt x="11" y="4"/>
                    <a:pt x="12" y="4"/>
                  </a:cubicBezTo>
                  <a:cubicBezTo>
                    <a:pt x="13" y="5"/>
                    <a:pt x="13" y="5"/>
                    <a:pt x="13" y="5"/>
                  </a:cubicBezTo>
                  <a:cubicBezTo>
                    <a:pt x="14" y="6"/>
                    <a:pt x="14" y="7"/>
                    <a:pt x="14" y="7"/>
                  </a:cubicBezTo>
                  <a:cubicBezTo>
                    <a:pt x="14" y="8"/>
                    <a:pt x="15" y="9"/>
                    <a:pt x="15" y="10"/>
                  </a:cubicBezTo>
                  <a:cubicBezTo>
                    <a:pt x="15" y="23"/>
                    <a:pt x="15" y="23"/>
                    <a:pt x="15" y="23"/>
                  </a:cubicBezTo>
                  <a:cubicBezTo>
                    <a:pt x="15" y="23"/>
                    <a:pt x="15" y="23"/>
                    <a:pt x="15" y="23"/>
                  </a:cubicBezTo>
                  <a:cubicBezTo>
                    <a:pt x="15" y="23"/>
                    <a:pt x="15" y="23"/>
                    <a:pt x="15" y="23"/>
                  </a:cubicBezTo>
                  <a:cubicBezTo>
                    <a:pt x="15" y="23"/>
                    <a:pt x="15" y="23"/>
                    <a:pt x="16" y="23"/>
                  </a:cubicBezTo>
                  <a:cubicBezTo>
                    <a:pt x="16" y="23"/>
                    <a:pt x="16" y="23"/>
                    <a:pt x="16" y="23"/>
                  </a:cubicBezTo>
                  <a:cubicBezTo>
                    <a:pt x="17" y="23"/>
                    <a:pt x="17" y="23"/>
                    <a:pt x="17" y="23"/>
                  </a:cubicBezTo>
                  <a:cubicBezTo>
                    <a:pt x="18" y="23"/>
                    <a:pt x="18" y="23"/>
                    <a:pt x="18" y="23"/>
                  </a:cubicBezTo>
                  <a:cubicBezTo>
                    <a:pt x="18" y="23"/>
                    <a:pt x="18" y="23"/>
                    <a:pt x="18" y="23"/>
                  </a:cubicBezTo>
                  <a:cubicBezTo>
                    <a:pt x="18" y="23"/>
                    <a:pt x="18" y="23"/>
                    <a:pt x="18" y="23"/>
                  </a:cubicBezTo>
                  <a:cubicBezTo>
                    <a:pt x="18" y="10"/>
                    <a:pt x="18" y="10"/>
                    <a:pt x="18" y="1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54">
              <a:extLst>
                <a:ext uri="{FF2B5EF4-FFF2-40B4-BE49-F238E27FC236}">
                  <a16:creationId xmlns:a16="http://schemas.microsoft.com/office/drawing/2014/main" id="{43AEE386-CAEE-43BD-90BA-4D2E0EA73408}"/>
                </a:ext>
              </a:extLst>
            </p:cNvPr>
            <p:cNvSpPr>
              <a:spLocks/>
            </p:cNvSpPr>
            <p:nvPr/>
          </p:nvSpPr>
          <p:spPr bwMode="auto">
            <a:xfrm>
              <a:off x="7269151" y="53790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55">
              <a:extLst>
                <a:ext uri="{FF2B5EF4-FFF2-40B4-BE49-F238E27FC236}">
                  <a16:creationId xmlns:a16="http://schemas.microsoft.com/office/drawing/2014/main" id="{7BD63431-ED6C-4275-845A-F0C785AA9D81}"/>
                </a:ext>
              </a:extLst>
            </p:cNvPr>
            <p:cNvSpPr>
              <a:spLocks/>
            </p:cNvSpPr>
            <p:nvPr/>
          </p:nvSpPr>
          <p:spPr bwMode="auto">
            <a:xfrm>
              <a:off x="7310995" y="5273759"/>
              <a:ext cx="64932" cy="109661"/>
            </a:xfrm>
            <a:custGeom>
              <a:avLst/>
              <a:gdLst>
                <a:gd name="T0" fmla="*/ 19 w 19"/>
                <a:gd name="T1" fmla="*/ 20 h 32"/>
                <a:gd name="T2" fmla="*/ 17 w 19"/>
                <a:gd name="T3" fmla="*/ 17 h 32"/>
                <a:gd name="T4" fmla="*/ 15 w 19"/>
                <a:gd name="T5" fmla="*/ 16 h 32"/>
                <a:gd name="T6" fmla="*/ 12 w 19"/>
                <a:gd name="T7" fmla="*/ 14 h 32"/>
                <a:gd name="T8" fmla="*/ 10 w 19"/>
                <a:gd name="T9" fmla="*/ 13 h 32"/>
                <a:gd name="T10" fmla="*/ 7 w 19"/>
                <a:gd name="T11" fmla="*/ 12 h 32"/>
                <a:gd name="T12" fmla="*/ 6 w 19"/>
                <a:gd name="T13" fmla="*/ 10 h 32"/>
                <a:gd name="T14" fmla="*/ 5 w 19"/>
                <a:gd name="T15" fmla="*/ 8 h 32"/>
                <a:gd name="T16" fmla="*/ 6 w 19"/>
                <a:gd name="T17" fmla="*/ 6 h 32"/>
                <a:gd name="T18" fmla="*/ 7 w 19"/>
                <a:gd name="T19" fmla="*/ 5 h 32"/>
                <a:gd name="T20" fmla="*/ 8 w 19"/>
                <a:gd name="T21" fmla="*/ 4 h 32"/>
                <a:gd name="T22" fmla="*/ 10 w 19"/>
                <a:gd name="T23" fmla="*/ 4 h 32"/>
                <a:gd name="T24" fmla="*/ 13 w 19"/>
                <a:gd name="T25" fmla="*/ 4 h 32"/>
                <a:gd name="T26" fmla="*/ 15 w 19"/>
                <a:gd name="T27" fmla="*/ 5 h 32"/>
                <a:gd name="T28" fmla="*/ 16 w 19"/>
                <a:gd name="T29" fmla="*/ 6 h 32"/>
                <a:gd name="T30" fmla="*/ 17 w 19"/>
                <a:gd name="T31" fmla="*/ 6 h 32"/>
                <a:gd name="T32" fmla="*/ 17 w 19"/>
                <a:gd name="T33" fmla="*/ 6 h 32"/>
                <a:gd name="T34" fmla="*/ 17 w 19"/>
                <a:gd name="T35" fmla="*/ 5 h 32"/>
                <a:gd name="T36" fmla="*/ 17 w 19"/>
                <a:gd name="T37" fmla="*/ 5 h 32"/>
                <a:gd name="T38" fmla="*/ 17 w 19"/>
                <a:gd name="T39" fmla="*/ 4 h 32"/>
                <a:gd name="T40" fmla="*/ 17 w 19"/>
                <a:gd name="T41" fmla="*/ 3 h 32"/>
                <a:gd name="T42" fmla="*/ 17 w 19"/>
                <a:gd name="T43" fmla="*/ 3 h 32"/>
                <a:gd name="T44" fmla="*/ 17 w 19"/>
                <a:gd name="T45" fmla="*/ 3 h 32"/>
                <a:gd name="T46" fmla="*/ 17 w 19"/>
                <a:gd name="T47" fmla="*/ 2 h 32"/>
                <a:gd name="T48" fmla="*/ 16 w 19"/>
                <a:gd name="T49" fmla="*/ 2 h 32"/>
                <a:gd name="T50" fmla="*/ 14 w 19"/>
                <a:gd name="T51" fmla="*/ 1 h 32"/>
                <a:gd name="T52" fmla="*/ 12 w 19"/>
                <a:gd name="T53" fmla="*/ 1 h 32"/>
                <a:gd name="T54" fmla="*/ 10 w 19"/>
                <a:gd name="T55" fmla="*/ 0 h 32"/>
                <a:gd name="T56" fmla="*/ 7 w 19"/>
                <a:gd name="T57" fmla="*/ 1 h 32"/>
                <a:gd name="T58" fmla="*/ 4 w 19"/>
                <a:gd name="T59" fmla="*/ 2 h 32"/>
                <a:gd name="T60" fmla="*/ 2 w 19"/>
                <a:gd name="T61" fmla="*/ 5 h 32"/>
                <a:gd name="T62" fmla="*/ 1 w 19"/>
                <a:gd name="T63" fmla="*/ 8 h 32"/>
                <a:gd name="T64" fmla="*/ 2 w 19"/>
                <a:gd name="T65" fmla="*/ 12 h 32"/>
                <a:gd name="T66" fmla="*/ 3 w 19"/>
                <a:gd name="T67" fmla="*/ 14 h 32"/>
                <a:gd name="T68" fmla="*/ 6 w 19"/>
                <a:gd name="T69" fmla="*/ 16 h 32"/>
                <a:gd name="T70" fmla="*/ 8 w 19"/>
                <a:gd name="T71" fmla="*/ 17 h 32"/>
                <a:gd name="T72" fmla="*/ 11 w 19"/>
                <a:gd name="T73" fmla="*/ 18 h 32"/>
                <a:gd name="T74" fmla="*/ 13 w 19"/>
                <a:gd name="T75" fmla="*/ 19 h 32"/>
                <a:gd name="T76" fmla="*/ 14 w 19"/>
                <a:gd name="T77" fmla="*/ 21 h 32"/>
                <a:gd name="T78" fmla="*/ 15 w 19"/>
                <a:gd name="T79" fmla="*/ 23 h 32"/>
                <a:gd name="T80" fmla="*/ 14 w 19"/>
                <a:gd name="T81" fmla="*/ 25 h 32"/>
                <a:gd name="T82" fmla="*/ 13 w 19"/>
                <a:gd name="T83" fmla="*/ 27 h 32"/>
                <a:gd name="T84" fmla="*/ 11 w 19"/>
                <a:gd name="T85" fmla="*/ 28 h 32"/>
                <a:gd name="T86" fmla="*/ 9 w 19"/>
                <a:gd name="T87" fmla="*/ 28 h 32"/>
                <a:gd name="T88" fmla="*/ 6 w 19"/>
                <a:gd name="T89" fmla="*/ 28 h 32"/>
                <a:gd name="T90" fmla="*/ 4 w 19"/>
                <a:gd name="T91" fmla="*/ 27 h 32"/>
                <a:gd name="T92" fmla="*/ 2 w 19"/>
                <a:gd name="T93" fmla="*/ 26 h 32"/>
                <a:gd name="T94" fmla="*/ 1 w 19"/>
                <a:gd name="T95" fmla="*/ 26 h 32"/>
                <a:gd name="T96" fmla="*/ 1 w 19"/>
                <a:gd name="T97" fmla="*/ 26 h 32"/>
                <a:gd name="T98" fmla="*/ 1 w 19"/>
                <a:gd name="T99" fmla="*/ 26 h 32"/>
                <a:gd name="T100" fmla="*/ 0 w 19"/>
                <a:gd name="T101" fmla="*/ 27 h 32"/>
                <a:gd name="T102" fmla="*/ 0 w 19"/>
                <a:gd name="T103" fmla="*/ 27 h 32"/>
                <a:gd name="T104" fmla="*/ 1 w 19"/>
                <a:gd name="T105" fmla="*/ 29 h 32"/>
                <a:gd name="T106" fmla="*/ 1 w 19"/>
                <a:gd name="T107" fmla="*/ 29 h 32"/>
                <a:gd name="T108" fmla="*/ 2 w 19"/>
                <a:gd name="T109" fmla="*/ 30 h 32"/>
                <a:gd name="T110" fmla="*/ 4 w 19"/>
                <a:gd name="T111" fmla="*/ 31 h 32"/>
                <a:gd name="T112" fmla="*/ 6 w 19"/>
                <a:gd name="T113" fmla="*/ 31 h 32"/>
                <a:gd name="T114" fmla="*/ 9 w 19"/>
                <a:gd name="T115" fmla="*/ 32 h 32"/>
                <a:gd name="T116" fmla="*/ 13 w 19"/>
                <a:gd name="T117" fmla="*/ 31 h 32"/>
                <a:gd name="T118" fmla="*/ 16 w 19"/>
                <a:gd name="T119" fmla="*/ 29 h 32"/>
                <a:gd name="T120" fmla="*/ 18 w 19"/>
                <a:gd name="T121" fmla="*/ 26 h 32"/>
                <a:gd name="T122" fmla="*/ 19 w 19"/>
                <a:gd name="T123" fmla="*/ 23 h 32"/>
                <a:gd name="T124" fmla="*/ 19 w 19"/>
                <a:gd name="T12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 h="32">
                  <a:moveTo>
                    <a:pt x="19" y="20"/>
                  </a:moveTo>
                  <a:cubicBezTo>
                    <a:pt x="18" y="19"/>
                    <a:pt x="18" y="18"/>
                    <a:pt x="17" y="17"/>
                  </a:cubicBezTo>
                  <a:cubicBezTo>
                    <a:pt x="16" y="17"/>
                    <a:pt x="16" y="16"/>
                    <a:pt x="15" y="16"/>
                  </a:cubicBezTo>
                  <a:cubicBezTo>
                    <a:pt x="14" y="15"/>
                    <a:pt x="13" y="15"/>
                    <a:pt x="12" y="14"/>
                  </a:cubicBezTo>
                  <a:cubicBezTo>
                    <a:pt x="11" y="14"/>
                    <a:pt x="10" y="13"/>
                    <a:pt x="10" y="13"/>
                  </a:cubicBezTo>
                  <a:cubicBezTo>
                    <a:pt x="9" y="13"/>
                    <a:pt x="8" y="12"/>
                    <a:pt x="7" y="12"/>
                  </a:cubicBezTo>
                  <a:cubicBezTo>
                    <a:pt x="7" y="11"/>
                    <a:pt x="6" y="11"/>
                    <a:pt x="6" y="10"/>
                  </a:cubicBezTo>
                  <a:cubicBezTo>
                    <a:pt x="5" y="10"/>
                    <a:pt x="5" y="9"/>
                    <a:pt x="5" y="8"/>
                  </a:cubicBezTo>
                  <a:cubicBezTo>
                    <a:pt x="5" y="7"/>
                    <a:pt x="5" y="7"/>
                    <a:pt x="6" y="6"/>
                  </a:cubicBezTo>
                  <a:cubicBezTo>
                    <a:pt x="6" y="6"/>
                    <a:pt x="6" y="5"/>
                    <a:pt x="7" y="5"/>
                  </a:cubicBezTo>
                  <a:cubicBezTo>
                    <a:pt x="7" y="5"/>
                    <a:pt x="7" y="4"/>
                    <a:pt x="8" y="4"/>
                  </a:cubicBezTo>
                  <a:cubicBezTo>
                    <a:pt x="9" y="4"/>
                    <a:pt x="9" y="4"/>
                    <a:pt x="10" y="4"/>
                  </a:cubicBezTo>
                  <a:cubicBezTo>
                    <a:pt x="11" y="4"/>
                    <a:pt x="12" y="4"/>
                    <a:pt x="13" y="4"/>
                  </a:cubicBezTo>
                  <a:cubicBezTo>
                    <a:pt x="13" y="4"/>
                    <a:pt x="14" y="5"/>
                    <a:pt x="15" y="5"/>
                  </a:cubicBezTo>
                  <a:cubicBezTo>
                    <a:pt x="15" y="5"/>
                    <a:pt x="16" y="5"/>
                    <a:pt x="16" y="6"/>
                  </a:cubicBezTo>
                  <a:cubicBezTo>
                    <a:pt x="16" y="6"/>
                    <a:pt x="17" y="6"/>
                    <a:pt x="17" y="6"/>
                  </a:cubicBezTo>
                  <a:cubicBezTo>
                    <a:pt x="17" y="6"/>
                    <a:pt x="17" y="6"/>
                    <a:pt x="17" y="6"/>
                  </a:cubicBezTo>
                  <a:cubicBezTo>
                    <a:pt x="17" y="6"/>
                    <a:pt x="17" y="6"/>
                    <a:pt x="17" y="5"/>
                  </a:cubicBezTo>
                  <a:cubicBezTo>
                    <a:pt x="17" y="5"/>
                    <a:pt x="17" y="5"/>
                    <a:pt x="17" y="5"/>
                  </a:cubicBezTo>
                  <a:cubicBezTo>
                    <a:pt x="17" y="5"/>
                    <a:pt x="17" y="4"/>
                    <a:pt x="17" y="4"/>
                  </a:cubicBezTo>
                  <a:cubicBezTo>
                    <a:pt x="17" y="4"/>
                    <a:pt x="17" y="4"/>
                    <a:pt x="17" y="3"/>
                  </a:cubicBezTo>
                  <a:cubicBezTo>
                    <a:pt x="17" y="3"/>
                    <a:pt x="17" y="3"/>
                    <a:pt x="17" y="3"/>
                  </a:cubicBezTo>
                  <a:cubicBezTo>
                    <a:pt x="17" y="3"/>
                    <a:pt x="17" y="3"/>
                    <a:pt x="17" y="3"/>
                  </a:cubicBezTo>
                  <a:cubicBezTo>
                    <a:pt x="17" y="3"/>
                    <a:pt x="17" y="2"/>
                    <a:pt x="17" y="2"/>
                  </a:cubicBezTo>
                  <a:cubicBezTo>
                    <a:pt x="17" y="2"/>
                    <a:pt x="16" y="2"/>
                    <a:pt x="16" y="2"/>
                  </a:cubicBezTo>
                  <a:cubicBezTo>
                    <a:pt x="15" y="1"/>
                    <a:pt x="15" y="1"/>
                    <a:pt x="14" y="1"/>
                  </a:cubicBezTo>
                  <a:cubicBezTo>
                    <a:pt x="14" y="1"/>
                    <a:pt x="13" y="1"/>
                    <a:pt x="12" y="1"/>
                  </a:cubicBezTo>
                  <a:cubicBezTo>
                    <a:pt x="12" y="0"/>
                    <a:pt x="11" y="0"/>
                    <a:pt x="10" y="0"/>
                  </a:cubicBezTo>
                  <a:cubicBezTo>
                    <a:pt x="9" y="0"/>
                    <a:pt x="8" y="1"/>
                    <a:pt x="7" y="1"/>
                  </a:cubicBezTo>
                  <a:cubicBezTo>
                    <a:pt x="6" y="1"/>
                    <a:pt x="5" y="2"/>
                    <a:pt x="4" y="2"/>
                  </a:cubicBezTo>
                  <a:cubicBezTo>
                    <a:pt x="3" y="3"/>
                    <a:pt x="2" y="4"/>
                    <a:pt x="2" y="5"/>
                  </a:cubicBezTo>
                  <a:cubicBezTo>
                    <a:pt x="1" y="6"/>
                    <a:pt x="1" y="7"/>
                    <a:pt x="1" y="8"/>
                  </a:cubicBezTo>
                  <a:cubicBezTo>
                    <a:pt x="1" y="10"/>
                    <a:pt x="1" y="11"/>
                    <a:pt x="2" y="12"/>
                  </a:cubicBezTo>
                  <a:cubicBezTo>
                    <a:pt x="2" y="12"/>
                    <a:pt x="3" y="13"/>
                    <a:pt x="3" y="14"/>
                  </a:cubicBezTo>
                  <a:cubicBezTo>
                    <a:pt x="4" y="14"/>
                    <a:pt x="5" y="15"/>
                    <a:pt x="6" y="16"/>
                  </a:cubicBezTo>
                  <a:cubicBezTo>
                    <a:pt x="6" y="16"/>
                    <a:pt x="7" y="16"/>
                    <a:pt x="8" y="17"/>
                  </a:cubicBezTo>
                  <a:cubicBezTo>
                    <a:pt x="9" y="17"/>
                    <a:pt x="10" y="18"/>
                    <a:pt x="11" y="18"/>
                  </a:cubicBezTo>
                  <a:cubicBezTo>
                    <a:pt x="11" y="18"/>
                    <a:pt x="12" y="19"/>
                    <a:pt x="13" y="19"/>
                  </a:cubicBezTo>
                  <a:cubicBezTo>
                    <a:pt x="13" y="20"/>
                    <a:pt x="14" y="20"/>
                    <a:pt x="14" y="21"/>
                  </a:cubicBezTo>
                  <a:cubicBezTo>
                    <a:pt x="15" y="22"/>
                    <a:pt x="15" y="22"/>
                    <a:pt x="15" y="23"/>
                  </a:cubicBezTo>
                  <a:cubicBezTo>
                    <a:pt x="15" y="24"/>
                    <a:pt x="15" y="25"/>
                    <a:pt x="14" y="25"/>
                  </a:cubicBezTo>
                  <a:cubicBezTo>
                    <a:pt x="14" y="26"/>
                    <a:pt x="14" y="26"/>
                    <a:pt x="13" y="27"/>
                  </a:cubicBezTo>
                  <a:cubicBezTo>
                    <a:pt x="13" y="27"/>
                    <a:pt x="12" y="28"/>
                    <a:pt x="11" y="28"/>
                  </a:cubicBezTo>
                  <a:cubicBezTo>
                    <a:pt x="11" y="28"/>
                    <a:pt x="10" y="28"/>
                    <a:pt x="9" y="28"/>
                  </a:cubicBezTo>
                  <a:cubicBezTo>
                    <a:pt x="8" y="28"/>
                    <a:pt x="7" y="28"/>
                    <a:pt x="6" y="28"/>
                  </a:cubicBezTo>
                  <a:cubicBezTo>
                    <a:pt x="5" y="28"/>
                    <a:pt x="4" y="27"/>
                    <a:pt x="4" y="27"/>
                  </a:cubicBezTo>
                  <a:cubicBezTo>
                    <a:pt x="3" y="27"/>
                    <a:pt x="3" y="26"/>
                    <a:pt x="2" y="26"/>
                  </a:cubicBezTo>
                  <a:cubicBezTo>
                    <a:pt x="2" y="26"/>
                    <a:pt x="1" y="26"/>
                    <a:pt x="1" y="26"/>
                  </a:cubicBezTo>
                  <a:cubicBezTo>
                    <a:pt x="1" y="26"/>
                    <a:pt x="1" y="26"/>
                    <a:pt x="1" y="26"/>
                  </a:cubicBezTo>
                  <a:cubicBezTo>
                    <a:pt x="1" y="26"/>
                    <a:pt x="1" y="26"/>
                    <a:pt x="1" y="26"/>
                  </a:cubicBezTo>
                  <a:cubicBezTo>
                    <a:pt x="1" y="26"/>
                    <a:pt x="1" y="26"/>
                    <a:pt x="0" y="27"/>
                  </a:cubicBezTo>
                  <a:cubicBezTo>
                    <a:pt x="0" y="27"/>
                    <a:pt x="0" y="27"/>
                    <a:pt x="0" y="27"/>
                  </a:cubicBezTo>
                  <a:cubicBezTo>
                    <a:pt x="0" y="28"/>
                    <a:pt x="0" y="28"/>
                    <a:pt x="1" y="29"/>
                  </a:cubicBezTo>
                  <a:cubicBezTo>
                    <a:pt x="1" y="29"/>
                    <a:pt x="1" y="29"/>
                    <a:pt x="1" y="29"/>
                  </a:cubicBezTo>
                  <a:cubicBezTo>
                    <a:pt x="1" y="29"/>
                    <a:pt x="1" y="30"/>
                    <a:pt x="2" y="30"/>
                  </a:cubicBezTo>
                  <a:cubicBezTo>
                    <a:pt x="2" y="30"/>
                    <a:pt x="3" y="30"/>
                    <a:pt x="4" y="31"/>
                  </a:cubicBezTo>
                  <a:cubicBezTo>
                    <a:pt x="4" y="31"/>
                    <a:pt x="5" y="31"/>
                    <a:pt x="6" y="31"/>
                  </a:cubicBezTo>
                  <a:cubicBezTo>
                    <a:pt x="7" y="32"/>
                    <a:pt x="8" y="32"/>
                    <a:pt x="9" y="32"/>
                  </a:cubicBezTo>
                  <a:cubicBezTo>
                    <a:pt x="10" y="32"/>
                    <a:pt x="12" y="31"/>
                    <a:pt x="13" y="31"/>
                  </a:cubicBezTo>
                  <a:cubicBezTo>
                    <a:pt x="14" y="31"/>
                    <a:pt x="15" y="30"/>
                    <a:pt x="16" y="29"/>
                  </a:cubicBezTo>
                  <a:cubicBezTo>
                    <a:pt x="17" y="29"/>
                    <a:pt x="18" y="28"/>
                    <a:pt x="18" y="26"/>
                  </a:cubicBezTo>
                  <a:cubicBezTo>
                    <a:pt x="19" y="25"/>
                    <a:pt x="19" y="24"/>
                    <a:pt x="19" y="23"/>
                  </a:cubicBezTo>
                  <a:cubicBezTo>
                    <a:pt x="19" y="21"/>
                    <a:pt x="19" y="20"/>
                    <a:pt x="19" y="2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56">
              <a:extLst>
                <a:ext uri="{FF2B5EF4-FFF2-40B4-BE49-F238E27FC236}">
                  <a16:creationId xmlns:a16="http://schemas.microsoft.com/office/drawing/2014/main" id="{FB44B763-5BE5-45B2-9953-B73CB1070BEC}"/>
                </a:ext>
              </a:extLst>
            </p:cNvPr>
            <p:cNvSpPr>
              <a:spLocks noEditPoints="1"/>
            </p:cNvSpPr>
            <p:nvPr/>
          </p:nvSpPr>
          <p:spPr bwMode="auto">
            <a:xfrm>
              <a:off x="7390356" y="5301174"/>
              <a:ext cx="70703" cy="82247"/>
            </a:xfrm>
            <a:custGeom>
              <a:avLst/>
              <a:gdLst>
                <a:gd name="T0" fmla="*/ 20 w 21"/>
                <a:gd name="T1" fmla="*/ 7 h 24"/>
                <a:gd name="T2" fmla="*/ 18 w 21"/>
                <a:gd name="T3" fmla="*/ 3 h 24"/>
                <a:gd name="T4" fmla="*/ 15 w 21"/>
                <a:gd name="T5" fmla="*/ 1 h 24"/>
                <a:gd name="T6" fmla="*/ 11 w 21"/>
                <a:gd name="T7" fmla="*/ 0 h 24"/>
                <a:gd name="T8" fmla="*/ 6 w 21"/>
                <a:gd name="T9" fmla="*/ 1 h 24"/>
                <a:gd name="T10" fmla="*/ 3 w 21"/>
                <a:gd name="T11" fmla="*/ 4 h 24"/>
                <a:gd name="T12" fmla="*/ 1 w 21"/>
                <a:gd name="T13" fmla="*/ 7 h 24"/>
                <a:gd name="T14" fmla="*/ 0 w 21"/>
                <a:gd name="T15" fmla="*/ 12 h 24"/>
                <a:gd name="T16" fmla="*/ 1 w 21"/>
                <a:gd name="T17" fmla="*/ 17 h 24"/>
                <a:gd name="T18" fmla="*/ 3 w 21"/>
                <a:gd name="T19" fmla="*/ 21 h 24"/>
                <a:gd name="T20" fmla="*/ 6 w 21"/>
                <a:gd name="T21" fmla="*/ 23 h 24"/>
                <a:gd name="T22" fmla="*/ 10 w 21"/>
                <a:gd name="T23" fmla="*/ 24 h 24"/>
                <a:gd name="T24" fmla="*/ 15 w 21"/>
                <a:gd name="T25" fmla="*/ 23 h 24"/>
                <a:gd name="T26" fmla="*/ 18 w 21"/>
                <a:gd name="T27" fmla="*/ 20 h 24"/>
                <a:gd name="T28" fmla="*/ 20 w 21"/>
                <a:gd name="T29" fmla="*/ 17 h 24"/>
                <a:gd name="T30" fmla="*/ 21 w 21"/>
                <a:gd name="T31" fmla="*/ 12 h 24"/>
                <a:gd name="T32" fmla="*/ 20 w 21"/>
                <a:gd name="T33" fmla="*/ 7 h 24"/>
                <a:gd name="T34" fmla="*/ 17 w 21"/>
                <a:gd name="T35" fmla="*/ 15 h 24"/>
                <a:gd name="T36" fmla="*/ 15 w 21"/>
                <a:gd name="T37" fmla="*/ 18 h 24"/>
                <a:gd name="T38" fmla="*/ 13 w 21"/>
                <a:gd name="T39" fmla="*/ 20 h 24"/>
                <a:gd name="T40" fmla="*/ 10 w 21"/>
                <a:gd name="T41" fmla="*/ 20 h 24"/>
                <a:gd name="T42" fmla="*/ 7 w 21"/>
                <a:gd name="T43" fmla="*/ 20 h 24"/>
                <a:gd name="T44" fmla="*/ 5 w 21"/>
                <a:gd name="T45" fmla="*/ 18 h 24"/>
                <a:gd name="T46" fmla="*/ 4 w 21"/>
                <a:gd name="T47" fmla="*/ 15 h 24"/>
                <a:gd name="T48" fmla="*/ 4 w 21"/>
                <a:gd name="T49" fmla="*/ 12 h 24"/>
                <a:gd name="T50" fmla="*/ 4 w 21"/>
                <a:gd name="T51" fmla="*/ 9 h 24"/>
                <a:gd name="T52" fmla="*/ 6 w 21"/>
                <a:gd name="T53" fmla="*/ 6 h 24"/>
                <a:gd name="T54" fmla="*/ 8 w 21"/>
                <a:gd name="T55" fmla="*/ 4 h 24"/>
                <a:gd name="T56" fmla="*/ 11 w 21"/>
                <a:gd name="T57" fmla="*/ 4 h 24"/>
                <a:gd name="T58" fmla="*/ 14 w 21"/>
                <a:gd name="T59" fmla="*/ 4 h 24"/>
                <a:gd name="T60" fmla="*/ 16 w 21"/>
                <a:gd name="T61" fmla="*/ 6 h 24"/>
                <a:gd name="T62" fmla="*/ 17 w 21"/>
                <a:gd name="T63" fmla="*/ 9 h 24"/>
                <a:gd name="T64" fmla="*/ 17 w 21"/>
                <a:gd name="T65" fmla="*/ 12 h 24"/>
                <a:gd name="T66" fmla="*/ 17 w 21"/>
                <a:gd name="T6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4">
                  <a:moveTo>
                    <a:pt x="20" y="7"/>
                  </a:moveTo>
                  <a:cubicBezTo>
                    <a:pt x="20" y="6"/>
                    <a:pt x="19" y="4"/>
                    <a:pt x="18" y="3"/>
                  </a:cubicBezTo>
                  <a:cubicBezTo>
                    <a:pt x="18" y="2"/>
                    <a:pt x="17" y="2"/>
                    <a:pt x="15" y="1"/>
                  </a:cubicBezTo>
                  <a:cubicBezTo>
                    <a:pt x="14" y="1"/>
                    <a:pt x="12" y="0"/>
                    <a:pt x="11" y="0"/>
                  </a:cubicBezTo>
                  <a:cubicBezTo>
                    <a:pt x="9" y="0"/>
                    <a:pt x="7" y="1"/>
                    <a:pt x="6" y="1"/>
                  </a:cubicBezTo>
                  <a:cubicBezTo>
                    <a:pt x="5" y="2"/>
                    <a:pt x="4" y="3"/>
                    <a:pt x="3" y="4"/>
                  </a:cubicBezTo>
                  <a:cubicBezTo>
                    <a:pt x="2" y="5"/>
                    <a:pt x="1" y="6"/>
                    <a:pt x="1" y="7"/>
                  </a:cubicBezTo>
                  <a:cubicBezTo>
                    <a:pt x="0" y="9"/>
                    <a:pt x="0" y="11"/>
                    <a:pt x="0" y="12"/>
                  </a:cubicBezTo>
                  <a:cubicBezTo>
                    <a:pt x="0" y="14"/>
                    <a:pt x="0" y="16"/>
                    <a:pt x="1" y="17"/>
                  </a:cubicBezTo>
                  <a:cubicBezTo>
                    <a:pt x="1" y="18"/>
                    <a:pt x="2" y="20"/>
                    <a:pt x="3" y="21"/>
                  </a:cubicBezTo>
                  <a:cubicBezTo>
                    <a:pt x="3" y="22"/>
                    <a:pt x="4" y="22"/>
                    <a:pt x="6" y="23"/>
                  </a:cubicBezTo>
                  <a:cubicBezTo>
                    <a:pt x="7" y="23"/>
                    <a:pt x="9" y="24"/>
                    <a:pt x="10" y="24"/>
                  </a:cubicBezTo>
                  <a:cubicBezTo>
                    <a:pt x="12" y="24"/>
                    <a:pt x="14" y="23"/>
                    <a:pt x="15" y="23"/>
                  </a:cubicBezTo>
                  <a:cubicBezTo>
                    <a:pt x="16" y="22"/>
                    <a:pt x="17" y="21"/>
                    <a:pt x="18" y="20"/>
                  </a:cubicBezTo>
                  <a:cubicBezTo>
                    <a:pt x="19" y="19"/>
                    <a:pt x="20" y="18"/>
                    <a:pt x="20" y="17"/>
                  </a:cubicBezTo>
                  <a:cubicBezTo>
                    <a:pt x="21" y="15"/>
                    <a:pt x="21" y="14"/>
                    <a:pt x="21" y="12"/>
                  </a:cubicBezTo>
                  <a:cubicBezTo>
                    <a:pt x="21" y="10"/>
                    <a:pt x="21" y="8"/>
                    <a:pt x="20" y="7"/>
                  </a:cubicBezTo>
                  <a:close/>
                  <a:moveTo>
                    <a:pt x="17" y="15"/>
                  </a:moveTo>
                  <a:cubicBezTo>
                    <a:pt x="16" y="16"/>
                    <a:pt x="16" y="17"/>
                    <a:pt x="15" y="18"/>
                  </a:cubicBezTo>
                  <a:cubicBezTo>
                    <a:pt x="15" y="19"/>
                    <a:pt x="14" y="19"/>
                    <a:pt x="13" y="20"/>
                  </a:cubicBezTo>
                  <a:cubicBezTo>
                    <a:pt x="13" y="20"/>
                    <a:pt x="12" y="20"/>
                    <a:pt x="10" y="20"/>
                  </a:cubicBezTo>
                  <a:cubicBezTo>
                    <a:pt x="9" y="20"/>
                    <a:pt x="8" y="20"/>
                    <a:pt x="7" y="20"/>
                  </a:cubicBezTo>
                  <a:cubicBezTo>
                    <a:pt x="7" y="19"/>
                    <a:pt x="6" y="19"/>
                    <a:pt x="5" y="18"/>
                  </a:cubicBezTo>
                  <a:cubicBezTo>
                    <a:pt x="5" y="17"/>
                    <a:pt x="4" y="16"/>
                    <a:pt x="4" y="15"/>
                  </a:cubicBezTo>
                  <a:cubicBezTo>
                    <a:pt x="4" y="14"/>
                    <a:pt x="4" y="13"/>
                    <a:pt x="4" y="12"/>
                  </a:cubicBezTo>
                  <a:cubicBezTo>
                    <a:pt x="4" y="11"/>
                    <a:pt x="4" y="10"/>
                    <a:pt x="4" y="9"/>
                  </a:cubicBezTo>
                  <a:cubicBezTo>
                    <a:pt x="5" y="8"/>
                    <a:pt x="5" y="7"/>
                    <a:pt x="6" y="6"/>
                  </a:cubicBezTo>
                  <a:cubicBezTo>
                    <a:pt x="6" y="5"/>
                    <a:pt x="7" y="5"/>
                    <a:pt x="8" y="4"/>
                  </a:cubicBezTo>
                  <a:cubicBezTo>
                    <a:pt x="8" y="4"/>
                    <a:pt x="9" y="4"/>
                    <a:pt x="11" y="4"/>
                  </a:cubicBezTo>
                  <a:cubicBezTo>
                    <a:pt x="12" y="4"/>
                    <a:pt x="13" y="4"/>
                    <a:pt x="14" y="4"/>
                  </a:cubicBezTo>
                  <a:cubicBezTo>
                    <a:pt x="15" y="5"/>
                    <a:pt x="15" y="5"/>
                    <a:pt x="16" y="6"/>
                  </a:cubicBezTo>
                  <a:cubicBezTo>
                    <a:pt x="16" y="7"/>
                    <a:pt x="17" y="8"/>
                    <a:pt x="17" y="9"/>
                  </a:cubicBezTo>
                  <a:cubicBezTo>
                    <a:pt x="17" y="10"/>
                    <a:pt x="17" y="11"/>
                    <a:pt x="17" y="12"/>
                  </a:cubicBezTo>
                  <a:cubicBezTo>
                    <a:pt x="17" y="13"/>
                    <a:pt x="17" y="14"/>
                    <a:pt x="17" y="15"/>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57">
              <a:extLst>
                <a:ext uri="{FF2B5EF4-FFF2-40B4-BE49-F238E27FC236}">
                  <a16:creationId xmlns:a16="http://schemas.microsoft.com/office/drawing/2014/main" id="{149179A4-F0E0-4C04-93C8-2A52773DBF26}"/>
                </a:ext>
              </a:extLst>
            </p:cNvPr>
            <p:cNvSpPr>
              <a:spLocks/>
            </p:cNvSpPr>
            <p:nvPr/>
          </p:nvSpPr>
          <p:spPr bwMode="auto">
            <a:xfrm>
              <a:off x="7482702" y="5304060"/>
              <a:ext cx="60602" cy="79361"/>
            </a:xfrm>
            <a:custGeom>
              <a:avLst/>
              <a:gdLst>
                <a:gd name="T0" fmla="*/ 18 w 18"/>
                <a:gd name="T1" fmla="*/ 1 h 23"/>
                <a:gd name="T2" fmla="*/ 18 w 18"/>
                <a:gd name="T3" fmla="*/ 0 h 23"/>
                <a:gd name="T4" fmla="*/ 17 w 18"/>
                <a:gd name="T5" fmla="*/ 0 h 23"/>
                <a:gd name="T6" fmla="*/ 17 w 18"/>
                <a:gd name="T7" fmla="*/ 0 h 23"/>
                <a:gd name="T8" fmla="*/ 16 w 18"/>
                <a:gd name="T9" fmla="*/ 0 h 23"/>
                <a:gd name="T10" fmla="*/ 15 w 18"/>
                <a:gd name="T11" fmla="*/ 0 h 23"/>
                <a:gd name="T12" fmla="*/ 14 w 18"/>
                <a:gd name="T13" fmla="*/ 0 h 23"/>
                <a:gd name="T14" fmla="*/ 14 w 18"/>
                <a:gd name="T15" fmla="*/ 0 h 23"/>
                <a:gd name="T16" fmla="*/ 14 w 18"/>
                <a:gd name="T17" fmla="*/ 1 h 23"/>
                <a:gd name="T18" fmla="*/ 14 w 18"/>
                <a:gd name="T19" fmla="*/ 15 h 23"/>
                <a:gd name="T20" fmla="*/ 11 w 18"/>
                <a:gd name="T21" fmla="*/ 18 h 23"/>
                <a:gd name="T22" fmla="*/ 8 w 18"/>
                <a:gd name="T23" fmla="*/ 19 h 23"/>
                <a:gd name="T24" fmla="*/ 6 w 18"/>
                <a:gd name="T25" fmla="*/ 19 h 23"/>
                <a:gd name="T26" fmla="*/ 5 w 18"/>
                <a:gd name="T27" fmla="*/ 18 h 23"/>
                <a:gd name="T28" fmla="*/ 4 w 18"/>
                <a:gd name="T29" fmla="*/ 16 h 23"/>
                <a:gd name="T30" fmla="*/ 4 w 18"/>
                <a:gd name="T31" fmla="*/ 13 h 23"/>
                <a:gd name="T32" fmla="*/ 4 w 18"/>
                <a:gd name="T33" fmla="*/ 1 h 23"/>
                <a:gd name="T34" fmla="*/ 3 w 18"/>
                <a:gd name="T35" fmla="*/ 0 h 23"/>
                <a:gd name="T36" fmla="*/ 3 w 18"/>
                <a:gd name="T37" fmla="*/ 0 h 23"/>
                <a:gd name="T38" fmla="*/ 3 w 18"/>
                <a:gd name="T39" fmla="*/ 0 h 23"/>
                <a:gd name="T40" fmla="*/ 2 w 18"/>
                <a:gd name="T41" fmla="*/ 0 h 23"/>
                <a:gd name="T42" fmla="*/ 1 w 18"/>
                <a:gd name="T43" fmla="*/ 0 h 23"/>
                <a:gd name="T44" fmla="*/ 0 w 18"/>
                <a:gd name="T45" fmla="*/ 0 h 23"/>
                <a:gd name="T46" fmla="*/ 0 w 18"/>
                <a:gd name="T47" fmla="*/ 0 h 23"/>
                <a:gd name="T48" fmla="*/ 0 w 18"/>
                <a:gd name="T49" fmla="*/ 1 h 23"/>
                <a:gd name="T50" fmla="*/ 0 w 18"/>
                <a:gd name="T51" fmla="*/ 13 h 23"/>
                <a:gd name="T52" fmla="*/ 0 w 18"/>
                <a:gd name="T53" fmla="*/ 17 h 23"/>
                <a:gd name="T54" fmla="*/ 1 w 18"/>
                <a:gd name="T55" fmla="*/ 20 h 23"/>
                <a:gd name="T56" fmla="*/ 4 w 18"/>
                <a:gd name="T57" fmla="*/ 22 h 23"/>
                <a:gd name="T58" fmla="*/ 7 w 18"/>
                <a:gd name="T59" fmla="*/ 23 h 23"/>
                <a:gd name="T60" fmla="*/ 11 w 18"/>
                <a:gd name="T61" fmla="*/ 22 h 23"/>
                <a:gd name="T62" fmla="*/ 14 w 18"/>
                <a:gd name="T63" fmla="*/ 19 h 23"/>
                <a:gd name="T64" fmla="*/ 14 w 18"/>
                <a:gd name="T65" fmla="*/ 22 h 23"/>
                <a:gd name="T66" fmla="*/ 14 w 18"/>
                <a:gd name="T67" fmla="*/ 22 h 23"/>
                <a:gd name="T68" fmla="*/ 15 w 18"/>
                <a:gd name="T69" fmla="*/ 22 h 23"/>
                <a:gd name="T70" fmla="*/ 15 w 18"/>
                <a:gd name="T71" fmla="*/ 22 h 23"/>
                <a:gd name="T72" fmla="*/ 16 w 18"/>
                <a:gd name="T73" fmla="*/ 22 h 23"/>
                <a:gd name="T74" fmla="*/ 17 w 18"/>
                <a:gd name="T75" fmla="*/ 22 h 23"/>
                <a:gd name="T76" fmla="*/ 17 w 18"/>
                <a:gd name="T77" fmla="*/ 22 h 23"/>
                <a:gd name="T78" fmla="*/ 18 w 18"/>
                <a:gd name="T79" fmla="*/ 22 h 23"/>
                <a:gd name="T80" fmla="*/ 18 w 18"/>
                <a:gd name="T81" fmla="*/ 22 h 23"/>
                <a:gd name="T82" fmla="*/ 18 w 18"/>
                <a:gd name="T8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3">
                  <a:moveTo>
                    <a:pt x="18" y="1"/>
                  </a:moveTo>
                  <a:cubicBezTo>
                    <a:pt x="18" y="0"/>
                    <a:pt x="18" y="0"/>
                    <a:pt x="18" y="0"/>
                  </a:cubicBezTo>
                  <a:cubicBezTo>
                    <a:pt x="18" y="0"/>
                    <a:pt x="18" y="0"/>
                    <a:pt x="17" y="0"/>
                  </a:cubicBezTo>
                  <a:cubicBezTo>
                    <a:pt x="17" y="0"/>
                    <a:pt x="17" y="0"/>
                    <a:pt x="17" y="0"/>
                  </a:cubicBezTo>
                  <a:cubicBezTo>
                    <a:pt x="17" y="0"/>
                    <a:pt x="16" y="0"/>
                    <a:pt x="16" y="0"/>
                  </a:cubicBezTo>
                  <a:cubicBezTo>
                    <a:pt x="15" y="0"/>
                    <a:pt x="15" y="0"/>
                    <a:pt x="15" y="0"/>
                  </a:cubicBezTo>
                  <a:cubicBezTo>
                    <a:pt x="15" y="0"/>
                    <a:pt x="14" y="0"/>
                    <a:pt x="14" y="0"/>
                  </a:cubicBezTo>
                  <a:cubicBezTo>
                    <a:pt x="14" y="0"/>
                    <a:pt x="14" y="0"/>
                    <a:pt x="14" y="0"/>
                  </a:cubicBezTo>
                  <a:cubicBezTo>
                    <a:pt x="14" y="0"/>
                    <a:pt x="14" y="0"/>
                    <a:pt x="14" y="1"/>
                  </a:cubicBezTo>
                  <a:cubicBezTo>
                    <a:pt x="14" y="15"/>
                    <a:pt x="14" y="15"/>
                    <a:pt x="14" y="15"/>
                  </a:cubicBezTo>
                  <a:cubicBezTo>
                    <a:pt x="13" y="17"/>
                    <a:pt x="12" y="18"/>
                    <a:pt x="11" y="18"/>
                  </a:cubicBezTo>
                  <a:cubicBezTo>
                    <a:pt x="10" y="19"/>
                    <a:pt x="9" y="19"/>
                    <a:pt x="8" y="19"/>
                  </a:cubicBezTo>
                  <a:cubicBezTo>
                    <a:pt x="7" y="19"/>
                    <a:pt x="7" y="19"/>
                    <a:pt x="6" y="19"/>
                  </a:cubicBezTo>
                  <a:cubicBezTo>
                    <a:pt x="5" y="19"/>
                    <a:pt x="5" y="18"/>
                    <a:pt x="5" y="18"/>
                  </a:cubicBezTo>
                  <a:cubicBezTo>
                    <a:pt x="4" y="17"/>
                    <a:pt x="4" y="16"/>
                    <a:pt x="4" y="16"/>
                  </a:cubicBezTo>
                  <a:cubicBezTo>
                    <a:pt x="4" y="15"/>
                    <a:pt x="4" y="14"/>
                    <a:pt x="4" y="13"/>
                  </a:cubicBezTo>
                  <a:cubicBezTo>
                    <a:pt x="4" y="1"/>
                    <a:pt x="4" y="1"/>
                    <a:pt x="4" y="1"/>
                  </a:cubicBezTo>
                  <a:cubicBezTo>
                    <a:pt x="4" y="0"/>
                    <a:pt x="3" y="0"/>
                    <a:pt x="3" y="0"/>
                  </a:cubicBez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0" y="0"/>
                    <a:pt x="0" y="0"/>
                    <a:pt x="0" y="0"/>
                  </a:cubicBezTo>
                  <a:cubicBezTo>
                    <a:pt x="0" y="0"/>
                    <a:pt x="0" y="0"/>
                    <a:pt x="0" y="1"/>
                  </a:cubicBezTo>
                  <a:cubicBezTo>
                    <a:pt x="0" y="13"/>
                    <a:pt x="0" y="13"/>
                    <a:pt x="0" y="13"/>
                  </a:cubicBezTo>
                  <a:cubicBezTo>
                    <a:pt x="0" y="15"/>
                    <a:pt x="0" y="16"/>
                    <a:pt x="0" y="17"/>
                  </a:cubicBezTo>
                  <a:cubicBezTo>
                    <a:pt x="0" y="18"/>
                    <a:pt x="1" y="19"/>
                    <a:pt x="1" y="20"/>
                  </a:cubicBezTo>
                  <a:cubicBezTo>
                    <a:pt x="2" y="21"/>
                    <a:pt x="3" y="21"/>
                    <a:pt x="4" y="22"/>
                  </a:cubicBezTo>
                  <a:cubicBezTo>
                    <a:pt x="5" y="22"/>
                    <a:pt x="6" y="23"/>
                    <a:pt x="7" y="23"/>
                  </a:cubicBezTo>
                  <a:cubicBezTo>
                    <a:pt x="8" y="23"/>
                    <a:pt x="10" y="22"/>
                    <a:pt x="11" y="22"/>
                  </a:cubicBezTo>
                  <a:cubicBezTo>
                    <a:pt x="12" y="21"/>
                    <a:pt x="13" y="20"/>
                    <a:pt x="14" y="19"/>
                  </a:cubicBezTo>
                  <a:cubicBezTo>
                    <a:pt x="14" y="22"/>
                    <a:pt x="14" y="22"/>
                    <a:pt x="14" y="22"/>
                  </a:cubicBezTo>
                  <a:cubicBezTo>
                    <a:pt x="14" y="22"/>
                    <a:pt x="14" y="22"/>
                    <a:pt x="14" y="22"/>
                  </a:cubicBezTo>
                  <a:cubicBezTo>
                    <a:pt x="14" y="22"/>
                    <a:pt x="15" y="22"/>
                    <a:pt x="15" y="22"/>
                  </a:cubicBezTo>
                  <a:cubicBezTo>
                    <a:pt x="15" y="22"/>
                    <a:pt x="15" y="22"/>
                    <a:pt x="15" y="22"/>
                  </a:cubicBezTo>
                  <a:cubicBezTo>
                    <a:pt x="15" y="22"/>
                    <a:pt x="16" y="22"/>
                    <a:pt x="16" y="22"/>
                  </a:cubicBezTo>
                  <a:cubicBezTo>
                    <a:pt x="16" y="22"/>
                    <a:pt x="17" y="22"/>
                    <a:pt x="17" y="22"/>
                  </a:cubicBezTo>
                  <a:cubicBezTo>
                    <a:pt x="17" y="22"/>
                    <a:pt x="17" y="22"/>
                    <a:pt x="17" y="22"/>
                  </a:cubicBezTo>
                  <a:cubicBezTo>
                    <a:pt x="18" y="22"/>
                    <a:pt x="18" y="22"/>
                    <a:pt x="18" y="22"/>
                  </a:cubicBezTo>
                  <a:cubicBezTo>
                    <a:pt x="18" y="22"/>
                    <a:pt x="18" y="22"/>
                    <a:pt x="18" y="22"/>
                  </a:cubicBezTo>
                  <a:cubicBezTo>
                    <a:pt x="18" y="1"/>
                    <a:pt x="18" y="1"/>
                    <a:pt x="18" y="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58">
              <a:extLst>
                <a:ext uri="{FF2B5EF4-FFF2-40B4-BE49-F238E27FC236}">
                  <a16:creationId xmlns:a16="http://schemas.microsoft.com/office/drawing/2014/main" id="{A24BDC67-FB3E-4E62-9479-EA4DE3D1C46B}"/>
                </a:ext>
              </a:extLst>
            </p:cNvPr>
            <p:cNvSpPr>
              <a:spLocks/>
            </p:cNvSpPr>
            <p:nvPr/>
          </p:nvSpPr>
          <p:spPr bwMode="auto">
            <a:xfrm>
              <a:off x="7567834" y="5301174"/>
              <a:ext cx="40402" cy="77917"/>
            </a:xfrm>
            <a:custGeom>
              <a:avLst/>
              <a:gdLst>
                <a:gd name="T0" fmla="*/ 12 w 12"/>
                <a:gd name="T1" fmla="*/ 2 h 23"/>
                <a:gd name="T2" fmla="*/ 12 w 12"/>
                <a:gd name="T3" fmla="*/ 2 h 23"/>
                <a:gd name="T4" fmla="*/ 12 w 12"/>
                <a:gd name="T5" fmla="*/ 1 h 23"/>
                <a:gd name="T6" fmla="*/ 12 w 12"/>
                <a:gd name="T7" fmla="*/ 1 h 23"/>
                <a:gd name="T8" fmla="*/ 11 w 12"/>
                <a:gd name="T9" fmla="*/ 1 h 23"/>
                <a:gd name="T10" fmla="*/ 11 w 12"/>
                <a:gd name="T11" fmla="*/ 1 h 23"/>
                <a:gd name="T12" fmla="*/ 10 w 12"/>
                <a:gd name="T13" fmla="*/ 0 h 23"/>
                <a:gd name="T14" fmla="*/ 9 w 12"/>
                <a:gd name="T15" fmla="*/ 0 h 23"/>
                <a:gd name="T16" fmla="*/ 8 w 12"/>
                <a:gd name="T17" fmla="*/ 1 h 23"/>
                <a:gd name="T18" fmla="*/ 7 w 12"/>
                <a:gd name="T19" fmla="*/ 1 h 23"/>
                <a:gd name="T20" fmla="*/ 5 w 12"/>
                <a:gd name="T21" fmla="*/ 3 h 23"/>
                <a:gd name="T22" fmla="*/ 3 w 12"/>
                <a:gd name="T23" fmla="*/ 5 h 23"/>
                <a:gd name="T24" fmla="*/ 3 w 12"/>
                <a:gd name="T25" fmla="*/ 2 h 23"/>
                <a:gd name="T26" fmla="*/ 3 w 12"/>
                <a:gd name="T27" fmla="*/ 1 h 23"/>
                <a:gd name="T28" fmla="*/ 3 w 12"/>
                <a:gd name="T29" fmla="*/ 1 h 23"/>
                <a:gd name="T30" fmla="*/ 3 w 12"/>
                <a:gd name="T31" fmla="*/ 1 h 23"/>
                <a:gd name="T32" fmla="*/ 2 w 12"/>
                <a:gd name="T33" fmla="*/ 1 h 23"/>
                <a:gd name="T34" fmla="*/ 1 w 12"/>
                <a:gd name="T35" fmla="*/ 1 h 23"/>
                <a:gd name="T36" fmla="*/ 0 w 12"/>
                <a:gd name="T37" fmla="*/ 1 h 23"/>
                <a:gd name="T38" fmla="*/ 0 w 12"/>
                <a:gd name="T39" fmla="*/ 1 h 23"/>
                <a:gd name="T40" fmla="*/ 0 w 12"/>
                <a:gd name="T41" fmla="*/ 2 h 23"/>
                <a:gd name="T42" fmla="*/ 0 w 12"/>
                <a:gd name="T43" fmla="*/ 23 h 23"/>
                <a:gd name="T44" fmla="*/ 0 w 12"/>
                <a:gd name="T45" fmla="*/ 23 h 23"/>
                <a:gd name="T46" fmla="*/ 0 w 12"/>
                <a:gd name="T47" fmla="*/ 23 h 23"/>
                <a:gd name="T48" fmla="*/ 1 w 12"/>
                <a:gd name="T49" fmla="*/ 23 h 23"/>
                <a:gd name="T50" fmla="*/ 2 w 12"/>
                <a:gd name="T51" fmla="*/ 23 h 23"/>
                <a:gd name="T52" fmla="*/ 3 w 12"/>
                <a:gd name="T53" fmla="*/ 23 h 23"/>
                <a:gd name="T54" fmla="*/ 3 w 12"/>
                <a:gd name="T55" fmla="*/ 23 h 23"/>
                <a:gd name="T56" fmla="*/ 4 w 12"/>
                <a:gd name="T57" fmla="*/ 23 h 23"/>
                <a:gd name="T58" fmla="*/ 4 w 12"/>
                <a:gd name="T59" fmla="*/ 23 h 23"/>
                <a:gd name="T60" fmla="*/ 4 w 12"/>
                <a:gd name="T61" fmla="*/ 9 h 23"/>
                <a:gd name="T62" fmla="*/ 5 w 12"/>
                <a:gd name="T63" fmla="*/ 7 h 23"/>
                <a:gd name="T64" fmla="*/ 7 w 12"/>
                <a:gd name="T65" fmla="*/ 5 h 23"/>
                <a:gd name="T66" fmla="*/ 8 w 12"/>
                <a:gd name="T67" fmla="*/ 4 h 23"/>
                <a:gd name="T68" fmla="*/ 9 w 12"/>
                <a:gd name="T69" fmla="*/ 4 h 23"/>
                <a:gd name="T70" fmla="*/ 10 w 12"/>
                <a:gd name="T71" fmla="*/ 4 h 23"/>
                <a:gd name="T72" fmla="*/ 11 w 12"/>
                <a:gd name="T73" fmla="*/ 4 h 23"/>
                <a:gd name="T74" fmla="*/ 11 w 12"/>
                <a:gd name="T75" fmla="*/ 5 h 23"/>
                <a:gd name="T76" fmla="*/ 12 w 12"/>
                <a:gd name="T77" fmla="*/ 5 h 23"/>
                <a:gd name="T78" fmla="*/ 12 w 12"/>
                <a:gd name="T79" fmla="*/ 5 h 23"/>
                <a:gd name="T80" fmla="*/ 12 w 12"/>
                <a:gd name="T81" fmla="*/ 4 h 23"/>
                <a:gd name="T82" fmla="*/ 12 w 12"/>
                <a:gd name="T83" fmla="*/ 4 h 23"/>
                <a:gd name="T84" fmla="*/ 12 w 12"/>
                <a:gd name="T85" fmla="*/ 3 h 23"/>
                <a:gd name="T86" fmla="*/ 12 w 12"/>
                <a:gd name="T8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2"/>
                  </a:moveTo>
                  <a:cubicBezTo>
                    <a:pt x="12" y="2"/>
                    <a:pt x="12" y="2"/>
                    <a:pt x="12" y="2"/>
                  </a:cubicBezTo>
                  <a:cubicBezTo>
                    <a:pt x="12" y="1"/>
                    <a:pt x="12" y="1"/>
                    <a:pt x="12" y="1"/>
                  </a:cubicBezTo>
                  <a:cubicBezTo>
                    <a:pt x="12" y="1"/>
                    <a:pt x="12" y="1"/>
                    <a:pt x="12" y="1"/>
                  </a:cubicBezTo>
                  <a:cubicBezTo>
                    <a:pt x="12" y="1"/>
                    <a:pt x="12" y="1"/>
                    <a:pt x="11" y="1"/>
                  </a:cubicBezTo>
                  <a:cubicBezTo>
                    <a:pt x="11" y="1"/>
                    <a:pt x="11" y="1"/>
                    <a:pt x="11" y="1"/>
                  </a:cubicBezTo>
                  <a:cubicBezTo>
                    <a:pt x="10" y="1"/>
                    <a:pt x="10" y="1"/>
                    <a:pt x="10" y="0"/>
                  </a:cubicBezTo>
                  <a:cubicBezTo>
                    <a:pt x="10" y="0"/>
                    <a:pt x="9" y="0"/>
                    <a:pt x="9" y="0"/>
                  </a:cubicBezTo>
                  <a:cubicBezTo>
                    <a:pt x="9" y="0"/>
                    <a:pt x="8" y="1"/>
                    <a:pt x="8" y="1"/>
                  </a:cubicBezTo>
                  <a:cubicBezTo>
                    <a:pt x="7" y="1"/>
                    <a:pt x="7" y="1"/>
                    <a:pt x="7" y="1"/>
                  </a:cubicBezTo>
                  <a:cubicBezTo>
                    <a:pt x="6" y="2"/>
                    <a:pt x="6" y="2"/>
                    <a:pt x="5" y="3"/>
                  </a:cubicBezTo>
                  <a:cubicBezTo>
                    <a:pt x="5" y="3"/>
                    <a:pt x="4" y="4"/>
                    <a:pt x="3" y="5"/>
                  </a:cubicBezTo>
                  <a:cubicBezTo>
                    <a:pt x="3" y="2"/>
                    <a:pt x="3" y="2"/>
                    <a:pt x="3" y="2"/>
                  </a:cubicBezTo>
                  <a:cubicBezTo>
                    <a:pt x="3" y="1"/>
                    <a:pt x="3" y="1"/>
                    <a:pt x="3" y="1"/>
                  </a:cubicBezTo>
                  <a:cubicBezTo>
                    <a:pt x="3" y="1"/>
                    <a:pt x="3" y="1"/>
                    <a:pt x="3" y="1"/>
                  </a:cubicBezTo>
                  <a:cubicBezTo>
                    <a:pt x="3" y="1"/>
                    <a:pt x="3" y="1"/>
                    <a:pt x="3" y="1"/>
                  </a:cubicBezTo>
                  <a:cubicBezTo>
                    <a:pt x="2" y="1"/>
                    <a:pt x="2" y="1"/>
                    <a:pt x="2" y="1"/>
                  </a:cubicBezTo>
                  <a:cubicBezTo>
                    <a:pt x="1" y="1"/>
                    <a:pt x="1" y="1"/>
                    <a:pt x="1" y="1"/>
                  </a:cubicBezTo>
                  <a:cubicBezTo>
                    <a:pt x="1" y="1"/>
                    <a:pt x="0" y="1"/>
                    <a:pt x="0" y="1"/>
                  </a:cubicBezTo>
                  <a:cubicBezTo>
                    <a:pt x="0" y="1"/>
                    <a:pt x="0" y="1"/>
                    <a:pt x="0" y="1"/>
                  </a:cubicBezTo>
                  <a:cubicBezTo>
                    <a:pt x="0" y="1"/>
                    <a:pt x="0" y="1"/>
                    <a:pt x="0" y="2"/>
                  </a:cubicBezTo>
                  <a:cubicBezTo>
                    <a:pt x="0" y="23"/>
                    <a:pt x="0" y="23"/>
                    <a:pt x="0" y="23"/>
                  </a:cubicBezTo>
                  <a:cubicBezTo>
                    <a:pt x="0" y="23"/>
                    <a:pt x="0" y="23"/>
                    <a:pt x="0" y="23"/>
                  </a:cubicBezTo>
                  <a:cubicBezTo>
                    <a:pt x="0" y="23"/>
                    <a:pt x="0" y="23"/>
                    <a:pt x="0" y="23"/>
                  </a:cubicBezTo>
                  <a:cubicBezTo>
                    <a:pt x="0" y="23"/>
                    <a:pt x="1" y="23"/>
                    <a:pt x="1" y="23"/>
                  </a:cubicBezTo>
                  <a:cubicBezTo>
                    <a:pt x="1" y="23"/>
                    <a:pt x="2" y="23"/>
                    <a:pt x="2" y="23"/>
                  </a:cubicBezTo>
                  <a:cubicBezTo>
                    <a:pt x="2" y="23"/>
                    <a:pt x="3" y="23"/>
                    <a:pt x="3" y="23"/>
                  </a:cubicBezTo>
                  <a:cubicBezTo>
                    <a:pt x="3" y="23"/>
                    <a:pt x="3" y="23"/>
                    <a:pt x="3" y="23"/>
                  </a:cubicBezTo>
                  <a:cubicBezTo>
                    <a:pt x="4" y="23"/>
                    <a:pt x="4" y="23"/>
                    <a:pt x="4" y="23"/>
                  </a:cubicBezTo>
                  <a:cubicBezTo>
                    <a:pt x="4" y="23"/>
                    <a:pt x="4" y="23"/>
                    <a:pt x="4" y="23"/>
                  </a:cubicBezTo>
                  <a:cubicBezTo>
                    <a:pt x="4" y="9"/>
                    <a:pt x="4" y="9"/>
                    <a:pt x="4" y="9"/>
                  </a:cubicBezTo>
                  <a:cubicBezTo>
                    <a:pt x="4" y="8"/>
                    <a:pt x="5" y="7"/>
                    <a:pt x="5" y="7"/>
                  </a:cubicBezTo>
                  <a:cubicBezTo>
                    <a:pt x="6" y="6"/>
                    <a:pt x="6" y="5"/>
                    <a:pt x="7" y="5"/>
                  </a:cubicBezTo>
                  <a:cubicBezTo>
                    <a:pt x="7" y="5"/>
                    <a:pt x="7" y="4"/>
                    <a:pt x="8" y="4"/>
                  </a:cubicBezTo>
                  <a:cubicBezTo>
                    <a:pt x="8" y="4"/>
                    <a:pt x="9" y="4"/>
                    <a:pt x="9" y="4"/>
                  </a:cubicBezTo>
                  <a:cubicBezTo>
                    <a:pt x="9" y="4"/>
                    <a:pt x="10" y="4"/>
                    <a:pt x="10" y="4"/>
                  </a:cubicBezTo>
                  <a:cubicBezTo>
                    <a:pt x="10" y="4"/>
                    <a:pt x="10" y="4"/>
                    <a:pt x="11" y="4"/>
                  </a:cubicBezTo>
                  <a:cubicBezTo>
                    <a:pt x="11" y="4"/>
                    <a:pt x="11" y="5"/>
                    <a:pt x="11" y="5"/>
                  </a:cubicBezTo>
                  <a:cubicBezTo>
                    <a:pt x="11" y="5"/>
                    <a:pt x="12" y="5"/>
                    <a:pt x="12" y="5"/>
                  </a:cubicBezTo>
                  <a:cubicBezTo>
                    <a:pt x="12" y="5"/>
                    <a:pt x="12" y="5"/>
                    <a:pt x="12" y="5"/>
                  </a:cubicBezTo>
                  <a:cubicBezTo>
                    <a:pt x="12" y="5"/>
                    <a:pt x="12" y="4"/>
                    <a:pt x="12" y="4"/>
                  </a:cubicBezTo>
                  <a:cubicBezTo>
                    <a:pt x="12" y="4"/>
                    <a:pt x="12" y="4"/>
                    <a:pt x="12" y="4"/>
                  </a:cubicBezTo>
                  <a:cubicBezTo>
                    <a:pt x="12" y="4"/>
                    <a:pt x="12" y="3"/>
                    <a:pt x="12" y="3"/>
                  </a:cubicBezTo>
                  <a:cubicBezTo>
                    <a:pt x="12" y="3"/>
                    <a:pt x="12" y="2"/>
                    <a:pt x="12" y="2"/>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59">
              <a:extLst>
                <a:ext uri="{FF2B5EF4-FFF2-40B4-BE49-F238E27FC236}">
                  <a16:creationId xmlns:a16="http://schemas.microsoft.com/office/drawing/2014/main" id="{3872E716-15B5-4FA0-855D-26072B0B51AA}"/>
                </a:ext>
              </a:extLst>
            </p:cNvPr>
            <p:cNvSpPr>
              <a:spLocks/>
            </p:cNvSpPr>
            <p:nvPr/>
          </p:nvSpPr>
          <p:spPr bwMode="auto">
            <a:xfrm>
              <a:off x="7619779" y="5301174"/>
              <a:ext cx="57717" cy="82247"/>
            </a:xfrm>
            <a:custGeom>
              <a:avLst/>
              <a:gdLst>
                <a:gd name="T0" fmla="*/ 17 w 17"/>
                <a:gd name="T1" fmla="*/ 19 h 24"/>
                <a:gd name="T2" fmla="*/ 17 w 17"/>
                <a:gd name="T3" fmla="*/ 18 h 24"/>
                <a:gd name="T4" fmla="*/ 17 w 17"/>
                <a:gd name="T5" fmla="*/ 18 h 24"/>
                <a:gd name="T6" fmla="*/ 16 w 17"/>
                <a:gd name="T7" fmla="*/ 18 h 24"/>
                <a:gd name="T8" fmla="*/ 15 w 17"/>
                <a:gd name="T9" fmla="*/ 18 h 24"/>
                <a:gd name="T10" fmla="*/ 14 w 17"/>
                <a:gd name="T11" fmla="*/ 19 h 24"/>
                <a:gd name="T12" fmla="*/ 12 w 17"/>
                <a:gd name="T13" fmla="*/ 20 h 24"/>
                <a:gd name="T14" fmla="*/ 10 w 17"/>
                <a:gd name="T15" fmla="*/ 20 h 24"/>
                <a:gd name="T16" fmla="*/ 8 w 17"/>
                <a:gd name="T17" fmla="*/ 20 h 24"/>
                <a:gd name="T18" fmla="*/ 6 w 17"/>
                <a:gd name="T19" fmla="*/ 18 h 24"/>
                <a:gd name="T20" fmla="*/ 5 w 17"/>
                <a:gd name="T21" fmla="*/ 16 h 24"/>
                <a:gd name="T22" fmla="*/ 4 w 17"/>
                <a:gd name="T23" fmla="*/ 12 h 24"/>
                <a:gd name="T24" fmla="*/ 6 w 17"/>
                <a:gd name="T25" fmla="*/ 6 h 24"/>
                <a:gd name="T26" fmla="*/ 10 w 17"/>
                <a:gd name="T27" fmla="*/ 4 h 24"/>
                <a:gd name="T28" fmla="*/ 12 w 17"/>
                <a:gd name="T29" fmla="*/ 4 h 24"/>
                <a:gd name="T30" fmla="*/ 14 w 17"/>
                <a:gd name="T31" fmla="*/ 5 h 24"/>
                <a:gd name="T32" fmla="*/ 15 w 17"/>
                <a:gd name="T33" fmla="*/ 6 h 24"/>
                <a:gd name="T34" fmla="*/ 16 w 17"/>
                <a:gd name="T35" fmla="*/ 6 h 24"/>
                <a:gd name="T36" fmla="*/ 17 w 17"/>
                <a:gd name="T37" fmla="*/ 6 h 24"/>
                <a:gd name="T38" fmla="*/ 17 w 17"/>
                <a:gd name="T39" fmla="*/ 5 h 24"/>
                <a:gd name="T40" fmla="*/ 17 w 17"/>
                <a:gd name="T41" fmla="*/ 4 h 24"/>
                <a:gd name="T42" fmla="*/ 17 w 17"/>
                <a:gd name="T43" fmla="*/ 3 h 24"/>
                <a:gd name="T44" fmla="*/ 17 w 17"/>
                <a:gd name="T45" fmla="*/ 3 h 24"/>
                <a:gd name="T46" fmla="*/ 16 w 17"/>
                <a:gd name="T47" fmla="*/ 3 h 24"/>
                <a:gd name="T48" fmla="*/ 15 w 17"/>
                <a:gd name="T49" fmla="*/ 2 h 24"/>
                <a:gd name="T50" fmla="*/ 14 w 17"/>
                <a:gd name="T51" fmla="*/ 1 h 24"/>
                <a:gd name="T52" fmla="*/ 12 w 17"/>
                <a:gd name="T53" fmla="*/ 1 h 24"/>
                <a:gd name="T54" fmla="*/ 10 w 17"/>
                <a:gd name="T55" fmla="*/ 0 h 24"/>
                <a:gd name="T56" fmla="*/ 6 w 17"/>
                <a:gd name="T57" fmla="*/ 1 h 24"/>
                <a:gd name="T58" fmla="*/ 3 w 17"/>
                <a:gd name="T59" fmla="*/ 3 h 24"/>
                <a:gd name="T60" fmla="*/ 1 w 17"/>
                <a:gd name="T61" fmla="*/ 7 h 24"/>
                <a:gd name="T62" fmla="*/ 0 w 17"/>
                <a:gd name="T63" fmla="*/ 12 h 24"/>
                <a:gd name="T64" fmla="*/ 1 w 17"/>
                <a:gd name="T65" fmla="*/ 17 h 24"/>
                <a:gd name="T66" fmla="*/ 3 w 17"/>
                <a:gd name="T67" fmla="*/ 21 h 24"/>
                <a:gd name="T68" fmla="*/ 6 w 17"/>
                <a:gd name="T69" fmla="*/ 23 h 24"/>
                <a:gd name="T70" fmla="*/ 10 w 17"/>
                <a:gd name="T71" fmla="*/ 24 h 24"/>
                <a:gd name="T72" fmla="*/ 12 w 17"/>
                <a:gd name="T73" fmla="*/ 23 h 24"/>
                <a:gd name="T74" fmla="*/ 14 w 17"/>
                <a:gd name="T75" fmla="*/ 23 h 24"/>
                <a:gd name="T76" fmla="*/ 15 w 17"/>
                <a:gd name="T77" fmla="*/ 22 h 24"/>
                <a:gd name="T78" fmla="*/ 16 w 17"/>
                <a:gd name="T79" fmla="*/ 21 h 24"/>
                <a:gd name="T80" fmla="*/ 17 w 17"/>
                <a:gd name="T81" fmla="*/ 21 h 24"/>
                <a:gd name="T82" fmla="*/ 17 w 17"/>
                <a:gd name="T83" fmla="*/ 21 h 24"/>
                <a:gd name="T84" fmla="*/ 17 w 17"/>
                <a:gd name="T85" fmla="*/ 20 h 24"/>
                <a:gd name="T86" fmla="*/ 17 w 17"/>
                <a:gd name="T87" fmla="*/ 19 h 24"/>
                <a:gd name="T88" fmla="*/ 17 w 17"/>
                <a:gd name="T8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 h="24">
                  <a:moveTo>
                    <a:pt x="17" y="19"/>
                  </a:moveTo>
                  <a:cubicBezTo>
                    <a:pt x="17" y="18"/>
                    <a:pt x="17" y="18"/>
                    <a:pt x="17" y="18"/>
                  </a:cubicBezTo>
                  <a:cubicBezTo>
                    <a:pt x="17" y="18"/>
                    <a:pt x="17" y="18"/>
                    <a:pt x="17" y="18"/>
                  </a:cubicBezTo>
                  <a:cubicBezTo>
                    <a:pt x="16" y="18"/>
                    <a:pt x="16" y="18"/>
                    <a:pt x="16" y="18"/>
                  </a:cubicBezTo>
                  <a:cubicBezTo>
                    <a:pt x="16" y="18"/>
                    <a:pt x="16" y="18"/>
                    <a:pt x="15" y="18"/>
                  </a:cubicBezTo>
                  <a:cubicBezTo>
                    <a:pt x="15" y="18"/>
                    <a:pt x="15" y="19"/>
                    <a:pt x="14" y="19"/>
                  </a:cubicBezTo>
                  <a:cubicBezTo>
                    <a:pt x="14" y="19"/>
                    <a:pt x="13" y="20"/>
                    <a:pt x="12" y="20"/>
                  </a:cubicBezTo>
                  <a:cubicBezTo>
                    <a:pt x="12" y="20"/>
                    <a:pt x="11" y="20"/>
                    <a:pt x="10" y="20"/>
                  </a:cubicBezTo>
                  <a:cubicBezTo>
                    <a:pt x="9" y="20"/>
                    <a:pt x="8" y="20"/>
                    <a:pt x="8" y="20"/>
                  </a:cubicBezTo>
                  <a:cubicBezTo>
                    <a:pt x="7" y="19"/>
                    <a:pt x="6" y="19"/>
                    <a:pt x="6" y="18"/>
                  </a:cubicBezTo>
                  <a:cubicBezTo>
                    <a:pt x="5" y="18"/>
                    <a:pt x="5" y="17"/>
                    <a:pt x="5" y="16"/>
                  </a:cubicBezTo>
                  <a:cubicBezTo>
                    <a:pt x="4" y="15"/>
                    <a:pt x="4" y="13"/>
                    <a:pt x="4" y="12"/>
                  </a:cubicBezTo>
                  <a:cubicBezTo>
                    <a:pt x="4" y="9"/>
                    <a:pt x="5" y="7"/>
                    <a:pt x="6" y="6"/>
                  </a:cubicBezTo>
                  <a:cubicBezTo>
                    <a:pt x="7" y="4"/>
                    <a:pt x="8" y="4"/>
                    <a:pt x="10" y="4"/>
                  </a:cubicBezTo>
                  <a:cubicBezTo>
                    <a:pt x="11" y="4"/>
                    <a:pt x="12" y="4"/>
                    <a:pt x="12" y="4"/>
                  </a:cubicBezTo>
                  <a:cubicBezTo>
                    <a:pt x="13" y="4"/>
                    <a:pt x="14" y="5"/>
                    <a:pt x="14" y="5"/>
                  </a:cubicBezTo>
                  <a:cubicBezTo>
                    <a:pt x="15" y="5"/>
                    <a:pt x="15" y="6"/>
                    <a:pt x="15" y="6"/>
                  </a:cubicBezTo>
                  <a:cubicBezTo>
                    <a:pt x="16" y="6"/>
                    <a:pt x="16" y="6"/>
                    <a:pt x="16" y="6"/>
                  </a:cubicBezTo>
                  <a:cubicBezTo>
                    <a:pt x="16" y="6"/>
                    <a:pt x="16" y="6"/>
                    <a:pt x="17" y="6"/>
                  </a:cubicBezTo>
                  <a:cubicBezTo>
                    <a:pt x="17" y="6"/>
                    <a:pt x="17" y="5"/>
                    <a:pt x="17" y="5"/>
                  </a:cubicBezTo>
                  <a:cubicBezTo>
                    <a:pt x="17" y="4"/>
                    <a:pt x="17" y="4"/>
                    <a:pt x="17" y="4"/>
                  </a:cubicBezTo>
                  <a:cubicBezTo>
                    <a:pt x="17" y="4"/>
                    <a:pt x="17" y="4"/>
                    <a:pt x="17" y="3"/>
                  </a:cubicBezTo>
                  <a:cubicBezTo>
                    <a:pt x="17" y="3"/>
                    <a:pt x="17" y="3"/>
                    <a:pt x="17" y="3"/>
                  </a:cubicBezTo>
                  <a:cubicBezTo>
                    <a:pt x="16" y="3"/>
                    <a:pt x="16" y="3"/>
                    <a:pt x="16" y="3"/>
                  </a:cubicBezTo>
                  <a:cubicBezTo>
                    <a:pt x="16" y="2"/>
                    <a:pt x="16" y="2"/>
                    <a:pt x="15" y="2"/>
                  </a:cubicBezTo>
                  <a:cubicBezTo>
                    <a:pt x="15" y="2"/>
                    <a:pt x="14" y="1"/>
                    <a:pt x="14" y="1"/>
                  </a:cubicBezTo>
                  <a:cubicBezTo>
                    <a:pt x="13" y="1"/>
                    <a:pt x="13" y="1"/>
                    <a:pt x="12" y="1"/>
                  </a:cubicBezTo>
                  <a:cubicBezTo>
                    <a:pt x="11" y="1"/>
                    <a:pt x="11" y="0"/>
                    <a:pt x="10" y="0"/>
                  </a:cubicBezTo>
                  <a:cubicBezTo>
                    <a:pt x="9" y="0"/>
                    <a:pt x="7" y="1"/>
                    <a:pt x="6" y="1"/>
                  </a:cubicBezTo>
                  <a:cubicBezTo>
                    <a:pt x="5" y="2"/>
                    <a:pt x="4" y="2"/>
                    <a:pt x="3" y="3"/>
                  </a:cubicBezTo>
                  <a:cubicBezTo>
                    <a:pt x="2" y="4"/>
                    <a:pt x="2" y="5"/>
                    <a:pt x="1" y="7"/>
                  </a:cubicBezTo>
                  <a:cubicBezTo>
                    <a:pt x="1" y="8"/>
                    <a:pt x="0" y="10"/>
                    <a:pt x="0" y="12"/>
                  </a:cubicBezTo>
                  <a:cubicBezTo>
                    <a:pt x="0" y="14"/>
                    <a:pt x="0" y="16"/>
                    <a:pt x="1" y="17"/>
                  </a:cubicBezTo>
                  <a:cubicBezTo>
                    <a:pt x="1" y="19"/>
                    <a:pt x="2" y="20"/>
                    <a:pt x="3" y="21"/>
                  </a:cubicBezTo>
                  <a:cubicBezTo>
                    <a:pt x="3" y="22"/>
                    <a:pt x="4" y="22"/>
                    <a:pt x="6" y="23"/>
                  </a:cubicBezTo>
                  <a:cubicBezTo>
                    <a:pt x="7" y="23"/>
                    <a:pt x="8" y="24"/>
                    <a:pt x="10" y="24"/>
                  </a:cubicBezTo>
                  <a:cubicBezTo>
                    <a:pt x="10" y="24"/>
                    <a:pt x="11" y="24"/>
                    <a:pt x="12" y="23"/>
                  </a:cubicBezTo>
                  <a:cubicBezTo>
                    <a:pt x="12" y="23"/>
                    <a:pt x="13" y="23"/>
                    <a:pt x="14" y="23"/>
                  </a:cubicBezTo>
                  <a:cubicBezTo>
                    <a:pt x="14" y="23"/>
                    <a:pt x="15" y="22"/>
                    <a:pt x="15" y="22"/>
                  </a:cubicBezTo>
                  <a:cubicBezTo>
                    <a:pt x="16" y="22"/>
                    <a:pt x="16" y="22"/>
                    <a:pt x="16" y="21"/>
                  </a:cubicBezTo>
                  <a:cubicBezTo>
                    <a:pt x="16" y="21"/>
                    <a:pt x="17" y="21"/>
                    <a:pt x="17" y="21"/>
                  </a:cubicBezTo>
                  <a:cubicBezTo>
                    <a:pt x="17" y="21"/>
                    <a:pt x="17" y="21"/>
                    <a:pt x="17" y="21"/>
                  </a:cubicBezTo>
                  <a:cubicBezTo>
                    <a:pt x="17" y="20"/>
                    <a:pt x="17" y="20"/>
                    <a:pt x="17" y="20"/>
                  </a:cubicBezTo>
                  <a:cubicBezTo>
                    <a:pt x="17" y="20"/>
                    <a:pt x="17" y="20"/>
                    <a:pt x="17" y="19"/>
                  </a:cubicBezTo>
                  <a:cubicBezTo>
                    <a:pt x="17" y="19"/>
                    <a:pt x="17" y="19"/>
                    <a:pt x="17" y="19"/>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60">
              <a:extLst>
                <a:ext uri="{FF2B5EF4-FFF2-40B4-BE49-F238E27FC236}">
                  <a16:creationId xmlns:a16="http://schemas.microsoft.com/office/drawing/2014/main" id="{15A403CF-B12B-416F-A6BA-BFB4E8192B56}"/>
                </a:ext>
              </a:extLst>
            </p:cNvPr>
            <p:cNvSpPr>
              <a:spLocks noEditPoints="1"/>
            </p:cNvSpPr>
            <p:nvPr/>
          </p:nvSpPr>
          <p:spPr bwMode="auto">
            <a:xfrm>
              <a:off x="7690482" y="5301174"/>
              <a:ext cx="66374" cy="82247"/>
            </a:xfrm>
            <a:custGeom>
              <a:avLst/>
              <a:gdLst>
                <a:gd name="T0" fmla="*/ 19 w 19"/>
                <a:gd name="T1" fmla="*/ 10 h 24"/>
                <a:gd name="T2" fmla="*/ 19 w 19"/>
                <a:gd name="T3" fmla="*/ 7 h 24"/>
                <a:gd name="T4" fmla="*/ 17 w 19"/>
                <a:gd name="T5" fmla="*/ 3 h 24"/>
                <a:gd name="T6" fmla="*/ 14 w 19"/>
                <a:gd name="T7" fmla="*/ 1 h 24"/>
                <a:gd name="T8" fmla="*/ 10 w 19"/>
                <a:gd name="T9" fmla="*/ 0 h 24"/>
                <a:gd name="T10" fmla="*/ 6 w 19"/>
                <a:gd name="T11" fmla="*/ 1 h 24"/>
                <a:gd name="T12" fmla="*/ 2 w 19"/>
                <a:gd name="T13" fmla="*/ 4 h 24"/>
                <a:gd name="T14" fmla="*/ 0 w 19"/>
                <a:gd name="T15" fmla="*/ 7 h 24"/>
                <a:gd name="T16" fmla="*/ 0 w 19"/>
                <a:gd name="T17" fmla="*/ 12 h 24"/>
                <a:gd name="T18" fmla="*/ 0 w 19"/>
                <a:gd name="T19" fmla="*/ 17 h 24"/>
                <a:gd name="T20" fmla="*/ 2 w 19"/>
                <a:gd name="T21" fmla="*/ 21 h 24"/>
                <a:gd name="T22" fmla="*/ 6 w 19"/>
                <a:gd name="T23" fmla="*/ 23 h 24"/>
                <a:gd name="T24" fmla="*/ 10 w 19"/>
                <a:gd name="T25" fmla="*/ 24 h 24"/>
                <a:gd name="T26" fmla="*/ 13 w 19"/>
                <a:gd name="T27" fmla="*/ 23 h 24"/>
                <a:gd name="T28" fmla="*/ 15 w 19"/>
                <a:gd name="T29" fmla="*/ 23 h 24"/>
                <a:gd name="T30" fmla="*/ 17 w 19"/>
                <a:gd name="T31" fmla="*/ 22 h 24"/>
                <a:gd name="T32" fmla="*/ 18 w 19"/>
                <a:gd name="T33" fmla="*/ 22 h 24"/>
                <a:gd name="T34" fmla="*/ 18 w 19"/>
                <a:gd name="T35" fmla="*/ 22 h 24"/>
                <a:gd name="T36" fmla="*/ 18 w 19"/>
                <a:gd name="T37" fmla="*/ 21 h 24"/>
                <a:gd name="T38" fmla="*/ 18 w 19"/>
                <a:gd name="T39" fmla="*/ 21 h 24"/>
                <a:gd name="T40" fmla="*/ 18 w 19"/>
                <a:gd name="T41" fmla="*/ 20 h 24"/>
                <a:gd name="T42" fmla="*/ 18 w 19"/>
                <a:gd name="T43" fmla="*/ 20 h 24"/>
                <a:gd name="T44" fmla="*/ 18 w 19"/>
                <a:gd name="T45" fmla="*/ 19 h 24"/>
                <a:gd name="T46" fmla="*/ 18 w 19"/>
                <a:gd name="T47" fmla="*/ 19 h 24"/>
                <a:gd name="T48" fmla="*/ 18 w 19"/>
                <a:gd name="T49" fmla="*/ 19 h 24"/>
                <a:gd name="T50" fmla="*/ 17 w 19"/>
                <a:gd name="T51" fmla="*/ 19 h 24"/>
                <a:gd name="T52" fmla="*/ 15 w 19"/>
                <a:gd name="T53" fmla="*/ 20 h 24"/>
                <a:gd name="T54" fmla="*/ 13 w 19"/>
                <a:gd name="T55" fmla="*/ 20 h 24"/>
                <a:gd name="T56" fmla="*/ 11 w 19"/>
                <a:gd name="T57" fmla="*/ 20 h 24"/>
                <a:gd name="T58" fmla="*/ 7 w 19"/>
                <a:gd name="T59" fmla="*/ 20 h 24"/>
                <a:gd name="T60" fmla="*/ 5 w 19"/>
                <a:gd name="T61" fmla="*/ 18 h 24"/>
                <a:gd name="T62" fmla="*/ 4 w 19"/>
                <a:gd name="T63" fmla="*/ 16 h 24"/>
                <a:gd name="T64" fmla="*/ 4 w 19"/>
                <a:gd name="T65" fmla="*/ 13 h 24"/>
                <a:gd name="T66" fmla="*/ 18 w 19"/>
                <a:gd name="T67" fmla="*/ 13 h 24"/>
                <a:gd name="T68" fmla="*/ 19 w 19"/>
                <a:gd name="T69" fmla="*/ 12 h 24"/>
                <a:gd name="T70" fmla="*/ 19 w 19"/>
                <a:gd name="T71" fmla="*/ 11 h 24"/>
                <a:gd name="T72" fmla="*/ 19 w 19"/>
                <a:gd name="T73" fmla="*/ 10 h 24"/>
                <a:gd name="T74" fmla="*/ 4 w 19"/>
                <a:gd name="T75" fmla="*/ 10 h 24"/>
                <a:gd name="T76" fmla="*/ 4 w 19"/>
                <a:gd name="T77" fmla="*/ 8 h 24"/>
                <a:gd name="T78" fmla="*/ 5 w 19"/>
                <a:gd name="T79" fmla="*/ 5 h 24"/>
                <a:gd name="T80" fmla="*/ 7 w 19"/>
                <a:gd name="T81" fmla="*/ 4 h 24"/>
                <a:gd name="T82" fmla="*/ 10 w 19"/>
                <a:gd name="T83" fmla="*/ 3 h 24"/>
                <a:gd name="T84" fmla="*/ 14 w 19"/>
                <a:gd name="T85" fmla="*/ 5 h 24"/>
                <a:gd name="T86" fmla="*/ 15 w 19"/>
                <a:gd name="T87" fmla="*/ 10 h 24"/>
                <a:gd name="T88" fmla="*/ 4 w 19"/>
                <a:gd name="T89"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4">
                  <a:moveTo>
                    <a:pt x="19" y="10"/>
                  </a:moveTo>
                  <a:cubicBezTo>
                    <a:pt x="19" y="9"/>
                    <a:pt x="19" y="8"/>
                    <a:pt x="19" y="7"/>
                  </a:cubicBezTo>
                  <a:cubicBezTo>
                    <a:pt x="18" y="5"/>
                    <a:pt x="18" y="4"/>
                    <a:pt x="17" y="3"/>
                  </a:cubicBezTo>
                  <a:cubicBezTo>
                    <a:pt x="16" y="2"/>
                    <a:pt x="15" y="2"/>
                    <a:pt x="14" y="1"/>
                  </a:cubicBezTo>
                  <a:cubicBezTo>
                    <a:pt x="13" y="1"/>
                    <a:pt x="11" y="0"/>
                    <a:pt x="10" y="0"/>
                  </a:cubicBezTo>
                  <a:cubicBezTo>
                    <a:pt x="8" y="0"/>
                    <a:pt x="7" y="1"/>
                    <a:pt x="6" y="1"/>
                  </a:cubicBezTo>
                  <a:cubicBezTo>
                    <a:pt x="4" y="2"/>
                    <a:pt x="3" y="3"/>
                    <a:pt x="2" y="4"/>
                  </a:cubicBezTo>
                  <a:cubicBezTo>
                    <a:pt x="1" y="5"/>
                    <a:pt x="1" y="6"/>
                    <a:pt x="0" y="7"/>
                  </a:cubicBezTo>
                  <a:cubicBezTo>
                    <a:pt x="0" y="9"/>
                    <a:pt x="0" y="10"/>
                    <a:pt x="0" y="12"/>
                  </a:cubicBezTo>
                  <a:cubicBezTo>
                    <a:pt x="0" y="14"/>
                    <a:pt x="0" y="16"/>
                    <a:pt x="0" y="17"/>
                  </a:cubicBezTo>
                  <a:cubicBezTo>
                    <a:pt x="1" y="19"/>
                    <a:pt x="1" y="20"/>
                    <a:pt x="2" y="21"/>
                  </a:cubicBezTo>
                  <a:cubicBezTo>
                    <a:pt x="3" y="22"/>
                    <a:pt x="4" y="22"/>
                    <a:pt x="6" y="23"/>
                  </a:cubicBezTo>
                  <a:cubicBezTo>
                    <a:pt x="7" y="23"/>
                    <a:pt x="8" y="24"/>
                    <a:pt x="10" y="24"/>
                  </a:cubicBezTo>
                  <a:cubicBezTo>
                    <a:pt x="11" y="24"/>
                    <a:pt x="12" y="24"/>
                    <a:pt x="13" y="23"/>
                  </a:cubicBezTo>
                  <a:cubicBezTo>
                    <a:pt x="14" y="23"/>
                    <a:pt x="15" y="23"/>
                    <a:pt x="15" y="23"/>
                  </a:cubicBezTo>
                  <a:cubicBezTo>
                    <a:pt x="16" y="23"/>
                    <a:pt x="17" y="23"/>
                    <a:pt x="17" y="22"/>
                  </a:cubicBezTo>
                  <a:cubicBezTo>
                    <a:pt x="17" y="22"/>
                    <a:pt x="18" y="22"/>
                    <a:pt x="18" y="22"/>
                  </a:cubicBezTo>
                  <a:cubicBezTo>
                    <a:pt x="18" y="22"/>
                    <a:pt x="18" y="22"/>
                    <a:pt x="18" y="22"/>
                  </a:cubicBezTo>
                  <a:cubicBezTo>
                    <a:pt x="18" y="22"/>
                    <a:pt x="18" y="21"/>
                    <a:pt x="18" y="21"/>
                  </a:cubicBezTo>
                  <a:cubicBezTo>
                    <a:pt x="18" y="21"/>
                    <a:pt x="18" y="21"/>
                    <a:pt x="18" y="21"/>
                  </a:cubicBezTo>
                  <a:cubicBezTo>
                    <a:pt x="18" y="21"/>
                    <a:pt x="18" y="21"/>
                    <a:pt x="18" y="20"/>
                  </a:cubicBezTo>
                  <a:cubicBezTo>
                    <a:pt x="18" y="20"/>
                    <a:pt x="18" y="20"/>
                    <a:pt x="18" y="20"/>
                  </a:cubicBezTo>
                  <a:cubicBezTo>
                    <a:pt x="18" y="19"/>
                    <a:pt x="18" y="19"/>
                    <a:pt x="18" y="19"/>
                  </a:cubicBezTo>
                  <a:cubicBezTo>
                    <a:pt x="18" y="19"/>
                    <a:pt x="18" y="19"/>
                    <a:pt x="18" y="19"/>
                  </a:cubicBezTo>
                  <a:cubicBezTo>
                    <a:pt x="18" y="19"/>
                    <a:pt x="18" y="19"/>
                    <a:pt x="18" y="19"/>
                  </a:cubicBezTo>
                  <a:cubicBezTo>
                    <a:pt x="17" y="19"/>
                    <a:pt x="17" y="19"/>
                    <a:pt x="17" y="19"/>
                  </a:cubicBezTo>
                  <a:cubicBezTo>
                    <a:pt x="16" y="19"/>
                    <a:pt x="16" y="19"/>
                    <a:pt x="15" y="20"/>
                  </a:cubicBezTo>
                  <a:cubicBezTo>
                    <a:pt x="15" y="20"/>
                    <a:pt x="14" y="20"/>
                    <a:pt x="13" y="20"/>
                  </a:cubicBezTo>
                  <a:cubicBezTo>
                    <a:pt x="12" y="20"/>
                    <a:pt x="12" y="20"/>
                    <a:pt x="11" y="20"/>
                  </a:cubicBezTo>
                  <a:cubicBezTo>
                    <a:pt x="9" y="20"/>
                    <a:pt x="8" y="20"/>
                    <a:pt x="7" y="20"/>
                  </a:cubicBezTo>
                  <a:cubicBezTo>
                    <a:pt x="6" y="20"/>
                    <a:pt x="6" y="19"/>
                    <a:pt x="5" y="18"/>
                  </a:cubicBezTo>
                  <a:cubicBezTo>
                    <a:pt x="5" y="18"/>
                    <a:pt x="4" y="17"/>
                    <a:pt x="4" y="16"/>
                  </a:cubicBezTo>
                  <a:cubicBezTo>
                    <a:pt x="4" y="15"/>
                    <a:pt x="4" y="14"/>
                    <a:pt x="4" y="13"/>
                  </a:cubicBezTo>
                  <a:cubicBezTo>
                    <a:pt x="18" y="13"/>
                    <a:pt x="18" y="13"/>
                    <a:pt x="18" y="13"/>
                  </a:cubicBezTo>
                  <a:cubicBezTo>
                    <a:pt x="18" y="13"/>
                    <a:pt x="18" y="13"/>
                    <a:pt x="19" y="12"/>
                  </a:cubicBezTo>
                  <a:cubicBezTo>
                    <a:pt x="19" y="12"/>
                    <a:pt x="19" y="12"/>
                    <a:pt x="19" y="11"/>
                  </a:cubicBezTo>
                  <a:cubicBezTo>
                    <a:pt x="19" y="10"/>
                    <a:pt x="19" y="10"/>
                    <a:pt x="19" y="10"/>
                  </a:cubicBezTo>
                  <a:close/>
                  <a:moveTo>
                    <a:pt x="4" y="10"/>
                  </a:moveTo>
                  <a:cubicBezTo>
                    <a:pt x="4" y="9"/>
                    <a:pt x="4" y="8"/>
                    <a:pt x="4" y="8"/>
                  </a:cubicBezTo>
                  <a:cubicBezTo>
                    <a:pt x="4" y="7"/>
                    <a:pt x="5" y="6"/>
                    <a:pt x="5" y="5"/>
                  </a:cubicBezTo>
                  <a:cubicBezTo>
                    <a:pt x="6" y="5"/>
                    <a:pt x="6" y="4"/>
                    <a:pt x="7" y="4"/>
                  </a:cubicBezTo>
                  <a:cubicBezTo>
                    <a:pt x="8" y="4"/>
                    <a:pt x="9" y="3"/>
                    <a:pt x="10" y="3"/>
                  </a:cubicBezTo>
                  <a:cubicBezTo>
                    <a:pt x="11" y="3"/>
                    <a:pt x="13" y="4"/>
                    <a:pt x="14" y="5"/>
                  </a:cubicBezTo>
                  <a:cubicBezTo>
                    <a:pt x="15" y="6"/>
                    <a:pt x="15" y="8"/>
                    <a:pt x="15" y="10"/>
                  </a:cubicBezTo>
                  <a:cubicBezTo>
                    <a:pt x="4" y="10"/>
                    <a:pt x="4" y="10"/>
                    <a:pt x="4" y="1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61">
              <a:extLst>
                <a:ext uri="{FF2B5EF4-FFF2-40B4-BE49-F238E27FC236}">
                  <a16:creationId xmlns:a16="http://schemas.microsoft.com/office/drawing/2014/main" id="{831B4765-5054-4880-B27E-652391854D4A}"/>
                </a:ext>
              </a:extLst>
            </p:cNvPr>
            <p:cNvSpPr>
              <a:spLocks/>
            </p:cNvSpPr>
            <p:nvPr/>
          </p:nvSpPr>
          <p:spPr bwMode="auto">
            <a:xfrm>
              <a:off x="7766956" y="5363219"/>
              <a:ext cx="27416" cy="40402"/>
            </a:xfrm>
            <a:custGeom>
              <a:avLst/>
              <a:gdLst>
                <a:gd name="T0" fmla="*/ 8 w 8"/>
                <a:gd name="T1" fmla="*/ 1 h 12"/>
                <a:gd name="T2" fmla="*/ 8 w 8"/>
                <a:gd name="T3" fmla="*/ 0 h 12"/>
                <a:gd name="T4" fmla="*/ 7 w 8"/>
                <a:gd name="T5" fmla="*/ 0 h 12"/>
                <a:gd name="T6" fmla="*/ 6 w 8"/>
                <a:gd name="T7" fmla="*/ 0 h 12"/>
                <a:gd name="T8" fmla="*/ 5 w 8"/>
                <a:gd name="T9" fmla="*/ 0 h 12"/>
                <a:gd name="T10" fmla="*/ 4 w 8"/>
                <a:gd name="T11" fmla="*/ 0 h 12"/>
                <a:gd name="T12" fmla="*/ 4 w 8"/>
                <a:gd name="T13" fmla="*/ 1 h 12"/>
                <a:gd name="T14" fmla="*/ 4 w 8"/>
                <a:gd name="T15" fmla="*/ 2 h 12"/>
                <a:gd name="T16" fmla="*/ 4 w 8"/>
                <a:gd name="T17" fmla="*/ 5 h 12"/>
                <a:gd name="T18" fmla="*/ 0 w 8"/>
                <a:gd name="T19" fmla="*/ 11 h 12"/>
                <a:gd name="T20" fmla="*/ 0 w 8"/>
                <a:gd name="T21" fmla="*/ 12 h 12"/>
                <a:gd name="T22" fmla="*/ 0 w 8"/>
                <a:gd name="T23" fmla="*/ 12 h 12"/>
                <a:gd name="T24" fmla="*/ 1 w 8"/>
                <a:gd name="T25" fmla="*/ 12 h 12"/>
                <a:gd name="T26" fmla="*/ 2 w 8"/>
                <a:gd name="T27" fmla="*/ 12 h 12"/>
                <a:gd name="T28" fmla="*/ 2 w 8"/>
                <a:gd name="T29" fmla="*/ 12 h 12"/>
                <a:gd name="T30" fmla="*/ 3 w 8"/>
                <a:gd name="T31" fmla="*/ 12 h 12"/>
                <a:gd name="T32" fmla="*/ 3 w 8"/>
                <a:gd name="T33" fmla="*/ 12 h 12"/>
                <a:gd name="T34" fmla="*/ 3 w 8"/>
                <a:gd name="T35" fmla="*/ 11 h 12"/>
                <a:gd name="T36" fmla="*/ 7 w 8"/>
                <a:gd name="T37" fmla="*/ 6 h 12"/>
                <a:gd name="T38" fmla="*/ 7 w 8"/>
                <a:gd name="T39" fmla="*/ 5 h 12"/>
                <a:gd name="T40" fmla="*/ 8 w 8"/>
                <a:gd name="T41" fmla="*/ 4 h 12"/>
                <a:gd name="T42" fmla="*/ 8 w 8"/>
                <a:gd name="T43" fmla="*/ 3 h 12"/>
                <a:gd name="T44" fmla="*/ 8 w 8"/>
                <a:gd name="T45" fmla="*/ 2 h 12"/>
                <a:gd name="T46" fmla="*/ 8 w 8"/>
                <a:gd name="T4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2">
                  <a:moveTo>
                    <a:pt x="8" y="1"/>
                  </a:moveTo>
                  <a:cubicBezTo>
                    <a:pt x="8" y="1"/>
                    <a:pt x="8" y="0"/>
                    <a:pt x="8" y="0"/>
                  </a:cubicBezTo>
                  <a:cubicBezTo>
                    <a:pt x="7" y="0"/>
                    <a:pt x="7" y="0"/>
                    <a:pt x="7" y="0"/>
                  </a:cubicBezTo>
                  <a:cubicBezTo>
                    <a:pt x="7" y="0"/>
                    <a:pt x="6" y="0"/>
                    <a:pt x="6" y="0"/>
                  </a:cubicBezTo>
                  <a:cubicBezTo>
                    <a:pt x="5" y="0"/>
                    <a:pt x="5" y="0"/>
                    <a:pt x="5" y="0"/>
                  </a:cubicBezTo>
                  <a:cubicBezTo>
                    <a:pt x="4" y="0"/>
                    <a:pt x="4" y="0"/>
                    <a:pt x="4" y="0"/>
                  </a:cubicBezTo>
                  <a:cubicBezTo>
                    <a:pt x="4" y="0"/>
                    <a:pt x="4" y="1"/>
                    <a:pt x="4" y="1"/>
                  </a:cubicBezTo>
                  <a:cubicBezTo>
                    <a:pt x="4" y="1"/>
                    <a:pt x="4" y="1"/>
                    <a:pt x="4" y="2"/>
                  </a:cubicBezTo>
                  <a:cubicBezTo>
                    <a:pt x="4" y="5"/>
                    <a:pt x="4" y="5"/>
                    <a:pt x="4" y="5"/>
                  </a:cubicBezTo>
                  <a:cubicBezTo>
                    <a:pt x="0" y="11"/>
                    <a:pt x="0" y="11"/>
                    <a:pt x="0" y="11"/>
                  </a:cubicBezTo>
                  <a:cubicBezTo>
                    <a:pt x="0" y="11"/>
                    <a:pt x="0" y="12"/>
                    <a:pt x="0" y="12"/>
                  </a:cubicBezTo>
                  <a:cubicBezTo>
                    <a:pt x="0" y="12"/>
                    <a:pt x="0" y="12"/>
                    <a:pt x="0" y="12"/>
                  </a:cubicBezTo>
                  <a:cubicBezTo>
                    <a:pt x="1" y="12"/>
                    <a:pt x="1" y="12"/>
                    <a:pt x="1" y="12"/>
                  </a:cubicBezTo>
                  <a:cubicBezTo>
                    <a:pt x="1" y="12"/>
                    <a:pt x="1" y="12"/>
                    <a:pt x="2" y="12"/>
                  </a:cubicBezTo>
                  <a:cubicBezTo>
                    <a:pt x="2" y="12"/>
                    <a:pt x="2" y="12"/>
                    <a:pt x="2" y="12"/>
                  </a:cubicBezTo>
                  <a:cubicBezTo>
                    <a:pt x="2" y="12"/>
                    <a:pt x="3" y="12"/>
                    <a:pt x="3" y="12"/>
                  </a:cubicBezTo>
                  <a:cubicBezTo>
                    <a:pt x="3" y="12"/>
                    <a:pt x="3" y="12"/>
                    <a:pt x="3" y="12"/>
                  </a:cubicBezTo>
                  <a:cubicBezTo>
                    <a:pt x="3" y="12"/>
                    <a:pt x="3" y="11"/>
                    <a:pt x="3" y="11"/>
                  </a:cubicBezTo>
                  <a:cubicBezTo>
                    <a:pt x="7" y="6"/>
                    <a:pt x="7" y="6"/>
                    <a:pt x="7" y="6"/>
                  </a:cubicBezTo>
                  <a:cubicBezTo>
                    <a:pt x="7" y="6"/>
                    <a:pt x="7" y="6"/>
                    <a:pt x="7" y="5"/>
                  </a:cubicBezTo>
                  <a:cubicBezTo>
                    <a:pt x="7" y="5"/>
                    <a:pt x="8" y="5"/>
                    <a:pt x="8" y="4"/>
                  </a:cubicBezTo>
                  <a:cubicBezTo>
                    <a:pt x="8" y="4"/>
                    <a:pt x="8" y="4"/>
                    <a:pt x="8" y="3"/>
                  </a:cubicBezTo>
                  <a:cubicBezTo>
                    <a:pt x="8" y="3"/>
                    <a:pt x="8" y="2"/>
                    <a:pt x="8" y="2"/>
                  </a:cubicBezTo>
                  <a:cubicBezTo>
                    <a:pt x="8" y="1"/>
                    <a:pt x="8" y="1"/>
                    <a:pt x="8" y="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62">
              <a:extLst>
                <a:ext uri="{FF2B5EF4-FFF2-40B4-BE49-F238E27FC236}">
                  <a16:creationId xmlns:a16="http://schemas.microsoft.com/office/drawing/2014/main" id="{FEA44E57-0DA8-4827-B892-F3DA1025396C}"/>
                </a:ext>
              </a:extLst>
            </p:cNvPr>
            <p:cNvSpPr>
              <a:spLocks/>
            </p:cNvSpPr>
            <p:nvPr/>
          </p:nvSpPr>
          <p:spPr bwMode="auto">
            <a:xfrm>
              <a:off x="7804472" y="53790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63">
              <a:extLst>
                <a:ext uri="{FF2B5EF4-FFF2-40B4-BE49-F238E27FC236}">
                  <a16:creationId xmlns:a16="http://schemas.microsoft.com/office/drawing/2014/main" id="{F65B6A1B-D5A7-40CC-BC34-837C60CA4B17}"/>
                </a:ext>
              </a:extLst>
            </p:cNvPr>
            <p:cNvSpPr>
              <a:spLocks/>
            </p:cNvSpPr>
            <p:nvPr/>
          </p:nvSpPr>
          <p:spPr bwMode="auto">
            <a:xfrm>
              <a:off x="7854974" y="5276645"/>
              <a:ext cx="113991" cy="102447"/>
            </a:xfrm>
            <a:custGeom>
              <a:avLst/>
              <a:gdLst>
                <a:gd name="T0" fmla="*/ 33 w 33"/>
                <a:gd name="T1" fmla="*/ 2 h 30"/>
                <a:gd name="T2" fmla="*/ 33 w 33"/>
                <a:gd name="T3" fmla="*/ 1 h 30"/>
                <a:gd name="T4" fmla="*/ 33 w 33"/>
                <a:gd name="T5" fmla="*/ 0 h 30"/>
                <a:gd name="T6" fmla="*/ 32 w 33"/>
                <a:gd name="T7" fmla="*/ 0 h 30"/>
                <a:gd name="T8" fmla="*/ 31 w 33"/>
                <a:gd name="T9" fmla="*/ 0 h 30"/>
                <a:gd name="T10" fmla="*/ 29 w 33"/>
                <a:gd name="T11" fmla="*/ 0 h 30"/>
                <a:gd name="T12" fmla="*/ 28 w 33"/>
                <a:gd name="T13" fmla="*/ 0 h 30"/>
                <a:gd name="T14" fmla="*/ 27 w 33"/>
                <a:gd name="T15" fmla="*/ 0 h 30"/>
                <a:gd name="T16" fmla="*/ 26 w 33"/>
                <a:gd name="T17" fmla="*/ 1 h 30"/>
                <a:gd name="T18" fmla="*/ 26 w 33"/>
                <a:gd name="T19" fmla="*/ 2 h 30"/>
                <a:gd name="T20" fmla="*/ 17 w 33"/>
                <a:gd name="T21" fmla="*/ 24 h 30"/>
                <a:gd name="T22" fmla="*/ 17 w 33"/>
                <a:gd name="T23" fmla="*/ 24 h 30"/>
                <a:gd name="T24" fmla="*/ 8 w 33"/>
                <a:gd name="T25" fmla="*/ 2 h 30"/>
                <a:gd name="T26" fmla="*/ 7 w 33"/>
                <a:gd name="T27" fmla="*/ 1 h 30"/>
                <a:gd name="T28" fmla="*/ 7 w 33"/>
                <a:gd name="T29" fmla="*/ 0 h 30"/>
                <a:gd name="T30" fmla="*/ 6 w 33"/>
                <a:gd name="T31" fmla="*/ 0 h 30"/>
                <a:gd name="T32" fmla="*/ 4 w 33"/>
                <a:gd name="T33" fmla="*/ 0 h 30"/>
                <a:gd name="T34" fmla="*/ 2 w 33"/>
                <a:gd name="T35" fmla="*/ 0 h 30"/>
                <a:gd name="T36" fmla="*/ 1 w 33"/>
                <a:gd name="T37" fmla="*/ 0 h 30"/>
                <a:gd name="T38" fmla="*/ 0 w 33"/>
                <a:gd name="T39" fmla="*/ 2 h 30"/>
                <a:gd name="T40" fmla="*/ 0 w 33"/>
                <a:gd name="T41" fmla="*/ 30 h 30"/>
                <a:gd name="T42" fmla="*/ 0 w 33"/>
                <a:gd name="T43" fmla="*/ 30 h 30"/>
                <a:gd name="T44" fmla="*/ 1 w 33"/>
                <a:gd name="T45" fmla="*/ 30 h 30"/>
                <a:gd name="T46" fmla="*/ 1 w 33"/>
                <a:gd name="T47" fmla="*/ 30 h 30"/>
                <a:gd name="T48" fmla="*/ 2 w 33"/>
                <a:gd name="T49" fmla="*/ 30 h 30"/>
                <a:gd name="T50" fmla="*/ 3 w 33"/>
                <a:gd name="T51" fmla="*/ 30 h 30"/>
                <a:gd name="T52" fmla="*/ 4 w 33"/>
                <a:gd name="T53" fmla="*/ 30 h 30"/>
                <a:gd name="T54" fmla="*/ 4 w 33"/>
                <a:gd name="T55" fmla="*/ 30 h 30"/>
                <a:gd name="T56" fmla="*/ 4 w 33"/>
                <a:gd name="T57" fmla="*/ 30 h 30"/>
                <a:gd name="T58" fmla="*/ 4 w 33"/>
                <a:gd name="T59" fmla="*/ 3 h 30"/>
                <a:gd name="T60" fmla="*/ 4 w 33"/>
                <a:gd name="T61" fmla="*/ 3 h 30"/>
                <a:gd name="T62" fmla="*/ 15 w 33"/>
                <a:gd name="T63" fmla="*/ 30 h 30"/>
                <a:gd name="T64" fmla="*/ 15 w 33"/>
                <a:gd name="T65" fmla="*/ 30 h 30"/>
                <a:gd name="T66" fmla="*/ 15 w 33"/>
                <a:gd name="T67" fmla="*/ 30 h 30"/>
                <a:gd name="T68" fmla="*/ 16 w 33"/>
                <a:gd name="T69" fmla="*/ 30 h 30"/>
                <a:gd name="T70" fmla="*/ 16 w 33"/>
                <a:gd name="T71" fmla="*/ 30 h 30"/>
                <a:gd name="T72" fmla="*/ 17 w 33"/>
                <a:gd name="T73" fmla="*/ 30 h 30"/>
                <a:gd name="T74" fmla="*/ 18 w 33"/>
                <a:gd name="T75" fmla="*/ 30 h 30"/>
                <a:gd name="T76" fmla="*/ 18 w 33"/>
                <a:gd name="T77" fmla="*/ 30 h 30"/>
                <a:gd name="T78" fmla="*/ 18 w 33"/>
                <a:gd name="T79" fmla="*/ 30 h 30"/>
                <a:gd name="T80" fmla="*/ 29 w 33"/>
                <a:gd name="T81" fmla="*/ 3 h 30"/>
                <a:gd name="T82" fmla="*/ 29 w 33"/>
                <a:gd name="T83" fmla="*/ 3 h 30"/>
                <a:gd name="T84" fmla="*/ 29 w 33"/>
                <a:gd name="T85" fmla="*/ 30 h 30"/>
                <a:gd name="T86" fmla="*/ 29 w 33"/>
                <a:gd name="T87" fmla="*/ 30 h 30"/>
                <a:gd name="T88" fmla="*/ 30 w 33"/>
                <a:gd name="T89" fmla="*/ 30 h 30"/>
                <a:gd name="T90" fmla="*/ 30 w 33"/>
                <a:gd name="T91" fmla="*/ 30 h 30"/>
                <a:gd name="T92" fmla="*/ 31 w 33"/>
                <a:gd name="T93" fmla="*/ 30 h 30"/>
                <a:gd name="T94" fmla="*/ 32 w 33"/>
                <a:gd name="T95" fmla="*/ 30 h 30"/>
                <a:gd name="T96" fmla="*/ 33 w 33"/>
                <a:gd name="T97" fmla="*/ 30 h 30"/>
                <a:gd name="T98" fmla="*/ 33 w 33"/>
                <a:gd name="T99" fmla="*/ 30 h 30"/>
                <a:gd name="T100" fmla="*/ 33 w 33"/>
                <a:gd name="T101" fmla="*/ 30 h 30"/>
                <a:gd name="T102" fmla="*/ 33 w 33"/>
                <a:gd name="T10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 h="30">
                  <a:moveTo>
                    <a:pt x="33" y="2"/>
                  </a:moveTo>
                  <a:cubicBezTo>
                    <a:pt x="33" y="1"/>
                    <a:pt x="33" y="1"/>
                    <a:pt x="33" y="1"/>
                  </a:cubicBezTo>
                  <a:cubicBezTo>
                    <a:pt x="33" y="1"/>
                    <a:pt x="33" y="0"/>
                    <a:pt x="33" y="0"/>
                  </a:cubicBezTo>
                  <a:cubicBezTo>
                    <a:pt x="33" y="0"/>
                    <a:pt x="32" y="0"/>
                    <a:pt x="32" y="0"/>
                  </a:cubicBezTo>
                  <a:cubicBezTo>
                    <a:pt x="32" y="0"/>
                    <a:pt x="32" y="0"/>
                    <a:pt x="31" y="0"/>
                  </a:cubicBezTo>
                  <a:cubicBezTo>
                    <a:pt x="29" y="0"/>
                    <a:pt x="29" y="0"/>
                    <a:pt x="29" y="0"/>
                  </a:cubicBezTo>
                  <a:cubicBezTo>
                    <a:pt x="28" y="0"/>
                    <a:pt x="28" y="0"/>
                    <a:pt x="28" y="0"/>
                  </a:cubicBezTo>
                  <a:cubicBezTo>
                    <a:pt x="28" y="0"/>
                    <a:pt x="27" y="0"/>
                    <a:pt x="27" y="0"/>
                  </a:cubicBezTo>
                  <a:cubicBezTo>
                    <a:pt x="27" y="1"/>
                    <a:pt x="27" y="1"/>
                    <a:pt x="26" y="1"/>
                  </a:cubicBezTo>
                  <a:cubicBezTo>
                    <a:pt x="26" y="2"/>
                    <a:pt x="26" y="2"/>
                    <a:pt x="26" y="2"/>
                  </a:cubicBezTo>
                  <a:cubicBezTo>
                    <a:pt x="17" y="24"/>
                    <a:pt x="17" y="24"/>
                    <a:pt x="17" y="24"/>
                  </a:cubicBezTo>
                  <a:cubicBezTo>
                    <a:pt x="17" y="24"/>
                    <a:pt x="17" y="24"/>
                    <a:pt x="17" y="24"/>
                  </a:cubicBezTo>
                  <a:cubicBezTo>
                    <a:pt x="8" y="2"/>
                    <a:pt x="8" y="2"/>
                    <a:pt x="8" y="2"/>
                  </a:cubicBezTo>
                  <a:cubicBezTo>
                    <a:pt x="8" y="2"/>
                    <a:pt x="8" y="2"/>
                    <a:pt x="7" y="1"/>
                  </a:cubicBezTo>
                  <a:cubicBezTo>
                    <a:pt x="7" y="1"/>
                    <a:pt x="7" y="1"/>
                    <a:pt x="7" y="0"/>
                  </a:cubicBezTo>
                  <a:cubicBezTo>
                    <a:pt x="6" y="0"/>
                    <a:pt x="6" y="0"/>
                    <a:pt x="6" y="0"/>
                  </a:cubicBezTo>
                  <a:cubicBezTo>
                    <a:pt x="5" y="0"/>
                    <a:pt x="5" y="0"/>
                    <a:pt x="4" y="0"/>
                  </a:cubicBezTo>
                  <a:cubicBezTo>
                    <a:pt x="2" y="0"/>
                    <a:pt x="2" y="0"/>
                    <a:pt x="2" y="0"/>
                  </a:cubicBezTo>
                  <a:cubicBezTo>
                    <a:pt x="2" y="0"/>
                    <a:pt x="1" y="0"/>
                    <a:pt x="1" y="0"/>
                  </a:cubicBezTo>
                  <a:cubicBezTo>
                    <a:pt x="0" y="1"/>
                    <a:pt x="0" y="1"/>
                    <a:pt x="0" y="2"/>
                  </a:cubicBezTo>
                  <a:cubicBezTo>
                    <a:pt x="0" y="30"/>
                    <a:pt x="0" y="30"/>
                    <a:pt x="0" y="30"/>
                  </a:cubicBezTo>
                  <a:cubicBezTo>
                    <a:pt x="0" y="30"/>
                    <a:pt x="0" y="30"/>
                    <a:pt x="0" y="30"/>
                  </a:cubicBezTo>
                  <a:cubicBezTo>
                    <a:pt x="0" y="30"/>
                    <a:pt x="0" y="30"/>
                    <a:pt x="1" y="30"/>
                  </a:cubicBezTo>
                  <a:cubicBezTo>
                    <a:pt x="1" y="30"/>
                    <a:pt x="1" y="30"/>
                    <a:pt x="1" y="30"/>
                  </a:cubicBezTo>
                  <a:cubicBezTo>
                    <a:pt x="2" y="30"/>
                    <a:pt x="2" y="30"/>
                    <a:pt x="2" y="30"/>
                  </a:cubicBezTo>
                  <a:cubicBezTo>
                    <a:pt x="3" y="30"/>
                    <a:pt x="3" y="30"/>
                    <a:pt x="3" y="30"/>
                  </a:cubicBezTo>
                  <a:cubicBezTo>
                    <a:pt x="3" y="30"/>
                    <a:pt x="4" y="30"/>
                    <a:pt x="4" y="30"/>
                  </a:cubicBezTo>
                  <a:cubicBezTo>
                    <a:pt x="4" y="30"/>
                    <a:pt x="4" y="30"/>
                    <a:pt x="4" y="30"/>
                  </a:cubicBezTo>
                  <a:cubicBezTo>
                    <a:pt x="4" y="30"/>
                    <a:pt x="4" y="30"/>
                    <a:pt x="4" y="30"/>
                  </a:cubicBezTo>
                  <a:cubicBezTo>
                    <a:pt x="4" y="3"/>
                    <a:pt x="4" y="3"/>
                    <a:pt x="4" y="3"/>
                  </a:cubicBezTo>
                  <a:cubicBezTo>
                    <a:pt x="4" y="3"/>
                    <a:pt x="4" y="3"/>
                    <a:pt x="4" y="3"/>
                  </a:cubicBezTo>
                  <a:cubicBezTo>
                    <a:pt x="15" y="30"/>
                    <a:pt x="15" y="30"/>
                    <a:pt x="15" y="30"/>
                  </a:cubicBezTo>
                  <a:cubicBezTo>
                    <a:pt x="15" y="30"/>
                    <a:pt x="15" y="30"/>
                    <a:pt x="15" y="30"/>
                  </a:cubicBezTo>
                  <a:cubicBezTo>
                    <a:pt x="15" y="30"/>
                    <a:pt x="15" y="30"/>
                    <a:pt x="15" y="30"/>
                  </a:cubicBezTo>
                  <a:cubicBezTo>
                    <a:pt x="15" y="30"/>
                    <a:pt x="15" y="30"/>
                    <a:pt x="16" y="30"/>
                  </a:cubicBezTo>
                  <a:cubicBezTo>
                    <a:pt x="16" y="30"/>
                    <a:pt x="16" y="30"/>
                    <a:pt x="16" y="30"/>
                  </a:cubicBezTo>
                  <a:cubicBezTo>
                    <a:pt x="17" y="30"/>
                    <a:pt x="17" y="30"/>
                    <a:pt x="17" y="30"/>
                  </a:cubicBezTo>
                  <a:cubicBezTo>
                    <a:pt x="18" y="30"/>
                    <a:pt x="18" y="30"/>
                    <a:pt x="18" y="30"/>
                  </a:cubicBezTo>
                  <a:cubicBezTo>
                    <a:pt x="18" y="30"/>
                    <a:pt x="18" y="30"/>
                    <a:pt x="18" y="30"/>
                  </a:cubicBezTo>
                  <a:cubicBezTo>
                    <a:pt x="18" y="30"/>
                    <a:pt x="18" y="30"/>
                    <a:pt x="18" y="30"/>
                  </a:cubicBezTo>
                  <a:cubicBezTo>
                    <a:pt x="29" y="3"/>
                    <a:pt x="29" y="3"/>
                    <a:pt x="29" y="3"/>
                  </a:cubicBezTo>
                  <a:cubicBezTo>
                    <a:pt x="29" y="3"/>
                    <a:pt x="29" y="3"/>
                    <a:pt x="29" y="3"/>
                  </a:cubicBezTo>
                  <a:cubicBezTo>
                    <a:pt x="29" y="30"/>
                    <a:pt x="29" y="30"/>
                    <a:pt x="29" y="30"/>
                  </a:cubicBezTo>
                  <a:cubicBezTo>
                    <a:pt x="29" y="30"/>
                    <a:pt x="29" y="30"/>
                    <a:pt x="29" y="30"/>
                  </a:cubicBezTo>
                  <a:cubicBezTo>
                    <a:pt x="29" y="30"/>
                    <a:pt x="29" y="30"/>
                    <a:pt x="30" y="30"/>
                  </a:cubicBezTo>
                  <a:cubicBezTo>
                    <a:pt x="30" y="30"/>
                    <a:pt x="30" y="30"/>
                    <a:pt x="30" y="30"/>
                  </a:cubicBezTo>
                  <a:cubicBezTo>
                    <a:pt x="30" y="30"/>
                    <a:pt x="31" y="30"/>
                    <a:pt x="31" y="30"/>
                  </a:cubicBezTo>
                  <a:cubicBezTo>
                    <a:pt x="32" y="30"/>
                    <a:pt x="32" y="30"/>
                    <a:pt x="32" y="30"/>
                  </a:cubicBezTo>
                  <a:cubicBezTo>
                    <a:pt x="32" y="30"/>
                    <a:pt x="33" y="30"/>
                    <a:pt x="33" y="30"/>
                  </a:cubicBezTo>
                  <a:cubicBezTo>
                    <a:pt x="33" y="30"/>
                    <a:pt x="33" y="30"/>
                    <a:pt x="33" y="30"/>
                  </a:cubicBezTo>
                  <a:cubicBezTo>
                    <a:pt x="33" y="30"/>
                    <a:pt x="33" y="30"/>
                    <a:pt x="33" y="30"/>
                  </a:cubicBezTo>
                  <a:cubicBezTo>
                    <a:pt x="33" y="2"/>
                    <a:pt x="33" y="2"/>
                    <a:pt x="33" y="2"/>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64">
              <a:extLst>
                <a:ext uri="{FF2B5EF4-FFF2-40B4-BE49-F238E27FC236}">
                  <a16:creationId xmlns:a16="http://schemas.microsoft.com/office/drawing/2014/main" id="{8DCBA2B6-A36A-4B37-A1D1-DD8C2F0E94DD}"/>
                </a:ext>
              </a:extLst>
            </p:cNvPr>
            <p:cNvSpPr>
              <a:spLocks noEditPoints="1"/>
            </p:cNvSpPr>
            <p:nvPr/>
          </p:nvSpPr>
          <p:spPr bwMode="auto">
            <a:xfrm>
              <a:off x="7992051" y="5273759"/>
              <a:ext cx="17315" cy="105333"/>
            </a:xfrm>
            <a:custGeom>
              <a:avLst/>
              <a:gdLst>
                <a:gd name="T0" fmla="*/ 5 w 5"/>
                <a:gd name="T1" fmla="*/ 10 h 31"/>
                <a:gd name="T2" fmla="*/ 5 w 5"/>
                <a:gd name="T3" fmla="*/ 9 h 31"/>
                <a:gd name="T4" fmla="*/ 4 w 5"/>
                <a:gd name="T5" fmla="*/ 9 h 31"/>
                <a:gd name="T6" fmla="*/ 4 w 5"/>
                <a:gd name="T7" fmla="*/ 9 h 31"/>
                <a:gd name="T8" fmla="*/ 3 w 5"/>
                <a:gd name="T9" fmla="*/ 9 h 31"/>
                <a:gd name="T10" fmla="*/ 2 w 5"/>
                <a:gd name="T11" fmla="*/ 9 h 31"/>
                <a:gd name="T12" fmla="*/ 1 w 5"/>
                <a:gd name="T13" fmla="*/ 9 h 31"/>
                <a:gd name="T14" fmla="*/ 1 w 5"/>
                <a:gd name="T15" fmla="*/ 9 h 31"/>
                <a:gd name="T16" fmla="*/ 1 w 5"/>
                <a:gd name="T17" fmla="*/ 10 h 31"/>
                <a:gd name="T18" fmla="*/ 1 w 5"/>
                <a:gd name="T19" fmla="*/ 31 h 31"/>
                <a:gd name="T20" fmla="*/ 1 w 5"/>
                <a:gd name="T21" fmla="*/ 31 h 31"/>
                <a:gd name="T22" fmla="*/ 1 w 5"/>
                <a:gd name="T23" fmla="*/ 31 h 31"/>
                <a:gd name="T24" fmla="*/ 2 w 5"/>
                <a:gd name="T25" fmla="*/ 31 h 31"/>
                <a:gd name="T26" fmla="*/ 3 w 5"/>
                <a:gd name="T27" fmla="*/ 31 h 31"/>
                <a:gd name="T28" fmla="*/ 4 w 5"/>
                <a:gd name="T29" fmla="*/ 31 h 31"/>
                <a:gd name="T30" fmla="*/ 4 w 5"/>
                <a:gd name="T31" fmla="*/ 31 h 31"/>
                <a:gd name="T32" fmla="*/ 5 w 5"/>
                <a:gd name="T33" fmla="*/ 31 h 31"/>
                <a:gd name="T34" fmla="*/ 5 w 5"/>
                <a:gd name="T35" fmla="*/ 31 h 31"/>
                <a:gd name="T36" fmla="*/ 5 w 5"/>
                <a:gd name="T37" fmla="*/ 10 h 31"/>
                <a:gd name="T38" fmla="*/ 5 w 5"/>
                <a:gd name="T39" fmla="*/ 1 h 31"/>
                <a:gd name="T40" fmla="*/ 3 w 5"/>
                <a:gd name="T41" fmla="*/ 0 h 31"/>
                <a:gd name="T42" fmla="*/ 1 w 5"/>
                <a:gd name="T43" fmla="*/ 1 h 31"/>
                <a:gd name="T44" fmla="*/ 0 w 5"/>
                <a:gd name="T45" fmla="*/ 2 h 31"/>
                <a:gd name="T46" fmla="*/ 1 w 5"/>
                <a:gd name="T47" fmla="*/ 4 h 31"/>
                <a:gd name="T48" fmla="*/ 3 w 5"/>
                <a:gd name="T49" fmla="*/ 5 h 31"/>
                <a:gd name="T50" fmla="*/ 5 w 5"/>
                <a:gd name="T51" fmla="*/ 4 h 31"/>
                <a:gd name="T52" fmla="*/ 5 w 5"/>
                <a:gd name="T53" fmla="*/ 2 h 31"/>
                <a:gd name="T54" fmla="*/ 5 w 5"/>
                <a:gd name="T5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5" y="10"/>
                  </a:moveTo>
                  <a:cubicBezTo>
                    <a:pt x="5" y="9"/>
                    <a:pt x="5" y="9"/>
                    <a:pt x="5" y="9"/>
                  </a:cubicBezTo>
                  <a:cubicBezTo>
                    <a:pt x="5" y="9"/>
                    <a:pt x="4" y="9"/>
                    <a:pt x="4" y="9"/>
                  </a:cubicBezTo>
                  <a:cubicBezTo>
                    <a:pt x="4" y="9"/>
                    <a:pt x="4" y="9"/>
                    <a:pt x="4" y="9"/>
                  </a:cubicBezTo>
                  <a:cubicBezTo>
                    <a:pt x="3" y="9"/>
                    <a:pt x="3" y="9"/>
                    <a:pt x="3" y="9"/>
                  </a:cubicBezTo>
                  <a:cubicBezTo>
                    <a:pt x="2" y="9"/>
                    <a:pt x="2" y="9"/>
                    <a:pt x="2" y="9"/>
                  </a:cubicBezTo>
                  <a:cubicBezTo>
                    <a:pt x="2" y="9"/>
                    <a:pt x="1" y="9"/>
                    <a:pt x="1" y="9"/>
                  </a:cubicBezTo>
                  <a:cubicBezTo>
                    <a:pt x="1" y="9"/>
                    <a:pt x="1" y="9"/>
                    <a:pt x="1" y="9"/>
                  </a:cubicBezTo>
                  <a:cubicBezTo>
                    <a:pt x="1" y="9"/>
                    <a:pt x="1" y="9"/>
                    <a:pt x="1" y="10"/>
                  </a:cubicBezTo>
                  <a:cubicBezTo>
                    <a:pt x="1" y="31"/>
                    <a:pt x="1" y="31"/>
                    <a:pt x="1" y="31"/>
                  </a:cubicBezTo>
                  <a:cubicBezTo>
                    <a:pt x="1" y="31"/>
                    <a:pt x="1" y="31"/>
                    <a:pt x="1" y="31"/>
                  </a:cubicBezTo>
                  <a:cubicBezTo>
                    <a:pt x="1" y="31"/>
                    <a:pt x="1" y="31"/>
                    <a:pt x="1" y="31"/>
                  </a:cubicBezTo>
                  <a:cubicBezTo>
                    <a:pt x="1" y="31"/>
                    <a:pt x="2" y="31"/>
                    <a:pt x="2" y="31"/>
                  </a:cubicBezTo>
                  <a:cubicBezTo>
                    <a:pt x="2" y="31"/>
                    <a:pt x="2" y="31"/>
                    <a:pt x="3" y="31"/>
                  </a:cubicBezTo>
                  <a:cubicBezTo>
                    <a:pt x="3" y="31"/>
                    <a:pt x="3" y="31"/>
                    <a:pt x="4" y="31"/>
                  </a:cubicBezTo>
                  <a:cubicBezTo>
                    <a:pt x="4" y="31"/>
                    <a:pt x="4" y="31"/>
                    <a:pt x="4" y="31"/>
                  </a:cubicBezTo>
                  <a:cubicBezTo>
                    <a:pt x="4" y="31"/>
                    <a:pt x="5" y="31"/>
                    <a:pt x="5" y="31"/>
                  </a:cubicBezTo>
                  <a:cubicBezTo>
                    <a:pt x="5" y="31"/>
                    <a:pt x="5" y="31"/>
                    <a:pt x="5" y="31"/>
                  </a:cubicBezTo>
                  <a:cubicBezTo>
                    <a:pt x="5" y="10"/>
                    <a:pt x="5" y="10"/>
                    <a:pt x="5" y="10"/>
                  </a:cubicBezTo>
                  <a:close/>
                  <a:moveTo>
                    <a:pt x="5" y="1"/>
                  </a:moveTo>
                  <a:cubicBezTo>
                    <a:pt x="4" y="0"/>
                    <a:pt x="4" y="0"/>
                    <a:pt x="3" y="0"/>
                  </a:cubicBezTo>
                  <a:cubicBezTo>
                    <a:pt x="2" y="0"/>
                    <a:pt x="1" y="0"/>
                    <a:pt x="1" y="1"/>
                  </a:cubicBezTo>
                  <a:cubicBezTo>
                    <a:pt x="1" y="1"/>
                    <a:pt x="0" y="2"/>
                    <a:pt x="0" y="2"/>
                  </a:cubicBezTo>
                  <a:cubicBezTo>
                    <a:pt x="0" y="3"/>
                    <a:pt x="1" y="4"/>
                    <a:pt x="1" y="4"/>
                  </a:cubicBezTo>
                  <a:cubicBezTo>
                    <a:pt x="1" y="5"/>
                    <a:pt x="2" y="5"/>
                    <a:pt x="3" y="5"/>
                  </a:cubicBezTo>
                  <a:cubicBezTo>
                    <a:pt x="4" y="5"/>
                    <a:pt x="4" y="5"/>
                    <a:pt x="5" y="4"/>
                  </a:cubicBezTo>
                  <a:cubicBezTo>
                    <a:pt x="5" y="4"/>
                    <a:pt x="5" y="3"/>
                    <a:pt x="5" y="2"/>
                  </a:cubicBezTo>
                  <a:cubicBezTo>
                    <a:pt x="5" y="1"/>
                    <a:pt x="5" y="1"/>
                    <a:pt x="5" y="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65">
              <a:extLst>
                <a:ext uri="{FF2B5EF4-FFF2-40B4-BE49-F238E27FC236}">
                  <a16:creationId xmlns:a16="http://schemas.microsoft.com/office/drawing/2014/main" id="{1EE110C2-894D-4574-96B3-7BA134475B72}"/>
                </a:ext>
              </a:extLst>
            </p:cNvPr>
            <p:cNvSpPr>
              <a:spLocks/>
            </p:cNvSpPr>
            <p:nvPr/>
          </p:nvSpPr>
          <p:spPr bwMode="auto">
            <a:xfrm>
              <a:off x="8026681" y="5301174"/>
              <a:ext cx="57717" cy="82247"/>
            </a:xfrm>
            <a:custGeom>
              <a:avLst/>
              <a:gdLst>
                <a:gd name="T0" fmla="*/ 17 w 17"/>
                <a:gd name="T1" fmla="*/ 19 h 24"/>
                <a:gd name="T2" fmla="*/ 17 w 17"/>
                <a:gd name="T3" fmla="*/ 18 h 24"/>
                <a:gd name="T4" fmla="*/ 17 w 17"/>
                <a:gd name="T5" fmla="*/ 18 h 24"/>
                <a:gd name="T6" fmla="*/ 16 w 17"/>
                <a:gd name="T7" fmla="*/ 18 h 24"/>
                <a:gd name="T8" fmla="*/ 16 w 17"/>
                <a:gd name="T9" fmla="*/ 18 h 24"/>
                <a:gd name="T10" fmla="*/ 14 w 17"/>
                <a:gd name="T11" fmla="*/ 19 h 24"/>
                <a:gd name="T12" fmla="*/ 13 w 17"/>
                <a:gd name="T13" fmla="*/ 20 h 24"/>
                <a:gd name="T14" fmla="*/ 10 w 17"/>
                <a:gd name="T15" fmla="*/ 20 h 24"/>
                <a:gd name="T16" fmla="*/ 8 w 17"/>
                <a:gd name="T17" fmla="*/ 20 h 24"/>
                <a:gd name="T18" fmla="*/ 6 w 17"/>
                <a:gd name="T19" fmla="*/ 18 h 24"/>
                <a:gd name="T20" fmla="*/ 5 w 17"/>
                <a:gd name="T21" fmla="*/ 16 h 24"/>
                <a:gd name="T22" fmla="*/ 4 w 17"/>
                <a:gd name="T23" fmla="*/ 12 h 24"/>
                <a:gd name="T24" fmla="*/ 6 w 17"/>
                <a:gd name="T25" fmla="*/ 6 h 24"/>
                <a:gd name="T26" fmla="*/ 10 w 17"/>
                <a:gd name="T27" fmla="*/ 4 h 24"/>
                <a:gd name="T28" fmla="*/ 13 w 17"/>
                <a:gd name="T29" fmla="*/ 4 h 24"/>
                <a:gd name="T30" fmla="*/ 14 w 17"/>
                <a:gd name="T31" fmla="*/ 5 h 24"/>
                <a:gd name="T32" fmla="*/ 15 w 17"/>
                <a:gd name="T33" fmla="*/ 6 h 24"/>
                <a:gd name="T34" fmla="*/ 16 w 17"/>
                <a:gd name="T35" fmla="*/ 6 h 24"/>
                <a:gd name="T36" fmla="*/ 17 w 17"/>
                <a:gd name="T37" fmla="*/ 6 h 24"/>
                <a:gd name="T38" fmla="*/ 17 w 17"/>
                <a:gd name="T39" fmla="*/ 5 h 24"/>
                <a:gd name="T40" fmla="*/ 17 w 17"/>
                <a:gd name="T41" fmla="*/ 4 h 24"/>
                <a:gd name="T42" fmla="*/ 17 w 17"/>
                <a:gd name="T43" fmla="*/ 3 h 24"/>
                <a:gd name="T44" fmla="*/ 17 w 17"/>
                <a:gd name="T45" fmla="*/ 3 h 24"/>
                <a:gd name="T46" fmla="*/ 16 w 17"/>
                <a:gd name="T47" fmla="*/ 3 h 24"/>
                <a:gd name="T48" fmla="*/ 15 w 17"/>
                <a:gd name="T49" fmla="*/ 2 h 24"/>
                <a:gd name="T50" fmla="*/ 14 w 17"/>
                <a:gd name="T51" fmla="*/ 1 h 24"/>
                <a:gd name="T52" fmla="*/ 12 w 17"/>
                <a:gd name="T53" fmla="*/ 1 h 24"/>
                <a:gd name="T54" fmla="*/ 10 w 17"/>
                <a:gd name="T55" fmla="*/ 0 h 24"/>
                <a:gd name="T56" fmla="*/ 6 w 17"/>
                <a:gd name="T57" fmla="*/ 1 h 24"/>
                <a:gd name="T58" fmla="*/ 3 w 17"/>
                <a:gd name="T59" fmla="*/ 3 h 24"/>
                <a:gd name="T60" fmla="*/ 1 w 17"/>
                <a:gd name="T61" fmla="*/ 7 h 24"/>
                <a:gd name="T62" fmla="*/ 0 w 17"/>
                <a:gd name="T63" fmla="*/ 12 h 24"/>
                <a:gd name="T64" fmla="*/ 1 w 17"/>
                <a:gd name="T65" fmla="*/ 17 h 24"/>
                <a:gd name="T66" fmla="*/ 3 w 17"/>
                <a:gd name="T67" fmla="*/ 21 h 24"/>
                <a:gd name="T68" fmla="*/ 6 w 17"/>
                <a:gd name="T69" fmla="*/ 23 h 24"/>
                <a:gd name="T70" fmla="*/ 10 w 17"/>
                <a:gd name="T71" fmla="*/ 24 h 24"/>
                <a:gd name="T72" fmla="*/ 12 w 17"/>
                <a:gd name="T73" fmla="*/ 23 h 24"/>
                <a:gd name="T74" fmla="*/ 14 w 17"/>
                <a:gd name="T75" fmla="*/ 23 h 24"/>
                <a:gd name="T76" fmla="*/ 15 w 17"/>
                <a:gd name="T77" fmla="*/ 22 h 24"/>
                <a:gd name="T78" fmla="*/ 16 w 17"/>
                <a:gd name="T79" fmla="*/ 21 h 24"/>
                <a:gd name="T80" fmla="*/ 17 w 17"/>
                <a:gd name="T81" fmla="*/ 21 h 24"/>
                <a:gd name="T82" fmla="*/ 17 w 17"/>
                <a:gd name="T83" fmla="*/ 21 h 24"/>
                <a:gd name="T84" fmla="*/ 17 w 17"/>
                <a:gd name="T85" fmla="*/ 20 h 24"/>
                <a:gd name="T86" fmla="*/ 17 w 17"/>
                <a:gd name="T87" fmla="*/ 19 h 24"/>
                <a:gd name="T88" fmla="*/ 17 w 17"/>
                <a:gd name="T8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 h="24">
                  <a:moveTo>
                    <a:pt x="17" y="19"/>
                  </a:moveTo>
                  <a:cubicBezTo>
                    <a:pt x="17" y="18"/>
                    <a:pt x="17" y="18"/>
                    <a:pt x="17" y="18"/>
                  </a:cubicBezTo>
                  <a:cubicBezTo>
                    <a:pt x="17" y="18"/>
                    <a:pt x="17" y="18"/>
                    <a:pt x="17" y="18"/>
                  </a:cubicBezTo>
                  <a:cubicBezTo>
                    <a:pt x="17" y="18"/>
                    <a:pt x="16" y="18"/>
                    <a:pt x="16" y="18"/>
                  </a:cubicBezTo>
                  <a:cubicBezTo>
                    <a:pt x="16" y="18"/>
                    <a:pt x="16" y="18"/>
                    <a:pt x="16" y="18"/>
                  </a:cubicBezTo>
                  <a:cubicBezTo>
                    <a:pt x="15" y="18"/>
                    <a:pt x="15" y="19"/>
                    <a:pt x="14" y="19"/>
                  </a:cubicBezTo>
                  <a:cubicBezTo>
                    <a:pt x="14" y="19"/>
                    <a:pt x="13" y="20"/>
                    <a:pt x="13" y="20"/>
                  </a:cubicBezTo>
                  <a:cubicBezTo>
                    <a:pt x="12" y="20"/>
                    <a:pt x="11" y="20"/>
                    <a:pt x="10" y="20"/>
                  </a:cubicBezTo>
                  <a:cubicBezTo>
                    <a:pt x="9" y="20"/>
                    <a:pt x="8" y="20"/>
                    <a:pt x="8" y="20"/>
                  </a:cubicBezTo>
                  <a:cubicBezTo>
                    <a:pt x="7" y="19"/>
                    <a:pt x="6" y="19"/>
                    <a:pt x="6" y="18"/>
                  </a:cubicBezTo>
                  <a:cubicBezTo>
                    <a:pt x="5" y="18"/>
                    <a:pt x="5" y="17"/>
                    <a:pt x="5" y="16"/>
                  </a:cubicBezTo>
                  <a:cubicBezTo>
                    <a:pt x="5" y="15"/>
                    <a:pt x="4" y="13"/>
                    <a:pt x="4" y="12"/>
                  </a:cubicBezTo>
                  <a:cubicBezTo>
                    <a:pt x="4" y="9"/>
                    <a:pt x="5" y="7"/>
                    <a:pt x="6" y="6"/>
                  </a:cubicBezTo>
                  <a:cubicBezTo>
                    <a:pt x="7" y="4"/>
                    <a:pt x="8" y="4"/>
                    <a:pt x="10" y="4"/>
                  </a:cubicBezTo>
                  <a:cubicBezTo>
                    <a:pt x="11" y="4"/>
                    <a:pt x="12" y="4"/>
                    <a:pt x="13" y="4"/>
                  </a:cubicBezTo>
                  <a:cubicBezTo>
                    <a:pt x="13" y="4"/>
                    <a:pt x="14" y="5"/>
                    <a:pt x="14" y="5"/>
                  </a:cubicBezTo>
                  <a:cubicBezTo>
                    <a:pt x="15" y="5"/>
                    <a:pt x="15" y="6"/>
                    <a:pt x="15" y="6"/>
                  </a:cubicBezTo>
                  <a:cubicBezTo>
                    <a:pt x="16" y="6"/>
                    <a:pt x="16" y="6"/>
                    <a:pt x="16" y="6"/>
                  </a:cubicBezTo>
                  <a:cubicBezTo>
                    <a:pt x="16" y="6"/>
                    <a:pt x="17" y="6"/>
                    <a:pt x="17" y="6"/>
                  </a:cubicBezTo>
                  <a:cubicBezTo>
                    <a:pt x="17" y="6"/>
                    <a:pt x="17" y="5"/>
                    <a:pt x="17" y="5"/>
                  </a:cubicBezTo>
                  <a:cubicBezTo>
                    <a:pt x="17" y="4"/>
                    <a:pt x="17" y="4"/>
                    <a:pt x="17" y="4"/>
                  </a:cubicBezTo>
                  <a:cubicBezTo>
                    <a:pt x="17" y="4"/>
                    <a:pt x="17" y="4"/>
                    <a:pt x="17" y="3"/>
                  </a:cubicBezTo>
                  <a:cubicBezTo>
                    <a:pt x="17" y="3"/>
                    <a:pt x="17" y="3"/>
                    <a:pt x="17" y="3"/>
                  </a:cubicBezTo>
                  <a:cubicBezTo>
                    <a:pt x="17" y="3"/>
                    <a:pt x="16" y="3"/>
                    <a:pt x="16" y="3"/>
                  </a:cubicBezTo>
                  <a:cubicBezTo>
                    <a:pt x="16" y="2"/>
                    <a:pt x="16" y="2"/>
                    <a:pt x="15" y="2"/>
                  </a:cubicBezTo>
                  <a:cubicBezTo>
                    <a:pt x="15" y="2"/>
                    <a:pt x="14" y="1"/>
                    <a:pt x="14" y="1"/>
                  </a:cubicBezTo>
                  <a:cubicBezTo>
                    <a:pt x="13" y="1"/>
                    <a:pt x="13" y="1"/>
                    <a:pt x="12" y="1"/>
                  </a:cubicBezTo>
                  <a:cubicBezTo>
                    <a:pt x="12" y="1"/>
                    <a:pt x="11" y="0"/>
                    <a:pt x="10" y="0"/>
                  </a:cubicBezTo>
                  <a:cubicBezTo>
                    <a:pt x="9" y="0"/>
                    <a:pt x="8" y="1"/>
                    <a:pt x="6" y="1"/>
                  </a:cubicBezTo>
                  <a:cubicBezTo>
                    <a:pt x="5" y="2"/>
                    <a:pt x="4" y="2"/>
                    <a:pt x="3" y="3"/>
                  </a:cubicBezTo>
                  <a:cubicBezTo>
                    <a:pt x="2" y="4"/>
                    <a:pt x="2" y="5"/>
                    <a:pt x="1" y="7"/>
                  </a:cubicBezTo>
                  <a:cubicBezTo>
                    <a:pt x="1" y="8"/>
                    <a:pt x="0" y="10"/>
                    <a:pt x="0" y="12"/>
                  </a:cubicBezTo>
                  <a:cubicBezTo>
                    <a:pt x="0" y="14"/>
                    <a:pt x="1" y="16"/>
                    <a:pt x="1" y="17"/>
                  </a:cubicBezTo>
                  <a:cubicBezTo>
                    <a:pt x="1" y="19"/>
                    <a:pt x="2" y="20"/>
                    <a:pt x="3" y="21"/>
                  </a:cubicBezTo>
                  <a:cubicBezTo>
                    <a:pt x="4" y="22"/>
                    <a:pt x="5" y="22"/>
                    <a:pt x="6" y="23"/>
                  </a:cubicBezTo>
                  <a:cubicBezTo>
                    <a:pt x="7" y="23"/>
                    <a:pt x="8" y="24"/>
                    <a:pt x="10" y="24"/>
                  </a:cubicBezTo>
                  <a:cubicBezTo>
                    <a:pt x="11" y="24"/>
                    <a:pt x="11" y="24"/>
                    <a:pt x="12" y="23"/>
                  </a:cubicBezTo>
                  <a:cubicBezTo>
                    <a:pt x="13" y="23"/>
                    <a:pt x="13" y="23"/>
                    <a:pt x="14" y="23"/>
                  </a:cubicBezTo>
                  <a:cubicBezTo>
                    <a:pt x="14" y="23"/>
                    <a:pt x="15" y="22"/>
                    <a:pt x="15" y="22"/>
                  </a:cubicBezTo>
                  <a:cubicBezTo>
                    <a:pt x="16" y="22"/>
                    <a:pt x="16" y="22"/>
                    <a:pt x="16" y="21"/>
                  </a:cubicBezTo>
                  <a:cubicBezTo>
                    <a:pt x="17" y="21"/>
                    <a:pt x="17" y="21"/>
                    <a:pt x="17" y="21"/>
                  </a:cubicBezTo>
                  <a:cubicBezTo>
                    <a:pt x="17" y="21"/>
                    <a:pt x="17" y="21"/>
                    <a:pt x="17" y="21"/>
                  </a:cubicBezTo>
                  <a:cubicBezTo>
                    <a:pt x="17" y="20"/>
                    <a:pt x="17" y="20"/>
                    <a:pt x="17" y="20"/>
                  </a:cubicBezTo>
                  <a:cubicBezTo>
                    <a:pt x="17" y="20"/>
                    <a:pt x="17" y="20"/>
                    <a:pt x="17" y="19"/>
                  </a:cubicBezTo>
                  <a:cubicBezTo>
                    <a:pt x="17" y="19"/>
                    <a:pt x="17" y="19"/>
                    <a:pt x="17" y="19"/>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66">
              <a:extLst>
                <a:ext uri="{FF2B5EF4-FFF2-40B4-BE49-F238E27FC236}">
                  <a16:creationId xmlns:a16="http://schemas.microsoft.com/office/drawing/2014/main" id="{9510C673-66A1-4D1F-9CD6-BDF16CEB0445}"/>
                </a:ext>
              </a:extLst>
            </p:cNvPr>
            <p:cNvSpPr>
              <a:spLocks/>
            </p:cNvSpPr>
            <p:nvPr/>
          </p:nvSpPr>
          <p:spPr bwMode="auto">
            <a:xfrm>
              <a:off x="8101712" y="5301174"/>
              <a:ext cx="41845" cy="77917"/>
            </a:xfrm>
            <a:custGeom>
              <a:avLst/>
              <a:gdLst>
                <a:gd name="T0" fmla="*/ 12 w 12"/>
                <a:gd name="T1" fmla="*/ 2 h 23"/>
                <a:gd name="T2" fmla="*/ 12 w 12"/>
                <a:gd name="T3" fmla="*/ 2 h 23"/>
                <a:gd name="T4" fmla="*/ 12 w 12"/>
                <a:gd name="T5" fmla="*/ 1 h 23"/>
                <a:gd name="T6" fmla="*/ 12 w 12"/>
                <a:gd name="T7" fmla="*/ 1 h 23"/>
                <a:gd name="T8" fmla="*/ 12 w 12"/>
                <a:gd name="T9" fmla="*/ 1 h 23"/>
                <a:gd name="T10" fmla="*/ 11 w 12"/>
                <a:gd name="T11" fmla="*/ 1 h 23"/>
                <a:gd name="T12" fmla="*/ 10 w 12"/>
                <a:gd name="T13" fmla="*/ 0 h 23"/>
                <a:gd name="T14" fmla="*/ 9 w 12"/>
                <a:gd name="T15" fmla="*/ 0 h 23"/>
                <a:gd name="T16" fmla="*/ 8 w 12"/>
                <a:gd name="T17" fmla="*/ 1 h 23"/>
                <a:gd name="T18" fmla="*/ 7 w 12"/>
                <a:gd name="T19" fmla="*/ 1 h 23"/>
                <a:gd name="T20" fmla="*/ 5 w 12"/>
                <a:gd name="T21" fmla="*/ 3 h 23"/>
                <a:gd name="T22" fmla="*/ 4 w 12"/>
                <a:gd name="T23" fmla="*/ 5 h 23"/>
                <a:gd name="T24" fmla="*/ 4 w 12"/>
                <a:gd name="T25" fmla="*/ 2 h 23"/>
                <a:gd name="T26" fmla="*/ 4 w 12"/>
                <a:gd name="T27" fmla="*/ 1 h 23"/>
                <a:gd name="T28" fmla="*/ 3 w 12"/>
                <a:gd name="T29" fmla="*/ 1 h 23"/>
                <a:gd name="T30" fmla="*/ 3 w 12"/>
                <a:gd name="T31" fmla="*/ 1 h 23"/>
                <a:gd name="T32" fmla="*/ 2 w 12"/>
                <a:gd name="T33" fmla="*/ 1 h 23"/>
                <a:gd name="T34" fmla="*/ 1 w 12"/>
                <a:gd name="T35" fmla="*/ 1 h 23"/>
                <a:gd name="T36" fmla="*/ 0 w 12"/>
                <a:gd name="T37" fmla="*/ 1 h 23"/>
                <a:gd name="T38" fmla="*/ 0 w 12"/>
                <a:gd name="T39" fmla="*/ 1 h 23"/>
                <a:gd name="T40" fmla="*/ 0 w 12"/>
                <a:gd name="T41" fmla="*/ 2 h 23"/>
                <a:gd name="T42" fmla="*/ 0 w 12"/>
                <a:gd name="T43" fmla="*/ 23 h 23"/>
                <a:gd name="T44" fmla="*/ 0 w 12"/>
                <a:gd name="T45" fmla="*/ 23 h 23"/>
                <a:gd name="T46" fmla="*/ 1 w 12"/>
                <a:gd name="T47" fmla="*/ 23 h 23"/>
                <a:gd name="T48" fmla="*/ 1 w 12"/>
                <a:gd name="T49" fmla="*/ 23 h 23"/>
                <a:gd name="T50" fmla="*/ 2 w 12"/>
                <a:gd name="T51" fmla="*/ 23 h 23"/>
                <a:gd name="T52" fmla="*/ 3 w 12"/>
                <a:gd name="T53" fmla="*/ 23 h 23"/>
                <a:gd name="T54" fmla="*/ 4 w 12"/>
                <a:gd name="T55" fmla="*/ 23 h 23"/>
                <a:gd name="T56" fmla="*/ 4 w 12"/>
                <a:gd name="T57" fmla="*/ 23 h 23"/>
                <a:gd name="T58" fmla="*/ 4 w 12"/>
                <a:gd name="T59" fmla="*/ 23 h 23"/>
                <a:gd name="T60" fmla="*/ 4 w 12"/>
                <a:gd name="T61" fmla="*/ 9 h 23"/>
                <a:gd name="T62" fmla="*/ 6 w 12"/>
                <a:gd name="T63" fmla="*/ 7 h 23"/>
                <a:gd name="T64" fmla="*/ 7 w 12"/>
                <a:gd name="T65" fmla="*/ 5 h 23"/>
                <a:gd name="T66" fmla="*/ 8 w 12"/>
                <a:gd name="T67" fmla="*/ 4 h 23"/>
                <a:gd name="T68" fmla="*/ 9 w 12"/>
                <a:gd name="T69" fmla="*/ 4 h 23"/>
                <a:gd name="T70" fmla="*/ 10 w 12"/>
                <a:gd name="T71" fmla="*/ 4 h 23"/>
                <a:gd name="T72" fmla="*/ 11 w 12"/>
                <a:gd name="T73" fmla="*/ 4 h 23"/>
                <a:gd name="T74" fmla="*/ 11 w 12"/>
                <a:gd name="T75" fmla="*/ 5 h 23"/>
                <a:gd name="T76" fmla="*/ 12 w 12"/>
                <a:gd name="T77" fmla="*/ 5 h 23"/>
                <a:gd name="T78" fmla="*/ 12 w 12"/>
                <a:gd name="T79" fmla="*/ 5 h 23"/>
                <a:gd name="T80" fmla="*/ 12 w 12"/>
                <a:gd name="T81" fmla="*/ 4 h 23"/>
                <a:gd name="T82" fmla="*/ 12 w 12"/>
                <a:gd name="T83" fmla="*/ 4 h 23"/>
                <a:gd name="T84" fmla="*/ 12 w 12"/>
                <a:gd name="T85" fmla="*/ 3 h 23"/>
                <a:gd name="T86" fmla="*/ 12 w 12"/>
                <a:gd name="T8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2"/>
                  </a:moveTo>
                  <a:cubicBezTo>
                    <a:pt x="12" y="2"/>
                    <a:pt x="12" y="2"/>
                    <a:pt x="12" y="2"/>
                  </a:cubicBezTo>
                  <a:cubicBezTo>
                    <a:pt x="12" y="1"/>
                    <a:pt x="12" y="1"/>
                    <a:pt x="12" y="1"/>
                  </a:cubicBezTo>
                  <a:cubicBezTo>
                    <a:pt x="12" y="1"/>
                    <a:pt x="12" y="1"/>
                    <a:pt x="12" y="1"/>
                  </a:cubicBezTo>
                  <a:cubicBezTo>
                    <a:pt x="12" y="1"/>
                    <a:pt x="12" y="1"/>
                    <a:pt x="12" y="1"/>
                  </a:cubicBezTo>
                  <a:cubicBezTo>
                    <a:pt x="11" y="1"/>
                    <a:pt x="11" y="1"/>
                    <a:pt x="11" y="1"/>
                  </a:cubicBezTo>
                  <a:cubicBezTo>
                    <a:pt x="11" y="1"/>
                    <a:pt x="10" y="1"/>
                    <a:pt x="10" y="0"/>
                  </a:cubicBezTo>
                  <a:cubicBezTo>
                    <a:pt x="10" y="0"/>
                    <a:pt x="10" y="0"/>
                    <a:pt x="9" y="0"/>
                  </a:cubicBezTo>
                  <a:cubicBezTo>
                    <a:pt x="9" y="0"/>
                    <a:pt x="9" y="1"/>
                    <a:pt x="8" y="1"/>
                  </a:cubicBezTo>
                  <a:cubicBezTo>
                    <a:pt x="8" y="1"/>
                    <a:pt x="7" y="1"/>
                    <a:pt x="7" y="1"/>
                  </a:cubicBezTo>
                  <a:cubicBezTo>
                    <a:pt x="6" y="2"/>
                    <a:pt x="6" y="2"/>
                    <a:pt x="5" y="3"/>
                  </a:cubicBezTo>
                  <a:cubicBezTo>
                    <a:pt x="5" y="3"/>
                    <a:pt x="4" y="4"/>
                    <a:pt x="4" y="5"/>
                  </a:cubicBezTo>
                  <a:cubicBezTo>
                    <a:pt x="4" y="2"/>
                    <a:pt x="4" y="2"/>
                    <a:pt x="4" y="2"/>
                  </a:cubicBezTo>
                  <a:cubicBezTo>
                    <a:pt x="4" y="1"/>
                    <a:pt x="4" y="1"/>
                    <a:pt x="4" y="1"/>
                  </a:cubicBezTo>
                  <a:cubicBezTo>
                    <a:pt x="4" y="1"/>
                    <a:pt x="3" y="1"/>
                    <a:pt x="3" y="1"/>
                  </a:cubicBezTo>
                  <a:cubicBezTo>
                    <a:pt x="3" y="1"/>
                    <a:pt x="3" y="1"/>
                    <a:pt x="3" y="1"/>
                  </a:cubicBezTo>
                  <a:cubicBezTo>
                    <a:pt x="3" y="1"/>
                    <a:pt x="2" y="1"/>
                    <a:pt x="2" y="1"/>
                  </a:cubicBezTo>
                  <a:cubicBezTo>
                    <a:pt x="2" y="1"/>
                    <a:pt x="1" y="1"/>
                    <a:pt x="1" y="1"/>
                  </a:cubicBezTo>
                  <a:cubicBezTo>
                    <a:pt x="1" y="1"/>
                    <a:pt x="1" y="1"/>
                    <a:pt x="0" y="1"/>
                  </a:cubicBezTo>
                  <a:cubicBezTo>
                    <a:pt x="0" y="1"/>
                    <a:pt x="0" y="1"/>
                    <a:pt x="0" y="1"/>
                  </a:cubicBezTo>
                  <a:cubicBezTo>
                    <a:pt x="0" y="1"/>
                    <a:pt x="0" y="1"/>
                    <a:pt x="0" y="2"/>
                  </a:cubicBezTo>
                  <a:cubicBezTo>
                    <a:pt x="0" y="23"/>
                    <a:pt x="0" y="23"/>
                    <a:pt x="0" y="23"/>
                  </a:cubicBezTo>
                  <a:cubicBezTo>
                    <a:pt x="0" y="23"/>
                    <a:pt x="0" y="23"/>
                    <a:pt x="0" y="23"/>
                  </a:cubicBezTo>
                  <a:cubicBezTo>
                    <a:pt x="0" y="23"/>
                    <a:pt x="0" y="23"/>
                    <a:pt x="1" y="23"/>
                  </a:cubicBezTo>
                  <a:cubicBezTo>
                    <a:pt x="1" y="23"/>
                    <a:pt x="1" y="23"/>
                    <a:pt x="1" y="23"/>
                  </a:cubicBezTo>
                  <a:cubicBezTo>
                    <a:pt x="1" y="23"/>
                    <a:pt x="2" y="23"/>
                    <a:pt x="2" y="23"/>
                  </a:cubicBezTo>
                  <a:cubicBezTo>
                    <a:pt x="2" y="23"/>
                    <a:pt x="3" y="23"/>
                    <a:pt x="3" y="23"/>
                  </a:cubicBezTo>
                  <a:cubicBezTo>
                    <a:pt x="3" y="23"/>
                    <a:pt x="3" y="23"/>
                    <a:pt x="4" y="23"/>
                  </a:cubicBezTo>
                  <a:cubicBezTo>
                    <a:pt x="4" y="23"/>
                    <a:pt x="4" y="23"/>
                    <a:pt x="4" y="23"/>
                  </a:cubicBezTo>
                  <a:cubicBezTo>
                    <a:pt x="4" y="23"/>
                    <a:pt x="4" y="23"/>
                    <a:pt x="4" y="23"/>
                  </a:cubicBezTo>
                  <a:cubicBezTo>
                    <a:pt x="4" y="9"/>
                    <a:pt x="4" y="9"/>
                    <a:pt x="4" y="9"/>
                  </a:cubicBezTo>
                  <a:cubicBezTo>
                    <a:pt x="5" y="8"/>
                    <a:pt x="5" y="7"/>
                    <a:pt x="6" y="7"/>
                  </a:cubicBezTo>
                  <a:cubicBezTo>
                    <a:pt x="6" y="6"/>
                    <a:pt x="6" y="5"/>
                    <a:pt x="7" y="5"/>
                  </a:cubicBezTo>
                  <a:cubicBezTo>
                    <a:pt x="7" y="5"/>
                    <a:pt x="8" y="4"/>
                    <a:pt x="8" y="4"/>
                  </a:cubicBezTo>
                  <a:cubicBezTo>
                    <a:pt x="8" y="4"/>
                    <a:pt x="9" y="4"/>
                    <a:pt x="9" y="4"/>
                  </a:cubicBezTo>
                  <a:cubicBezTo>
                    <a:pt x="9" y="4"/>
                    <a:pt x="10" y="4"/>
                    <a:pt x="10" y="4"/>
                  </a:cubicBezTo>
                  <a:cubicBezTo>
                    <a:pt x="10" y="4"/>
                    <a:pt x="11" y="4"/>
                    <a:pt x="11" y="4"/>
                  </a:cubicBezTo>
                  <a:cubicBezTo>
                    <a:pt x="11" y="4"/>
                    <a:pt x="11" y="5"/>
                    <a:pt x="11" y="5"/>
                  </a:cubicBezTo>
                  <a:cubicBezTo>
                    <a:pt x="12" y="5"/>
                    <a:pt x="12" y="5"/>
                    <a:pt x="12" y="5"/>
                  </a:cubicBezTo>
                  <a:cubicBezTo>
                    <a:pt x="12" y="5"/>
                    <a:pt x="12" y="5"/>
                    <a:pt x="12" y="5"/>
                  </a:cubicBezTo>
                  <a:cubicBezTo>
                    <a:pt x="12" y="5"/>
                    <a:pt x="12" y="4"/>
                    <a:pt x="12" y="4"/>
                  </a:cubicBezTo>
                  <a:cubicBezTo>
                    <a:pt x="12" y="4"/>
                    <a:pt x="12" y="4"/>
                    <a:pt x="12" y="4"/>
                  </a:cubicBezTo>
                  <a:cubicBezTo>
                    <a:pt x="12" y="4"/>
                    <a:pt x="12" y="3"/>
                    <a:pt x="12" y="3"/>
                  </a:cubicBezTo>
                  <a:cubicBezTo>
                    <a:pt x="12" y="3"/>
                    <a:pt x="12" y="2"/>
                    <a:pt x="12" y="2"/>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67">
              <a:extLst>
                <a:ext uri="{FF2B5EF4-FFF2-40B4-BE49-F238E27FC236}">
                  <a16:creationId xmlns:a16="http://schemas.microsoft.com/office/drawing/2014/main" id="{137D4588-3B4B-4840-8041-829092470252}"/>
                </a:ext>
              </a:extLst>
            </p:cNvPr>
            <p:cNvSpPr>
              <a:spLocks noEditPoints="1"/>
            </p:cNvSpPr>
            <p:nvPr/>
          </p:nvSpPr>
          <p:spPr bwMode="auto">
            <a:xfrm>
              <a:off x="8153657" y="5301174"/>
              <a:ext cx="75032" cy="82247"/>
            </a:xfrm>
            <a:custGeom>
              <a:avLst/>
              <a:gdLst>
                <a:gd name="T0" fmla="*/ 21 w 22"/>
                <a:gd name="T1" fmla="*/ 7 h 24"/>
                <a:gd name="T2" fmla="*/ 19 w 22"/>
                <a:gd name="T3" fmla="*/ 3 h 24"/>
                <a:gd name="T4" fmla="*/ 16 w 22"/>
                <a:gd name="T5" fmla="*/ 1 h 24"/>
                <a:gd name="T6" fmla="*/ 11 w 22"/>
                <a:gd name="T7" fmla="*/ 0 h 24"/>
                <a:gd name="T8" fmla="*/ 6 w 22"/>
                <a:gd name="T9" fmla="*/ 1 h 24"/>
                <a:gd name="T10" fmla="*/ 3 w 22"/>
                <a:gd name="T11" fmla="*/ 4 h 24"/>
                <a:gd name="T12" fmla="*/ 1 w 22"/>
                <a:gd name="T13" fmla="*/ 7 h 24"/>
                <a:gd name="T14" fmla="*/ 0 w 22"/>
                <a:gd name="T15" fmla="*/ 12 h 24"/>
                <a:gd name="T16" fmla="*/ 1 w 22"/>
                <a:gd name="T17" fmla="*/ 17 h 24"/>
                <a:gd name="T18" fmla="*/ 3 w 22"/>
                <a:gd name="T19" fmla="*/ 21 h 24"/>
                <a:gd name="T20" fmla="*/ 6 w 22"/>
                <a:gd name="T21" fmla="*/ 23 h 24"/>
                <a:gd name="T22" fmla="*/ 11 w 22"/>
                <a:gd name="T23" fmla="*/ 24 h 24"/>
                <a:gd name="T24" fmla="*/ 15 w 22"/>
                <a:gd name="T25" fmla="*/ 23 h 24"/>
                <a:gd name="T26" fmla="*/ 19 w 22"/>
                <a:gd name="T27" fmla="*/ 20 h 24"/>
                <a:gd name="T28" fmla="*/ 21 w 22"/>
                <a:gd name="T29" fmla="*/ 17 h 24"/>
                <a:gd name="T30" fmla="*/ 22 w 22"/>
                <a:gd name="T31" fmla="*/ 12 h 24"/>
                <a:gd name="T32" fmla="*/ 21 w 22"/>
                <a:gd name="T33" fmla="*/ 7 h 24"/>
                <a:gd name="T34" fmla="*/ 17 w 22"/>
                <a:gd name="T35" fmla="*/ 15 h 24"/>
                <a:gd name="T36" fmla="*/ 16 w 22"/>
                <a:gd name="T37" fmla="*/ 18 h 24"/>
                <a:gd name="T38" fmla="*/ 14 w 22"/>
                <a:gd name="T39" fmla="*/ 20 h 24"/>
                <a:gd name="T40" fmla="*/ 11 w 22"/>
                <a:gd name="T41" fmla="*/ 20 h 24"/>
                <a:gd name="T42" fmla="*/ 8 w 22"/>
                <a:gd name="T43" fmla="*/ 20 h 24"/>
                <a:gd name="T44" fmla="*/ 6 w 22"/>
                <a:gd name="T45" fmla="*/ 18 h 24"/>
                <a:gd name="T46" fmla="*/ 5 w 22"/>
                <a:gd name="T47" fmla="*/ 15 h 24"/>
                <a:gd name="T48" fmla="*/ 4 w 22"/>
                <a:gd name="T49" fmla="*/ 12 h 24"/>
                <a:gd name="T50" fmla="*/ 5 w 22"/>
                <a:gd name="T51" fmla="*/ 9 h 24"/>
                <a:gd name="T52" fmla="*/ 6 w 22"/>
                <a:gd name="T53" fmla="*/ 6 h 24"/>
                <a:gd name="T54" fmla="*/ 8 w 22"/>
                <a:gd name="T55" fmla="*/ 4 h 24"/>
                <a:gd name="T56" fmla="*/ 11 w 22"/>
                <a:gd name="T57" fmla="*/ 4 h 24"/>
                <a:gd name="T58" fmla="*/ 14 w 22"/>
                <a:gd name="T59" fmla="*/ 4 h 24"/>
                <a:gd name="T60" fmla="*/ 16 w 22"/>
                <a:gd name="T61" fmla="*/ 6 h 24"/>
                <a:gd name="T62" fmla="*/ 17 w 22"/>
                <a:gd name="T63" fmla="*/ 9 h 24"/>
                <a:gd name="T64" fmla="*/ 18 w 22"/>
                <a:gd name="T65" fmla="*/ 12 h 24"/>
                <a:gd name="T66" fmla="*/ 17 w 22"/>
                <a:gd name="T6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24">
                  <a:moveTo>
                    <a:pt x="21" y="7"/>
                  </a:moveTo>
                  <a:cubicBezTo>
                    <a:pt x="20" y="6"/>
                    <a:pt x="20" y="4"/>
                    <a:pt x="19" y="3"/>
                  </a:cubicBezTo>
                  <a:cubicBezTo>
                    <a:pt x="18" y="2"/>
                    <a:pt x="17" y="2"/>
                    <a:pt x="16" y="1"/>
                  </a:cubicBezTo>
                  <a:cubicBezTo>
                    <a:pt x="14" y="1"/>
                    <a:pt x="13" y="0"/>
                    <a:pt x="11" y="0"/>
                  </a:cubicBezTo>
                  <a:cubicBezTo>
                    <a:pt x="9" y="0"/>
                    <a:pt x="8" y="1"/>
                    <a:pt x="6" y="1"/>
                  </a:cubicBezTo>
                  <a:cubicBezTo>
                    <a:pt x="5" y="2"/>
                    <a:pt x="4" y="3"/>
                    <a:pt x="3" y="4"/>
                  </a:cubicBezTo>
                  <a:cubicBezTo>
                    <a:pt x="2" y="5"/>
                    <a:pt x="2" y="6"/>
                    <a:pt x="1" y="7"/>
                  </a:cubicBezTo>
                  <a:cubicBezTo>
                    <a:pt x="1" y="9"/>
                    <a:pt x="0" y="11"/>
                    <a:pt x="0" y="12"/>
                  </a:cubicBezTo>
                  <a:cubicBezTo>
                    <a:pt x="0" y="14"/>
                    <a:pt x="1" y="16"/>
                    <a:pt x="1" y="17"/>
                  </a:cubicBezTo>
                  <a:cubicBezTo>
                    <a:pt x="2" y="18"/>
                    <a:pt x="2" y="20"/>
                    <a:pt x="3" y="21"/>
                  </a:cubicBezTo>
                  <a:cubicBezTo>
                    <a:pt x="4" y="22"/>
                    <a:pt x="5" y="22"/>
                    <a:pt x="6" y="23"/>
                  </a:cubicBezTo>
                  <a:cubicBezTo>
                    <a:pt x="8" y="23"/>
                    <a:pt x="9" y="24"/>
                    <a:pt x="11" y="24"/>
                  </a:cubicBezTo>
                  <a:cubicBezTo>
                    <a:pt x="13" y="24"/>
                    <a:pt x="14" y="23"/>
                    <a:pt x="15" y="23"/>
                  </a:cubicBezTo>
                  <a:cubicBezTo>
                    <a:pt x="17" y="22"/>
                    <a:pt x="18" y="21"/>
                    <a:pt x="19" y="20"/>
                  </a:cubicBezTo>
                  <a:cubicBezTo>
                    <a:pt x="20" y="19"/>
                    <a:pt x="20" y="18"/>
                    <a:pt x="21" y="17"/>
                  </a:cubicBezTo>
                  <a:cubicBezTo>
                    <a:pt x="21" y="15"/>
                    <a:pt x="22" y="14"/>
                    <a:pt x="22" y="12"/>
                  </a:cubicBezTo>
                  <a:cubicBezTo>
                    <a:pt x="22" y="10"/>
                    <a:pt x="21" y="8"/>
                    <a:pt x="21" y="7"/>
                  </a:cubicBezTo>
                  <a:close/>
                  <a:moveTo>
                    <a:pt x="17" y="15"/>
                  </a:moveTo>
                  <a:cubicBezTo>
                    <a:pt x="17" y="16"/>
                    <a:pt x="17" y="17"/>
                    <a:pt x="16" y="18"/>
                  </a:cubicBezTo>
                  <a:cubicBezTo>
                    <a:pt x="15" y="19"/>
                    <a:pt x="15" y="19"/>
                    <a:pt x="14" y="20"/>
                  </a:cubicBezTo>
                  <a:cubicBezTo>
                    <a:pt x="13" y="20"/>
                    <a:pt x="12" y="20"/>
                    <a:pt x="11" y="20"/>
                  </a:cubicBezTo>
                  <a:cubicBezTo>
                    <a:pt x="10" y="20"/>
                    <a:pt x="9" y="20"/>
                    <a:pt x="8" y="20"/>
                  </a:cubicBezTo>
                  <a:cubicBezTo>
                    <a:pt x="7" y="19"/>
                    <a:pt x="6" y="19"/>
                    <a:pt x="6" y="18"/>
                  </a:cubicBezTo>
                  <a:cubicBezTo>
                    <a:pt x="5" y="17"/>
                    <a:pt x="5" y="16"/>
                    <a:pt x="5" y="15"/>
                  </a:cubicBezTo>
                  <a:cubicBezTo>
                    <a:pt x="5" y="14"/>
                    <a:pt x="4" y="13"/>
                    <a:pt x="4" y="12"/>
                  </a:cubicBezTo>
                  <a:cubicBezTo>
                    <a:pt x="4" y="11"/>
                    <a:pt x="5" y="10"/>
                    <a:pt x="5" y="9"/>
                  </a:cubicBezTo>
                  <a:cubicBezTo>
                    <a:pt x="5" y="8"/>
                    <a:pt x="6" y="7"/>
                    <a:pt x="6" y="6"/>
                  </a:cubicBezTo>
                  <a:cubicBezTo>
                    <a:pt x="7" y="5"/>
                    <a:pt x="7" y="5"/>
                    <a:pt x="8" y="4"/>
                  </a:cubicBezTo>
                  <a:cubicBezTo>
                    <a:pt x="9" y="4"/>
                    <a:pt x="10" y="4"/>
                    <a:pt x="11" y="4"/>
                  </a:cubicBezTo>
                  <a:cubicBezTo>
                    <a:pt x="12" y="4"/>
                    <a:pt x="13" y="4"/>
                    <a:pt x="14" y="4"/>
                  </a:cubicBezTo>
                  <a:cubicBezTo>
                    <a:pt x="15" y="5"/>
                    <a:pt x="16" y="5"/>
                    <a:pt x="16" y="6"/>
                  </a:cubicBezTo>
                  <a:cubicBezTo>
                    <a:pt x="17" y="7"/>
                    <a:pt x="17" y="8"/>
                    <a:pt x="17" y="9"/>
                  </a:cubicBezTo>
                  <a:cubicBezTo>
                    <a:pt x="17" y="10"/>
                    <a:pt x="18" y="11"/>
                    <a:pt x="18" y="12"/>
                  </a:cubicBezTo>
                  <a:cubicBezTo>
                    <a:pt x="18" y="13"/>
                    <a:pt x="17" y="14"/>
                    <a:pt x="17" y="15"/>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68">
              <a:extLst>
                <a:ext uri="{FF2B5EF4-FFF2-40B4-BE49-F238E27FC236}">
                  <a16:creationId xmlns:a16="http://schemas.microsoft.com/office/drawing/2014/main" id="{18FBDA19-ABA1-4C68-A0E0-6301873843A6}"/>
                </a:ext>
              </a:extLst>
            </p:cNvPr>
            <p:cNvSpPr>
              <a:spLocks/>
            </p:cNvSpPr>
            <p:nvPr/>
          </p:nvSpPr>
          <p:spPr bwMode="auto">
            <a:xfrm>
              <a:off x="8243118" y="5301174"/>
              <a:ext cx="47617" cy="82247"/>
            </a:xfrm>
            <a:custGeom>
              <a:avLst/>
              <a:gdLst>
                <a:gd name="T0" fmla="*/ 14 w 14"/>
                <a:gd name="T1" fmla="*/ 15 h 24"/>
                <a:gd name="T2" fmla="*/ 13 w 14"/>
                <a:gd name="T3" fmla="*/ 13 h 24"/>
                <a:gd name="T4" fmla="*/ 11 w 14"/>
                <a:gd name="T5" fmla="*/ 12 h 24"/>
                <a:gd name="T6" fmla="*/ 9 w 14"/>
                <a:gd name="T7" fmla="*/ 11 h 24"/>
                <a:gd name="T8" fmla="*/ 7 w 14"/>
                <a:gd name="T9" fmla="*/ 10 h 24"/>
                <a:gd name="T10" fmla="*/ 5 w 14"/>
                <a:gd name="T11" fmla="*/ 9 h 24"/>
                <a:gd name="T12" fmla="*/ 4 w 14"/>
                <a:gd name="T13" fmla="*/ 8 h 24"/>
                <a:gd name="T14" fmla="*/ 4 w 14"/>
                <a:gd name="T15" fmla="*/ 6 h 24"/>
                <a:gd name="T16" fmla="*/ 4 w 14"/>
                <a:gd name="T17" fmla="*/ 5 h 24"/>
                <a:gd name="T18" fmla="*/ 5 w 14"/>
                <a:gd name="T19" fmla="*/ 4 h 24"/>
                <a:gd name="T20" fmla="*/ 6 w 14"/>
                <a:gd name="T21" fmla="*/ 4 h 24"/>
                <a:gd name="T22" fmla="*/ 8 w 14"/>
                <a:gd name="T23" fmla="*/ 3 h 24"/>
                <a:gd name="T24" fmla="*/ 10 w 14"/>
                <a:gd name="T25" fmla="*/ 4 h 24"/>
                <a:gd name="T26" fmla="*/ 11 w 14"/>
                <a:gd name="T27" fmla="*/ 4 h 24"/>
                <a:gd name="T28" fmla="*/ 12 w 14"/>
                <a:gd name="T29" fmla="*/ 5 h 24"/>
                <a:gd name="T30" fmla="*/ 13 w 14"/>
                <a:gd name="T31" fmla="*/ 5 h 24"/>
                <a:gd name="T32" fmla="*/ 13 w 14"/>
                <a:gd name="T33" fmla="*/ 5 h 24"/>
                <a:gd name="T34" fmla="*/ 13 w 14"/>
                <a:gd name="T35" fmla="*/ 5 h 24"/>
                <a:gd name="T36" fmla="*/ 13 w 14"/>
                <a:gd name="T37" fmla="*/ 4 h 24"/>
                <a:gd name="T38" fmla="*/ 13 w 14"/>
                <a:gd name="T39" fmla="*/ 4 h 24"/>
                <a:gd name="T40" fmla="*/ 13 w 14"/>
                <a:gd name="T41" fmla="*/ 3 h 24"/>
                <a:gd name="T42" fmla="*/ 13 w 14"/>
                <a:gd name="T43" fmla="*/ 2 h 24"/>
                <a:gd name="T44" fmla="*/ 13 w 14"/>
                <a:gd name="T45" fmla="*/ 2 h 24"/>
                <a:gd name="T46" fmla="*/ 13 w 14"/>
                <a:gd name="T47" fmla="*/ 2 h 24"/>
                <a:gd name="T48" fmla="*/ 12 w 14"/>
                <a:gd name="T49" fmla="*/ 1 h 24"/>
                <a:gd name="T50" fmla="*/ 11 w 14"/>
                <a:gd name="T51" fmla="*/ 1 h 24"/>
                <a:gd name="T52" fmla="*/ 9 w 14"/>
                <a:gd name="T53" fmla="*/ 1 h 24"/>
                <a:gd name="T54" fmla="*/ 8 w 14"/>
                <a:gd name="T55" fmla="*/ 0 h 24"/>
                <a:gd name="T56" fmla="*/ 4 w 14"/>
                <a:gd name="T57" fmla="*/ 1 h 24"/>
                <a:gd name="T58" fmla="*/ 2 w 14"/>
                <a:gd name="T59" fmla="*/ 2 h 24"/>
                <a:gd name="T60" fmla="*/ 1 w 14"/>
                <a:gd name="T61" fmla="*/ 4 h 24"/>
                <a:gd name="T62" fmla="*/ 0 w 14"/>
                <a:gd name="T63" fmla="*/ 7 h 24"/>
                <a:gd name="T64" fmla="*/ 1 w 14"/>
                <a:gd name="T65" fmla="*/ 9 h 24"/>
                <a:gd name="T66" fmla="*/ 2 w 14"/>
                <a:gd name="T67" fmla="*/ 11 h 24"/>
                <a:gd name="T68" fmla="*/ 3 w 14"/>
                <a:gd name="T69" fmla="*/ 12 h 24"/>
                <a:gd name="T70" fmla="*/ 5 w 14"/>
                <a:gd name="T71" fmla="*/ 13 h 24"/>
                <a:gd name="T72" fmla="*/ 7 w 14"/>
                <a:gd name="T73" fmla="*/ 14 h 24"/>
                <a:gd name="T74" fmla="*/ 9 w 14"/>
                <a:gd name="T75" fmla="*/ 15 h 24"/>
                <a:gd name="T76" fmla="*/ 10 w 14"/>
                <a:gd name="T77" fmla="*/ 16 h 24"/>
                <a:gd name="T78" fmla="*/ 11 w 14"/>
                <a:gd name="T79" fmla="*/ 17 h 24"/>
                <a:gd name="T80" fmla="*/ 10 w 14"/>
                <a:gd name="T81" fmla="*/ 19 h 24"/>
                <a:gd name="T82" fmla="*/ 9 w 14"/>
                <a:gd name="T83" fmla="*/ 20 h 24"/>
                <a:gd name="T84" fmla="*/ 8 w 14"/>
                <a:gd name="T85" fmla="*/ 20 h 24"/>
                <a:gd name="T86" fmla="*/ 6 w 14"/>
                <a:gd name="T87" fmla="*/ 21 h 24"/>
                <a:gd name="T88" fmla="*/ 4 w 14"/>
                <a:gd name="T89" fmla="*/ 20 h 24"/>
                <a:gd name="T90" fmla="*/ 2 w 14"/>
                <a:gd name="T91" fmla="*/ 20 h 24"/>
                <a:gd name="T92" fmla="*/ 1 w 14"/>
                <a:gd name="T93" fmla="*/ 19 h 24"/>
                <a:gd name="T94" fmla="*/ 0 w 14"/>
                <a:gd name="T95" fmla="*/ 19 h 24"/>
                <a:gd name="T96" fmla="*/ 0 w 14"/>
                <a:gd name="T97" fmla="*/ 19 h 24"/>
                <a:gd name="T98" fmla="*/ 0 w 14"/>
                <a:gd name="T99" fmla="*/ 19 h 24"/>
                <a:gd name="T100" fmla="*/ 0 w 14"/>
                <a:gd name="T101" fmla="*/ 19 h 24"/>
                <a:gd name="T102" fmla="*/ 0 w 14"/>
                <a:gd name="T103" fmla="*/ 20 h 24"/>
                <a:gd name="T104" fmla="*/ 0 w 14"/>
                <a:gd name="T105" fmla="*/ 21 h 24"/>
                <a:gd name="T106" fmla="*/ 0 w 14"/>
                <a:gd name="T107" fmla="*/ 22 h 24"/>
                <a:gd name="T108" fmla="*/ 1 w 14"/>
                <a:gd name="T109" fmla="*/ 22 h 24"/>
                <a:gd name="T110" fmla="*/ 2 w 14"/>
                <a:gd name="T111" fmla="*/ 23 h 24"/>
                <a:gd name="T112" fmla="*/ 4 w 14"/>
                <a:gd name="T113" fmla="*/ 23 h 24"/>
                <a:gd name="T114" fmla="*/ 6 w 14"/>
                <a:gd name="T115" fmla="*/ 24 h 24"/>
                <a:gd name="T116" fmla="*/ 10 w 14"/>
                <a:gd name="T117" fmla="*/ 23 h 24"/>
                <a:gd name="T118" fmla="*/ 12 w 14"/>
                <a:gd name="T119" fmla="*/ 22 h 24"/>
                <a:gd name="T120" fmla="*/ 14 w 14"/>
                <a:gd name="T121" fmla="*/ 20 h 24"/>
                <a:gd name="T122" fmla="*/ 14 w 14"/>
                <a:gd name="T123" fmla="*/ 17 h 24"/>
                <a:gd name="T124" fmla="*/ 14 w 14"/>
                <a:gd name="T125"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 h="24">
                  <a:moveTo>
                    <a:pt x="14" y="15"/>
                  </a:moveTo>
                  <a:cubicBezTo>
                    <a:pt x="14" y="14"/>
                    <a:pt x="13" y="13"/>
                    <a:pt x="13" y="13"/>
                  </a:cubicBezTo>
                  <a:cubicBezTo>
                    <a:pt x="12" y="12"/>
                    <a:pt x="12" y="12"/>
                    <a:pt x="11" y="12"/>
                  </a:cubicBezTo>
                  <a:cubicBezTo>
                    <a:pt x="10" y="11"/>
                    <a:pt x="10" y="11"/>
                    <a:pt x="9" y="11"/>
                  </a:cubicBezTo>
                  <a:cubicBezTo>
                    <a:pt x="8" y="10"/>
                    <a:pt x="8" y="10"/>
                    <a:pt x="7" y="10"/>
                  </a:cubicBezTo>
                  <a:cubicBezTo>
                    <a:pt x="7" y="10"/>
                    <a:pt x="6" y="9"/>
                    <a:pt x="5" y="9"/>
                  </a:cubicBezTo>
                  <a:cubicBezTo>
                    <a:pt x="5" y="9"/>
                    <a:pt x="5" y="8"/>
                    <a:pt x="4" y="8"/>
                  </a:cubicBezTo>
                  <a:cubicBezTo>
                    <a:pt x="4" y="8"/>
                    <a:pt x="4" y="7"/>
                    <a:pt x="4" y="6"/>
                  </a:cubicBezTo>
                  <a:cubicBezTo>
                    <a:pt x="4" y="6"/>
                    <a:pt x="4" y="6"/>
                    <a:pt x="4" y="5"/>
                  </a:cubicBezTo>
                  <a:cubicBezTo>
                    <a:pt x="4" y="5"/>
                    <a:pt x="4" y="5"/>
                    <a:pt x="5" y="4"/>
                  </a:cubicBezTo>
                  <a:cubicBezTo>
                    <a:pt x="5" y="4"/>
                    <a:pt x="5" y="4"/>
                    <a:pt x="6" y="4"/>
                  </a:cubicBezTo>
                  <a:cubicBezTo>
                    <a:pt x="6" y="4"/>
                    <a:pt x="7" y="3"/>
                    <a:pt x="8" y="3"/>
                  </a:cubicBezTo>
                  <a:cubicBezTo>
                    <a:pt x="8" y="3"/>
                    <a:pt x="9" y="4"/>
                    <a:pt x="10" y="4"/>
                  </a:cubicBezTo>
                  <a:cubicBezTo>
                    <a:pt x="10" y="4"/>
                    <a:pt x="11" y="4"/>
                    <a:pt x="11" y="4"/>
                  </a:cubicBezTo>
                  <a:cubicBezTo>
                    <a:pt x="12" y="4"/>
                    <a:pt x="12" y="5"/>
                    <a:pt x="12" y="5"/>
                  </a:cubicBezTo>
                  <a:cubicBezTo>
                    <a:pt x="12" y="5"/>
                    <a:pt x="13" y="5"/>
                    <a:pt x="13" y="5"/>
                  </a:cubicBezTo>
                  <a:cubicBezTo>
                    <a:pt x="13" y="5"/>
                    <a:pt x="13" y="5"/>
                    <a:pt x="13" y="5"/>
                  </a:cubicBezTo>
                  <a:cubicBezTo>
                    <a:pt x="13" y="5"/>
                    <a:pt x="13" y="5"/>
                    <a:pt x="13" y="5"/>
                  </a:cubicBezTo>
                  <a:cubicBezTo>
                    <a:pt x="13" y="5"/>
                    <a:pt x="13" y="4"/>
                    <a:pt x="13" y="4"/>
                  </a:cubicBezTo>
                  <a:cubicBezTo>
                    <a:pt x="13" y="4"/>
                    <a:pt x="13" y="4"/>
                    <a:pt x="13" y="4"/>
                  </a:cubicBezTo>
                  <a:cubicBezTo>
                    <a:pt x="13" y="3"/>
                    <a:pt x="13" y="3"/>
                    <a:pt x="13" y="3"/>
                  </a:cubicBezTo>
                  <a:cubicBezTo>
                    <a:pt x="13" y="3"/>
                    <a:pt x="13" y="3"/>
                    <a:pt x="13" y="2"/>
                  </a:cubicBezTo>
                  <a:cubicBezTo>
                    <a:pt x="13" y="2"/>
                    <a:pt x="13" y="2"/>
                    <a:pt x="13" y="2"/>
                  </a:cubicBezTo>
                  <a:cubicBezTo>
                    <a:pt x="13" y="2"/>
                    <a:pt x="13" y="2"/>
                    <a:pt x="13" y="2"/>
                  </a:cubicBezTo>
                  <a:cubicBezTo>
                    <a:pt x="13" y="2"/>
                    <a:pt x="12" y="2"/>
                    <a:pt x="12" y="1"/>
                  </a:cubicBezTo>
                  <a:cubicBezTo>
                    <a:pt x="12" y="1"/>
                    <a:pt x="11" y="1"/>
                    <a:pt x="11" y="1"/>
                  </a:cubicBezTo>
                  <a:cubicBezTo>
                    <a:pt x="11" y="1"/>
                    <a:pt x="10" y="1"/>
                    <a:pt x="9" y="1"/>
                  </a:cubicBezTo>
                  <a:cubicBezTo>
                    <a:pt x="9" y="0"/>
                    <a:pt x="8" y="0"/>
                    <a:pt x="8" y="0"/>
                  </a:cubicBezTo>
                  <a:cubicBezTo>
                    <a:pt x="6" y="0"/>
                    <a:pt x="5" y="1"/>
                    <a:pt x="4" y="1"/>
                  </a:cubicBezTo>
                  <a:cubicBezTo>
                    <a:pt x="3" y="1"/>
                    <a:pt x="3" y="2"/>
                    <a:pt x="2" y="2"/>
                  </a:cubicBezTo>
                  <a:cubicBezTo>
                    <a:pt x="1" y="3"/>
                    <a:pt x="1" y="4"/>
                    <a:pt x="1" y="4"/>
                  </a:cubicBezTo>
                  <a:cubicBezTo>
                    <a:pt x="0" y="5"/>
                    <a:pt x="0" y="6"/>
                    <a:pt x="0" y="7"/>
                  </a:cubicBezTo>
                  <a:cubicBezTo>
                    <a:pt x="0" y="8"/>
                    <a:pt x="0" y="8"/>
                    <a:pt x="1" y="9"/>
                  </a:cubicBezTo>
                  <a:cubicBezTo>
                    <a:pt x="1" y="10"/>
                    <a:pt x="1" y="10"/>
                    <a:pt x="2" y="11"/>
                  </a:cubicBezTo>
                  <a:cubicBezTo>
                    <a:pt x="2" y="11"/>
                    <a:pt x="3" y="12"/>
                    <a:pt x="3" y="12"/>
                  </a:cubicBezTo>
                  <a:cubicBezTo>
                    <a:pt x="4" y="12"/>
                    <a:pt x="5" y="13"/>
                    <a:pt x="5" y="13"/>
                  </a:cubicBezTo>
                  <a:cubicBezTo>
                    <a:pt x="6" y="13"/>
                    <a:pt x="7" y="14"/>
                    <a:pt x="7" y="14"/>
                  </a:cubicBezTo>
                  <a:cubicBezTo>
                    <a:pt x="8" y="14"/>
                    <a:pt x="8" y="14"/>
                    <a:pt x="9" y="15"/>
                  </a:cubicBezTo>
                  <a:cubicBezTo>
                    <a:pt x="9" y="15"/>
                    <a:pt x="10" y="15"/>
                    <a:pt x="10" y="16"/>
                  </a:cubicBezTo>
                  <a:cubicBezTo>
                    <a:pt x="11" y="16"/>
                    <a:pt x="11" y="17"/>
                    <a:pt x="11" y="17"/>
                  </a:cubicBezTo>
                  <a:cubicBezTo>
                    <a:pt x="11" y="18"/>
                    <a:pt x="11" y="18"/>
                    <a:pt x="10" y="19"/>
                  </a:cubicBezTo>
                  <a:cubicBezTo>
                    <a:pt x="10" y="19"/>
                    <a:pt x="10" y="19"/>
                    <a:pt x="9" y="20"/>
                  </a:cubicBezTo>
                  <a:cubicBezTo>
                    <a:pt x="9" y="20"/>
                    <a:pt x="9" y="20"/>
                    <a:pt x="8" y="20"/>
                  </a:cubicBezTo>
                  <a:cubicBezTo>
                    <a:pt x="8" y="20"/>
                    <a:pt x="7" y="21"/>
                    <a:pt x="6" y="21"/>
                  </a:cubicBezTo>
                  <a:cubicBezTo>
                    <a:pt x="5" y="21"/>
                    <a:pt x="5" y="20"/>
                    <a:pt x="4" y="20"/>
                  </a:cubicBezTo>
                  <a:cubicBezTo>
                    <a:pt x="3" y="20"/>
                    <a:pt x="3" y="20"/>
                    <a:pt x="2" y="20"/>
                  </a:cubicBezTo>
                  <a:cubicBezTo>
                    <a:pt x="2" y="19"/>
                    <a:pt x="1" y="19"/>
                    <a:pt x="1" y="19"/>
                  </a:cubicBezTo>
                  <a:cubicBezTo>
                    <a:pt x="1" y="19"/>
                    <a:pt x="0" y="19"/>
                    <a:pt x="0" y="19"/>
                  </a:cubicBezTo>
                  <a:cubicBezTo>
                    <a:pt x="0" y="19"/>
                    <a:pt x="0" y="19"/>
                    <a:pt x="0" y="19"/>
                  </a:cubicBezTo>
                  <a:cubicBezTo>
                    <a:pt x="0" y="19"/>
                    <a:pt x="0" y="19"/>
                    <a:pt x="0" y="19"/>
                  </a:cubicBezTo>
                  <a:cubicBezTo>
                    <a:pt x="0" y="19"/>
                    <a:pt x="0" y="19"/>
                    <a:pt x="0" y="19"/>
                  </a:cubicBezTo>
                  <a:cubicBezTo>
                    <a:pt x="0" y="20"/>
                    <a:pt x="0" y="20"/>
                    <a:pt x="0" y="20"/>
                  </a:cubicBezTo>
                  <a:cubicBezTo>
                    <a:pt x="0" y="21"/>
                    <a:pt x="0" y="21"/>
                    <a:pt x="0" y="21"/>
                  </a:cubicBezTo>
                  <a:cubicBezTo>
                    <a:pt x="0" y="22"/>
                    <a:pt x="0" y="22"/>
                    <a:pt x="0" y="22"/>
                  </a:cubicBezTo>
                  <a:cubicBezTo>
                    <a:pt x="0" y="22"/>
                    <a:pt x="0" y="22"/>
                    <a:pt x="1" y="22"/>
                  </a:cubicBezTo>
                  <a:cubicBezTo>
                    <a:pt x="1" y="23"/>
                    <a:pt x="2" y="23"/>
                    <a:pt x="2" y="23"/>
                  </a:cubicBezTo>
                  <a:cubicBezTo>
                    <a:pt x="3" y="23"/>
                    <a:pt x="3" y="23"/>
                    <a:pt x="4" y="23"/>
                  </a:cubicBezTo>
                  <a:cubicBezTo>
                    <a:pt x="5" y="24"/>
                    <a:pt x="5" y="24"/>
                    <a:pt x="6" y="24"/>
                  </a:cubicBezTo>
                  <a:cubicBezTo>
                    <a:pt x="7" y="24"/>
                    <a:pt x="9" y="23"/>
                    <a:pt x="10" y="23"/>
                  </a:cubicBezTo>
                  <a:cubicBezTo>
                    <a:pt x="11" y="23"/>
                    <a:pt x="11" y="22"/>
                    <a:pt x="12" y="22"/>
                  </a:cubicBezTo>
                  <a:cubicBezTo>
                    <a:pt x="13" y="21"/>
                    <a:pt x="13" y="21"/>
                    <a:pt x="14" y="20"/>
                  </a:cubicBezTo>
                  <a:cubicBezTo>
                    <a:pt x="14" y="19"/>
                    <a:pt x="14" y="18"/>
                    <a:pt x="14" y="17"/>
                  </a:cubicBezTo>
                  <a:cubicBezTo>
                    <a:pt x="14" y="16"/>
                    <a:pt x="14" y="15"/>
                    <a:pt x="14" y="15"/>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69">
              <a:extLst>
                <a:ext uri="{FF2B5EF4-FFF2-40B4-BE49-F238E27FC236}">
                  <a16:creationId xmlns:a16="http://schemas.microsoft.com/office/drawing/2014/main" id="{7DC191DB-6D9E-4681-9729-55B2ADB8F016}"/>
                </a:ext>
              </a:extLst>
            </p:cNvPr>
            <p:cNvSpPr>
              <a:spLocks noEditPoints="1"/>
            </p:cNvSpPr>
            <p:nvPr/>
          </p:nvSpPr>
          <p:spPr bwMode="auto">
            <a:xfrm>
              <a:off x="8308049" y="5301174"/>
              <a:ext cx="64932" cy="82247"/>
            </a:xfrm>
            <a:custGeom>
              <a:avLst/>
              <a:gdLst>
                <a:gd name="T0" fmla="*/ 19 w 19"/>
                <a:gd name="T1" fmla="*/ 10 h 24"/>
                <a:gd name="T2" fmla="*/ 18 w 19"/>
                <a:gd name="T3" fmla="*/ 7 h 24"/>
                <a:gd name="T4" fmla="*/ 17 w 19"/>
                <a:gd name="T5" fmla="*/ 3 h 24"/>
                <a:gd name="T6" fmla="*/ 14 w 19"/>
                <a:gd name="T7" fmla="*/ 1 h 24"/>
                <a:gd name="T8" fmla="*/ 10 w 19"/>
                <a:gd name="T9" fmla="*/ 0 h 24"/>
                <a:gd name="T10" fmla="*/ 6 w 19"/>
                <a:gd name="T11" fmla="*/ 1 h 24"/>
                <a:gd name="T12" fmla="*/ 2 w 19"/>
                <a:gd name="T13" fmla="*/ 4 h 24"/>
                <a:gd name="T14" fmla="*/ 0 w 19"/>
                <a:gd name="T15" fmla="*/ 7 h 24"/>
                <a:gd name="T16" fmla="*/ 0 w 19"/>
                <a:gd name="T17" fmla="*/ 12 h 24"/>
                <a:gd name="T18" fmla="*/ 0 w 19"/>
                <a:gd name="T19" fmla="*/ 17 h 24"/>
                <a:gd name="T20" fmla="*/ 2 w 19"/>
                <a:gd name="T21" fmla="*/ 21 h 24"/>
                <a:gd name="T22" fmla="*/ 6 w 19"/>
                <a:gd name="T23" fmla="*/ 23 h 24"/>
                <a:gd name="T24" fmla="*/ 10 w 19"/>
                <a:gd name="T25" fmla="*/ 24 h 24"/>
                <a:gd name="T26" fmla="*/ 13 w 19"/>
                <a:gd name="T27" fmla="*/ 23 h 24"/>
                <a:gd name="T28" fmla="*/ 15 w 19"/>
                <a:gd name="T29" fmla="*/ 23 h 24"/>
                <a:gd name="T30" fmla="*/ 17 w 19"/>
                <a:gd name="T31" fmla="*/ 22 h 24"/>
                <a:gd name="T32" fmla="*/ 18 w 19"/>
                <a:gd name="T33" fmla="*/ 22 h 24"/>
                <a:gd name="T34" fmla="*/ 18 w 19"/>
                <a:gd name="T35" fmla="*/ 22 h 24"/>
                <a:gd name="T36" fmla="*/ 18 w 19"/>
                <a:gd name="T37" fmla="*/ 21 h 24"/>
                <a:gd name="T38" fmla="*/ 18 w 19"/>
                <a:gd name="T39" fmla="*/ 21 h 24"/>
                <a:gd name="T40" fmla="*/ 18 w 19"/>
                <a:gd name="T41" fmla="*/ 20 h 24"/>
                <a:gd name="T42" fmla="*/ 18 w 19"/>
                <a:gd name="T43" fmla="*/ 20 h 24"/>
                <a:gd name="T44" fmla="*/ 18 w 19"/>
                <a:gd name="T45" fmla="*/ 19 h 24"/>
                <a:gd name="T46" fmla="*/ 18 w 19"/>
                <a:gd name="T47" fmla="*/ 19 h 24"/>
                <a:gd name="T48" fmla="*/ 17 w 19"/>
                <a:gd name="T49" fmla="*/ 19 h 24"/>
                <a:gd name="T50" fmla="*/ 17 w 19"/>
                <a:gd name="T51" fmla="*/ 19 h 24"/>
                <a:gd name="T52" fmla="*/ 15 w 19"/>
                <a:gd name="T53" fmla="*/ 20 h 24"/>
                <a:gd name="T54" fmla="*/ 13 w 19"/>
                <a:gd name="T55" fmla="*/ 20 h 24"/>
                <a:gd name="T56" fmla="*/ 11 w 19"/>
                <a:gd name="T57" fmla="*/ 20 h 24"/>
                <a:gd name="T58" fmla="*/ 7 w 19"/>
                <a:gd name="T59" fmla="*/ 20 h 24"/>
                <a:gd name="T60" fmla="*/ 5 w 19"/>
                <a:gd name="T61" fmla="*/ 18 h 24"/>
                <a:gd name="T62" fmla="*/ 4 w 19"/>
                <a:gd name="T63" fmla="*/ 16 h 24"/>
                <a:gd name="T64" fmla="*/ 4 w 19"/>
                <a:gd name="T65" fmla="*/ 13 h 24"/>
                <a:gd name="T66" fmla="*/ 18 w 19"/>
                <a:gd name="T67" fmla="*/ 13 h 24"/>
                <a:gd name="T68" fmla="*/ 19 w 19"/>
                <a:gd name="T69" fmla="*/ 12 h 24"/>
                <a:gd name="T70" fmla="*/ 19 w 19"/>
                <a:gd name="T71" fmla="*/ 11 h 24"/>
                <a:gd name="T72" fmla="*/ 19 w 19"/>
                <a:gd name="T73" fmla="*/ 10 h 24"/>
                <a:gd name="T74" fmla="*/ 4 w 19"/>
                <a:gd name="T75" fmla="*/ 10 h 24"/>
                <a:gd name="T76" fmla="*/ 4 w 19"/>
                <a:gd name="T77" fmla="*/ 8 h 24"/>
                <a:gd name="T78" fmla="*/ 5 w 19"/>
                <a:gd name="T79" fmla="*/ 5 h 24"/>
                <a:gd name="T80" fmla="*/ 7 w 19"/>
                <a:gd name="T81" fmla="*/ 4 h 24"/>
                <a:gd name="T82" fmla="*/ 10 w 19"/>
                <a:gd name="T83" fmla="*/ 3 h 24"/>
                <a:gd name="T84" fmla="*/ 14 w 19"/>
                <a:gd name="T85" fmla="*/ 5 h 24"/>
                <a:gd name="T86" fmla="*/ 15 w 19"/>
                <a:gd name="T87" fmla="*/ 10 h 24"/>
                <a:gd name="T88" fmla="*/ 4 w 19"/>
                <a:gd name="T89"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24">
                  <a:moveTo>
                    <a:pt x="19" y="10"/>
                  </a:moveTo>
                  <a:cubicBezTo>
                    <a:pt x="19" y="9"/>
                    <a:pt x="19" y="8"/>
                    <a:pt x="18" y="7"/>
                  </a:cubicBezTo>
                  <a:cubicBezTo>
                    <a:pt x="18" y="5"/>
                    <a:pt x="18" y="4"/>
                    <a:pt x="17" y="3"/>
                  </a:cubicBezTo>
                  <a:cubicBezTo>
                    <a:pt x="16" y="2"/>
                    <a:pt x="15" y="2"/>
                    <a:pt x="14" y="1"/>
                  </a:cubicBezTo>
                  <a:cubicBezTo>
                    <a:pt x="13" y="1"/>
                    <a:pt x="11" y="0"/>
                    <a:pt x="10" y="0"/>
                  </a:cubicBezTo>
                  <a:cubicBezTo>
                    <a:pt x="8" y="0"/>
                    <a:pt x="7" y="1"/>
                    <a:pt x="6" y="1"/>
                  </a:cubicBezTo>
                  <a:cubicBezTo>
                    <a:pt x="4" y="2"/>
                    <a:pt x="3" y="3"/>
                    <a:pt x="2" y="4"/>
                  </a:cubicBezTo>
                  <a:cubicBezTo>
                    <a:pt x="1" y="5"/>
                    <a:pt x="1" y="6"/>
                    <a:pt x="0" y="7"/>
                  </a:cubicBezTo>
                  <a:cubicBezTo>
                    <a:pt x="0" y="9"/>
                    <a:pt x="0" y="10"/>
                    <a:pt x="0" y="12"/>
                  </a:cubicBezTo>
                  <a:cubicBezTo>
                    <a:pt x="0" y="14"/>
                    <a:pt x="0" y="16"/>
                    <a:pt x="0" y="17"/>
                  </a:cubicBezTo>
                  <a:cubicBezTo>
                    <a:pt x="1" y="19"/>
                    <a:pt x="1" y="20"/>
                    <a:pt x="2" y="21"/>
                  </a:cubicBezTo>
                  <a:cubicBezTo>
                    <a:pt x="3" y="22"/>
                    <a:pt x="4" y="22"/>
                    <a:pt x="6" y="23"/>
                  </a:cubicBezTo>
                  <a:cubicBezTo>
                    <a:pt x="7" y="23"/>
                    <a:pt x="8" y="24"/>
                    <a:pt x="10" y="24"/>
                  </a:cubicBezTo>
                  <a:cubicBezTo>
                    <a:pt x="11" y="24"/>
                    <a:pt x="12" y="24"/>
                    <a:pt x="13" y="23"/>
                  </a:cubicBezTo>
                  <a:cubicBezTo>
                    <a:pt x="14" y="23"/>
                    <a:pt x="15" y="23"/>
                    <a:pt x="15" y="23"/>
                  </a:cubicBezTo>
                  <a:cubicBezTo>
                    <a:pt x="16" y="23"/>
                    <a:pt x="17" y="23"/>
                    <a:pt x="17" y="22"/>
                  </a:cubicBezTo>
                  <a:cubicBezTo>
                    <a:pt x="17" y="22"/>
                    <a:pt x="18" y="22"/>
                    <a:pt x="18" y="22"/>
                  </a:cubicBezTo>
                  <a:cubicBezTo>
                    <a:pt x="18" y="22"/>
                    <a:pt x="18" y="22"/>
                    <a:pt x="18" y="22"/>
                  </a:cubicBezTo>
                  <a:cubicBezTo>
                    <a:pt x="18" y="22"/>
                    <a:pt x="18" y="21"/>
                    <a:pt x="18" y="21"/>
                  </a:cubicBezTo>
                  <a:cubicBezTo>
                    <a:pt x="18" y="21"/>
                    <a:pt x="18" y="21"/>
                    <a:pt x="18" y="21"/>
                  </a:cubicBezTo>
                  <a:cubicBezTo>
                    <a:pt x="18" y="21"/>
                    <a:pt x="18" y="21"/>
                    <a:pt x="18" y="20"/>
                  </a:cubicBezTo>
                  <a:cubicBezTo>
                    <a:pt x="18" y="20"/>
                    <a:pt x="18" y="20"/>
                    <a:pt x="18" y="20"/>
                  </a:cubicBezTo>
                  <a:cubicBezTo>
                    <a:pt x="18" y="19"/>
                    <a:pt x="18" y="19"/>
                    <a:pt x="18" y="19"/>
                  </a:cubicBezTo>
                  <a:cubicBezTo>
                    <a:pt x="18" y="19"/>
                    <a:pt x="18" y="19"/>
                    <a:pt x="18" y="19"/>
                  </a:cubicBezTo>
                  <a:cubicBezTo>
                    <a:pt x="18" y="19"/>
                    <a:pt x="18" y="19"/>
                    <a:pt x="17" y="19"/>
                  </a:cubicBezTo>
                  <a:cubicBezTo>
                    <a:pt x="17" y="19"/>
                    <a:pt x="17" y="19"/>
                    <a:pt x="17" y="19"/>
                  </a:cubicBezTo>
                  <a:cubicBezTo>
                    <a:pt x="16" y="19"/>
                    <a:pt x="16" y="19"/>
                    <a:pt x="15" y="20"/>
                  </a:cubicBezTo>
                  <a:cubicBezTo>
                    <a:pt x="15" y="20"/>
                    <a:pt x="14" y="20"/>
                    <a:pt x="13" y="20"/>
                  </a:cubicBezTo>
                  <a:cubicBezTo>
                    <a:pt x="12" y="20"/>
                    <a:pt x="12" y="20"/>
                    <a:pt x="11" y="20"/>
                  </a:cubicBezTo>
                  <a:cubicBezTo>
                    <a:pt x="9" y="20"/>
                    <a:pt x="8" y="20"/>
                    <a:pt x="7" y="20"/>
                  </a:cubicBezTo>
                  <a:cubicBezTo>
                    <a:pt x="6" y="20"/>
                    <a:pt x="6" y="19"/>
                    <a:pt x="5" y="18"/>
                  </a:cubicBezTo>
                  <a:cubicBezTo>
                    <a:pt x="5" y="18"/>
                    <a:pt x="4" y="17"/>
                    <a:pt x="4" y="16"/>
                  </a:cubicBezTo>
                  <a:cubicBezTo>
                    <a:pt x="4" y="15"/>
                    <a:pt x="4" y="14"/>
                    <a:pt x="4" y="13"/>
                  </a:cubicBezTo>
                  <a:cubicBezTo>
                    <a:pt x="18" y="13"/>
                    <a:pt x="18" y="13"/>
                    <a:pt x="18" y="13"/>
                  </a:cubicBezTo>
                  <a:cubicBezTo>
                    <a:pt x="18" y="13"/>
                    <a:pt x="18" y="13"/>
                    <a:pt x="19" y="12"/>
                  </a:cubicBezTo>
                  <a:cubicBezTo>
                    <a:pt x="19" y="12"/>
                    <a:pt x="19" y="12"/>
                    <a:pt x="19" y="11"/>
                  </a:cubicBezTo>
                  <a:cubicBezTo>
                    <a:pt x="19" y="10"/>
                    <a:pt x="19" y="10"/>
                    <a:pt x="19" y="10"/>
                  </a:cubicBezTo>
                  <a:close/>
                  <a:moveTo>
                    <a:pt x="4" y="10"/>
                  </a:moveTo>
                  <a:cubicBezTo>
                    <a:pt x="4" y="9"/>
                    <a:pt x="4" y="8"/>
                    <a:pt x="4" y="8"/>
                  </a:cubicBezTo>
                  <a:cubicBezTo>
                    <a:pt x="4" y="7"/>
                    <a:pt x="5" y="6"/>
                    <a:pt x="5" y="5"/>
                  </a:cubicBezTo>
                  <a:cubicBezTo>
                    <a:pt x="6" y="5"/>
                    <a:pt x="6" y="4"/>
                    <a:pt x="7" y="4"/>
                  </a:cubicBezTo>
                  <a:cubicBezTo>
                    <a:pt x="8" y="4"/>
                    <a:pt x="9" y="3"/>
                    <a:pt x="10" y="3"/>
                  </a:cubicBezTo>
                  <a:cubicBezTo>
                    <a:pt x="11" y="3"/>
                    <a:pt x="13" y="4"/>
                    <a:pt x="14" y="5"/>
                  </a:cubicBezTo>
                  <a:cubicBezTo>
                    <a:pt x="15" y="6"/>
                    <a:pt x="15" y="8"/>
                    <a:pt x="15" y="10"/>
                  </a:cubicBezTo>
                  <a:cubicBezTo>
                    <a:pt x="4" y="10"/>
                    <a:pt x="4" y="10"/>
                    <a:pt x="4" y="1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70">
              <a:extLst>
                <a:ext uri="{FF2B5EF4-FFF2-40B4-BE49-F238E27FC236}">
                  <a16:creationId xmlns:a16="http://schemas.microsoft.com/office/drawing/2014/main" id="{D1E2387F-B645-4BD2-99AA-7BD4C63D99E0}"/>
                </a:ext>
              </a:extLst>
            </p:cNvPr>
            <p:cNvSpPr>
              <a:spLocks/>
            </p:cNvSpPr>
            <p:nvPr/>
          </p:nvSpPr>
          <p:spPr bwMode="auto">
            <a:xfrm>
              <a:off x="8393181" y="5301174"/>
              <a:ext cx="41845" cy="77917"/>
            </a:xfrm>
            <a:custGeom>
              <a:avLst/>
              <a:gdLst>
                <a:gd name="T0" fmla="*/ 12 w 12"/>
                <a:gd name="T1" fmla="*/ 2 h 23"/>
                <a:gd name="T2" fmla="*/ 12 w 12"/>
                <a:gd name="T3" fmla="*/ 2 h 23"/>
                <a:gd name="T4" fmla="*/ 12 w 12"/>
                <a:gd name="T5" fmla="*/ 1 h 23"/>
                <a:gd name="T6" fmla="*/ 12 w 12"/>
                <a:gd name="T7" fmla="*/ 1 h 23"/>
                <a:gd name="T8" fmla="*/ 11 w 12"/>
                <a:gd name="T9" fmla="*/ 1 h 23"/>
                <a:gd name="T10" fmla="*/ 11 w 12"/>
                <a:gd name="T11" fmla="*/ 1 h 23"/>
                <a:gd name="T12" fmla="*/ 10 w 12"/>
                <a:gd name="T13" fmla="*/ 0 h 23"/>
                <a:gd name="T14" fmla="*/ 9 w 12"/>
                <a:gd name="T15" fmla="*/ 0 h 23"/>
                <a:gd name="T16" fmla="*/ 8 w 12"/>
                <a:gd name="T17" fmla="*/ 1 h 23"/>
                <a:gd name="T18" fmla="*/ 6 w 12"/>
                <a:gd name="T19" fmla="*/ 1 h 23"/>
                <a:gd name="T20" fmla="*/ 5 w 12"/>
                <a:gd name="T21" fmla="*/ 3 h 23"/>
                <a:gd name="T22" fmla="*/ 3 w 12"/>
                <a:gd name="T23" fmla="*/ 5 h 23"/>
                <a:gd name="T24" fmla="*/ 3 w 12"/>
                <a:gd name="T25" fmla="*/ 2 h 23"/>
                <a:gd name="T26" fmla="*/ 3 w 12"/>
                <a:gd name="T27" fmla="*/ 1 h 23"/>
                <a:gd name="T28" fmla="*/ 3 w 12"/>
                <a:gd name="T29" fmla="*/ 1 h 23"/>
                <a:gd name="T30" fmla="*/ 3 w 12"/>
                <a:gd name="T31" fmla="*/ 1 h 23"/>
                <a:gd name="T32" fmla="*/ 2 w 12"/>
                <a:gd name="T33" fmla="*/ 1 h 23"/>
                <a:gd name="T34" fmla="*/ 1 w 12"/>
                <a:gd name="T35" fmla="*/ 1 h 23"/>
                <a:gd name="T36" fmla="*/ 0 w 12"/>
                <a:gd name="T37" fmla="*/ 1 h 23"/>
                <a:gd name="T38" fmla="*/ 0 w 12"/>
                <a:gd name="T39" fmla="*/ 1 h 23"/>
                <a:gd name="T40" fmla="*/ 0 w 12"/>
                <a:gd name="T41" fmla="*/ 2 h 23"/>
                <a:gd name="T42" fmla="*/ 0 w 12"/>
                <a:gd name="T43" fmla="*/ 23 h 23"/>
                <a:gd name="T44" fmla="*/ 0 w 12"/>
                <a:gd name="T45" fmla="*/ 23 h 23"/>
                <a:gd name="T46" fmla="*/ 0 w 12"/>
                <a:gd name="T47" fmla="*/ 23 h 23"/>
                <a:gd name="T48" fmla="*/ 1 w 12"/>
                <a:gd name="T49" fmla="*/ 23 h 23"/>
                <a:gd name="T50" fmla="*/ 2 w 12"/>
                <a:gd name="T51" fmla="*/ 23 h 23"/>
                <a:gd name="T52" fmla="*/ 3 w 12"/>
                <a:gd name="T53" fmla="*/ 23 h 23"/>
                <a:gd name="T54" fmla="*/ 3 w 12"/>
                <a:gd name="T55" fmla="*/ 23 h 23"/>
                <a:gd name="T56" fmla="*/ 4 w 12"/>
                <a:gd name="T57" fmla="*/ 23 h 23"/>
                <a:gd name="T58" fmla="*/ 4 w 12"/>
                <a:gd name="T59" fmla="*/ 23 h 23"/>
                <a:gd name="T60" fmla="*/ 4 w 12"/>
                <a:gd name="T61" fmla="*/ 9 h 23"/>
                <a:gd name="T62" fmla="*/ 5 w 12"/>
                <a:gd name="T63" fmla="*/ 7 h 23"/>
                <a:gd name="T64" fmla="*/ 7 w 12"/>
                <a:gd name="T65" fmla="*/ 5 h 23"/>
                <a:gd name="T66" fmla="*/ 8 w 12"/>
                <a:gd name="T67" fmla="*/ 4 h 23"/>
                <a:gd name="T68" fmla="*/ 9 w 12"/>
                <a:gd name="T69" fmla="*/ 4 h 23"/>
                <a:gd name="T70" fmla="*/ 10 w 12"/>
                <a:gd name="T71" fmla="*/ 4 h 23"/>
                <a:gd name="T72" fmla="*/ 11 w 12"/>
                <a:gd name="T73" fmla="*/ 4 h 23"/>
                <a:gd name="T74" fmla="*/ 11 w 12"/>
                <a:gd name="T75" fmla="*/ 5 h 23"/>
                <a:gd name="T76" fmla="*/ 12 w 12"/>
                <a:gd name="T77" fmla="*/ 5 h 23"/>
                <a:gd name="T78" fmla="*/ 12 w 12"/>
                <a:gd name="T79" fmla="*/ 5 h 23"/>
                <a:gd name="T80" fmla="*/ 12 w 12"/>
                <a:gd name="T81" fmla="*/ 4 h 23"/>
                <a:gd name="T82" fmla="*/ 12 w 12"/>
                <a:gd name="T83" fmla="*/ 4 h 23"/>
                <a:gd name="T84" fmla="*/ 12 w 12"/>
                <a:gd name="T85" fmla="*/ 3 h 23"/>
                <a:gd name="T86" fmla="*/ 12 w 12"/>
                <a:gd name="T8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23">
                  <a:moveTo>
                    <a:pt x="12" y="2"/>
                  </a:moveTo>
                  <a:cubicBezTo>
                    <a:pt x="12" y="2"/>
                    <a:pt x="12" y="2"/>
                    <a:pt x="12" y="2"/>
                  </a:cubicBezTo>
                  <a:cubicBezTo>
                    <a:pt x="12" y="1"/>
                    <a:pt x="12" y="1"/>
                    <a:pt x="12" y="1"/>
                  </a:cubicBezTo>
                  <a:cubicBezTo>
                    <a:pt x="12" y="1"/>
                    <a:pt x="12" y="1"/>
                    <a:pt x="12" y="1"/>
                  </a:cubicBezTo>
                  <a:cubicBezTo>
                    <a:pt x="12" y="1"/>
                    <a:pt x="12" y="1"/>
                    <a:pt x="11" y="1"/>
                  </a:cubicBezTo>
                  <a:cubicBezTo>
                    <a:pt x="11" y="1"/>
                    <a:pt x="11" y="1"/>
                    <a:pt x="11" y="1"/>
                  </a:cubicBezTo>
                  <a:cubicBezTo>
                    <a:pt x="10" y="1"/>
                    <a:pt x="10" y="1"/>
                    <a:pt x="10" y="0"/>
                  </a:cubicBezTo>
                  <a:cubicBezTo>
                    <a:pt x="10" y="0"/>
                    <a:pt x="9" y="0"/>
                    <a:pt x="9" y="0"/>
                  </a:cubicBezTo>
                  <a:cubicBezTo>
                    <a:pt x="9" y="0"/>
                    <a:pt x="8" y="1"/>
                    <a:pt x="8" y="1"/>
                  </a:cubicBezTo>
                  <a:cubicBezTo>
                    <a:pt x="7" y="1"/>
                    <a:pt x="7" y="1"/>
                    <a:pt x="6" y="1"/>
                  </a:cubicBezTo>
                  <a:cubicBezTo>
                    <a:pt x="6" y="2"/>
                    <a:pt x="6" y="2"/>
                    <a:pt x="5" y="3"/>
                  </a:cubicBezTo>
                  <a:cubicBezTo>
                    <a:pt x="5" y="3"/>
                    <a:pt x="4" y="4"/>
                    <a:pt x="3" y="5"/>
                  </a:cubicBezTo>
                  <a:cubicBezTo>
                    <a:pt x="3" y="2"/>
                    <a:pt x="3" y="2"/>
                    <a:pt x="3" y="2"/>
                  </a:cubicBezTo>
                  <a:cubicBezTo>
                    <a:pt x="3" y="1"/>
                    <a:pt x="3" y="1"/>
                    <a:pt x="3" y="1"/>
                  </a:cubicBezTo>
                  <a:cubicBezTo>
                    <a:pt x="3" y="1"/>
                    <a:pt x="3" y="1"/>
                    <a:pt x="3" y="1"/>
                  </a:cubicBezTo>
                  <a:cubicBezTo>
                    <a:pt x="3" y="1"/>
                    <a:pt x="3" y="1"/>
                    <a:pt x="3" y="1"/>
                  </a:cubicBezTo>
                  <a:cubicBezTo>
                    <a:pt x="2" y="1"/>
                    <a:pt x="2" y="1"/>
                    <a:pt x="2" y="1"/>
                  </a:cubicBezTo>
                  <a:cubicBezTo>
                    <a:pt x="1" y="1"/>
                    <a:pt x="1" y="1"/>
                    <a:pt x="1" y="1"/>
                  </a:cubicBezTo>
                  <a:cubicBezTo>
                    <a:pt x="1" y="1"/>
                    <a:pt x="0" y="1"/>
                    <a:pt x="0" y="1"/>
                  </a:cubicBezTo>
                  <a:cubicBezTo>
                    <a:pt x="0" y="1"/>
                    <a:pt x="0" y="1"/>
                    <a:pt x="0" y="1"/>
                  </a:cubicBezTo>
                  <a:cubicBezTo>
                    <a:pt x="0" y="1"/>
                    <a:pt x="0" y="1"/>
                    <a:pt x="0" y="2"/>
                  </a:cubicBezTo>
                  <a:cubicBezTo>
                    <a:pt x="0" y="23"/>
                    <a:pt x="0" y="23"/>
                    <a:pt x="0" y="23"/>
                  </a:cubicBezTo>
                  <a:cubicBezTo>
                    <a:pt x="0" y="23"/>
                    <a:pt x="0" y="23"/>
                    <a:pt x="0" y="23"/>
                  </a:cubicBezTo>
                  <a:cubicBezTo>
                    <a:pt x="0" y="23"/>
                    <a:pt x="0" y="23"/>
                    <a:pt x="0" y="23"/>
                  </a:cubicBezTo>
                  <a:cubicBezTo>
                    <a:pt x="0" y="23"/>
                    <a:pt x="1" y="23"/>
                    <a:pt x="1" y="23"/>
                  </a:cubicBezTo>
                  <a:cubicBezTo>
                    <a:pt x="1" y="23"/>
                    <a:pt x="1" y="23"/>
                    <a:pt x="2" y="23"/>
                  </a:cubicBezTo>
                  <a:cubicBezTo>
                    <a:pt x="2" y="23"/>
                    <a:pt x="3" y="23"/>
                    <a:pt x="3" y="23"/>
                  </a:cubicBezTo>
                  <a:cubicBezTo>
                    <a:pt x="3" y="23"/>
                    <a:pt x="3" y="23"/>
                    <a:pt x="3" y="23"/>
                  </a:cubicBezTo>
                  <a:cubicBezTo>
                    <a:pt x="4" y="23"/>
                    <a:pt x="4" y="23"/>
                    <a:pt x="4" y="23"/>
                  </a:cubicBezTo>
                  <a:cubicBezTo>
                    <a:pt x="4" y="23"/>
                    <a:pt x="4" y="23"/>
                    <a:pt x="4" y="23"/>
                  </a:cubicBezTo>
                  <a:cubicBezTo>
                    <a:pt x="4" y="9"/>
                    <a:pt x="4" y="9"/>
                    <a:pt x="4" y="9"/>
                  </a:cubicBezTo>
                  <a:cubicBezTo>
                    <a:pt x="4" y="8"/>
                    <a:pt x="5" y="7"/>
                    <a:pt x="5" y="7"/>
                  </a:cubicBezTo>
                  <a:cubicBezTo>
                    <a:pt x="6" y="6"/>
                    <a:pt x="6" y="5"/>
                    <a:pt x="7" y="5"/>
                  </a:cubicBezTo>
                  <a:cubicBezTo>
                    <a:pt x="7" y="5"/>
                    <a:pt x="7" y="4"/>
                    <a:pt x="8" y="4"/>
                  </a:cubicBezTo>
                  <a:cubicBezTo>
                    <a:pt x="8" y="4"/>
                    <a:pt x="9" y="4"/>
                    <a:pt x="9" y="4"/>
                  </a:cubicBezTo>
                  <a:cubicBezTo>
                    <a:pt x="9" y="4"/>
                    <a:pt x="10" y="4"/>
                    <a:pt x="10" y="4"/>
                  </a:cubicBezTo>
                  <a:cubicBezTo>
                    <a:pt x="10" y="4"/>
                    <a:pt x="10" y="4"/>
                    <a:pt x="11" y="4"/>
                  </a:cubicBezTo>
                  <a:cubicBezTo>
                    <a:pt x="11" y="4"/>
                    <a:pt x="11" y="5"/>
                    <a:pt x="11" y="5"/>
                  </a:cubicBezTo>
                  <a:cubicBezTo>
                    <a:pt x="11" y="5"/>
                    <a:pt x="12" y="5"/>
                    <a:pt x="12" y="5"/>
                  </a:cubicBezTo>
                  <a:cubicBezTo>
                    <a:pt x="12" y="5"/>
                    <a:pt x="12" y="5"/>
                    <a:pt x="12" y="5"/>
                  </a:cubicBezTo>
                  <a:cubicBezTo>
                    <a:pt x="12" y="5"/>
                    <a:pt x="12" y="4"/>
                    <a:pt x="12" y="4"/>
                  </a:cubicBezTo>
                  <a:cubicBezTo>
                    <a:pt x="12" y="4"/>
                    <a:pt x="12" y="4"/>
                    <a:pt x="12" y="4"/>
                  </a:cubicBezTo>
                  <a:cubicBezTo>
                    <a:pt x="12" y="4"/>
                    <a:pt x="12" y="3"/>
                    <a:pt x="12" y="3"/>
                  </a:cubicBezTo>
                  <a:cubicBezTo>
                    <a:pt x="12" y="3"/>
                    <a:pt x="12" y="2"/>
                    <a:pt x="12" y="2"/>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71">
              <a:extLst>
                <a:ext uri="{FF2B5EF4-FFF2-40B4-BE49-F238E27FC236}">
                  <a16:creationId xmlns:a16="http://schemas.microsoft.com/office/drawing/2014/main" id="{0285464A-ED4F-4D01-96A5-2E806B609A41}"/>
                </a:ext>
              </a:extLst>
            </p:cNvPr>
            <p:cNvSpPr>
              <a:spLocks/>
            </p:cNvSpPr>
            <p:nvPr/>
          </p:nvSpPr>
          <p:spPr bwMode="auto">
            <a:xfrm>
              <a:off x="8440797" y="5304060"/>
              <a:ext cx="69260" cy="75032"/>
            </a:xfrm>
            <a:custGeom>
              <a:avLst/>
              <a:gdLst>
                <a:gd name="T0" fmla="*/ 20 w 20"/>
                <a:gd name="T1" fmla="*/ 0 h 22"/>
                <a:gd name="T2" fmla="*/ 20 w 20"/>
                <a:gd name="T3" fmla="*/ 0 h 22"/>
                <a:gd name="T4" fmla="*/ 19 w 20"/>
                <a:gd name="T5" fmla="*/ 0 h 22"/>
                <a:gd name="T6" fmla="*/ 18 w 20"/>
                <a:gd name="T7" fmla="*/ 0 h 22"/>
                <a:gd name="T8" fmla="*/ 17 w 20"/>
                <a:gd name="T9" fmla="*/ 0 h 22"/>
                <a:gd name="T10" fmla="*/ 16 w 20"/>
                <a:gd name="T11" fmla="*/ 0 h 22"/>
                <a:gd name="T12" fmla="*/ 16 w 20"/>
                <a:gd name="T13" fmla="*/ 0 h 22"/>
                <a:gd name="T14" fmla="*/ 16 w 20"/>
                <a:gd name="T15" fmla="*/ 1 h 22"/>
                <a:gd name="T16" fmla="*/ 10 w 20"/>
                <a:gd name="T17" fmla="*/ 18 h 22"/>
                <a:gd name="T18" fmla="*/ 10 w 20"/>
                <a:gd name="T19" fmla="*/ 18 h 22"/>
                <a:gd name="T20" fmla="*/ 10 w 20"/>
                <a:gd name="T21" fmla="*/ 18 h 22"/>
                <a:gd name="T22" fmla="*/ 4 w 20"/>
                <a:gd name="T23" fmla="*/ 1 h 22"/>
                <a:gd name="T24" fmla="*/ 4 w 20"/>
                <a:gd name="T25" fmla="*/ 0 h 22"/>
                <a:gd name="T26" fmla="*/ 3 w 20"/>
                <a:gd name="T27" fmla="*/ 0 h 22"/>
                <a:gd name="T28" fmla="*/ 3 w 20"/>
                <a:gd name="T29" fmla="*/ 0 h 22"/>
                <a:gd name="T30" fmla="*/ 2 w 20"/>
                <a:gd name="T31" fmla="*/ 0 h 22"/>
                <a:gd name="T32" fmla="*/ 1 w 20"/>
                <a:gd name="T33" fmla="*/ 0 h 22"/>
                <a:gd name="T34" fmla="*/ 0 w 20"/>
                <a:gd name="T35" fmla="*/ 0 h 22"/>
                <a:gd name="T36" fmla="*/ 0 w 20"/>
                <a:gd name="T37" fmla="*/ 0 h 22"/>
                <a:gd name="T38" fmla="*/ 0 w 20"/>
                <a:gd name="T39" fmla="*/ 0 h 22"/>
                <a:gd name="T40" fmla="*/ 0 w 20"/>
                <a:gd name="T41" fmla="*/ 1 h 22"/>
                <a:gd name="T42" fmla="*/ 0 w 20"/>
                <a:gd name="T43" fmla="*/ 1 h 22"/>
                <a:gd name="T44" fmla="*/ 0 w 20"/>
                <a:gd name="T45" fmla="*/ 1 h 22"/>
                <a:gd name="T46" fmla="*/ 7 w 20"/>
                <a:gd name="T47" fmla="*/ 21 h 22"/>
                <a:gd name="T48" fmla="*/ 8 w 20"/>
                <a:gd name="T49" fmla="*/ 22 h 22"/>
                <a:gd name="T50" fmla="*/ 8 w 20"/>
                <a:gd name="T51" fmla="*/ 22 h 22"/>
                <a:gd name="T52" fmla="*/ 9 w 20"/>
                <a:gd name="T53" fmla="*/ 22 h 22"/>
                <a:gd name="T54" fmla="*/ 10 w 20"/>
                <a:gd name="T55" fmla="*/ 22 h 22"/>
                <a:gd name="T56" fmla="*/ 11 w 20"/>
                <a:gd name="T57" fmla="*/ 22 h 22"/>
                <a:gd name="T58" fmla="*/ 12 w 20"/>
                <a:gd name="T59" fmla="*/ 22 h 22"/>
                <a:gd name="T60" fmla="*/ 12 w 20"/>
                <a:gd name="T61" fmla="*/ 22 h 22"/>
                <a:gd name="T62" fmla="*/ 13 w 20"/>
                <a:gd name="T63" fmla="*/ 21 h 22"/>
                <a:gd name="T64" fmla="*/ 20 w 20"/>
                <a:gd name="T65" fmla="*/ 1 h 22"/>
                <a:gd name="T66" fmla="*/ 20 w 20"/>
                <a:gd name="T67" fmla="*/ 1 h 22"/>
                <a:gd name="T68" fmla="*/ 20 w 20"/>
                <a:gd name="T69" fmla="*/ 1 h 22"/>
                <a:gd name="T70" fmla="*/ 20 w 20"/>
                <a:gd name="T71" fmla="*/ 1 h 22"/>
                <a:gd name="T72" fmla="*/ 20 w 20"/>
                <a:gd name="T73" fmla="*/ 0 h 22"/>
                <a:gd name="T74" fmla="*/ 20 w 20"/>
                <a:gd name="T7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22">
                  <a:moveTo>
                    <a:pt x="20" y="0"/>
                  </a:moveTo>
                  <a:cubicBezTo>
                    <a:pt x="20" y="0"/>
                    <a:pt x="20" y="0"/>
                    <a:pt x="20" y="0"/>
                  </a:cubicBezTo>
                  <a:cubicBezTo>
                    <a:pt x="19" y="0"/>
                    <a:pt x="19" y="0"/>
                    <a:pt x="19" y="0"/>
                  </a:cubicBezTo>
                  <a:cubicBezTo>
                    <a:pt x="19" y="0"/>
                    <a:pt x="18" y="0"/>
                    <a:pt x="18" y="0"/>
                  </a:cubicBezTo>
                  <a:cubicBezTo>
                    <a:pt x="18" y="0"/>
                    <a:pt x="17" y="0"/>
                    <a:pt x="17" y="0"/>
                  </a:cubicBezTo>
                  <a:cubicBezTo>
                    <a:pt x="17" y="0"/>
                    <a:pt x="17" y="0"/>
                    <a:pt x="16" y="0"/>
                  </a:cubicBezTo>
                  <a:cubicBezTo>
                    <a:pt x="16" y="0"/>
                    <a:pt x="16" y="0"/>
                    <a:pt x="16" y="0"/>
                  </a:cubicBezTo>
                  <a:cubicBezTo>
                    <a:pt x="16" y="0"/>
                    <a:pt x="16" y="0"/>
                    <a:pt x="16" y="1"/>
                  </a:cubicBezTo>
                  <a:cubicBezTo>
                    <a:pt x="10" y="18"/>
                    <a:pt x="10" y="18"/>
                    <a:pt x="10" y="18"/>
                  </a:cubicBezTo>
                  <a:cubicBezTo>
                    <a:pt x="10" y="18"/>
                    <a:pt x="10" y="18"/>
                    <a:pt x="10" y="18"/>
                  </a:cubicBezTo>
                  <a:cubicBezTo>
                    <a:pt x="10" y="18"/>
                    <a:pt x="10" y="18"/>
                    <a:pt x="10" y="18"/>
                  </a:cubicBezTo>
                  <a:cubicBezTo>
                    <a:pt x="4" y="1"/>
                    <a:pt x="4" y="1"/>
                    <a:pt x="4" y="1"/>
                  </a:cubicBezTo>
                  <a:cubicBezTo>
                    <a:pt x="4" y="0"/>
                    <a:pt x="4" y="0"/>
                    <a:pt x="4" y="0"/>
                  </a:cubicBezTo>
                  <a:cubicBezTo>
                    <a:pt x="4" y="0"/>
                    <a:pt x="4" y="0"/>
                    <a:pt x="3" y="0"/>
                  </a:cubicBezTo>
                  <a:cubicBezTo>
                    <a:pt x="3" y="0"/>
                    <a:pt x="3" y="0"/>
                    <a:pt x="3" y="0"/>
                  </a:cubicBezTo>
                  <a:cubicBezTo>
                    <a:pt x="3" y="0"/>
                    <a:pt x="2" y="0"/>
                    <a:pt x="2" y="0"/>
                  </a:cubicBezTo>
                  <a:cubicBezTo>
                    <a:pt x="1" y="0"/>
                    <a:pt x="1" y="0"/>
                    <a:pt x="1" y="0"/>
                  </a:cubicBezTo>
                  <a:cubicBezTo>
                    <a:pt x="1"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7" y="21"/>
                    <a:pt x="7" y="21"/>
                    <a:pt x="7" y="21"/>
                  </a:cubicBezTo>
                  <a:cubicBezTo>
                    <a:pt x="7" y="22"/>
                    <a:pt x="7" y="22"/>
                    <a:pt x="8" y="22"/>
                  </a:cubicBezTo>
                  <a:cubicBezTo>
                    <a:pt x="8" y="22"/>
                    <a:pt x="8" y="22"/>
                    <a:pt x="8" y="22"/>
                  </a:cubicBezTo>
                  <a:cubicBezTo>
                    <a:pt x="8" y="22"/>
                    <a:pt x="8" y="22"/>
                    <a:pt x="9" y="22"/>
                  </a:cubicBezTo>
                  <a:cubicBezTo>
                    <a:pt x="9" y="22"/>
                    <a:pt x="9" y="22"/>
                    <a:pt x="10" y="22"/>
                  </a:cubicBezTo>
                  <a:cubicBezTo>
                    <a:pt x="10" y="22"/>
                    <a:pt x="11" y="22"/>
                    <a:pt x="11" y="22"/>
                  </a:cubicBezTo>
                  <a:cubicBezTo>
                    <a:pt x="11" y="22"/>
                    <a:pt x="12" y="22"/>
                    <a:pt x="12" y="22"/>
                  </a:cubicBezTo>
                  <a:cubicBezTo>
                    <a:pt x="12" y="22"/>
                    <a:pt x="12" y="22"/>
                    <a:pt x="12" y="22"/>
                  </a:cubicBezTo>
                  <a:cubicBezTo>
                    <a:pt x="12" y="22"/>
                    <a:pt x="12" y="22"/>
                    <a:pt x="13" y="21"/>
                  </a:cubicBezTo>
                  <a:cubicBezTo>
                    <a:pt x="20" y="1"/>
                    <a:pt x="20" y="1"/>
                    <a:pt x="20" y="1"/>
                  </a:cubicBezTo>
                  <a:cubicBezTo>
                    <a:pt x="20" y="1"/>
                    <a:pt x="20" y="1"/>
                    <a:pt x="20" y="1"/>
                  </a:cubicBezTo>
                  <a:cubicBezTo>
                    <a:pt x="20" y="1"/>
                    <a:pt x="20" y="1"/>
                    <a:pt x="20" y="1"/>
                  </a:cubicBezTo>
                  <a:cubicBezTo>
                    <a:pt x="20" y="1"/>
                    <a:pt x="20" y="1"/>
                    <a:pt x="20" y="1"/>
                  </a:cubicBezTo>
                  <a:cubicBezTo>
                    <a:pt x="20" y="1"/>
                    <a:pt x="20" y="1"/>
                    <a:pt x="20" y="0"/>
                  </a:cubicBezTo>
                  <a:cubicBezTo>
                    <a:pt x="20" y="0"/>
                    <a:pt x="20" y="0"/>
                    <a:pt x="20" y="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72">
              <a:extLst>
                <a:ext uri="{FF2B5EF4-FFF2-40B4-BE49-F238E27FC236}">
                  <a16:creationId xmlns:a16="http://schemas.microsoft.com/office/drawing/2014/main" id="{44A130BF-EF86-4BDE-98D0-D5A2526B1DBA}"/>
                </a:ext>
              </a:extLst>
            </p:cNvPr>
            <p:cNvSpPr>
              <a:spLocks noEditPoints="1"/>
            </p:cNvSpPr>
            <p:nvPr/>
          </p:nvSpPr>
          <p:spPr bwMode="auto">
            <a:xfrm>
              <a:off x="8523043" y="5273759"/>
              <a:ext cx="17315" cy="105333"/>
            </a:xfrm>
            <a:custGeom>
              <a:avLst/>
              <a:gdLst>
                <a:gd name="T0" fmla="*/ 4 w 5"/>
                <a:gd name="T1" fmla="*/ 10 h 31"/>
                <a:gd name="T2" fmla="*/ 4 w 5"/>
                <a:gd name="T3" fmla="*/ 9 h 31"/>
                <a:gd name="T4" fmla="*/ 4 w 5"/>
                <a:gd name="T5" fmla="*/ 9 h 31"/>
                <a:gd name="T6" fmla="*/ 3 w 5"/>
                <a:gd name="T7" fmla="*/ 9 h 31"/>
                <a:gd name="T8" fmla="*/ 2 w 5"/>
                <a:gd name="T9" fmla="*/ 9 h 31"/>
                <a:gd name="T10" fmla="*/ 1 w 5"/>
                <a:gd name="T11" fmla="*/ 9 h 31"/>
                <a:gd name="T12" fmla="*/ 1 w 5"/>
                <a:gd name="T13" fmla="*/ 9 h 31"/>
                <a:gd name="T14" fmla="*/ 0 w 5"/>
                <a:gd name="T15" fmla="*/ 9 h 31"/>
                <a:gd name="T16" fmla="*/ 0 w 5"/>
                <a:gd name="T17" fmla="*/ 10 h 31"/>
                <a:gd name="T18" fmla="*/ 0 w 5"/>
                <a:gd name="T19" fmla="*/ 31 h 31"/>
                <a:gd name="T20" fmla="*/ 0 w 5"/>
                <a:gd name="T21" fmla="*/ 31 h 31"/>
                <a:gd name="T22" fmla="*/ 1 w 5"/>
                <a:gd name="T23" fmla="*/ 31 h 31"/>
                <a:gd name="T24" fmla="*/ 1 w 5"/>
                <a:gd name="T25" fmla="*/ 31 h 31"/>
                <a:gd name="T26" fmla="*/ 2 w 5"/>
                <a:gd name="T27" fmla="*/ 31 h 31"/>
                <a:gd name="T28" fmla="*/ 3 w 5"/>
                <a:gd name="T29" fmla="*/ 31 h 31"/>
                <a:gd name="T30" fmla="*/ 4 w 5"/>
                <a:gd name="T31" fmla="*/ 31 h 31"/>
                <a:gd name="T32" fmla="*/ 4 w 5"/>
                <a:gd name="T33" fmla="*/ 31 h 31"/>
                <a:gd name="T34" fmla="*/ 4 w 5"/>
                <a:gd name="T35" fmla="*/ 31 h 31"/>
                <a:gd name="T36" fmla="*/ 4 w 5"/>
                <a:gd name="T37" fmla="*/ 10 h 31"/>
                <a:gd name="T38" fmla="*/ 4 w 5"/>
                <a:gd name="T39" fmla="*/ 1 h 31"/>
                <a:gd name="T40" fmla="*/ 2 w 5"/>
                <a:gd name="T41" fmla="*/ 0 h 31"/>
                <a:gd name="T42" fmla="*/ 0 w 5"/>
                <a:gd name="T43" fmla="*/ 1 h 31"/>
                <a:gd name="T44" fmla="*/ 0 w 5"/>
                <a:gd name="T45" fmla="*/ 2 h 31"/>
                <a:gd name="T46" fmla="*/ 0 w 5"/>
                <a:gd name="T47" fmla="*/ 4 h 31"/>
                <a:gd name="T48" fmla="*/ 2 w 5"/>
                <a:gd name="T49" fmla="*/ 5 h 31"/>
                <a:gd name="T50" fmla="*/ 4 w 5"/>
                <a:gd name="T51" fmla="*/ 4 h 31"/>
                <a:gd name="T52" fmla="*/ 5 w 5"/>
                <a:gd name="T53" fmla="*/ 2 h 31"/>
                <a:gd name="T54" fmla="*/ 4 w 5"/>
                <a:gd name="T5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31">
                  <a:moveTo>
                    <a:pt x="4" y="10"/>
                  </a:moveTo>
                  <a:cubicBezTo>
                    <a:pt x="4" y="9"/>
                    <a:pt x="4" y="9"/>
                    <a:pt x="4" y="9"/>
                  </a:cubicBezTo>
                  <a:cubicBezTo>
                    <a:pt x="4" y="9"/>
                    <a:pt x="4" y="9"/>
                    <a:pt x="4" y="9"/>
                  </a:cubicBezTo>
                  <a:cubicBezTo>
                    <a:pt x="4" y="9"/>
                    <a:pt x="3" y="9"/>
                    <a:pt x="3" y="9"/>
                  </a:cubicBezTo>
                  <a:cubicBezTo>
                    <a:pt x="3" y="9"/>
                    <a:pt x="3" y="9"/>
                    <a:pt x="2" y="9"/>
                  </a:cubicBezTo>
                  <a:cubicBezTo>
                    <a:pt x="2" y="9"/>
                    <a:pt x="2" y="9"/>
                    <a:pt x="1" y="9"/>
                  </a:cubicBezTo>
                  <a:cubicBezTo>
                    <a:pt x="1" y="9"/>
                    <a:pt x="1" y="9"/>
                    <a:pt x="1" y="9"/>
                  </a:cubicBezTo>
                  <a:cubicBezTo>
                    <a:pt x="1" y="9"/>
                    <a:pt x="0" y="9"/>
                    <a:pt x="0" y="9"/>
                  </a:cubicBezTo>
                  <a:cubicBezTo>
                    <a:pt x="0" y="9"/>
                    <a:pt x="0" y="9"/>
                    <a:pt x="0" y="10"/>
                  </a:cubicBezTo>
                  <a:cubicBezTo>
                    <a:pt x="0" y="31"/>
                    <a:pt x="0" y="31"/>
                    <a:pt x="0" y="31"/>
                  </a:cubicBezTo>
                  <a:cubicBezTo>
                    <a:pt x="0" y="31"/>
                    <a:pt x="0" y="31"/>
                    <a:pt x="0" y="31"/>
                  </a:cubicBezTo>
                  <a:cubicBezTo>
                    <a:pt x="0" y="31"/>
                    <a:pt x="1" y="31"/>
                    <a:pt x="1" y="31"/>
                  </a:cubicBezTo>
                  <a:cubicBezTo>
                    <a:pt x="1" y="31"/>
                    <a:pt x="1" y="31"/>
                    <a:pt x="1" y="31"/>
                  </a:cubicBezTo>
                  <a:cubicBezTo>
                    <a:pt x="2" y="31"/>
                    <a:pt x="2" y="31"/>
                    <a:pt x="2" y="31"/>
                  </a:cubicBezTo>
                  <a:cubicBezTo>
                    <a:pt x="3" y="31"/>
                    <a:pt x="3" y="31"/>
                    <a:pt x="3" y="31"/>
                  </a:cubicBezTo>
                  <a:cubicBezTo>
                    <a:pt x="3" y="31"/>
                    <a:pt x="4" y="31"/>
                    <a:pt x="4" y="31"/>
                  </a:cubicBezTo>
                  <a:cubicBezTo>
                    <a:pt x="4" y="31"/>
                    <a:pt x="4" y="31"/>
                    <a:pt x="4" y="31"/>
                  </a:cubicBezTo>
                  <a:cubicBezTo>
                    <a:pt x="4" y="31"/>
                    <a:pt x="4" y="31"/>
                    <a:pt x="4" y="31"/>
                  </a:cubicBezTo>
                  <a:cubicBezTo>
                    <a:pt x="4" y="10"/>
                    <a:pt x="4" y="10"/>
                    <a:pt x="4" y="10"/>
                  </a:cubicBezTo>
                  <a:close/>
                  <a:moveTo>
                    <a:pt x="4" y="1"/>
                  </a:moveTo>
                  <a:cubicBezTo>
                    <a:pt x="4" y="0"/>
                    <a:pt x="3" y="0"/>
                    <a:pt x="2" y="0"/>
                  </a:cubicBezTo>
                  <a:cubicBezTo>
                    <a:pt x="1" y="0"/>
                    <a:pt x="1" y="0"/>
                    <a:pt x="0" y="1"/>
                  </a:cubicBezTo>
                  <a:cubicBezTo>
                    <a:pt x="0" y="1"/>
                    <a:pt x="0" y="2"/>
                    <a:pt x="0" y="2"/>
                  </a:cubicBezTo>
                  <a:cubicBezTo>
                    <a:pt x="0" y="3"/>
                    <a:pt x="0" y="4"/>
                    <a:pt x="0" y="4"/>
                  </a:cubicBezTo>
                  <a:cubicBezTo>
                    <a:pt x="1" y="5"/>
                    <a:pt x="1" y="5"/>
                    <a:pt x="2" y="5"/>
                  </a:cubicBezTo>
                  <a:cubicBezTo>
                    <a:pt x="3" y="5"/>
                    <a:pt x="4" y="5"/>
                    <a:pt x="4" y="4"/>
                  </a:cubicBezTo>
                  <a:cubicBezTo>
                    <a:pt x="4" y="4"/>
                    <a:pt x="5" y="3"/>
                    <a:pt x="5" y="2"/>
                  </a:cubicBezTo>
                  <a:cubicBezTo>
                    <a:pt x="5" y="1"/>
                    <a:pt x="5" y="1"/>
                    <a:pt x="4" y="1"/>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73">
              <a:extLst>
                <a:ext uri="{FF2B5EF4-FFF2-40B4-BE49-F238E27FC236}">
                  <a16:creationId xmlns:a16="http://schemas.microsoft.com/office/drawing/2014/main" id="{D16EBFBD-081C-435E-BC60-51B90428B4EB}"/>
                </a:ext>
              </a:extLst>
            </p:cNvPr>
            <p:cNvSpPr>
              <a:spLocks/>
            </p:cNvSpPr>
            <p:nvPr/>
          </p:nvSpPr>
          <p:spPr bwMode="auto">
            <a:xfrm>
              <a:off x="8557673" y="5301174"/>
              <a:ext cx="57717" cy="82247"/>
            </a:xfrm>
            <a:custGeom>
              <a:avLst/>
              <a:gdLst>
                <a:gd name="T0" fmla="*/ 17 w 17"/>
                <a:gd name="T1" fmla="*/ 19 h 24"/>
                <a:gd name="T2" fmla="*/ 16 w 17"/>
                <a:gd name="T3" fmla="*/ 18 h 24"/>
                <a:gd name="T4" fmla="*/ 16 w 17"/>
                <a:gd name="T5" fmla="*/ 18 h 24"/>
                <a:gd name="T6" fmla="*/ 16 w 17"/>
                <a:gd name="T7" fmla="*/ 18 h 24"/>
                <a:gd name="T8" fmla="*/ 15 w 17"/>
                <a:gd name="T9" fmla="*/ 18 h 24"/>
                <a:gd name="T10" fmla="*/ 14 w 17"/>
                <a:gd name="T11" fmla="*/ 19 h 24"/>
                <a:gd name="T12" fmla="*/ 12 w 17"/>
                <a:gd name="T13" fmla="*/ 20 h 24"/>
                <a:gd name="T14" fmla="*/ 10 w 17"/>
                <a:gd name="T15" fmla="*/ 20 h 24"/>
                <a:gd name="T16" fmla="*/ 7 w 17"/>
                <a:gd name="T17" fmla="*/ 20 h 24"/>
                <a:gd name="T18" fmla="*/ 5 w 17"/>
                <a:gd name="T19" fmla="*/ 18 h 24"/>
                <a:gd name="T20" fmla="*/ 4 w 17"/>
                <a:gd name="T21" fmla="*/ 16 h 24"/>
                <a:gd name="T22" fmla="*/ 4 w 17"/>
                <a:gd name="T23" fmla="*/ 12 h 24"/>
                <a:gd name="T24" fmla="*/ 5 w 17"/>
                <a:gd name="T25" fmla="*/ 6 h 24"/>
                <a:gd name="T26" fmla="*/ 10 w 17"/>
                <a:gd name="T27" fmla="*/ 4 h 24"/>
                <a:gd name="T28" fmla="*/ 12 w 17"/>
                <a:gd name="T29" fmla="*/ 4 h 24"/>
                <a:gd name="T30" fmla="*/ 14 w 17"/>
                <a:gd name="T31" fmla="*/ 5 h 24"/>
                <a:gd name="T32" fmla="*/ 15 w 17"/>
                <a:gd name="T33" fmla="*/ 6 h 24"/>
                <a:gd name="T34" fmla="*/ 16 w 17"/>
                <a:gd name="T35" fmla="*/ 6 h 24"/>
                <a:gd name="T36" fmla="*/ 16 w 17"/>
                <a:gd name="T37" fmla="*/ 6 h 24"/>
                <a:gd name="T38" fmla="*/ 16 w 17"/>
                <a:gd name="T39" fmla="*/ 5 h 24"/>
                <a:gd name="T40" fmla="*/ 16 w 17"/>
                <a:gd name="T41" fmla="*/ 4 h 24"/>
                <a:gd name="T42" fmla="*/ 16 w 17"/>
                <a:gd name="T43" fmla="*/ 3 h 24"/>
                <a:gd name="T44" fmla="*/ 16 w 17"/>
                <a:gd name="T45" fmla="*/ 3 h 24"/>
                <a:gd name="T46" fmla="*/ 16 w 17"/>
                <a:gd name="T47" fmla="*/ 3 h 24"/>
                <a:gd name="T48" fmla="*/ 15 w 17"/>
                <a:gd name="T49" fmla="*/ 2 h 24"/>
                <a:gd name="T50" fmla="*/ 13 w 17"/>
                <a:gd name="T51" fmla="*/ 1 h 24"/>
                <a:gd name="T52" fmla="*/ 12 w 17"/>
                <a:gd name="T53" fmla="*/ 1 h 24"/>
                <a:gd name="T54" fmla="*/ 10 w 17"/>
                <a:gd name="T55" fmla="*/ 0 h 24"/>
                <a:gd name="T56" fmla="*/ 6 w 17"/>
                <a:gd name="T57" fmla="*/ 1 h 24"/>
                <a:gd name="T58" fmla="*/ 3 w 17"/>
                <a:gd name="T59" fmla="*/ 3 h 24"/>
                <a:gd name="T60" fmla="*/ 1 w 17"/>
                <a:gd name="T61" fmla="*/ 7 h 24"/>
                <a:gd name="T62" fmla="*/ 0 w 17"/>
                <a:gd name="T63" fmla="*/ 12 h 24"/>
                <a:gd name="T64" fmla="*/ 1 w 17"/>
                <a:gd name="T65" fmla="*/ 17 h 24"/>
                <a:gd name="T66" fmla="*/ 2 w 17"/>
                <a:gd name="T67" fmla="*/ 21 h 24"/>
                <a:gd name="T68" fmla="*/ 5 w 17"/>
                <a:gd name="T69" fmla="*/ 23 h 24"/>
                <a:gd name="T70" fmla="*/ 9 w 17"/>
                <a:gd name="T71" fmla="*/ 24 h 24"/>
                <a:gd name="T72" fmla="*/ 11 w 17"/>
                <a:gd name="T73" fmla="*/ 23 h 24"/>
                <a:gd name="T74" fmla="*/ 13 w 17"/>
                <a:gd name="T75" fmla="*/ 23 h 24"/>
                <a:gd name="T76" fmla="*/ 15 w 17"/>
                <a:gd name="T77" fmla="*/ 22 h 24"/>
                <a:gd name="T78" fmla="*/ 16 w 17"/>
                <a:gd name="T79" fmla="*/ 21 h 24"/>
                <a:gd name="T80" fmla="*/ 16 w 17"/>
                <a:gd name="T81" fmla="*/ 21 h 24"/>
                <a:gd name="T82" fmla="*/ 16 w 17"/>
                <a:gd name="T83" fmla="*/ 21 h 24"/>
                <a:gd name="T84" fmla="*/ 17 w 17"/>
                <a:gd name="T85" fmla="*/ 20 h 24"/>
                <a:gd name="T86" fmla="*/ 17 w 17"/>
                <a:gd name="T87" fmla="*/ 19 h 24"/>
                <a:gd name="T88" fmla="*/ 17 w 17"/>
                <a:gd name="T8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 h="24">
                  <a:moveTo>
                    <a:pt x="17" y="19"/>
                  </a:moveTo>
                  <a:cubicBezTo>
                    <a:pt x="16" y="18"/>
                    <a:pt x="16" y="18"/>
                    <a:pt x="16" y="18"/>
                  </a:cubicBezTo>
                  <a:cubicBezTo>
                    <a:pt x="16" y="18"/>
                    <a:pt x="16" y="18"/>
                    <a:pt x="16" y="18"/>
                  </a:cubicBezTo>
                  <a:cubicBezTo>
                    <a:pt x="16" y="18"/>
                    <a:pt x="16" y="18"/>
                    <a:pt x="16" y="18"/>
                  </a:cubicBezTo>
                  <a:cubicBezTo>
                    <a:pt x="16" y="18"/>
                    <a:pt x="15" y="18"/>
                    <a:pt x="15" y="18"/>
                  </a:cubicBezTo>
                  <a:cubicBezTo>
                    <a:pt x="15" y="18"/>
                    <a:pt x="14" y="19"/>
                    <a:pt x="14" y="19"/>
                  </a:cubicBezTo>
                  <a:cubicBezTo>
                    <a:pt x="13" y="19"/>
                    <a:pt x="13" y="20"/>
                    <a:pt x="12" y="20"/>
                  </a:cubicBezTo>
                  <a:cubicBezTo>
                    <a:pt x="11" y="20"/>
                    <a:pt x="11" y="20"/>
                    <a:pt x="10" y="20"/>
                  </a:cubicBezTo>
                  <a:cubicBezTo>
                    <a:pt x="9" y="20"/>
                    <a:pt x="8" y="20"/>
                    <a:pt x="7" y="20"/>
                  </a:cubicBezTo>
                  <a:cubicBezTo>
                    <a:pt x="7" y="19"/>
                    <a:pt x="6" y="19"/>
                    <a:pt x="5" y="18"/>
                  </a:cubicBezTo>
                  <a:cubicBezTo>
                    <a:pt x="5" y="18"/>
                    <a:pt x="5" y="17"/>
                    <a:pt x="4" y="16"/>
                  </a:cubicBezTo>
                  <a:cubicBezTo>
                    <a:pt x="4" y="15"/>
                    <a:pt x="4" y="13"/>
                    <a:pt x="4" y="12"/>
                  </a:cubicBezTo>
                  <a:cubicBezTo>
                    <a:pt x="4" y="9"/>
                    <a:pt x="4" y="7"/>
                    <a:pt x="5" y="6"/>
                  </a:cubicBezTo>
                  <a:cubicBezTo>
                    <a:pt x="6" y="4"/>
                    <a:pt x="8" y="4"/>
                    <a:pt x="10" y="4"/>
                  </a:cubicBezTo>
                  <a:cubicBezTo>
                    <a:pt x="11" y="4"/>
                    <a:pt x="11" y="4"/>
                    <a:pt x="12" y="4"/>
                  </a:cubicBezTo>
                  <a:cubicBezTo>
                    <a:pt x="13" y="4"/>
                    <a:pt x="13" y="5"/>
                    <a:pt x="14" y="5"/>
                  </a:cubicBezTo>
                  <a:cubicBezTo>
                    <a:pt x="14" y="5"/>
                    <a:pt x="15" y="6"/>
                    <a:pt x="15" y="6"/>
                  </a:cubicBezTo>
                  <a:cubicBezTo>
                    <a:pt x="15" y="6"/>
                    <a:pt x="15" y="6"/>
                    <a:pt x="16" y="6"/>
                  </a:cubicBezTo>
                  <a:cubicBezTo>
                    <a:pt x="16" y="6"/>
                    <a:pt x="16" y="6"/>
                    <a:pt x="16" y="6"/>
                  </a:cubicBezTo>
                  <a:cubicBezTo>
                    <a:pt x="16" y="6"/>
                    <a:pt x="16" y="5"/>
                    <a:pt x="16" y="5"/>
                  </a:cubicBezTo>
                  <a:cubicBezTo>
                    <a:pt x="16" y="4"/>
                    <a:pt x="16" y="4"/>
                    <a:pt x="16" y="4"/>
                  </a:cubicBezTo>
                  <a:cubicBezTo>
                    <a:pt x="16" y="4"/>
                    <a:pt x="16" y="4"/>
                    <a:pt x="16" y="3"/>
                  </a:cubicBezTo>
                  <a:cubicBezTo>
                    <a:pt x="16" y="3"/>
                    <a:pt x="16" y="3"/>
                    <a:pt x="16" y="3"/>
                  </a:cubicBezTo>
                  <a:cubicBezTo>
                    <a:pt x="16" y="3"/>
                    <a:pt x="16" y="3"/>
                    <a:pt x="16" y="3"/>
                  </a:cubicBezTo>
                  <a:cubicBezTo>
                    <a:pt x="16" y="2"/>
                    <a:pt x="15" y="2"/>
                    <a:pt x="15" y="2"/>
                  </a:cubicBezTo>
                  <a:cubicBezTo>
                    <a:pt x="14" y="2"/>
                    <a:pt x="14" y="1"/>
                    <a:pt x="13" y="1"/>
                  </a:cubicBezTo>
                  <a:cubicBezTo>
                    <a:pt x="13" y="1"/>
                    <a:pt x="12" y="1"/>
                    <a:pt x="12" y="1"/>
                  </a:cubicBezTo>
                  <a:cubicBezTo>
                    <a:pt x="11" y="1"/>
                    <a:pt x="10" y="0"/>
                    <a:pt x="10" y="0"/>
                  </a:cubicBezTo>
                  <a:cubicBezTo>
                    <a:pt x="8" y="0"/>
                    <a:pt x="7" y="1"/>
                    <a:pt x="6" y="1"/>
                  </a:cubicBezTo>
                  <a:cubicBezTo>
                    <a:pt x="5" y="2"/>
                    <a:pt x="4" y="2"/>
                    <a:pt x="3" y="3"/>
                  </a:cubicBezTo>
                  <a:cubicBezTo>
                    <a:pt x="2" y="4"/>
                    <a:pt x="1" y="5"/>
                    <a:pt x="1" y="7"/>
                  </a:cubicBezTo>
                  <a:cubicBezTo>
                    <a:pt x="0" y="8"/>
                    <a:pt x="0" y="10"/>
                    <a:pt x="0" y="12"/>
                  </a:cubicBezTo>
                  <a:cubicBezTo>
                    <a:pt x="0" y="14"/>
                    <a:pt x="0" y="16"/>
                    <a:pt x="1" y="17"/>
                  </a:cubicBezTo>
                  <a:cubicBezTo>
                    <a:pt x="1" y="19"/>
                    <a:pt x="2" y="20"/>
                    <a:pt x="2" y="21"/>
                  </a:cubicBezTo>
                  <a:cubicBezTo>
                    <a:pt x="3" y="22"/>
                    <a:pt x="4" y="22"/>
                    <a:pt x="5" y="23"/>
                  </a:cubicBezTo>
                  <a:cubicBezTo>
                    <a:pt x="6" y="23"/>
                    <a:pt x="8" y="24"/>
                    <a:pt x="9" y="24"/>
                  </a:cubicBezTo>
                  <a:cubicBezTo>
                    <a:pt x="10" y="24"/>
                    <a:pt x="11" y="24"/>
                    <a:pt x="11" y="23"/>
                  </a:cubicBezTo>
                  <a:cubicBezTo>
                    <a:pt x="12" y="23"/>
                    <a:pt x="13" y="23"/>
                    <a:pt x="13" y="23"/>
                  </a:cubicBezTo>
                  <a:cubicBezTo>
                    <a:pt x="14" y="23"/>
                    <a:pt x="14" y="22"/>
                    <a:pt x="15" y="22"/>
                  </a:cubicBezTo>
                  <a:cubicBezTo>
                    <a:pt x="15" y="22"/>
                    <a:pt x="16" y="22"/>
                    <a:pt x="16" y="21"/>
                  </a:cubicBezTo>
                  <a:cubicBezTo>
                    <a:pt x="16" y="21"/>
                    <a:pt x="16" y="21"/>
                    <a:pt x="16" y="21"/>
                  </a:cubicBezTo>
                  <a:cubicBezTo>
                    <a:pt x="16" y="21"/>
                    <a:pt x="16" y="21"/>
                    <a:pt x="16" y="21"/>
                  </a:cubicBezTo>
                  <a:cubicBezTo>
                    <a:pt x="16" y="20"/>
                    <a:pt x="16" y="20"/>
                    <a:pt x="17" y="20"/>
                  </a:cubicBezTo>
                  <a:cubicBezTo>
                    <a:pt x="17" y="20"/>
                    <a:pt x="17" y="20"/>
                    <a:pt x="17" y="19"/>
                  </a:cubicBezTo>
                  <a:cubicBezTo>
                    <a:pt x="17" y="19"/>
                    <a:pt x="17" y="19"/>
                    <a:pt x="17" y="19"/>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74">
              <a:extLst>
                <a:ext uri="{FF2B5EF4-FFF2-40B4-BE49-F238E27FC236}">
                  <a16:creationId xmlns:a16="http://schemas.microsoft.com/office/drawing/2014/main" id="{5D34DC97-6371-4BBD-95F0-54F73B547FBE}"/>
                </a:ext>
              </a:extLst>
            </p:cNvPr>
            <p:cNvSpPr>
              <a:spLocks noEditPoints="1"/>
            </p:cNvSpPr>
            <p:nvPr/>
          </p:nvSpPr>
          <p:spPr bwMode="auto">
            <a:xfrm>
              <a:off x="8626933" y="5301174"/>
              <a:ext cx="67817" cy="82247"/>
            </a:xfrm>
            <a:custGeom>
              <a:avLst/>
              <a:gdLst>
                <a:gd name="T0" fmla="*/ 20 w 20"/>
                <a:gd name="T1" fmla="*/ 10 h 24"/>
                <a:gd name="T2" fmla="*/ 19 w 20"/>
                <a:gd name="T3" fmla="*/ 7 h 24"/>
                <a:gd name="T4" fmla="*/ 17 w 20"/>
                <a:gd name="T5" fmla="*/ 3 h 24"/>
                <a:gd name="T6" fmla="*/ 15 w 20"/>
                <a:gd name="T7" fmla="*/ 1 h 24"/>
                <a:gd name="T8" fmla="*/ 10 w 20"/>
                <a:gd name="T9" fmla="*/ 0 h 24"/>
                <a:gd name="T10" fmla="*/ 6 w 20"/>
                <a:gd name="T11" fmla="*/ 1 h 24"/>
                <a:gd name="T12" fmla="*/ 3 w 20"/>
                <a:gd name="T13" fmla="*/ 4 h 24"/>
                <a:gd name="T14" fmla="*/ 1 w 20"/>
                <a:gd name="T15" fmla="*/ 7 h 24"/>
                <a:gd name="T16" fmla="*/ 0 w 20"/>
                <a:gd name="T17" fmla="*/ 12 h 24"/>
                <a:gd name="T18" fmla="*/ 1 w 20"/>
                <a:gd name="T19" fmla="*/ 17 h 24"/>
                <a:gd name="T20" fmla="*/ 3 w 20"/>
                <a:gd name="T21" fmla="*/ 21 h 24"/>
                <a:gd name="T22" fmla="*/ 6 w 20"/>
                <a:gd name="T23" fmla="*/ 23 h 24"/>
                <a:gd name="T24" fmla="*/ 11 w 20"/>
                <a:gd name="T25" fmla="*/ 24 h 24"/>
                <a:gd name="T26" fmla="*/ 14 w 20"/>
                <a:gd name="T27" fmla="*/ 23 h 24"/>
                <a:gd name="T28" fmla="*/ 16 w 20"/>
                <a:gd name="T29" fmla="*/ 23 h 24"/>
                <a:gd name="T30" fmla="*/ 18 w 20"/>
                <a:gd name="T31" fmla="*/ 22 h 24"/>
                <a:gd name="T32" fmla="*/ 18 w 20"/>
                <a:gd name="T33" fmla="*/ 22 h 24"/>
                <a:gd name="T34" fmla="*/ 19 w 20"/>
                <a:gd name="T35" fmla="*/ 22 h 24"/>
                <a:gd name="T36" fmla="*/ 19 w 20"/>
                <a:gd name="T37" fmla="*/ 21 h 24"/>
                <a:gd name="T38" fmla="*/ 19 w 20"/>
                <a:gd name="T39" fmla="*/ 21 h 24"/>
                <a:gd name="T40" fmla="*/ 19 w 20"/>
                <a:gd name="T41" fmla="*/ 20 h 24"/>
                <a:gd name="T42" fmla="*/ 19 w 20"/>
                <a:gd name="T43" fmla="*/ 20 h 24"/>
                <a:gd name="T44" fmla="*/ 19 w 20"/>
                <a:gd name="T45" fmla="*/ 19 h 24"/>
                <a:gd name="T46" fmla="*/ 18 w 20"/>
                <a:gd name="T47" fmla="*/ 19 h 24"/>
                <a:gd name="T48" fmla="*/ 18 w 20"/>
                <a:gd name="T49" fmla="*/ 19 h 24"/>
                <a:gd name="T50" fmla="*/ 17 w 20"/>
                <a:gd name="T51" fmla="*/ 19 h 24"/>
                <a:gd name="T52" fmla="*/ 16 w 20"/>
                <a:gd name="T53" fmla="*/ 20 h 24"/>
                <a:gd name="T54" fmla="*/ 14 w 20"/>
                <a:gd name="T55" fmla="*/ 20 h 24"/>
                <a:gd name="T56" fmla="*/ 11 w 20"/>
                <a:gd name="T57" fmla="*/ 20 h 24"/>
                <a:gd name="T58" fmla="*/ 8 w 20"/>
                <a:gd name="T59" fmla="*/ 20 h 24"/>
                <a:gd name="T60" fmla="*/ 6 w 20"/>
                <a:gd name="T61" fmla="*/ 18 h 24"/>
                <a:gd name="T62" fmla="*/ 5 w 20"/>
                <a:gd name="T63" fmla="*/ 16 h 24"/>
                <a:gd name="T64" fmla="*/ 4 w 20"/>
                <a:gd name="T65" fmla="*/ 13 h 24"/>
                <a:gd name="T66" fmla="*/ 18 w 20"/>
                <a:gd name="T67" fmla="*/ 13 h 24"/>
                <a:gd name="T68" fmla="*/ 19 w 20"/>
                <a:gd name="T69" fmla="*/ 12 h 24"/>
                <a:gd name="T70" fmla="*/ 20 w 20"/>
                <a:gd name="T71" fmla="*/ 11 h 24"/>
                <a:gd name="T72" fmla="*/ 20 w 20"/>
                <a:gd name="T73" fmla="*/ 10 h 24"/>
                <a:gd name="T74" fmla="*/ 4 w 20"/>
                <a:gd name="T75" fmla="*/ 10 h 24"/>
                <a:gd name="T76" fmla="*/ 5 w 20"/>
                <a:gd name="T77" fmla="*/ 8 h 24"/>
                <a:gd name="T78" fmla="*/ 6 w 20"/>
                <a:gd name="T79" fmla="*/ 5 h 24"/>
                <a:gd name="T80" fmla="*/ 8 w 20"/>
                <a:gd name="T81" fmla="*/ 4 h 24"/>
                <a:gd name="T82" fmla="*/ 10 w 20"/>
                <a:gd name="T83" fmla="*/ 3 h 24"/>
                <a:gd name="T84" fmla="*/ 14 w 20"/>
                <a:gd name="T85" fmla="*/ 5 h 24"/>
                <a:gd name="T86" fmla="*/ 16 w 20"/>
                <a:gd name="T87" fmla="*/ 10 h 24"/>
                <a:gd name="T88" fmla="*/ 4 w 20"/>
                <a:gd name="T89"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 h="24">
                  <a:moveTo>
                    <a:pt x="20" y="10"/>
                  </a:moveTo>
                  <a:cubicBezTo>
                    <a:pt x="20" y="9"/>
                    <a:pt x="19" y="8"/>
                    <a:pt x="19" y="7"/>
                  </a:cubicBezTo>
                  <a:cubicBezTo>
                    <a:pt x="19" y="5"/>
                    <a:pt x="18" y="4"/>
                    <a:pt x="17" y="3"/>
                  </a:cubicBezTo>
                  <a:cubicBezTo>
                    <a:pt x="17" y="2"/>
                    <a:pt x="16" y="2"/>
                    <a:pt x="15" y="1"/>
                  </a:cubicBezTo>
                  <a:cubicBezTo>
                    <a:pt x="13" y="1"/>
                    <a:pt x="12" y="0"/>
                    <a:pt x="10" y="0"/>
                  </a:cubicBezTo>
                  <a:cubicBezTo>
                    <a:pt x="9" y="0"/>
                    <a:pt x="7" y="1"/>
                    <a:pt x="6" y="1"/>
                  </a:cubicBezTo>
                  <a:cubicBezTo>
                    <a:pt x="5" y="2"/>
                    <a:pt x="4" y="3"/>
                    <a:pt x="3" y="4"/>
                  </a:cubicBezTo>
                  <a:cubicBezTo>
                    <a:pt x="2" y="5"/>
                    <a:pt x="1" y="6"/>
                    <a:pt x="1" y="7"/>
                  </a:cubicBezTo>
                  <a:cubicBezTo>
                    <a:pt x="0" y="9"/>
                    <a:pt x="0" y="10"/>
                    <a:pt x="0" y="12"/>
                  </a:cubicBezTo>
                  <a:cubicBezTo>
                    <a:pt x="0" y="14"/>
                    <a:pt x="0" y="16"/>
                    <a:pt x="1" y="17"/>
                  </a:cubicBezTo>
                  <a:cubicBezTo>
                    <a:pt x="1" y="19"/>
                    <a:pt x="2" y="20"/>
                    <a:pt x="3" y="21"/>
                  </a:cubicBezTo>
                  <a:cubicBezTo>
                    <a:pt x="4" y="22"/>
                    <a:pt x="5" y="22"/>
                    <a:pt x="6" y="23"/>
                  </a:cubicBezTo>
                  <a:cubicBezTo>
                    <a:pt x="8" y="23"/>
                    <a:pt x="9" y="24"/>
                    <a:pt x="11" y="24"/>
                  </a:cubicBezTo>
                  <a:cubicBezTo>
                    <a:pt x="12" y="24"/>
                    <a:pt x="13" y="24"/>
                    <a:pt x="14" y="23"/>
                  </a:cubicBezTo>
                  <a:cubicBezTo>
                    <a:pt x="15" y="23"/>
                    <a:pt x="15" y="23"/>
                    <a:pt x="16" y="23"/>
                  </a:cubicBezTo>
                  <a:cubicBezTo>
                    <a:pt x="17" y="23"/>
                    <a:pt x="17" y="23"/>
                    <a:pt x="18" y="22"/>
                  </a:cubicBezTo>
                  <a:cubicBezTo>
                    <a:pt x="18" y="22"/>
                    <a:pt x="18" y="22"/>
                    <a:pt x="18" y="22"/>
                  </a:cubicBezTo>
                  <a:cubicBezTo>
                    <a:pt x="18" y="22"/>
                    <a:pt x="19" y="22"/>
                    <a:pt x="19" y="22"/>
                  </a:cubicBezTo>
                  <a:cubicBezTo>
                    <a:pt x="19" y="22"/>
                    <a:pt x="19" y="21"/>
                    <a:pt x="19" y="21"/>
                  </a:cubicBezTo>
                  <a:cubicBezTo>
                    <a:pt x="19" y="21"/>
                    <a:pt x="19" y="21"/>
                    <a:pt x="19" y="21"/>
                  </a:cubicBezTo>
                  <a:cubicBezTo>
                    <a:pt x="19" y="21"/>
                    <a:pt x="19" y="21"/>
                    <a:pt x="19" y="20"/>
                  </a:cubicBezTo>
                  <a:cubicBezTo>
                    <a:pt x="19" y="20"/>
                    <a:pt x="19" y="20"/>
                    <a:pt x="19" y="20"/>
                  </a:cubicBezTo>
                  <a:cubicBezTo>
                    <a:pt x="19" y="19"/>
                    <a:pt x="19" y="19"/>
                    <a:pt x="19" y="19"/>
                  </a:cubicBezTo>
                  <a:cubicBezTo>
                    <a:pt x="19" y="19"/>
                    <a:pt x="19" y="19"/>
                    <a:pt x="18" y="19"/>
                  </a:cubicBezTo>
                  <a:cubicBezTo>
                    <a:pt x="18" y="19"/>
                    <a:pt x="18" y="19"/>
                    <a:pt x="18" y="19"/>
                  </a:cubicBezTo>
                  <a:cubicBezTo>
                    <a:pt x="18" y="19"/>
                    <a:pt x="18" y="19"/>
                    <a:pt x="17" y="19"/>
                  </a:cubicBezTo>
                  <a:cubicBezTo>
                    <a:pt x="17" y="19"/>
                    <a:pt x="16" y="19"/>
                    <a:pt x="16" y="20"/>
                  </a:cubicBezTo>
                  <a:cubicBezTo>
                    <a:pt x="15" y="20"/>
                    <a:pt x="15" y="20"/>
                    <a:pt x="14" y="20"/>
                  </a:cubicBezTo>
                  <a:cubicBezTo>
                    <a:pt x="13" y="20"/>
                    <a:pt x="12" y="20"/>
                    <a:pt x="11" y="20"/>
                  </a:cubicBezTo>
                  <a:cubicBezTo>
                    <a:pt x="10" y="20"/>
                    <a:pt x="9" y="20"/>
                    <a:pt x="8" y="20"/>
                  </a:cubicBezTo>
                  <a:cubicBezTo>
                    <a:pt x="7" y="20"/>
                    <a:pt x="6" y="19"/>
                    <a:pt x="6" y="18"/>
                  </a:cubicBezTo>
                  <a:cubicBezTo>
                    <a:pt x="5" y="18"/>
                    <a:pt x="5" y="17"/>
                    <a:pt x="5" y="16"/>
                  </a:cubicBezTo>
                  <a:cubicBezTo>
                    <a:pt x="4" y="15"/>
                    <a:pt x="4" y="14"/>
                    <a:pt x="4" y="13"/>
                  </a:cubicBezTo>
                  <a:cubicBezTo>
                    <a:pt x="18" y="13"/>
                    <a:pt x="18" y="13"/>
                    <a:pt x="18" y="13"/>
                  </a:cubicBezTo>
                  <a:cubicBezTo>
                    <a:pt x="19" y="13"/>
                    <a:pt x="19" y="13"/>
                    <a:pt x="19" y="12"/>
                  </a:cubicBezTo>
                  <a:cubicBezTo>
                    <a:pt x="20" y="12"/>
                    <a:pt x="20" y="12"/>
                    <a:pt x="20" y="11"/>
                  </a:cubicBezTo>
                  <a:cubicBezTo>
                    <a:pt x="20" y="10"/>
                    <a:pt x="20" y="10"/>
                    <a:pt x="20" y="10"/>
                  </a:cubicBezTo>
                  <a:close/>
                  <a:moveTo>
                    <a:pt x="4" y="10"/>
                  </a:moveTo>
                  <a:cubicBezTo>
                    <a:pt x="4" y="9"/>
                    <a:pt x="4" y="8"/>
                    <a:pt x="5" y="8"/>
                  </a:cubicBezTo>
                  <a:cubicBezTo>
                    <a:pt x="5" y="7"/>
                    <a:pt x="5" y="6"/>
                    <a:pt x="6" y="5"/>
                  </a:cubicBezTo>
                  <a:cubicBezTo>
                    <a:pt x="6" y="5"/>
                    <a:pt x="7" y="4"/>
                    <a:pt x="8" y="4"/>
                  </a:cubicBezTo>
                  <a:cubicBezTo>
                    <a:pt x="8" y="4"/>
                    <a:pt x="9" y="3"/>
                    <a:pt x="10" y="3"/>
                  </a:cubicBezTo>
                  <a:cubicBezTo>
                    <a:pt x="12" y="3"/>
                    <a:pt x="13" y="4"/>
                    <a:pt x="14" y="5"/>
                  </a:cubicBezTo>
                  <a:cubicBezTo>
                    <a:pt x="15" y="6"/>
                    <a:pt x="16" y="8"/>
                    <a:pt x="16" y="10"/>
                  </a:cubicBezTo>
                  <a:cubicBezTo>
                    <a:pt x="4" y="10"/>
                    <a:pt x="4" y="10"/>
                    <a:pt x="4" y="10"/>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75">
              <a:extLst>
                <a:ext uri="{FF2B5EF4-FFF2-40B4-BE49-F238E27FC236}">
                  <a16:creationId xmlns:a16="http://schemas.microsoft.com/office/drawing/2014/main" id="{7E59E0CA-9C54-491D-AF54-08ED72437F1F}"/>
                </a:ext>
              </a:extLst>
            </p:cNvPr>
            <p:cNvSpPr>
              <a:spLocks/>
            </p:cNvSpPr>
            <p:nvPr/>
          </p:nvSpPr>
          <p:spPr bwMode="auto">
            <a:xfrm>
              <a:off x="8707736" y="5301174"/>
              <a:ext cx="51945" cy="82247"/>
            </a:xfrm>
            <a:custGeom>
              <a:avLst/>
              <a:gdLst>
                <a:gd name="T0" fmla="*/ 14 w 15"/>
                <a:gd name="T1" fmla="*/ 15 h 24"/>
                <a:gd name="T2" fmla="*/ 13 w 15"/>
                <a:gd name="T3" fmla="*/ 13 h 24"/>
                <a:gd name="T4" fmla="*/ 11 w 15"/>
                <a:gd name="T5" fmla="*/ 12 h 24"/>
                <a:gd name="T6" fmla="*/ 9 w 15"/>
                <a:gd name="T7" fmla="*/ 11 h 24"/>
                <a:gd name="T8" fmla="*/ 7 w 15"/>
                <a:gd name="T9" fmla="*/ 10 h 24"/>
                <a:gd name="T10" fmla="*/ 6 w 15"/>
                <a:gd name="T11" fmla="*/ 9 h 24"/>
                <a:gd name="T12" fmla="*/ 5 w 15"/>
                <a:gd name="T13" fmla="*/ 8 h 24"/>
                <a:gd name="T14" fmla="*/ 4 w 15"/>
                <a:gd name="T15" fmla="*/ 6 h 24"/>
                <a:gd name="T16" fmla="*/ 4 w 15"/>
                <a:gd name="T17" fmla="*/ 5 h 24"/>
                <a:gd name="T18" fmla="*/ 5 w 15"/>
                <a:gd name="T19" fmla="*/ 4 h 24"/>
                <a:gd name="T20" fmla="*/ 6 w 15"/>
                <a:gd name="T21" fmla="*/ 4 h 24"/>
                <a:gd name="T22" fmla="*/ 8 w 15"/>
                <a:gd name="T23" fmla="*/ 3 h 24"/>
                <a:gd name="T24" fmla="*/ 10 w 15"/>
                <a:gd name="T25" fmla="*/ 4 h 24"/>
                <a:gd name="T26" fmla="*/ 11 w 15"/>
                <a:gd name="T27" fmla="*/ 4 h 24"/>
                <a:gd name="T28" fmla="*/ 12 w 15"/>
                <a:gd name="T29" fmla="*/ 5 h 24"/>
                <a:gd name="T30" fmla="*/ 13 w 15"/>
                <a:gd name="T31" fmla="*/ 5 h 24"/>
                <a:gd name="T32" fmla="*/ 13 w 15"/>
                <a:gd name="T33" fmla="*/ 5 h 24"/>
                <a:gd name="T34" fmla="*/ 14 w 15"/>
                <a:gd name="T35" fmla="*/ 5 h 24"/>
                <a:gd name="T36" fmla="*/ 14 w 15"/>
                <a:gd name="T37" fmla="*/ 4 h 24"/>
                <a:gd name="T38" fmla="*/ 14 w 15"/>
                <a:gd name="T39" fmla="*/ 4 h 24"/>
                <a:gd name="T40" fmla="*/ 14 w 15"/>
                <a:gd name="T41" fmla="*/ 3 h 24"/>
                <a:gd name="T42" fmla="*/ 14 w 15"/>
                <a:gd name="T43" fmla="*/ 2 h 24"/>
                <a:gd name="T44" fmla="*/ 13 w 15"/>
                <a:gd name="T45" fmla="*/ 2 h 24"/>
                <a:gd name="T46" fmla="*/ 13 w 15"/>
                <a:gd name="T47" fmla="*/ 2 h 24"/>
                <a:gd name="T48" fmla="*/ 12 w 15"/>
                <a:gd name="T49" fmla="*/ 1 h 24"/>
                <a:gd name="T50" fmla="*/ 11 w 15"/>
                <a:gd name="T51" fmla="*/ 1 h 24"/>
                <a:gd name="T52" fmla="*/ 10 w 15"/>
                <a:gd name="T53" fmla="*/ 1 h 24"/>
                <a:gd name="T54" fmla="*/ 8 w 15"/>
                <a:gd name="T55" fmla="*/ 0 h 24"/>
                <a:gd name="T56" fmla="*/ 5 w 15"/>
                <a:gd name="T57" fmla="*/ 1 h 24"/>
                <a:gd name="T58" fmla="*/ 2 w 15"/>
                <a:gd name="T59" fmla="*/ 2 h 24"/>
                <a:gd name="T60" fmla="*/ 1 w 15"/>
                <a:gd name="T61" fmla="*/ 4 h 24"/>
                <a:gd name="T62" fmla="*/ 0 w 15"/>
                <a:gd name="T63" fmla="*/ 7 h 24"/>
                <a:gd name="T64" fmla="*/ 1 w 15"/>
                <a:gd name="T65" fmla="*/ 9 h 24"/>
                <a:gd name="T66" fmla="*/ 2 w 15"/>
                <a:gd name="T67" fmla="*/ 11 h 24"/>
                <a:gd name="T68" fmla="*/ 4 w 15"/>
                <a:gd name="T69" fmla="*/ 12 h 24"/>
                <a:gd name="T70" fmla="*/ 6 w 15"/>
                <a:gd name="T71" fmla="*/ 13 h 24"/>
                <a:gd name="T72" fmla="*/ 8 w 15"/>
                <a:gd name="T73" fmla="*/ 14 h 24"/>
                <a:gd name="T74" fmla="*/ 9 w 15"/>
                <a:gd name="T75" fmla="*/ 15 h 24"/>
                <a:gd name="T76" fmla="*/ 11 w 15"/>
                <a:gd name="T77" fmla="*/ 16 h 24"/>
                <a:gd name="T78" fmla="*/ 11 w 15"/>
                <a:gd name="T79" fmla="*/ 17 h 24"/>
                <a:gd name="T80" fmla="*/ 11 w 15"/>
                <a:gd name="T81" fmla="*/ 19 h 24"/>
                <a:gd name="T82" fmla="*/ 10 w 15"/>
                <a:gd name="T83" fmla="*/ 20 h 24"/>
                <a:gd name="T84" fmla="*/ 8 w 15"/>
                <a:gd name="T85" fmla="*/ 20 h 24"/>
                <a:gd name="T86" fmla="*/ 7 w 15"/>
                <a:gd name="T87" fmla="*/ 21 h 24"/>
                <a:gd name="T88" fmla="*/ 4 w 15"/>
                <a:gd name="T89" fmla="*/ 20 h 24"/>
                <a:gd name="T90" fmla="*/ 3 w 15"/>
                <a:gd name="T91" fmla="*/ 20 h 24"/>
                <a:gd name="T92" fmla="*/ 1 w 15"/>
                <a:gd name="T93" fmla="*/ 19 h 24"/>
                <a:gd name="T94" fmla="*/ 1 w 15"/>
                <a:gd name="T95" fmla="*/ 19 h 24"/>
                <a:gd name="T96" fmla="*/ 0 w 15"/>
                <a:gd name="T97" fmla="*/ 19 h 24"/>
                <a:gd name="T98" fmla="*/ 0 w 15"/>
                <a:gd name="T99" fmla="*/ 19 h 24"/>
                <a:gd name="T100" fmla="*/ 0 w 15"/>
                <a:gd name="T101" fmla="*/ 19 h 24"/>
                <a:gd name="T102" fmla="*/ 0 w 15"/>
                <a:gd name="T103" fmla="*/ 20 h 24"/>
                <a:gd name="T104" fmla="*/ 0 w 15"/>
                <a:gd name="T105" fmla="*/ 21 h 24"/>
                <a:gd name="T106" fmla="*/ 0 w 15"/>
                <a:gd name="T107" fmla="*/ 22 h 24"/>
                <a:gd name="T108" fmla="*/ 1 w 15"/>
                <a:gd name="T109" fmla="*/ 22 h 24"/>
                <a:gd name="T110" fmla="*/ 3 w 15"/>
                <a:gd name="T111" fmla="*/ 23 h 24"/>
                <a:gd name="T112" fmla="*/ 4 w 15"/>
                <a:gd name="T113" fmla="*/ 23 h 24"/>
                <a:gd name="T114" fmla="*/ 7 w 15"/>
                <a:gd name="T115" fmla="*/ 24 h 24"/>
                <a:gd name="T116" fmla="*/ 10 w 15"/>
                <a:gd name="T117" fmla="*/ 23 h 24"/>
                <a:gd name="T118" fmla="*/ 12 w 15"/>
                <a:gd name="T119" fmla="*/ 22 h 24"/>
                <a:gd name="T120" fmla="*/ 14 w 15"/>
                <a:gd name="T121" fmla="*/ 20 h 24"/>
                <a:gd name="T122" fmla="*/ 15 w 15"/>
                <a:gd name="T123" fmla="*/ 17 h 24"/>
                <a:gd name="T124" fmla="*/ 14 w 15"/>
                <a:gd name="T125"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4">
                  <a:moveTo>
                    <a:pt x="14" y="15"/>
                  </a:moveTo>
                  <a:cubicBezTo>
                    <a:pt x="14" y="14"/>
                    <a:pt x="14" y="13"/>
                    <a:pt x="13" y="13"/>
                  </a:cubicBezTo>
                  <a:cubicBezTo>
                    <a:pt x="13" y="12"/>
                    <a:pt x="12" y="12"/>
                    <a:pt x="11" y="12"/>
                  </a:cubicBezTo>
                  <a:cubicBezTo>
                    <a:pt x="11" y="11"/>
                    <a:pt x="10" y="11"/>
                    <a:pt x="9" y="11"/>
                  </a:cubicBezTo>
                  <a:cubicBezTo>
                    <a:pt x="9" y="10"/>
                    <a:pt x="8" y="10"/>
                    <a:pt x="7" y="10"/>
                  </a:cubicBezTo>
                  <a:cubicBezTo>
                    <a:pt x="7" y="10"/>
                    <a:pt x="6" y="9"/>
                    <a:pt x="6" y="9"/>
                  </a:cubicBezTo>
                  <a:cubicBezTo>
                    <a:pt x="5" y="9"/>
                    <a:pt x="5" y="8"/>
                    <a:pt x="5" y="8"/>
                  </a:cubicBezTo>
                  <a:cubicBezTo>
                    <a:pt x="4" y="8"/>
                    <a:pt x="4" y="7"/>
                    <a:pt x="4" y="6"/>
                  </a:cubicBezTo>
                  <a:cubicBezTo>
                    <a:pt x="4" y="6"/>
                    <a:pt x="4" y="6"/>
                    <a:pt x="4" y="5"/>
                  </a:cubicBezTo>
                  <a:cubicBezTo>
                    <a:pt x="4" y="5"/>
                    <a:pt x="5" y="5"/>
                    <a:pt x="5" y="4"/>
                  </a:cubicBezTo>
                  <a:cubicBezTo>
                    <a:pt x="5" y="4"/>
                    <a:pt x="6" y="4"/>
                    <a:pt x="6" y="4"/>
                  </a:cubicBezTo>
                  <a:cubicBezTo>
                    <a:pt x="7" y="4"/>
                    <a:pt x="7" y="3"/>
                    <a:pt x="8" y="3"/>
                  </a:cubicBezTo>
                  <a:cubicBezTo>
                    <a:pt x="9" y="3"/>
                    <a:pt x="9" y="4"/>
                    <a:pt x="10" y="4"/>
                  </a:cubicBezTo>
                  <a:cubicBezTo>
                    <a:pt x="11" y="4"/>
                    <a:pt x="11" y="4"/>
                    <a:pt x="11" y="4"/>
                  </a:cubicBezTo>
                  <a:cubicBezTo>
                    <a:pt x="12" y="4"/>
                    <a:pt x="12" y="5"/>
                    <a:pt x="12" y="5"/>
                  </a:cubicBezTo>
                  <a:cubicBezTo>
                    <a:pt x="13" y="5"/>
                    <a:pt x="13" y="5"/>
                    <a:pt x="13" y="5"/>
                  </a:cubicBezTo>
                  <a:cubicBezTo>
                    <a:pt x="13" y="5"/>
                    <a:pt x="13" y="5"/>
                    <a:pt x="13" y="5"/>
                  </a:cubicBezTo>
                  <a:cubicBezTo>
                    <a:pt x="13" y="5"/>
                    <a:pt x="14" y="5"/>
                    <a:pt x="14" y="5"/>
                  </a:cubicBezTo>
                  <a:cubicBezTo>
                    <a:pt x="14" y="5"/>
                    <a:pt x="14" y="4"/>
                    <a:pt x="14" y="4"/>
                  </a:cubicBezTo>
                  <a:cubicBezTo>
                    <a:pt x="14" y="4"/>
                    <a:pt x="14" y="4"/>
                    <a:pt x="14" y="4"/>
                  </a:cubicBezTo>
                  <a:cubicBezTo>
                    <a:pt x="14" y="3"/>
                    <a:pt x="14" y="3"/>
                    <a:pt x="14" y="3"/>
                  </a:cubicBezTo>
                  <a:cubicBezTo>
                    <a:pt x="14" y="3"/>
                    <a:pt x="14" y="3"/>
                    <a:pt x="14" y="2"/>
                  </a:cubicBezTo>
                  <a:cubicBezTo>
                    <a:pt x="14" y="2"/>
                    <a:pt x="14" y="2"/>
                    <a:pt x="13" y="2"/>
                  </a:cubicBezTo>
                  <a:cubicBezTo>
                    <a:pt x="13" y="2"/>
                    <a:pt x="13" y="2"/>
                    <a:pt x="13" y="2"/>
                  </a:cubicBezTo>
                  <a:cubicBezTo>
                    <a:pt x="13" y="2"/>
                    <a:pt x="13" y="2"/>
                    <a:pt x="12" y="1"/>
                  </a:cubicBezTo>
                  <a:cubicBezTo>
                    <a:pt x="12" y="1"/>
                    <a:pt x="12" y="1"/>
                    <a:pt x="11" y="1"/>
                  </a:cubicBezTo>
                  <a:cubicBezTo>
                    <a:pt x="11" y="1"/>
                    <a:pt x="10" y="1"/>
                    <a:pt x="10" y="1"/>
                  </a:cubicBezTo>
                  <a:cubicBezTo>
                    <a:pt x="9" y="0"/>
                    <a:pt x="9" y="0"/>
                    <a:pt x="8" y="0"/>
                  </a:cubicBezTo>
                  <a:cubicBezTo>
                    <a:pt x="7" y="0"/>
                    <a:pt x="6" y="1"/>
                    <a:pt x="5" y="1"/>
                  </a:cubicBezTo>
                  <a:cubicBezTo>
                    <a:pt x="4" y="1"/>
                    <a:pt x="3" y="2"/>
                    <a:pt x="2" y="2"/>
                  </a:cubicBezTo>
                  <a:cubicBezTo>
                    <a:pt x="2" y="3"/>
                    <a:pt x="1" y="4"/>
                    <a:pt x="1" y="4"/>
                  </a:cubicBezTo>
                  <a:cubicBezTo>
                    <a:pt x="1" y="5"/>
                    <a:pt x="0" y="6"/>
                    <a:pt x="0" y="7"/>
                  </a:cubicBezTo>
                  <a:cubicBezTo>
                    <a:pt x="0" y="8"/>
                    <a:pt x="1" y="8"/>
                    <a:pt x="1" y="9"/>
                  </a:cubicBezTo>
                  <a:cubicBezTo>
                    <a:pt x="1" y="10"/>
                    <a:pt x="2" y="10"/>
                    <a:pt x="2" y="11"/>
                  </a:cubicBezTo>
                  <a:cubicBezTo>
                    <a:pt x="3" y="11"/>
                    <a:pt x="3" y="12"/>
                    <a:pt x="4" y="12"/>
                  </a:cubicBezTo>
                  <a:cubicBezTo>
                    <a:pt x="4" y="12"/>
                    <a:pt x="5" y="13"/>
                    <a:pt x="6" y="13"/>
                  </a:cubicBezTo>
                  <a:cubicBezTo>
                    <a:pt x="6" y="13"/>
                    <a:pt x="7" y="14"/>
                    <a:pt x="8" y="14"/>
                  </a:cubicBezTo>
                  <a:cubicBezTo>
                    <a:pt x="8" y="14"/>
                    <a:pt x="9" y="14"/>
                    <a:pt x="9" y="15"/>
                  </a:cubicBezTo>
                  <a:cubicBezTo>
                    <a:pt x="10" y="15"/>
                    <a:pt x="10" y="15"/>
                    <a:pt x="11" y="16"/>
                  </a:cubicBezTo>
                  <a:cubicBezTo>
                    <a:pt x="11" y="16"/>
                    <a:pt x="11" y="17"/>
                    <a:pt x="11" y="17"/>
                  </a:cubicBezTo>
                  <a:cubicBezTo>
                    <a:pt x="11" y="18"/>
                    <a:pt x="11" y="18"/>
                    <a:pt x="11" y="19"/>
                  </a:cubicBezTo>
                  <a:cubicBezTo>
                    <a:pt x="10" y="19"/>
                    <a:pt x="10" y="19"/>
                    <a:pt x="10" y="20"/>
                  </a:cubicBezTo>
                  <a:cubicBezTo>
                    <a:pt x="9" y="20"/>
                    <a:pt x="9" y="20"/>
                    <a:pt x="8" y="20"/>
                  </a:cubicBezTo>
                  <a:cubicBezTo>
                    <a:pt x="8" y="20"/>
                    <a:pt x="7" y="21"/>
                    <a:pt x="7" y="21"/>
                  </a:cubicBezTo>
                  <a:cubicBezTo>
                    <a:pt x="6" y="21"/>
                    <a:pt x="5" y="20"/>
                    <a:pt x="4" y="20"/>
                  </a:cubicBezTo>
                  <a:cubicBezTo>
                    <a:pt x="4" y="20"/>
                    <a:pt x="3" y="20"/>
                    <a:pt x="3" y="20"/>
                  </a:cubicBezTo>
                  <a:cubicBezTo>
                    <a:pt x="2" y="19"/>
                    <a:pt x="2" y="19"/>
                    <a:pt x="1" y="19"/>
                  </a:cubicBezTo>
                  <a:cubicBezTo>
                    <a:pt x="1" y="19"/>
                    <a:pt x="1" y="19"/>
                    <a:pt x="1" y="19"/>
                  </a:cubicBezTo>
                  <a:cubicBezTo>
                    <a:pt x="0" y="19"/>
                    <a:pt x="0" y="19"/>
                    <a:pt x="0" y="19"/>
                  </a:cubicBezTo>
                  <a:cubicBezTo>
                    <a:pt x="0" y="19"/>
                    <a:pt x="0" y="19"/>
                    <a:pt x="0" y="19"/>
                  </a:cubicBezTo>
                  <a:cubicBezTo>
                    <a:pt x="0" y="19"/>
                    <a:pt x="0" y="19"/>
                    <a:pt x="0" y="19"/>
                  </a:cubicBezTo>
                  <a:cubicBezTo>
                    <a:pt x="0" y="20"/>
                    <a:pt x="0" y="20"/>
                    <a:pt x="0" y="20"/>
                  </a:cubicBezTo>
                  <a:cubicBezTo>
                    <a:pt x="0" y="21"/>
                    <a:pt x="0" y="21"/>
                    <a:pt x="0" y="21"/>
                  </a:cubicBezTo>
                  <a:cubicBezTo>
                    <a:pt x="0" y="22"/>
                    <a:pt x="0" y="22"/>
                    <a:pt x="0" y="22"/>
                  </a:cubicBezTo>
                  <a:cubicBezTo>
                    <a:pt x="1" y="22"/>
                    <a:pt x="1" y="22"/>
                    <a:pt x="1" y="22"/>
                  </a:cubicBezTo>
                  <a:cubicBezTo>
                    <a:pt x="2" y="23"/>
                    <a:pt x="2" y="23"/>
                    <a:pt x="3" y="23"/>
                  </a:cubicBezTo>
                  <a:cubicBezTo>
                    <a:pt x="3" y="23"/>
                    <a:pt x="4" y="23"/>
                    <a:pt x="4" y="23"/>
                  </a:cubicBezTo>
                  <a:cubicBezTo>
                    <a:pt x="5" y="24"/>
                    <a:pt x="6" y="24"/>
                    <a:pt x="7" y="24"/>
                  </a:cubicBezTo>
                  <a:cubicBezTo>
                    <a:pt x="8" y="24"/>
                    <a:pt x="9" y="23"/>
                    <a:pt x="10" y="23"/>
                  </a:cubicBezTo>
                  <a:cubicBezTo>
                    <a:pt x="11" y="23"/>
                    <a:pt x="12" y="22"/>
                    <a:pt x="12" y="22"/>
                  </a:cubicBezTo>
                  <a:cubicBezTo>
                    <a:pt x="13" y="21"/>
                    <a:pt x="14" y="21"/>
                    <a:pt x="14" y="20"/>
                  </a:cubicBezTo>
                  <a:cubicBezTo>
                    <a:pt x="15" y="19"/>
                    <a:pt x="15" y="18"/>
                    <a:pt x="15" y="17"/>
                  </a:cubicBezTo>
                  <a:cubicBezTo>
                    <a:pt x="15" y="16"/>
                    <a:pt x="15" y="15"/>
                    <a:pt x="14" y="15"/>
                  </a:cubicBezTo>
                  <a:close/>
                </a:path>
              </a:pathLst>
            </a:custGeom>
            <a:solidFill>
              <a:srgbClr val="6061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54" name="Group 253">
              <a:extLst>
                <a:ext uri="{FF2B5EF4-FFF2-40B4-BE49-F238E27FC236}">
                  <a16:creationId xmlns:a16="http://schemas.microsoft.com/office/drawing/2014/main" id="{60275188-58C8-411A-BD37-C5AD6E0F40A3}"/>
                </a:ext>
              </a:extLst>
            </p:cNvPr>
            <p:cNvGrpSpPr/>
            <p:nvPr/>
          </p:nvGrpSpPr>
          <p:grpSpPr>
            <a:xfrm>
              <a:off x="2357348" y="2710676"/>
              <a:ext cx="576497" cy="576497"/>
              <a:chOff x="522151" y="1680649"/>
              <a:chExt cx="634264" cy="634264"/>
            </a:xfrm>
          </p:grpSpPr>
          <p:sp>
            <p:nvSpPr>
              <p:cNvPr id="274" name="Oval 273">
                <a:extLst>
                  <a:ext uri="{FF2B5EF4-FFF2-40B4-BE49-F238E27FC236}">
                    <a16:creationId xmlns:a16="http://schemas.microsoft.com/office/drawing/2014/main" id="{97FDE7AA-6C8F-4C7C-9350-B8150417C576}"/>
                  </a:ext>
                </a:extLst>
              </p:cNvPr>
              <p:cNvSpPr/>
              <p:nvPr/>
            </p:nvSpPr>
            <p:spPr>
              <a:xfrm>
                <a:off x="522151" y="1680649"/>
                <a:ext cx="634264" cy="634264"/>
              </a:xfrm>
              <a:prstGeom prst="ellipse">
                <a:avLst/>
              </a:prstGeom>
              <a:solidFill>
                <a:srgbClr val="1E3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75" name="Picture 274">
                <a:extLst>
                  <a:ext uri="{FF2B5EF4-FFF2-40B4-BE49-F238E27FC236}">
                    <a16:creationId xmlns:a16="http://schemas.microsoft.com/office/drawing/2014/main" id="{E1F10F31-86EC-4180-9463-AE3D623CF9F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7910" y="1806408"/>
                <a:ext cx="382746" cy="382746"/>
              </a:xfrm>
              <a:prstGeom prst="rect">
                <a:avLst/>
              </a:prstGeom>
            </p:spPr>
          </p:pic>
        </p:grpSp>
        <p:grpSp>
          <p:nvGrpSpPr>
            <p:cNvPr id="255" name="Group 254">
              <a:extLst>
                <a:ext uri="{FF2B5EF4-FFF2-40B4-BE49-F238E27FC236}">
                  <a16:creationId xmlns:a16="http://schemas.microsoft.com/office/drawing/2014/main" id="{A6DFC884-E61C-490A-B1F4-E9711BA92029}"/>
                </a:ext>
              </a:extLst>
            </p:cNvPr>
            <p:cNvGrpSpPr/>
            <p:nvPr/>
          </p:nvGrpSpPr>
          <p:grpSpPr>
            <a:xfrm>
              <a:off x="2357348" y="4442438"/>
              <a:ext cx="576497" cy="576497"/>
              <a:chOff x="170681" y="3457480"/>
              <a:chExt cx="634264" cy="634264"/>
            </a:xfrm>
          </p:grpSpPr>
          <p:sp>
            <p:nvSpPr>
              <p:cNvPr id="272" name="Oval 271">
                <a:extLst>
                  <a:ext uri="{FF2B5EF4-FFF2-40B4-BE49-F238E27FC236}">
                    <a16:creationId xmlns:a16="http://schemas.microsoft.com/office/drawing/2014/main" id="{C8EF55FE-DC52-426D-972E-E8D6961AC8A0}"/>
                  </a:ext>
                </a:extLst>
              </p:cNvPr>
              <p:cNvSpPr/>
              <p:nvPr/>
            </p:nvSpPr>
            <p:spPr>
              <a:xfrm>
                <a:off x="170681" y="3457480"/>
                <a:ext cx="634264" cy="634264"/>
              </a:xfrm>
              <a:prstGeom prst="ellipse">
                <a:avLst/>
              </a:prstGeom>
              <a:solidFill>
                <a:srgbClr val="7E2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73" name="Picture 272">
                <a:extLst>
                  <a:ext uri="{FF2B5EF4-FFF2-40B4-BE49-F238E27FC236}">
                    <a16:creationId xmlns:a16="http://schemas.microsoft.com/office/drawing/2014/main" id="{5DF0032A-2516-497B-B6C8-2FBFEE5C66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6495" y="3541764"/>
                <a:ext cx="462637" cy="462637"/>
              </a:xfrm>
              <a:prstGeom prst="rect">
                <a:avLst/>
              </a:prstGeom>
            </p:spPr>
          </p:pic>
        </p:grpSp>
        <p:grpSp>
          <p:nvGrpSpPr>
            <p:cNvPr id="256" name="Group 255">
              <a:extLst>
                <a:ext uri="{FF2B5EF4-FFF2-40B4-BE49-F238E27FC236}">
                  <a16:creationId xmlns:a16="http://schemas.microsoft.com/office/drawing/2014/main" id="{ADDBACEF-3FE4-4AFB-B1C4-713004E2D740}"/>
                </a:ext>
              </a:extLst>
            </p:cNvPr>
            <p:cNvGrpSpPr/>
            <p:nvPr/>
          </p:nvGrpSpPr>
          <p:grpSpPr>
            <a:xfrm>
              <a:off x="2357348" y="5837382"/>
              <a:ext cx="576497" cy="576497"/>
              <a:chOff x="170681" y="5120664"/>
              <a:chExt cx="634264" cy="634264"/>
            </a:xfrm>
          </p:grpSpPr>
          <p:sp>
            <p:nvSpPr>
              <p:cNvPr id="270" name="Oval 269">
                <a:extLst>
                  <a:ext uri="{FF2B5EF4-FFF2-40B4-BE49-F238E27FC236}">
                    <a16:creationId xmlns:a16="http://schemas.microsoft.com/office/drawing/2014/main" id="{FD39C109-6379-43A0-9965-F892DC2ED973}"/>
                  </a:ext>
                </a:extLst>
              </p:cNvPr>
              <p:cNvSpPr/>
              <p:nvPr/>
            </p:nvSpPr>
            <p:spPr>
              <a:xfrm>
                <a:off x="170681" y="5120664"/>
                <a:ext cx="634264" cy="634264"/>
              </a:xfrm>
              <a:prstGeom prst="ellipse">
                <a:avLst/>
              </a:prstGeom>
              <a:solidFill>
                <a:srgbClr val="21B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71" name="Picture 270">
                <a:extLst>
                  <a:ext uri="{FF2B5EF4-FFF2-40B4-BE49-F238E27FC236}">
                    <a16:creationId xmlns:a16="http://schemas.microsoft.com/office/drawing/2014/main" id="{9F0C2467-D13C-4E1C-B43B-C19C6F7775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2933" y="5211577"/>
                <a:ext cx="389760" cy="389760"/>
              </a:xfrm>
              <a:prstGeom prst="rect">
                <a:avLst/>
              </a:prstGeom>
            </p:spPr>
          </p:pic>
        </p:grpSp>
        <p:grpSp>
          <p:nvGrpSpPr>
            <p:cNvPr id="257" name="Group 256">
              <a:extLst>
                <a:ext uri="{FF2B5EF4-FFF2-40B4-BE49-F238E27FC236}">
                  <a16:creationId xmlns:a16="http://schemas.microsoft.com/office/drawing/2014/main" id="{3F6BD3A4-0120-4B86-87D8-8C52137D4CE8}"/>
                </a:ext>
              </a:extLst>
            </p:cNvPr>
            <p:cNvGrpSpPr/>
            <p:nvPr/>
          </p:nvGrpSpPr>
          <p:grpSpPr>
            <a:xfrm>
              <a:off x="2357348" y="835477"/>
              <a:ext cx="7488390" cy="1187957"/>
              <a:chOff x="2357348" y="835477"/>
              <a:chExt cx="7488390" cy="1187957"/>
            </a:xfrm>
          </p:grpSpPr>
          <p:sp>
            <p:nvSpPr>
              <p:cNvPr id="258" name="Freeform 121">
                <a:extLst>
                  <a:ext uri="{FF2B5EF4-FFF2-40B4-BE49-F238E27FC236}">
                    <a16:creationId xmlns:a16="http://schemas.microsoft.com/office/drawing/2014/main" id="{9E045DAC-5D9C-4F28-ABBB-7564DCC6E291}"/>
                  </a:ext>
                </a:extLst>
              </p:cNvPr>
              <p:cNvSpPr>
                <a:spLocks/>
              </p:cNvSpPr>
              <p:nvPr/>
            </p:nvSpPr>
            <p:spPr bwMode="auto">
              <a:xfrm>
                <a:off x="4733738" y="853166"/>
                <a:ext cx="5112000" cy="323845"/>
              </a:xfrm>
              <a:custGeom>
                <a:avLst/>
                <a:gdLst>
                  <a:gd name="T0" fmla="*/ 3 w 1493"/>
                  <a:gd name="T1" fmla="*/ 18 h 95"/>
                  <a:gd name="T2" fmla="*/ 6 w 1493"/>
                  <a:gd name="T3" fmla="*/ 18 h 95"/>
                  <a:gd name="T4" fmla="*/ 18 w 1493"/>
                  <a:gd name="T5" fmla="*/ 6 h 95"/>
                  <a:gd name="T6" fmla="*/ 1475 w 1493"/>
                  <a:gd name="T7" fmla="*/ 6 h 95"/>
                  <a:gd name="T8" fmla="*/ 1487 w 1493"/>
                  <a:gd name="T9" fmla="*/ 18 h 95"/>
                  <a:gd name="T10" fmla="*/ 1487 w 1493"/>
                  <a:gd name="T11" fmla="*/ 78 h 95"/>
                  <a:gd name="T12" fmla="*/ 1475 w 1493"/>
                  <a:gd name="T13" fmla="*/ 89 h 95"/>
                  <a:gd name="T14" fmla="*/ 18 w 1493"/>
                  <a:gd name="T15" fmla="*/ 89 h 95"/>
                  <a:gd name="T16" fmla="*/ 6 w 1493"/>
                  <a:gd name="T17" fmla="*/ 78 h 95"/>
                  <a:gd name="T18" fmla="*/ 6 w 1493"/>
                  <a:gd name="T19" fmla="*/ 18 h 95"/>
                  <a:gd name="T20" fmla="*/ 3 w 1493"/>
                  <a:gd name="T21" fmla="*/ 18 h 95"/>
                  <a:gd name="T22" fmla="*/ 0 w 1493"/>
                  <a:gd name="T23" fmla="*/ 18 h 95"/>
                  <a:gd name="T24" fmla="*/ 0 w 1493"/>
                  <a:gd name="T25" fmla="*/ 78 h 95"/>
                  <a:gd name="T26" fmla="*/ 18 w 1493"/>
                  <a:gd name="T27" fmla="*/ 95 h 95"/>
                  <a:gd name="T28" fmla="*/ 1475 w 1493"/>
                  <a:gd name="T29" fmla="*/ 95 h 95"/>
                  <a:gd name="T30" fmla="*/ 1493 w 1493"/>
                  <a:gd name="T31" fmla="*/ 78 h 95"/>
                  <a:gd name="T32" fmla="*/ 1493 w 1493"/>
                  <a:gd name="T33" fmla="*/ 18 h 95"/>
                  <a:gd name="T34" fmla="*/ 1475 w 1493"/>
                  <a:gd name="T35" fmla="*/ 0 h 95"/>
                  <a:gd name="T36" fmla="*/ 18 w 1493"/>
                  <a:gd name="T37" fmla="*/ 0 h 95"/>
                  <a:gd name="T38" fmla="*/ 0 w 1493"/>
                  <a:gd name="T39" fmla="*/ 18 h 95"/>
                  <a:gd name="T40" fmla="*/ 3 w 1493"/>
                  <a:gd name="T4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3" h="95">
                    <a:moveTo>
                      <a:pt x="3" y="18"/>
                    </a:moveTo>
                    <a:cubicBezTo>
                      <a:pt x="6" y="18"/>
                      <a:pt x="6" y="18"/>
                      <a:pt x="6" y="18"/>
                    </a:cubicBezTo>
                    <a:cubicBezTo>
                      <a:pt x="6" y="11"/>
                      <a:pt x="12" y="6"/>
                      <a:pt x="18" y="6"/>
                    </a:cubicBezTo>
                    <a:cubicBezTo>
                      <a:pt x="1475" y="6"/>
                      <a:pt x="1475" y="6"/>
                      <a:pt x="1475" y="6"/>
                    </a:cubicBezTo>
                    <a:cubicBezTo>
                      <a:pt x="1482" y="6"/>
                      <a:pt x="1487" y="11"/>
                      <a:pt x="1487" y="18"/>
                    </a:cubicBezTo>
                    <a:cubicBezTo>
                      <a:pt x="1487" y="78"/>
                      <a:pt x="1487" y="78"/>
                      <a:pt x="1487" y="78"/>
                    </a:cubicBezTo>
                    <a:cubicBezTo>
                      <a:pt x="1487" y="84"/>
                      <a:pt x="1482" y="89"/>
                      <a:pt x="1475" y="89"/>
                    </a:cubicBezTo>
                    <a:cubicBezTo>
                      <a:pt x="18" y="89"/>
                      <a:pt x="18" y="89"/>
                      <a:pt x="18" y="89"/>
                    </a:cubicBezTo>
                    <a:cubicBezTo>
                      <a:pt x="12" y="89"/>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7"/>
                      <a:pt x="8" y="95"/>
                      <a:pt x="18" y="95"/>
                    </a:cubicBezTo>
                    <a:cubicBezTo>
                      <a:pt x="1475" y="95"/>
                      <a:pt x="1475" y="95"/>
                      <a:pt x="1475" y="95"/>
                    </a:cubicBezTo>
                    <a:cubicBezTo>
                      <a:pt x="1485" y="95"/>
                      <a:pt x="1493" y="87"/>
                      <a:pt x="1493" y="78"/>
                    </a:cubicBezTo>
                    <a:cubicBezTo>
                      <a:pt x="1493" y="18"/>
                      <a:pt x="1493" y="18"/>
                      <a:pt x="1493" y="18"/>
                    </a:cubicBezTo>
                    <a:cubicBezTo>
                      <a:pt x="1493" y="8"/>
                      <a:pt x="1485" y="0"/>
                      <a:pt x="1475" y="0"/>
                    </a:cubicBezTo>
                    <a:cubicBezTo>
                      <a:pt x="18" y="0"/>
                      <a:pt x="18" y="0"/>
                      <a:pt x="18" y="0"/>
                    </a:cubicBezTo>
                    <a:cubicBezTo>
                      <a:pt x="8" y="0"/>
                      <a:pt x="0" y="8"/>
                      <a:pt x="0" y="18"/>
                    </a:cubicBezTo>
                    <a:lnTo>
                      <a:pt x="3" y="18"/>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123">
                <a:extLst>
                  <a:ext uri="{FF2B5EF4-FFF2-40B4-BE49-F238E27FC236}">
                    <a16:creationId xmlns:a16="http://schemas.microsoft.com/office/drawing/2014/main" id="{99B17593-48B2-4BAC-9E73-D3D43883D889}"/>
                  </a:ext>
                </a:extLst>
              </p:cNvPr>
              <p:cNvSpPr>
                <a:spLocks/>
              </p:cNvSpPr>
              <p:nvPr/>
            </p:nvSpPr>
            <p:spPr bwMode="auto">
              <a:xfrm>
                <a:off x="4733738" y="1666377"/>
                <a:ext cx="5112000" cy="325284"/>
              </a:xfrm>
              <a:custGeom>
                <a:avLst/>
                <a:gdLst>
                  <a:gd name="T0" fmla="*/ 3 w 1493"/>
                  <a:gd name="T1" fmla="*/ 18 h 95"/>
                  <a:gd name="T2" fmla="*/ 6 w 1493"/>
                  <a:gd name="T3" fmla="*/ 18 h 95"/>
                  <a:gd name="T4" fmla="*/ 18 w 1493"/>
                  <a:gd name="T5" fmla="*/ 6 h 95"/>
                  <a:gd name="T6" fmla="*/ 1475 w 1493"/>
                  <a:gd name="T7" fmla="*/ 6 h 95"/>
                  <a:gd name="T8" fmla="*/ 1487 w 1493"/>
                  <a:gd name="T9" fmla="*/ 18 h 95"/>
                  <a:gd name="T10" fmla="*/ 1487 w 1493"/>
                  <a:gd name="T11" fmla="*/ 77 h 95"/>
                  <a:gd name="T12" fmla="*/ 1475 w 1493"/>
                  <a:gd name="T13" fmla="*/ 89 h 95"/>
                  <a:gd name="T14" fmla="*/ 18 w 1493"/>
                  <a:gd name="T15" fmla="*/ 89 h 95"/>
                  <a:gd name="T16" fmla="*/ 6 w 1493"/>
                  <a:gd name="T17" fmla="*/ 77 h 95"/>
                  <a:gd name="T18" fmla="*/ 6 w 1493"/>
                  <a:gd name="T19" fmla="*/ 18 h 95"/>
                  <a:gd name="T20" fmla="*/ 3 w 1493"/>
                  <a:gd name="T21" fmla="*/ 18 h 95"/>
                  <a:gd name="T22" fmla="*/ 0 w 1493"/>
                  <a:gd name="T23" fmla="*/ 18 h 95"/>
                  <a:gd name="T24" fmla="*/ 0 w 1493"/>
                  <a:gd name="T25" fmla="*/ 77 h 95"/>
                  <a:gd name="T26" fmla="*/ 18 w 1493"/>
                  <a:gd name="T27" fmla="*/ 95 h 95"/>
                  <a:gd name="T28" fmla="*/ 1475 w 1493"/>
                  <a:gd name="T29" fmla="*/ 95 h 95"/>
                  <a:gd name="T30" fmla="*/ 1493 w 1493"/>
                  <a:gd name="T31" fmla="*/ 77 h 95"/>
                  <a:gd name="T32" fmla="*/ 1493 w 1493"/>
                  <a:gd name="T33" fmla="*/ 18 h 95"/>
                  <a:gd name="T34" fmla="*/ 1475 w 1493"/>
                  <a:gd name="T35" fmla="*/ 0 h 95"/>
                  <a:gd name="T36" fmla="*/ 18 w 1493"/>
                  <a:gd name="T37" fmla="*/ 0 h 95"/>
                  <a:gd name="T38" fmla="*/ 0 w 1493"/>
                  <a:gd name="T39" fmla="*/ 18 h 95"/>
                  <a:gd name="T40" fmla="*/ 3 w 1493"/>
                  <a:gd name="T4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3" h="95">
                    <a:moveTo>
                      <a:pt x="3" y="18"/>
                    </a:moveTo>
                    <a:cubicBezTo>
                      <a:pt x="6" y="18"/>
                      <a:pt x="6" y="18"/>
                      <a:pt x="6" y="18"/>
                    </a:cubicBezTo>
                    <a:cubicBezTo>
                      <a:pt x="6" y="11"/>
                      <a:pt x="12" y="6"/>
                      <a:pt x="18" y="6"/>
                    </a:cubicBezTo>
                    <a:cubicBezTo>
                      <a:pt x="1475" y="6"/>
                      <a:pt x="1475" y="6"/>
                      <a:pt x="1475" y="6"/>
                    </a:cubicBezTo>
                    <a:cubicBezTo>
                      <a:pt x="1482" y="6"/>
                      <a:pt x="1487" y="11"/>
                      <a:pt x="1487" y="18"/>
                    </a:cubicBezTo>
                    <a:cubicBezTo>
                      <a:pt x="1487" y="77"/>
                      <a:pt x="1487" y="77"/>
                      <a:pt x="1487" y="77"/>
                    </a:cubicBezTo>
                    <a:cubicBezTo>
                      <a:pt x="1487" y="84"/>
                      <a:pt x="1482" y="89"/>
                      <a:pt x="1475" y="89"/>
                    </a:cubicBezTo>
                    <a:cubicBezTo>
                      <a:pt x="18" y="89"/>
                      <a:pt x="18" y="89"/>
                      <a:pt x="18" y="89"/>
                    </a:cubicBezTo>
                    <a:cubicBezTo>
                      <a:pt x="12" y="89"/>
                      <a:pt x="6" y="84"/>
                      <a:pt x="6" y="77"/>
                    </a:cubicBezTo>
                    <a:cubicBezTo>
                      <a:pt x="6" y="18"/>
                      <a:pt x="6" y="18"/>
                      <a:pt x="6" y="18"/>
                    </a:cubicBezTo>
                    <a:cubicBezTo>
                      <a:pt x="3" y="18"/>
                      <a:pt x="3" y="18"/>
                      <a:pt x="3" y="18"/>
                    </a:cubicBezTo>
                    <a:cubicBezTo>
                      <a:pt x="0" y="18"/>
                      <a:pt x="0" y="18"/>
                      <a:pt x="0" y="18"/>
                    </a:cubicBezTo>
                    <a:cubicBezTo>
                      <a:pt x="0" y="77"/>
                      <a:pt x="0" y="77"/>
                      <a:pt x="0" y="77"/>
                    </a:cubicBezTo>
                    <a:cubicBezTo>
                      <a:pt x="0" y="87"/>
                      <a:pt x="8" y="95"/>
                      <a:pt x="18" y="95"/>
                    </a:cubicBezTo>
                    <a:cubicBezTo>
                      <a:pt x="1475" y="95"/>
                      <a:pt x="1475" y="95"/>
                      <a:pt x="1475" y="95"/>
                    </a:cubicBezTo>
                    <a:cubicBezTo>
                      <a:pt x="1485" y="95"/>
                      <a:pt x="1493" y="87"/>
                      <a:pt x="1493" y="77"/>
                    </a:cubicBezTo>
                    <a:cubicBezTo>
                      <a:pt x="1493" y="18"/>
                      <a:pt x="1493" y="18"/>
                      <a:pt x="1493" y="18"/>
                    </a:cubicBezTo>
                    <a:cubicBezTo>
                      <a:pt x="1493" y="8"/>
                      <a:pt x="1485" y="0"/>
                      <a:pt x="1475" y="0"/>
                    </a:cubicBezTo>
                    <a:cubicBezTo>
                      <a:pt x="18" y="0"/>
                      <a:pt x="18" y="0"/>
                      <a:pt x="18" y="0"/>
                    </a:cubicBezTo>
                    <a:cubicBezTo>
                      <a:pt x="8" y="0"/>
                      <a:pt x="0" y="8"/>
                      <a:pt x="0" y="18"/>
                    </a:cubicBezTo>
                    <a:lnTo>
                      <a:pt x="3" y="18"/>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11">
                <a:extLst>
                  <a:ext uri="{FF2B5EF4-FFF2-40B4-BE49-F238E27FC236}">
                    <a16:creationId xmlns:a16="http://schemas.microsoft.com/office/drawing/2014/main" id="{95018CC1-DC40-4812-B13C-E6C1CCEBB50F}"/>
                  </a:ext>
                </a:extLst>
              </p:cNvPr>
              <p:cNvSpPr>
                <a:spLocks noEditPoints="1"/>
              </p:cNvSpPr>
              <p:nvPr/>
            </p:nvSpPr>
            <p:spPr bwMode="auto">
              <a:xfrm>
                <a:off x="4628619" y="856717"/>
                <a:ext cx="14393" cy="1166717"/>
              </a:xfrm>
              <a:custGeom>
                <a:avLst/>
                <a:gdLst>
                  <a:gd name="T0" fmla="*/ 10 w 10"/>
                  <a:gd name="T1" fmla="*/ 1017 h 1017"/>
                  <a:gd name="T2" fmla="*/ 0 w 10"/>
                  <a:gd name="T3" fmla="*/ 965 h 1017"/>
                  <a:gd name="T4" fmla="*/ 10 w 10"/>
                  <a:gd name="T5" fmla="*/ 965 h 1017"/>
                  <a:gd name="T6" fmla="*/ 0 w 10"/>
                  <a:gd name="T7" fmla="*/ 951 h 1017"/>
                  <a:gd name="T8" fmla="*/ 0 w 10"/>
                  <a:gd name="T9" fmla="*/ 932 h 1017"/>
                  <a:gd name="T10" fmla="*/ 10 w 10"/>
                  <a:gd name="T11" fmla="*/ 917 h 1017"/>
                  <a:gd name="T12" fmla="*/ 0 w 10"/>
                  <a:gd name="T13" fmla="*/ 865 h 1017"/>
                  <a:gd name="T14" fmla="*/ 10 w 10"/>
                  <a:gd name="T15" fmla="*/ 865 h 1017"/>
                  <a:gd name="T16" fmla="*/ 0 w 10"/>
                  <a:gd name="T17" fmla="*/ 851 h 1017"/>
                  <a:gd name="T18" fmla="*/ 0 w 10"/>
                  <a:gd name="T19" fmla="*/ 832 h 1017"/>
                  <a:gd name="T20" fmla="*/ 10 w 10"/>
                  <a:gd name="T21" fmla="*/ 818 h 1017"/>
                  <a:gd name="T22" fmla="*/ 0 w 10"/>
                  <a:gd name="T23" fmla="*/ 765 h 1017"/>
                  <a:gd name="T24" fmla="*/ 10 w 10"/>
                  <a:gd name="T25" fmla="*/ 765 h 1017"/>
                  <a:gd name="T26" fmla="*/ 0 w 10"/>
                  <a:gd name="T27" fmla="*/ 751 h 1017"/>
                  <a:gd name="T28" fmla="*/ 0 w 10"/>
                  <a:gd name="T29" fmla="*/ 732 h 1017"/>
                  <a:gd name="T30" fmla="*/ 10 w 10"/>
                  <a:gd name="T31" fmla="*/ 718 h 1017"/>
                  <a:gd name="T32" fmla="*/ 0 w 10"/>
                  <a:gd name="T33" fmla="*/ 665 h 1017"/>
                  <a:gd name="T34" fmla="*/ 10 w 10"/>
                  <a:gd name="T35" fmla="*/ 665 h 1017"/>
                  <a:gd name="T36" fmla="*/ 0 w 10"/>
                  <a:gd name="T37" fmla="*/ 651 h 1017"/>
                  <a:gd name="T38" fmla="*/ 0 w 10"/>
                  <a:gd name="T39" fmla="*/ 632 h 1017"/>
                  <a:gd name="T40" fmla="*/ 10 w 10"/>
                  <a:gd name="T41" fmla="*/ 618 h 1017"/>
                  <a:gd name="T42" fmla="*/ 0 w 10"/>
                  <a:gd name="T43" fmla="*/ 566 h 1017"/>
                  <a:gd name="T44" fmla="*/ 10 w 10"/>
                  <a:gd name="T45" fmla="*/ 566 h 1017"/>
                  <a:gd name="T46" fmla="*/ 0 w 10"/>
                  <a:gd name="T47" fmla="*/ 551 h 1017"/>
                  <a:gd name="T48" fmla="*/ 0 w 10"/>
                  <a:gd name="T49" fmla="*/ 532 h 1017"/>
                  <a:gd name="T50" fmla="*/ 10 w 10"/>
                  <a:gd name="T51" fmla="*/ 518 h 1017"/>
                  <a:gd name="T52" fmla="*/ 0 w 10"/>
                  <a:gd name="T53" fmla="*/ 466 h 1017"/>
                  <a:gd name="T54" fmla="*/ 10 w 10"/>
                  <a:gd name="T55" fmla="*/ 466 h 1017"/>
                  <a:gd name="T56" fmla="*/ 0 w 10"/>
                  <a:gd name="T57" fmla="*/ 452 h 1017"/>
                  <a:gd name="T58" fmla="*/ 0 w 10"/>
                  <a:gd name="T59" fmla="*/ 433 h 1017"/>
                  <a:gd name="T60" fmla="*/ 10 w 10"/>
                  <a:gd name="T61" fmla="*/ 418 h 1017"/>
                  <a:gd name="T62" fmla="*/ 0 w 10"/>
                  <a:gd name="T63" fmla="*/ 366 h 1017"/>
                  <a:gd name="T64" fmla="*/ 10 w 10"/>
                  <a:gd name="T65" fmla="*/ 366 h 1017"/>
                  <a:gd name="T66" fmla="*/ 0 w 10"/>
                  <a:gd name="T67" fmla="*/ 352 h 1017"/>
                  <a:gd name="T68" fmla="*/ 0 w 10"/>
                  <a:gd name="T69" fmla="*/ 333 h 1017"/>
                  <a:gd name="T70" fmla="*/ 10 w 10"/>
                  <a:gd name="T71" fmla="*/ 319 h 1017"/>
                  <a:gd name="T72" fmla="*/ 0 w 10"/>
                  <a:gd name="T73" fmla="*/ 266 h 1017"/>
                  <a:gd name="T74" fmla="*/ 10 w 10"/>
                  <a:gd name="T75" fmla="*/ 266 h 1017"/>
                  <a:gd name="T76" fmla="*/ 0 w 10"/>
                  <a:gd name="T77" fmla="*/ 252 h 1017"/>
                  <a:gd name="T78" fmla="*/ 0 w 10"/>
                  <a:gd name="T79" fmla="*/ 233 h 1017"/>
                  <a:gd name="T80" fmla="*/ 10 w 10"/>
                  <a:gd name="T81" fmla="*/ 219 h 1017"/>
                  <a:gd name="T82" fmla="*/ 0 w 10"/>
                  <a:gd name="T83" fmla="*/ 166 h 1017"/>
                  <a:gd name="T84" fmla="*/ 10 w 10"/>
                  <a:gd name="T85" fmla="*/ 166 h 1017"/>
                  <a:gd name="T86" fmla="*/ 0 w 10"/>
                  <a:gd name="T87" fmla="*/ 152 h 1017"/>
                  <a:gd name="T88" fmla="*/ 0 w 10"/>
                  <a:gd name="T89" fmla="*/ 133 h 1017"/>
                  <a:gd name="T90" fmla="*/ 10 w 10"/>
                  <a:gd name="T91" fmla="*/ 119 h 1017"/>
                  <a:gd name="T92" fmla="*/ 0 w 10"/>
                  <a:gd name="T93" fmla="*/ 67 h 1017"/>
                  <a:gd name="T94" fmla="*/ 10 w 10"/>
                  <a:gd name="T95" fmla="*/ 67 h 1017"/>
                  <a:gd name="T96" fmla="*/ 0 w 10"/>
                  <a:gd name="T97" fmla="*/ 52 h 1017"/>
                  <a:gd name="T98" fmla="*/ 0 w 10"/>
                  <a:gd name="T99" fmla="*/ 33 h 1017"/>
                  <a:gd name="T100" fmla="*/ 10 w 10"/>
                  <a:gd name="T101" fmla="*/ 19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 h="1017">
                    <a:moveTo>
                      <a:pt x="0" y="998"/>
                    </a:moveTo>
                    <a:lnTo>
                      <a:pt x="0" y="1017"/>
                    </a:lnTo>
                    <a:lnTo>
                      <a:pt x="10" y="1017"/>
                    </a:lnTo>
                    <a:lnTo>
                      <a:pt x="10" y="998"/>
                    </a:lnTo>
                    <a:lnTo>
                      <a:pt x="0" y="998"/>
                    </a:lnTo>
                    <a:close/>
                    <a:moveTo>
                      <a:pt x="0" y="965"/>
                    </a:moveTo>
                    <a:lnTo>
                      <a:pt x="0" y="984"/>
                    </a:lnTo>
                    <a:lnTo>
                      <a:pt x="10" y="984"/>
                    </a:lnTo>
                    <a:lnTo>
                      <a:pt x="10" y="965"/>
                    </a:lnTo>
                    <a:lnTo>
                      <a:pt x="0" y="965"/>
                    </a:lnTo>
                    <a:close/>
                    <a:moveTo>
                      <a:pt x="0" y="932"/>
                    </a:moveTo>
                    <a:lnTo>
                      <a:pt x="0" y="951"/>
                    </a:lnTo>
                    <a:lnTo>
                      <a:pt x="10" y="951"/>
                    </a:lnTo>
                    <a:lnTo>
                      <a:pt x="10" y="932"/>
                    </a:lnTo>
                    <a:lnTo>
                      <a:pt x="0" y="932"/>
                    </a:lnTo>
                    <a:close/>
                    <a:moveTo>
                      <a:pt x="0" y="898"/>
                    </a:moveTo>
                    <a:lnTo>
                      <a:pt x="0" y="917"/>
                    </a:lnTo>
                    <a:lnTo>
                      <a:pt x="10" y="917"/>
                    </a:lnTo>
                    <a:lnTo>
                      <a:pt x="10" y="898"/>
                    </a:lnTo>
                    <a:lnTo>
                      <a:pt x="0" y="898"/>
                    </a:lnTo>
                    <a:close/>
                    <a:moveTo>
                      <a:pt x="0" y="865"/>
                    </a:moveTo>
                    <a:lnTo>
                      <a:pt x="0" y="884"/>
                    </a:lnTo>
                    <a:lnTo>
                      <a:pt x="10" y="884"/>
                    </a:lnTo>
                    <a:lnTo>
                      <a:pt x="10" y="865"/>
                    </a:lnTo>
                    <a:lnTo>
                      <a:pt x="0" y="865"/>
                    </a:lnTo>
                    <a:close/>
                    <a:moveTo>
                      <a:pt x="0" y="832"/>
                    </a:moveTo>
                    <a:lnTo>
                      <a:pt x="0" y="851"/>
                    </a:lnTo>
                    <a:lnTo>
                      <a:pt x="10" y="851"/>
                    </a:lnTo>
                    <a:lnTo>
                      <a:pt x="10" y="832"/>
                    </a:lnTo>
                    <a:lnTo>
                      <a:pt x="0" y="832"/>
                    </a:lnTo>
                    <a:close/>
                    <a:moveTo>
                      <a:pt x="0" y="799"/>
                    </a:moveTo>
                    <a:lnTo>
                      <a:pt x="0" y="818"/>
                    </a:lnTo>
                    <a:lnTo>
                      <a:pt x="10" y="818"/>
                    </a:lnTo>
                    <a:lnTo>
                      <a:pt x="10" y="799"/>
                    </a:lnTo>
                    <a:lnTo>
                      <a:pt x="0" y="799"/>
                    </a:lnTo>
                    <a:close/>
                    <a:moveTo>
                      <a:pt x="0" y="765"/>
                    </a:moveTo>
                    <a:lnTo>
                      <a:pt x="0" y="784"/>
                    </a:lnTo>
                    <a:lnTo>
                      <a:pt x="10" y="784"/>
                    </a:lnTo>
                    <a:lnTo>
                      <a:pt x="10" y="765"/>
                    </a:lnTo>
                    <a:lnTo>
                      <a:pt x="0" y="765"/>
                    </a:lnTo>
                    <a:close/>
                    <a:moveTo>
                      <a:pt x="0" y="732"/>
                    </a:moveTo>
                    <a:lnTo>
                      <a:pt x="0" y="751"/>
                    </a:lnTo>
                    <a:lnTo>
                      <a:pt x="10" y="751"/>
                    </a:lnTo>
                    <a:lnTo>
                      <a:pt x="10" y="732"/>
                    </a:lnTo>
                    <a:lnTo>
                      <a:pt x="0" y="732"/>
                    </a:lnTo>
                    <a:close/>
                    <a:moveTo>
                      <a:pt x="0" y="699"/>
                    </a:moveTo>
                    <a:lnTo>
                      <a:pt x="0" y="718"/>
                    </a:lnTo>
                    <a:lnTo>
                      <a:pt x="10" y="718"/>
                    </a:lnTo>
                    <a:lnTo>
                      <a:pt x="10" y="699"/>
                    </a:lnTo>
                    <a:lnTo>
                      <a:pt x="0" y="699"/>
                    </a:lnTo>
                    <a:close/>
                    <a:moveTo>
                      <a:pt x="0" y="665"/>
                    </a:moveTo>
                    <a:lnTo>
                      <a:pt x="0" y="684"/>
                    </a:lnTo>
                    <a:lnTo>
                      <a:pt x="10" y="684"/>
                    </a:lnTo>
                    <a:lnTo>
                      <a:pt x="10" y="665"/>
                    </a:lnTo>
                    <a:lnTo>
                      <a:pt x="0" y="665"/>
                    </a:lnTo>
                    <a:close/>
                    <a:moveTo>
                      <a:pt x="0" y="632"/>
                    </a:moveTo>
                    <a:lnTo>
                      <a:pt x="0" y="651"/>
                    </a:lnTo>
                    <a:lnTo>
                      <a:pt x="10" y="651"/>
                    </a:lnTo>
                    <a:lnTo>
                      <a:pt x="10" y="632"/>
                    </a:lnTo>
                    <a:lnTo>
                      <a:pt x="0" y="632"/>
                    </a:lnTo>
                    <a:close/>
                    <a:moveTo>
                      <a:pt x="0" y="599"/>
                    </a:moveTo>
                    <a:lnTo>
                      <a:pt x="0" y="618"/>
                    </a:lnTo>
                    <a:lnTo>
                      <a:pt x="10" y="618"/>
                    </a:lnTo>
                    <a:lnTo>
                      <a:pt x="10" y="599"/>
                    </a:lnTo>
                    <a:lnTo>
                      <a:pt x="0" y="599"/>
                    </a:lnTo>
                    <a:close/>
                    <a:moveTo>
                      <a:pt x="0" y="566"/>
                    </a:moveTo>
                    <a:lnTo>
                      <a:pt x="0" y="585"/>
                    </a:lnTo>
                    <a:lnTo>
                      <a:pt x="10" y="585"/>
                    </a:lnTo>
                    <a:lnTo>
                      <a:pt x="10" y="566"/>
                    </a:lnTo>
                    <a:lnTo>
                      <a:pt x="0" y="566"/>
                    </a:lnTo>
                    <a:close/>
                    <a:moveTo>
                      <a:pt x="0" y="532"/>
                    </a:moveTo>
                    <a:lnTo>
                      <a:pt x="0" y="551"/>
                    </a:lnTo>
                    <a:lnTo>
                      <a:pt x="10" y="551"/>
                    </a:lnTo>
                    <a:lnTo>
                      <a:pt x="10" y="532"/>
                    </a:lnTo>
                    <a:lnTo>
                      <a:pt x="0" y="532"/>
                    </a:lnTo>
                    <a:close/>
                    <a:moveTo>
                      <a:pt x="0" y="499"/>
                    </a:moveTo>
                    <a:lnTo>
                      <a:pt x="0" y="518"/>
                    </a:lnTo>
                    <a:lnTo>
                      <a:pt x="10" y="518"/>
                    </a:lnTo>
                    <a:lnTo>
                      <a:pt x="10" y="499"/>
                    </a:lnTo>
                    <a:lnTo>
                      <a:pt x="0" y="499"/>
                    </a:lnTo>
                    <a:close/>
                    <a:moveTo>
                      <a:pt x="0" y="466"/>
                    </a:moveTo>
                    <a:lnTo>
                      <a:pt x="0" y="485"/>
                    </a:lnTo>
                    <a:lnTo>
                      <a:pt x="10" y="485"/>
                    </a:lnTo>
                    <a:lnTo>
                      <a:pt x="10" y="466"/>
                    </a:lnTo>
                    <a:lnTo>
                      <a:pt x="0" y="466"/>
                    </a:lnTo>
                    <a:close/>
                    <a:moveTo>
                      <a:pt x="0" y="433"/>
                    </a:moveTo>
                    <a:lnTo>
                      <a:pt x="0" y="452"/>
                    </a:lnTo>
                    <a:lnTo>
                      <a:pt x="10" y="452"/>
                    </a:lnTo>
                    <a:lnTo>
                      <a:pt x="10" y="433"/>
                    </a:lnTo>
                    <a:lnTo>
                      <a:pt x="0" y="433"/>
                    </a:lnTo>
                    <a:close/>
                    <a:moveTo>
                      <a:pt x="0" y="399"/>
                    </a:moveTo>
                    <a:lnTo>
                      <a:pt x="0" y="418"/>
                    </a:lnTo>
                    <a:lnTo>
                      <a:pt x="10" y="418"/>
                    </a:lnTo>
                    <a:lnTo>
                      <a:pt x="10" y="399"/>
                    </a:lnTo>
                    <a:lnTo>
                      <a:pt x="0" y="399"/>
                    </a:lnTo>
                    <a:close/>
                    <a:moveTo>
                      <a:pt x="0" y="366"/>
                    </a:moveTo>
                    <a:lnTo>
                      <a:pt x="0" y="385"/>
                    </a:lnTo>
                    <a:lnTo>
                      <a:pt x="10" y="385"/>
                    </a:lnTo>
                    <a:lnTo>
                      <a:pt x="10" y="366"/>
                    </a:lnTo>
                    <a:lnTo>
                      <a:pt x="0" y="366"/>
                    </a:lnTo>
                    <a:close/>
                    <a:moveTo>
                      <a:pt x="0" y="333"/>
                    </a:moveTo>
                    <a:lnTo>
                      <a:pt x="0" y="352"/>
                    </a:lnTo>
                    <a:lnTo>
                      <a:pt x="10" y="352"/>
                    </a:lnTo>
                    <a:lnTo>
                      <a:pt x="10" y="333"/>
                    </a:lnTo>
                    <a:lnTo>
                      <a:pt x="0" y="333"/>
                    </a:lnTo>
                    <a:close/>
                    <a:moveTo>
                      <a:pt x="0" y="300"/>
                    </a:moveTo>
                    <a:lnTo>
                      <a:pt x="0" y="319"/>
                    </a:lnTo>
                    <a:lnTo>
                      <a:pt x="10" y="319"/>
                    </a:lnTo>
                    <a:lnTo>
                      <a:pt x="10" y="300"/>
                    </a:lnTo>
                    <a:lnTo>
                      <a:pt x="0" y="300"/>
                    </a:lnTo>
                    <a:close/>
                    <a:moveTo>
                      <a:pt x="0" y="266"/>
                    </a:moveTo>
                    <a:lnTo>
                      <a:pt x="0" y="285"/>
                    </a:lnTo>
                    <a:lnTo>
                      <a:pt x="10" y="285"/>
                    </a:lnTo>
                    <a:lnTo>
                      <a:pt x="10" y="266"/>
                    </a:lnTo>
                    <a:lnTo>
                      <a:pt x="0" y="266"/>
                    </a:lnTo>
                    <a:close/>
                    <a:moveTo>
                      <a:pt x="0" y="233"/>
                    </a:moveTo>
                    <a:lnTo>
                      <a:pt x="0" y="252"/>
                    </a:lnTo>
                    <a:lnTo>
                      <a:pt x="10" y="252"/>
                    </a:lnTo>
                    <a:lnTo>
                      <a:pt x="10" y="233"/>
                    </a:lnTo>
                    <a:lnTo>
                      <a:pt x="0" y="233"/>
                    </a:lnTo>
                    <a:close/>
                    <a:moveTo>
                      <a:pt x="0" y="200"/>
                    </a:moveTo>
                    <a:lnTo>
                      <a:pt x="0" y="219"/>
                    </a:lnTo>
                    <a:lnTo>
                      <a:pt x="10" y="219"/>
                    </a:lnTo>
                    <a:lnTo>
                      <a:pt x="10" y="200"/>
                    </a:lnTo>
                    <a:lnTo>
                      <a:pt x="0" y="200"/>
                    </a:lnTo>
                    <a:close/>
                    <a:moveTo>
                      <a:pt x="0" y="166"/>
                    </a:moveTo>
                    <a:lnTo>
                      <a:pt x="0" y="185"/>
                    </a:lnTo>
                    <a:lnTo>
                      <a:pt x="10" y="185"/>
                    </a:lnTo>
                    <a:lnTo>
                      <a:pt x="10" y="166"/>
                    </a:lnTo>
                    <a:lnTo>
                      <a:pt x="0" y="166"/>
                    </a:lnTo>
                    <a:close/>
                    <a:moveTo>
                      <a:pt x="0" y="133"/>
                    </a:moveTo>
                    <a:lnTo>
                      <a:pt x="0" y="152"/>
                    </a:lnTo>
                    <a:lnTo>
                      <a:pt x="10" y="152"/>
                    </a:lnTo>
                    <a:lnTo>
                      <a:pt x="10" y="133"/>
                    </a:lnTo>
                    <a:lnTo>
                      <a:pt x="0" y="133"/>
                    </a:lnTo>
                    <a:close/>
                    <a:moveTo>
                      <a:pt x="0" y="100"/>
                    </a:moveTo>
                    <a:lnTo>
                      <a:pt x="0" y="119"/>
                    </a:lnTo>
                    <a:lnTo>
                      <a:pt x="10" y="119"/>
                    </a:lnTo>
                    <a:lnTo>
                      <a:pt x="10" y="100"/>
                    </a:lnTo>
                    <a:lnTo>
                      <a:pt x="0" y="100"/>
                    </a:lnTo>
                    <a:close/>
                    <a:moveTo>
                      <a:pt x="0" y="67"/>
                    </a:moveTo>
                    <a:lnTo>
                      <a:pt x="0" y="86"/>
                    </a:lnTo>
                    <a:lnTo>
                      <a:pt x="10" y="86"/>
                    </a:lnTo>
                    <a:lnTo>
                      <a:pt x="10" y="67"/>
                    </a:lnTo>
                    <a:lnTo>
                      <a:pt x="0" y="67"/>
                    </a:lnTo>
                    <a:close/>
                    <a:moveTo>
                      <a:pt x="0" y="33"/>
                    </a:moveTo>
                    <a:lnTo>
                      <a:pt x="0" y="52"/>
                    </a:lnTo>
                    <a:lnTo>
                      <a:pt x="10" y="52"/>
                    </a:lnTo>
                    <a:lnTo>
                      <a:pt x="10" y="33"/>
                    </a:lnTo>
                    <a:lnTo>
                      <a:pt x="0" y="33"/>
                    </a:lnTo>
                    <a:close/>
                    <a:moveTo>
                      <a:pt x="0" y="0"/>
                    </a:moveTo>
                    <a:lnTo>
                      <a:pt x="0" y="19"/>
                    </a:lnTo>
                    <a:lnTo>
                      <a:pt x="10" y="19"/>
                    </a:lnTo>
                    <a:lnTo>
                      <a:pt x="10" y="0"/>
                    </a:lnTo>
                    <a:lnTo>
                      <a:pt x="0" y="0"/>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TextBox 260">
                <a:extLst>
                  <a:ext uri="{FF2B5EF4-FFF2-40B4-BE49-F238E27FC236}">
                    <a16:creationId xmlns:a16="http://schemas.microsoft.com/office/drawing/2014/main" id="{10F3D986-F307-4196-B04E-1851FB1451BE}"/>
                  </a:ext>
                </a:extLst>
              </p:cNvPr>
              <p:cNvSpPr txBox="1"/>
              <p:nvPr/>
            </p:nvSpPr>
            <p:spPr>
              <a:xfrm>
                <a:off x="6333521" y="835477"/>
                <a:ext cx="2045961" cy="3079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97B7D"/>
                    </a:solidFill>
                    <a:effectLst/>
                    <a:uLnTx/>
                    <a:uFillTx/>
                    <a:latin typeface="Calibri" panose="020F0502020204030204"/>
                    <a:ea typeface="+mn-ea"/>
                    <a:cs typeface="+mn-cs"/>
                  </a:rPr>
                  <a:t>Talent BrassRing Platform</a:t>
                </a:r>
                <a:endParaRPr kumimoji="0" lang="en-IN" sz="1400" b="0" i="0" u="none" strike="noStrike" kern="1200" cap="none" spc="0" normalizeH="0" baseline="0" noProof="0" dirty="0">
                  <a:ln>
                    <a:noFill/>
                  </a:ln>
                  <a:solidFill>
                    <a:srgbClr val="797B7D"/>
                  </a:solidFill>
                  <a:effectLst/>
                  <a:uLnTx/>
                  <a:uFillTx/>
                  <a:latin typeface="Calibri" panose="020F0502020204030204"/>
                  <a:ea typeface="+mn-ea"/>
                  <a:cs typeface="+mn-cs"/>
                </a:endParaRPr>
              </a:p>
            </p:txBody>
          </p:sp>
          <p:sp>
            <p:nvSpPr>
              <p:cNvPr id="262" name="TextBox 261">
                <a:extLst>
                  <a:ext uri="{FF2B5EF4-FFF2-40B4-BE49-F238E27FC236}">
                    <a16:creationId xmlns:a16="http://schemas.microsoft.com/office/drawing/2014/main" id="{C0115381-27F2-4EBC-9945-40DCDE0A6FBF}"/>
                  </a:ext>
                </a:extLst>
              </p:cNvPr>
              <p:cNvSpPr txBox="1"/>
              <p:nvPr/>
            </p:nvSpPr>
            <p:spPr>
              <a:xfrm>
                <a:off x="5718389" y="1272182"/>
                <a:ext cx="412489" cy="3079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97B7D"/>
                    </a:solidFill>
                    <a:effectLst/>
                    <a:uLnTx/>
                    <a:uFillTx/>
                    <a:latin typeface="Calibri" panose="020F0502020204030204"/>
                    <a:ea typeface="+mn-ea"/>
                    <a:cs typeface="+mn-cs"/>
                  </a:rPr>
                  <a:t>IoT</a:t>
                </a:r>
                <a:endParaRPr kumimoji="0" lang="en-IN" sz="1400" b="1" i="0" u="none" strike="noStrike" kern="1200" cap="none" spc="0" normalizeH="0" baseline="0" noProof="0" dirty="0">
                  <a:ln>
                    <a:noFill/>
                  </a:ln>
                  <a:solidFill>
                    <a:srgbClr val="797B7D"/>
                  </a:solidFill>
                  <a:effectLst/>
                  <a:uLnTx/>
                  <a:uFillTx/>
                  <a:latin typeface="Calibri" panose="020F0502020204030204"/>
                  <a:ea typeface="+mn-ea"/>
                  <a:cs typeface="+mn-cs"/>
                </a:endParaRPr>
              </a:p>
            </p:txBody>
          </p:sp>
          <p:sp>
            <p:nvSpPr>
              <p:cNvPr id="263" name="TextBox 262">
                <a:extLst>
                  <a:ext uri="{FF2B5EF4-FFF2-40B4-BE49-F238E27FC236}">
                    <a16:creationId xmlns:a16="http://schemas.microsoft.com/office/drawing/2014/main" id="{C6D4D370-8A09-4D99-8D61-7A31F715ADA5}"/>
                  </a:ext>
                </a:extLst>
              </p:cNvPr>
              <p:cNvSpPr txBox="1"/>
              <p:nvPr/>
            </p:nvSpPr>
            <p:spPr>
              <a:xfrm>
                <a:off x="7780990" y="1270023"/>
                <a:ext cx="1685241" cy="3079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97B7D"/>
                    </a:solidFill>
                    <a:effectLst/>
                    <a:uLnTx/>
                    <a:uFillTx/>
                    <a:latin typeface="Calibri" panose="020F0502020204030204"/>
                    <a:ea typeface="+mn-ea"/>
                    <a:cs typeface="+mn-cs"/>
                  </a:rPr>
                  <a:t>Healthcare solutions</a:t>
                </a:r>
                <a:endParaRPr kumimoji="0" lang="en-IN" sz="1400" b="1" i="0" u="none" strike="noStrike" kern="1200" cap="none" spc="0" normalizeH="0" baseline="0" noProof="0" dirty="0">
                  <a:ln>
                    <a:noFill/>
                  </a:ln>
                  <a:solidFill>
                    <a:srgbClr val="797B7D"/>
                  </a:solidFill>
                  <a:effectLst/>
                  <a:uLnTx/>
                  <a:uFillTx/>
                  <a:latin typeface="Calibri" panose="020F0502020204030204"/>
                  <a:ea typeface="+mn-ea"/>
                  <a:cs typeface="+mn-cs"/>
                </a:endParaRPr>
              </a:p>
            </p:txBody>
          </p:sp>
          <p:sp>
            <p:nvSpPr>
              <p:cNvPr id="264" name="Freeform 94">
                <a:extLst>
                  <a:ext uri="{FF2B5EF4-FFF2-40B4-BE49-F238E27FC236}">
                    <a16:creationId xmlns:a16="http://schemas.microsoft.com/office/drawing/2014/main" id="{70DE70F2-B10A-4B61-B678-6F4BD49780C5}"/>
                  </a:ext>
                </a:extLst>
              </p:cNvPr>
              <p:cNvSpPr>
                <a:spLocks/>
              </p:cNvSpPr>
              <p:nvPr/>
            </p:nvSpPr>
            <p:spPr bwMode="auto">
              <a:xfrm>
                <a:off x="4733738" y="1266794"/>
                <a:ext cx="2409404" cy="328162"/>
              </a:xfrm>
              <a:custGeom>
                <a:avLst/>
                <a:gdLst>
                  <a:gd name="T0" fmla="*/ 3 w 705"/>
                  <a:gd name="T1" fmla="*/ 18 h 96"/>
                  <a:gd name="T2" fmla="*/ 6 w 705"/>
                  <a:gd name="T3" fmla="*/ 18 h 96"/>
                  <a:gd name="T4" fmla="*/ 18 w 705"/>
                  <a:gd name="T5" fmla="*/ 6 h 96"/>
                  <a:gd name="T6" fmla="*/ 687 w 705"/>
                  <a:gd name="T7" fmla="*/ 6 h 96"/>
                  <a:gd name="T8" fmla="*/ 699 w 705"/>
                  <a:gd name="T9" fmla="*/ 18 h 96"/>
                  <a:gd name="T10" fmla="*/ 699 w 705"/>
                  <a:gd name="T11" fmla="*/ 78 h 96"/>
                  <a:gd name="T12" fmla="*/ 687 w 705"/>
                  <a:gd name="T13" fmla="*/ 90 h 96"/>
                  <a:gd name="T14" fmla="*/ 18 w 705"/>
                  <a:gd name="T15" fmla="*/ 90 h 96"/>
                  <a:gd name="T16" fmla="*/ 6 w 705"/>
                  <a:gd name="T17" fmla="*/ 78 h 96"/>
                  <a:gd name="T18" fmla="*/ 6 w 705"/>
                  <a:gd name="T19" fmla="*/ 18 h 96"/>
                  <a:gd name="T20" fmla="*/ 3 w 705"/>
                  <a:gd name="T21" fmla="*/ 18 h 96"/>
                  <a:gd name="T22" fmla="*/ 0 w 705"/>
                  <a:gd name="T23" fmla="*/ 18 h 96"/>
                  <a:gd name="T24" fmla="*/ 0 w 705"/>
                  <a:gd name="T25" fmla="*/ 78 h 96"/>
                  <a:gd name="T26" fmla="*/ 18 w 705"/>
                  <a:gd name="T27" fmla="*/ 96 h 96"/>
                  <a:gd name="T28" fmla="*/ 687 w 705"/>
                  <a:gd name="T29" fmla="*/ 96 h 96"/>
                  <a:gd name="T30" fmla="*/ 705 w 705"/>
                  <a:gd name="T31" fmla="*/ 78 h 96"/>
                  <a:gd name="T32" fmla="*/ 705 w 705"/>
                  <a:gd name="T33" fmla="*/ 18 h 96"/>
                  <a:gd name="T34" fmla="*/ 687 w 705"/>
                  <a:gd name="T35" fmla="*/ 0 h 96"/>
                  <a:gd name="T36" fmla="*/ 18 w 705"/>
                  <a:gd name="T37" fmla="*/ 0 h 96"/>
                  <a:gd name="T38" fmla="*/ 0 w 705"/>
                  <a:gd name="T39" fmla="*/ 18 h 96"/>
                  <a:gd name="T40" fmla="*/ 3 w 705"/>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5" h="96">
                    <a:moveTo>
                      <a:pt x="3" y="18"/>
                    </a:moveTo>
                    <a:cubicBezTo>
                      <a:pt x="6" y="18"/>
                      <a:pt x="6" y="18"/>
                      <a:pt x="6" y="18"/>
                    </a:cubicBezTo>
                    <a:cubicBezTo>
                      <a:pt x="6" y="12"/>
                      <a:pt x="11" y="6"/>
                      <a:pt x="18" y="6"/>
                    </a:cubicBezTo>
                    <a:cubicBezTo>
                      <a:pt x="687" y="6"/>
                      <a:pt x="687" y="6"/>
                      <a:pt x="687" y="6"/>
                    </a:cubicBezTo>
                    <a:cubicBezTo>
                      <a:pt x="694" y="6"/>
                      <a:pt x="699" y="12"/>
                      <a:pt x="699" y="18"/>
                    </a:cubicBezTo>
                    <a:cubicBezTo>
                      <a:pt x="699" y="78"/>
                      <a:pt x="699" y="78"/>
                      <a:pt x="699" y="78"/>
                    </a:cubicBezTo>
                    <a:cubicBezTo>
                      <a:pt x="699" y="84"/>
                      <a:pt x="694" y="89"/>
                      <a:pt x="687" y="90"/>
                    </a:cubicBezTo>
                    <a:cubicBezTo>
                      <a:pt x="18" y="90"/>
                      <a:pt x="18" y="90"/>
                      <a:pt x="18" y="90"/>
                    </a:cubicBezTo>
                    <a:cubicBezTo>
                      <a:pt x="11" y="89"/>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7"/>
                      <a:pt x="8" y="95"/>
                      <a:pt x="18" y="96"/>
                    </a:cubicBezTo>
                    <a:cubicBezTo>
                      <a:pt x="687" y="96"/>
                      <a:pt x="687" y="96"/>
                      <a:pt x="687" y="96"/>
                    </a:cubicBezTo>
                    <a:cubicBezTo>
                      <a:pt x="697" y="95"/>
                      <a:pt x="705" y="87"/>
                      <a:pt x="705" y="78"/>
                    </a:cubicBezTo>
                    <a:cubicBezTo>
                      <a:pt x="705" y="18"/>
                      <a:pt x="705" y="18"/>
                      <a:pt x="705" y="18"/>
                    </a:cubicBezTo>
                    <a:cubicBezTo>
                      <a:pt x="705" y="8"/>
                      <a:pt x="697" y="0"/>
                      <a:pt x="687" y="0"/>
                    </a:cubicBezTo>
                    <a:cubicBezTo>
                      <a:pt x="18" y="0"/>
                      <a:pt x="18" y="0"/>
                      <a:pt x="18" y="0"/>
                    </a:cubicBezTo>
                    <a:cubicBezTo>
                      <a:pt x="8" y="0"/>
                      <a:pt x="0" y="8"/>
                      <a:pt x="0" y="18"/>
                    </a:cubicBezTo>
                    <a:lnTo>
                      <a:pt x="3" y="18"/>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5" name="Freeform 94">
                <a:extLst>
                  <a:ext uri="{FF2B5EF4-FFF2-40B4-BE49-F238E27FC236}">
                    <a16:creationId xmlns:a16="http://schemas.microsoft.com/office/drawing/2014/main" id="{1718890C-1279-4A0C-8A82-B77B5B951CAD}"/>
                  </a:ext>
                </a:extLst>
              </p:cNvPr>
              <p:cNvSpPr>
                <a:spLocks/>
              </p:cNvSpPr>
              <p:nvPr/>
            </p:nvSpPr>
            <p:spPr bwMode="auto">
              <a:xfrm>
                <a:off x="7436334" y="1266794"/>
                <a:ext cx="2409404" cy="328162"/>
              </a:xfrm>
              <a:custGeom>
                <a:avLst/>
                <a:gdLst>
                  <a:gd name="T0" fmla="*/ 3 w 705"/>
                  <a:gd name="T1" fmla="*/ 18 h 96"/>
                  <a:gd name="T2" fmla="*/ 6 w 705"/>
                  <a:gd name="T3" fmla="*/ 18 h 96"/>
                  <a:gd name="T4" fmla="*/ 18 w 705"/>
                  <a:gd name="T5" fmla="*/ 6 h 96"/>
                  <a:gd name="T6" fmla="*/ 687 w 705"/>
                  <a:gd name="T7" fmla="*/ 6 h 96"/>
                  <a:gd name="T8" fmla="*/ 699 w 705"/>
                  <a:gd name="T9" fmla="*/ 18 h 96"/>
                  <a:gd name="T10" fmla="*/ 699 w 705"/>
                  <a:gd name="T11" fmla="*/ 78 h 96"/>
                  <a:gd name="T12" fmla="*/ 687 w 705"/>
                  <a:gd name="T13" fmla="*/ 90 h 96"/>
                  <a:gd name="T14" fmla="*/ 18 w 705"/>
                  <a:gd name="T15" fmla="*/ 90 h 96"/>
                  <a:gd name="T16" fmla="*/ 6 w 705"/>
                  <a:gd name="T17" fmla="*/ 78 h 96"/>
                  <a:gd name="T18" fmla="*/ 6 w 705"/>
                  <a:gd name="T19" fmla="*/ 18 h 96"/>
                  <a:gd name="T20" fmla="*/ 3 w 705"/>
                  <a:gd name="T21" fmla="*/ 18 h 96"/>
                  <a:gd name="T22" fmla="*/ 0 w 705"/>
                  <a:gd name="T23" fmla="*/ 18 h 96"/>
                  <a:gd name="T24" fmla="*/ 0 w 705"/>
                  <a:gd name="T25" fmla="*/ 78 h 96"/>
                  <a:gd name="T26" fmla="*/ 18 w 705"/>
                  <a:gd name="T27" fmla="*/ 96 h 96"/>
                  <a:gd name="T28" fmla="*/ 687 w 705"/>
                  <a:gd name="T29" fmla="*/ 96 h 96"/>
                  <a:gd name="T30" fmla="*/ 705 w 705"/>
                  <a:gd name="T31" fmla="*/ 78 h 96"/>
                  <a:gd name="T32" fmla="*/ 705 w 705"/>
                  <a:gd name="T33" fmla="*/ 18 h 96"/>
                  <a:gd name="T34" fmla="*/ 687 w 705"/>
                  <a:gd name="T35" fmla="*/ 0 h 96"/>
                  <a:gd name="T36" fmla="*/ 18 w 705"/>
                  <a:gd name="T37" fmla="*/ 0 h 96"/>
                  <a:gd name="T38" fmla="*/ 0 w 705"/>
                  <a:gd name="T39" fmla="*/ 18 h 96"/>
                  <a:gd name="T40" fmla="*/ 3 w 705"/>
                  <a:gd name="T4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5" h="96">
                    <a:moveTo>
                      <a:pt x="3" y="18"/>
                    </a:moveTo>
                    <a:cubicBezTo>
                      <a:pt x="6" y="18"/>
                      <a:pt x="6" y="18"/>
                      <a:pt x="6" y="18"/>
                    </a:cubicBezTo>
                    <a:cubicBezTo>
                      <a:pt x="6" y="12"/>
                      <a:pt x="11" y="6"/>
                      <a:pt x="18" y="6"/>
                    </a:cubicBezTo>
                    <a:cubicBezTo>
                      <a:pt x="687" y="6"/>
                      <a:pt x="687" y="6"/>
                      <a:pt x="687" y="6"/>
                    </a:cubicBezTo>
                    <a:cubicBezTo>
                      <a:pt x="694" y="6"/>
                      <a:pt x="699" y="12"/>
                      <a:pt x="699" y="18"/>
                    </a:cubicBezTo>
                    <a:cubicBezTo>
                      <a:pt x="699" y="78"/>
                      <a:pt x="699" y="78"/>
                      <a:pt x="699" y="78"/>
                    </a:cubicBezTo>
                    <a:cubicBezTo>
                      <a:pt x="699" y="84"/>
                      <a:pt x="694" y="89"/>
                      <a:pt x="687" y="90"/>
                    </a:cubicBezTo>
                    <a:cubicBezTo>
                      <a:pt x="18" y="90"/>
                      <a:pt x="18" y="90"/>
                      <a:pt x="18" y="90"/>
                    </a:cubicBezTo>
                    <a:cubicBezTo>
                      <a:pt x="11" y="89"/>
                      <a:pt x="6" y="84"/>
                      <a:pt x="6" y="78"/>
                    </a:cubicBezTo>
                    <a:cubicBezTo>
                      <a:pt x="6" y="18"/>
                      <a:pt x="6" y="18"/>
                      <a:pt x="6" y="18"/>
                    </a:cubicBezTo>
                    <a:cubicBezTo>
                      <a:pt x="3" y="18"/>
                      <a:pt x="3" y="18"/>
                      <a:pt x="3" y="18"/>
                    </a:cubicBezTo>
                    <a:cubicBezTo>
                      <a:pt x="0" y="18"/>
                      <a:pt x="0" y="18"/>
                      <a:pt x="0" y="18"/>
                    </a:cubicBezTo>
                    <a:cubicBezTo>
                      <a:pt x="0" y="78"/>
                      <a:pt x="0" y="78"/>
                      <a:pt x="0" y="78"/>
                    </a:cubicBezTo>
                    <a:cubicBezTo>
                      <a:pt x="0" y="87"/>
                      <a:pt x="8" y="95"/>
                      <a:pt x="18" y="96"/>
                    </a:cubicBezTo>
                    <a:cubicBezTo>
                      <a:pt x="687" y="96"/>
                      <a:pt x="687" y="96"/>
                      <a:pt x="687" y="96"/>
                    </a:cubicBezTo>
                    <a:cubicBezTo>
                      <a:pt x="697" y="95"/>
                      <a:pt x="705" y="87"/>
                      <a:pt x="705" y="78"/>
                    </a:cubicBezTo>
                    <a:cubicBezTo>
                      <a:pt x="705" y="18"/>
                      <a:pt x="705" y="18"/>
                      <a:pt x="705" y="18"/>
                    </a:cubicBezTo>
                    <a:cubicBezTo>
                      <a:pt x="705" y="8"/>
                      <a:pt x="697" y="0"/>
                      <a:pt x="687" y="0"/>
                    </a:cubicBezTo>
                    <a:cubicBezTo>
                      <a:pt x="18" y="0"/>
                      <a:pt x="18" y="0"/>
                      <a:pt x="18" y="0"/>
                    </a:cubicBezTo>
                    <a:cubicBezTo>
                      <a:pt x="8" y="0"/>
                      <a:pt x="0" y="8"/>
                      <a:pt x="0" y="18"/>
                    </a:cubicBezTo>
                    <a:lnTo>
                      <a:pt x="3" y="18"/>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6" name="TextBox 265">
                <a:extLst>
                  <a:ext uri="{FF2B5EF4-FFF2-40B4-BE49-F238E27FC236}">
                    <a16:creationId xmlns:a16="http://schemas.microsoft.com/office/drawing/2014/main" id="{A744CE90-DCAC-4F88-95BD-5DBC66A6CF81}"/>
                  </a:ext>
                </a:extLst>
              </p:cNvPr>
              <p:cNvSpPr txBox="1"/>
              <p:nvPr/>
            </p:nvSpPr>
            <p:spPr>
              <a:xfrm>
                <a:off x="6521734" y="1666377"/>
                <a:ext cx="1504849" cy="3079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97B7D"/>
                    </a:solidFill>
                    <a:effectLst/>
                    <a:uLnTx/>
                    <a:uFillTx/>
                    <a:latin typeface="Calibri" panose="020F0502020204030204"/>
                    <a:ea typeface="+mn-ea"/>
                    <a:cs typeface="+mn-cs"/>
                  </a:rPr>
                  <a:t>Telecom Solutions</a:t>
                </a:r>
                <a:endParaRPr kumimoji="0" lang="en-IN" sz="1400" b="1" i="0" u="none" strike="noStrike" kern="1200" cap="none" spc="0" normalizeH="0" baseline="0" noProof="0" dirty="0">
                  <a:ln>
                    <a:noFill/>
                  </a:ln>
                  <a:solidFill>
                    <a:srgbClr val="797B7D"/>
                  </a:solidFill>
                  <a:effectLst/>
                  <a:uLnTx/>
                  <a:uFillTx/>
                  <a:latin typeface="Calibri" panose="020F0502020204030204"/>
                  <a:ea typeface="+mn-ea"/>
                  <a:cs typeface="+mn-cs"/>
                </a:endParaRPr>
              </a:p>
            </p:txBody>
          </p:sp>
          <p:sp>
            <p:nvSpPr>
              <p:cNvPr id="267" name="Oval 266">
                <a:extLst>
                  <a:ext uri="{FF2B5EF4-FFF2-40B4-BE49-F238E27FC236}">
                    <a16:creationId xmlns:a16="http://schemas.microsoft.com/office/drawing/2014/main" id="{AA5D5BCB-8620-46ED-AA89-D0AF7BE720AE}"/>
                  </a:ext>
                </a:extLst>
              </p:cNvPr>
              <p:cNvSpPr/>
              <p:nvPr/>
            </p:nvSpPr>
            <p:spPr>
              <a:xfrm>
                <a:off x="2357348" y="1152547"/>
                <a:ext cx="575057" cy="575057"/>
              </a:xfrm>
              <a:prstGeom prst="ellipse">
                <a:avLst/>
              </a:prstGeom>
              <a:solidFill>
                <a:schemeClr val="tx1">
                  <a:lumMod val="75000"/>
                  <a:lumOff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68" name="TextBox 267">
                <a:extLst>
                  <a:ext uri="{FF2B5EF4-FFF2-40B4-BE49-F238E27FC236}">
                    <a16:creationId xmlns:a16="http://schemas.microsoft.com/office/drawing/2014/main" id="{0354B0DF-3949-484C-ABEB-96D8F36CC690}"/>
                  </a:ext>
                </a:extLst>
              </p:cNvPr>
              <p:cNvSpPr txBox="1"/>
              <p:nvPr/>
            </p:nvSpPr>
            <p:spPr>
              <a:xfrm>
                <a:off x="2907049" y="1260592"/>
                <a:ext cx="1342228" cy="36950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LATFORMS</a:t>
                </a:r>
                <a:endParaRPr kumimoji="0" lang="en-IN"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pic>
            <p:nvPicPr>
              <p:cNvPr id="269" name="Graphic 268" descr="Cloud Computing with solid fill">
                <a:extLst>
                  <a:ext uri="{FF2B5EF4-FFF2-40B4-BE49-F238E27FC236}">
                    <a16:creationId xmlns:a16="http://schemas.microsoft.com/office/drawing/2014/main" id="{8DE74B58-0D36-425A-8C90-80D0DD686B7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33045" y="1228244"/>
                <a:ext cx="423663" cy="423663"/>
              </a:xfrm>
              <a:prstGeom prst="rect">
                <a:avLst/>
              </a:prstGeom>
            </p:spPr>
          </p:pic>
        </p:grpSp>
      </p:grpSp>
      <p:grpSp>
        <p:nvGrpSpPr>
          <p:cNvPr id="291" name="Group 290">
            <a:extLst>
              <a:ext uri="{FF2B5EF4-FFF2-40B4-BE49-F238E27FC236}">
                <a16:creationId xmlns:a16="http://schemas.microsoft.com/office/drawing/2014/main" id="{6202E7A5-541F-492D-9519-4977CF1B6A1C}"/>
              </a:ext>
            </a:extLst>
          </p:cNvPr>
          <p:cNvGrpSpPr/>
          <p:nvPr/>
        </p:nvGrpSpPr>
        <p:grpSpPr>
          <a:xfrm>
            <a:off x="8760346" y="849042"/>
            <a:ext cx="3170758" cy="5283297"/>
            <a:chOff x="8957742" y="955343"/>
            <a:chExt cx="3170758" cy="5283297"/>
          </a:xfrm>
        </p:grpSpPr>
        <p:grpSp>
          <p:nvGrpSpPr>
            <p:cNvPr id="292" name="Group 291">
              <a:extLst>
                <a:ext uri="{FF2B5EF4-FFF2-40B4-BE49-F238E27FC236}">
                  <a16:creationId xmlns:a16="http://schemas.microsoft.com/office/drawing/2014/main" id="{94BE24EB-B886-4A2E-A8AA-B45F42ABF829}"/>
                </a:ext>
              </a:extLst>
            </p:cNvPr>
            <p:cNvGrpSpPr/>
            <p:nvPr/>
          </p:nvGrpSpPr>
          <p:grpSpPr>
            <a:xfrm>
              <a:off x="8957742" y="955343"/>
              <a:ext cx="3170758" cy="5283297"/>
              <a:chOff x="8957742" y="955343"/>
              <a:chExt cx="3170758" cy="5283297"/>
            </a:xfrm>
          </p:grpSpPr>
          <p:grpSp>
            <p:nvGrpSpPr>
              <p:cNvPr id="294" name="Group 293">
                <a:extLst>
                  <a:ext uri="{FF2B5EF4-FFF2-40B4-BE49-F238E27FC236}">
                    <a16:creationId xmlns:a16="http://schemas.microsoft.com/office/drawing/2014/main" id="{8C8EE6AA-71DA-4B88-BBE4-550B011B17A5}"/>
                  </a:ext>
                </a:extLst>
              </p:cNvPr>
              <p:cNvGrpSpPr/>
              <p:nvPr/>
            </p:nvGrpSpPr>
            <p:grpSpPr>
              <a:xfrm>
                <a:off x="8957742" y="955343"/>
                <a:ext cx="3170758" cy="5283297"/>
                <a:chOff x="9175895" y="651588"/>
                <a:chExt cx="3123249" cy="5393855"/>
              </a:xfrm>
            </p:grpSpPr>
            <p:grpSp>
              <p:nvGrpSpPr>
                <p:cNvPr id="296" name="Group 295">
                  <a:extLst>
                    <a:ext uri="{FF2B5EF4-FFF2-40B4-BE49-F238E27FC236}">
                      <a16:creationId xmlns:a16="http://schemas.microsoft.com/office/drawing/2014/main" id="{05BB5E1A-6998-4101-BB2B-2C6CE9BEF833}"/>
                    </a:ext>
                  </a:extLst>
                </p:cNvPr>
                <p:cNvGrpSpPr/>
                <p:nvPr/>
              </p:nvGrpSpPr>
              <p:grpSpPr>
                <a:xfrm>
                  <a:off x="9201151" y="651588"/>
                  <a:ext cx="3097993" cy="5393855"/>
                  <a:chOff x="9637088" y="860777"/>
                  <a:chExt cx="2554912" cy="4937017"/>
                </a:xfrm>
              </p:grpSpPr>
              <p:sp>
                <p:nvSpPr>
                  <p:cNvPr id="298" name="Rectangle 297">
                    <a:extLst>
                      <a:ext uri="{FF2B5EF4-FFF2-40B4-BE49-F238E27FC236}">
                        <a16:creationId xmlns:a16="http://schemas.microsoft.com/office/drawing/2014/main" id="{8D45AD72-A85B-4093-949A-19D6309B3B06}"/>
                      </a:ext>
                    </a:extLst>
                  </p:cNvPr>
                  <p:cNvSpPr/>
                  <p:nvPr/>
                </p:nvSpPr>
                <p:spPr>
                  <a:xfrm>
                    <a:off x="9637088" y="860777"/>
                    <a:ext cx="2554912" cy="4937017"/>
                  </a:xfrm>
                  <a:prstGeom prst="rect">
                    <a:avLst/>
                  </a:prstGeom>
                  <a:solidFill>
                    <a:srgbClr val="21B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9" name="Rectangle 298">
                    <a:extLst>
                      <a:ext uri="{FF2B5EF4-FFF2-40B4-BE49-F238E27FC236}">
                        <a16:creationId xmlns:a16="http://schemas.microsoft.com/office/drawing/2014/main" id="{DCC85458-6E64-4C14-BC0F-AA47DD74E75A}"/>
                      </a:ext>
                    </a:extLst>
                  </p:cNvPr>
                  <p:cNvSpPr/>
                  <p:nvPr/>
                </p:nvSpPr>
                <p:spPr>
                  <a:xfrm>
                    <a:off x="11461462" y="860777"/>
                    <a:ext cx="730538" cy="493039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00" name="TextBox 299">
                    <a:extLst>
                      <a:ext uri="{FF2B5EF4-FFF2-40B4-BE49-F238E27FC236}">
                        <a16:creationId xmlns:a16="http://schemas.microsoft.com/office/drawing/2014/main" id="{18996787-2A36-4E56-BAEC-58EEE2525860}"/>
                      </a:ext>
                    </a:extLst>
                  </p:cNvPr>
                  <p:cNvSpPr txBox="1"/>
                  <p:nvPr/>
                </p:nvSpPr>
                <p:spPr>
                  <a:xfrm>
                    <a:off x="9708450" y="3465564"/>
                    <a:ext cx="1268298" cy="4314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Hi-Tech &amp; Manufacturing</a:t>
                    </a:r>
                    <a:endParaRPr kumimoji="0" lang="en-IN"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p:txBody>
              </p:sp>
              <p:sp>
                <p:nvSpPr>
                  <p:cNvPr id="301" name="TextBox 300">
                    <a:extLst>
                      <a:ext uri="{FF2B5EF4-FFF2-40B4-BE49-F238E27FC236}">
                        <a16:creationId xmlns:a16="http://schemas.microsoft.com/office/drawing/2014/main" id="{B646EB6B-85D3-4609-94F0-FD8CCFA9112D}"/>
                      </a:ext>
                    </a:extLst>
                  </p:cNvPr>
                  <p:cNvSpPr txBox="1"/>
                  <p:nvPr/>
                </p:nvSpPr>
                <p:spPr>
                  <a:xfrm>
                    <a:off x="9708450" y="4113474"/>
                    <a:ext cx="1268298" cy="4314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Banking, Financial Services &amp; Insurance</a:t>
                    </a:r>
                    <a:endParaRPr kumimoji="0" lang="en-IN"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p:txBody>
              </p:sp>
              <p:sp>
                <p:nvSpPr>
                  <p:cNvPr id="302" name="TextBox 301">
                    <a:extLst>
                      <a:ext uri="{FF2B5EF4-FFF2-40B4-BE49-F238E27FC236}">
                        <a16:creationId xmlns:a16="http://schemas.microsoft.com/office/drawing/2014/main" id="{32035F58-7BB4-4E0F-A616-9BDAD72BD8FF}"/>
                      </a:ext>
                    </a:extLst>
                  </p:cNvPr>
                  <p:cNvSpPr txBox="1"/>
                  <p:nvPr/>
                </p:nvSpPr>
                <p:spPr>
                  <a:xfrm>
                    <a:off x="9708450" y="4761384"/>
                    <a:ext cx="1820207" cy="4314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Travel, Transport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Hospitality</a:t>
                    </a:r>
                    <a:r>
                      <a:rPr lang="en-US" sz="1200" b="1" dirty="0">
                        <a:solidFill>
                          <a:srgbClr val="FFFFFF"/>
                        </a:solidFill>
                        <a:latin typeface="+mj-lt"/>
                        <a:ea typeface="Open Sans" panose="020B0606030504020204" pitchFamily="34" charset="0"/>
                        <a:cs typeface="Open Sans" panose="020B0606030504020204" pitchFamily="34" charset="0"/>
                      </a:rPr>
                      <a:t> </a:t>
                    </a: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amp; Logistics </a:t>
                    </a:r>
                    <a:endParaRPr kumimoji="0" lang="en-IN"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p:txBody>
              </p:sp>
              <p:sp>
                <p:nvSpPr>
                  <p:cNvPr id="303" name="TextBox 302">
                    <a:extLst>
                      <a:ext uri="{FF2B5EF4-FFF2-40B4-BE49-F238E27FC236}">
                        <a16:creationId xmlns:a16="http://schemas.microsoft.com/office/drawing/2014/main" id="{B51865A6-BFA8-4DAD-80B8-EB99A47E6A18}"/>
                      </a:ext>
                    </a:extLst>
                  </p:cNvPr>
                  <p:cNvSpPr txBox="1"/>
                  <p:nvPr/>
                </p:nvSpPr>
                <p:spPr>
                  <a:xfrm>
                    <a:off x="9731337" y="5345746"/>
                    <a:ext cx="1268297" cy="4314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Public Sector &amp; Government</a:t>
                    </a:r>
                    <a:endParaRPr kumimoji="0" lang="en-IN"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p:txBody>
              </p:sp>
              <p:sp>
                <p:nvSpPr>
                  <p:cNvPr id="304" name="TextBox 303">
                    <a:extLst>
                      <a:ext uri="{FF2B5EF4-FFF2-40B4-BE49-F238E27FC236}">
                        <a16:creationId xmlns:a16="http://schemas.microsoft.com/office/drawing/2014/main" id="{19F50DFD-C9C8-48D4-87DC-3FA07F79D837}"/>
                      </a:ext>
                    </a:extLst>
                  </p:cNvPr>
                  <p:cNvSpPr txBox="1"/>
                  <p:nvPr/>
                </p:nvSpPr>
                <p:spPr>
                  <a:xfrm>
                    <a:off x="9708450" y="1504629"/>
                    <a:ext cx="1533888" cy="6039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Telecom</a:t>
                    </a:r>
                    <a:r>
                      <a:rPr lang="en-US" sz="1200" b="1" dirty="0">
                        <a:solidFill>
                          <a:srgbClr val="FFFFFF"/>
                        </a:solidFill>
                        <a:latin typeface="+mj-lt"/>
                        <a:ea typeface="Open Sans" panose="020B0606030504020204" pitchFamily="34" charset="0"/>
                        <a:cs typeface="Open Sans" panose="020B0606030504020204" pitchFamily="34" charset="0"/>
                      </a:rPr>
                      <a:t>, </a:t>
                    </a: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Media &amp; Entertainment</a:t>
                    </a:r>
                    <a:endParaRPr kumimoji="0" lang="en-IN"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p:txBody>
              </p:sp>
              <p:pic>
                <p:nvPicPr>
                  <p:cNvPr id="305" name="Graphic 304">
                    <a:extLst>
                      <a:ext uri="{FF2B5EF4-FFF2-40B4-BE49-F238E27FC236}">
                        <a16:creationId xmlns:a16="http://schemas.microsoft.com/office/drawing/2014/main" id="{38DAC1C1-A10A-4D96-B933-44C7A1668A6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684719" y="2148221"/>
                    <a:ext cx="283040" cy="283040"/>
                  </a:xfrm>
                  <a:prstGeom prst="rect">
                    <a:avLst/>
                  </a:prstGeom>
                </p:spPr>
              </p:pic>
              <p:sp>
                <p:nvSpPr>
                  <p:cNvPr id="306" name="TextBox 305">
                    <a:extLst>
                      <a:ext uri="{FF2B5EF4-FFF2-40B4-BE49-F238E27FC236}">
                        <a16:creationId xmlns:a16="http://schemas.microsoft.com/office/drawing/2014/main" id="{05E301CB-6BC6-4D2E-8BC0-5721D6B4A0FA}"/>
                      </a:ext>
                    </a:extLst>
                  </p:cNvPr>
                  <p:cNvSpPr txBox="1"/>
                  <p:nvPr/>
                </p:nvSpPr>
                <p:spPr>
                  <a:xfrm>
                    <a:off x="9742097" y="2750898"/>
                    <a:ext cx="1849035" cy="6039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Retail &amp; Consum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Packaging Goo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 </a:t>
                    </a:r>
                    <a:endParaRPr kumimoji="0" lang="en-IN"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p:txBody>
              </p:sp>
              <p:pic>
                <p:nvPicPr>
                  <p:cNvPr id="307" name="Graphic 306">
                    <a:extLst>
                      <a:ext uri="{FF2B5EF4-FFF2-40B4-BE49-F238E27FC236}">
                        <a16:creationId xmlns:a16="http://schemas.microsoft.com/office/drawing/2014/main" id="{60FD9B0F-AD3C-4448-92F8-1CEA354BFC0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720035" y="1593856"/>
                    <a:ext cx="225037" cy="225037"/>
                  </a:xfrm>
                  <a:prstGeom prst="rect">
                    <a:avLst/>
                  </a:prstGeom>
                </p:spPr>
              </p:pic>
              <p:pic>
                <p:nvPicPr>
                  <p:cNvPr id="308" name="Graphic 307">
                    <a:extLst>
                      <a:ext uri="{FF2B5EF4-FFF2-40B4-BE49-F238E27FC236}">
                        <a16:creationId xmlns:a16="http://schemas.microsoft.com/office/drawing/2014/main" id="{164BABE2-A517-41B4-B3E1-EDFB7B45557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679041" y="2792927"/>
                    <a:ext cx="301670" cy="301670"/>
                  </a:xfrm>
                  <a:prstGeom prst="rect">
                    <a:avLst/>
                  </a:prstGeom>
                </p:spPr>
              </p:pic>
              <p:pic>
                <p:nvPicPr>
                  <p:cNvPr id="309" name="Graphic 308">
                    <a:extLst>
                      <a:ext uri="{FF2B5EF4-FFF2-40B4-BE49-F238E27FC236}">
                        <a16:creationId xmlns:a16="http://schemas.microsoft.com/office/drawing/2014/main" id="{BA337410-8646-4137-B2F7-736BC3E3899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681170" y="4095717"/>
                    <a:ext cx="274365" cy="274365"/>
                  </a:xfrm>
                  <a:prstGeom prst="rect">
                    <a:avLst/>
                  </a:prstGeom>
                </p:spPr>
              </p:pic>
              <p:pic>
                <p:nvPicPr>
                  <p:cNvPr id="310" name="Graphic 309">
                    <a:extLst>
                      <a:ext uri="{FF2B5EF4-FFF2-40B4-BE49-F238E27FC236}">
                        <a16:creationId xmlns:a16="http://schemas.microsoft.com/office/drawing/2014/main" id="{851A4AF1-7F8E-4C90-98D6-FA3DDE2FB9B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1676130" y="4712808"/>
                    <a:ext cx="279405" cy="279405"/>
                  </a:xfrm>
                  <a:prstGeom prst="rect">
                    <a:avLst/>
                  </a:prstGeom>
                </p:spPr>
              </p:pic>
              <p:cxnSp>
                <p:nvCxnSpPr>
                  <p:cNvPr id="311" name="Straight Connector 310">
                    <a:extLst>
                      <a:ext uri="{FF2B5EF4-FFF2-40B4-BE49-F238E27FC236}">
                        <a16:creationId xmlns:a16="http://schemas.microsoft.com/office/drawing/2014/main" id="{D64A98CD-9C30-480A-91CE-8F9F62F65528}"/>
                      </a:ext>
                    </a:extLst>
                  </p:cNvPr>
                  <p:cNvCxnSpPr>
                    <a:cxnSpLocks/>
                  </p:cNvCxnSpPr>
                  <p:nvPr/>
                </p:nvCxnSpPr>
                <p:spPr>
                  <a:xfrm>
                    <a:off x="9637088" y="1961205"/>
                    <a:ext cx="255491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ADFA80CD-F7F8-4F42-B816-886880500E9D}"/>
                      </a:ext>
                    </a:extLst>
                  </p:cNvPr>
                  <p:cNvCxnSpPr>
                    <a:cxnSpLocks/>
                  </p:cNvCxnSpPr>
                  <p:nvPr/>
                </p:nvCxnSpPr>
                <p:spPr>
                  <a:xfrm>
                    <a:off x="9637088" y="2609115"/>
                    <a:ext cx="255491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36F8E22E-B9FC-479F-B327-9C89947F9D3E}"/>
                      </a:ext>
                    </a:extLst>
                  </p:cNvPr>
                  <p:cNvCxnSpPr>
                    <a:cxnSpLocks/>
                  </p:cNvCxnSpPr>
                  <p:nvPr/>
                </p:nvCxnSpPr>
                <p:spPr>
                  <a:xfrm>
                    <a:off x="9637088" y="3257025"/>
                    <a:ext cx="255491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68338CC4-B3F2-40D2-A727-DDAB51364193}"/>
                      </a:ext>
                    </a:extLst>
                  </p:cNvPr>
                  <p:cNvCxnSpPr>
                    <a:cxnSpLocks/>
                  </p:cNvCxnSpPr>
                  <p:nvPr/>
                </p:nvCxnSpPr>
                <p:spPr>
                  <a:xfrm>
                    <a:off x="9637088" y="3904935"/>
                    <a:ext cx="255491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30AA9497-8BF4-43E1-BDC9-7BDA05D8AFF5}"/>
                      </a:ext>
                    </a:extLst>
                  </p:cNvPr>
                  <p:cNvCxnSpPr>
                    <a:cxnSpLocks/>
                  </p:cNvCxnSpPr>
                  <p:nvPr/>
                </p:nvCxnSpPr>
                <p:spPr>
                  <a:xfrm>
                    <a:off x="9637088" y="4552845"/>
                    <a:ext cx="255491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B876BA97-0281-475A-9AD6-B6F88EC03D58}"/>
                      </a:ext>
                    </a:extLst>
                  </p:cNvPr>
                  <p:cNvCxnSpPr>
                    <a:cxnSpLocks/>
                  </p:cNvCxnSpPr>
                  <p:nvPr/>
                </p:nvCxnSpPr>
                <p:spPr>
                  <a:xfrm>
                    <a:off x="9637088" y="5200755"/>
                    <a:ext cx="255491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4413BE34-8869-4D50-8F69-C33B5FB01B6B}"/>
                      </a:ext>
                    </a:extLst>
                  </p:cNvPr>
                  <p:cNvSpPr txBox="1"/>
                  <p:nvPr/>
                </p:nvSpPr>
                <p:spPr>
                  <a:xfrm>
                    <a:off x="9708450" y="972187"/>
                    <a:ext cx="1268298" cy="4314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Healthcare &amp; Lifesciences</a:t>
                    </a:r>
                    <a:endParaRPr kumimoji="0" lang="en-IN"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p:txBody>
              </p:sp>
              <p:pic>
                <p:nvPicPr>
                  <p:cNvPr id="318" name="Graphic 317">
                    <a:extLst>
                      <a:ext uri="{FF2B5EF4-FFF2-40B4-BE49-F238E27FC236}">
                        <a16:creationId xmlns:a16="http://schemas.microsoft.com/office/drawing/2014/main" id="{5DE9226A-B866-4EB9-9423-2DCE4CC0781F}"/>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1695040" y="944559"/>
                    <a:ext cx="271230" cy="271230"/>
                  </a:xfrm>
                  <a:prstGeom prst="rect">
                    <a:avLst/>
                  </a:prstGeom>
                </p:spPr>
              </p:pic>
              <p:pic>
                <p:nvPicPr>
                  <p:cNvPr id="319" name="Graphic 318">
                    <a:extLst>
                      <a:ext uri="{FF2B5EF4-FFF2-40B4-BE49-F238E27FC236}">
                        <a16:creationId xmlns:a16="http://schemas.microsoft.com/office/drawing/2014/main" id="{0D0F5DCC-FBFE-4FF1-BC01-BCB07D69D365}"/>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1695040" y="5427210"/>
                    <a:ext cx="226164" cy="226164"/>
                  </a:xfrm>
                  <a:prstGeom prst="rect">
                    <a:avLst/>
                  </a:prstGeom>
                </p:spPr>
              </p:pic>
              <p:cxnSp>
                <p:nvCxnSpPr>
                  <p:cNvPr id="320" name="Straight Connector 319">
                    <a:extLst>
                      <a:ext uri="{FF2B5EF4-FFF2-40B4-BE49-F238E27FC236}">
                        <a16:creationId xmlns:a16="http://schemas.microsoft.com/office/drawing/2014/main" id="{D1673080-6A48-4181-BB39-2F8F44AEC1E6}"/>
                      </a:ext>
                    </a:extLst>
                  </p:cNvPr>
                  <p:cNvCxnSpPr>
                    <a:cxnSpLocks/>
                  </p:cNvCxnSpPr>
                  <p:nvPr/>
                </p:nvCxnSpPr>
                <p:spPr>
                  <a:xfrm>
                    <a:off x="9637088" y="5797794"/>
                    <a:ext cx="255491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cxnSp>
              <p:nvCxnSpPr>
                <p:cNvPr id="297" name="Straight Connector 296">
                  <a:extLst>
                    <a:ext uri="{FF2B5EF4-FFF2-40B4-BE49-F238E27FC236}">
                      <a16:creationId xmlns:a16="http://schemas.microsoft.com/office/drawing/2014/main" id="{029E83AA-EB08-4922-8519-CEA7EF869F6E}"/>
                    </a:ext>
                  </a:extLst>
                </p:cNvPr>
                <p:cNvCxnSpPr>
                  <a:cxnSpLocks/>
                </p:cNvCxnSpPr>
                <p:nvPr/>
              </p:nvCxnSpPr>
              <p:spPr>
                <a:xfrm>
                  <a:off x="9175895" y="1224157"/>
                  <a:ext cx="3097993"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295" name="TextBox 294">
                <a:extLst>
                  <a:ext uri="{FF2B5EF4-FFF2-40B4-BE49-F238E27FC236}">
                    <a16:creationId xmlns:a16="http://schemas.microsoft.com/office/drawing/2014/main" id="{C2FA263E-C5FB-4F53-8E17-BF27482CBC0A}"/>
                  </a:ext>
                </a:extLst>
              </p:cNvPr>
              <p:cNvSpPr txBox="1"/>
              <p:nvPr/>
            </p:nvSpPr>
            <p:spPr>
              <a:xfrm>
                <a:off x="9091687" y="2343104"/>
                <a:ext cx="224207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mj-lt"/>
                    <a:ea typeface="Open Sans" panose="020B0606030504020204" pitchFamily="34" charset="0"/>
                    <a:cs typeface="Open Sans" panose="020B0606030504020204" pitchFamily="34" charset="0"/>
                  </a:rPr>
                  <a:t>Energy, Resour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mj-lt"/>
                    <a:ea typeface="Open Sans" panose="020B0606030504020204" pitchFamily="34" charset="0"/>
                    <a:cs typeface="Open Sans" panose="020B0606030504020204" pitchFamily="34" charset="0"/>
                  </a:rPr>
                  <a:t>&amp; Utilities</a:t>
                </a:r>
                <a:endParaRPr kumimoji="0" lang="en-IN" sz="12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p:txBody>
          </p:sp>
        </p:grpSp>
        <p:pic>
          <p:nvPicPr>
            <p:cNvPr id="293" name="Picture 2" descr="Transparent Blue Car Png - Blue Car Icon Png, Png Download - kindpng">
              <a:extLst>
                <a:ext uri="{FF2B5EF4-FFF2-40B4-BE49-F238E27FC236}">
                  <a16:creationId xmlns:a16="http://schemas.microsoft.com/office/drawing/2014/main" id="{671F35F0-C727-4636-8F12-E3776CDB10E2}"/>
                </a:ext>
              </a:extLst>
            </p:cNvPr>
            <p:cNvPicPr>
              <a:picLocks noChangeAspect="1" noChangeArrowheads="1"/>
            </p:cNvPicPr>
            <p:nvPr/>
          </p:nvPicPr>
          <p:blipFill>
            <a:blip r:embed="rId21" cstate="screen">
              <a:clrChange>
                <a:clrFrom>
                  <a:srgbClr val="F7F7F7"/>
                </a:clrFrom>
                <a:clrTo>
                  <a:srgbClr val="F7F7F7">
                    <a:alpha val="0"/>
                  </a:srgbClr>
                </a:clrTo>
              </a:clrChange>
              <a:biLevel thresh="25000"/>
              <a:extLst>
                <a:ext uri="{28A0092B-C50C-407E-A947-70E740481C1C}">
                  <a14:useLocalDpi xmlns:a14="http://schemas.microsoft.com/office/drawing/2010/main"/>
                </a:ext>
              </a:extLst>
            </a:blip>
            <a:srcRect/>
            <a:stretch>
              <a:fillRect/>
            </a:stretch>
          </p:blipFill>
          <p:spPr bwMode="auto">
            <a:xfrm>
              <a:off x="11465980" y="3714729"/>
              <a:ext cx="440077" cy="22976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479613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 name="Rectangle: Rounded Corners 361">
            <a:extLst>
              <a:ext uri="{FF2B5EF4-FFF2-40B4-BE49-F238E27FC236}">
                <a16:creationId xmlns:a16="http://schemas.microsoft.com/office/drawing/2014/main" id="{F86B99EB-A284-4114-B172-2B44254815B6}"/>
              </a:ext>
            </a:extLst>
          </p:cNvPr>
          <p:cNvSpPr/>
          <p:nvPr/>
        </p:nvSpPr>
        <p:spPr>
          <a:xfrm>
            <a:off x="3476474"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sp>
        <p:nvSpPr>
          <p:cNvPr id="2" name="Arrow: Pentagon 1">
            <a:extLst>
              <a:ext uri="{FF2B5EF4-FFF2-40B4-BE49-F238E27FC236}">
                <a16:creationId xmlns:a16="http://schemas.microsoft.com/office/drawing/2014/main" id="{B2584FEC-C2F3-4FB7-8675-8C1AFE61795E}"/>
              </a:ext>
            </a:extLst>
          </p:cNvPr>
          <p:cNvSpPr/>
          <p:nvPr/>
        </p:nvSpPr>
        <p:spPr>
          <a:xfrm>
            <a:off x="55097" y="916581"/>
            <a:ext cx="1674892" cy="471516"/>
          </a:xfrm>
          <a:prstGeom prst="homePlate">
            <a:avLst/>
          </a:prstGeom>
          <a:solidFill>
            <a:srgbClr val="1E3A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100639" latinLnBrk="0" hangingPunct="0"/>
            <a:endParaRPr lang="en-US" sz="1200" kern="0" dirty="0">
              <a:solidFill>
                <a:schemeClr val="bg1"/>
              </a:solidFill>
              <a:cs typeface="Segoe UI" panose="020B0502040204020203" pitchFamily="34" charset="0"/>
            </a:endParaRPr>
          </a:p>
        </p:txBody>
      </p:sp>
      <p:sp>
        <p:nvSpPr>
          <p:cNvPr id="3" name="TextBox 2">
            <a:extLst>
              <a:ext uri="{FF2B5EF4-FFF2-40B4-BE49-F238E27FC236}">
                <a16:creationId xmlns:a16="http://schemas.microsoft.com/office/drawing/2014/main" id="{5240FD87-B0BB-4307-A485-A7F095775B0C}"/>
              </a:ext>
            </a:extLst>
          </p:cNvPr>
          <p:cNvSpPr txBox="1"/>
          <p:nvPr/>
        </p:nvSpPr>
        <p:spPr>
          <a:xfrm>
            <a:off x="99873" y="1021228"/>
            <a:ext cx="1377122" cy="276999"/>
          </a:xfrm>
          <a:prstGeom prst="rect">
            <a:avLst/>
          </a:prstGeom>
          <a:noFill/>
        </p:spPr>
        <p:txBody>
          <a:bodyPr wrap="square" rtlCol="0">
            <a:spAutoFit/>
          </a:bodyPr>
          <a:lstStyle/>
          <a:p>
            <a:pPr algn="ctr" defTabSz="412730" latinLnBrk="0">
              <a:defRPr/>
            </a:pPr>
            <a:r>
              <a:rPr lang="en-US" sz="1200" b="1" dirty="0">
                <a:solidFill>
                  <a:schemeClr val="bg2"/>
                </a:solidFill>
              </a:rPr>
              <a:t>HEALTHCARE</a:t>
            </a:r>
            <a:endParaRPr lang="uk-UA" sz="1200" b="1" dirty="0">
              <a:solidFill>
                <a:schemeClr val="bg2"/>
              </a:solidFill>
            </a:endParaRPr>
          </a:p>
        </p:txBody>
      </p:sp>
      <p:sp>
        <p:nvSpPr>
          <p:cNvPr id="4" name="Rectangle: Rounded Corners 3">
            <a:extLst>
              <a:ext uri="{FF2B5EF4-FFF2-40B4-BE49-F238E27FC236}">
                <a16:creationId xmlns:a16="http://schemas.microsoft.com/office/drawing/2014/main" id="{076F892D-89DA-4F43-9F92-C824007E0B90}"/>
              </a:ext>
            </a:extLst>
          </p:cNvPr>
          <p:cNvSpPr/>
          <p:nvPr/>
        </p:nvSpPr>
        <p:spPr>
          <a:xfrm>
            <a:off x="1769851" y="891856"/>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5" name="Rectangle: Rounded Corners 4">
            <a:extLst>
              <a:ext uri="{FF2B5EF4-FFF2-40B4-BE49-F238E27FC236}">
                <a16:creationId xmlns:a16="http://schemas.microsoft.com/office/drawing/2014/main" id="{7EF62D2E-4539-47B4-9B64-D1C901046E9A}"/>
              </a:ext>
            </a:extLst>
          </p:cNvPr>
          <p:cNvSpPr/>
          <p:nvPr/>
        </p:nvSpPr>
        <p:spPr>
          <a:xfrm>
            <a:off x="2611049" y="888833"/>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6" name="Rectangle: Rounded Corners 5">
            <a:extLst>
              <a:ext uri="{FF2B5EF4-FFF2-40B4-BE49-F238E27FC236}">
                <a16:creationId xmlns:a16="http://schemas.microsoft.com/office/drawing/2014/main" id="{B63E0391-1B2F-4925-8650-62E1C4A9547D}"/>
              </a:ext>
            </a:extLst>
          </p:cNvPr>
          <p:cNvSpPr/>
          <p:nvPr/>
        </p:nvSpPr>
        <p:spPr>
          <a:xfrm>
            <a:off x="3478767" y="891854"/>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7" name="Rectangle: Rounded Corners 6">
            <a:extLst>
              <a:ext uri="{FF2B5EF4-FFF2-40B4-BE49-F238E27FC236}">
                <a16:creationId xmlns:a16="http://schemas.microsoft.com/office/drawing/2014/main" id="{9B1F6EAE-AF8F-4BB5-97DD-1DCFC7E646DE}"/>
              </a:ext>
            </a:extLst>
          </p:cNvPr>
          <p:cNvSpPr/>
          <p:nvPr/>
        </p:nvSpPr>
        <p:spPr>
          <a:xfrm>
            <a:off x="4333225" y="891854"/>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8" name="Rectangle: Rounded Corners 7">
            <a:extLst>
              <a:ext uri="{FF2B5EF4-FFF2-40B4-BE49-F238E27FC236}">
                <a16:creationId xmlns:a16="http://schemas.microsoft.com/office/drawing/2014/main" id="{97E28231-7A22-4934-8F71-8C62E11B0D93}"/>
              </a:ext>
            </a:extLst>
          </p:cNvPr>
          <p:cNvSpPr/>
          <p:nvPr/>
        </p:nvSpPr>
        <p:spPr>
          <a:xfrm>
            <a:off x="5187683" y="891854"/>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9" name="Rectangle: Rounded Corners 8">
            <a:extLst>
              <a:ext uri="{FF2B5EF4-FFF2-40B4-BE49-F238E27FC236}">
                <a16:creationId xmlns:a16="http://schemas.microsoft.com/office/drawing/2014/main" id="{7484CDA8-E877-4EAF-BAD7-C8C24200FCBC}"/>
              </a:ext>
            </a:extLst>
          </p:cNvPr>
          <p:cNvSpPr/>
          <p:nvPr/>
        </p:nvSpPr>
        <p:spPr>
          <a:xfrm>
            <a:off x="6042141" y="891854"/>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10" name="Rectangle: Rounded Corners 9">
            <a:extLst>
              <a:ext uri="{FF2B5EF4-FFF2-40B4-BE49-F238E27FC236}">
                <a16:creationId xmlns:a16="http://schemas.microsoft.com/office/drawing/2014/main" id="{5854D9F5-984F-4DDA-A9FA-CAEBFE51E7DC}"/>
              </a:ext>
            </a:extLst>
          </p:cNvPr>
          <p:cNvSpPr/>
          <p:nvPr/>
        </p:nvSpPr>
        <p:spPr>
          <a:xfrm>
            <a:off x="6896599" y="891854"/>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11" name="Rectangle: Rounded Corners 10">
            <a:extLst>
              <a:ext uri="{FF2B5EF4-FFF2-40B4-BE49-F238E27FC236}">
                <a16:creationId xmlns:a16="http://schemas.microsoft.com/office/drawing/2014/main" id="{4405BE64-3E89-440B-924C-90230AC68647}"/>
              </a:ext>
            </a:extLst>
          </p:cNvPr>
          <p:cNvSpPr/>
          <p:nvPr/>
        </p:nvSpPr>
        <p:spPr>
          <a:xfrm>
            <a:off x="7751057" y="89264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12" name="Rectangle: Rounded Corners 11">
            <a:extLst>
              <a:ext uri="{FF2B5EF4-FFF2-40B4-BE49-F238E27FC236}">
                <a16:creationId xmlns:a16="http://schemas.microsoft.com/office/drawing/2014/main" id="{E519C3D1-E438-462B-AB42-CD2867B800D5}"/>
              </a:ext>
            </a:extLst>
          </p:cNvPr>
          <p:cNvSpPr/>
          <p:nvPr/>
        </p:nvSpPr>
        <p:spPr>
          <a:xfrm>
            <a:off x="8596780" y="902782"/>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13" name="Picture 30" descr="E:\STANDEE\Conduent_logo.svg.png">
            <a:extLst>
              <a:ext uri="{FF2B5EF4-FFF2-40B4-BE49-F238E27FC236}">
                <a16:creationId xmlns:a16="http://schemas.microsoft.com/office/drawing/2014/main" id="{126E192C-118D-4B8E-9ADE-02350E34C1A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57652" y="991999"/>
            <a:ext cx="632999" cy="218442"/>
          </a:xfrm>
          <a:prstGeom prst="rect">
            <a:avLst/>
          </a:prstGeom>
          <a:noFill/>
        </p:spPr>
      </p:pic>
      <p:pic>
        <p:nvPicPr>
          <p:cNvPr id="14" name="Picture 36" descr="E:\STANDEE\hoag_memorial_hsp_presbyterian.jpg">
            <a:extLst>
              <a:ext uri="{FF2B5EF4-FFF2-40B4-BE49-F238E27FC236}">
                <a16:creationId xmlns:a16="http://schemas.microsoft.com/office/drawing/2014/main" id="{45DF4D40-B928-4D75-936C-0A2BC0541E86}"/>
              </a:ext>
            </a:extLst>
          </p:cNvPr>
          <p:cNvPicPr>
            <a:picLocks noChangeAspect="1" noChangeArrowheads="1"/>
          </p:cNvPicPr>
          <p:nvPr/>
        </p:nvPicPr>
        <p:blipFill>
          <a:blip r:embed="rId4"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6233996" y="933588"/>
            <a:ext cx="342982" cy="336795"/>
          </a:xfrm>
          <a:prstGeom prst="rect">
            <a:avLst/>
          </a:prstGeom>
          <a:noFill/>
        </p:spPr>
      </p:pic>
      <p:pic>
        <p:nvPicPr>
          <p:cNvPr id="15" name="Picture 37" descr="M:\UCHealth_new.png">
            <a:extLst>
              <a:ext uri="{FF2B5EF4-FFF2-40B4-BE49-F238E27FC236}">
                <a16:creationId xmlns:a16="http://schemas.microsoft.com/office/drawing/2014/main" id="{1CB26FCC-E82B-462B-A356-01164BA7BDB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555552" y="1044241"/>
            <a:ext cx="623385" cy="160839"/>
          </a:xfrm>
          <a:prstGeom prst="rect">
            <a:avLst/>
          </a:prstGeom>
          <a:noFill/>
        </p:spPr>
      </p:pic>
      <p:pic>
        <p:nvPicPr>
          <p:cNvPr id="16" name="Picture 31" descr="E:\STANDEE\Truven_Health_Analytics_Logo.png">
            <a:extLst>
              <a:ext uri="{FF2B5EF4-FFF2-40B4-BE49-F238E27FC236}">
                <a16:creationId xmlns:a16="http://schemas.microsoft.com/office/drawing/2014/main" id="{C997CB41-532C-417D-8BBF-F6772069E5C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953341" y="1036315"/>
            <a:ext cx="628586" cy="223585"/>
          </a:xfrm>
          <a:prstGeom prst="rect">
            <a:avLst/>
          </a:prstGeom>
          <a:noFill/>
        </p:spPr>
      </p:pic>
      <p:pic>
        <p:nvPicPr>
          <p:cNvPr id="17" name="Picture 32" descr="M:\UCI-Logo-Footer.png">
            <a:extLst>
              <a:ext uri="{FF2B5EF4-FFF2-40B4-BE49-F238E27FC236}">
                <a16:creationId xmlns:a16="http://schemas.microsoft.com/office/drawing/2014/main" id="{DA10D66F-8F2B-475E-A418-AE46B892CEB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794136" y="1025330"/>
            <a:ext cx="646033" cy="192212"/>
          </a:xfrm>
          <a:prstGeom prst="rect">
            <a:avLst/>
          </a:prstGeom>
          <a:noFill/>
        </p:spPr>
      </p:pic>
      <p:pic>
        <p:nvPicPr>
          <p:cNvPr id="18" name="Picture 33" descr="E:\STANDEE\hope.jpg.png">
            <a:extLst>
              <a:ext uri="{FF2B5EF4-FFF2-40B4-BE49-F238E27FC236}">
                <a16:creationId xmlns:a16="http://schemas.microsoft.com/office/drawing/2014/main" id="{7A15FABC-3BD1-4B11-8DA2-070C4812865D}"/>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299234" y="995022"/>
            <a:ext cx="492756" cy="275361"/>
          </a:xfrm>
          <a:prstGeom prst="rect">
            <a:avLst/>
          </a:prstGeom>
          <a:noFill/>
        </p:spPr>
      </p:pic>
      <p:pic>
        <p:nvPicPr>
          <p:cNvPr id="19" name="Picture 24" descr="E:\STANDEE\prospect_logo.png">
            <a:extLst>
              <a:ext uri="{FF2B5EF4-FFF2-40B4-BE49-F238E27FC236}">
                <a16:creationId xmlns:a16="http://schemas.microsoft.com/office/drawing/2014/main" id="{ADAC302E-AE0A-4C2C-9567-7B14D1160CA4}"/>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394013" y="933586"/>
            <a:ext cx="571651" cy="326312"/>
          </a:xfrm>
          <a:prstGeom prst="rect">
            <a:avLst/>
          </a:prstGeom>
          <a:noFill/>
        </p:spPr>
      </p:pic>
      <p:pic>
        <p:nvPicPr>
          <p:cNvPr id="20" name="Picture 29" descr="E:\STANDEE\2000px-Centene_Corporation_Logo.svg.png">
            <a:extLst>
              <a:ext uri="{FF2B5EF4-FFF2-40B4-BE49-F238E27FC236}">
                <a16:creationId xmlns:a16="http://schemas.microsoft.com/office/drawing/2014/main" id="{117EEF41-220A-474B-957B-C0C8ED9AC6B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807108" y="1034702"/>
            <a:ext cx="679077" cy="225196"/>
          </a:xfrm>
          <a:prstGeom prst="rect">
            <a:avLst/>
          </a:prstGeom>
          <a:noFill/>
        </p:spPr>
      </p:pic>
      <p:pic>
        <p:nvPicPr>
          <p:cNvPr id="21" name="Picture 28" descr="M:\logo-09.png">
            <a:extLst>
              <a:ext uri="{FF2B5EF4-FFF2-40B4-BE49-F238E27FC236}">
                <a16:creationId xmlns:a16="http://schemas.microsoft.com/office/drawing/2014/main" id="{12207FA7-079F-4494-A97F-A4E284DBF9E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641328" y="1002954"/>
            <a:ext cx="670444" cy="276999"/>
          </a:xfrm>
          <a:prstGeom prst="rect">
            <a:avLst/>
          </a:prstGeom>
          <a:noFill/>
        </p:spPr>
      </p:pic>
      <p:sp>
        <p:nvSpPr>
          <p:cNvPr id="22" name="Rectangle: Rounded Corners 21">
            <a:extLst>
              <a:ext uri="{FF2B5EF4-FFF2-40B4-BE49-F238E27FC236}">
                <a16:creationId xmlns:a16="http://schemas.microsoft.com/office/drawing/2014/main" id="{6665B96E-E504-406A-BC85-52D2D5480999}"/>
              </a:ext>
            </a:extLst>
          </p:cNvPr>
          <p:cNvSpPr/>
          <p:nvPr/>
        </p:nvSpPr>
        <p:spPr>
          <a:xfrm>
            <a:off x="9456455" y="891621"/>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3" name="Rectangle: Rounded Corners 22">
            <a:extLst>
              <a:ext uri="{FF2B5EF4-FFF2-40B4-BE49-F238E27FC236}">
                <a16:creationId xmlns:a16="http://schemas.microsoft.com/office/drawing/2014/main" id="{A1BCB155-BFB3-4465-AE1C-817AAFBFE07C}"/>
              </a:ext>
            </a:extLst>
          </p:cNvPr>
          <p:cNvSpPr/>
          <p:nvPr/>
        </p:nvSpPr>
        <p:spPr>
          <a:xfrm>
            <a:off x="10310913" y="891621"/>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4" name="Rectangle: Rounded Corners 23">
            <a:extLst>
              <a:ext uri="{FF2B5EF4-FFF2-40B4-BE49-F238E27FC236}">
                <a16:creationId xmlns:a16="http://schemas.microsoft.com/office/drawing/2014/main" id="{85FFA230-41BA-4D7D-8658-DA6A315BFB8D}"/>
              </a:ext>
            </a:extLst>
          </p:cNvPr>
          <p:cNvSpPr/>
          <p:nvPr/>
        </p:nvSpPr>
        <p:spPr>
          <a:xfrm>
            <a:off x="11165369" y="892412"/>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5" name="Picture 24" descr="A close up of a logo&#10;&#10;Description automatically generated">
            <a:extLst>
              <a:ext uri="{FF2B5EF4-FFF2-40B4-BE49-F238E27FC236}">
                <a16:creationId xmlns:a16="http://schemas.microsoft.com/office/drawing/2014/main" id="{FC41586E-C6FA-4218-8AAC-E9259CD0BB59}"/>
              </a:ext>
            </a:extLst>
          </p:cNvPr>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629881" y="916381"/>
            <a:ext cx="425614" cy="425614"/>
          </a:xfrm>
          <a:prstGeom prst="rect">
            <a:avLst/>
          </a:prstGeom>
        </p:spPr>
      </p:pic>
      <p:pic>
        <p:nvPicPr>
          <p:cNvPr id="26" name="Picture 25" descr="A close up of a logo&#10;&#10;Description automatically generated">
            <a:extLst>
              <a:ext uri="{FF2B5EF4-FFF2-40B4-BE49-F238E27FC236}">
                <a16:creationId xmlns:a16="http://schemas.microsoft.com/office/drawing/2014/main" id="{25240B80-0285-43BC-A665-4D2CA468A8A2}"/>
              </a:ext>
            </a:extLst>
          </p:cNvPr>
          <p:cNvPicPr>
            <a:picLocks noChangeAspect="1"/>
          </p:cNvPicPr>
          <p:nvPr/>
        </p:nvPicPr>
        <p:blipFill rotWithShape="1">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346670" y="1031051"/>
            <a:ext cx="661086" cy="160822"/>
          </a:xfrm>
          <a:prstGeom prst="rect">
            <a:avLst/>
          </a:prstGeom>
        </p:spPr>
      </p:pic>
      <p:pic>
        <p:nvPicPr>
          <p:cNvPr id="27" name="Picture 26" descr="A picture containing clipart&#10;&#10;Description automatically generated">
            <a:extLst>
              <a:ext uri="{FF2B5EF4-FFF2-40B4-BE49-F238E27FC236}">
                <a16:creationId xmlns:a16="http://schemas.microsoft.com/office/drawing/2014/main" id="{CCF413EF-B43F-43C7-96E5-07D4EA48212B}"/>
              </a:ext>
            </a:extLst>
          </p:cNvPr>
          <p:cNvPicPr>
            <a:picLocks noChangeAspect="1"/>
          </p:cNvPicPr>
          <p:nvPr/>
        </p:nvPicPr>
        <p:blipFill rotWithShape="1">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t="-7005" r="4853"/>
          <a:stretch/>
        </p:blipFill>
        <p:spPr>
          <a:xfrm>
            <a:off x="11206232" y="1064031"/>
            <a:ext cx="692048" cy="127842"/>
          </a:xfrm>
          <a:prstGeom prst="rect">
            <a:avLst/>
          </a:prstGeom>
        </p:spPr>
      </p:pic>
      <p:sp>
        <p:nvSpPr>
          <p:cNvPr id="28" name="Rectangle: Rounded Corners 27">
            <a:extLst>
              <a:ext uri="{FF2B5EF4-FFF2-40B4-BE49-F238E27FC236}">
                <a16:creationId xmlns:a16="http://schemas.microsoft.com/office/drawing/2014/main" id="{411891E8-09BB-4DAE-8A70-FCF0B401CB71}"/>
              </a:ext>
            </a:extLst>
          </p:cNvPr>
          <p:cNvSpPr/>
          <p:nvPr/>
        </p:nvSpPr>
        <p:spPr>
          <a:xfrm>
            <a:off x="1778096"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9" name="Rectangle: Rounded Corners 28">
            <a:extLst>
              <a:ext uri="{FF2B5EF4-FFF2-40B4-BE49-F238E27FC236}">
                <a16:creationId xmlns:a16="http://schemas.microsoft.com/office/drawing/2014/main" id="{417786EB-69D0-4A76-9ECB-C61B8B5BBF24}"/>
              </a:ext>
            </a:extLst>
          </p:cNvPr>
          <p:cNvSpPr/>
          <p:nvPr/>
        </p:nvSpPr>
        <p:spPr>
          <a:xfrm>
            <a:off x="2619294"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30" name="Rectangle: Rounded Corners 29">
            <a:extLst>
              <a:ext uri="{FF2B5EF4-FFF2-40B4-BE49-F238E27FC236}">
                <a16:creationId xmlns:a16="http://schemas.microsoft.com/office/drawing/2014/main" id="{FA7ADA6A-DBA2-451F-B719-B972A0E821A5}"/>
              </a:ext>
            </a:extLst>
          </p:cNvPr>
          <p:cNvSpPr/>
          <p:nvPr/>
        </p:nvSpPr>
        <p:spPr>
          <a:xfrm>
            <a:off x="3487012"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31" name="Rectangle: Rounded Corners 30">
            <a:extLst>
              <a:ext uri="{FF2B5EF4-FFF2-40B4-BE49-F238E27FC236}">
                <a16:creationId xmlns:a16="http://schemas.microsoft.com/office/drawing/2014/main" id="{43BAB9A4-55F1-4B1C-B116-45CEBAD2F992}"/>
              </a:ext>
            </a:extLst>
          </p:cNvPr>
          <p:cNvSpPr/>
          <p:nvPr/>
        </p:nvSpPr>
        <p:spPr>
          <a:xfrm>
            <a:off x="4341470"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32" name="Rectangle: Rounded Corners 31">
            <a:extLst>
              <a:ext uri="{FF2B5EF4-FFF2-40B4-BE49-F238E27FC236}">
                <a16:creationId xmlns:a16="http://schemas.microsoft.com/office/drawing/2014/main" id="{143A87EC-1C94-4E83-8606-9754B00FD3BB}"/>
              </a:ext>
            </a:extLst>
          </p:cNvPr>
          <p:cNvSpPr/>
          <p:nvPr/>
        </p:nvSpPr>
        <p:spPr>
          <a:xfrm>
            <a:off x="5195928"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33" name="Rectangle: Rounded Corners 32">
            <a:extLst>
              <a:ext uri="{FF2B5EF4-FFF2-40B4-BE49-F238E27FC236}">
                <a16:creationId xmlns:a16="http://schemas.microsoft.com/office/drawing/2014/main" id="{A9B3AA2E-803C-4A99-8AE8-C9CF731F3CCD}"/>
              </a:ext>
            </a:extLst>
          </p:cNvPr>
          <p:cNvSpPr/>
          <p:nvPr/>
        </p:nvSpPr>
        <p:spPr>
          <a:xfrm>
            <a:off x="6050386"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34" name="Rectangle: Rounded Corners 33">
            <a:extLst>
              <a:ext uri="{FF2B5EF4-FFF2-40B4-BE49-F238E27FC236}">
                <a16:creationId xmlns:a16="http://schemas.microsoft.com/office/drawing/2014/main" id="{39FDBD49-6F02-4371-B8C4-5748A3A2E674}"/>
              </a:ext>
            </a:extLst>
          </p:cNvPr>
          <p:cNvSpPr/>
          <p:nvPr/>
        </p:nvSpPr>
        <p:spPr>
          <a:xfrm>
            <a:off x="6904844"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35" name="Picture 34" descr="A close up of a sign&#10;&#10;Description automatically generated">
            <a:extLst>
              <a:ext uri="{FF2B5EF4-FFF2-40B4-BE49-F238E27FC236}">
                <a16:creationId xmlns:a16="http://schemas.microsoft.com/office/drawing/2014/main" id="{386E7463-9036-44E6-8F36-D641E4B41459}"/>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1794259" y="1540643"/>
            <a:ext cx="709169" cy="220368"/>
          </a:xfrm>
          <a:prstGeom prst="rect">
            <a:avLst/>
          </a:prstGeom>
        </p:spPr>
      </p:pic>
      <p:pic>
        <p:nvPicPr>
          <p:cNvPr id="36" name="Picture 35" descr="A close up of a logo&#10;&#10;Description automatically generated">
            <a:extLst>
              <a:ext uri="{FF2B5EF4-FFF2-40B4-BE49-F238E27FC236}">
                <a16:creationId xmlns:a16="http://schemas.microsoft.com/office/drawing/2014/main" id="{659F2D94-1044-465C-AB58-CC2C4B1C54A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629069" y="1594788"/>
            <a:ext cx="715556" cy="112083"/>
          </a:xfrm>
          <a:prstGeom prst="rect">
            <a:avLst/>
          </a:prstGeom>
        </p:spPr>
      </p:pic>
      <p:pic>
        <p:nvPicPr>
          <p:cNvPr id="37" name="Picture 36" descr="A drawing of a face&#10;&#10;Description automatically generated">
            <a:extLst>
              <a:ext uri="{FF2B5EF4-FFF2-40B4-BE49-F238E27FC236}">
                <a16:creationId xmlns:a16="http://schemas.microsoft.com/office/drawing/2014/main" id="{4CE6D75F-603F-479F-A9A1-1C5DCDE98DFB}"/>
              </a:ext>
            </a:extLst>
          </p:cNvPr>
          <p:cNvPicPr>
            <a:picLocks noChangeAspect="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95784" y="1542883"/>
            <a:ext cx="753826" cy="215893"/>
          </a:xfrm>
          <a:prstGeom prst="rect">
            <a:avLst/>
          </a:prstGeom>
        </p:spPr>
      </p:pic>
      <p:pic>
        <p:nvPicPr>
          <p:cNvPr id="38" name="Picture 37" descr="A close up of a sign&#10;&#10;Description automatically generated">
            <a:extLst>
              <a:ext uri="{FF2B5EF4-FFF2-40B4-BE49-F238E27FC236}">
                <a16:creationId xmlns:a16="http://schemas.microsoft.com/office/drawing/2014/main" id="{1EFAC435-41C8-4F63-A0A0-946684FD6329}"/>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339087" y="1606263"/>
            <a:ext cx="748714" cy="89133"/>
          </a:xfrm>
          <a:prstGeom prst="rect">
            <a:avLst/>
          </a:prstGeom>
        </p:spPr>
      </p:pic>
      <p:pic>
        <p:nvPicPr>
          <p:cNvPr id="39" name="Picture 38">
            <a:extLst>
              <a:ext uri="{FF2B5EF4-FFF2-40B4-BE49-F238E27FC236}">
                <a16:creationId xmlns:a16="http://schemas.microsoft.com/office/drawing/2014/main" id="{F80BFEFB-DCD7-403A-9608-99AEBF317E69}"/>
              </a:ext>
            </a:extLst>
          </p:cNvPr>
          <p:cNvPicPr>
            <a:picLocks noChangeAspect="1"/>
          </p:cNvPicPr>
          <p:nvPr/>
        </p:nvPicPr>
        <p:blipFill>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56400" y="1544368"/>
            <a:ext cx="836796" cy="212918"/>
          </a:xfrm>
          <a:prstGeom prst="rect">
            <a:avLst/>
          </a:prstGeom>
        </p:spPr>
      </p:pic>
      <p:pic>
        <p:nvPicPr>
          <p:cNvPr id="40" name="Picture 39">
            <a:extLst>
              <a:ext uri="{FF2B5EF4-FFF2-40B4-BE49-F238E27FC236}">
                <a16:creationId xmlns:a16="http://schemas.microsoft.com/office/drawing/2014/main" id="{1409567E-3CBC-4DDC-9A0B-BFB9EABCF216}"/>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928764" y="1556882"/>
            <a:ext cx="701175" cy="187890"/>
          </a:xfrm>
          <a:prstGeom prst="rect">
            <a:avLst/>
          </a:prstGeom>
        </p:spPr>
      </p:pic>
      <p:pic>
        <p:nvPicPr>
          <p:cNvPr id="41" name="Picture 40" descr="A close up of a logo&#10;&#10;Description automatically generated">
            <a:extLst>
              <a:ext uri="{FF2B5EF4-FFF2-40B4-BE49-F238E27FC236}">
                <a16:creationId xmlns:a16="http://schemas.microsoft.com/office/drawing/2014/main" id="{42D249C2-A823-4FC7-9FBF-37A530FC78A1}"/>
              </a:ext>
            </a:extLst>
          </p:cNvPr>
          <p:cNvPicPr>
            <a:picLocks noChangeAspect="1"/>
          </p:cNvPicPr>
          <p:nvPr/>
        </p:nvPicPr>
        <p:blipFill>
          <a:blip r:embed="rId2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116730" y="1339891"/>
            <a:ext cx="592892" cy="592892"/>
          </a:xfrm>
          <a:prstGeom prst="rect">
            <a:avLst/>
          </a:prstGeom>
        </p:spPr>
      </p:pic>
      <p:grpSp>
        <p:nvGrpSpPr>
          <p:cNvPr id="176" name="Group 175">
            <a:extLst>
              <a:ext uri="{FF2B5EF4-FFF2-40B4-BE49-F238E27FC236}">
                <a16:creationId xmlns:a16="http://schemas.microsoft.com/office/drawing/2014/main" id="{1840A1C9-9431-4326-A85F-ED99A7B869A9}"/>
              </a:ext>
            </a:extLst>
          </p:cNvPr>
          <p:cNvGrpSpPr/>
          <p:nvPr/>
        </p:nvGrpSpPr>
        <p:grpSpPr>
          <a:xfrm>
            <a:off x="10253645" y="1474826"/>
            <a:ext cx="912537" cy="352007"/>
            <a:chOff x="10339368" y="1752806"/>
            <a:chExt cx="912537" cy="352007"/>
          </a:xfrm>
        </p:grpSpPr>
        <p:pic>
          <p:nvPicPr>
            <p:cNvPr id="47" name="Graphic 46">
              <a:extLst>
                <a:ext uri="{FF2B5EF4-FFF2-40B4-BE49-F238E27FC236}">
                  <a16:creationId xmlns:a16="http://schemas.microsoft.com/office/drawing/2014/main" id="{7D330F7A-06A7-4422-A4C7-F979B34346A7}"/>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0431166" y="1752806"/>
              <a:ext cx="684000" cy="131276"/>
            </a:xfrm>
            <a:prstGeom prst="rect">
              <a:avLst/>
            </a:prstGeom>
          </p:spPr>
        </p:pic>
        <p:sp>
          <p:nvSpPr>
            <p:cNvPr id="48" name="TextBox 47">
              <a:extLst>
                <a:ext uri="{FF2B5EF4-FFF2-40B4-BE49-F238E27FC236}">
                  <a16:creationId xmlns:a16="http://schemas.microsoft.com/office/drawing/2014/main" id="{466399F1-D76E-4CCA-9D33-E50790515330}"/>
                </a:ext>
              </a:extLst>
            </p:cNvPr>
            <p:cNvSpPr txBox="1"/>
            <p:nvPr/>
          </p:nvSpPr>
          <p:spPr>
            <a:xfrm>
              <a:off x="10339368" y="1904758"/>
              <a:ext cx="912537" cy="200055"/>
            </a:xfrm>
            <a:prstGeom prst="rect">
              <a:avLst/>
            </a:prstGeom>
            <a:noFill/>
          </p:spPr>
          <p:txBody>
            <a:bodyPr wrap="square" rtlCol="0">
              <a:spAutoFit/>
            </a:bodyPr>
            <a:lstStyle>
              <a:defPPr>
                <a:defRPr lang="en-US"/>
              </a:defPPr>
              <a:lvl1pPr algn="ctr">
                <a:defRPr sz="1400"/>
              </a:lvl1pPr>
            </a:lstStyle>
            <a:p>
              <a:pPr latinLnBrk="0">
                <a:defRPr/>
              </a:pPr>
              <a:r>
                <a:rPr lang="en-US" sz="700" dirty="0">
                  <a:solidFill>
                    <a:srgbClr val="168EA6"/>
                  </a:solidFill>
                  <a:latin typeface="+mj-lt"/>
                  <a:cs typeface="Segoe UI" panose="020B0502040204020203" pitchFamily="34" charset="0"/>
                </a:rPr>
                <a:t>Oregon and Utah</a:t>
              </a:r>
            </a:p>
          </p:txBody>
        </p:sp>
      </p:grpSp>
      <p:pic>
        <p:nvPicPr>
          <p:cNvPr id="71" name="Picture 26" descr="E:\STANDEE\925606295s.jpg">
            <a:extLst>
              <a:ext uri="{FF2B5EF4-FFF2-40B4-BE49-F238E27FC236}">
                <a16:creationId xmlns:a16="http://schemas.microsoft.com/office/drawing/2014/main" id="{7C3568DB-72B9-4C3F-B02F-6E127A7C55EB}"/>
              </a:ext>
            </a:extLst>
          </p:cNvPr>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482687" y="1470830"/>
            <a:ext cx="720000" cy="359999"/>
          </a:xfrm>
          <a:prstGeom prst="rect">
            <a:avLst/>
          </a:prstGeom>
          <a:noFill/>
        </p:spPr>
      </p:pic>
      <p:pic>
        <p:nvPicPr>
          <p:cNvPr id="145" name="Picture 12" descr="Image result for healthnet">
            <a:extLst>
              <a:ext uri="{FF2B5EF4-FFF2-40B4-BE49-F238E27FC236}">
                <a16:creationId xmlns:a16="http://schemas.microsoft.com/office/drawing/2014/main" id="{B0B54463-0650-4D57-85B8-A3E24ABA83C1}"/>
              </a:ext>
            </a:extLst>
          </p:cNvPr>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8679815" y="1469635"/>
            <a:ext cx="576000" cy="36238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 descr="Image result for healthedge logo">
            <a:extLst>
              <a:ext uri="{FF2B5EF4-FFF2-40B4-BE49-F238E27FC236}">
                <a16:creationId xmlns:a16="http://schemas.microsoft.com/office/drawing/2014/main" id="{F2CD7428-28FC-44F2-9605-40B5C4000776}"/>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a:stretch/>
        </p:blipFill>
        <p:spPr bwMode="auto">
          <a:xfrm>
            <a:off x="7783154" y="1518966"/>
            <a:ext cx="720000" cy="263722"/>
          </a:xfrm>
          <a:prstGeom prst="rect">
            <a:avLst/>
          </a:prstGeom>
          <a:noFill/>
          <a:extLst>
            <a:ext uri="{909E8E84-426E-40DD-AFC4-6F175D3DCCD1}">
              <a14:hiddenFill xmlns:a14="http://schemas.microsoft.com/office/drawing/2010/main">
                <a:solidFill>
                  <a:srgbClr val="FFFFFF"/>
                </a:solidFill>
              </a14:hiddenFill>
            </a:ext>
          </a:extLst>
        </p:spPr>
      </p:pic>
      <p:sp>
        <p:nvSpPr>
          <p:cNvPr id="169" name="Rectangle: Rounded Corners 168">
            <a:extLst>
              <a:ext uri="{FF2B5EF4-FFF2-40B4-BE49-F238E27FC236}">
                <a16:creationId xmlns:a16="http://schemas.microsoft.com/office/drawing/2014/main" id="{64D14F7C-0A87-40A8-ABC8-D6A100C090F0}"/>
              </a:ext>
            </a:extLst>
          </p:cNvPr>
          <p:cNvSpPr/>
          <p:nvPr/>
        </p:nvSpPr>
        <p:spPr>
          <a:xfrm>
            <a:off x="7751057"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170" name="Rectangle: Rounded Corners 169">
            <a:extLst>
              <a:ext uri="{FF2B5EF4-FFF2-40B4-BE49-F238E27FC236}">
                <a16:creationId xmlns:a16="http://schemas.microsoft.com/office/drawing/2014/main" id="{8985DC99-C03E-4AE3-9975-C296B9EA7B26}"/>
              </a:ext>
            </a:extLst>
          </p:cNvPr>
          <p:cNvSpPr/>
          <p:nvPr/>
        </p:nvSpPr>
        <p:spPr>
          <a:xfrm>
            <a:off x="8596780"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171" name="Rectangle: Rounded Corners 170">
            <a:extLst>
              <a:ext uri="{FF2B5EF4-FFF2-40B4-BE49-F238E27FC236}">
                <a16:creationId xmlns:a16="http://schemas.microsoft.com/office/drawing/2014/main" id="{14A2FC0F-A2A2-4338-AE58-8CF750449A36}"/>
              </a:ext>
            </a:extLst>
          </p:cNvPr>
          <p:cNvSpPr/>
          <p:nvPr/>
        </p:nvSpPr>
        <p:spPr>
          <a:xfrm>
            <a:off x="9456455"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172" name="Rectangle: Rounded Corners 171">
            <a:extLst>
              <a:ext uri="{FF2B5EF4-FFF2-40B4-BE49-F238E27FC236}">
                <a16:creationId xmlns:a16="http://schemas.microsoft.com/office/drawing/2014/main" id="{5892EFE4-B53A-4248-8109-934685BBA7DC}"/>
              </a:ext>
            </a:extLst>
          </p:cNvPr>
          <p:cNvSpPr/>
          <p:nvPr/>
        </p:nvSpPr>
        <p:spPr>
          <a:xfrm>
            <a:off x="10310913" y="141999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173" name="Rectangle: Rounded Corners 172">
            <a:extLst>
              <a:ext uri="{FF2B5EF4-FFF2-40B4-BE49-F238E27FC236}">
                <a16:creationId xmlns:a16="http://schemas.microsoft.com/office/drawing/2014/main" id="{7924E59E-62D1-4D56-929B-CDF311634107}"/>
              </a:ext>
            </a:extLst>
          </p:cNvPr>
          <p:cNvSpPr/>
          <p:nvPr/>
        </p:nvSpPr>
        <p:spPr>
          <a:xfrm>
            <a:off x="11165369" y="1419995"/>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grpSp>
        <p:nvGrpSpPr>
          <p:cNvPr id="177" name="Group 176">
            <a:extLst>
              <a:ext uri="{FF2B5EF4-FFF2-40B4-BE49-F238E27FC236}">
                <a16:creationId xmlns:a16="http://schemas.microsoft.com/office/drawing/2014/main" id="{56D425B2-CFD9-4366-BDEF-DC734C2C2A29}"/>
              </a:ext>
            </a:extLst>
          </p:cNvPr>
          <p:cNvGrpSpPr/>
          <p:nvPr/>
        </p:nvGrpSpPr>
        <p:grpSpPr>
          <a:xfrm>
            <a:off x="11044522" y="1458720"/>
            <a:ext cx="1020768" cy="347766"/>
            <a:chOff x="11082622" y="1752806"/>
            <a:chExt cx="1020768" cy="347766"/>
          </a:xfrm>
        </p:grpSpPr>
        <p:pic>
          <p:nvPicPr>
            <p:cNvPr id="174" name="Graphic 173">
              <a:extLst>
                <a:ext uri="{FF2B5EF4-FFF2-40B4-BE49-F238E27FC236}">
                  <a16:creationId xmlns:a16="http://schemas.microsoft.com/office/drawing/2014/main" id="{170D99D9-4637-4D9A-B81C-02C6BB590B2A}"/>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1251006" y="1752806"/>
              <a:ext cx="684000" cy="131276"/>
            </a:xfrm>
            <a:prstGeom prst="rect">
              <a:avLst/>
            </a:prstGeom>
          </p:spPr>
        </p:pic>
        <p:sp>
          <p:nvSpPr>
            <p:cNvPr id="175" name="TextBox 174">
              <a:extLst>
                <a:ext uri="{FF2B5EF4-FFF2-40B4-BE49-F238E27FC236}">
                  <a16:creationId xmlns:a16="http://schemas.microsoft.com/office/drawing/2014/main" id="{31B602FF-1C8C-4F3A-8C3B-36125CCBE5A4}"/>
                </a:ext>
              </a:extLst>
            </p:cNvPr>
            <p:cNvSpPr txBox="1"/>
            <p:nvPr/>
          </p:nvSpPr>
          <p:spPr>
            <a:xfrm>
              <a:off x="11082622" y="1915906"/>
              <a:ext cx="1020768" cy="184666"/>
            </a:xfrm>
            <a:prstGeom prst="rect">
              <a:avLst/>
            </a:prstGeom>
            <a:noFill/>
          </p:spPr>
          <p:txBody>
            <a:bodyPr wrap="square" rtlCol="0">
              <a:spAutoFit/>
            </a:bodyPr>
            <a:lstStyle>
              <a:defPPr>
                <a:defRPr lang="en-US"/>
              </a:defPPr>
              <a:lvl1pPr algn="ctr">
                <a:defRPr sz="1400"/>
              </a:lvl1pPr>
            </a:lstStyle>
            <a:p>
              <a:pPr latinLnBrk="0">
                <a:defRPr/>
              </a:pPr>
              <a:r>
                <a:rPr lang="en-US" sz="600" dirty="0">
                  <a:solidFill>
                    <a:srgbClr val="168EA6"/>
                  </a:solidFill>
                  <a:latin typeface="Arial Narrow" panose="020B0606020202030204" pitchFamily="34" charset="0"/>
                  <a:cs typeface="Segoe UI" panose="020B0502040204020203" pitchFamily="34" charset="0"/>
                </a:rPr>
                <a:t>Idaho and Washington</a:t>
              </a:r>
            </a:p>
          </p:txBody>
        </p:sp>
      </p:grpSp>
      <p:pic>
        <p:nvPicPr>
          <p:cNvPr id="238" name="Picture 237">
            <a:extLst>
              <a:ext uri="{FF2B5EF4-FFF2-40B4-BE49-F238E27FC236}">
                <a16:creationId xmlns:a16="http://schemas.microsoft.com/office/drawing/2014/main" id="{72FD886D-7625-4031-A3A0-A68D89CD56B6}"/>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813872" y="2722998"/>
            <a:ext cx="678573" cy="222035"/>
          </a:xfrm>
          <a:prstGeom prst="rect">
            <a:avLst/>
          </a:prstGeom>
          <a:noFill/>
          <a:ln>
            <a:noFill/>
          </a:ln>
        </p:spPr>
      </p:pic>
      <p:sp>
        <p:nvSpPr>
          <p:cNvPr id="239" name="Rectangle: Rounded Corners 238">
            <a:extLst>
              <a:ext uri="{FF2B5EF4-FFF2-40B4-BE49-F238E27FC236}">
                <a16:creationId xmlns:a16="http://schemas.microsoft.com/office/drawing/2014/main" id="{BCCB90B1-FB22-4002-A5F7-59D346718545}"/>
              </a:ext>
            </a:extLst>
          </p:cNvPr>
          <p:cNvSpPr/>
          <p:nvPr/>
        </p:nvSpPr>
        <p:spPr>
          <a:xfrm>
            <a:off x="1782121" y="2603183"/>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40" name="Rectangle: Rounded Corners 239">
            <a:extLst>
              <a:ext uri="{FF2B5EF4-FFF2-40B4-BE49-F238E27FC236}">
                <a16:creationId xmlns:a16="http://schemas.microsoft.com/office/drawing/2014/main" id="{BE60CDE3-9C45-42D6-B454-87244F90A619}"/>
              </a:ext>
            </a:extLst>
          </p:cNvPr>
          <p:cNvSpPr/>
          <p:nvPr/>
        </p:nvSpPr>
        <p:spPr>
          <a:xfrm>
            <a:off x="2608756"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41" name="Rectangle: Rounded Corners 240">
            <a:extLst>
              <a:ext uri="{FF2B5EF4-FFF2-40B4-BE49-F238E27FC236}">
                <a16:creationId xmlns:a16="http://schemas.microsoft.com/office/drawing/2014/main" id="{1FF7302A-39F3-474C-BBBE-BB654F75CAD4}"/>
              </a:ext>
            </a:extLst>
          </p:cNvPr>
          <p:cNvSpPr/>
          <p:nvPr/>
        </p:nvSpPr>
        <p:spPr>
          <a:xfrm>
            <a:off x="3476474"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42" name="Rectangle: Rounded Corners 241">
            <a:extLst>
              <a:ext uri="{FF2B5EF4-FFF2-40B4-BE49-F238E27FC236}">
                <a16:creationId xmlns:a16="http://schemas.microsoft.com/office/drawing/2014/main" id="{2074BF15-4366-4829-ADE4-81E8625F0BDA}"/>
              </a:ext>
            </a:extLst>
          </p:cNvPr>
          <p:cNvSpPr/>
          <p:nvPr/>
        </p:nvSpPr>
        <p:spPr>
          <a:xfrm>
            <a:off x="4330932"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43" name="Picture 242">
            <a:extLst>
              <a:ext uri="{FF2B5EF4-FFF2-40B4-BE49-F238E27FC236}">
                <a16:creationId xmlns:a16="http://schemas.microsoft.com/office/drawing/2014/main" id="{760F581E-54B0-4110-B162-D7570BFD87C8}"/>
              </a:ext>
            </a:extLst>
          </p:cNvPr>
          <p:cNvPicPr>
            <a:picLocks noChangeAspect="1"/>
          </p:cNvPicPr>
          <p:nvPr/>
        </p:nvPicPr>
        <p:blipFill>
          <a:blip r:embed="rId28" cstate="screen">
            <a:extLst>
              <a:ext uri="{BEBA8EAE-BF5A-486C-A8C5-ECC9F3942E4B}">
                <a14:imgProps xmlns:a14="http://schemas.microsoft.com/office/drawing/2010/main">
                  <a14:imgLayer r:embed="rId29">
                    <a14:imgEffect>
                      <a14:backgroundRemoval t="345" b="100000" l="0" r="99844">
                        <a14:foregroundMark x1="7969" y1="95167" x2="7969" y2="95167"/>
                        <a14:foregroundMark x1="7969" y1="95167" x2="10000" y2="88032"/>
                        <a14:foregroundMark x1="17969" y1="85040" x2="14219" y2="92290"/>
                        <a14:foregroundMark x1="37266" y1="79747" x2="37266" y2="95052"/>
                        <a14:foregroundMark x1="50781" y1="84810" x2="50234" y2="95857"/>
                        <a14:foregroundMark x1="56172" y1="79287" x2="57188" y2="99079"/>
                        <a14:foregroundMark x1="67422" y1="83314" x2="62813" y2="86306"/>
                        <a14:foregroundMark x1="77188" y1="86076" x2="76641" y2="99885"/>
                        <a14:foregroundMark x1="90703" y1="86881" x2="90313" y2="95167"/>
                        <a14:backgroundMark x1="11172" y1="8631" x2="12188" y2="35788"/>
                      </a14:backgroundRemoval>
                    </a14:imgEffect>
                  </a14:imgLayer>
                </a14:imgProps>
              </a:ext>
              <a:ext uri="{28A0092B-C50C-407E-A947-70E740481C1C}">
                <a14:useLocalDpi xmlns:a14="http://schemas.microsoft.com/office/drawing/2010/main"/>
              </a:ext>
            </a:extLst>
          </a:blip>
          <a:stretch>
            <a:fillRect/>
          </a:stretch>
        </p:blipFill>
        <p:spPr>
          <a:xfrm>
            <a:off x="2753669" y="2144746"/>
            <a:ext cx="452244" cy="341851"/>
          </a:xfrm>
          <a:prstGeom prst="rect">
            <a:avLst/>
          </a:prstGeom>
        </p:spPr>
      </p:pic>
      <p:pic>
        <p:nvPicPr>
          <p:cNvPr id="244" name="Picture 243">
            <a:extLst>
              <a:ext uri="{FF2B5EF4-FFF2-40B4-BE49-F238E27FC236}">
                <a16:creationId xmlns:a16="http://schemas.microsoft.com/office/drawing/2014/main" id="{FB26AB1C-443E-4070-AAEB-7F4488B95C5D}"/>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3518378" y="2222887"/>
            <a:ext cx="658267" cy="185569"/>
          </a:xfrm>
          <a:prstGeom prst="rect">
            <a:avLst/>
          </a:prstGeom>
        </p:spPr>
      </p:pic>
      <p:sp>
        <p:nvSpPr>
          <p:cNvPr id="245" name="Rectangle: Rounded Corners 244">
            <a:extLst>
              <a:ext uri="{FF2B5EF4-FFF2-40B4-BE49-F238E27FC236}">
                <a16:creationId xmlns:a16="http://schemas.microsoft.com/office/drawing/2014/main" id="{B03B736E-B9EA-4C67-BBB1-2B82577855B8}"/>
              </a:ext>
            </a:extLst>
          </p:cNvPr>
          <p:cNvSpPr/>
          <p:nvPr/>
        </p:nvSpPr>
        <p:spPr>
          <a:xfrm>
            <a:off x="5195928"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46" name="Picture 245">
            <a:extLst>
              <a:ext uri="{FF2B5EF4-FFF2-40B4-BE49-F238E27FC236}">
                <a16:creationId xmlns:a16="http://schemas.microsoft.com/office/drawing/2014/main" id="{DBEFA709-D825-43FD-B927-BDE0BA4EDB82}"/>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4456594" y="2150451"/>
            <a:ext cx="490746" cy="330436"/>
          </a:xfrm>
          <a:prstGeom prst="rect">
            <a:avLst/>
          </a:prstGeom>
        </p:spPr>
      </p:pic>
      <p:pic>
        <p:nvPicPr>
          <p:cNvPr id="247" name="Picture 2" descr="Image result for ericsson logo png">
            <a:extLst>
              <a:ext uri="{FF2B5EF4-FFF2-40B4-BE49-F238E27FC236}">
                <a16:creationId xmlns:a16="http://schemas.microsoft.com/office/drawing/2014/main" id="{84E759EB-9F5B-4926-832E-366C65FEEE95}"/>
              </a:ext>
            </a:extLst>
          </p:cNvPr>
          <p:cNvPicPr>
            <a:picLocks noChangeAspect="1" noChangeArrowheads="1"/>
          </p:cNvPicPr>
          <p:nvPr/>
        </p:nvPicPr>
        <p:blipFill>
          <a:blip r:embed="rId3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349531" y="2136092"/>
            <a:ext cx="434864" cy="359159"/>
          </a:xfrm>
          <a:prstGeom prst="rect">
            <a:avLst/>
          </a:prstGeom>
          <a:noFill/>
          <a:extLst>
            <a:ext uri="{909E8E84-426E-40DD-AFC4-6F175D3DCCD1}">
              <a14:hiddenFill xmlns:a14="http://schemas.microsoft.com/office/drawing/2010/main">
                <a:solidFill>
                  <a:srgbClr val="FFFFFF"/>
                </a:solidFill>
              </a14:hiddenFill>
            </a:ext>
          </a:extLst>
        </p:spPr>
      </p:pic>
      <p:sp>
        <p:nvSpPr>
          <p:cNvPr id="248" name="Rectangle: Rounded Corners 247">
            <a:extLst>
              <a:ext uri="{FF2B5EF4-FFF2-40B4-BE49-F238E27FC236}">
                <a16:creationId xmlns:a16="http://schemas.microsoft.com/office/drawing/2014/main" id="{DFC47E7B-0785-4B8A-A687-4DC4C0752AA0}"/>
              </a:ext>
            </a:extLst>
          </p:cNvPr>
          <p:cNvSpPr/>
          <p:nvPr/>
        </p:nvSpPr>
        <p:spPr>
          <a:xfrm>
            <a:off x="6039848"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49" name="Picture 2" descr="Image result for at&amp;t logo png">
            <a:extLst>
              <a:ext uri="{FF2B5EF4-FFF2-40B4-BE49-F238E27FC236}">
                <a16:creationId xmlns:a16="http://schemas.microsoft.com/office/drawing/2014/main" id="{547F0CB0-148B-43C0-9AC2-19C59C62C722}"/>
              </a:ext>
            </a:extLst>
          </p:cNvPr>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07648" y="2190912"/>
            <a:ext cx="606470" cy="249519"/>
          </a:xfrm>
          <a:prstGeom prst="rect">
            <a:avLst/>
          </a:prstGeom>
          <a:noFill/>
          <a:extLst>
            <a:ext uri="{909E8E84-426E-40DD-AFC4-6F175D3DCCD1}">
              <a14:hiddenFill xmlns:a14="http://schemas.microsoft.com/office/drawing/2010/main">
                <a:solidFill>
                  <a:srgbClr val="FFFFFF"/>
                </a:solidFill>
              </a14:hiddenFill>
            </a:ext>
          </a:extLst>
        </p:spPr>
      </p:pic>
      <p:sp>
        <p:nvSpPr>
          <p:cNvPr id="250" name="Rectangle: Rounded Corners 249">
            <a:extLst>
              <a:ext uri="{FF2B5EF4-FFF2-40B4-BE49-F238E27FC236}">
                <a16:creationId xmlns:a16="http://schemas.microsoft.com/office/drawing/2014/main" id="{4C2B29EF-0252-4336-8BC9-FF532F96E8AA}"/>
              </a:ext>
            </a:extLst>
          </p:cNvPr>
          <p:cNvSpPr/>
          <p:nvPr/>
        </p:nvSpPr>
        <p:spPr>
          <a:xfrm>
            <a:off x="6894306"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51" name="Picture 6" descr="M:\Logo_of_Sprint_Nextel.svg.png">
            <a:extLst>
              <a:ext uri="{FF2B5EF4-FFF2-40B4-BE49-F238E27FC236}">
                <a16:creationId xmlns:a16="http://schemas.microsoft.com/office/drawing/2014/main" id="{4EA82308-2EA0-4A7B-810C-F73C17B3FD24}"/>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6951530" y="2185439"/>
            <a:ext cx="627627" cy="260465"/>
          </a:xfrm>
          <a:prstGeom prst="rect">
            <a:avLst/>
          </a:prstGeom>
          <a:noFill/>
        </p:spPr>
      </p:pic>
      <p:pic>
        <p:nvPicPr>
          <p:cNvPr id="252" name="Picture 251">
            <a:extLst>
              <a:ext uri="{FF2B5EF4-FFF2-40B4-BE49-F238E27FC236}">
                <a16:creationId xmlns:a16="http://schemas.microsoft.com/office/drawing/2014/main" id="{CA55A3C6-B830-4B8D-B5F9-E66124CDBCE1}"/>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7813808" y="2152894"/>
            <a:ext cx="616573" cy="325550"/>
          </a:xfrm>
          <a:prstGeom prst="rect">
            <a:avLst/>
          </a:prstGeom>
        </p:spPr>
      </p:pic>
      <p:sp>
        <p:nvSpPr>
          <p:cNvPr id="253" name="Rectangle: Rounded Corners 252">
            <a:extLst>
              <a:ext uri="{FF2B5EF4-FFF2-40B4-BE49-F238E27FC236}">
                <a16:creationId xmlns:a16="http://schemas.microsoft.com/office/drawing/2014/main" id="{9F949B50-AABC-481A-A524-6F5359D3CC9A}"/>
              </a:ext>
            </a:extLst>
          </p:cNvPr>
          <p:cNvSpPr/>
          <p:nvPr/>
        </p:nvSpPr>
        <p:spPr>
          <a:xfrm>
            <a:off x="7751057"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54" name="Rectangle: Rounded Corners 253">
            <a:extLst>
              <a:ext uri="{FF2B5EF4-FFF2-40B4-BE49-F238E27FC236}">
                <a16:creationId xmlns:a16="http://schemas.microsoft.com/office/drawing/2014/main" id="{892538AE-8AF8-4401-AC4D-EE7C5B3535C0}"/>
              </a:ext>
            </a:extLst>
          </p:cNvPr>
          <p:cNvSpPr/>
          <p:nvPr/>
        </p:nvSpPr>
        <p:spPr>
          <a:xfrm>
            <a:off x="8596780"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55" name="Rectangle: Rounded Corners 254">
            <a:extLst>
              <a:ext uri="{FF2B5EF4-FFF2-40B4-BE49-F238E27FC236}">
                <a16:creationId xmlns:a16="http://schemas.microsoft.com/office/drawing/2014/main" id="{592C4FEB-8562-4E7F-AA62-6614CA42A1D0}"/>
              </a:ext>
            </a:extLst>
          </p:cNvPr>
          <p:cNvSpPr/>
          <p:nvPr/>
        </p:nvSpPr>
        <p:spPr>
          <a:xfrm>
            <a:off x="9445917"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56" name="Picture 255" descr="Image result for huawei logo png">
            <a:extLst>
              <a:ext uri="{FF2B5EF4-FFF2-40B4-BE49-F238E27FC236}">
                <a16:creationId xmlns:a16="http://schemas.microsoft.com/office/drawing/2014/main" id="{176A02A7-D7D6-497F-B2F7-91F4ACF7469F}"/>
              </a:ext>
            </a:extLst>
          </p:cNvPr>
          <p:cNvPicPr/>
          <p:nvPr/>
        </p:nvPicPr>
        <p:blipFill>
          <a:blip r:embed="rId36" cstate="screen">
            <a:extLst>
              <a:ext uri="{28A0092B-C50C-407E-A947-70E740481C1C}">
                <a14:useLocalDpi xmlns:a14="http://schemas.microsoft.com/office/drawing/2010/main"/>
              </a:ext>
            </a:extLst>
          </a:blip>
          <a:srcRect/>
          <a:stretch>
            <a:fillRect/>
          </a:stretch>
        </p:blipFill>
        <p:spPr bwMode="auto">
          <a:xfrm>
            <a:off x="8749495" y="2138701"/>
            <a:ext cx="436640" cy="353941"/>
          </a:xfrm>
          <a:prstGeom prst="rect">
            <a:avLst/>
          </a:prstGeom>
          <a:noFill/>
          <a:ln>
            <a:noFill/>
          </a:ln>
        </p:spPr>
      </p:pic>
      <p:pic>
        <p:nvPicPr>
          <p:cNvPr id="257" name="Picture 4" descr="M:\Coriant_Logo.svg.png">
            <a:extLst>
              <a:ext uri="{FF2B5EF4-FFF2-40B4-BE49-F238E27FC236}">
                <a16:creationId xmlns:a16="http://schemas.microsoft.com/office/drawing/2014/main" id="{850D7384-6B5F-4AD6-A75D-01A96B141416}"/>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9504159" y="2192112"/>
            <a:ext cx="625591" cy="247114"/>
          </a:xfrm>
          <a:prstGeom prst="rect">
            <a:avLst/>
          </a:prstGeom>
          <a:noFill/>
        </p:spPr>
      </p:pic>
      <p:pic>
        <p:nvPicPr>
          <p:cNvPr id="258" name="Picture 257">
            <a:extLst>
              <a:ext uri="{FF2B5EF4-FFF2-40B4-BE49-F238E27FC236}">
                <a16:creationId xmlns:a16="http://schemas.microsoft.com/office/drawing/2014/main" id="{A50558C2-4BD3-4BE1-BDA1-0965DDADFF26}"/>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0402573" y="2226406"/>
            <a:ext cx="537679" cy="178526"/>
          </a:xfrm>
          <a:prstGeom prst="rect">
            <a:avLst/>
          </a:prstGeom>
        </p:spPr>
      </p:pic>
      <p:sp>
        <p:nvSpPr>
          <p:cNvPr id="259" name="Rectangle: Rounded Corners 258">
            <a:extLst>
              <a:ext uri="{FF2B5EF4-FFF2-40B4-BE49-F238E27FC236}">
                <a16:creationId xmlns:a16="http://schemas.microsoft.com/office/drawing/2014/main" id="{8646EFDD-C50B-417A-8E1C-DD47B1D86B4D}"/>
              </a:ext>
            </a:extLst>
          </p:cNvPr>
          <p:cNvSpPr/>
          <p:nvPr/>
        </p:nvSpPr>
        <p:spPr>
          <a:xfrm>
            <a:off x="10300375"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60" name="Picture 12" descr="M:\Qualcomm-logo.png">
            <a:extLst>
              <a:ext uri="{FF2B5EF4-FFF2-40B4-BE49-F238E27FC236}">
                <a16:creationId xmlns:a16="http://schemas.microsoft.com/office/drawing/2014/main" id="{A2B3AE71-8963-42D7-AA6B-471EE8D5CBD6}"/>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11203087" y="2222628"/>
            <a:ext cx="645562" cy="186083"/>
          </a:xfrm>
          <a:prstGeom prst="rect">
            <a:avLst/>
          </a:prstGeom>
          <a:noFill/>
        </p:spPr>
      </p:pic>
      <p:sp>
        <p:nvSpPr>
          <p:cNvPr id="261" name="Rectangle: Rounded Corners 260">
            <a:extLst>
              <a:ext uri="{FF2B5EF4-FFF2-40B4-BE49-F238E27FC236}">
                <a16:creationId xmlns:a16="http://schemas.microsoft.com/office/drawing/2014/main" id="{844A539A-AD3C-4012-B2EE-29C2D9A1A807}"/>
              </a:ext>
            </a:extLst>
          </p:cNvPr>
          <p:cNvSpPr/>
          <p:nvPr/>
        </p:nvSpPr>
        <p:spPr>
          <a:xfrm>
            <a:off x="11154831" y="2084837"/>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62" name="Rectangle: Rounded Corners 261">
            <a:extLst>
              <a:ext uri="{FF2B5EF4-FFF2-40B4-BE49-F238E27FC236}">
                <a16:creationId xmlns:a16="http://schemas.microsoft.com/office/drawing/2014/main" id="{C1F1A85E-B564-46B4-8C5B-0A2B91343F91}"/>
              </a:ext>
            </a:extLst>
          </p:cNvPr>
          <p:cNvSpPr/>
          <p:nvPr/>
        </p:nvSpPr>
        <p:spPr>
          <a:xfrm>
            <a:off x="6039848" y="2603183"/>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63" name="Picture 48" descr="M:\neustar_logo_2016.png">
            <a:extLst>
              <a:ext uri="{FF2B5EF4-FFF2-40B4-BE49-F238E27FC236}">
                <a16:creationId xmlns:a16="http://schemas.microsoft.com/office/drawing/2014/main" id="{54EE5DFB-00BD-459C-9532-8D3AFD5BACC6}"/>
              </a:ext>
            </a:extLst>
          </p:cNvPr>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6047651" y="2707599"/>
            <a:ext cx="726464" cy="252828"/>
          </a:xfrm>
          <a:prstGeom prst="rect">
            <a:avLst/>
          </a:prstGeom>
          <a:noFill/>
        </p:spPr>
      </p:pic>
      <p:sp>
        <p:nvSpPr>
          <p:cNvPr id="264" name="Rectangle: Rounded Corners 263">
            <a:extLst>
              <a:ext uri="{FF2B5EF4-FFF2-40B4-BE49-F238E27FC236}">
                <a16:creationId xmlns:a16="http://schemas.microsoft.com/office/drawing/2014/main" id="{ADDADF6B-811E-4FED-A8E1-1F16ABD23074}"/>
              </a:ext>
            </a:extLst>
          </p:cNvPr>
          <p:cNvSpPr/>
          <p:nvPr/>
        </p:nvSpPr>
        <p:spPr>
          <a:xfrm>
            <a:off x="1782121" y="208483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65" name="Rectangle: Rounded Corners 264">
            <a:extLst>
              <a:ext uri="{FF2B5EF4-FFF2-40B4-BE49-F238E27FC236}">
                <a16:creationId xmlns:a16="http://schemas.microsoft.com/office/drawing/2014/main" id="{3687E738-7199-430E-9FE8-EEB335B4BD9C}"/>
              </a:ext>
            </a:extLst>
          </p:cNvPr>
          <p:cNvSpPr/>
          <p:nvPr/>
        </p:nvSpPr>
        <p:spPr>
          <a:xfrm>
            <a:off x="2608756" y="2603183"/>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66" name="Picture 265" descr="Related image">
            <a:extLst>
              <a:ext uri="{FF2B5EF4-FFF2-40B4-BE49-F238E27FC236}">
                <a16:creationId xmlns:a16="http://schemas.microsoft.com/office/drawing/2014/main" id="{526ABE7D-B511-47B9-B1F4-A4862C1DCBCC}"/>
              </a:ext>
            </a:extLst>
          </p:cNvPr>
          <p:cNvPicPr/>
          <p:nvPr/>
        </p:nvPicPr>
        <p:blipFill>
          <a:blip r:embed="rId41" cstate="screen">
            <a:clrChange>
              <a:clrFrom>
                <a:srgbClr val="F2F2F2"/>
              </a:clrFrom>
              <a:clrTo>
                <a:srgbClr val="F2F2F2">
                  <a:alpha val="0"/>
                </a:srgbClr>
              </a:clrTo>
            </a:clrChange>
            <a:extLst>
              <a:ext uri="{28A0092B-C50C-407E-A947-70E740481C1C}">
                <a14:useLocalDpi xmlns:a14="http://schemas.microsoft.com/office/drawing/2010/main"/>
              </a:ext>
            </a:extLst>
          </a:blip>
          <a:srcRect/>
          <a:stretch>
            <a:fillRect/>
          </a:stretch>
        </p:blipFill>
        <p:spPr bwMode="auto">
          <a:xfrm>
            <a:off x="1804333" y="2099458"/>
            <a:ext cx="792321" cy="461665"/>
          </a:xfrm>
          <a:prstGeom prst="rect">
            <a:avLst/>
          </a:prstGeom>
          <a:noFill/>
          <a:ln>
            <a:noFill/>
          </a:ln>
        </p:spPr>
      </p:pic>
      <p:pic>
        <p:nvPicPr>
          <p:cNvPr id="267" name="Picture 38" descr="M:\DSC_pos.png">
            <a:extLst>
              <a:ext uri="{FF2B5EF4-FFF2-40B4-BE49-F238E27FC236}">
                <a16:creationId xmlns:a16="http://schemas.microsoft.com/office/drawing/2014/main" id="{0CD18F52-E27D-497D-BBF3-4AA5F1265007}"/>
              </a:ext>
            </a:extLst>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2626695" y="2733353"/>
            <a:ext cx="706197" cy="201325"/>
          </a:xfrm>
          <a:prstGeom prst="rect">
            <a:avLst/>
          </a:prstGeom>
          <a:noFill/>
        </p:spPr>
      </p:pic>
      <p:pic>
        <p:nvPicPr>
          <p:cNvPr id="268" name="Picture 267" descr="A picture containing clipart&#10;&#10;Description automatically generated">
            <a:extLst>
              <a:ext uri="{FF2B5EF4-FFF2-40B4-BE49-F238E27FC236}">
                <a16:creationId xmlns:a16="http://schemas.microsoft.com/office/drawing/2014/main" id="{335509C2-E521-489D-A65E-F0A96B704C22}"/>
              </a:ext>
            </a:extLst>
          </p:cNvPr>
          <p:cNvPicPr>
            <a:picLocks noChangeAspect="1"/>
          </p:cNvPicPr>
          <p:nvPr/>
        </p:nvPicPr>
        <p:blipFill>
          <a:blip r:embed="rId4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96566" y="2724616"/>
            <a:ext cx="701891" cy="218794"/>
          </a:xfrm>
          <a:prstGeom prst="rect">
            <a:avLst/>
          </a:prstGeom>
        </p:spPr>
      </p:pic>
      <p:sp>
        <p:nvSpPr>
          <p:cNvPr id="269" name="Rectangle: Rounded Corners 268">
            <a:extLst>
              <a:ext uri="{FF2B5EF4-FFF2-40B4-BE49-F238E27FC236}">
                <a16:creationId xmlns:a16="http://schemas.microsoft.com/office/drawing/2014/main" id="{19C847AA-4886-4D25-AA0A-750F0FD411E7}"/>
              </a:ext>
            </a:extLst>
          </p:cNvPr>
          <p:cNvSpPr/>
          <p:nvPr/>
        </p:nvSpPr>
        <p:spPr>
          <a:xfrm>
            <a:off x="3476474" y="2603183"/>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70" name="Rectangle: Rounded Corners 269">
            <a:extLst>
              <a:ext uri="{FF2B5EF4-FFF2-40B4-BE49-F238E27FC236}">
                <a16:creationId xmlns:a16="http://schemas.microsoft.com/office/drawing/2014/main" id="{38413EDE-BAF2-45D6-8EA0-54C226531E93}"/>
              </a:ext>
            </a:extLst>
          </p:cNvPr>
          <p:cNvSpPr/>
          <p:nvPr/>
        </p:nvSpPr>
        <p:spPr>
          <a:xfrm>
            <a:off x="4330932" y="2603183"/>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71" name="Rectangle: Rounded Corners 270">
            <a:extLst>
              <a:ext uri="{FF2B5EF4-FFF2-40B4-BE49-F238E27FC236}">
                <a16:creationId xmlns:a16="http://schemas.microsoft.com/office/drawing/2014/main" id="{539D660A-97C0-4B22-8992-BDD8F76371F7}"/>
              </a:ext>
            </a:extLst>
          </p:cNvPr>
          <p:cNvSpPr/>
          <p:nvPr/>
        </p:nvSpPr>
        <p:spPr>
          <a:xfrm>
            <a:off x="5195928" y="2603183"/>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72" name="Graphic 271">
            <a:extLst>
              <a:ext uri="{FF2B5EF4-FFF2-40B4-BE49-F238E27FC236}">
                <a16:creationId xmlns:a16="http://schemas.microsoft.com/office/drawing/2014/main" id="{8758EBAF-7485-46BC-AAEE-2B846594C145}"/>
              </a:ext>
            </a:extLst>
          </p:cNvPr>
          <p:cNvPicPr>
            <a:picLocks noChangeAspect="1"/>
          </p:cNvPicPr>
          <p:nvPr/>
        </p:nvPicPr>
        <p:blipFill>
          <a:blip r:embed="rId44" cstate="screen">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4349558" y="2744926"/>
            <a:ext cx="704823" cy="178179"/>
          </a:xfrm>
          <a:prstGeom prst="rect">
            <a:avLst/>
          </a:prstGeom>
        </p:spPr>
      </p:pic>
      <p:pic>
        <p:nvPicPr>
          <p:cNvPr id="273" name="Picture 272" descr="A close up of a logo&#10;&#10;Description automatically generated">
            <a:extLst>
              <a:ext uri="{FF2B5EF4-FFF2-40B4-BE49-F238E27FC236}">
                <a16:creationId xmlns:a16="http://schemas.microsoft.com/office/drawing/2014/main" id="{969CB772-EDF9-46CD-9116-CC5581F12B22}"/>
              </a:ext>
            </a:extLst>
          </p:cNvPr>
          <p:cNvPicPr>
            <a:picLocks noChangeAspect="1"/>
          </p:cNvPicPr>
          <p:nvPr/>
        </p:nvPicPr>
        <p:blipFill rotWithShape="1">
          <a:blip r:embed="rId46" cstate="screen">
            <a:extLst>
              <a:ext uri="{28A0092B-C50C-407E-A947-70E740481C1C}">
                <a14:useLocalDpi xmlns:a14="http://schemas.microsoft.com/office/drawing/2010/main"/>
              </a:ext>
            </a:extLst>
          </a:blip>
          <a:srcRect/>
          <a:stretch/>
        </p:blipFill>
        <p:spPr>
          <a:xfrm>
            <a:off x="5218360" y="2732634"/>
            <a:ext cx="697206" cy="202763"/>
          </a:xfrm>
          <a:prstGeom prst="rect">
            <a:avLst/>
          </a:prstGeom>
        </p:spPr>
      </p:pic>
      <p:grpSp>
        <p:nvGrpSpPr>
          <p:cNvPr id="42" name="Group 41">
            <a:extLst>
              <a:ext uri="{FF2B5EF4-FFF2-40B4-BE49-F238E27FC236}">
                <a16:creationId xmlns:a16="http://schemas.microsoft.com/office/drawing/2014/main" id="{2A8B39E2-CA54-46E8-A86A-0E4911B5C123}"/>
              </a:ext>
            </a:extLst>
          </p:cNvPr>
          <p:cNvGrpSpPr/>
          <p:nvPr/>
        </p:nvGrpSpPr>
        <p:grpSpPr>
          <a:xfrm>
            <a:off x="-73458" y="2315668"/>
            <a:ext cx="1800557" cy="974569"/>
            <a:chOff x="-71245" y="2085982"/>
            <a:chExt cx="1800557" cy="805312"/>
          </a:xfrm>
        </p:grpSpPr>
        <p:sp>
          <p:nvSpPr>
            <p:cNvPr id="274" name="Arrow: Pentagon 273">
              <a:extLst>
                <a:ext uri="{FF2B5EF4-FFF2-40B4-BE49-F238E27FC236}">
                  <a16:creationId xmlns:a16="http://schemas.microsoft.com/office/drawing/2014/main" id="{7F4409C5-1E65-40C0-B806-C42A843C9D5F}"/>
                </a:ext>
              </a:extLst>
            </p:cNvPr>
            <p:cNvSpPr/>
            <p:nvPr/>
          </p:nvSpPr>
          <p:spPr>
            <a:xfrm>
              <a:off x="54420" y="2085982"/>
              <a:ext cx="1674892" cy="805312"/>
            </a:xfrm>
            <a:prstGeom prst="homePlate">
              <a:avLst/>
            </a:prstGeom>
            <a:solidFill>
              <a:srgbClr val="1E3A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100639" latinLnBrk="0" hangingPunct="0"/>
              <a:endParaRPr lang="en-US" sz="1200" kern="0" dirty="0">
                <a:solidFill>
                  <a:schemeClr val="bg1"/>
                </a:solidFill>
                <a:cs typeface="Segoe UI" panose="020B0502040204020203" pitchFamily="34" charset="0"/>
              </a:endParaRPr>
            </a:p>
          </p:txBody>
        </p:sp>
        <p:sp>
          <p:nvSpPr>
            <p:cNvPr id="275" name="TextBox 274">
              <a:extLst>
                <a:ext uri="{FF2B5EF4-FFF2-40B4-BE49-F238E27FC236}">
                  <a16:creationId xmlns:a16="http://schemas.microsoft.com/office/drawing/2014/main" id="{1A915775-DB7A-4217-85B4-4F47FB9D68C8}"/>
                </a:ext>
              </a:extLst>
            </p:cNvPr>
            <p:cNvSpPr txBox="1"/>
            <p:nvPr/>
          </p:nvSpPr>
          <p:spPr>
            <a:xfrm>
              <a:off x="-71245" y="2145238"/>
              <a:ext cx="1602409" cy="646331"/>
            </a:xfrm>
            <a:prstGeom prst="rect">
              <a:avLst/>
            </a:prstGeom>
            <a:noFill/>
          </p:spPr>
          <p:txBody>
            <a:bodyPr wrap="square" rtlCol="0">
              <a:spAutoFit/>
            </a:bodyPr>
            <a:lstStyle/>
            <a:p>
              <a:pPr algn="ctr" defTabSz="412730" latinLnBrk="0">
                <a:defRPr/>
              </a:pPr>
              <a:r>
                <a:rPr lang="en-US" sz="1200" b="1">
                  <a:solidFill>
                    <a:schemeClr val="bg2"/>
                  </a:solidFill>
                </a:rPr>
                <a:t>TELECOM</a:t>
              </a:r>
              <a:r>
                <a:rPr lang="en-IN" sz="1200" b="1">
                  <a:solidFill>
                    <a:schemeClr val="bg2"/>
                  </a:solidFill>
                </a:rPr>
                <a:t>, </a:t>
              </a:r>
              <a:r>
                <a:rPr lang="en-IN" sz="1200" b="1" dirty="0">
                  <a:solidFill>
                    <a:schemeClr val="bg2"/>
                  </a:solidFill>
                </a:rPr>
                <a:t>MEDIA &amp; ENTERTAINMENT, RETAIL, SPORTS</a:t>
              </a:r>
              <a:endParaRPr lang="en-US" sz="1200" b="1" dirty="0">
                <a:solidFill>
                  <a:schemeClr val="bg2"/>
                </a:solidFill>
              </a:endParaRPr>
            </a:p>
          </p:txBody>
        </p:sp>
      </p:grpSp>
      <p:sp>
        <p:nvSpPr>
          <p:cNvPr id="318" name="Rectangle: Rounded Corners 317">
            <a:extLst>
              <a:ext uri="{FF2B5EF4-FFF2-40B4-BE49-F238E27FC236}">
                <a16:creationId xmlns:a16="http://schemas.microsoft.com/office/drawing/2014/main" id="{6D984539-2A01-4D3E-A92B-6206ECCAED6C}"/>
              </a:ext>
            </a:extLst>
          </p:cNvPr>
          <p:cNvSpPr/>
          <p:nvPr/>
        </p:nvSpPr>
        <p:spPr>
          <a:xfrm>
            <a:off x="7751057" y="2624168"/>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sp>
        <p:nvSpPr>
          <p:cNvPr id="322" name="Rectangle: Rounded Corners 321">
            <a:extLst>
              <a:ext uri="{FF2B5EF4-FFF2-40B4-BE49-F238E27FC236}">
                <a16:creationId xmlns:a16="http://schemas.microsoft.com/office/drawing/2014/main" id="{D0910A90-105B-4051-A325-1504743B84E7}"/>
              </a:ext>
            </a:extLst>
          </p:cNvPr>
          <p:cNvSpPr/>
          <p:nvPr/>
        </p:nvSpPr>
        <p:spPr>
          <a:xfrm>
            <a:off x="4330932"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sp>
        <p:nvSpPr>
          <p:cNvPr id="332" name="Rectangle: Rounded Corners 331">
            <a:extLst>
              <a:ext uri="{FF2B5EF4-FFF2-40B4-BE49-F238E27FC236}">
                <a16:creationId xmlns:a16="http://schemas.microsoft.com/office/drawing/2014/main" id="{CC8649E6-0BEB-4F16-9CB8-7B1E58143E2F}"/>
              </a:ext>
            </a:extLst>
          </p:cNvPr>
          <p:cNvSpPr/>
          <p:nvPr/>
        </p:nvSpPr>
        <p:spPr>
          <a:xfrm>
            <a:off x="6894306" y="2624168"/>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sp>
        <p:nvSpPr>
          <p:cNvPr id="335" name="Rectangle: Rounded Corners 334">
            <a:extLst>
              <a:ext uri="{FF2B5EF4-FFF2-40B4-BE49-F238E27FC236}">
                <a16:creationId xmlns:a16="http://schemas.microsoft.com/office/drawing/2014/main" id="{620089E0-DFDD-4DEA-9D45-3B8FFC8DAD6D}"/>
              </a:ext>
            </a:extLst>
          </p:cNvPr>
          <p:cNvSpPr/>
          <p:nvPr/>
        </p:nvSpPr>
        <p:spPr>
          <a:xfrm>
            <a:off x="8596780" y="2624168"/>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sp>
        <p:nvSpPr>
          <p:cNvPr id="336" name="Rectangle: Rounded Corners 335">
            <a:extLst>
              <a:ext uri="{FF2B5EF4-FFF2-40B4-BE49-F238E27FC236}">
                <a16:creationId xmlns:a16="http://schemas.microsoft.com/office/drawing/2014/main" id="{93B736EB-2DEE-427A-BC32-8E266A8A7A30}"/>
              </a:ext>
            </a:extLst>
          </p:cNvPr>
          <p:cNvSpPr/>
          <p:nvPr/>
        </p:nvSpPr>
        <p:spPr>
          <a:xfrm>
            <a:off x="9445917" y="2624168"/>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pic>
        <p:nvPicPr>
          <p:cNvPr id="347" name="Picture 6" descr="Image result for walmart logo png">
            <a:extLst>
              <a:ext uri="{FF2B5EF4-FFF2-40B4-BE49-F238E27FC236}">
                <a16:creationId xmlns:a16="http://schemas.microsoft.com/office/drawing/2014/main" id="{DCD8DE5B-1C4E-4D91-82FC-2FD9A2BA36AF}"/>
              </a:ext>
            </a:extLst>
          </p:cNvPr>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6941622" y="2726013"/>
            <a:ext cx="647438" cy="216000"/>
          </a:xfrm>
          <a:prstGeom prst="rect">
            <a:avLst/>
          </a:prstGeom>
          <a:solidFill>
            <a:schemeClr val="bg1"/>
          </a:solidFill>
        </p:spPr>
      </p:pic>
      <p:pic>
        <p:nvPicPr>
          <p:cNvPr id="349" name="Picture 6" descr="Image result for img academy logo">
            <a:extLst>
              <a:ext uri="{FF2B5EF4-FFF2-40B4-BE49-F238E27FC236}">
                <a16:creationId xmlns:a16="http://schemas.microsoft.com/office/drawing/2014/main" id="{BF939998-CCEF-493C-920E-523B96B905D8}"/>
              </a:ext>
            </a:extLst>
          </p:cNvPr>
          <p:cNvPicPr>
            <a:picLocks noChangeAspect="1" noChangeArrowheads="1"/>
          </p:cNvPicPr>
          <p:nvPr/>
        </p:nvPicPr>
        <p:blipFill>
          <a:blip r:embed="rId48" cstate="screen">
            <a:extLst>
              <a:ext uri="{28A0092B-C50C-407E-A947-70E740481C1C}">
                <a14:useLocalDpi xmlns:a14="http://schemas.microsoft.com/office/drawing/2010/main"/>
              </a:ext>
            </a:extLst>
          </a:blip>
          <a:srcRect/>
          <a:stretch>
            <a:fillRect/>
          </a:stretch>
        </p:blipFill>
        <p:spPr bwMode="auto">
          <a:xfrm>
            <a:off x="9619191" y="2636252"/>
            <a:ext cx="395522" cy="395522"/>
          </a:xfrm>
          <a:prstGeom prst="rect">
            <a:avLst/>
          </a:prstGeom>
          <a:solidFill>
            <a:schemeClr val="bg1"/>
          </a:solidFill>
        </p:spPr>
      </p:pic>
      <p:sp>
        <p:nvSpPr>
          <p:cNvPr id="354" name="Rectangle: Rounded Corners 353">
            <a:extLst>
              <a:ext uri="{FF2B5EF4-FFF2-40B4-BE49-F238E27FC236}">
                <a16:creationId xmlns:a16="http://schemas.microsoft.com/office/drawing/2014/main" id="{C7C9BF2F-5634-4938-9B5F-5CE0D85747D0}"/>
              </a:ext>
            </a:extLst>
          </p:cNvPr>
          <p:cNvSpPr/>
          <p:nvPr/>
        </p:nvSpPr>
        <p:spPr>
          <a:xfrm>
            <a:off x="10300375" y="2624168"/>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sp>
        <p:nvSpPr>
          <p:cNvPr id="355" name="Rectangle: Rounded Corners 354">
            <a:extLst>
              <a:ext uri="{FF2B5EF4-FFF2-40B4-BE49-F238E27FC236}">
                <a16:creationId xmlns:a16="http://schemas.microsoft.com/office/drawing/2014/main" id="{10236D7C-9C7B-4157-B8B7-353B353AA5D9}"/>
              </a:ext>
            </a:extLst>
          </p:cNvPr>
          <p:cNvSpPr/>
          <p:nvPr/>
        </p:nvSpPr>
        <p:spPr>
          <a:xfrm>
            <a:off x="5195928"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pic>
        <p:nvPicPr>
          <p:cNvPr id="356" name="Picture 355">
            <a:extLst>
              <a:ext uri="{FF2B5EF4-FFF2-40B4-BE49-F238E27FC236}">
                <a16:creationId xmlns:a16="http://schemas.microsoft.com/office/drawing/2014/main" id="{BCCF1CF8-CE42-4CBA-83B9-3ABA17A0BF80}"/>
              </a:ext>
            </a:extLst>
          </p:cNvPr>
          <p:cNvPicPr>
            <a:picLocks noChangeAspect="1"/>
          </p:cNvPicPr>
          <p:nvPr/>
        </p:nvPicPr>
        <p:blipFill>
          <a:blip r:embed="rId4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43311" y="3144775"/>
            <a:ext cx="419695" cy="419695"/>
          </a:xfrm>
          <a:prstGeom prst="rect">
            <a:avLst/>
          </a:prstGeom>
          <a:solidFill>
            <a:schemeClr val="bg1"/>
          </a:solidFill>
        </p:spPr>
      </p:pic>
      <p:pic>
        <p:nvPicPr>
          <p:cNvPr id="358" name="Picture 357">
            <a:extLst>
              <a:ext uri="{FF2B5EF4-FFF2-40B4-BE49-F238E27FC236}">
                <a16:creationId xmlns:a16="http://schemas.microsoft.com/office/drawing/2014/main" id="{8A87FF61-2BB3-4A9F-9633-BC7E84F211A3}"/>
              </a:ext>
            </a:extLst>
          </p:cNvPr>
          <p:cNvPicPr>
            <a:picLocks noChangeAspect="1"/>
          </p:cNvPicPr>
          <p:nvPr/>
        </p:nvPicPr>
        <p:blipFill>
          <a:blip r:embed="rId5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539507" y="3297209"/>
            <a:ext cx="616004" cy="114822"/>
          </a:xfrm>
          <a:prstGeom prst="rect">
            <a:avLst/>
          </a:prstGeom>
          <a:solidFill>
            <a:schemeClr val="bg1"/>
          </a:solidFill>
        </p:spPr>
      </p:pic>
      <p:pic>
        <p:nvPicPr>
          <p:cNvPr id="359" name="Picture 358" descr="A close up of a sign&#10;&#10;Description automatically generated">
            <a:extLst>
              <a:ext uri="{FF2B5EF4-FFF2-40B4-BE49-F238E27FC236}">
                <a16:creationId xmlns:a16="http://schemas.microsoft.com/office/drawing/2014/main" id="{CD4ABD4C-AE3A-4DEF-BC73-3096ECB83A44}"/>
              </a:ext>
            </a:extLst>
          </p:cNvPr>
          <p:cNvPicPr>
            <a:picLocks noChangeAspect="1"/>
          </p:cNvPicPr>
          <p:nvPr/>
        </p:nvPicPr>
        <p:blipFill>
          <a:blip r:embed="rId51" cstate="screen">
            <a:duotone>
              <a:prstClr val="black"/>
              <a:schemeClr val="tx2">
                <a:tint val="45000"/>
                <a:satMod val="400000"/>
              </a:schemeClr>
            </a:duotone>
            <a:extLst>
              <a:ext uri="{BEBA8EAE-BF5A-486C-A8C5-ECC9F3942E4B}">
                <a14:imgProps xmlns:a14="http://schemas.microsoft.com/office/drawing/2010/main">
                  <a14:imgLayer r:embed="rId52">
                    <a14:imgEffect>
                      <a14:artisticGlowEdges/>
                    </a14:imgEffect>
                    <a14:imgEffect>
                      <a14:saturation sat="0"/>
                    </a14:imgEffect>
                  </a14:imgLayer>
                </a14:imgProps>
              </a:ext>
              <a:ext uri="{28A0092B-C50C-407E-A947-70E740481C1C}">
                <a14:useLocalDpi xmlns:a14="http://schemas.microsoft.com/office/drawing/2010/main"/>
              </a:ext>
            </a:extLst>
          </a:blip>
          <a:stretch>
            <a:fillRect/>
          </a:stretch>
        </p:blipFill>
        <p:spPr>
          <a:xfrm>
            <a:off x="7810324" y="2776735"/>
            <a:ext cx="623536" cy="114561"/>
          </a:xfrm>
          <a:prstGeom prst="rect">
            <a:avLst/>
          </a:prstGeom>
          <a:solidFill>
            <a:schemeClr val="bg1"/>
          </a:solidFill>
        </p:spPr>
      </p:pic>
      <p:pic>
        <p:nvPicPr>
          <p:cNvPr id="360" name="Picture 359">
            <a:extLst>
              <a:ext uri="{FF2B5EF4-FFF2-40B4-BE49-F238E27FC236}">
                <a16:creationId xmlns:a16="http://schemas.microsoft.com/office/drawing/2014/main" id="{EC67F1BD-0236-462E-87F5-4D15DCB9EAC5}"/>
              </a:ext>
            </a:extLst>
          </p:cNvPr>
          <p:cNvPicPr>
            <a:picLocks noChangeAspect="1"/>
          </p:cNvPicPr>
          <p:nvPr/>
        </p:nvPicPr>
        <p:blipFill rotWithShape="1">
          <a:blip r:embed="rId53" cstate="screen">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a:ext>
            </a:extLst>
          </a:blip>
          <a:srcRect/>
          <a:stretch/>
        </p:blipFill>
        <p:spPr>
          <a:xfrm>
            <a:off x="8765575" y="2645253"/>
            <a:ext cx="404485" cy="377520"/>
          </a:xfrm>
          <a:prstGeom prst="rect">
            <a:avLst/>
          </a:prstGeom>
          <a:solidFill>
            <a:schemeClr val="bg1"/>
          </a:solidFill>
        </p:spPr>
      </p:pic>
      <p:pic>
        <p:nvPicPr>
          <p:cNvPr id="361" name="Picture 360" descr="A close up of a sign&#10;&#10;Description automatically generated">
            <a:extLst>
              <a:ext uri="{FF2B5EF4-FFF2-40B4-BE49-F238E27FC236}">
                <a16:creationId xmlns:a16="http://schemas.microsoft.com/office/drawing/2014/main" id="{EE3A4B58-CE34-4FCD-BFD6-876D4072F446}"/>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4391271" y="3173961"/>
            <a:ext cx="621392" cy="361323"/>
          </a:xfrm>
          <a:prstGeom prst="rect">
            <a:avLst/>
          </a:prstGeom>
          <a:solidFill>
            <a:schemeClr val="bg1"/>
          </a:solidFill>
        </p:spPr>
      </p:pic>
      <p:sp>
        <p:nvSpPr>
          <p:cNvPr id="366" name="Rectangle: Rounded Corners 365">
            <a:extLst>
              <a:ext uri="{FF2B5EF4-FFF2-40B4-BE49-F238E27FC236}">
                <a16:creationId xmlns:a16="http://schemas.microsoft.com/office/drawing/2014/main" id="{2DD49597-19D2-446D-89CE-7B140C4CF7CA}"/>
              </a:ext>
            </a:extLst>
          </p:cNvPr>
          <p:cNvSpPr/>
          <p:nvPr/>
        </p:nvSpPr>
        <p:spPr>
          <a:xfrm>
            <a:off x="11149506" y="2624166"/>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pic>
        <p:nvPicPr>
          <p:cNvPr id="350" name="Picture 5" descr="Image result for frieze logo png">
            <a:extLst>
              <a:ext uri="{FF2B5EF4-FFF2-40B4-BE49-F238E27FC236}">
                <a16:creationId xmlns:a16="http://schemas.microsoft.com/office/drawing/2014/main" id="{B199A649-BAE3-4A00-BB56-BC7B65A12FE6}"/>
              </a:ext>
            </a:extLst>
          </p:cNvPr>
          <p:cNvPicPr>
            <a:picLocks noChangeAspect="1" noChangeArrowheads="1"/>
          </p:cNvPicPr>
          <p:nvPr/>
        </p:nvPicPr>
        <p:blipFill>
          <a:blip r:embed="rId55"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391192" y="2760274"/>
            <a:ext cx="560436" cy="147483"/>
          </a:xfrm>
          <a:prstGeom prst="rect">
            <a:avLst/>
          </a:prstGeom>
          <a:solidFill>
            <a:schemeClr val="bg1"/>
          </a:solidFill>
        </p:spPr>
      </p:pic>
      <p:pic>
        <p:nvPicPr>
          <p:cNvPr id="351" name="Picture 350">
            <a:extLst>
              <a:ext uri="{FF2B5EF4-FFF2-40B4-BE49-F238E27FC236}">
                <a16:creationId xmlns:a16="http://schemas.microsoft.com/office/drawing/2014/main" id="{D1FBB897-AA1C-4BD7-B030-C137CA8C963B}"/>
              </a:ext>
            </a:extLst>
          </p:cNvPr>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a:xfrm>
            <a:off x="11188561" y="2739433"/>
            <a:ext cx="674614" cy="189161"/>
          </a:xfrm>
          <a:prstGeom prst="rect">
            <a:avLst/>
          </a:prstGeom>
          <a:solidFill>
            <a:schemeClr val="bg1"/>
          </a:solidFill>
        </p:spPr>
      </p:pic>
      <p:sp>
        <p:nvSpPr>
          <p:cNvPr id="408" name="Rectangle: Rounded Corners 407">
            <a:extLst>
              <a:ext uri="{FF2B5EF4-FFF2-40B4-BE49-F238E27FC236}">
                <a16:creationId xmlns:a16="http://schemas.microsoft.com/office/drawing/2014/main" id="{36FE87BE-8F17-4098-B50E-DFBF77359CE6}"/>
              </a:ext>
            </a:extLst>
          </p:cNvPr>
          <p:cNvSpPr/>
          <p:nvPr/>
        </p:nvSpPr>
        <p:spPr>
          <a:xfrm>
            <a:off x="1782121" y="3123790"/>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409" name="Rectangle: Rounded Corners 408">
            <a:extLst>
              <a:ext uri="{FF2B5EF4-FFF2-40B4-BE49-F238E27FC236}">
                <a16:creationId xmlns:a16="http://schemas.microsoft.com/office/drawing/2014/main" id="{272D8C64-F29D-453B-BCE3-DB1D0E46B5FB}"/>
              </a:ext>
            </a:extLst>
          </p:cNvPr>
          <p:cNvSpPr/>
          <p:nvPr/>
        </p:nvSpPr>
        <p:spPr>
          <a:xfrm>
            <a:off x="2608756"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pic>
        <p:nvPicPr>
          <p:cNvPr id="357" name="Picture 356">
            <a:extLst>
              <a:ext uri="{FF2B5EF4-FFF2-40B4-BE49-F238E27FC236}">
                <a16:creationId xmlns:a16="http://schemas.microsoft.com/office/drawing/2014/main" id="{8D223B59-70B6-41E8-BC53-BEE04C9D9772}"/>
              </a:ext>
            </a:extLst>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2860804" y="3168408"/>
            <a:ext cx="237974" cy="372429"/>
          </a:xfrm>
          <a:prstGeom prst="rect">
            <a:avLst/>
          </a:prstGeom>
          <a:solidFill>
            <a:schemeClr val="bg1"/>
          </a:solidFill>
        </p:spPr>
      </p:pic>
      <p:pic>
        <p:nvPicPr>
          <p:cNvPr id="410" name="Picture 409" descr="A picture containing drawing&#10;&#10;Description automatically generated">
            <a:extLst>
              <a:ext uri="{FF2B5EF4-FFF2-40B4-BE49-F238E27FC236}">
                <a16:creationId xmlns:a16="http://schemas.microsoft.com/office/drawing/2014/main" id="{2095DED5-7511-43C3-9AA2-54BFA5CA7F73}"/>
              </a:ext>
            </a:extLst>
          </p:cNvPr>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a:off x="5206963" y="3290238"/>
            <a:ext cx="720000" cy="128764"/>
          </a:xfrm>
          <a:prstGeom prst="rect">
            <a:avLst/>
          </a:prstGeom>
        </p:spPr>
      </p:pic>
      <p:sp>
        <p:nvSpPr>
          <p:cNvPr id="417" name="Rectangle: Rounded Corners 416">
            <a:extLst>
              <a:ext uri="{FF2B5EF4-FFF2-40B4-BE49-F238E27FC236}">
                <a16:creationId xmlns:a16="http://schemas.microsoft.com/office/drawing/2014/main" id="{ECF0EDAB-F64E-4F9D-A3A5-4C73DBCFF92C}"/>
              </a:ext>
            </a:extLst>
          </p:cNvPr>
          <p:cNvSpPr/>
          <p:nvPr/>
        </p:nvSpPr>
        <p:spPr>
          <a:xfrm>
            <a:off x="6039848"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pic>
        <p:nvPicPr>
          <p:cNvPr id="418" name="Picture 417" descr="A picture containing drawing&#10;&#10;Description automatically generated">
            <a:extLst>
              <a:ext uri="{FF2B5EF4-FFF2-40B4-BE49-F238E27FC236}">
                <a16:creationId xmlns:a16="http://schemas.microsoft.com/office/drawing/2014/main" id="{48A9B1A2-6A8C-47AC-A11C-5AB25094BDE5}"/>
              </a:ext>
            </a:extLst>
          </p:cNvPr>
          <p:cNvPicPr>
            <a:picLocks noChangeAspect="1"/>
          </p:cNvPicPr>
          <p:nvPr/>
        </p:nvPicPr>
        <p:blipFill>
          <a:blip r:embed="rId59" cstate="screen">
            <a:extLst>
              <a:ext uri="{28A0092B-C50C-407E-A947-70E740481C1C}">
                <a14:useLocalDpi xmlns:a14="http://schemas.microsoft.com/office/drawing/2010/main"/>
              </a:ext>
            </a:extLst>
          </a:blip>
          <a:stretch>
            <a:fillRect/>
          </a:stretch>
        </p:blipFill>
        <p:spPr>
          <a:xfrm>
            <a:off x="6086883" y="3253119"/>
            <a:ext cx="648000" cy="203007"/>
          </a:xfrm>
          <a:prstGeom prst="rect">
            <a:avLst/>
          </a:prstGeom>
        </p:spPr>
      </p:pic>
      <p:sp>
        <p:nvSpPr>
          <p:cNvPr id="425" name="Rectangle: Rounded Corners 424">
            <a:extLst>
              <a:ext uri="{FF2B5EF4-FFF2-40B4-BE49-F238E27FC236}">
                <a16:creationId xmlns:a16="http://schemas.microsoft.com/office/drawing/2014/main" id="{5AA6596A-D299-4951-8C62-193698176714}"/>
              </a:ext>
            </a:extLst>
          </p:cNvPr>
          <p:cNvSpPr/>
          <p:nvPr/>
        </p:nvSpPr>
        <p:spPr>
          <a:xfrm>
            <a:off x="11149506" y="3144773"/>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sp>
        <p:nvSpPr>
          <p:cNvPr id="420" name="Rectangle: Rounded Corners 419">
            <a:extLst>
              <a:ext uri="{FF2B5EF4-FFF2-40B4-BE49-F238E27FC236}">
                <a16:creationId xmlns:a16="http://schemas.microsoft.com/office/drawing/2014/main" id="{52BB0362-7658-4319-AB9E-B7416F0F6C4E}"/>
              </a:ext>
            </a:extLst>
          </p:cNvPr>
          <p:cNvSpPr/>
          <p:nvPr/>
        </p:nvSpPr>
        <p:spPr>
          <a:xfrm>
            <a:off x="6894306"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pic>
        <p:nvPicPr>
          <p:cNvPr id="411" name="Picture 410" descr="A picture containing drawing&#10;&#10;Description automatically generated">
            <a:extLst>
              <a:ext uri="{FF2B5EF4-FFF2-40B4-BE49-F238E27FC236}">
                <a16:creationId xmlns:a16="http://schemas.microsoft.com/office/drawing/2014/main" id="{F4A11A42-564A-4576-94AB-4DE6FBA85181}"/>
              </a:ext>
            </a:extLst>
          </p:cNvPr>
          <p:cNvPicPr>
            <a:picLocks noChangeAspect="1"/>
          </p:cNvPicPr>
          <p:nvPr/>
        </p:nvPicPr>
        <p:blipFill rotWithShape="1">
          <a:blip r:embed="rId60" cstate="screen">
            <a:extLst>
              <a:ext uri="{28A0092B-C50C-407E-A947-70E740481C1C}">
                <a14:useLocalDpi xmlns:a14="http://schemas.microsoft.com/office/drawing/2010/main"/>
              </a:ext>
            </a:extLst>
          </a:blip>
          <a:srcRect/>
          <a:stretch/>
        </p:blipFill>
        <p:spPr>
          <a:xfrm>
            <a:off x="6905341" y="3280611"/>
            <a:ext cx="720000" cy="148018"/>
          </a:xfrm>
          <a:prstGeom prst="rect">
            <a:avLst/>
          </a:prstGeom>
        </p:spPr>
      </p:pic>
      <p:sp>
        <p:nvSpPr>
          <p:cNvPr id="421" name="Rectangle: Rounded Corners 420">
            <a:extLst>
              <a:ext uri="{FF2B5EF4-FFF2-40B4-BE49-F238E27FC236}">
                <a16:creationId xmlns:a16="http://schemas.microsoft.com/office/drawing/2014/main" id="{882E4FD4-1432-41EB-90A9-4901CF7989C1}"/>
              </a:ext>
            </a:extLst>
          </p:cNvPr>
          <p:cNvSpPr/>
          <p:nvPr/>
        </p:nvSpPr>
        <p:spPr>
          <a:xfrm>
            <a:off x="7751057"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sp>
        <p:nvSpPr>
          <p:cNvPr id="422" name="Rectangle: Rounded Corners 421">
            <a:extLst>
              <a:ext uri="{FF2B5EF4-FFF2-40B4-BE49-F238E27FC236}">
                <a16:creationId xmlns:a16="http://schemas.microsoft.com/office/drawing/2014/main" id="{576A1D4E-44AD-4EA6-9F53-A07D3B2D95A7}"/>
              </a:ext>
            </a:extLst>
          </p:cNvPr>
          <p:cNvSpPr/>
          <p:nvPr/>
        </p:nvSpPr>
        <p:spPr>
          <a:xfrm>
            <a:off x="8596780"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pic>
        <p:nvPicPr>
          <p:cNvPr id="412" name="Picture 411" descr="A close up of a logo&#10;&#10;Description automatically generated">
            <a:extLst>
              <a:ext uri="{FF2B5EF4-FFF2-40B4-BE49-F238E27FC236}">
                <a16:creationId xmlns:a16="http://schemas.microsoft.com/office/drawing/2014/main" id="{1B0575EB-A129-453A-BE75-5D641E699B5B}"/>
              </a:ext>
            </a:extLst>
          </p:cNvPr>
          <p:cNvPicPr>
            <a:picLocks noChangeAspect="1"/>
          </p:cNvPicPr>
          <p:nvPr/>
        </p:nvPicPr>
        <p:blipFill>
          <a:blip r:embed="rId61" cstate="screen">
            <a:extLst>
              <a:ext uri="{28A0092B-C50C-407E-A947-70E740481C1C}">
                <a14:useLocalDpi xmlns:a14="http://schemas.microsoft.com/office/drawing/2010/main"/>
              </a:ext>
            </a:extLst>
          </a:blip>
          <a:stretch>
            <a:fillRect/>
          </a:stretch>
        </p:blipFill>
        <p:spPr>
          <a:xfrm>
            <a:off x="8787815" y="3153891"/>
            <a:ext cx="360000" cy="401463"/>
          </a:xfrm>
          <a:prstGeom prst="rect">
            <a:avLst/>
          </a:prstGeom>
        </p:spPr>
      </p:pic>
      <p:sp>
        <p:nvSpPr>
          <p:cNvPr id="423" name="Rectangle: Rounded Corners 422">
            <a:extLst>
              <a:ext uri="{FF2B5EF4-FFF2-40B4-BE49-F238E27FC236}">
                <a16:creationId xmlns:a16="http://schemas.microsoft.com/office/drawing/2014/main" id="{C9B9BFA2-21B6-43E8-917A-706DB5C92EBE}"/>
              </a:ext>
            </a:extLst>
          </p:cNvPr>
          <p:cNvSpPr/>
          <p:nvPr/>
        </p:nvSpPr>
        <p:spPr>
          <a:xfrm>
            <a:off x="9445917"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pic>
        <p:nvPicPr>
          <p:cNvPr id="413" name="Picture 412">
            <a:extLst>
              <a:ext uri="{FF2B5EF4-FFF2-40B4-BE49-F238E27FC236}">
                <a16:creationId xmlns:a16="http://schemas.microsoft.com/office/drawing/2014/main" id="{E5A9E060-2619-4985-8A94-0801FB3D1691}"/>
              </a:ext>
            </a:extLst>
          </p:cNvPr>
          <p:cNvPicPr>
            <a:picLocks noChangeAspect="1"/>
          </p:cNvPicPr>
          <p:nvPr/>
        </p:nvPicPr>
        <p:blipFill rotWithShape="1">
          <a:blip r:embed="rId62" cstate="screen">
            <a:extLst>
              <a:ext uri="{28A0092B-C50C-407E-A947-70E740481C1C}">
                <a14:useLocalDpi xmlns:a14="http://schemas.microsoft.com/office/drawing/2010/main"/>
              </a:ext>
            </a:extLst>
          </a:blip>
          <a:srcRect/>
          <a:stretch/>
        </p:blipFill>
        <p:spPr>
          <a:xfrm>
            <a:off x="9474952" y="3251554"/>
            <a:ext cx="684000" cy="206132"/>
          </a:xfrm>
          <a:prstGeom prst="rect">
            <a:avLst/>
          </a:prstGeom>
        </p:spPr>
      </p:pic>
      <p:sp>
        <p:nvSpPr>
          <p:cNvPr id="424" name="Rectangle: Rounded Corners 423">
            <a:extLst>
              <a:ext uri="{FF2B5EF4-FFF2-40B4-BE49-F238E27FC236}">
                <a16:creationId xmlns:a16="http://schemas.microsoft.com/office/drawing/2014/main" id="{860DF380-F2F2-44F3-9737-8ED7AB00A151}"/>
              </a:ext>
            </a:extLst>
          </p:cNvPr>
          <p:cNvSpPr/>
          <p:nvPr/>
        </p:nvSpPr>
        <p:spPr>
          <a:xfrm>
            <a:off x="10300375" y="3144775"/>
            <a:ext cx="742075" cy="419695"/>
          </a:xfrm>
          <a:prstGeom prst="roundRect">
            <a:avLst/>
          </a:prstGeom>
          <a:solidFill>
            <a:schemeClr val="bg1"/>
          </a:solid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a:endParaRPr lang="en-US" sz="1867">
              <a:solidFill>
                <a:srgbClr val="0A091B"/>
              </a:solidFill>
              <a:latin typeface="Roboto"/>
            </a:endParaRPr>
          </a:p>
        </p:txBody>
      </p:sp>
      <p:pic>
        <p:nvPicPr>
          <p:cNvPr id="414" name="Picture 413" descr="A picture containing object, clock, meter&#10;&#10;Description automatically generated">
            <a:extLst>
              <a:ext uri="{FF2B5EF4-FFF2-40B4-BE49-F238E27FC236}">
                <a16:creationId xmlns:a16="http://schemas.microsoft.com/office/drawing/2014/main" id="{62A429F3-1416-412D-82C8-4EC5FD946F3B}"/>
              </a:ext>
            </a:extLst>
          </p:cNvPr>
          <p:cNvPicPr>
            <a:picLocks noChangeAspect="1"/>
          </p:cNvPicPr>
          <p:nvPr/>
        </p:nvPicPr>
        <p:blipFill>
          <a:blip r:embed="rId63" cstate="screen">
            <a:extLst>
              <a:ext uri="{28A0092B-C50C-407E-A947-70E740481C1C}">
                <a14:useLocalDpi xmlns:a14="http://schemas.microsoft.com/office/drawing/2010/main"/>
              </a:ext>
            </a:extLst>
          </a:blip>
          <a:stretch>
            <a:fillRect/>
          </a:stretch>
        </p:blipFill>
        <p:spPr>
          <a:xfrm>
            <a:off x="10311410" y="3299420"/>
            <a:ext cx="720000" cy="110405"/>
          </a:xfrm>
          <a:prstGeom prst="rect">
            <a:avLst/>
          </a:prstGeom>
        </p:spPr>
      </p:pic>
      <p:pic>
        <p:nvPicPr>
          <p:cNvPr id="415" name="Picture 414" descr="A picture containing shirt&#10;&#10;Description automatically generated">
            <a:extLst>
              <a:ext uri="{FF2B5EF4-FFF2-40B4-BE49-F238E27FC236}">
                <a16:creationId xmlns:a16="http://schemas.microsoft.com/office/drawing/2014/main" id="{AF697BC6-50F4-45C5-8A91-307F182B691E}"/>
              </a:ext>
            </a:extLst>
          </p:cNvPr>
          <p:cNvPicPr>
            <a:picLocks noChangeAspect="1"/>
          </p:cNvPicPr>
          <p:nvPr/>
        </p:nvPicPr>
        <p:blipFill rotWithShape="1">
          <a:blip r:embed="rId64" cstate="screen">
            <a:extLst>
              <a:ext uri="{28A0092B-C50C-407E-A947-70E740481C1C}">
                <a14:useLocalDpi xmlns:a14="http://schemas.microsoft.com/office/drawing/2010/main"/>
              </a:ext>
            </a:extLst>
          </a:blip>
          <a:srcRect l="7831" t="28752" r="8760" b="29462"/>
          <a:stretch/>
        </p:blipFill>
        <p:spPr>
          <a:xfrm>
            <a:off x="11160543" y="3219355"/>
            <a:ext cx="720000" cy="270530"/>
          </a:xfrm>
          <a:prstGeom prst="rect">
            <a:avLst/>
          </a:prstGeom>
        </p:spPr>
      </p:pic>
      <p:pic>
        <p:nvPicPr>
          <p:cNvPr id="426" name="Picture 425" descr="A close up of a sign&#10;&#10;Description automatically generated">
            <a:extLst>
              <a:ext uri="{FF2B5EF4-FFF2-40B4-BE49-F238E27FC236}">
                <a16:creationId xmlns:a16="http://schemas.microsoft.com/office/drawing/2014/main" id="{4E9BAE30-0400-4DC8-9DCC-1CC87F84A8A8}"/>
              </a:ext>
            </a:extLst>
          </p:cNvPr>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7906092" y="3138620"/>
            <a:ext cx="432000" cy="432000"/>
          </a:xfrm>
          <a:prstGeom prst="rect">
            <a:avLst/>
          </a:prstGeom>
        </p:spPr>
      </p:pic>
      <p:sp>
        <p:nvSpPr>
          <p:cNvPr id="428" name="Arrow: Pentagon 427">
            <a:extLst>
              <a:ext uri="{FF2B5EF4-FFF2-40B4-BE49-F238E27FC236}">
                <a16:creationId xmlns:a16="http://schemas.microsoft.com/office/drawing/2014/main" id="{EBD62259-4F2C-443C-9076-3ECF0FD26510}"/>
              </a:ext>
            </a:extLst>
          </p:cNvPr>
          <p:cNvSpPr/>
          <p:nvPr/>
        </p:nvSpPr>
        <p:spPr>
          <a:xfrm>
            <a:off x="69406" y="3798281"/>
            <a:ext cx="1674892" cy="471516"/>
          </a:xfrm>
          <a:prstGeom prst="homePlate">
            <a:avLst/>
          </a:prstGeom>
          <a:solidFill>
            <a:srgbClr val="1E3A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100639" latinLnBrk="0" hangingPunct="0"/>
            <a:endParaRPr lang="en-US" sz="1200" kern="0" dirty="0">
              <a:solidFill>
                <a:schemeClr val="bg1"/>
              </a:solidFill>
              <a:cs typeface="Segoe UI" panose="020B0502040204020203" pitchFamily="34" charset="0"/>
            </a:endParaRPr>
          </a:p>
        </p:txBody>
      </p:sp>
      <p:sp>
        <p:nvSpPr>
          <p:cNvPr id="429" name="TextBox 428">
            <a:extLst>
              <a:ext uri="{FF2B5EF4-FFF2-40B4-BE49-F238E27FC236}">
                <a16:creationId xmlns:a16="http://schemas.microsoft.com/office/drawing/2014/main" id="{CA06B892-7271-4C91-9AFF-B51F6ADCD91F}"/>
              </a:ext>
            </a:extLst>
          </p:cNvPr>
          <p:cNvSpPr txBox="1"/>
          <p:nvPr/>
        </p:nvSpPr>
        <p:spPr>
          <a:xfrm>
            <a:off x="277536" y="3895539"/>
            <a:ext cx="900419" cy="276999"/>
          </a:xfrm>
          <a:prstGeom prst="rect">
            <a:avLst/>
          </a:prstGeom>
          <a:noFill/>
        </p:spPr>
        <p:txBody>
          <a:bodyPr wrap="square" rtlCol="0">
            <a:spAutoFit/>
          </a:bodyPr>
          <a:lstStyle/>
          <a:p>
            <a:pPr algn="ctr" defTabSz="412730" latinLnBrk="0">
              <a:defRPr/>
            </a:pPr>
            <a:r>
              <a:rPr lang="en-US" sz="1200" b="1" dirty="0">
                <a:solidFill>
                  <a:schemeClr val="bg2"/>
                </a:solidFill>
              </a:rPr>
              <a:t>HI-TECH</a:t>
            </a:r>
            <a:endParaRPr lang="uk-UA" sz="1200" b="1" dirty="0">
              <a:solidFill>
                <a:schemeClr val="bg2"/>
              </a:solidFill>
            </a:endParaRPr>
          </a:p>
        </p:txBody>
      </p:sp>
      <p:sp>
        <p:nvSpPr>
          <p:cNvPr id="430" name="Rectangle: Rounded Corners 429">
            <a:extLst>
              <a:ext uri="{FF2B5EF4-FFF2-40B4-BE49-F238E27FC236}">
                <a16:creationId xmlns:a16="http://schemas.microsoft.com/office/drawing/2014/main" id="{23AA695C-1CAA-4663-9E15-D098CEB8A4C0}"/>
              </a:ext>
            </a:extLst>
          </p:cNvPr>
          <p:cNvSpPr/>
          <p:nvPr/>
        </p:nvSpPr>
        <p:spPr>
          <a:xfrm>
            <a:off x="1775608"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431" name="Rectangle: Rounded Corners 430">
            <a:extLst>
              <a:ext uri="{FF2B5EF4-FFF2-40B4-BE49-F238E27FC236}">
                <a16:creationId xmlns:a16="http://schemas.microsoft.com/office/drawing/2014/main" id="{0CC7C2F3-1F7F-4710-923F-6EC41269CF02}"/>
              </a:ext>
            </a:extLst>
          </p:cNvPr>
          <p:cNvSpPr/>
          <p:nvPr/>
        </p:nvSpPr>
        <p:spPr>
          <a:xfrm>
            <a:off x="2611049"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432" name="Rectangle: Rounded Corners 431">
            <a:extLst>
              <a:ext uri="{FF2B5EF4-FFF2-40B4-BE49-F238E27FC236}">
                <a16:creationId xmlns:a16="http://schemas.microsoft.com/office/drawing/2014/main" id="{F14A7CC9-2BB7-4BB0-A97C-6B00DAB045DA}"/>
              </a:ext>
            </a:extLst>
          </p:cNvPr>
          <p:cNvSpPr/>
          <p:nvPr/>
        </p:nvSpPr>
        <p:spPr>
          <a:xfrm>
            <a:off x="3481250"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grpSp>
        <p:nvGrpSpPr>
          <p:cNvPr id="433" name="Group 432">
            <a:extLst>
              <a:ext uri="{FF2B5EF4-FFF2-40B4-BE49-F238E27FC236}">
                <a16:creationId xmlns:a16="http://schemas.microsoft.com/office/drawing/2014/main" id="{8198C76E-4998-4E59-9754-8F3C84672DC5}"/>
              </a:ext>
            </a:extLst>
          </p:cNvPr>
          <p:cNvGrpSpPr/>
          <p:nvPr/>
        </p:nvGrpSpPr>
        <p:grpSpPr>
          <a:xfrm>
            <a:off x="3599892" y="3885534"/>
            <a:ext cx="534703" cy="297015"/>
            <a:chOff x="6316152" y="2040639"/>
            <a:chExt cx="1126974" cy="626008"/>
          </a:xfrm>
        </p:grpSpPr>
        <p:pic>
          <p:nvPicPr>
            <p:cNvPr id="434" name="Picture 15" descr="M:\iron-mountain-logo.png">
              <a:extLst>
                <a:ext uri="{FF2B5EF4-FFF2-40B4-BE49-F238E27FC236}">
                  <a16:creationId xmlns:a16="http://schemas.microsoft.com/office/drawing/2014/main" id="{6B006D72-1308-4557-8597-868F013663D9}"/>
                </a:ext>
              </a:extLst>
            </p:cNvPr>
            <p:cNvPicPr>
              <a:picLocks noChangeAspect="1" noChangeArrowheads="1"/>
            </p:cNvPicPr>
            <p:nvPr/>
          </p:nvPicPr>
          <p:blipFill>
            <a:blip r:embed="rId66" cstate="screen">
              <a:extLst>
                <a:ext uri="{28A0092B-C50C-407E-A947-70E740481C1C}">
                  <a14:useLocalDpi xmlns:a14="http://schemas.microsoft.com/office/drawing/2010/main"/>
                </a:ext>
              </a:extLst>
            </a:blip>
            <a:srcRect/>
            <a:stretch>
              <a:fillRect/>
            </a:stretch>
          </p:blipFill>
          <p:spPr bwMode="auto">
            <a:xfrm>
              <a:off x="6316152" y="2396239"/>
              <a:ext cx="1126974" cy="270408"/>
            </a:xfrm>
            <a:prstGeom prst="rect">
              <a:avLst/>
            </a:prstGeom>
            <a:noFill/>
          </p:spPr>
        </p:pic>
        <p:pic>
          <p:nvPicPr>
            <p:cNvPr id="435" name="Picture 15" descr="M:\iron-mountain-logo.png">
              <a:extLst>
                <a:ext uri="{FF2B5EF4-FFF2-40B4-BE49-F238E27FC236}">
                  <a16:creationId xmlns:a16="http://schemas.microsoft.com/office/drawing/2014/main" id="{ABF17BAB-99FF-4D3F-966F-A07B99C92E6B}"/>
                </a:ext>
              </a:extLst>
            </p:cNvPr>
            <p:cNvPicPr>
              <a:picLocks noChangeAspect="1" noChangeArrowheads="1"/>
            </p:cNvPicPr>
            <p:nvPr/>
          </p:nvPicPr>
          <p:blipFill>
            <a:blip r:embed="rId67" cstate="screen">
              <a:extLst>
                <a:ext uri="{28A0092B-C50C-407E-A947-70E740481C1C}">
                  <a14:useLocalDpi xmlns:a14="http://schemas.microsoft.com/office/drawing/2010/main"/>
                </a:ext>
              </a:extLst>
            </a:blip>
            <a:srcRect/>
            <a:stretch>
              <a:fillRect/>
            </a:stretch>
          </p:blipFill>
          <p:spPr bwMode="auto">
            <a:xfrm>
              <a:off x="6671339" y="2040639"/>
              <a:ext cx="395291" cy="428955"/>
            </a:xfrm>
            <a:prstGeom prst="rect">
              <a:avLst/>
            </a:prstGeom>
            <a:noFill/>
          </p:spPr>
        </p:pic>
      </p:grpSp>
      <p:pic>
        <p:nvPicPr>
          <p:cNvPr id="436" name="Picture 20" descr="M:\Oracle-Logo.png">
            <a:extLst>
              <a:ext uri="{FF2B5EF4-FFF2-40B4-BE49-F238E27FC236}">
                <a16:creationId xmlns:a16="http://schemas.microsoft.com/office/drawing/2014/main" id="{1D0D57A7-F5A7-4D68-971E-353929D04EF9}"/>
              </a:ext>
            </a:extLst>
          </p:cNvPr>
          <p:cNvPicPr>
            <a:picLocks noChangeAspect="1" noChangeArrowheads="1"/>
          </p:cNvPicPr>
          <p:nvPr/>
        </p:nvPicPr>
        <p:blipFill>
          <a:blip r:embed="rId68" cstate="screen">
            <a:extLst>
              <a:ext uri="{28A0092B-C50C-407E-A947-70E740481C1C}">
                <a14:useLocalDpi xmlns:a14="http://schemas.microsoft.com/office/drawing/2010/main"/>
              </a:ext>
            </a:extLst>
          </a:blip>
          <a:srcRect/>
          <a:stretch>
            <a:fillRect/>
          </a:stretch>
        </p:blipFill>
        <p:spPr bwMode="auto">
          <a:xfrm>
            <a:off x="2650032" y="3916443"/>
            <a:ext cx="685093" cy="235192"/>
          </a:xfrm>
          <a:prstGeom prst="rect">
            <a:avLst/>
          </a:prstGeom>
          <a:noFill/>
        </p:spPr>
      </p:pic>
      <p:pic>
        <p:nvPicPr>
          <p:cNvPr id="437" name="Picture 436">
            <a:extLst>
              <a:ext uri="{FF2B5EF4-FFF2-40B4-BE49-F238E27FC236}">
                <a16:creationId xmlns:a16="http://schemas.microsoft.com/office/drawing/2014/main" id="{053174E8-5501-43D7-868D-943C2800D562}"/>
              </a:ext>
            </a:extLst>
          </p:cNvPr>
          <p:cNvPicPr>
            <a:picLocks noChangeAspect="1"/>
          </p:cNvPicPr>
          <p:nvPr/>
        </p:nvPicPr>
        <p:blipFill>
          <a:blip r:embed="rId69" cstate="screen">
            <a:extLst>
              <a:ext uri="{28A0092B-C50C-407E-A947-70E740481C1C}">
                <a14:useLocalDpi xmlns:a14="http://schemas.microsoft.com/office/drawing/2010/main"/>
              </a:ext>
            </a:extLst>
          </a:blip>
          <a:stretch>
            <a:fillRect/>
          </a:stretch>
        </p:blipFill>
        <p:spPr>
          <a:xfrm>
            <a:off x="1809450" y="3898415"/>
            <a:ext cx="678121" cy="271248"/>
          </a:xfrm>
          <a:prstGeom prst="rect">
            <a:avLst/>
          </a:prstGeom>
        </p:spPr>
      </p:pic>
      <p:sp>
        <p:nvSpPr>
          <p:cNvPr id="438" name="Rectangle: Rounded Corners 437">
            <a:extLst>
              <a:ext uri="{FF2B5EF4-FFF2-40B4-BE49-F238E27FC236}">
                <a16:creationId xmlns:a16="http://schemas.microsoft.com/office/drawing/2014/main" id="{CA38FEB2-9D92-4F0E-BEB2-3E484326AC15}"/>
              </a:ext>
            </a:extLst>
          </p:cNvPr>
          <p:cNvSpPr/>
          <p:nvPr/>
        </p:nvSpPr>
        <p:spPr>
          <a:xfrm>
            <a:off x="4337578"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439" name="Rectangle: Rounded Corners 438">
            <a:extLst>
              <a:ext uri="{FF2B5EF4-FFF2-40B4-BE49-F238E27FC236}">
                <a16:creationId xmlns:a16="http://schemas.microsoft.com/office/drawing/2014/main" id="{A8074ED1-2CCD-40EB-AEBD-F01702B93C1D}"/>
              </a:ext>
            </a:extLst>
          </p:cNvPr>
          <p:cNvSpPr/>
          <p:nvPr/>
        </p:nvSpPr>
        <p:spPr>
          <a:xfrm>
            <a:off x="5190803"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440" name="Rectangle: Rounded Corners 439">
            <a:extLst>
              <a:ext uri="{FF2B5EF4-FFF2-40B4-BE49-F238E27FC236}">
                <a16:creationId xmlns:a16="http://schemas.microsoft.com/office/drawing/2014/main" id="{DBAFD616-BCD8-4CCC-BB0B-372E37781EF0}"/>
              </a:ext>
            </a:extLst>
          </p:cNvPr>
          <p:cNvSpPr/>
          <p:nvPr/>
        </p:nvSpPr>
        <p:spPr>
          <a:xfrm>
            <a:off x="6042141"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441" name="Picture 16" descr="M:\HP_New_Logo_2D.svg.png">
            <a:extLst>
              <a:ext uri="{FF2B5EF4-FFF2-40B4-BE49-F238E27FC236}">
                <a16:creationId xmlns:a16="http://schemas.microsoft.com/office/drawing/2014/main" id="{C7096BA2-E432-4EB2-8042-8AD2FB5C43CE}"/>
              </a:ext>
            </a:extLst>
          </p:cNvPr>
          <p:cNvPicPr>
            <a:picLocks noChangeAspect="1" noChangeArrowheads="1"/>
          </p:cNvPicPr>
          <p:nvPr/>
        </p:nvPicPr>
        <p:blipFill>
          <a:blip r:embed="rId70" cstate="screen">
            <a:extLst>
              <a:ext uri="{28A0092B-C50C-407E-A947-70E740481C1C}">
                <a14:useLocalDpi xmlns:a14="http://schemas.microsoft.com/office/drawing/2010/main"/>
              </a:ext>
            </a:extLst>
          </a:blip>
          <a:srcRect/>
          <a:stretch>
            <a:fillRect/>
          </a:stretch>
        </p:blipFill>
        <p:spPr bwMode="auto">
          <a:xfrm>
            <a:off x="4549980" y="3849372"/>
            <a:ext cx="344108" cy="369334"/>
          </a:xfrm>
          <a:prstGeom prst="rect">
            <a:avLst/>
          </a:prstGeom>
          <a:noFill/>
        </p:spPr>
      </p:pic>
      <p:pic>
        <p:nvPicPr>
          <p:cNvPr id="442" name="Picture 22" descr="M:\2000px-Fujitsu-Logo.svg.png">
            <a:extLst>
              <a:ext uri="{FF2B5EF4-FFF2-40B4-BE49-F238E27FC236}">
                <a16:creationId xmlns:a16="http://schemas.microsoft.com/office/drawing/2014/main" id="{0F962FC4-4E65-479F-9AED-76F268F1623A}"/>
              </a:ext>
            </a:extLst>
          </p:cNvPr>
          <p:cNvPicPr>
            <a:picLocks noChangeAspect="1" noChangeArrowheads="1"/>
          </p:cNvPicPr>
          <p:nvPr/>
        </p:nvPicPr>
        <p:blipFill>
          <a:blip r:embed="rId71" cstate="screen">
            <a:extLst>
              <a:ext uri="{28A0092B-C50C-407E-A947-70E740481C1C}">
                <a14:useLocalDpi xmlns:a14="http://schemas.microsoft.com/office/drawing/2010/main"/>
              </a:ext>
            </a:extLst>
          </a:blip>
          <a:srcRect/>
          <a:stretch>
            <a:fillRect/>
          </a:stretch>
        </p:blipFill>
        <p:spPr bwMode="auto">
          <a:xfrm>
            <a:off x="5299236" y="3908986"/>
            <a:ext cx="532153" cy="250111"/>
          </a:xfrm>
          <a:prstGeom prst="rect">
            <a:avLst/>
          </a:prstGeom>
          <a:noFill/>
        </p:spPr>
      </p:pic>
      <p:pic>
        <p:nvPicPr>
          <p:cNvPr id="443" name="Picture 21" descr="M:\Lenovo-Symbol.jpg">
            <a:extLst>
              <a:ext uri="{FF2B5EF4-FFF2-40B4-BE49-F238E27FC236}">
                <a16:creationId xmlns:a16="http://schemas.microsoft.com/office/drawing/2014/main" id="{DB1335AD-CBFC-40EC-9018-30FCB48D0036}"/>
              </a:ext>
            </a:extLst>
          </p:cNvPr>
          <p:cNvPicPr>
            <a:picLocks noChangeAspect="1" noChangeArrowheads="1"/>
          </p:cNvPicPr>
          <p:nvPr/>
        </p:nvPicPr>
        <p:blipFill>
          <a:blip r:embed="rId7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042138" y="3918507"/>
            <a:ext cx="742076" cy="231069"/>
          </a:xfrm>
          <a:prstGeom prst="rect">
            <a:avLst/>
          </a:prstGeom>
          <a:noFill/>
        </p:spPr>
      </p:pic>
      <p:pic>
        <p:nvPicPr>
          <p:cNvPr id="444" name="Picture 17" descr="M:\olympus-logo.png">
            <a:extLst>
              <a:ext uri="{FF2B5EF4-FFF2-40B4-BE49-F238E27FC236}">
                <a16:creationId xmlns:a16="http://schemas.microsoft.com/office/drawing/2014/main" id="{46D5457D-3EFC-458F-8A41-914F05937747}"/>
              </a:ext>
            </a:extLst>
          </p:cNvPr>
          <p:cNvPicPr>
            <a:picLocks noChangeAspect="1" noChangeArrowheads="1"/>
          </p:cNvPicPr>
          <p:nvPr/>
        </p:nvPicPr>
        <p:blipFill>
          <a:blip r:embed="rId73" cstate="screen">
            <a:extLst>
              <a:ext uri="{28A0092B-C50C-407E-A947-70E740481C1C}">
                <a14:useLocalDpi xmlns:a14="http://schemas.microsoft.com/office/drawing/2010/main"/>
              </a:ext>
            </a:extLst>
          </a:blip>
          <a:srcRect/>
          <a:stretch>
            <a:fillRect/>
          </a:stretch>
        </p:blipFill>
        <p:spPr bwMode="auto">
          <a:xfrm>
            <a:off x="6936382" y="3949520"/>
            <a:ext cx="675566" cy="169038"/>
          </a:xfrm>
          <a:prstGeom prst="rect">
            <a:avLst/>
          </a:prstGeom>
          <a:noFill/>
        </p:spPr>
      </p:pic>
      <p:sp>
        <p:nvSpPr>
          <p:cNvPr id="445" name="Rectangle: Rounded Corners 444">
            <a:extLst>
              <a:ext uri="{FF2B5EF4-FFF2-40B4-BE49-F238E27FC236}">
                <a16:creationId xmlns:a16="http://schemas.microsoft.com/office/drawing/2014/main" id="{C82B3B0A-B730-415A-B653-E1CCA2CBDA56}"/>
              </a:ext>
            </a:extLst>
          </p:cNvPr>
          <p:cNvSpPr/>
          <p:nvPr/>
        </p:nvSpPr>
        <p:spPr>
          <a:xfrm>
            <a:off x="6899751"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467" name="Picture 10" descr="Siemens Logo PNG Transparent &amp; SVG Vector - Freebie Supply">
            <a:extLst>
              <a:ext uri="{FF2B5EF4-FFF2-40B4-BE49-F238E27FC236}">
                <a16:creationId xmlns:a16="http://schemas.microsoft.com/office/drawing/2014/main" id="{0F075B47-C1E9-4DF3-862D-D996AE394C98}"/>
              </a:ext>
            </a:extLst>
          </p:cNvPr>
          <p:cNvPicPr>
            <a:picLocks noChangeAspect="1" noChangeArrowheads="1"/>
          </p:cNvPicPr>
          <p:nvPr/>
        </p:nvPicPr>
        <p:blipFill rotWithShape="1">
          <a:blip r:embed="rId74" cstate="screen">
            <a:extLst>
              <a:ext uri="{28A0092B-C50C-407E-A947-70E740481C1C}">
                <a14:useLocalDpi xmlns:a14="http://schemas.microsoft.com/office/drawing/2010/main"/>
              </a:ext>
            </a:extLst>
          </a:blip>
          <a:srcRect/>
          <a:stretch/>
        </p:blipFill>
        <p:spPr bwMode="auto">
          <a:xfrm>
            <a:off x="7748994" y="3953964"/>
            <a:ext cx="725120" cy="160155"/>
          </a:xfrm>
          <a:prstGeom prst="rect">
            <a:avLst/>
          </a:prstGeom>
          <a:noFill/>
          <a:extLst>
            <a:ext uri="{909E8E84-426E-40DD-AFC4-6F175D3DCCD1}">
              <a14:hiddenFill xmlns:a14="http://schemas.microsoft.com/office/drawing/2010/main">
                <a:solidFill>
                  <a:srgbClr val="FFFFFF"/>
                </a:solidFill>
              </a14:hiddenFill>
            </a:ext>
          </a:extLst>
        </p:spPr>
      </p:pic>
      <p:sp>
        <p:nvSpPr>
          <p:cNvPr id="468" name="Rectangle: Rounded Corners 467">
            <a:extLst>
              <a:ext uri="{FF2B5EF4-FFF2-40B4-BE49-F238E27FC236}">
                <a16:creationId xmlns:a16="http://schemas.microsoft.com/office/drawing/2014/main" id="{206D68A3-25FC-47F2-A970-24430BD20B72}"/>
              </a:ext>
            </a:extLst>
          </p:cNvPr>
          <p:cNvSpPr/>
          <p:nvPr/>
        </p:nvSpPr>
        <p:spPr>
          <a:xfrm>
            <a:off x="7740519"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489" name="Rectangle: Rounded Corners 488">
            <a:extLst>
              <a:ext uri="{FF2B5EF4-FFF2-40B4-BE49-F238E27FC236}">
                <a16:creationId xmlns:a16="http://schemas.microsoft.com/office/drawing/2014/main" id="{B692EACA-05DC-4931-A843-DFA8809E5F1E}"/>
              </a:ext>
            </a:extLst>
          </p:cNvPr>
          <p:cNvSpPr/>
          <p:nvPr/>
        </p:nvSpPr>
        <p:spPr>
          <a:xfrm>
            <a:off x="8566336"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490" name="Rectangle: Rounded Corners 489">
            <a:extLst>
              <a:ext uri="{FF2B5EF4-FFF2-40B4-BE49-F238E27FC236}">
                <a16:creationId xmlns:a16="http://schemas.microsoft.com/office/drawing/2014/main" id="{41670855-98C3-4354-92C7-684950683008}"/>
              </a:ext>
            </a:extLst>
          </p:cNvPr>
          <p:cNvSpPr/>
          <p:nvPr/>
        </p:nvSpPr>
        <p:spPr>
          <a:xfrm>
            <a:off x="9394294" y="3803209"/>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491" name="Picture 490" descr="A picture containing clock, meter&#10;&#10;Description automatically generated">
            <a:extLst>
              <a:ext uri="{FF2B5EF4-FFF2-40B4-BE49-F238E27FC236}">
                <a16:creationId xmlns:a16="http://schemas.microsoft.com/office/drawing/2014/main" id="{E87D1D0E-DDDB-447A-A6ED-749C8E55D394}"/>
              </a:ext>
            </a:extLst>
          </p:cNvPr>
          <p:cNvPicPr>
            <a:picLocks noChangeAspect="1"/>
          </p:cNvPicPr>
          <p:nvPr/>
        </p:nvPicPr>
        <p:blipFill>
          <a:blip r:embed="rId75" cstate="screen">
            <a:extLst>
              <a:ext uri="{28A0092B-C50C-407E-A947-70E740481C1C}">
                <a14:useLocalDpi xmlns:a14="http://schemas.microsoft.com/office/drawing/2010/main"/>
              </a:ext>
            </a:extLst>
          </a:blip>
          <a:stretch>
            <a:fillRect/>
          </a:stretch>
        </p:blipFill>
        <p:spPr>
          <a:xfrm>
            <a:off x="8619119" y="3947583"/>
            <a:ext cx="636504" cy="172917"/>
          </a:xfrm>
          <a:prstGeom prst="rect">
            <a:avLst/>
          </a:prstGeom>
        </p:spPr>
      </p:pic>
      <p:pic>
        <p:nvPicPr>
          <p:cNvPr id="492" name="Picture 491" descr="A picture containing drawing&#10;&#10;Description automatically generated">
            <a:extLst>
              <a:ext uri="{FF2B5EF4-FFF2-40B4-BE49-F238E27FC236}">
                <a16:creationId xmlns:a16="http://schemas.microsoft.com/office/drawing/2014/main" id="{4291CB6D-AF45-4673-83C0-03525A2BF492}"/>
              </a:ext>
            </a:extLst>
          </p:cNvPr>
          <p:cNvPicPr>
            <a:picLocks noChangeAspect="1"/>
          </p:cNvPicPr>
          <p:nvPr/>
        </p:nvPicPr>
        <p:blipFill rotWithShape="1">
          <a:blip r:embed="rId76" cstate="screen">
            <a:extLst>
              <a:ext uri="{28A0092B-C50C-407E-A947-70E740481C1C}">
                <a14:useLocalDpi xmlns:a14="http://schemas.microsoft.com/office/drawing/2010/main"/>
              </a:ext>
            </a:extLst>
          </a:blip>
          <a:srcRect t="30092" b="31611"/>
          <a:stretch/>
        </p:blipFill>
        <p:spPr>
          <a:xfrm>
            <a:off x="9416367" y="3957444"/>
            <a:ext cx="720000" cy="153190"/>
          </a:xfrm>
          <a:prstGeom prst="rect">
            <a:avLst/>
          </a:prstGeom>
        </p:spPr>
      </p:pic>
      <p:cxnSp>
        <p:nvCxnSpPr>
          <p:cNvPr id="499" name="Straight Connector 498">
            <a:extLst>
              <a:ext uri="{FF2B5EF4-FFF2-40B4-BE49-F238E27FC236}">
                <a16:creationId xmlns:a16="http://schemas.microsoft.com/office/drawing/2014/main" id="{40585BED-AD00-46FB-8ADC-0BD047828520}"/>
              </a:ext>
            </a:extLst>
          </p:cNvPr>
          <p:cNvCxnSpPr/>
          <p:nvPr/>
        </p:nvCxnSpPr>
        <p:spPr>
          <a:xfrm>
            <a:off x="1767556" y="1977513"/>
            <a:ext cx="10080000" cy="0"/>
          </a:xfrm>
          <a:prstGeom prst="line">
            <a:avLst/>
          </a:prstGeom>
          <a:ln w="12700">
            <a:solidFill>
              <a:schemeClr val="tx1">
                <a:lumMod val="25000"/>
                <a:lumOff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2843324B-4A2B-4421-A682-BCC1D9D56061}"/>
              </a:ext>
            </a:extLst>
          </p:cNvPr>
          <p:cNvCxnSpPr/>
          <p:nvPr/>
        </p:nvCxnSpPr>
        <p:spPr>
          <a:xfrm>
            <a:off x="1767556" y="3697687"/>
            <a:ext cx="10080000" cy="0"/>
          </a:xfrm>
          <a:prstGeom prst="line">
            <a:avLst/>
          </a:prstGeom>
          <a:ln w="12700">
            <a:solidFill>
              <a:schemeClr val="tx1">
                <a:lumMod val="25000"/>
                <a:lumOff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05" name="Arrow: Pentagon 204">
            <a:extLst>
              <a:ext uri="{FF2B5EF4-FFF2-40B4-BE49-F238E27FC236}">
                <a16:creationId xmlns:a16="http://schemas.microsoft.com/office/drawing/2014/main" id="{DAB13D5E-41AD-4DDF-9D19-FD39512B83D0}"/>
              </a:ext>
            </a:extLst>
          </p:cNvPr>
          <p:cNvSpPr/>
          <p:nvPr/>
        </p:nvSpPr>
        <p:spPr>
          <a:xfrm>
            <a:off x="68799" y="5887120"/>
            <a:ext cx="1674892" cy="471516"/>
          </a:xfrm>
          <a:prstGeom prst="homePlate">
            <a:avLst/>
          </a:prstGeom>
          <a:solidFill>
            <a:srgbClr val="1E3A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100639" latinLnBrk="0" hangingPunct="0"/>
            <a:endParaRPr lang="en-US" sz="1200" kern="0" dirty="0">
              <a:solidFill>
                <a:schemeClr val="bg1"/>
              </a:solidFill>
              <a:cs typeface="Segoe UI" panose="020B0502040204020203" pitchFamily="34" charset="0"/>
            </a:endParaRPr>
          </a:p>
        </p:txBody>
      </p:sp>
      <p:sp>
        <p:nvSpPr>
          <p:cNvPr id="206" name="Arrow: Pentagon 205">
            <a:extLst>
              <a:ext uri="{FF2B5EF4-FFF2-40B4-BE49-F238E27FC236}">
                <a16:creationId xmlns:a16="http://schemas.microsoft.com/office/drawing/2014/main" id="{190DA5E2-0536-4180-B115-83CA4A1A6001}"/>
              </a:ext>
            </a:extLst>
          </p:cNvPr>
          <p:cNvSpPr/>
          <p:nvPr/>
        </p:nvSpPr>
        <p:spPr>
          <a:xfrm>
            <a:off x="68799" y="5172776"/>
            <a:ext cx="1674892" cy="471516"/>
          </a:xfrm>
          <a:prstGeom prst="homePlate">
            <a:avLst/>
          </a:prstGeom>
          <a:solidFill>
            <a:srgbClr val="1E3A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100639" latinLnBrk="0" hangingPunct="0"/>
            <a:endParaRPr lang="en-US" sz="1200" kern="0" dirty="0">
              <a:solidFill>
                <a:schemeClr val="bg1"/>
              </a:solidFill>
              <a:cs typeface="Segoe UI" panose="020B0502040204020203" pitchFamily="34" charset="0"/>
            </a:endParaRPr>
          </a:p>
        </p:txBody>
      </p:sp>
      <p:sp>
        <p:nvSpPr>
          <p:cNvPr id="207" name="Arrow: Pentagon 206">
            <a:extLst>
              <a:ext uri="{FF2B5EF4-FFF2-40B4-BE49-F238E27FC236}">
                <a16:creationId xmlns:a16="http://schemas.microsoft.com/office/drawing/2014/main" id="{29374E76-CCD0-4784-ACFC-CCE2C45CFFEE}"/>
              </a:ext>
            </a:extLst>
          </p:cNvPr>
          <p:cNvSpPr/>
          <p:nvPr/>
        </p:nvSpPr>
        <p:spPr>
          <a:xfrm>
            <a:off x="55097" y="4476823"/>
            <a:ext cx="1674892" cy="471516"/>
          </a:xfrm>
          <a:prstGeom prst="homePlate">
            <a:avLst/>
          </a:prstGeom>
          <a:solidFill>
            <a:srgbClr val="1E3A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100639" latinLnBrk="0" hangingPunct="0"/>
            <a:endParaRPr lang="en-US" sz="1200" kern="0" dirty="0">
              <a:solidFill>
                <a:schemeClr val="bg1"/>
              </a:solidFill>
              <a:cs typeface="Segoe UI" panose="020B0502040204020203" pitchFamily="34" charset="0"/>
            </a:endParaRPr>
          </a:p>
        </p:txBody>
      </p:sp>
      <p:sp>
        <p:nvSpPr>
          <p:cNvPr id="208" name="TextBox 207">
            <a:extLst>
              <a:ext uri="{FF2B5EF4-FFF2-40B4-BE49-F238E27FC236}">
                <a16:creationId xmlns:a16="http://schemas.microsoft.com/office/drawing/2014/main" id="{FF20C59F-9F37-4102-A3CA-39221A35AA17}"/>
              </a:ext>
            </a:extLst>
          </p:cNvPr>
          <p:cNvSpPr txBox="1"/>
          <p:nvPr/>
        </p:nvSpPr>
        <p:spPr>
          <a:xfrm>
            <a:off x="-73460" y="5984378"/>
            <a:ext cx="1602409" cy="276999"/>
          </a:xfrm>
          <a:prstGeom prst="rect">
            <a:avLst/>
          </a:prstGeom>
          <a:noFill/>
        </p:spPr>
        <p:txBody>
          <a:bodyPr wrap="square" rtlCol="0">
            <a:spAutoFit/>
          </a:bodyPr>
          <a:lstStyle/>
          <a:p>
            <a:pPr algn="ctr" defTabSz="412730" latinLnBrk="0">
              <a:defRPr/>
            </a:pPr>
            <a:r>
              <a:rPr lang="en-US" sz="1200" b="1" dirty="0">
                <a:solidFill>
                  <a:schemeClr val="bg2"/>
                </a:solidFill>
              </a:rPr>
              <a:t>GOVERNMENT</a:t>
            </a:r>
            <a:endParaRPr lang="uk-UA" sz="1200" b="1" dirty="0">
              <a:solidFill>
                <a:schemeClr val="bg2"/>
              </a:solidFill>
            </a:endParaRPr>
          </a:p>
        </p:txBody>
      </p:sp>
      <p:sp>
        <p:nvSpPr>
          <p:cNvPr id="209" name="TextBox 208">
            <a:extLst>
              <a:ext uri="{FF2B5EF4-FFF2-40B4-BE49-F238E27FC236}">
                <a16:creationId xmlns:a16="http://schemas.microsoft.com/office/drawing/2014/main" id="{47E302E2-F0B0-4DC8-A3DA-E7BF5E67FCE7}"/>
              </a:ext>
            </a:extLst>
          </p:cNvPr>
          <p:cNvSpPr txBox="1"/>
          <p:nvPr/>
        </p:nvSpPr>
        <p:spPr>
          <a:xfrm>
            <a:off x="340020" y="4574082"/>
            <a:ext cx="900419" cy="276999"/>
          </a:xfrm>
          <a:prstGeom prst="rect">
            <a:avLst/>
          </a:prstGeom>
          <a:noFill/>
        </p:spPr>
        <p:txBody>
          <a:bodyPr wrap="square" rtlCol="0">
            <a:spAutoFit/>
          </a:bodyPr>
          <a:lstStyle/>
          <a:p>
            <a:pPr algn="ctr" defTabSz="412730" latinLnBrk="0">
              <a:defRPr/>
            </a:pPr>
            <a:r>
              <a:rPr lang="en-US" sz="1200" b="1" dirty="0">
                <a:solidFill>
                  <a:schemeClr val="bg2"/>
                </a:solidFill>
              </a:rPr>
              <a:t>BFSI</a:t>
            </a:r>
            <a:endParaRPr lang="uk-UA" sz="1200" b="1" dirty="0">
              <a:solidFill>
                <a:schemeClr val="bg2"/>
              </a:solidFill>
            </a:endParaRPr>
          </a:p>
        </p:txBody>
      </p:sp>
      <p:sp>
        <p:nvSpPr>
          <p:cNvPr id="210" name="Rectangle: Rounded Corners 209">
            <a:extLst>
              <a:ext uri="{FF2B5EF4-FFF2-40B4-BE49-F238E27FC236}">
                <a16:creationId xmlns:a16="http://schemas.microsoft.com/office/drawing/2014/main" id="{366D6837-9653-4459-8E96-9A44D1656229}"/>
              </a:ext>
            </a:extLst>
          </p:cNvPr>
          <p:cNvSpPr/>
          <p:nvPr/>
        </p:nvSpPr>
        <p:spPr>
          <a:xfrm>
            <a:off x="1766812" y="5883598"/>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11" name="Picture 13" descr="Image result for veteran png">
            <a:extLst>
              <a:ext uri="{FF2B5EF4-FFF2-40B4-BE49-F238E27FC236}">
                <a16:creationId xmlns:a16="http://schemas.microsoft.com/office/drawing/2014/main" id="{D5D0C9BE-36BA-454B-BF73-A741FBF9FCE5}"/>
              </a:ext>
            </a:extLst>
          </p:cNvPr>
          <p:cNvPicPr>
            <a:picLocks noChangeAspect="1" noChangeArrowheads="1"/>
          </p:cNvPicPr>
          <p:nvPr/>
        </p:nvPicPr>
        <p:blipFill>
          <a:blip r:embed="rId77" cstate="screen">
            <a:extLst>
              <a:ext uri="{28A0092B-C50C-407E-A947-70E740481C1C}">
                <a14:useLocalDpi xmlns:a14="http://schemas.microsoft.com/office/drawing/2010/main"/>
              </a:ext>
            </a:extLst>
          </a:blip>
          <a:srcRect/>
          <a:stretch>
            <a:fillRect/>
          </a:stretch>
        </p:blipFill>
        <p:spPr bwMode="auto">
          <a:xfrm>
            <a:off x="1928886" y="5907389"/>
            <a:ext cx="414078" cy="414078"/>
          </a:xfrm>
          <a:prstGeom prst="rect">
            <a:avLst/>
          </a:prstGeom>
          <a:noFill/>
          <a:extLst>
            <a:ext uri="{909E8E84-426E-40DD-AFC4-6F175D3DCCD1}">
              <a14:hiddenFill xmlns:a14="http://schemas.microsoft.com/office/drawing/2010/main">
                <a:solidFill>
                  <a:srgbClr val="FFFFFF"/>
                </a:solidFill>
              </a14:hiddenFill>
            </a:ext>
          </a:extLst>
        </p:spPr>
      </p:pic>
      <p:pic>
        <p:nvPicPr>
          <p:cNvPr id="212" name="Picture 2" descr="Image result for nmcsd">
            <a:extLst>
              <a:ext uri="{FF2B5EF4-FFF2-40B4-BE49-F238E27FC236}">
                <a16:creationId xmlns:a16="http://schemas.microsoft.com/office/drawing/2014/main" id="{398591C2-C731-4CCE-B538-B5802EDCAF7B}"/>
              </a:ext>
            </a:extLst>
          </p:cNvPr>
          <p:cNvPicPr>
            <a:picLocks noChangeAspect="1" noChangeArrowheads="1"/>
          </p:cNvPicPr>
          <p:nvPr/>
        </p:nvPicPr>
        <p:blipFill>
          <a:blip r:embed="rId78" cstate="screen">
            <a:extLst>
              <a:ext uri="{28A0092B-C50C-407E-A947-70E740481C1C}">
                <a14:useLocalDpi xmlns:a14="http://schemas.microsoft.com/office/drawing/2010/main"/>
              </a:ext>
            </a:extLst>
          </a:blip>
          <a:srcRect/>
          <a:stretch>
            <a:fillRect/>
          </a:stretch>
        </p:blipFill>
        <p:spPr bwMode="auto">
          <a:xfrm>
            <a:off x="3667142" y="5929473"/>
            <a:ext cx="369910" cy="369910"/>
          </a:xfrm>
          <a:prstGeom prst="ellipse">
            <a:avLst/>
          </a:prstGeom>
          <a:noFill/>
          <a:extLst>
            <a:ext uri="{909E8E84-426E-40DD-AFC4-6F175D3DCCD1}">
              <a14:hiddenFill xmlns:a14="http://schemas.microsoft.com/office/drawing/2010/main">
                <a:solidFill>
                  <a:srgbClr val="FFFFFF"/>
                </a:solidFill>
              </a14:hiddenFill>
            </a:ext>
          </a:extLst>
        </p:spPr>
      </p:pic>
      <p:pic>
        <p:nvPicPr>
          <p:cNvPr id="213" name="Picture 2" descr="Image result for department of defence logo">
            <a:extLst>
              <a:ext uri="{FF2B5EF4-FFF2-40B4-BE49-F238E27FC236}">
                <a16:creationId xmlns:a16="http://schemas.microsoft.com/office/drawing/2014/main" id="{7F868BAA-D81A-4F67-B217-D186907B345C}"/>
              </a:ext>
            </a:extLst>
          </p:cNvPr>
          <p:cNvPicPr>
            <a:picLocks noChangeAspect="1" noChangeArrowheads="1"/>
          </p:cNvPicPr>
          <p:nvPr/>
        </p:nvPicPr>
        <p:blipFill>
          <a:blip r:embed="rId7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792490" y="5917967"/>
            <a:ext cx="394682" cy="392927"/>
          </a:xfrm>
          <a:prstGeom prst="rect">
            <a:avLst/>
          </a:prstGeom>
          <a:noFill/>
          <a:extLst>
            <a:ext uri="{909E8E84-426E-40DD-AFC4-6F175D3DCCD1}">
              <a14:hiddenFill xmlns:a14="http://schemas.microsoft.com/office/drawing/2010/main">
                <a:solidFill>
                  <a:srgbClr val="FFFFFF"/>
                </a:solidFill>
              </a14:hiddenFill>
            </a:ext>
          </a:extLst>
        </p:spPr>
      </p:pic>
      <p:sp>
        <p:nvSpPr>
          <p:cNvPr id="214" name="Rectangle: Rounded Corners 213">
            <a:extLst>
              <a:ext uri="{FF2B5EF4-FFF2-40B4-BE49-F238E27FC236}">
                <a16:creationId xmlns:a16="http://schemas.microsoft.com/office/drawing/2014/main" id="{113BD331-710F-4C58-A899-889A40C9853B}"/>
              </a:ext>
            </a:extLst>
          </p:cNvPr>
          <p:cNvSpPr/>
          <p:nvPr/>
        </p:nvSpPr>
        <p:spPr>
          <a:xfrm>
            <a:off x="2610860" y="5883598"/>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15" name="Rectangle: Rounded Corners 214">
            <a:extLst>
              <a:ext uri="{FF2B5EF4-FFF2-40B4-BE49-F238E27FC236}">
                <a16:creationId xmlns:a16="http://schemas.microsoft.com/office/drawing/2014/main" id="{8FE4D6D4-F073-4D90-9A3B-ACA461B92CB7}"/>
              </a:ext>
            </a:extLst>
          </p:cNvPr>
          <p:cNvSpPr/>
          <p:nvPr/>
        </p:nvSpPr>
        <p:spPr>
          <a:xfrm>
            <a:off x="3473252" y="5883598"/>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16" name="Rectangle: Rounded Corners 215">
            <a:extLst>
              <a:ext uri="{FF2B5EF4-FFF2-40B4-BE49-F238E27FC236}">
                <a16:creationId xmlns:a16="http://schemas.microsoft.com/office/drawing/2014/main" id="{047DF108-42DA-4A42-9675-FFAF4C9A7E6E}"/>
              </a:ext>
            </a:extLst>
          </p:cNvPr>
          <p:cNvSpPr/>
          <p:nvPr/>
        </p:nvSpPr>
        <p:spPr>
          <a:xfrm>
            <a:off x="1775607" y="4491911"/>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17" name="Rectangle: Rounded Corners 216">
            <a:extLst>
              <a:ext uri="{FF2B5EF4-FFF2-40B4-BE49-F238E27FC236}">
                <a16:creationId xmlns:a16="http://schemas.microsoft.com/office/drawing/2014/main" id="{F83C391F-AB04-423D-92A3-40D0B6012772}"/>
              </a:ext>
            </a:extLst>
          </p:cNvPr>
          <p:cNvSpPr/>
          <p:nvPr/>
        </p:nvSpPr>
        <p:spPr>
          <a:xfrm>
            <a:off x="2611048" y="4491911"/>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18" name="Rectangle: Rounded Corners 217">
            <a:extLst>
              <a:ext uri="{FF2B5EF4-FFF2-40B4-BE49-F238E27FC236}">
                <a16:creationId xmlns:a16="http://schemas.microsoft.com/office/drawing/2014/main" id="{F3C6432A-1C4B-46B6-A6FA-6A73F9FFCC27}"/>
              </a:ext>
            </a:extLst>
          </p:cNvPr>
          <p:cNvSpPr/>
          <p:nvPr/>
        </p:nvSpPr>
        <p:spPr>
          <a:xfrm>
            <a:off x="3481249" y="4491911"/>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19" name="Rectangle: Rounded Corners 218">
            <a:extLst>
              <a:ext uri="{FF2B5EF4-FFF2-40B4-BE49-F238E27FC236}">
                <a16:creationId xmlns:a16="http://schemas.microsoft.com/office/drawing/2014/main" id="{C0F39116-5960-43CC-98BF-E43726504004}"/>
              </a:ext>
            </a:extLst>
          </p:cNvPr>
          <p:cNvSpPr/>
          <p:nvPr/>
        </p:nvSpPr>
        <p:spPr>
          <a:xfrm>
            <a:off x="4337577" y="4491911"/>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20" name="Picture 219" descr="Image result for western union logo png">
            <a:extLst>
              <a:ext uri="{FF2B5EF4-FFF2-40B4-BE49-F238E27FC236}">
                <a16:creationId xmlns:a16="http://schemas.microsoft.com/office/drawing/2014/main" id="{BD429617-C798-409F-9740-82EF715A979E}"/>
              </a:ext>
            </a:extLst>
          </p:cNvPr>
          <p:cNvPicPr/>
          <p:nvPr/>
        </p:nvPicPr>
        <p:blipFill>
          <a:blip r:embed="rId80" cstate="screen">
            <a:extLst>
              <a:ext uri="{28A0092B-C50C-407E-A947-70E740481C1C}">
                <a14:useLocalDpi xmlns:a14="http://schemas.microsoft.com/office/drawing/2010/main"/>
              </a:ext>
            </a:extLst>
          </a:blip>
          <a:srcRect/>
          <a:stretch>
            <a:fillRect/>
          </a:stretch>
        </p:blipFill>
        <p:spPr bwMode="auto">
          <a:xfrm>
            <a:off x="1849622" y="4465030"/>
            <a:ext cx="583161" cy="515427"/>
          </a:xfrm>
          <a:prstGeom prst="rect">
            <a:avLst/>
          </a:prstGeom>
          <a:noFill/>
          <a:ln>
            <a:noFill/>
          </a:ln>
        </p:spPr>
      </p:pic>
      <p:pic>
        <p:nvPicPr>
          <p:cNvPr id="221" name="Picture 220">
            <a:extLst>
              <a:ext uri="{FF2B5EF4-FFF2-40B4-BE49-F238E27FC236}">
                <a16:creationId xmlns:a16="http://schemas.microsoft.com/office/drawing/2014/main" id="{4508CC1E-C704-4179-86FA-3CEA377FB3A2}"/>
              </a:ext>
            </a:extLst>
          </p:cNvPr>
          <p:cNvPicPr>
            <a:picLocks noChangeAspect="1"/>
          </p:cNvPicPr>
          <p:nvPr/>
        </p:nvPicPr>
        <p:blipFill>
          <a:blip r:embed="rId8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554675" y="4538866"/>
            <a:ext cx="821306" cy="367750"/>
          </a:xfrm>
          <a:prstGeom prst="rect">
            <a:avLst/>
          </a:prstGeom>
        </p:spPr>
      </p:pic>
      <p:pic>
        <p:nvPicPr>
          <p:cNvPr id="222" name="Picture 221">
            <a:extLst>
              <a:ext uri="{FF2B5EF4-FFF2-40B4-BE49-F238E27FC236}">
                <a16:creationId xmlns:a16="http://schemas.microsoft.com/office/drawing/2014/main" id="{419FC83D-DA62-416D-BCC6-5415053375EF}"/>
              </a:ext>
            </a:extLst>
          </p:cNvPr>
          <p:cNvPicPr>
            <a:picLocks noChangeAspect="1"/>
          </p:cNvPicPr>
          <p:nvPr/>
        </p:nvPicPr>
        <p:blipFill>
          <a:blip r:embed="rId8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502134" y="4618927"/>
            <a:ext cx="692110" cy="207633"/>
          </a:xfrm>
          <a:prstGeom prst="rect">
            <a:avLst/>
          </a:prstGeom>
        </p:spPr>
      </p:pic>
      <p:sp>
        <p:nvSpPr>
          <p:cNvPr id="223" name="TextBox 222">
            <a:extLst>
              <a:ext uri="{FF2B5EF4-FFF2-40B4-BE49-F238E27FC236}">
                <a16:creationId xmlns:a16="http://schemas.microsoft.com/office/drawing/2014/main" id="{E699E056-5780-465D-B5FC-B633CBF5E098}"/>
              </a:ext>
            </a:extLst>
          </p:cNvPr>
          <p:cNvSpPr txBox="1"/>
          <p:nvPr/>
        </p:nvSpPr>
        <p:spPr>
          <a:xfrm>
            <a:off x="16454" y="5177702"/>
            <a:ext cx="1602409" cy="461665"/>
          </a:xfrm>
          <a:prstGeom prst="rect">
            <a:avLst/>
          </a:prstGeom>
          <a:noFill/>
        </p:spPr>
        <p:txBody>
          <a:bodyPr wrap="square" rtlCol="0">
            <a:spAutoFit/>
          </a:bodyPr>
          <a:lstStyle/>
          <a:p>
            <a:pPr algn="ctr" defTabSz="412730" latinLnBrk="0">
              <a:defRPr/>
            </a:pPr>
            <a:r>
              <a:rPr lang="en-US" sz="1200" b="1" dirty="0">
                <a:solidFill>
                  <a:schemeClr val="bg2"/>
                </a:solidFill>
              </a:rPr>
              <a:t>TRANSPORTATION &amp; ENERGY</a:t>
            </a:r>
          </a:p>
        </p:txBody>
      </p:sp>
      <p:sp>
        <p:nvSpPr>
          <p:cNvPr id="224" name="Rectangle: Rounded Corners 223">
            <a:extLst>
              <a:ext uri="{FF2B5EF4-FFF2-40B4-BE49-F238E27FC236}">
                <a16:creationId xmlns:a16="http://schemas.microsoft.com/office/drawing/2014/main" id="{6FBB68D3-9542-409F-B0AD-705CF39D7685}"/>
              </a:ext>
            </a:extLst>
          </p:cNvPr>
          <p:cNvSpPr/>
          <p:nvPr/>
        </p:nvSpPr>
        <p:spPr>
          <a:xfrm>
            <a:off x="1784734" y="5177704"/>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25" name="Rectangle: Rounded Corners 224">
            <a:extLst>
              <a:ext uri="{FF2B5EF4-FFF2-40B4-BE49-F238E27FC236}">
                <a16:creationId xmlns:a16="http://schemas.microsoft.com/office/drawing/2014/main" id="{7762AC3A-4D2C-452E-81EA-97BC9B229DDD}"/>
              </a:ext>
            </a:extLst>
          </p:cNvPr>
          <p:cNvSpPr/>
          <p:nvPr/>
        </p:nvSpPr>
        <p:spPr>
          <a:xfrm>
            <a:off x="2624937" y="5177704"/>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26" name="Picture 8" descr="Image result for amtraklogo">
            <a:extLst>
              <a:ext uri="{FF2B5EF4-FFF2-40B4-BE49-F238E27FC236}">
                <a16:creationId xmlns:a16="http://schemas.microsoft.com/office/drawing/2014/main" id="{CCEA8375-901C-4282-A961-B64C5ADD22B4}"/>
              </a:ext>
            </a:extLst>
          </p:cNvPr>
          <p:cNvPicPr>
            <a:picLocks noChangeAspect="1" noChangeArrowheads="1"/>
          </p:cNvPicPr>
          <p:nvPr/>
        </p:nvPicPr>
        <p:blipFill>
          <a:blip r:embed="rId83" cstate="screen">
            <a:extLst>
              <a:ext uri="{28A0092B-C50C-407E-A947-70E740481C1C}">
                <a14:useLocalDpi xmlns:a14="http://schemas.microsoft.com/office/drawing/2010/main"/>
              </a:ext>
            </a:extLst>
          </a:blip>
          <a:srcRect/>
          <a:stretch>
            <a:fillRect/>
          </a:stretch>
        </p:blipFill>
        <p:spPr bwMode="auto">
          <a:xfrm>
            <a:off x="1880198" y="5293904"/>
            <a:ext cx="550235" cy="229265"/>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44" descr="M:\download (5).png">
            <a:extLst>
              <a:ext uri="{FF2B5EF4-FFF2-40B4-BE49-F238E27FC236}">
                <a16:creationId xmlns:a16="http://schemas.microsoft.com/office/drawing/2014/main" id="{79CE9BDF-27CA-458F-BD5E-1007F9F0BF5D}"/>
              </a:ext>
            </a:extLst>
          </p:cNvPr>
          <p:cNvPicPr>
            <a:picLocks noChangeAspect="1" noChangeArrowheads="1"/>
          </p:cNvPicPr>
          <p:nvPr/>
        </p:nvPicPr>
        <p:blipFill>
          <a:blip r:embed="rId8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830565" y="5218452"/>
            <a:ext cx="324044" cy="380169"/>
          </a:xfrm>
          <a:prstGeom prst="rect">
            <a:avLst/>
          </a:prstGeom>
          <a:noFill/>
        </p:spPr>
      </p:pic>
      <p:sp>
        <p:nvSpPr>
          <p:cNvPr id="228" name="Rectangle: Rounded Corners 227">
            <a:extLst>
              <a:ext uri="{FF2B5EF4-FFF2-40B4-BE49-F238E27FC236}">
                <a16:creationId xmlns:a16="http://schemas.microsoft.com/office/drawing/2014/main" id="{DDEE3336-8B24-45DF-B443-30921C38B878}"/>
              </a:ext>
            </a:extLst>
          </p:cNvPr>
          <p:cNvSpPr/>
          <p:nvPr/>
        </p:nvSpPr>
        <p:spPr>
          <a:xfrm>
            <a:off x="3491174" y="5177704"/>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29" name="Rectangle: Rounded Corners 228">
            <a:extLst>
              <a:ext uri="{FF2B5EF4-FFF2-40B4-BE49-F238E27FC236}">
                <a16:creationId xmlns:a16="http://schemas.microsoft.com/office/drawing/2014/main" id="{E6563A4A-FC20-405E-82B3-BA45DFAA67D8}"/>
              </a:ext>
            </a:extLst>
          </p:cNvPr>
          <p:cNvSpPr/>
          <p:nvPr/>
        </p:nvSpPr>
        <p:spPr>
          <a:xfrm>
            <a:off x="4343818" y="5177704"/>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30" name="Picture 229" descr="A picture containing clipart&#10;&#10;Description automatically generated">
            <a:extLst>
              <a:ext uri="{FF2B5EF4-FFF2-40B4-BE49-F238E27FC236}">
                <a16:creationId xmlns:a16="http://schemas.microsoft.com/office/drawing/2014/main" id="{756FC5F9-9F1D-4DCA-B621-FFFFB97C42D9}"/>
              </a:ext>
            </a:extLst>
          </p:cNvPr>
          <p:cNvPicPr>
            <a:picLocks noChangeAspect="1"/>
          </p:cNvPicPr>
          <p:nvPr/>
        </p:nvPicPr>
        <p:blipFill>
          <a:blip r:embed="rId85" cstate="screen">
            <a:extLst>
              <a:ext uri="{28A0092B-C50C-407E-A947-70E740481C1C}">
                <a14:useLocalDpi xmlns:a14="http://schemas.microsoft.com/office/drawing/2010/main"/>
              </a:ext>
            </a:extLst>
          </a:blip>
          <a:stretch>
            <a:fillRect/>
          </a:stretch>
        </p:blipFill>
        <p:spPr>
          <a:xfrm>
            <a:off x="3548418" y="5292801"/>
            <a:ext cx="611528" cy="231466"/>
          </a:xfrm>
          <a:prstGeom prst="rect">
            <a:avLst/>
          </a:prstGeom>
        </p:spPr>
      </p:pic>
      <p:pic>
        <p:nvPicPr>
          <p:cNvPr id="231" name="Picture 230" descr="A close up of a sign&#10;&#10;Description automatically generated">
            <a:extLst>
              <a:ext uri="{FF2B5EF4-FFF2-40B4-BE49-F238E27FC236}">
                <a16:creationId xmlns:a16="http://schemas.microsoft.com/office/drawing/2014/main" id="{9F5DB98B-A236-4439-905D-29257C467CD1}"/>
              </a:ext>
            </a:extLst>
          </p:cNvPr>
          <p:cNvPicPr>
            <a:picLocks noChangeAspect="1"/>
          </p:cNvPicPr>
          <p:nvPr/>
        </p:nvPicPr>
        <p:blipFill>
          <a:blip r:embed="rId86" cstate="screen">
            <a:extLst>
              <a:ext uri="{28A0092B-C50C-407E-A947-70E740481C1C}">
                <a14:useLocalDpi xmlns:a14="http://schemas.microsoft.com/office/drawing/2010/main"/>
              </a:ext>
            </a:extLst>
          </a:blip>
          <a:stretch>
            <a:fillRect/>
          </a:stretch>
        </p:blipFill>
        <p:spPr>
          <a:xfrm>
            <a:off x="4350491" y="5318801"/>
            <a:ext cx="729280" cy="179471"/>
          </a:xfrm>
          <a:prstGeom prst="rect">
            <a:avLst/>
          </a:prstGeom>
        </p:spPr>
      </p:pic>
      <p:sp>
        <p:nvSpPr>
          <p:cNvPr id="232" name="Rectangle: Rounded Corners 231">
            <a:extLst>
              <a:ext uri="{FF2B5EF4-FFF2-40B4-BE49-F238E27FC236}">
                <a16:creationId xmlns:a16="http://schemas.microsoft.com/office/drawing/2014/main" id="{A3B8E12A-BD00-4F61-836F-F777AD6AB70E}"/>
              </a:ext>
            </a:extLst>
          </p:cNvPr>
          <p:cNvSpPr/>
          <p:nvPr/>
        </p:nvSpPr>
        <p:spPr>
          <a:xfrm>
            <a:off x="5193918" y="4491911"/>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33" name="Picture 232" descr="A picture containing clipart&#10;&#10;Description automatically generated">
            <a:extLst>
              <a:ext uri="{FF2B5EF4-FFF2-40B4-BE49-F238E27FC236}">
                <a16:creationId xmlns:a16="http://schemas.microsoft.com/office/drawing/2014/main" id="{CB171BB8-AD99-4BF9-9089-5D167C6C6BDF}"/>
              </a:ext>
            </a:extLst>
          </p:cNvPr>
          <p:cNvPicPr>
            <a:picLocks noChangeAspect="1"/>
          </p:cNvPicPr>
          <p:nvPr/>
        </p:nvPicPr>
        <p:blipFill>
          <a:blip r:embed="rId8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78261" y="4585178"/>
            <a:ext cx="770440" cy="275126"/>
          </a:xfrm>
          <a:prstGeom prst="rect">
            <a:avLst/>
          </a:prstGeom>
        </p:spPr>
      </p:pic>
      <p:grpSp>
        <p:nvGrpSpPr>
          <p:cNvPr id="276" name="Group 275">
            <a:extLst>
              <a:ext uri="{FF2B5EF4-FFF2-40B4-BE49-F238E27FC236}">
                <a16:creationId xmlns:a16="http://schemas.microsoft.com/office/drawing/2014/main" id="{30BE8D97-7D4F-4121-9C0B-7F291C881582}"/>
              </a:ext>
            </a:extLst>
          </p:cNvPr>
          <p:cNvGrpSpPr/>
          <p:nvPr/>
        </p:nvGrpSpPr>
        <p:grpSpPr>
          <a:xfrm>
            <a:off x="4422415" y="5984897"/>
            <a:ext cx="598860" cy="259067"/>
            <a:chOff x="8451396" y="405469"/>
            <a:chExt cx="2510053" cy="1085850"/>
          </a:xfrm>
        </p:grpSpPr>
        <p:pic>
          <p:nvPicPr>
            <p:cNvPr id="277" name="Picture 276">
              <a:extLst>
                <a:ext uri="{FF2B5EF4-FFF2-40B4-BE49-F238E27FC236}">
                  <a16:creationId xmlns:a16="http://schemas.microsoft.com/office/drawing/2014/main" id="{4D8EBDFD-24D3-4841-99E2-CDD7AE58917F}"/>
                </a:ext>
              </a:extLst>
            </p:cNvPr>
            <p:cNvPicPr>
              <a:picLocks noChangeAspect="1"/>
            </p:cNvPicPr>
            <p:nvPr/>
          </p:nvPicPr>
          <p:blipFill rotWithShape="1">
            <a:blip r:embed="rId8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451396" y="405469"/>
              <a:ext cx="1036254" cy="1085850"/>
            </a:xfrm>
            <a:prstGeom prst="rect">
              <a:avLst/>
            </a:prstGeom>
          </p:spPr>
        </p:pic>
        <p:pic>
          <p:nvPicPr>
            <p:cNvPr id="278" name="Picture 277">
              <a:extLst>
                <a:ext uri="{FF2B5EF4-FFF2-40B4-BE49-F238E27FC236}">
                  <a16:creationId xmlns:a16="http://schemas.microsoft.com/office/drawing/2014/main" id="{39806CF7-DC8D-4FA4-8FCB-7E86983F256D}"/>
                </a:ext>
              </a:extLst>
            </p:cNvPr>
            <p:cNvPicPr>
              <a:picLocks noChangeAspect="1"/>
            </p:cNvPicPr>
            <p:nvPr/>
          </p:nvPicPr>
          <p:blipFill rotWithShape="1">
            <a:blip r:embed="rId8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368123" y="583277"/>
              <a:ext cx="1593326" cy="667386"/>
            </a:xfrm>
            <a:prstGeom prst="rect">
              <a:avLst/>
            </a:prstGeom>
          </p:spPr>
        </p:pic>
      </p:grpSp>
      <p:pic>
        <p:nvPicPr>
          <p:cNvPr id="279" name="Picture 278" descr="A close up of a logo&#10;&#10;Description automatically generated">
            <a:extLst>
              <a:ext uri="{FF2B5EF4-FFF2-40B4-BE49-F238E27FC236}">
                <a16:creationId xmlns:a16="http://schemas.microsoft.com/office/drawing/2014/main" id="{F412887B-7F3D-4103-9448-ADCE9839A69D}"/>
              </a:ext>
            </a:extLst>
          </p:cNvPr>
          <p:cNvPicPr>
            <a:picLocks noChangeAspect="1"/>
          </p:cNvPicPr>
          <p:nvPr/>
        </p:nvPicPr>
        <p:blipFill rotWithShape="1">
          <a:blip r:embed="rId9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299045" y="5906817"/>
            <a:ext cx="492756" cy="415222"/>
          </a:xfrm>
          <a:prstGeom prst="rect">
            <a:avLst/>
          </a:prstGeom>
        </p:spPr>
      </p:pic>
      <p:sp>
        <p:nvSpPr>
          <p:cNvPr id="280" name="Rectangle: Rounded Corners 279">
            <a:extLst>
              <a:ext uri="{FF2B5EF4-FFF2-40B4-BE49-F238E27FC236}">
                <a16:creationId xmlns:a16="http://schemas.microsoft.com/office/drawing/2014/main" id="{B8B9484E-08DC-4FED-B325-3E73ADE5943D}"/>
              </a:ext>
            </a:extLst>
          </p:cNvPr>
          <p:cNvSpPr/>
          <p:nvPr/>
        </p:nvSpPr>
        <p:spPr>
          <a:xfrm>
            <a:off x="4331682" y="5883598"/>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81" name="Rectangle: Rounded Corners 280">
            <a:extLst>
              <a:ext uri="{FF2B5EF4-FFF2-40B4-BE49-F238E27FC236}">
                <a16:creationId xmlns:a16="http://schemas.microsoft.com/office/drawing/2014/main" id="{62EB95CC-BF01-4648-864B-736E484C9922}"/>
              </a:ext>
            </a:extLst>
          </p:cNvPr>
          <p:cNvSpPr/>
          <p:nvPr/>
        </p:nvSpPr>
        <p:spPr>
          <a:xfrm>
            <a:off x="5174233" y="5883598"/>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82" name="Picture 281">
            <a:extLst>
              <a:ext uri="{FF2B5EF4-FFF2-40B4-BE49-F238E27FC236}">
                <a16:creationId xmlns:a16="http://schemas.microsoft.com/office/drawing/2014/main" id="{CAE54C4F-ACB8-4CD7-A480-6424AD2B52B3}"/>
              </a:ext>
            </a:extLst>
          </p:cNvPr>
          <p:cNvPicPr>
            <a:picLocks noChangeAspect="1"/>
          </p:cNvPicPr>
          <p:nvPr/>
        </p:nvPicPr>
        <p:blipFill>
          <a:blip r:embed="rId91"/>
          <a:stretch>
            <a:fillRect/>
          </a:stretch>
        </p:blipFill>
        <p:spPr>
          <a:xfrm>
            <a:off x="4366612" y="4531437"/>
            <a:ext cx="684000" cy="382613"/>
          </a:xfrm>
          <a:prstGeom prst="rect">
            <a:avLst/>
          </a:prstGeom>
        </p:spPr>
      </p:pic>
      <p:cxnSp>
        <p:nvCxnSpPr>
          <p:cNvPr id="284" name="Straight Connector 283">
            <a:extLst>
              <a:ext uri="{FF2B5EF4-FFF2-40B4-BE49-F238E27FC236}">
                <a16:creationId xmlns:a16="http://schemas.microsoft.com/office/drawing/2014/main" id="{9306C66B-302E-40DB-AF30-91C81DF0229E}"/>
              </a:ext>
            </a:extLst>
          </p:cNvPr>
          <p:cNvCxnSpPr>
            <a:cxnSpLocks/>
          </p:cNvCxnSpPr>
          <p:nvPr/>
        </p:nvCxnSpPr>
        <p:spPr>
          <a:xfrm>
            <a:off x="1767556" y="5045083"/>
            <a:ext cx="5183974" cy="0"/>
          </a:xfrm>
          <a:prstGeom prst="line">
            <a:avLst/>
          </a:prstGeom>
          <a:ln w="12700">
            <a:solidFill>
              <a:schemeClr val="tx1">
                <a:lumMod val="25000"/>
                <a:lumOff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85" name="Rectangle: Rounded Corners 284">
            <a:extLst>
              <a:ext uri="{FF2B5EF4-FFF2-40B4-BE49-F238E27FC236}">
                <a16:creationId xmlns:a16="http://schemas.microsoft.com/office/drawing/2014/main" id="{98AB2646-4239-48CB-8C1B-A01B551192DC}"/>
              </a:ext>
            </a:extLst>
          </p:cNvPr>
          <p:cNvSpPr/>
          <p:nvPr/>
        </p:nvSpPr>
        <p:spPr>
          <a:xfrm>
            <a:off x="6016784" y="5883598"/>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286" name="Rectangle: Rounded Corners 285">
            <a:extLst>
              <a:ext uri="{FF2B5EF4-FFF2-40B4-BE49-F238E27FC236}">
                <a16:creationId xmlns:a16="http://schemas.microsoft.com/office/drawing/2014/main" id="{8F2AE47C-3E38-4CC6-9CA6-2C815F907C68}"/>
              </a:ext>
            </a:extLst>
          </p:cNvPr>
          <p:cNvSpPr/>
          <p:nvPr/>
        </p:nvSpPr>
        <p:spPr>
          <a:xfrm>
            <a:off x="6875214" y="5883598"/>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pic>
        <p:nvPicPr>
          <p:cNvPr id="287" name="Picture 2" descr="Image result for defence health agency logo&quot;">
            <a:extLst>
              <a:ext uri="{FF2B5EF4-FFF2-40B4-BE49-F238E27FC236}">
                <a16:creationId xmlns:a16="http://schemas.microsoft.com/office/drawing/2014/main" id="{675E5999-3F2B-4E2F-9836-AC4A83484650}"/>
              </a:ext>
            </a:extLst>
          </p:cNvPr>
          <p:cNvPicPr>
            <a:picLocks noChangeAspect="1" noChangeArrowheads="1"/>
          </p:cNvPicPr>
          <p:nvPr/>
        </p:nvPicPr>
        <p:blipFill rotWithShape="1">
          <a:blip r:embed="rId92" cstate="email">
            <a:extLst>
              <a:ext uri="{28A0092B-C50C-407E-A947-70E740481C1C}">
                <a14:useLocalDpi xmlns:a14="http://schemas.microsoft.com/office/drawing/2010/main"/>
              </a:ext>
            </a:extLst>
          </a:blip>
          <a:srcRect/>
          <a:stretch/>
        </p:blipFill>
        <p:spPr bwMode="auto">
          <a:xfrm>
            <a:off x="6045819" y="5975221"/>
            <a:ext cx="684000" cy="278419"/>
          </a:xfrm>
          <a:prstGeom prst="rect">
            <a:avLst/>
          </a:prstGeom>
          <a:noFill/>
          <a:extLst>
            <a:ext uri="{909E8E84-426E-40DD-AFC4-6F175D3DCCD1}">
              <a14:hiddenFill xmlns:a14="http://schemas.microsoft.com/office/drawing/2010/main">
                <a:solidFill>
                  <a:srgbClr val="FFFFFF"/>
                </a:solidFill>
              </a14:hiddenFill>
            </a:ext>
          </a:extLst>
        </p:spPr>
      </p:pic>
      <p:pic>
        <p:nvPicPr>
          <p:cNvPr id="288" name="Picture 4" descr="Image result for military health system logo&quot;">
            <a:extLst>
              <a:ext uri="{FF2B5EF4-FFF2-40B4-BE49-F238E27FC236}">
                <a16:creationId xmlns:a16="http://schemas.microsoft.com/office/drawing/2014/main" id="{BF3CE877-461E-4095-9C37-3442DCF0AC0D}"/>
              </a:ext>
            </a:extLst>
          </p:cNvPr>
          <p:cNvPicPr>
            <a:picLocks noChangeAspect="1" noChangeArrowheads="1"/>
          </p:cNvPicPr>
          <p:nvPr/>
        </p:nvPicPr>
        <p:blipFill>
          <a:blip r:embed="rId93" cstate="email">
            <a:extLst>
              <a:ext uri="{28A0092B-C50C-407E-A947-70E740481C1C}">
                <a14:useLocalDpi xmlns:a14="http://schemas.microsoft.com/office/drawing/2010/main"/>
              </a:ext>
            </a:extLst>
          </a:blip>
          <a:srcRect/>
          <a:stretch>
            <a:fillRect/>
          </a:stretch>
        </p:blipFill>
        <p:spPr bwMode="auto">
          <a:xfrm>
            <a:off x="6939199" y="5975979"/>
            <a:ext cx="288000" cy="276898"/>
          </a:xfrm>
          <a:prstGeom prst="rect">
            <a:avLst/>
          </a:prstGeom>
          <a:noFill/>
          <a:extLst>
            <a:ext uri="{909E8E84-426E-40DD-AFC4-6F175D3DCCD1}">
              <a14:hiddenFill xmlns:a14="http://schemas.microsoft.com/office/drawing/2010/main">
                <a:solidFill>
                  <a:srgbClr val="FFFFFF"/>
                </a:solidFill>
              </a14:hiddenFill>
            </a:ext>
          </a:extLst>
        </p:spPr>
      </p:pic>
      <p:sp>
        <p:nvSpPr>
          <p:cNvPr id="289" name="TextBox 288">
            <a:extLst>
              <a:ext uri="{FF2B5EF4-FFF2-40B4-BE49-F238E27FC236}">
                <a16:creationId xmlns:a16="http://schemas.microsoft.com/office/drawing/2014/main" id="{2B98E6FE-DA3A-4188-A6A9-A81269CDCC88}"/>
              </a:ext>
            </a:extLst>
          </p:cNvPr>
          <p:cNvSpPr txBox="1"/>
          <p:nvPr/>
        </p:nvSpPr>
        <p:spPr>
          <a:xfrm>
            <a:off x="7163411" y="5929762"/>
            <a:ext cx="535302" cy="369332"/>
          </a:xfrm>
          <a:prstGeom prst="rect">
            <a:avLst/>
          </a:prstGeom>
          <a:noFill/>
        </p:spPr>
        <p:txBody>
          <a:bodyPr wrap="square" rtlCol="0">
            <a:spAutoFit/>
          </a:bodyPr>
          <a:lstStyle/>
          <a:p>
            <a:r>
              <a:rPr lang="en-US" sz="600" b="1" dirty="0">
                <a:solidFill>
                  <a:schemeClr val="tx1">
                    <a:lumMod val="65000"/>
                    <a:lumOff val="35000"/>
                  </a:schemeClr>
                </a:solidFill>
                <a:latin typeface="Century" panose="02040604050505020304" pitchFamily="18" charset="0"/>
                <a:ea typeface="Roboto" panose="02000000000000000000" pitchFamily="2" charset="0"/>
                <a:cs typeface="Times New Roman" panose="02020603050405020304" pitchFamily="18" charset="0"/>
              </a:rPr>
              <a:t>Military Health </a:t>
            </a:r>
          </a:p>
          <a:p>
            <a:r>
              <a:rPr lang="en-US" sz="600" b="1" dirty="0">
                <a:solidFill>
                  <a:schemeClr val="tx1">
                    <a:lumMod val="65000"/>
                    <a:lumOff val="35000"/>
                  </a:schemeClr>
                </a:solidFill>
                <a:latin typeface="Century" panose="02040604050505020304" pitchFamily="18" charset="0"/>
                <a:ea typeface="Roboto" panose="02000000000000000000" pitchFamily="2" charset="0"/>
                <a:cs typeface="Times New Roman" panose="02020603050405020304" pitchFamily="18" charset="0"/>
              </a:rPr>
              <a:t>System</a:t>
            </a:r>
          </a:p>
        </p:txBody>
      </p:sp>
      <p:cxnSp>
        <p:nvCxnSpPr>
          <p:cNvPr id="290" name="Straight Connector 289">
            <a:extLst>
              <a:ext uri="{FF2B5EF4-FFF2-40B4-BE49-F238E27FC236}">
                <a16:creationId xmlns:a16="http://schemas.microsoft.com/office/drawing/2014/main" id="{2F277F10-88E8-415D-9C39-1124887C9BBC}"/>
              </a:ext>
            </a:extLst>
          </p:cNvPr>
          <p:cNvCxnSpPr/>
          <p:nvPr/>
        </p:nvCxnSpPr>
        <p:spPr>
          <a:xfrm>
            <a:off x="1767556" y="5745060"/>
            <a:ext cx="10080000" cy="0"/>
          </a:xfrm>
          <a:prstGeom prst="line">
            <a:avLst/>
          </a:prstGeom>
          <a:ln w="12700">
            <a:solidFill>
              <a:schemeClr val="tx1">
                <a:lumMod val="25000"/>
                <a:lumOff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234" name="Picture 8">
            <a:extLst>
              <a:ext uri="{FF2B5EF4-FFF2-40B4-BE49-F238E27FC236}">
                <a16:creationId xmlns:a16="http://schemas.microsoft.com/office/drawing/2014/main" id="{5F517949-976A-4001-9FA5-42490CBB862C}"/>
              </a:ext>
            </a:extLst>
          </p:cNvPr>
          <p:cNvPicPr>
            <a:picLocks noChangeAspect="1" noChangeArrowheads="1"/>
          </p:cNvPicPr>
          <p:nvPr/>
        </p:nvPicPr>
        <p:blipFill>
          <a:blip r:embed="rId94" cstate="screen">
            <a:extLst>
              <a:ext uri="{28A0092B-C50C-407E-A947-70E740481C1C}">
                <a14:useLocalDpi xmlns:a14="http://schemas.microsoft.com/office/drawing/2010/main"/>
              </a:ext>
            </a:extLst>
          </a:blip>
          <a:srcRect/>
          <a:stretch>
            <a:fillRect/>
          </a:stretch>
        </p:blipFill>
        <p:spPr bwMode="auto">
          <a:xfrm>
            <a:off x="6034350" y="4606082"/>
            <a:ext cx="1068270" cy="271241"/>
          </a:xfrm>
          <a:prstGeom prst="rect">
            <a:avLst/>
          </a:prstGeom>
          <a:noFill/>
          <a:extLst>
            <a:ext uri="{909E8E84-426E-40DD-AFC4-6F175D3DCCD1}">
              <a14:hiddenFill xmlns:a14="http://schemas.microsoft.com/office/drawing/2010/main">
                <a:solidFill>
                  <a:srgbClr val="FFFFFF"/>
                </a:solidFill>
              </a14:hiddenFill>
            </a:ext>
          </a:extLst>
        </p:spPr>
      </p:pic>
      <p:grpSp>
        <p:nvGrpSpPr>
          <p:cNvPr id="235" name="Group 234">
            <a:extLst>
              <a:ext uri="{FF2B5EF4-FFF2-40B4-BE49-F238E27FC236}">
                <a16:creationId xmlns:a16="http://schemas.microsoft.com/office/drawing/2014/main" id="{C3F59BE4-C260-4081-B3C5-7A361D4721C9}"/>
              </a:ext>
            </a:extLst>
          </p:cNvPr>
          <p:cNvGrpSpPr/>
          <p:nvPr/>
        </p:nvGrpSpPr>
        <p:grpSpPr>
          <a:xfrm>
            <a:off x="7138478" y="4472445"/>
            <a:ext cx="1004676" cy="526447"/>
            <a:chOff x="7626335" y="3804037"/>
            <a:chExt cx="1004676" cy="526447"/>
          </a:xfrm>
        </p:grpSpPr>
        <p:pic>
          <p:nvPicPr>
            <p:cNvPr id="236" name="Picture 10" descr="MetLife Has a New Brand Identity After More Than 30 Years, and ...">
              <a:extLst>
                <a:ext uri="{FF2B5EF4-FFF2-40B4-BE49-F238E27FC236}">
                  <a16:creationId xmlns:a16="http://schemas.microsoft.com/office/drawing/2014/main" id="{FB0862D4-8D3F-45CA-A1CD-75A87DEB6FA9}"/>
                </a:ext>
              </a:extLst>
            </p:cNvPr>
            <p:cNvPicPr>
              <a:picLocks noChangeAspect="1" noChangeArrowheads="1"/>
            </p:cNvPicPr>
            <p:nvPr/>
          </p:nvPicPr>
          <p:blipFill>
            <a:blip r:embed="rId95" cstate="screen">
              <a:extLst>
                <a:ext uri="{28A0092B-C50C-407E-A947-70E740481C1C}">
                  <a14:useLocalDpi xmlns:a14="http://schemas.microsoft.com/office/drawing/2010/main"/>
                </a:ext>
              </a:extLst>
            </a:blip>
            <a:srcRect/>
            <a:stretch>
              <a:fillRect/>
            </a:stretch>
          </p:blipFill>
          <p:spPr bwMode="auto">
            <a:xfrm>
              <a:off x="7626335" y="3804037"/>
              <a:ext cx="977438" cy="526447"/>
            </a:xfrm>
            <a:prstGeom prst="rect">
              <a:avLst/>
            </a:prstGeom>
            <a:noFill/>
            <a:extLst>
              <a:ext uri="{909E8E84-426E-40DD-AFC4-6F175D3DCCD1}">
                <a14:hiddenFill xmlns:a14="http://schemas.microsoft.com/office/drawing/2010/main">
                  <a:solidFill>
                    <a:srgbClr val="FFFFFF"/>
                  </a:solidFill>
                </a14:hiddenFill>
              </a:ext>
            </a:extLst>
          </p:spPr>
        </p:pic>
        <p:sp>
          <p:nvSpPr>
            <p:cNvPr id="237" name="Rectangle: Rounded Corners 236">
              <a:extLst>
                <a:ext uri="{FF2B5EF4-FFF2-40B4-BE49-F238E27FC236}">
                  <a16:creationId xmlns:a16="http://schemas.microsoft.com/office/drawing/2014/main" id="{7454488E-F304-4635-9FF4-D1697FA46EB3}"/>
                </a:ext>
              </a:extLst>
            </p:cNvPr>
            <p:cNvSpPr/>
            <p:nvPr/>
          </p:nvSpPr>
          <p:spPr>
            <a:xfrm>
              <a:off x="7628044" y="3824154"/>
              <a:ext cx="1002967"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A091B"/>
                </a:solidFill>
                <a:effectLst/>
                <a:uLnTx/>
                <a:uFillTx/>
                <a:latin typeface="Calibri"/>
                <a:ea typeface="+mn-ea"/>
                <a:cs typeface="+mn-cs"/>
              </a:endParaRPr>
            </a:p>
          </p:txBody>
        </p:sp>
      </p:grpSp>
      <p:grpSp>
        <p:nvGrpSpPr>
          <p:cNvPr id="291" name="Group 290">
            <a:extLst>
              <a:ext uri="{FF2B5EF4-FFF2-40B4-BE49-F238E27FC236}">
                <a16:creationId xmlns:a16="http://schemas.microsoft.com/office/drawing/2014/main" id="{7DA69B18-2D59-46E2-BA35-CDC9C0137415}"/>
              </a:ext>
            </a:extLst>
          </p:cNvPr>
          <p:cNvGrpSpPr/>
          <p:nvPr/>
        </p:nvGrpSpPr>
        <p:grpSpPr>
          <a:xfrm>
            <a:off x="8223472" y="4411669"/>
            <a:ext cx="1032151" cy="633414"/>
            <a:chOff x="8653746" y="3770366"/>
            <a:chExt cx="1002967" cy="639269"/>
          </a:xfrm>
        </p:grpSpPr>
        <p:pic>
          <p:nvPicPr>
            <p:cNvPr id="292" name="Picture 12" descr="Image result for chase logo">
              <a:extLst>
                <a:ext uri="{FF2B5EF4-FFF2-40B4-BE49-F238E27FC236}">
                  <a16:creationId xmlns:a16="http://schemas.microsoft.com/office/drawing/2014/main" id="{6FBBF186-2279-441E-98DF-637E3B9F3E1E}"/>
                </a:ext>
              </a:extLst>
            </p:cNvPr>
            <p:cNvPicPr>
              <a:picLocks noChangeAspect="1" noChangeArrowheads="1"/>
            </p:cNvPicPr>
            <p:nvPr/>
          </p:nvPicPr>
          <p:blipFill>
            <a:blip r:embed="rId96" cstate="screen">
              <a:extLst>
                <a:ext uri="{28A0092B-C50C-407E-A947-70E740481C1C}">
                  <a14:useLocalDpi xmlns:a14="http://schemas.microsoft.com/office/drawing/2010/main"/>
                </a:ext>
              </a:extLst>
            </a:blip>
            <a:srcRect/>
            <a:stretch>
              <a:fillRect/>
            </a:stretch>
          </p:blipFill>
          <p:spPr bwMode="auto">
            <a:xfrm>
              <a:off x="8749322" y="3770366"/>
              <a:ext cx="894976" cy="639269"/>
            </a:xfrm>
            <a:prstGeom prst="rect">
              <a:avLst/>
            </a:prstGeom>
            <a:noFill/>
            <a:extLst>
              <a:ext uri="{909E8E84-426E-40DD-AFC4-6F175D3DCCD1}">
                <a14:hiddenFill xmlns:a14="http://schemas.microsoft.com/office/drawing/2010/main">
                  <a:solidFill>
                    <a:srgbClr val="FFFFFF"/>
                  </a:solidFill>
                </a14:hiddenFill>
              </a:ext>
            </a:extLst>
          </p:spPr>
        </p:pic>
        <p:sp>
          <p:nvSpPr>
            <p:cNvPr id="293" name="Rectangle: Rounded Corners 292">
              <a:extLst>
                <a:ext uri="{FF2B5EF4-FFF2-40B4-BE49-F238E27FC236}">
                  <a16:creationId xmlns:a16="http://schemas.microsoft.com/office/drawing/2014/main" id="{DBF35494-0557-4C31-81A5-5B1EC69F2042}"/>
                </a:ext>
              </a:extLst>
            </p:cNvPr>
            <p:cNvSpPr/>
            <p:nvPr/>
          </p:nvSpPr>
          <p:spPr>
            <a:xfrm>
              <a:off x="8653746" y="3858677"/>
              <a:ext cx="1002967"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A091B"/>
                </a:solidFill>
                <a:effectLst/>
                <a:uLnTx/>
                <a:uFillTx/>
                <a:latin typeface="Calibri"/>
                <a:ea typeface="+mn-ea"/>
                <a:cs typeface="+mn-cs"/>
              </a:endParaRPr>
            </a:p>
          </p:txBody>
        </p:sp>
      </p:grpSp>
      <p:grpSp>
        <p:nvGrpSpPr>
          <p:cNvPr id="50" name="Group 49">
            <a:extLst>
              <a:ext uri="{FF2B5EF4-FFF2-40B4-BE49-F238E27FC236}">
                <a16:creationId xmlns:a16="http://schemas.microsoft.com/office/drawing/2014/main" id="{8139B1D4-BD02-B594-3565-FED3B61E9B17}"/>
              </a:ext>
            </a:extLst>
          </p:cNvPr>
          <p:cNvGrpSpPr/>
          <p:nvPr/>
        </p:nvGrpSpPr>
        <p:grpSpPr>
          <a:xfrm>
            <a:off x="9310384" y="4491911"/>
            <a:ext cx="1331304" cy="480730"/>
            <a:chOff x="9310384" y="4491911"/>
            <a:chExt cx="1331304" cy="480730"/>
          </a:xfrm>
        </p:grpSpPr>
        <p:pic>
          <p:nvPicPr>
            <p:cNvPr id="295" name="Picture 14" descr="Microsoft Customer Story-Teaming up to house America: Fannie Mae ...">
              <a:extLst>
                <a:ext uri="{FF2B5EF4-FFF2-40B4-BE49-F238E27FC236}">
                  <a16:creationId xmlns:a16="http://schemas.microsoft.com/office/drawing/2014/main" id="{D8DA5B55-A71D-4DE2-BD4F-A7F098BB50E7}"/>
                </a:ext>
              </a:extLst>
            </p:cNvPr>
            <p:cNvPicPr>
              <a:picLocks noChangeAspect="1" noChangeArrowheads="1"/>
            </p:cNvPicPr>
            <p:nvPr/>
          </p:nvPicPr>
          <p:blipFill rotWithShape="1">
            <a:blip r:embed="rId97" cstate="screen">
              <a:extLst>
                <a:ext uri="{28A0092B-C50C-407E-A947-70E740481C1C}">
                  <a14:useLocalDpi xmlns:a14="http://schemas.microsoft.com/office/drawing/2010/main"/>
                </a:ext>
              </a:extLst>
            </a:blip>
            <a:srcRect t="29897" b="35117"/>
            <a:stretch/>
          </p:blipFill>
          <p:spPr bwMode="auto">
            <a:xfrm>
              <a:off x="9310384" y="4491911"/>
              <a:ext cx="1264860" cy="442515"/>
            </a:xfrm>
            <a:prstGeom prst="rect">
              <a:avLst/>
            </a:prstGeom>
            <a:noFill/>
            <a:extLst>
              <a:ext uri="{909E8E84-426E-40DD-AFC4-6F175D3DCCD1}">
                <a14:hiddenFill xmlns:a14="http://schemas.microsoft.com/office/drawing/2010/main">
                  <a:solidFill>
                    <a:srgbClr val="FFFFFF"/>
                  </a:solidFill>
                </a14:hiddenFill>
              </a:ext>
            </a:extLst>
          </p:spPr>
        </p:pic>
        <p:sp>
          <p:nvSpPr>
            <p:cNvPr id="296" name="Rectangle: Rounded Corners 295">
              <a:extLst>
                <a:ext uri="{FF2B5EF4-FFF2-40B4-BE49-F238E27FC236}">
                  <a16:creationId xmlns:a16="http://schemas.microsoft.com/office/drawing/2014/main" id="{260B8F6D-169A-42C1-817C-1827D17A1646}"/>
                </a:ext>
              </a:extLst>
            </p:cNvPr>
            <p:cNvSpPr/>
            <p:nvPr/>
          </p:nvSpPr>
          <p:spPr>
            <a:xfrm>
              <a:off x="9370727" y="4510976"/>
              <a:ext cx="1270961"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A091B"/>
                </a:solidFill>
                <a:effectLst/>
                <a:uLnTx/>
                <a:uFillTx/>
                <a:latin typeface="Calibri"/>
                <a:ea typeface="+mn-ea"/>
                <a:cs typeface="+mn-cs"/>
              </a:endParaRPr>
            </a:p>
          </p:txBody>
        </p:sp>
      </p:grpSp>
      <p:pic>
        <p:nvPicPr>
          <p:cNvPr id="297" name="Picture 4" descr="Image result for saint bain glass logo">
            <a:extLst>
              <a:ext uri="{FF2B5EF4-FFF2-40B4-BE49-F238E27FC236}">
                <a16:creationId xmlns:a16="http://schemas.microsoft.com/office/drawing/2014/main" id="{5E4FAA2E-9748-4CD3-8F9B-943785997C4C}"/>
              </a:ext>
            </a:extLst>
          </p:cNvPr>
          <p:cNvPicPr>
            <a:picLocks noChangeAspect="1" noChangeArrowheads="1"/>
          </p:cNvPicPr>
          <p:nvPr/>
        </p:nvPicPr>
        <p:blipFill>
          <a:blip r:embed="rId98" cstate="screen">
            <a:extLst>
              <a:ext uri="{28A0092B-C50C-407E-A947-70E740481C1C}">
                <a14:useLocalDpi xmlns:a14="http://schemas.microsoft.com/office/drawing/2010/main"/>
              </a:ext>
            </a:extLst>
          </a:blip>
          <a:srcRect/>
          <a:stretch>
            <a:fillRect/>
          </a:stretch>
        </p:blipFill>
        <p:spPr bwMode="auto">
          <a:xfrm>
            <a:off x="5282205" y="5301663"/>
            <a:ext cx="610397" cy="257566"/>
          </a:xfrm>
          <a:prstGeom prst="rect">
            <a:avLst/>
          </a:prstGeom>
          <a:noFill/>
          <a:extLst>
            <a:ext uri="{909E8E84-426E-40DD-AFC4-6F175D3DCCD1}">
              <a14:hiddenFill xmlns:a14="http://schemas.microsoft.com/office/drawing/2010/main">
                <a:solidFill>
                  <a:srgbClr val="FFFFFF"/>
                </a:solidFill>
              </a14:hiddenFill>
            </a:ext>
          </a:extLst>
        </p:spPr>
      </p:pic>
      <p:grpSp>
        <p:nvGrpSpPr>
          <p:cNvPr id="298" name="Group 297">
            <a:extLst>
              <a:ext uri="{FF2B5EF4-FFF2-40B4-BE49-F238E27FC236}">
                <a16:creationId xmlns:a16="http://schemas.microsoft.com/office/drawing/2014/main" id="{61307A85-5144-4B08-A4D5-15FF46734425}"/>
              </a:ext>
            </a:extLst>
          </p:cNvPr>
          <p:cNvGrpSpPr/>
          <p:nvPr/>
        </p:nvGrpSpPr>
        <p:grpSpPr>
          <a:xfrm>
            <a:off x="6070500" y="5184307"/>
            <a:ext cx="742075" cy="461665"/>
            <a:chOff x="9370513" y="4949952"/>
            <a:chExt cx="742075" cy="461665"/>
          </a:xfrm>
        </p:grpSpPr>
        <p:sp>
          <p:nvSpPr>
            <p:cNvPr id="299" name="Rectangle: Rounded Corners 298">
              <a:extLst>
                <a:ext uri="{FF2B5EF4-FFF2-40B4-BE49-F238E27FC236}">
                  <a16:creationId xmlns:a16="http://schemas.microsoft.com/office/drawing/2014/main" id="{835FCA5E-A30F-487E-9398-E40193FCA49E}"/>
                </a:ext>
              </a:extLst>
            </p:cNvPr>
            <p:cNvSpPr/>
            <p:nvPr/>
          </p:nvSpPr>
          <p:spPr>
            <a:xfrm>
              <a:off x="9370513" y="4949952"/>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A091B"/>
                </a:solidFill>
                <a:effectLst/>
                <a:uLnTx/>
                <a:uFillTx/>
                <a:latin typeface="Calibri"/>
                <a:ea typeface="+mn-ea"/>
                <a:cs typeface="+mn-cs"/>
              </a:endParaRPr>
            </a:p>
          </p:txBody>
        </p:sp>
        <p:pic>
          <p:nvPicPr>
            <p:cNvPr id="300" name="Picture 299">
              <a:extLst>
                <a:ext uri="{FF2B5EF4-FFF2-40B4-BE49-F238E27FC236}">
                  <a16:creationId xmlns:a16="http://schemas.microsoft.com/office/drawing/2014/main" id="{62D1FE2F-0013-4EF9-B243-AA4FC0EC3DD7}"/>
                </a:ext>
              </a:extLst>
            </p:cNvPr>
            <p:cNvPicPr>
              <a:picLocks noChangeAspect="1"/>
            </p:cNvPicPr>
            <p:nvPr/>
          </p:nvPicPr>
          <p:blipFill>
            <a:blip r:embed="rId99" cstate="screen">
              <a:extLst>
                <a:ext uri="{28A0092B-C50C-407E-A947-70E740481C1C}">
                  <a14:useLocalDpi xmlns:a14="http://schemas.microsoft.com/office/drawing/2010/main"/>
                </a:ext>
              </a:extLst>
            </a:blip>
            <a:stretch>
              <a:fillRect/>
            </a:stretch>
          </p:blipFill>
          <p:spPr>
            <a:xfrm>
              <a:off x="9456453" y="4983279"/>
              <a:ext cx="557271" cy="389398"/>
            </a:xfrm>
            <a:prstGeom prst="rect">
              <a:avLst/>
            </a:prstGeom>
          </p:spPr>
        </p:pic>
      </p:grpSp>
      <p:sp>
        <p:nvSpPr>
          <p:cNvPr id="43" name="Rectangle: Rounded Corners 42">
            <a:extLst>
              <a:ext uri="{FF2B5EF4-FFF2-40B4-BE49-F238E27FC236}">
                <a16:creationId xmlns:a16="http://schemas.microsoft.com/office/drawing/2014/main" id="{AC7EF1DB-880D-44E6-854C-13EE72EA33CF}"/>
              </a:ext>
            </a:extLst>
          </p:cNvPr>
          <p:cNvSpPr/>
          <p:nvPr/>
        </p:nvSpPr>
        <p:spPr>
          <a:xfrm>
            <a:off x="5199605" y="5175356"/>
            <a:ext cx="742075"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44" name="Rectangle: Rounded Corners 43">
            <a:extLst>
              <a:ext uri="{FF2B5EF4-FFF2-40B4-BE49-F238E27FC236}">
                <a16:creationId xmlns:a16="http://schemas.microsoft.com/office/drawing/2014/main" id="{D0242C3A-78FF-4B91-9FDB-CD21D4389096}"/>
              </a:ext>
            </a:extLst>
          </p:cNvPr>
          <p:cNvSpPr/>
          <p:nvPr/>
        </p:nvSpPr>
        <p:spPr>
          <a:xfrm>
            <a:off x="6039533" y="4514149"/>
            <a:ext cx="1013313"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914446" latinLnBrk="0">
              <a:defRPr/>
            </a:pPr>
            <a:endParaRPr lang="en-US" sz="1867">
              <a:solidFill>
                <a:srgbClr val="0A091B"/>
              </a:solidFill>
            </a:endParaRPr>
          </a:p>
        </p:txBody>
      </p:sp>
      <p:sp>
        <p:nvSpPr>
          <p:cNvPr id="301" name="TextBox 300">
            <a:extLst>
              <a:ext uri="{FF2B5EF4-FFF2-40B4-BE49-F238E27FC236}">
                <a16:creationId xmlns:a16="http://schemas.microsoft.com/office/drawing/2014/main" id="{241DB5C7-91DF-4290-9FD3-B3CD7100F49F}"/>
              </a:ext>
            </a:extLst>
          </p:cNvPr>
          <p:cNvSpPr txBox="1"/>
          <p:nvPr/>
        </p:nvSpPr>
        <p:spPr>
          <a:xfrm>
            <a:off x="76699" y="246156"/>
            <a:ext cx="8977360" cy="360548"/>
          </a:xfrm>
          <a:prstGeom prst="rect">
            <a:avLst/>
          </a:prstGeom>
          <a:noFill/>
        </p:spPr>
        <p:txBody>
          <a:bodyPr wrap="square" lIns="0" tIns="0" rIns="0" bIns="0" rtlCol="0">
            <a:spAutoFit/>
          </a:bodyPr>
          <a:lstStyle/>
          <a:p>
            <a:pPr latinLnBrk="1">
              <a:lnSpc>
                <a:spcPct val="70000"/>
              </a:lnSpc>
              <a:defRPr/>
            </a:pPr>
            <a:r>
              <a:rPr lang="en-US" sz="3200" b="1" spc="-150" dirty="0">
                <a:solidFill>
                  <a:srgbClr val="1E3ADA"/>
                </a:solidFill>
                <a:latin typeface="Work Sans" panose="00000500000000000000" pitchFamily="50" charset="0"/>
                <a:cs typeface="Segoe UI" panose="020B0502040204020203" pitchFamily="34" charset="0"/>
              </a:rPr>
              <a:t>600+ </a:t>
            </a:r>
            <a:r>
              <a:rPr lang="en-US" sz="3200" spc="-150" dirty="0">
                <a:solidFill>
                  <a:srgbClr val="1E3ADA"/>
                </a:solidFill>
                <a:latin typeface="Work Sans" panose="00000500000000000000" pitchFamily="50" charset="0"/>
                <a:cs typeface="Segoe UI" panose="020B0502040204020203" pitchFamily="34" charset="0"/>
              </a:rPr>
              <a:t>F1000 CUSTOMERS</a:t>
            </a:r>
          </a:p>
        </p:txBody>
      </p:sp>
      <p:grpSp>
        <p:nvGrpSpPr>
          <p:cNvPr id="49" name="Group 48">
            <a:extLst>
              <a:ext uri="{FF2B5EF4-FFF2-40B4-BE49-F238E27FC236}">
                <a16:creationId xmlns:a16="http://schemas.microsoft.com/office/drawing/2014/main" id="{AF45F5C1-EE9D-6DCD-4437-6F1EA35E8B53}"/>
              </a:ext>
            </a:extLst>
          </p:cNvPr>
          <p:cNvGrpSpPr/>
          <p:nvPr/>
        </p:nvGrpSpPr>
        <p:grpSpPr>
          <a:xfrm>
            <a:off x="8222079" y="5108201"/>
            <a:ext cx="1020768" cy="461665"/>
            <a:chOff x="10819621" y="4471253"/>
            <a:chExt cx="1020768" cy="461665"/>
          </a:xfrm>
        </p:grpSpPr>
        <p:pic>
          <p:nvPicPr>
            <p:cNvPr id="45" name="Picture 44">
              <a:extLst>
                <a:ext uri="{FF2B5EF4-FFF2-40B4-BE49-F238E27FC236}">
                  <a16:creationId xmlns:a16="http://schemas.microsoft.com/office/drawing/2014/main" id="{A88A7179-BB63-C521-B5C6-3D76E0269DCE}"/>
                </a:ext>
              </a:extLst>
            </p:cNvPr>
            <p:cNvPicPr>
              <a:picLocks noChangeAspect="1"/>
            </p:cNvPicPr>
            <p:nvPr/>
          </p:nvPicPr>
          <p:blipFill>
            <a:blip r:embed="rId100"/>
            <a:stretch>
              <a:fillRect/>
            </a:stretch>
          </p:blipFill>
          <p:spPr>
            <a:xfrm>
              <a:off x="10877336" y="4563556"/>
              <a:ext cx="930979" cy="298050"/>
            </a:xfrm>
            <a:prstGeom prst="rect">
              <a:avLst/>
            </a:prstGeom>
          </p:spPr>
        </p:pic>
        <p:sp>
          <p:nvSpPr>
            <p:cNvPr id="46" name="Rectangle: Rounded Corners 45">
              <a:extLst>
                <a:ext uri="{FF2B5EF4-FFF2-40B4-BE49-F238E27FC236}">
                  <a16:creationId xmlns:a16="http://schemas.microsoft.com/office/drawing/2014/main" id="{9508F66A-0735-EEB7-C94C-3E54E46DC634}"/>
                </a:ext>
              </a:extLst>
            </p:cNvPr>
            <p:cNvSpPr/>
            <p:nvPr/>
          </p:nvSpPr>
          <p:spPr>
            <a:xfrm>
              <a:off x="10819621" y="4471253"/>
              <a:ext cx="1020768"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A091B"/>
                </a:solidFill>
                <a:effectLst/>
                <a:uLnTx/>
                <a:uFillTx/>
                <a:latin typeface="Calibri"/>
                <a:ea typeface="+mn-ea"/>
                <a:cs typeface="+mn-cs"/>
              </a:endParaRPr>
            </a:p>
          </p:txBody>
        </p:sp>
      </p:grpSp>
      <p:cxnSp>
        <p:nvCxnSpPr>
          <p:cNvPr id="283" name="Straight Connector 282">
            <a:extLst>
              <a:ext uri="{FF2B5EF4-FFF2-40B4-BE49-F238E27FC236}">
                <a16:creationId xmlns:a16="http://schemas.microsoft.com/office/drawing/2014/main" id="{4DD13332-9542-4FCE-8BC4-E25FBAEF41AD}"/>
              </a:ext>
            </a:extLst>
          </p:cNvPr>
          <p:cNvCxnSpPr/>
          <p:nvPr/>
        </p:nvCxnSpPr>
        <p:spPr>
          <a:xfrm>
            <a:off x="1767556" y="4405455"/>
            <a:ext cx="10080000" cy="0"/>
          </a:xfrm>
          <a:prstGeom prst="line">
            <a:avLst/>
          </a:prstGeom>
          <a:ln w="12700">
            <a:solidFill>
              <a:schemeClr val="tx1">
                <a:lumMod val="25000"/>
                <a:lumOff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6C06AC76-E5B9-8F5A-5448-90DFF38FA8C8}"/>
              </a:ext>
            </a:extLst>
          </p:cNvPr>
          <p:cNvGrpSpPr/>
          <p:nvPr/>
        </p:nvGrpSpPr>
        <p:grpSpPr>
          <a:xfrm>
            <a:off x="9370727" y="5055544"/>
            <a:ext cx="1247239" cy="533062"/>
            <a:chOff x="9328004" y="5181214"/>
            <a:chExt cx="1247239" cy="533062"/>
          </a:xfrm>
        </p:grpSpPr>
        <p:pic>
          <p:nvPicPr>
            <p:cNvPr id="1026" name="Picture 2" descr="USAA Auto &amp; Home Insurance Review - ValuePenguin">
              <a:extLst>
                <a:ext uri="{FF2B5EF4-FFF2-40B4-BE49-F238E27FC236}">
                  <a16:creationId xmlns:a16="http://schemas.microsoft.com/office/drawing/2014/main" id="{BB186631-4554-5D19-C7CA-DB21A150A503}"/>
                </a:ext>
              </a:extLst>
            </p:cNvPr>
            <p:cNvPicPr>
              <a:picLocks noChangeAspect="1" noChangeArrowheads="1"/>
            </p:cNvPicPr>
            <p:nvPr/>
          </p:nvPicPr>
          <p:blipFill>
            <a:blip r:embed="rId101" cstate="print">
              <a:extLst>
                <a:ext uri="{28A0092B-C50C-407E-A947-70E740481C1C}">
                  <a14:useLocalDpi xmlns:a14="http://schemas.microsoft.com/office/drawing/2010/main" val="0"/>
                </a:ext>
              </a:extLst>
            </a:blip>
            <a:srcRect/>
            <a:stretch>
              <a:fillRect/>
            </a:stretch>
          </p:blipFill>
          <p:spPr bwMode="auto">
            <a:xfrm>
              <a:off x="9452833" y="5181214"/>
              <a:ext cx="1044349" cy="533062"/>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Rounded Corners 50">
              <a:extLst>
                <a:ext uri="{FF2B5EF4-FFF2-40B4-BE49-F238E27FC236}">
                  <a16:creationId xmlns:a16="http://schemas.microsoft.com/office/drawing/2014/main" id="{E877F93D-D79A-B7F8-4C56-E6B469F9D2AA}"/>
                </a:ext>
              </a:extLst>
            </p:cNvPr>
            <p:cNvSpPr/>
            <p:nvPr/>
          </p:nvSpPr>
          <p:spPr>
            <a:xfrm>
              <a:off x="9328004" y="5219429"/>
              <a:ext cx="1247239" cy="461665"/>
            </a:xfrm>
            <a:prstGeom prst="roundRect">
              <a:avLst/>
            </a:prstGeom>
            <a:noFill/>
            <a:ln w="12700">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A091B"/>
                </a:solidFill>
                <a:effectLst/>
                <a:uLnTx/>
                <a:uFillTx/>
                <a:latin typeface="Calibri"/>
                <a:ea typeface="+mn-ea"/>
                <a:cs typeface="+mn-cs"/>
              </a:endParaRPr>
            </a:p>
          </p:txBody>
        </p:sp>
      </p:grpSp>
      <p:cxnSp>
        <p:nvCxnSpPr>
          <p:cNvPr id="55" name="Straight Connector 54">
            <a:extLst>
              <a:ext uri="{FF2B5EF4-FFF2-40B4-BE49-F238E27FC236}">
                <a16:creationId xmlns:a16="http://schemas.microsoft.com/office/drawing/2014/main" id="{47101900-6C12-B989-7398-563CF9AF276B}"/>
              </a:ext>
            </a:extLst>
          </p:cNvPr>
          <p:cNvCxnSpPr/>
          <p:nvPr/>
        </p:nvCxnSpPr>
        <p:spPr>
          <a:xfrm>
            <a:off x="6951530" y="5075508"/>
            <a:ext cx="0" cy="623069"/>
          </a:xfrm>
          <a:prstGeom prst="line">
            <a:avLst/>
          </a:prstGeom>
          <a:ln>
            <a:solidFill>
              <a:srgbClr val="C9C9C9"/>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130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 name="Rounded Rectangle 7060">
            <a:extLst>
              <a:ext uri="{FF2B5EF4-FFF2-40B4-BE49-F238E27FC236}">
                <a16:creationId xmlns:a16="http://schemas.microsoft.com/office/drawing/2014/main" id="{40CF0280-1C4C-31EC-5EA7-94D115537BF9}"/>
              </a:ext>
            </a:extLst>
          </p:cNvPr>
          <p:cNvSpPr/>
          <p:nvPr/>
        </p:nvSpPr>
        <p:spPr>
          <a:xfrm>
            <a:off x="296045" y="798141"/>
            <a:ext cx="11623811" cy="4500000"/>
          </a:xfrm>
          <a:prstGeom prst="roundRect">
            <a:avLst>
              <a:gd name="adj" fmla="val 4301"/>
            </a:avLst>
          </a:prstGeom>
          <a:solidFill>
            <a:schemeClr val="bg1"/>
          </a:solidFill>
          <a:ln w="28575">
            <a:solidFill>
              <a:srgbClr val="0031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72D8B5A5-CC8A-CB0F-7320-742188DA998B}"/>
              </a:ext>
            </a:extLst>
          </p:cNvPr>
          <p:cNvSpPr/>
          <p:nvPr/>
        </p:nvSpPr>
        <p:spPr>
          <a:xfrm>
            <a:off x="986097" y="5539900"/>
            <a:ext cx="10220618" cy="964221"/>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Rectangle 5">
            <a:extLst>
              <a:ext uri="{FF2B5EF4-FFF2-40B4-BE49-F238E27FC236}">
                <a16:creationId xmlns:a16="http://schemas.microsoft.com/office/drawing/2014/main" id="{3A0F5299-49D9-2FFF-E1A5-B421008B9E73}"/>
              </a:ext>
            </a:extLst>
          </p:cNvPr>
          <p:cNvSpPr>
            <a:spLocks noChangeArrowheads="1"/>
          </p:cNvSpPr>
          <p:nvPr/>
        </p:nvSpPr>
        <p:spPr bwMode="auto">
          <a:xfrm>
            <a:off x="6591657" y="1124289"/>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44" name="Freeform 6">
            <a:extLst>
              <a:ext uri="{FF2B5EF4-FFF2-40B4-BE49-F238E27FC236}">
                <a16:creationId xmlns:a16="http://schemas.microsoft.com/office/drawing/2014/main" id="{1153F49A-B781-F79A-08AA-F4BFFFDB50E9}"/>
              </a:ext>
            </a:extLst>
          </p:cNvPr>
          <p:cNvSpPr>
            <a:spLocks/>
          </p:cNvSpPr>
          <p:nvPr/>
        </p:nvSpPr>
        <p:spPr bwMode="auto">
          <a:xfrm>
            <a:off x="6591657" y="1124289"/>
            <a:ext cx="10514" cy="10014"/>
          </a:xfrm>
          <a:custGeom>
            <a:avLst/>
            <a:gdLst/>
            <a:ahLst/>
            <a:cxnLst>
              <a:cxn ang="0">
                <a:pos x="0" y="8"/>
              </a:cxn>
              <a:cxn ang="0">
                <a:pos x="7" y="8"/>
              </a:cxn>
              <a:cxn ang="0">
                <a:pos x="7" y="0"/>
              </a:cxn>
              <a:cxn ang="0">
                <a:pos x="0" y="0"/>
              </a:cxn>
            </a:cxnLst>
            <a:rect l="0" t="0" r="r" b="b"/>
            <a:pathLst>
              <a:path w="7" h="8">
                <a:moveTo>
                  <a:pt x="0" y="8"/>
                </a:moveTo>
                <a:lnTo>
                  <a:pt x="7" y="8"/>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45" name="Freeform 7">
            <a:extLst>
              <a:ext uri="{FF2B5EF4-FFF2-40B4-BE49-F238E27FC236}">
                <a16:creationId xmlns:a16="http://schemas.microsoft.com/office/drawing/2014/main" id="{8DE2434A-49AF-EC77-0BFC-1401FCE64EF2}"/>
              </a:ext>
            </a:extLst>
          </p:cNvPr>
          <p:cNvSpPr>
            <a:spLocks noEditPoints="1"/>
          </p:cNvSpPr>
          <p:nvPr/>
        </p:nvSpPr>
        <p:spPr bwMode="auto">
          <a:xfrm>
            <a:off x="6624700" y="1124289"/>
            <a:ext cx="695371" cy="10014"/>
          </a:xfrm>
          <a:custGeom>
            <a:avLst/>
            <a:gdLst/>
            <a:ahLst/>
            <a:cxnLst>
              <a:cxn ang="0">
                <a:pos x="463" y="8"/>
              </a:cxn>
              <a:cxn ang="0">
                <a:pos x="449" y="0"/>
              </a:cxn>
              <a:cxn ang="0">
                <a:pos x="419" y="8"/>
              </a:cxn>
              <a:cxn ang="0">
                <a:pos x="434" y="0"/>
              </a:cxn>
              <a:cxn ang="0">
                <a:pos x="419" y="8"/>
              </a:cxn>
              <a:cxn ang="0">
                <a:pos x="403" y="8"/>
              </a:cxn>
              <a:cxn ang="0">
                <a:pos x="388" y="0"/>
              </a:cxn>
              <a:cxn ang="0">
                <a:pos x="359" y="8"/>
              </a:cxn>
              <a:cxn ang="0">
                <a:pos x="374" y="0"/>
              </a:cxn>
              <a:cxn ang="0">
                <a:pos x="359" y="8"/>
              </a:cxn>
              <a:cxn ang="0">
                <a:pos x="344" y="8"/>
              </a:cxn>
              <a:cxn ang="0">
                <a:pos x="330" y="0"/>
              </a:cxn>
              <a:cxn ang="0">
                <a:pos x="299" y="8"/>
              </a:cxn>
              <a:cxn ang="0">
                <a:pos x="315" y="0"/>
              </a:cxn>
              <a:cxn ang="0">
                <a:pos x="299" y="8"/>
              </a:cxn>
              <a:cxn ang="0">
                <a:pos x="284" y="8"/>
              </a:cxn>
              <a:cxn ang="0">
                <a:pos x="269" y="0"/>
              </a:cxn>
              <a:cxn ang="0">
                <a:pos x="240" y="8"/>
              </a:cxn>
              <a:cxn ang="0">
                <a:pos x="255" y="0"/>
              </a:cxn>
              <a:cxn ang="0">
                <a:pos x="240" y="8"/>
              </a:cxn>
              <a:cxn ang="0">
                <a:pos x="225" y="8"/>
              </a:cxn>
              <a:cxn ang="0">
                <a:pos x="209" y="0"/>
              </a:cxn>
              <a:cxn ang="0">
                <a:pos x="179" y="8"/>
              </a:cxn>
              <a:cxn ang="0">
                <a:pos x="194" y="0"/>
              </a:cxn>
              <a:cxn ang="0">
                <a:pos x="179" y="8"/>
              </a:cxn>
              <a:cxn ang="0">
                <a:pos x="165" y="8"/>
              </a:cxn>
              <a:cxn ang="0">
                <a:pos x="150" y="0"/>
              </a:cxn>
              <a:cxn ang="0">
                <a:pos x="121" y="8"/>
              </a:cxn>
              <a:cxn ang="0">
                <a:pos x="135" y="0"/>
              </a:cxn>
              <a:cxn ang="0">
                <a:pos x="121" y="8"/>
              </a:cxn>
              <a:cxn ang="0">
                <a:pos x="104" y="8"/>
              </a:cxn>
              <a:cxn ang="0">
                <a:pos x="90" y="0"/>
              </a:cxn>
              <a:cxn ang="0">
                <a:pos x="60" y="8"/>
              </a:cxn>
              <a:cxn ang="0">
                <a:pos x="75" y="0"/>
              </a:cxn>
              <a:cxn ang="0">
                <a:pos x="60" y="8"/>
              </a:cxn>
              <a:cxn ang="0">
                <a:pos x="46" y="8"/>
              </a:cxn>
              <a:cxn ang="0">
                <a:pos x="31" y="0"/>
              </a:cxn>
              <a:cxn ang="0">
                <a:pos x="0" y="8"/>
              </a:cxn>
              <a:cxn ang="0">
                <a:pos x="15" y="0"/>
              </a:cxn>
              <a:cxn ang="0">
                <a:pos x="0" y="8"/>
              </a:cxn>
            </a:cxnLst>
            <a:rect l="0" t="0" r="r" b="b"/>
            <a:pathLst>
              <a:path w="463" h="8">
                <a:moveTo>
                  <a:pt x="449" y="8"/>
                </a:moveTo>
                <a:lnTo>
                  <a:pt x="463" y="8"/>
                </a:lnTo>
                <a:lnTo>
                  <a:pt x="463" y="0"/>
                </a:lnTo>
                <a:lnTo>
                  <a:pt x="449" y="0"/>
                </a:lnTo>
                <a:lnTo>
                  <a:pt x="449" y="8"/>
                </a:lnTo>
                <a:close/>
                <a:moveTo>
                  <a:pt x="419" y="8"/>
                </a:moveTo>
                <a:lnTo>
                  <a:pt x="434" y="8"/>
                </a:lnTo>
                <a:lnTo>
                  <a:pt x="434" y="0"/>
                </a:lnTo>
                <a:lnTo>
                  <a:pt x="419" y="0"/>
                </a:lnTo>
                <a:lnTo>
                  <a:pt x="419" y="8"/>
                </a:lnTo>
                <a:close/>
                <a:moveTo>
                  <a:pt x="388" y="8"/>
                </a:moveTo>
                <a:lnTo>
                  <a:pt x="403" y="8"/>
                </a:lnTo>
                <a:lnTo>
                  <a:pt x="403" y="0"/>
                </a:lnTo>
                <a:lnTo>
                  <a:pt x="388" y="0"/>
                </a:lnTo>
                <a:lnTo>
                  <a:pt x="388" y="8"/>
                </a:lnTo>
                <a:close/>
                <a:moveTo>
                  <a:pt x="359" y="8"/>
                </a:moveTo>
                <a:lnTo>
                  <a:pt x="374" y="8"/>
                </a:lnTo>
                <a:lnTo>
                  <a:pt x="374" y="0"/>
                </a:lnTo>
                <a:lnTo>
                  <a:pt x="359" y="0"/>
                </a:lnTo>
                <a:lnTo>
                  <a:pt x="359" y="8"/>
                </a:lnTo>
                <a:close/>
                <a:moveTo>
                  <a:pt x="330" y="8"/>
                </a:moveTo>
                <a:lnTo>
                  <a:pt x="344" y="8"/>
                </a:lnTo>
                <a:lnTo>
                  <a:pt x="344" y="0"/>
                </a:lnTo>
                <a:lnTo>
                  <a:pt x="330" y="0"/>
                </a:lnTo>
                <a:lnTo>
                  <a:pt x="330" y="8"/>
                </a:lnTo>
                <a:close/>
                <a:moveTo>
                  <a:pt x="299" y="8"/>
                </a:moveTo>
                <a:lnTo>
                  <a:pt x="315" y="8"/>
                </a:lnTo>
                <a:lnTo>
                  <a:pt x="315" y="0"/>
                </a:lnTo>
                <a:lnTo>
                  <a:pt x="299" y="0"/>
                </a:lnTo>
                <a:lnTo>
                  <a:pt x="299" y="8"/>
                </a:lnTo>
                <a:close/>
                <a:moveTo>
                  <a:pt x="269" y="8"/>
                </a:moveTo>
                <a:lnTo>
                  <a:pt x="284" y="8"/>
                </a:lnTo>
                <a:lnTo>
                  <a:pt x="284" y="0"/>
                </a:lnTo>
                <a:lnTo>
                  <a:pt x="269" y="0"/>
                </a:lnTo>
                <a:lnTo>
                  <a:pt x="269" y="8"/>
                </a:lnTo>
                <a:close/>
                <a:moveTo>
                  <a:pt x="240" y="8"/>
                </a:moveTo>
                <a:lnTo>
                  <a:pt x="255" y="8"/>
                </a:lnTo>
                <a:lnTo>
                  <a:pt x="255" y="0"/>
                </a:lnTo>
                <a:lnTo>
                  <a:pt x="240" y="0"/>
                </a:lnTo>
                <a:lnTo>
                  <a:pt x="240" y="8"/>
                </a:lnTo>
                <a:close/>
                <a:moveTo>
                  <a:pt x="209" y="8"/>
                </a:moveTo>
                <a:lnTo>
                  <a:pt x="225" y="8"/>
                </a:lnTo>
                <a:lnTo>
                  <a:pt x="225" y="0"/>
                </a:lnTo>
                <a:lnTo>
                  <a:pt x="209" y="0"/>
                </a:lnTo>
                <a:lnTo>
                  <a:pt x="209" y="8"/>
                </a:lnTo>
                <a:close/>
                <a:moveTo>
                  <a:pt x="179" y="8"/>
                </a:moveTo>
                <a:lnTo>
                  <a:pt x="194" y="8"/>
                </a:lnTo>
                <a:lnTo>
                  <a:pt x="194" y="0"/>
                </a:lnTo>
                <a:lnTo>
                  <a:pt x="179" y="0"/>
                </a:lnTo>
                <a:lnTo>
                  <a:pt x="179" y="8"/>
                </a:lnTo>
                <a:close/>
                <a:moveTo>
                  <a:pt x="150" y="8"/>
                </a:moveTo>
                <a:lnTo>
                  <a:pt x="165" y="8"/>
                </a:lnTo>
                <a:lnTo>
                  <a:pt x="165" y="0"/>
                </a:lnTo>
                <a:lnTo>
                  <a:pt x="150" y="0"/>
                </a:lnTo>
                <a:lnTo>
                  <a:pt x="150" y="8"/>
                </a:lnTo>
                <a:close/>
                <a:moveTo>
                  <a:pt x="121" y="8"/>
                </a:moveTo>
                <a:lnTo>
                  <a:pt x="135" y="8"/>
                </a:lnTo>
                <a:lnTo>
                  <a:pt x="135" y="0"/>
                </a:lnTo>
                <a:lnTo>
                  <a:pt x="121" y="0"/>
                </a:lnTo>
                <a:lnTo>
                  <a:pt x="121" y="8"/>
                </a:lnTo>
                <a:close/>
                <a:moveTo>
                  <a:pt x="90" y="8"/>
                </a:moveTo>
                <a:lnTo>
                  <a:pt x="104" y="8"/>
                </a:lnTo>
                <a:lnTo>
                  <a:pt x="104" y="0"/>
                </a:lnTo>
                <a:lnTo>
                  <a:pt x="90" y="0"/>
                </a:lnTo>
                <a:lnTo>
                  <a:pt x="90" y="8"/>
                </a:lnTo>
                <a:close/>
                <a:moveTo>
                  <a:pt x="60" y="8"/>
                </a:moveTo>
                <a:lnTo>
                  <a:pt x="75" y="8"/>
                </a:lnTo>
                <a:lnTo>
                  <a:pt x="75" y="0"/>
                </a:lnTo>
                <a:lnTo>
                  <a:pt x="60" y="0"/>
                </a:lnTo>
                <a:lnTo>
                  <a:pt x="60" y="8"/>
                </a:lnTo>
                <a:close/>
                <a:moveTo>
                  <a:pt x="31" y="8"/>
                </a:moveTo>
                <a:lnTo>
                  <a:pt x="46" y="8"/>
                </a:lnTo>
                <a:lnTo>
                  <a:pt x="46" y="0"/>
                </a:lnTo>
                <a:lnTo>
                  <a:pt x="31" y="0"/>
                </a:lnTo>
                <a:lnTo>
                  <a:pt x="31" y="8"/>
                </a:lnTo>
                <a:close/>
                <a:moveTo>
                  <a:pt x="0" y="8"/>
                </a:moveTo>
                <a:lnTo>
                  <a:pt x="15" y="8"/>
                </a:lnTo>
                <a:lnTo>
                  <a:pt x="15" y="0"/>
                </a:lnTo>
                <a:lnTo>
                  <a:pt x="0" y="0"/>
                </a:lnTo>
                <a:lnTo>
                  <a:pt x="0" y="8"/>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46" name="Rectangle 8">
            <a:extLst>
              <a:ext uri="{FF2B5EF4-FFF2-40B4-BE49-F238E27FC236}">
                <a16:creationId xmlns:a16="http://schemas.microsoft.com/office/drawing/2014/main" id="{BE3426A5-FF0A-652D-295F-FE588E21EC97}"/>
              </a:ext>
            </a:extLst>
          </p:cNvPr>
          <p:cNvSpPr>
            <a:spLocks noChangeArrowheads="1"/>
          </p:cNvSpPr>
          <p:nvPr/>
        </p:nvSpPr>
        <p:spPr bwMode="auto">
          <a:xfrm>
            <a:off x="7342600" y="1124289"/>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47" name="Freeform 9">
            <a:extLst>
              <a:ext uri="{FF2B5EF4-FFF2-40B4-BE49-F238E27FC236}">
                <a16:creationId xmlns:a16="http://schemas.microsoft.com/office/drawing/2014/main" id="{3D884739-418F-E10A-C90E-121222206052}"/>
              </a:ext>
            </a:extLst>
          </p:cNvPr>
          <p:cNvSpPr>
            <a:spLocks/>
          </p:cNvSpPr>
          <p:nvPr/>
        </p:nvSpPr>
        <p:spPr bwMode="auto">
          <a:xfrm>
            <a:off x="7342600" y="1124289"/>
            <a:ext cx="10514" cy="10014"/>
          </a:xfrm>
          <a:custGeom>
            <a:avLst/>
            <a:gdLst/>
            <a:ahLst/>
            <a:cxnLst>
              <a:cxn ang="0">
                <a:pos x="0" y="8"/>
              </a:cxn>
              <a:cxn ang="0">
                <a:pos x="7" y="8"/>
              </a:cxn>
              <a:cxn ang="0">
                <a:pos x="7" y="0"/>
              </a:cxn>
              <a:cxn ang="0">
                <a:pos x="0" y="0"/>
              </a:cxn>
            </a:cxnLst>
            <a:rect l="0" t="0" r="r" b="b"/>
            <a:pathLst>
              <a:path w="7" h="8">
                <a:moveTo>
                  <a:pt x="0" y="8"/>
                </a:moveTo>
                <a:lnTo>
                  <a:pt x="7" y="8"/>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48" name="Freeform 10">
            <a:extLst>
              <a:ext uri="{FF2B5EF4-FFF2-40B4-BE49-F238E27FC236}">
                <a16:creationId xmlns:a16="http://schemas.microsoft.com/office/drawing/2014/main" id="{BCEC02C6-164A-9F27-BFEC-97C48E1B8EBB}"/>
              </a:ext>
            </a:extLst>
          </p:cNvPr>
          <p:cNvSpPr>
            <a:spLocks/>
          </p:cNvSpPr>
          <p:nvPr/>
        </p:nvSpPr>
        <p:spPr bwMode="auto">
          <a:xfrm>
            <a:off x="7332086" y="1110520"/>
            <a:ext cx="40551" cy="35048"/>
          </a:xfrm>
          <a:custGeom>
            <a:avLst/>
            <a:gdLst/>
            <a:ahLst/>
            <a:cxnLst>
              <a:cxn ang="0">
                <a:pos x="14" y="28"/>
              </a:cxn>
              <a:cxn ang="0">
                <a:pos x="14" y="28"/>
              </a:cxn>
              <a:cxn ang="0">
                <a:pos x="20" y="28"/>
              </a:cxn>
              <a:cxn ang="0">
                <a:pos x="24" y="24"/>
              </a:cxn>
              <a:cxn ang="0">
                <a:pos x="27" y="21"/>
              </a:cxn>
              <a:cxn ang="0">
                <a:pos x="27" y="15"/>
              </a:cxn>
              <a:cxn ang="0">
                <a:pos x="27" y="15"/>
              </a:cxn>
              <a:cxn ang="0">
                <a:pos x="27" y="10"/>
              </a:cxn>
              <a:cxn ang="0">
                <a:pos x="24" y="4"/>
              </a:cxn>
              <a:cxn ang="0">
                <a:pos x="20" y="2"/>
              </a:cxn>
              <a:cxn ang="0">
                <a:pos x="14" y="0"/>
              </a:cxn>
              <a:cxn ang="0">
                <a:pos x="14" y="0"/>
              </a:cxn>
              <a:cxn ang="0">
                <a:pos x="9" y="2"/>
              </a:cxn>
              <a:cxn ang="0">
                <a:pos x="5" y="4"/>
              </a:cxn>
              <a:cxn ang="0">
                <a:pos x="2" y="10"/>
              </a:cxn>
              <a:cxn ang="0">
                <a:pos x="0" y="15"/>
              </a:cxn>
              <a:cxn ang="0">
                <a:pos x="0" y="15"/>
              </a:cxn>
              <a:cxn ang="0">
                <a:pos x="2" y="21"/>
              </a:cxn>
              <a:cxn ang="0">
                <a:pos x="5" y="24"/>
              </a:cxn>
              <a:cxn ang="0">
                <a:pos x="9" y="28"/>
              </a:cxn>
              <a:cxn ang="0">
                <a:pos x="14" y="28"/>
              </a:cxn>
              <a:cxn ang="0">
                <a:pos x="14" y="28"/>
              </a:cxn>
            </a:cxnLst>
            <a:rect l="0" t="0" r="r" b="b"/>
            <a:pathLst>
              <a:path w="27" h="28">
                <a:moveTo>
                  <a:pt x="14" y="28"/>
                </a:moveTo>
                <a:lnTo>
                  <a:pt x="14" y="28"/>
                </a:lnTo>
                <a:lnTo>
                  <a:pt x="20" y="28"/>
                </a:lnTo>
                <a:lnTo>
                  <a:pt x="24" y="24"/>
                </a:lnTo>
                <a:lnTo>
                  <a:pt x="27" y="21"/>
                </a:lnTo>
                <a:lnTo>
                  <a:pt x="27" y="15"/>
                </a:lnTo>
                <a:lnTo>
                  <a:pt x="27" y="15"/>
                </a:lnTo>
                <a:lnTo>
                  <a:pt x="27" y="10"/>
                </a:lnTo>
                <a:lnTo>
                  <a:pt x="24" y="4"/>
                </a:lnTo>
                <a:lnTo>
                  <a:pt x="20" y="2"/>
                </a:lnTo>
                <a:lnTo>
                  <a:pt x="14" y="0"/>
                </a:lnTo>
                <a:lnTo>
                  <a:pt x="14" y="0"/>
                </a:lnTo>
                <a:lnTo>
                  <a:pt x="9" y="2"/>
                </a:lnTo>
                <a:lnTo>
                  <a:pt x="5" y="4"/>
                </a:lnTo>
                <a:lnTo>
                  <a:pt x="2" y="10"/>
                </a:lnTo>
                <a:lnTo>
                  <a:pt x="0" y="15"/>
                </a:lnTo>
                <a:lnTo>
                  <a:pt x="0" y="15"/>
                </a:lnTo>
                <a:lnTo>
                  <a:pt x="2" y="21"/>
                </a:lnTo>
                <a:lnTo>
                  <a:pt x="5" y="24"/>
                </a:lnTo>
                <a:lnTo>
                  <a:pt x="9" y="28"/>
                </a:lnTo>
                <a:lnTo>
                  <a:pt x="14" y="28"/>
                </a:lnTo>
                <a:lnTo>
                  <a:pt x="14" y="2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49" name="Freeform 11">
            <a:extLst>
              <a:ext uri="{FF2B5EF4-FFF2-40B4-BE49-F238E27FC236}">
                <a16:creationId xmlns:a16="http://schemas.microsoft.com/office/drawing/2014/main" id="{5E0CE768-E2C3-385F-788E-44160CFEE12C}"/>
              </a:ext>
            </a:extLst>
          </p:cNvPr>
          <p:cNvSpPr>
            <a:spLocks noEditPoints="1"/>
          </p:cNvSpPr>
          <p:nvPr/>
        </p:nvSpPr>
        <p:spPr bwMode="auto">
          <a:xfrm>
            <a:off x="7329081" y="1109268"/>
            <a:ext cx="46558" cy="38803"/>
          </a:xfrm>
          <a:custGeom>
            <a:avLst/>
            <a:gdLst/>
            <a:ahLst/>
            <a:cxnLst>
              <a:cxn ang="0">
                <a:pos x="16" y="31"/>
              </a:cxn>
              <a:cxn ang="0">
                <a:pos x="16" y="31"/>
              </a:cxn>
              <a:cxn ang="0">
                <a:pos x="11" y="31"/>
              </a:cxn>
              <a:cxn ang="0">
                <a:pos x="5" y="27"/>
              </a:cxn>
              <a:cxn ang="0">
                <a:pos x="2" y="22"/>
              </a:cxn>
              <a:cxn ang="0">
                <a:pos x="0" y="16"/>
              </a:cxn>
              <a:cxn ang="0">
                <a:pos x="0" y="16"/>
              </a:cxn>
              <a:cxn ang="0">
                <a:pos x="2" y="9"/>
              </a:cxn>
              <a:cxn ang="0">
                <a:pos x="5" y="5"/>
              </a:cxn>
              <a:cxn ang="0">
                <a:pos x="11" y="1"/>
              </a:cxn>
              <a:cxn ang="0">
                <a:pos x="16" y="0"/>
              </a:cxn>
              <a:cxn ang="0">
                <a:pos x="16" y="0"/>
              </a:cxn>
              <a:cxn ang="0">
                <a:pos x="22" y="1"/>
              </a:cxn>
              <a:cxn ang="0">
                <a:pos x="27" y="5"/>
              </a:cxn>
              <a:cxn ang="0">
                <a:pos x="31" y="9"/>
              </a:cxn>
              <a:cxn ang="0">
                <a:pos x="31" y="16"/>
              </a:cxn>
              <a:cxn ang="0">
                <a:pos x="31" y="16"/>
              </a:cxn>
              <a:cxn ang="0">
                <a:pos x="31" y="22"/>
              </a:cxn>
              <a:cxn ang="0">
                <a:pos x="27" y="27"/>
              </a:cxn>
              <a:cxn ang="0">
                <a:pos x="22" y="31"/>
              </a:cxn>
              <a:cxn ang="0">
                <a:pos x="16" y="31"/>
              </a:cxn>
              <a:cxn ang="0">
                <a:pos x="16" y="31"/>
              </a:cxn>
              <a:cxn ang="0">
                <a:pos x="15" y="31"/>
              </a:cxn>
              <a:cxn ang="0">
                <a:pos x="16" y="31"/>
              </a:cxn>
              <a:cxn ang="0">
                <a:pos x="18" y="31"/>
              </a:cxn>
              <a:cxn ang="0">
                <a:pos x="16" y="31"/>
              </a:cxn>
              <a:cxn ang="0">
                <a:pos x="16" y="31"/>
              </a:cxn>
              <a:cxn ang="0">
                <a:pos x="16" y="3"/>
              </a:cxn>
              <a:cxn ang="0">
                <a:pos x="16" y="3"/>
              </a:cxn>
              <a:cxn ang="0">
                <a:pos x="11" y="5"/>
              </a:cxn>
              <a:cxn ang="0">
                <a:pos x="7" y="7"/>
              </a:cxn>
              <a:cxn ang="0">
                <a:pos x="5" y="11"/>
              </a:cxn>
              <a:cxn ang="0">
                <a:pos x="4" y="16"/>
              </a:cxn>
              <a:cxn ang="0">
                <a:pos x="4" y="16"/>
              </a:cxn>
              <a:cxn ang="0">
                <a:pos x="5" y="20"/>
              </a:cxn>
              <a:cxn ang="0">
                <a:pos x="7" y="23"/>
              </a:cxn>
              <a:cxn ang="0">
                <a:pos x="11" y="27"/>
              </a:cxn>
              <a:cxn ang="0">
                <a:pos x="16" y="27"/>
              </a:cxn>
              <a:cxn ang="0">
                <a:pos x="16" y="27"/>
              </a:cxn>
              <a:cxn ang="0">
                <a:pos x="20" y="27"/>
              </a:cxn>
              <a:cxn ang="0">
                <a:pos x="24" y="23"/>
              </a:cxn>
              <a:cxn ang="0">
                <a:pos x="27" y="20"/>
              </a:cxn>
              <a:cxn ang="0">
                <a:pos x="27" y="16"/>
              </a:cxn>
              <a:cxn ang="0">
                <a:pos x="27" y="16"/>
              </a:cxn>
              <a:cxn ang="0">
                <a:pos x="27" y="11"/>
              </a:cxn>
              <a:cxn ang="0">
                <a:pos x="24" y="7"/>
              </a:cxn>
              <a:cxn ang="0">
                <a:pos x="20" y="5"/>
              </a:cxn>
              <a:cxn ang="0">
                <a:pos x="16" y="3"/>
              </a:cxn>
              <a:cxn ang="0">
                <a:pos x="16" y="3"/>
              </a:cxn>
              <a:cxn ang="0">
                <a:pos x="15" y="3"/>
              </a:cxn>
              <a:cxn ang="0">
                <a:pos x="16" y="3"/>
              </a:cxn>
              <a:cxn ang="0">
                <a:pos x="18" y="3"/>
              </a:cxn>
              <a:cxn ang="0">
                <a:pos x="16" y="3"/>
              </a:cxn>
              <a:cxn ang="0">
                <a:pos x="16" y="3"/>
              </a:cxn>
            </a:cxnLst>
            <a:rect l="0" t="0" r="r" b="b"/>
            <a:pathLst>
              <a:path w="31" h="31">
                <a:moveTo>
                  <a:pt x="16" y="31"/>
                </a:moveTo>
                <a:lnTo>
                  <a:pt x="16" y="31"/>
                </a:lnTo>
                <a:lnTo>
                  <a:pt x="11" y="31"/>
                </a:lnTo>
                <a:lnTo>
                  <a:pt x="5" y="27"/>
                </a:lnTo>
                <a:lnTo>
                  <a:pt x="2" y="22"/>
                </a:lnTo>
                <a:lnTo>
                  <a:pt x="0" y="16"/>
                </a:lnTo>
                <a:lnTo>
                  <a:pt x="0" y="16"/>
                </a:lnTo>
                <a:lnTo>
                  <a:pt x="2" y="9"/>
                </a:lnTo>
                <a:lnTo>
                  <a:pt x="5" y="5"/>
                </a:lnTo>
                <a:lnTo>
                  <a:pt x="11" y="1"/>
                </a:lnTo>
                <a:lnTo>
                  <a:pt x="16" y="0"/>
                </a:lnTo>
                <a:lnTo>
                  <a:pt x="16" y="0"/>
                </a:lnTo>
                <a:lnTo>
                  <a:pt x="22" y="1"/>
                </a:lnTo>
                <a:lnTo>
                  <a:pt x="27" y="5"/>
                </a:lnTo>
                <a:lnTo>
                  <a:pt x="31" y="9"/>
                </a:lnTo>
                <a:lnTo>
                  <a:pt x="31" y="16"/>
                </a:lnTo>
                <a:lnTo>
                  <a:pt x="31" y="16"/>
                </a:lnTo>
                <a:lnTo>
                  <a:pt x="31" y="22"/>
                </a:lnTo>
                <a:lnTo>
                  <a:pt x="27" y="27"/>
                </a:lnTo>
                <a:lnTo>
                  <a:pt x="22" y="31"/>
                </a:lnTo>
                <a:lnTo>
                  <a:pt x="16" y="31"/>
                </a:lnTo>
                <a:lnTo>
                  <a:pt x="16" y="31"/>
                </a:lnTo>
                <a:lnTo>
                  <a:pt x="15" y="31"/>
                </a:lnTo>
                <a:lnTo>
                  <a:pt x="16" y="31"/>
                </a:lnTo>
                <a:lnTo>
                  <a:pt x="18" y="31"/>
                </a:lnTo>
                <a:lnTo>
                  <a:pt x="16" y="31"/>
                </a:lnTo>
                <a:lnTo>
                  <a:pt x="16" y="31"/>
                </a:lnTo>
                <a:close/>
                <a:moveTo>
                  <a:pt x="16" y="3"/>
                </a:moveTo>
                <a:lnTo>
                  <a:pt x="16" y="3"/>
                </a:lnTo>
                <a:lnTo>
                  <a:pt x="11" y="5"/>
                </a:lnTo>
                <a:lnTo>
                  <a:pt x="7" y="7"/>
                </a:lnTo>
                <a:lnTo>
                  <a:pt x="5" y="11"/>
                </a:lnTo>
                <a:lnTo>
                  <a:pt x="4" y="16"/>
                </a:lnTo>
                <a:lnTo>
                  <a:pt x="4" y="16"/>
                </a:lnTo>
                <a:lnTo>
                  <a:pt x="5" y="20"/>
                </a:lnTo>
                <a:lnTo>
                  <a:pt x="7" y="23"/>
                </a:lnTo>
                <a:lnTo>
                  <a:pt x="11" y="27"/>
                </a:lnTo>
                <a:lnTo>
                  <a:pt x="16" y="27"/>
                </a:lnTo>
                <a:lnTo>
                  <a:pt x="16" y="27"/>
                </a:lnTo>
                <a:lnTo>
                  <a:pt x="20" y="27"/>
                </a:lnTo>
                <a:lnTo>
                  <a:pt x="24" y="23"/>
                </a:lnTo>
                <a:lnTo>
                  <a:pt x="27" y="20"/>
                </a:lnTo>
                <a:lnTo>
                  <a:pt x="27" y="16"/>
                </a:lnTo>
                <a:lnTo>
                  <a:pt x="27" y="16"/>
                </a:lnTo>
                <a:lnTo>
                  <a:pt x="27" y="11"/>
                </a:lnTo>
                <a:lnTo>
                  <a:pt x="24" y="7"/>
                </a:lnTo>
                <a:lnTo>
                  <a:pt x="20" y="5"/>
                </a:lnTo>
                <a:lnTo>
                  <a:pt x="16" y="3"/>
                </a:lnTo>
                <a:lnTo>
                  <a:pt x="16" y="3"/>
                </a:lnTo>
                <a:lnTo>
                  <a:pt x="15" y="3"/>
                </a:lnTo>
                <a:lnTo>
                  <a:pt x="16" y="3"/>
                </a:lnTo>
                <a:lnTo>
                  <a:pt x="18" y="3"/>
                </a:lnTo>
                <a:lnTo>
                  <a:pt x="16" y="3"/>
                </a:lnTo>
                <a:lnTo>
                  <a:pt x="16" y="3"/>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0" name="Rectangle 12">
            <a:extLst>
              <a:ext uri="{FF2B5EF4-FFF2-40B4-BE49-F238E27FC236}">
                <a16:creationId xmlns:a16="http://schemas.microsoft.com/office/drawing/2014/main" id="{2E8F9141-720C-7A3C-0D79-AAAEE216154E}"/>
              </a:ext>
            </a:extLst>
          </p:cNvPr>
          <p:cNvSpPr>
            <a:spLocks noChangeArrowheads="1"/>
          </p:cNvSpPr>
          <p:nvPr/>
        </p:nvSpPr>
        <p:spPr bwMode="auto">
          <a:xfrm>
            <a:off x="6744850" y="1547361"/>
            <a:ext cx="12015"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1" name="Freeform 13">
            <a:extLst>
              <a:ext uri="{FF2B5EF4-FFF2-40B4-BE49-F238E27FC236}">
                <a16:creationId xmlns:a16="http://schemas.microsoft.com/office/drawing/2014/main" id="{34E77396-3874-13C6-D4B3-DC09B25C2AF9}"/>
              </a:ext>
            </a:extLst>
          </p:cNvPr>
          <p:cNvSpPr>
            <a:spLocks/>
          </p:cNvSpPr>
          <p:nvPr/>
        </p:nvSpPr>
        <p:spPr bwMode="auto">
          <a:xfrm>
            <a:off x="6744850" y="1547361"/>
            <a:ext cx="12015" cy="8762"/>
          </a:xfrm>
          <a:custGeom>
            <a:avLst/>
            <a:gdLst/>
            <a:ahLst/>
            <a:cxnLst>
              <a:cxn ang="0">
                <a:pos x="0" y="7"/>
              </a:cxn>
              <a:cxn ang="0">
                <a:pos x="8" y="7"/>
              </a:cxn>
              <a:cxn ang="0">
                <a:pos x="8" y="0"/>
              </a:cxn>
              <a:cxn ang="0">
                <a:pos x="0" y="0"/>
              </a:cxn>
            </a:cxnLst>
            <a:rect l="0" t="0" r="r" b="b"/>
            <a:pathLst>
              <a:path w="8" h="7">
                <a:moveTo>
                  <a:pt x="0" y="7"/>
                </a:moveTo>
                <a:lnTo>
                  <a:pt x="8" y="7"/>
                </a:lnTo>
                <a:lnTo>
                  <a:pt x="8"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2" name="Freeform 14">
            <a:extLst>
              <a:ext uri="{FF2B5EF4-FFF2-40B4-BE49-F238E27FC236}">
                <a16:creationId xmlns:a16="http://schemas.microsoft.com/office/drawing/2014/main" id="{D6C6C29D-CFF4-AE14-6DC7-7F4127ECA474}"/>
              </a:ext>
            </a:extLst>
          </p:cNvPr>
          <p:cNvSpPr>
            <a:spLocks noEditPoints="1"/>
          </p:cNvSpPr>
          <p:nvPr/>
        </p:nvSpPr>
        <p:spPr bwMode="auto">
          <a:xfrm>
            <a:off x="6777891" y="1547361"/>
            <a:ext cx="545183" cy="8762"/>
          </a:xfrm>
          <a:custGeom>
            <a:avLst/>
            <a:gdLst/>
            <a:ahLst/>
            <a:cxnLst>
              <a:cxn ang="0">
                <a:pos x="363" y="7"/>
              </a:cxn>
              <a:cxn ang="0">
                <a:pos x="349" y="0"/>
              </a:cxn>
              <a:cxn ang="0">
                <a:pos x="319" y="7"/>
              </a:cxn>
              <a:cxn ang="0">
                <a:pos x="334" y="0"/>
              </a:cxn>
              <a:cxn ang="0">
                <a:pos x="319" y="7"/>
              </a:cxn>
              <a:cxn ang="0">
                <a:pos x="305" y="7"/>
              </a:cxn>
              <a:cxn ang="0">
                <a:pos x="290" y="0"/>
              </a:cxn>
              <a:cxn ang="0">
                <a:pos x="261" y="7"/>
              </a:cxn>
              <a:cxn ang="0">
                <a:pos x="275" y="0"/>
              </a:cxn>
              <a:cxn ang="0">
                <a:pos x="261" y="7"/>
              </a:cxn>
              <a:cxn ang="0">
                <a:pos x="246" y="7"/>
              </a:cxn>
              <a:cxn ang="0">
                <a:pos x="231" y="0"/>
              </a:cxn>
              <a:cxn ang="0">
                <a:pos x="204" y="7"/>
              </a:cxn>
              <a:cxn ang="0">
                <a:pos x="217" y="0"/>
              </a:cxn>
              <a:cxn ang="0">
                <a:pos x="204" y="7"/>
              </a:cxn>
              <a:cxn ang="0">
                <a:pos x="189" y="7"/>
              </a:cxn>
              <a:cxn ang="0">
                <a:pos x="175" y="0"/>
              </a:cxn>
              <a:cxn ang="0">
                <a:pos x="145" y="7"/>
              </a:cxn>
              <a:cxn ang="0">
                <a:pos x="160" y="0"/>
              </a:cxn>
              <a:cxn ang="0">
                <a:pos x="145" y="7"/>
              </a:cxn>
              <a:cxn ang="0">
                <a:pos x="131" y="7"/>
              </a:cxn>
              <a:cxn ang="0">
                <a:pos x="116" y="0"/>
              </a:cxn>
              <a:cxn ang="0">
                <a:pos x="87" y="7"/>
              </a:cxn>
              <a:cxn ang="0">
                <a:pos x="101" y="0"/>
              </a:cxn>
              <a:cxn ang="0">
                <a:pos x="87" y="7"/>
              </a:cxn>
              <a:cxn ang="0">
                <a:pos x="72" y="7"/>
              </a:cxn>
              <a:cxn ang="0">
                <a:pos x="57" y="0"/>
              </a:cxn>
              <a:cxn ang="0">
                <a:pos x="30" y="7"/>
              </a:cxn>
              <a:cxn ang="0">
                <a:pos x="43" y="0"/>
              </a:cxn>
              <a:cxn ang="0">
                <a:pos x="30" y="7"/>
              </a:cxn>
              <a:cxn ang="0">
                <a:pos x="15" y="7"/>
              </a:cxn>
              <a:cxn ang="0">
                <a:pos x="0" y="0"/>
              </a:cxn>
            </a:cxnLst>
            <a:rect l="0" t="0" r="r" b="b"/>
            <a:pathLst>
              <a:path w="363" h="7">
                <a:moveTo>
                  <a:pt x="349" y="7"/>
                </a:moveTo>
                <a:lnTo>
                  <a:pt x="363" y="7"/>
                </a:lnTo>
                <a:lnTo>
                  <a:pt x="363" y="0"/>
                </a:lnTo>
                <a:lnTo>
                  <a:pt x="349" y="0"/>
                </a:lnTo>
                <a:lnTo>
                  <a:pt x="349" y="7"/>
                </a:lnTo>
                <a:close/>
                <a:moveTo>
                  <a:pt x="319" y="7"/>
                </a:moveTo>
                <a:lnTo>
                  <a:pt x="334" y="7"/>
                </a:lnTo>
                <a:lnTo>
                  <a:pt x="334" y="0"/>
                </a:lnTo>
                <a:lnTo>
                  <a:pt x="319" y="0"/>
                </a:lnTo>
                <a:lnTo>
                  <a:pt x="319" y="7"/>
                </a:lnTo>
                <a:close/>
                <a:moveTo>
                  <a:pt x="290" y="7"/>
                </a:moveTo>
                <a:lnTo>
                  <a:pt x="305" y="7"/>
                </a:lnTo>
                <a:lnTo>
                  <a:pt x="305" y="0"/>
                </a:lnTo>
                <a:lnTo>
                  <a:pt x="290" y="0"/>
                </a:lnTo>
                <a:lnTo>
                  <a:pt x="290" y="7"/>
                </a:lnTo>
                <a:close/>
                <a:moveTo>
                  <a:pt x="261" y="7"/>
                </a:moveTo>
                <a:lnTo>
                  <a:pt x="275" y="7"/>
                </a:lnTo>
                <a:lnTo>
                  <a:pt x="275" y="0"/>
                </a:lnTo>
                <a:lnTo>
                  <a:pt x="261" y="0"/>
                </a:lnTo>
                <a:lnTo>
                  <a:pt x="261" y="7"/>
                </a:lnTo>
                <a:close/>
                <a:moveTo>
                  <a:pt x="231" y="7"/>
                </a:moveTo>
                <a:lnTo>
                  <a:pt x="246" y="7"/>
                </a:lnTo>
                <a:lnTo>
                  <a:pt x="246" y="0"/>
                </a:lnTo>
                <a:lnTo>
                  <a:pt x="231" y="0"/>
                </a:lnTo>
                <a:lnTo>
                  <a:pt x="231" y="7"/>
                </a:lnTo>
                <a:close/>
                <a:moveTo>
                  <a:pt x="204" y="7"/>
                </a:moveTo>
                <a:lnTo>
                  <a:pt x="217" y="7"/>
                </a:lnTo>
                <a:lnTo>
                  <a:pt x="217" y="0"/>
                </a:lnTo>
                <a:lnTo>
                  <a:pt x="204" y="0"/>
                </a:lnTo>
                <a:lnTo>
                  <a:pt x="204" y="7"/>
                </a:lnTo>
                <a:close/>
                <a:moveTo>
                  <a:pt x="175" y="7"/>
                </a:moveTo>
                <a:lnTo>
                  <a:pt x="189" y="7"/>
                </a:lnTo>
                <a:lnTo>
                  <a:pt x="189" y="0"/>
                </a:lnTo>
                <a:lnTo>
                  <a:pt x="175" y="0"/>
                </a:lnTo>
                <a:lnTo>
                  <a:pt x="175" y="7"/>
                </a:lnTo>
                <a:close/>
                <a:moveTo>
                  <a:pt x="145" y="7"/>
                </a:moveTo>
                <a:lnTo>
                  <a:pt x="160" y="7"/>
                </a:lnTo>
                <a:lnTo>
                  <a:pt x="160" y="0"/>
                </a:lnTo>
                <a:lnTo>
                  <a:pt x="145" y="0"/>
                </a:lnTo>
                <a:lnTo>
                  <a:pt x="145" y="7"/>
                </a:lnTo>
                <a:close/>
                <a:moveTo>
                  <a:pt x="116" y="7"/>
                </a:moveTo>
                <a:lnTo>
                  <a:pt x="131" y="7"/>
                </a:lnTo>
                <a:lnTo>
                  <a:pt x="131" y="0"/>
                </a:lnTo>
                <a:lnTo>
                  <a:pt x="116" y="0"/>
                </a:lnTo>
                <a:lnTo>
                  <a:pt x="116" y="7"/>
                </a:lnTo>
                <a:close/>
                <a:moveTo>
                  <a:pt x="87" y="7"/>
                </a:moveTo>
                <a:lnTo>
                  <a:pt x="101" y="7"/>
                </a:lnTo>
                <a:lnTo>
                  <a:pt x="101" y="0"/>
                </a:lnTo>
                <a:lnTo>
                  <a:pt x="87" y="0"/>
                </a:lnTo>
                <a:lnTo>
                  <a:pt x="87" y="7"/>
                </a:lnTo>
                <a:close/>
                <a:moveTo>
                  <a:pt x="57" y="7"/>
                </a:moveTo>
                <a:lnTo>
                  <a:pt x="72" y="7"/>
                </a:lnTo>
                <a:lnTo>
                  <a:pt x="72" y="0"/>
                </a:lnTo>
                <a:lnTo>
                  <a:pt x="57" y="0"/>
                </a:lnTo>
                <a:lnTo>
                  <a:pt x="57" y="7"/>
                </a:lnTo>
                <a:close/>
                <a:moveTo>
                  <a:pt x="30" y="7"/>
                </a:moveTo>
                <a:lnTo>
                  <a:pt x="43" y="7"/>
                </a:lnTo>
                <a:lnTo>
                  <a:pt x="43" y="0"/>
                </a:lnTo>
                <a:lnTo>
                  <a:pt x="30" y="0"/>
                </a:lnTo>
                <a:lnTo>
                  <a:pt x="30" y="7"/>
                </a:lnTo>
                <a:close/>
                <a:moveTo>
                  <a:pt x="0" y="7"/>
                </a:moveTo>
                <a:lnTo>
                  <a:pt x="15" y="7"/>
                </a:lnTo>
                <a:lnTo>
                  <a:pt x="15" y="0"/>
                </a:lnTo>
                <a:lnTo>
                  <a:pt x="0" y="0"/>
                </a:lnTo>
                <a:lnTo>
                  <a:pt x="0" y="7"/>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3" name="Rectangle 15">
            <a:extLst>
              <a:ext uri="{FF2B5EF4-FFF2-40B4-BE49-F238E27FC236}">
                <a16:creationId xmlns:a16="http://schemas.microsoft.com/office/drawing/2014/main" id="{0B2EE8E1-6C23-C387-C0F7-E36BEC700F2B}"/>
              </a:ext>
            </a:extLst>
          </p:cNvPr>
          <p:cNvSpPr>
            <a:spLocks noChangeArrowheads="1"/>
          </p:cNvSpPr>
          <p:nvPr/>
        </p:nvSpPr>
        <p:spPr bwMode="auto">
          <a:xfrm>
            <a:off x="7345603" y="1547361"/>
            <a:ext cx="10514"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4" name="Freeform 16">
            <a:extLst>
              <a:ext uri="{FF2B5EF4-FFF2-40B4-BE49-F238E27FC236}">
                <a16:creationId xmlns:a16="http://schemas.microsoft.com/office/drawing/2014/main" id="{6A3A96A1-08CE-82F4-67AB-40CB8F285B72}"/>
              </a:ext>
            </a:extLst>
          </p:cNvPr>
          <p:cNvSpPr>
            <a:spLocks/>
          </p:cNvSpPr>
          <p:nvPr/>
        </p:nvSpPr>
        <p:spPr bwMode="auto">
          <a:xfrm>
            <a:off x="7345603" y="1547361"/>
            <a:ext cx="10514" cy="8762"/>
          </a:xfrm>
          <a:custGeom>
            <a:avLst/>
            <a:gdLst/>
            <a:ahLst/>
            <a:cxnLst>
              <a:cxn ang="0">
                <a:pos x="0" y="7"/>
              </a:cxn>
              <a:cxn ang="0">
                <a:pos x="7" y="7"/>
              </a:cxn>
              <a:cxn ang="0">
                <a:pos x="7" y="0"/>
              </a:cxn>
              <a:cxn ang="0">
                <a:pos x="0" y="0"/>
              </a:cxn>
            </a:cxnLst>
            <a:rect l="0" t="0" r="r" b="b"/>
            <a:pathLst>
              <a:path w="7" h="7">
                <a:moveTo>
                  <a:pt x="0" y="7"/>
                </a:moveTo>
                <a:lnTo>
                  <a:pt x="7" y="7"/>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5" name="Freeform 17">
            <a:extLst>
              <a:ext uri="{FF2B5EF4-FFF2-40B4-BE49-F238E27FC236}">
                <a16:creationId xmlns:a16="http://schemas.microsoft.com/office/drawing/2014/main" id="{5D72AE06-10DC-69D1-8B55-97A386D79194}"/>
              </a:ext>
            </a:extLst>
          </p:cNvPr>
          <p:cNvSpPr>
            <a:spLocks/>
          </p:cNvSpPr>
          <p:nvPr/>
        </p:nvSpPr>
        <p:spPr bwMode="auto">
          <a:xfrm>
            <a:off x="7335089" y="1534843"/>
            <a:ext cx="37547" cy="32545"/>
          </a:xfrm>
          <a:custGeom>
            <a:avLst/>
            <a:gdLst/>
            <a:ahLst/>
            <a:cxnLst>
              <a:cxn ang="0">
                <a:pos x="12" y="26"/>
              </a:cxn>
              <a:cxn ang="0">
                <a:pos x="12" y="26"/>
              </a:cxn>
              <a:cxn ang="0">
                <a:pos x="18" y="26"/>
              </a:cxn>
              <a:cxn ang="0">
                <a:pos x="22" y="22"/>
              </a:cxn>
              <a:cxn ang="0">
                <a:pos x="25" y="19"/>
              </a:cxn>
              <a:cxn ang="0">
                <a:pos x="25" y="13"/>
              </a:cxn>
              <a:cxn ang="0">
                <a:pos x="25" y="13"/>
              </a:cxn>
              <a:cxn ang="0">
                <a:pos x="25" y="8"/>
              </a:cxn>
              <a:cxn ang="0">
                <a:pos x="22" y="4"/>
              </a:cxn>
              <a:cxn ang="0">
                <a:pos x="18" y="0"/>
              </a:cxn>
              <a:cxn ang="0">
                <a:pos x="12" y="0"/>
              </a:cxn>
              <a:cxn ang="0">
                <a:pos x="12" y="0"/>
              </a:cxn>
              <a:cxn ang="0">
                <a:pos x="7" y="0"/>
              </a:cxn>
              <a:cxn ang="0">
                <a:pos x="3" y="4"/>
              </a:cxn>
              <a:cxn ang="0">
                <a:pos x="1" y="8"/>
              </a:cxn>
              <a:cxn ang="0">
                <a:pos x="0" y="13"/>
              </a:cxn>
              <a:cxn ang="0">
                <a:pos x="0" y="13"/>
              </a:cxn>
              <a:cxn ang="0">
                <a:pos x="1" y="19"/>
              </a:cxn>
              <a:cxn ang="0">
                <a:pos x="3" y="22"/>
              </a:cxn>
              <a:cxn ang="0">
                <a:pos x="7" y="26"/>
              </a:cxn>
              <a:cxn ang="0">
                <a:pos x="12" y="26"/>
              </a:cxn>
              <a:cxn ang="0">
                <a:pos x="12" y="26"/>
              </a:cxn>
            </a:cxnLst>
            <a:rect l="0" t="0" r="r" b="b"/>
            <a:pathLst>
              <a:path w="25" h="26">
                <a:moveTo>
                  <a:pt x="12" y="26"/>
                </a:moveTo>
                <a:lnTo>
                  <a:pt x="12" y="26"/>
                </a:lnTo>
                <a:lnTo>
                  <a:pt x="18" y="26"/>
                </a:lnTo>
                <a:lnTo>
                  <a:pt x="22" y="22"/>
                </a:lnTo>
                <a:lnTo>
                  <a:pt x="25" y="19"/>
                </a:lnTo>
                <a:lnTo>
                  <a:pt x="25" y="13"/>
                </a:lnTo>
                <a:lnTo>
                  <a:pt x="25" y="13"/>
                </a:lnTo>
                <a:lnTo>
                  <a:pt x="25" y="8"/>
                </a:lnTo>
                <a:lnTo>
                  <a:pt x="22" y="4"/>
                </a:lnTo>
                <a:lnTo>
                  <a:pt x="18" y="0"/>
                </a:lnTo>
                <a:lnTo>
                  <a:pt x="12" y="0"/>
                </a:lnTo>
                <a:lnTo>
                  <a:pt x="12" y="0"/>
                </a:lnTo>
                <a:lnTo>
                  <a:pt x="7" y="0"/>
                </a:lnTo>
                <a:lnTo>
                  <a:pt x="3" y="4"/>
                </a:lnTo>
                <a:lnTo>
                  <a:pt x="1" y="8"/>
                </a:lnTo>
                <a:lnTo>
                  <a:pt x="0" y="13"/>
                </a:lnTo>
                <a:lnTo>
                  <a:pt x="0" y="13"/>
                </a:lnTo>
                <a:lnTo>
                  <a:pt x="1" y="19"/>
                </a:lnTo>
                <a:lnTo>
                  <a:pt x="3" y="22"/>
                </a:lnTo>
                <a:lnTo>
                  <a:pt x="7" y="26"/>
                </a:lnTo>
                <a:lnTo>
                  <a:pt x="12" y="26"/>
                </a:lnTo>
                <a:lnTo>
                  <a:pt x="12" y="2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6" name="Freeform 18">
            <a:extLst>
              <a:ext uri="{FF2B5EF4-FFF2-40B4-BE49-F238E27FC236}">
                <a16:creationId xmlns:a16="http://schemas.microsoft.com/office/drawing/2014/main" id="{CC8ABFAB-DF1E-5801-FA6E-72C6F0877DC2}"/>
              </a:ext>
            </a:extLst>
          </p:cNvPr>
          <p:cNvSpPr>
            <a:spLocks noEditPoints="1"/>
          </p:cNvSpPr>
          <p:nvPr/>
        </p:nvSpPr>
        <p:spPr bwMode="auto">
          <a:xfrm>
            <a:off x="7332086" y="1533592"/>
            <a:ext cx="43554" cy="36299"/>
          </a:xfrm>
          <a:custGeom>
            <a:avLst/>
            <a:gdLst/>
            <a:ahLst/>
            <a:cxnLst>
              <a:cxn ang="0">
                <a:pos x="14" y="29"/>
              </a:cxn>
              <a:cxn ang="0">
                <a:pos x="14" y="29"/>
              </a:cxn>
              <a:cxn ang="0">
                <a:pos x="9" y="27"/>
              </a:cxn>
              <a:cxn ang="0">
                <a:pos x="3" y="25"/>
              </a:cxn>
              <a:cxn ang="0">
                <a:pos x="2" y="20"/>
              </a:cxn>
              <a:cxn ang="0">
                <a:pos x="0" y="14"/>
              </a:cxn>
              <a:cxn ang="0">
                <a:pos x="0" y="14"/>
              </a:cxn>
              <a:cxn ang="0">
                <a:pos x="2" y="9"/>
              </a:cxn>
              <a:cxn ang="0">
                <a:pos x="3" y="3"/>
              </a:cxn>
              <a:cxn ang="0">
                <a:pos x="9" y="0"/>
              </a:cxn>
              <a:cxn ang="0">
                <a:pos x="14" y="0"/>
              </a:cxn>
              <a:cxn ang="0">
                <a:pos x="14" y="0"/>
              </a:cxn>
              <a:cxn ang="0">
                <a:pos x="20" y="0"/>
              </a:cxn>
              <a:cxn ang="0">
                <a:pos x="25" y="3"/>
              </a:cxn>
              <a:cxn ang="0">
                <a:pos x="29" y="9"/>
              </a:cxn>
              <a:cxn ang="0">
                <a:pos x="29" y="14"/>
              </a:cxn>
              <a:cxn ang="0">
                <a:pos x="29" y="14"/>
              </a:cxn>
              <a:cxn ang="0">
                <a:pos x="29" y="20"/>
              </a:cxn>
              <a:cxn ang="0">
                <a:pos x="25" y="25"/>
              </a:cxn>
              <a:cxn ang="0">
                <a:pos x="20" y="27"/>
              </a:cxn>
              <a:cxn ang="0">
                <a:pos x="14" y="29"/>
              </a:cxn>
              <a:cxn ang="0">
                <a:pos x="14" y="29"/>
              </a:cxn>
              <a:cxn ang="0">
                <a:pos x="13" y="29"/>
              </a:cxn>
              <a:cxn ang="0">
                <a:pos x="14" y="29"/>
              </a:cxn>
              <a:cxn ang="0">
                <a:pos x="16" y="29"/>
              </a:cxn>
              <a:cxn ang="0">
                <a:pos x="14" y="29"/>
              </a:cxn>
              <a:cxn ang="0">
                <a:pos x="14" y="29"/>
              </a:cxn>
              <a:cxn ang="0">
                <a:pos x="14" y="3"/>
              </a:cxn>
              <a:cxn ang="0">
                <a:pos x="14" y="3"/>
              </a:cxn>
              <a:cxn ang="0">
                <a:pos x="11" y="3"/>
              </a:cxn>
              <a:cxn ang="0">
                <a:pos x="7" y="5"/>
              </a:cxn>
              <a:cxn ang="0">
                <a:pos x="3" y="9"/>
              </a:cxn>
              <a:cxn ang="0">
                <a:pos x="3" y="14"/>
              </a:cxn>
              <a:cxn ang="0">
                <a:pos x="3" y="14"/>
              </a:cxn>
              <a:cxn ang="0">
                <a:pos x="3" y="18"/>
              </a:cxn>
              <a:cxn ang="0">
                <a:pos x="7" y="22"/>
              </a:cxn>
              <a:cxn ang="0">
                <a:pos x="11" y="25"/>
              </a:cxn>
              <a:cxn ang="0">
                <a:pos x="14" y="25"/>
              </a:cxn>
              <a:cxn ang="0">
                <a:pos x="14" y="25"/>
              </a:cxn>
              <a:cxn ang="0">
                <a:pos x="20" y="25"/>
              </a:cxn>
              <a:cxn ang="0">
                <a:pos x="24" y="22"/>
              </a:cxn>
              <a:cxn ang="0">
                <a:pos x="25" y="18"/>
              </a:cxn>
              <a:cxn ang="0">
                <a:pos x="25" y="14"/>
              </a:cxn>
              <a:cxn ang="0">
                <a:pos x="25" y="14"/>
              </a:cxn>
              <a:cxn ang="0">
                <a:pos x="25" y="9"/>
              </a:cxn>
              <a:cxn ang="0">
                <a:pos x="24" y="5"/>
              </a:cxn>
              <a:cxn ang="0">
                <a:pos x="20" y="3"/>
              </a:cxn>
              <a:cxn ang="0">
                <a:pos x="14" y="3"/>
              </a:cxn>
              <a:cxn ang="0">
                <a:pos x="14" y="3"/>
              </a:cxn>
              <a:cxn ang="0">
                <a:pos x="14" y="3"/>
              </a:cxn>
              <a:cxn ang="0">
                <a:pos x="14" y="3"/>
              </a:cxn>
              <a:cxn ang="0">
                <a:pos x="14" y="3"/>
              </a:cxn>
            </a:cxnLst>
            <a:rect l="0" t="0" r="r" b="b"/>
            <a:pathLst>
              <a:path w="29" h="29">
                <a:moveTo>
                  <a:pt x="14" y="29"/>
                </a:moveTo>
                <a:lnTo>
                  <a:pt x="14" y="29"/>
                </a:lnTo>
                <a:lnTo>
                  <a:pt x="9" y="27"/>
                </a:lnTo>
                <a:lnTo>
                  <a:pt x="3" y="25"/>
                </a:lnTo>
                <a:lnTo>
                  <a:pt x="2" y="20"/>
                </a:lnTo>
                <a:lnTo>
                  <a:pt x="0" y="14"/>
                </a:lnTo>
                <a:lnTo>
                  <a:pt x="0" y="14"/>
                </a:lnTo>
                <a:lnTo>
                  <a:pt x="2" y="9"/>
                </a:lnTo>
                <a:lnTo>
                  <a:pt x="3" y="3"/>
                </a:lnTo>
                <a:lnTo>
                  <a:pt x="9" y="0"/>
                </a:lnTo>
                <a:lnTo>
                  <a:pt x="14" y="0"/>
                </a:lnTo>
                <a:lnTo>
                  <a:pt x="14" y="0"/>
                </a:lnTo>
                <a:lnTo>
                  <a:pt x="20" y="0"/>
                </a:lnTo>
                <a:lnTo>
                  <a:pt x="25" y="3"/>
                </a:lnTo>
                <a:lnTo>
                  <a:pt x="29" y="9"/>
                </a:lnTo>
                <a:lnTo>
                  <a:pt x="29" y="14"/>
                </a:lnTo>
                <a:lnTo>
                  <a:pt x="29" y="14"/>
                </a:lnTo>
                <a:lnTo>
                  <a:pt x="29" y="20"/>
                </a:lnTo>
                <a:lnTo>
                  <a:pt x="25" y="25"/>
                </a:lnTo>
                <a:lnTo>
                  <a:pt x="20" y="27"/>
                </a:lnTo>
                <a:lnTo>
                  <a:pt x="14" y="29"/>
                </a:lnTo>
                <a:lnTo>
                  <a:pt x="14" y="29"/>
                </a:lnTo>
                <a:lnTo>
                  <a:pt x="13" y="29"/>
                </a:lnTo>
                <a:lnTo>
                  <a:pt x="14" y="29"/>
                </a:lnTo>
                <a:lnTo>
                  <a:pt x="16" y="29"/>
                </a:lnTo>
                <a:lnTo>
                  <a:pt x="14" y="29"/>
                </a:lnTo>
                <a:lnTo>
                  <a:pt x="14" y="29"/>
                </a:lnTo>
                <a:close/>
                <a:moveTo>
                  <a:pt x="14" y="3"/>
                </a:moveTo>
                <a:lnTo>
                  <a:pt x="14" y="3"/>
                </a:lnTo>
                <a:lnTo>
                  <a:pt x="11" y="3"/>
                </a:lnTo>
                <a:lnTo>
                  <a:pt x="7" y="5"/>
                </a:lnTo>
                <a:lnTo>
                  <a:pt x="3" y="9"/>
                </a:lnTo>
                <a:lnTo>
                  <a:pt x="3" y="14"/>
                </a:lnTo>
                <a:lnTo>
                  <a:pt x="3" y="14"/>
                </a:lnTo>
                <a:lnTo>
                  <a:pt x="3" y="18"/>
                </a:lnTo>
                <a:lnTo>
                  <a:pt x="7" y="22"/>
                </a:lnTo>
                <a:lnTo>
                  <a:pt x="11" y="25"/>
                </a:lnTo>
                <a:lnTo>
                  <a:pt x="14" y="25"/>
                </a:lnTo>
                <a:lnTo>
                  <a:pt x="14" y="25"/>
                </a:lnTo>
                <a:lnTo>
                  <a:pt x="20" y="25"/>
                </a:lnTo>
                <a:lnTo>
                  <a:pt x="24" y="22"/>
                </a:lnTo>
                <a:lnTo>
                  <a:pt x="25" y="18"/>
                </a:lnTo>
                <a:lnTo>
                  <a:pt x="25" y="14"/>
                </a:lnTo>
                <a:lnTo>
                  <a:pt x="25" y="14"/>
                </a:lnTo>
                <a:lnTo>
                  <a:pt x="25" y="9"/>
                </a:lnTo>
                <a:lnTo>
                  <a:pt x="24" y="5"/>
                </a:lnTo>
                <a:lnTo>
                  <a:pt x="20" y="3"/>
                </a:lnTo>
                <a:lnTo>
                  <a:pt x="14" y="3"/>
                </a:lnTo>
                <a:lnTo>
                  <a:pt x="14" y="3"/>
                </a:lnTo>
                <a:lnTo>
                  <a:pt x="14" y="3"/>
                </a:lnTo>
                <a:lnTo>
                  <a:pt x="14" y="3"/>
                </a:lnTo>
                <a:lnTo>
                  <a:pt x="14" y="3"/>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7" name="Rectangle 19">
            <a:extLst>
              <a:ext uri="{FF2B5EF4-FFF2-40B4-BE49-F238E27FC236}">
                <a16:creationId xmlns:a16="http://schemas.microsoft.com/office/drawing/2014/main" id="{2D08DBD2-78F7-295B-479D-3934502EC31B}"/>
              </a:ext>
            </a:extLst>
          </p:cNvPr>
          <p:cNvSpPr>
            <a:spLocks noChangeArrowheads="1"/>
          </p:cNvSpPr>
          <p:nvPr/>
        </p:nvSpPr>
        <p:spPr bwMode="auto">
          <a:xfrm>
            <a:off x="6744850" y="1969180"/>
            <a:ext cx="12015"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8" name="Freeform 20">
            <a:extLst>
              <a:ext uri="{FF2B5EF4-FFF2-40B4-BE49-F238E27FC236}">
                <a16:creationId xmlns:a16="http://schemas.microsoft.com/office/drawing/2014/main" id="{CBE62020-CE23-0AD0-A0F2-3AE908A3CF25}"/>
              </a:ext>
            </a:extLst>
          </p:cNvPr>
          <p:cNvSpPr>
            <a:spLocks/>
          </p:cNvSpPr>
          <p:nvPr/>
        </p:nvSpPr>
        <p:spPr bwMode="auto">
          <a:xfrm>
            <a:off x="6744850" y="1969180"/>
            <a:ext cx="12015" cy="8762"/>
          </a:xfrm>
          <a:custGeom>
            <a:avLst/>
            <a:gdLst/>
            <a:ahLst/>
            <a:cxnLst>
              <a:cxn ang="0">
                <a:pos x="0" y="7"/>
              </a:cxn>
              <a:cxn ang="0">
                <a:pos x="8" y="7"/>
              </a:cxn>
              <a:cxn ang="0">
                <a:pos x="8" y="0"/>
              </a:cxn>
              <a:cxn ang="0">
                <a:pos x="0" y="0"/>
              </a:cxn>
            </a:cxnLst>
            <a:rect l="0" t="0" r="r" b="b"/>
            <a:pathLst>
              <a:path w="8" h="7">
                <a:moveTo>
                  <a:pt x="0" y="7"/>
                </a:moveTo>
                <a:lnTo>
                  <a:pt x="8" y="7"/>
                </a:lnTo>
                <a:lnTo>
                  <a:pt x="8"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59" name="Freeform 21">
            <a:extLst>
              <a:ext uri="{FF2B5EF4-FFF2-40B4-BE49-F238E27FC236}">
                <a16:creationId xmlns:a16="http://schemas.microsoft.com/office/drawing/2014/main" id="{52F81EB2-B637-54F4-A7BA-5C94187C37DB}"/>
              </a:ext>
            </a:extLst>
          </p:cNvPr>
          <p:cNvSpPr>
            <a:spLocks noEditPoints="1"/>
          </p:cNvSpPr>
          <p:nvPr/>
        </p:nvSpPr>
        <p:spPr bwMode="auto">
          <a:xfrm>
            <a:off x="6777891" y="1969180"/>
            <a:ext cx="545183" cy="8762"/>
          </a:xfrm>
          <a:custGeom>
            <a:avLst/>
            <a:gdLst/>
            <a:ahLst/>
            <a:cxnLst>
              <a:cxn ang="0">
                <a:pos x="363" y="7"/>
              </a:cxn>
              <a:cxn ang="0">
                <a:pos x="349" y="0"/>
              </a:cxn>
              <a:cxn ang="0">
                <a:pos x="319" y="7"/>
              </a:cxn>
              <a:cxn ang="0">
                <a:pos x="334" y="0"/>
              </a:cxn>
              <a:cxn ang="0">
                <a:pos x="319" y="7"/>
              </a:cxn>
              <a:cxn ang="0">
                <a:pos x="305" y="7"/>
              </a:cxn>
              <a:cxn ang="0">
                <a:pos x="290" y="0"/>
              </a:cxn>
              <a:cxn ang="0">
                <a:pos x="261" y="7"/>
              </a:cxn>
              <a:cxn ang="0">
                <a:pos x="275" y="0"/>
              </a:cxn>
              <a:cxn ang="0">
                <a:pos x="261" y="7"/>
              </a:cxn>
              <a:cxn ang="0">
                <a:pos x="246" y="7"/>
              </a:cxn>
              <a:cxn ang="0">
                <a:pos x="231" y="0"/>
              </a:cxn>
              <a:cxn ang="0">
                <a:pos x="204" y="7"/>
              </a:cxn>
              <a:cxn ang="0">
                <a:pos x="217" y="0"/>
              </a:cxn>
              <a:cxn ang="0">
                <a:pos x="204" y="7"/>
              </a:cxn>
              <a:cxn ang="0">
                <a:pos x="189" y="7"/>
              </a:cxn>
              <a:cxn ang="0">
                <a:pos x="175" y="0"/>
              </a:cxn>
              <a:cxn ang="0">
                <a:pos x="145" y="7"/>
              </a:cxn>
              <a:cxn ang="0">
                <a:pos x="160" y="0"/>
              </a:cxn>
              <a:cxn ang="0">
                <a:pos x="145" y="7"/>
              </a:cxn>
              <a:cxn ang="0">
                <a:pos x="131" y="7"/>
              </a:cxn>
              <a:cxn ang="0">
                <a:pos x="116" y="0"/>
              </a:cxn>
              <a:cxn ang="0">
                <a:pos x="87" y="7"/>
              </a:cxn>
              <a:cxn ang="0">
                <a:pos x="101" y="0"/>
              </a:cxn>
              <a:cxn ang="0">
                <a:pos x="87" y="7"/>
              </a:cxn>
              <a:cxn ang="0">
                <a:pos x="72" y="7"/>
              </a:cxn>
              <a:cxn ang="0">
                <a:pos x="57" y="0"/>
              </a:cxn>
              <a:cxn ang="0">
                <a:pos x="30" y="7"/>
              </a:cxn>
              <a:cxn ang="0">
                <a:pos x="43" y="0"/>
              </a:cxn>
              <a:cxn ang="0">
                <a:pos x="30" y="7"/>
              </a:cxn>
              <a:cxn ang="0">
                <a:pos x="15" y="7"/>
              </a:cxn>
              <a:cxn ang="0">
                <a:pos x="0" y="0"/>
              </a:cxn>
            </a:cxnLst>
            <a:rect l="0" t="0" r="r" b="b"/>
            <a:pathLst>
              <a:path w="363" h="7">
                <a:moveTo>
                  <a:pt x="349" y="7"/>
                </a:moveTo>
                <a:lnTo>
                  <a:pt x="363" y="7"/>
                </a:lnTo>
                <a:lnTo>
                  <a:pt x="363" y="0"/>
                </a:lnTo>
                <a:lnTo>
                  <a:pt x="349" y="0"/>
                </a:lnTo>
                <a:lnTo>
                  <a:pt x="349" y="7"/>
                </a:lnTo>
                <a:close/>
                <a:moveTo>
                  <a:pt x="319" y="7"/>
                </a:moveTo>
                <a:lnTo>
                  <a:pt x="334" y="7"/>
                </a:lnTo>
                <a:lnTo>
                  <a:pt x="334" y="0"/>
                </a:lnTo>
                <a:lnTo>
                  <a:pt x="319" y="0"/>
                </a:lnTo>
                <a:lnTo>
                  <a:pt x="319" y="7"/>
                </a:lnTo>
                <a:close/>
                <a:moveTo>
                  <a:pt x="290" y="7"/>
                </a:moveTo>
                <a:lnTo>
                  <a:pt x="305" y="7"/>
                </a:lnTo>
                <a:lnTo>
                  <a:pt x="305" y="0"/>
                </a:lnTo>
                <a:lnTo>
                  <a:pt x="290" y="0"/>
                </a:lnTo>
                <a:lnTo>
                  <a:pt x="290" y="7"/>
                </a:lnTo>
                <a:close/>
                <a:moveTo>
                  <a:pt x="261" y="7"/>
                </a:moveTo>
                <a:lnTo>
                  <a:pt x="275" y="7"/>
                </a:lnTo>
                <a:lnTo>
                  <a:pt x="275" y="0"/>
                </a:lnTo>
                <a:lnTo>
                  <a:pt x="261" y="0"/>
                </a:lnTo>
                <a:lnTo>
                  <a:pt x="261" y="7"/>
                </a:lnTo>
                <a:close/>
                <a:moveTo>
                  <a:pt x="231" y="7"/>
                </a:moveTo>
                <a:lnTo>
                  <a:pt x="246" y="7"/>
                </a:lnTo>
                <a:lnTo>
                  <a:pt x="246" y="0"/>
                </a:lnTo>
                <a:lnTo>
                  <a:pt x="231" y="0"/>
                </a:lnTo>
                <a:lnTo>
                  <a:pt x="231" y="7"/>
                </a:lnTo>
                <a:close/>
                <a:moveTo>
                  <a:pt x="204" y="7"/>
                </a:moveTo>
                <a:lnTo>
                  <a:pt x="217" y="7"/>
                </a:lnTo>
                <a:lnTo>
                  <a:pt x="217" y="0"/>
                </a:lnTo>
                <a:lnTo>
                  <a:pt x="204" y="0"/>
                </a:lnTo>
                <a:lnTo>
                  <a:pt x="204" y="7"/>
                </a:lnTo>
                <a:close/>
                <a:moveTo>
                  <a:pt x="175" y="7"/>
                </a:moveTo>
                <a:lnTo>
                  <a:pt x="189" y="7"/>
                </a:lnTo>
                <a:lnTo>
                  <a:pt x="189" y="0"/>
                </a:lnTo>
                <a:lnTo>
                  <a:pt x="175" y="0"/>
                </a:lnTo>
                <a:lnTo>
                  <a:pt x="175" y="7"/>
                </a:lnTo>
                <a:close/>
                <a:moveTo>
                  <a:pt x="145" y="7"/>
                </a:moveTo>
                <a:lnTo>
                  <a:pt x="160" y="7"/>
                </a:lnTo>
                <a:lnTo>
                  <a:pt x="160" y="0"/>
                </a:lnTo>
                <a:lnTo>
                  <a:pt x="145" y="0"/>
                </a:lnTo>
                <a:lnTo>
                  <a:pt x="145" y="7"/>
                </a:lnTo>
                <a:close/>
                <a:moveTo>
                  <a:pt x="116" y="7"/>
                </a:moveTo>
                <a:lnTo>
                  <a:pt x="131" y="7"/>
                </a:lnTo>
                <a:lnTo>
                  <a:pt x="131" y="0"/>
                </a:lnTo>
                <a:lnTo>
                  <a:pt x="116" y="0"/>
                </a:lnTo>
                <a:lnTo>
                  <a:pt x="116" y="7"/>
                </a:lnTo>
                <a:close/>
                <a:moveTo>
                  <a:pt x="87" y="7"/>
                </a:moveTo>
                <a:lnTo>
                  <a:pt x="101" y="7"/>
                </a:lnTo>
                <a:lnTo>
                  <a:pt x="101" y="0"/>
                </a:lnTo>
                <a:lnTo>
                  <a:pt x="87" y="0"/>
                </a:lnTo>
                <a:lnTo>
                  <a:pt x="87" y="7"/>
                </a:lnTo>
                <a:close/>
                <a:moveTo>
                  <a:pt x="57" y="7"/>
                </a:moveTo>
                <a:lnTo>
                  <a:pt x="72" y="7"/>
                </a:lnTo>
                <a:lnTo>
                  <a:pt x="72" y="0"/>
                </a:lnTo>
                <a:lnTo>
                  <a:pt x="57" y="0"/>
                </a:lnTo>
                <a:lnTo>
                  <a:pt x="57" y="7"/>
                </a:lnTo>
                <a:close/>
                <a:moveTo>
                  <a:pt x="30" y="7"/>
                </a:moveTo>
                <a:lnTo>
                  <a:pt x="43" y="7"/>
                </a:lnTo>
                <a:lnTo>
                  <a:pt x="43" y="0"/>
                </a:lnTo>
                <a:lnTo>
                  <a:pt x="30" y="0"/>
                </a:lnTo>
                <a:lnTo>
                  <a:pt x="30" y="7"/>
                </a:lnTo>
                <a:close/>
                <a:moveTo>
                  <a:pt x="0" y="7"/>
                </a:moveTo>
                <a:lnTo>
                  <a:pt x="15" y="7"/>
                </a:lnTo>
                <a:lnTo>
                  <a:pt x="15" y="0"/>
                </a:lnTo>
                <a:lnTo>
                  <a:pt x="0" y="0"/>
                </a:lnTo>
                <a:lnTo>
                  <a:pt x="0" y="7"/>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0" name="Rectangle 22">
            <a:extLst>
              <a:ext uri="{FF2B5EF4-FFF2-40B4-BE49-F238E27FC236}">
                <a16:creationId xmlns:a16="http://schemas.microsoft.com/office/drawing/2014/main" id="{CDD7C85B-BC5C-55A8-100E-3A9D14AD7F1F}"/>
              </a:ext>
            </a:extLst>
          </p:cNvPr>
          <p:cNvSpPr>
            <a:spLocks noChangeArrowheads="1"/>
          </p:cNvSpPr>
          <p:nvPr/>
        </p:nvSpPr>
        <p:spPr bwMode="auto">
          <a:xfrm>
            <a:off x="7345603" y="1969180"/>
            <a:ext cx="10514"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1" name="Freeform 23">
            <a:extLst>
              <a:ext uri="{FF2B5EF4-FFF2-40B4-BE49-F238E27FC236}">
                <a16:creationId xmlns:a16="http://schemas.microsoft.com/office/drawing/2014/main" id="{CCA0AB14-166F-9EBB-153C-B6A03D0DBE20}"/>
              </a:ext>
            </a:extLst>
          </p:cNvPr>
          <p:cNvSpPr>
            <a:spLocks/>
          </p:cNvSpPr>
          <p:nvPr/>
        </p:nvSpPr>
        <p:spPr bwMode="auto">
          <a:xfrm>
            <a:off x="7345603" y="1969180"/>
            <a:ext cx="10514" cy="8762"/>
          </a:xfrm>
          <a:custGeom>
            <a:avLst/>
            <a:gdLst/>
            <a:ahLst/>
            <a:cxnLst>
              <a:cxn ang="0">
                <a:pos x="0" y="7"/>
              </a:cxn>
              <a:cxn ang="0">
                <a:pos x="7" y="7"/>
              </a:cxn>
              <a:cxn ang="0">
                <a:pos x="7" y="0"/>
              </a:cxn>
              <a:cxn ang="0">
                <a:pos x="0" y="0"/>
              </a:cxn>
            </a:cxnLst>
            <a:rect l="0" t="0" r="r" b="b"/>
            <a:pathLst>
              <a:path w="7" h="7">
                <a:moveTo>
                  <a:pt x="0" y="7"/>
                </a:moveTo>
                <a:lnTo>
                  <a:pt x="7" y="7"/>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2" name="Freeform 24">
            <a:extLst>
              <a:ext uri="{FF2B5EF4-FFF2-40B4-BE49-F238E27FC236}">
                <a16:creationId xmlns:a16="http://schemas.microsoft.com/office/drawing/2014/main" id="{A18EC6CA-70ED-B631-7760-4B3549E07476}"/>
              </a:ext>
            </a:extLst>
          </p:cNvPr>
          <p:cNvSpPr>
            <a:spLocks/>
          </p:cNvSpPr>
          <p:nvPr/>
        </p:nvSpPr>
        <p:spPr bwMode="auto">
          <a:xfrm>
            <a:off x="7335089" y="1957915"/>
            <a:ext cx="37547" cy="31292"/>
          </a:xfrm>
          <a:custGeom>
            <a:avLst/>
            <a:gdLst/>
            <a:ahLst/>
            <a:cxnLst>
              <a:cxn ang="0">
                <a:pos x="12" y="25"/>
              </a:cxn>
              <a:cxn ang="0">
                <a:pos x="12" y="25"/>
              </a:cxn>
              <a:cxn ang="0">
                <a:pos x="18" y="25"/>
              </a:cxn>
              <a:cxn ang="0">
                <a:pos x="22" y="22"/>
              </a:cxn>
              <a:cxn ang="0">
                <a:pos x="25" y="18"/>
              </a:cxn>
              <a:cxn ang="0">
                <a:pos x="25" y="12"/>
              </a:cxn>
              <a:cxn ang="0">
                <a:pos x="25" y="12"/>
              </a:cxn>
              <a:cxn ang="0">
                <a:pos x="25" y="7"/>
              </a:cxn>
              <a:cxn ang="0">
                <a:pos x="22" y="3"/>
              </a:cxn>
              <a:cxn ang="0">
                <a:pos x="18" y="0"/>
              </a:cxn>
              <a:cxn ang="0">
                <a:pos x="12" y="0"/>
              </a:cxn>
              <a:cxn ang="0">
                <a:pos x="12" y="0"/>
              </a:cxn>
              <a:cxn ang="0">
                <a:pos x="7" y="0"/>
              </a:cxn>
              <a:cxn ang="0">
                <a:pos x="3" y="3"/>
              </a:cxn>
              <a:cxn ang="0">
                <a:pos x="1" y="7"/>
              </a:cxn>
              <a:cxn ang="0">
                <a:pos x="0" y="12"/>
              </a:cxn>
              <a:cxn ang="0">
                <a:pos x="0" y="12"/>
              </a:cxn>
              <a:cxn ang="0">
                <a:pos x="1" y="18"/>
              </a:cxn>
              <a:cxn ang="0">
                <a:pos x="3" y="22"/>
              </a:cxn>
              <a:cxn ang="0">
                <a:pos x="7" y="25"/>
              </a:cxn>
              <a:cxn ang="0">
                <a:pos x="12" y="25"/>
              </a:cxn>
              <a:cxn ang="0">
                <a:pos x="12" y="25"/>
              </a:cxn>
            </a:cxnLst>
            <a:rect l="0" t="0" r="r" b="b"/>
            <a:pathLst>
              <a:path w="25" h="25">
                <a:moveTo>
                  <a:pt x="12" y="25"/>
                </a:moveTo>
                <a:lnTo>
                  <a:pt x="12" y="25"/>
                </a:lnTo>
                <a:lnTo>
                  <a:pt x="18" y="25"/>
                </a:lnTo>
                <a:lnTo>
                  <a:pt x="22" y="22"/>
                </a:lnTo>
                <a:lnTo>
                  <a:pt x="25" y="18"/>
                </a:lnTo>
                <a:lnTo>
                  <a:pt x="25" y="12"/>
                </a:lnTo>
                <a:lnTo>
                  <a:pt x="25" y="12"/>
                </a:lnTo>
                <a:lnTo>
                  <a:pt x="25" y="7"/>
                </a:lnTo>
                <a:lnTo>
                  <a:pt x="22" y="3"/>
                </a:lnTo>
                <a:lnTo>
                  <a:pt x="18" y="0"/>
                </a:lnTo>
                <a:lnTo>
                  <a:pt x="12" y="0"/>
                </a:lnTo>
                <a:lnTo>
                  <a:pt x="12" y="0"/>
                </a:lnTo>
                <a:lnTo>
                  <a:pt x="7" y="0"/>
                </a:lnTo>
                <a:lnTo>
                  <a:pt x="3" y="3"/>
                </a:lnTo>
                <a:lnTo>
                  <a:pt x="1" y="7"/>
                </a:lnTo>
                <a:lnTo>
                  <a:pt x="0" y="12"/>
                </a:lnTo>
                <a:lnTo>
                  <a:pt x="0" y="12"/>
                </a:lnTo>
                <a:lnTo>
                  <a:pt x="1" y="18"/>
                </a:lnTo>
                <a:lnTo>
                  <a:pt x="3" y="22"/>
                </a:lnTo>
                <a:lnTo>
                  <a:pt x="7" y="25"/>
                </a:lnTo>
                <a:lnTo>
                  <a:pt x="12" y="25"/>
                </a:lnTo>
                <a:lnTo>
                  <a:pt x="12" y="2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3" name="Freeform 25">
            <a:extLst>
              <a:ext uri="{FF2B5EF4-FFF2-40B4-BE49-F238E27FC236}">
                <a16:creationId xmlns:a16="http://schemas.microsoft.com/office/drawing/2014/main" id="{57CAAC4A-48CB-EBE7-BCA9-AADBB22AB23E}"/>
              </a:ext>
            </a:extLst>
          </p:cNvPr>
          <p:cNvSpPr>
            <a:spLocks noEditPoints="1"/>
          </p:cNvSpPr>
          <p:nvPr/>
        </p:nvSpPr>
        <p:spPr bwMode="auto">
          <a:xfrm>
            <a:off x="7332086" y="1955412"/>
            <a:ext cx="43554" cy="36299"/>
          </a:xfrm>
          <a:custGeom>
            <a:avLst/>
            <a:gdLst/>
            <a:ahLst/>
            <a:cxnLst>
              <a:cxn ang="0">
                <a:pos x="14" y="29"/>
              </a:cxn>
              <a:cxn ang="0">
                <a:pos x="14" y="29"/>
              </a:cxn>
              <a:cxn ang="0">
                <a:pos x="9" y="29"/>
              </a:cxn>
              <a:cxn ang="0">
                <a:pos x="3" y="25"/>
              </a:cxn>
              <a:cxn ang="0">
                <a:pos x="2" y="20"/>
              </a:cxn>
              <a:cxn ang="0">
                <a:pos x="0" y="14"/>
              </a:cxn>
              <a:cxn ang="0">
                <a:pos x="0" y="14"/>
              </a:cxn>
              <a:cxn ang="0">
                <a:pos x="2" y="9"/>
              </a:cxn>
              <a:cxn ang="0">
                <a:pos x="3" y="3"/>
              </a:cxn>
              <a:cxn ang="0">
                <a:pos x="9" y="0"/>
              </a:cxn>
              <a:cxn ang="0">
                <a:pos x="14" y="0"/>
              </a:cxn>
              <a:cxn ang="0">
                <a:pos x="14" y="0"/>
              </a:cxn>
              <a:cxn ang="0">
                <a:pos x="20" y="0"/>
              </a:cxn>
              <a:cxn ang="0">
                <a:pos x="25" y="3"/>
              </a:cxn>
              <a:cxn ang="0">
                <a:pos x="29" y="9"/>
              </a:cxn>
              <a:cxn ang="0">
                <a:pos x="29" y="14"/>
              </a:cxn>
              <a:cxn ang="0">
                <a:pos x="29" y="14"/>
              </a:cxn>
              <a:cxn ang="0">
                <a:pos x="29" y="20"/>
              </a:cxn>
              <a:cxn ang="0">
                <a:pos x="25" y="25"/>
              </a:cxn>
              <a:cxn ang="0">
                <a:pos x="20" y="29"/>
              </a:cxn>
              <a:cxn ang="0">
                <a:pos x="14" y="29"/>
              </a:cxn>
              <a:cxn ang="0">
                <a:pos x="14" y="29"/>
              </a:cxn>
              <a:cxn ang="0">
                <a:pos x="13" y="29"/>
              </a:cxn>
              <a:cxn ang="0">
                <a:pos x="14" y="29"/>
              </a:cxn>
              <a:cxn ang="0">
                <a:pos x="16" y="29"/>
              </a:cxn>
              <a:cxn ang="0">
                <a:pos x="14" y="29"/>
              </a:cxn>
              <a:cxn ang="0">
                <a:pos x="14" y="29"/>
              </a:cxn>
              <a:cxn ang="0">
                <a:pos x="14" y="3"/>
              </a:cxn>
              <a:cxn ang="0">
                <a:pos x="14" y="3"/>
              </a:cxn>
              <a:cxn ang="0">
                <a:pos x="11" y="3"/>
              </a:cxn>
              <a:cxn ang="0">
                <a:pos x="7" y="7"/>
              </a:cxn>
              <a:cxn ang="0">
                <a:pos x="3" y="11"/>
              </a:cxn>
              <a:cxn ang="0">
                <a:pos x="3" y="14"/>
              </a:cxn>
              <a:cxn ang="0">
                <a:pos x="3" y="14"/>
              </a:cxn>
              <a:cxn ang="0">
                <a:pos x="3" y="18"/>
              </a:cxn>
              <a:cxn ang="0">
                <a:pos x="7" y="22"/>
              </a:cxn>
              <a:cxn ang="0">
                <a:pos x="11" y="25"/>
              </a:cxn>
              <a:cxn ang="0">
                <a:pos x="14" y="25"/>
              </a:cxn>
              <a:cxn ang="0">
                <a:pos x="14" y="25"/>
              </a:cxn>
              <a:cxn ang="0">
                <a:pos x="20" y="25"/>
              </a:cxn>
              <a:cxn ang="0">
                <a:pos x="24" y="22"/>
              </a:cxn>
              <a:cxn ang="0">
                <a:pos x="25" y="18"/>
              </a:cxn>
              <a:cxn ang="0">
                <a:pos x="25" y="14"/>
              </a:cxn>
              <a:cxn ang="0">
                <a:pos x="25" y="14"/>
              </a:cxn>
              <a:cxn ang="0">
                <a:pos x="25" y="11"/>
              </a:cxn>
              <a:cxn ang="0">
                <a:pos x="24" y="7"/>
              </a:cxn>
              <a:cxn ang="0">
                <a:pos x="20" y="3"/>
              </a:cxn>
              <a:cxn ang="0">
                <a:pos x="14" y="3"/>
              </a:cxn>
              <a:cxn ang="0">
                <a:pos x="14" y="3"/>
              </a:cxn>
              <a:cxn ang="0">
                <a:pos x="14" y="3"/>
              </a:cxn>
              <a:cxn ang="0">
                <a:pos x="14" y="3"/>
              </a:cxn>
              <a:cxn ang="0">
                <a:pos x="14" y="3"/>
              </a:cxn>
            </a:cxnLst>
            <a:rect l="0" t="0" r="r" b="b"/>
            <a:pathLst>
              <a:path w="29" h="29">
                <a:moveTo>
                  <a:pt x="14" y="29"/>
                </a:moveTo>
                <a:lnTo>
                  <a:pt x="14" y="29"/>
                </a:lnTo>
                <a:lnTo>
                  <a:pt x="9" y="29"/>
                </a:lnTo>
                <a:lnTo>
                  <a:pt x="3" y="25"/>
                </a:lnTo>
                <a:lnTo>
                  <a:pt x="2" y="20"/>
                </a:lnTo>
                <a:lnTo>
                  <a:pt x="0" y="14"/>
                </a:lnTo>
                <a:lnTo>
                  <a:pt x="0" y="14"/>
                </a:lnTo>
                <a:lnTo>
                  <a:pt x="2" y="9"/>
                </a:lnTo>
                <a:lnTo>
                  <a:pt x="3" y="3"/>
                </a:lnTo>
                <a:lnTo>
                  <a:pt x="9" y="0"/>
                </a:lnTo>
                <a:lnTo>
                  <a:pt x="14" y="0"/>
                </a:lnTo>
                <a:lnTo>
                  <a:pt x="14" y="0"/>
                </a:lnTo>
                <a:lnTo>
                  <a:pt x="20" y="0"/>
                </a:lnTo>
                <a:lnTo>
                  <a:pt x="25" y="3"/>
                </a:lnTo>
                <a:lnTo>
                  <a:pt x="29" y="9"/>
                </a:lnTo>
                <a:lnTo>
                  <a:pt x="29" y="14"/>
                </a:lnTo>
                <a:lnTo>
                  <a:pt x="29" y="14"/>
                </a:lnTo>
                <a:lnTo>
                  <a:pt x="29" y="20"/>
                </a:lnTo>
                <a:lnTo>
                  <a:pt x="25" y="25"/>
                </a:lnTo>
                <a:lnTo>
                  <a:pt x="20" y="29"/>
                </a:lnTo>
                <a:lnTo>
                  <a:pt x="14" y="29"/>
                </a:lnTo>
                <a:lnTo>
                  <a:pt x="14" y="29"/>
                </a:lnTo>
                <a:lnTo>
                  <a:pt x="13" y="29"/>
                </a:lnTo>
                <a:lnTo>
                  <a:pt x="14" y="29"/>
                </a:lnTo>
                <a:lnTo>
                  <a:pt x="16" y="29"/>
                </a:lnTo>
                <a:lnTo>
                  <a:pt x="14" y="29"/>
                </a:lnTo>
                <a:lnTo>
                  <a:pt x="14" y="29"/>
                </a:lnTo>
                <a:close/>
                <a:moveTo>
                  <a:pt x="14" y="3"/>
                </a:moveTo>
                <a:lnTo>
                  <a:pt x="14" y="3"/>
                </a:lnTo>
                <a:lnTo>
                  <a:pt x="11" y="3"/>
                </a:lnTo>
                <a:lnTo>
                  <a:pt x="7" y="7"/>
                </a:lnTo>
                <a:lnTo>
                  <a:pt x="3" y="11"/>
                </a:lnTo>
                <a:lnTo>
                  <a:pt x="3" y="14"/>
                </a:lnTo>
                <a:lnTo>
                  <a:pt x="3" y="14"/>
                </a:lnTo>
                <a:lnTo>
                  <a:pt x="3" y="18"/>
                </a:lnTo>
                <a:lnTo>
                  <a:pt x="7" y="22"/>
                </a:lnTo>
                <a:lnTo>
                  <a:pt x="11" y="25"/>
                </a:lnTo>
                <a:lnTo>
                  <a:pt x="14" y="25"/>
                </a:lnTo>
                <a:lnTo>
                  <a:pt x="14" y="25"/>
                </a:lnTo>
                <a:lnTo>
                  <a:pt x="20" y="25"/>
                </a:lnTo>
                <a:lnTo>
                  <a:pt x="24" y="22"/>
                </a:lnTo>
                <a:lnTo>
                  <a:pt x="25" y="18"/>
                </a:lnTo>
                <a:lnTo>
                  <a:pt x="25" y="14"/>
                </a:lnTo>
                <a:lnTo>
                  <a:pt x="25" y="14"/>
                </a:lnTo>
                <a:lnTo>
                  <a:pt x="25" y="11"/>
                </a:lnTo>
                <a:lnTo>
                  <a:pt x="24" y="7"/>
                </a:lnTo>
                <a:lnTo>
                  <a:pt x="20" y="3"/>
                </a:lnTo>
                <a:lnTo>
                  <a:pt x="14" y="3"/>
                </a:lnTo>
                <a:lnTo>
                  <a:pt x="14" y="3"/>
                </a:lnTo>
                <a:lnTo>
                  <a:pt x="14" y="3"/>
                </a:lnTo>
                <a:lnTo>
                  <a:pt x="14" y="3"/>
                </a:lnTo>
                <a:lnTo>
                  <a:pt x="14" y="3"/>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4" name="Freeform 28">
            <a:extLst>
              <a:ext uri="{FF2B5EF4-FFF2-40B4-BE49-F238E27FC236}">
                <a16:creationId xmlns:a16="http://schemas.microsoft.com/office/drawing/2014/main" id="{CB8786EB-B706-9D5B-D8A2-D074A1A48550}"/>
              </a:ext>
            </a:extLst>
          </p:cNvPr>
          <p:cNvSpPr>
            <a:spLocks noEditPoints="1"/>
          </p:cNvSpPr>
          <p:nvPr/>
        </p:nvSpPr>
        <p:spPr bwMode="auto">
          <a:xfrm>
            <a:off x="6777891" y="2391000"/>
            <a:ext cx="545183" cy="8762"/>
          </a:xfrm>
          <a:custGeom>
            <a:avLst/>
            <a:gdLst/>
            <a:ahLst/>
            <a:cxnLst>
              <a:cxn ang="0">
                <a:pos x="363" y="7"/>
              </a:cxn>
              <a:cxn ang="0">
                <a:pos x="349" y="0"/>
              </a:cxn>
              <a:cxn ang="0">
                <a:pos x="319" y="7"/>
              </a:cxn>
              <a:cxn ang="0">
                <a:pos x="334" y="0"/>
              </a:cxn>
              <a:cxn ang="0">
                <a:pos x="319" y="7"/>
              </a:cxn>
              <a:cxn ang="0">
                <a:pos x="305" y="7"/>
              </a:cxn>
              <a:cxn ang="0">
                <a:pos x="290" y="0"/>
              </a:cxn>
              <a:cxn ang="0">
                <a:pos x="261" y="7"/>
              </a:cxn>
              <a:cxn ang="0">
                <a:pos x="275" y="0"/>
              </a:cxn>
              <a:cxn ang="0">
                <a:pos x="261" y="7"/>
              </a:cxn>
              <a:cxn ang="0">
                <a:pos x="246" y="7"/>
              </a:cxn>
              <a:cxn ang="0">
                <a:pos x="231" y="0"/>
              </a:cxn>
              <a:cxn ang="0">
                <a:pos x="204" y="7"/>
              </a:cxn>
              <a:cxn ang="0">
                <a:pos x="217" y="0"/>
              </a:cxn>
              <a:cxn ang="0">
                <a:pos x="204" y="7"/>
              </a:cxn>
              <a:cxn ang="0">
                <a:pos x="189" y="7"/>
              </a:cxn>
              <a:cxn ang="0">
                <a:pos x="175" y="0"/>
              </a:cxn>
              <a:cxn ang="0">
                <a:pos x="145" y="7"/>
              </a:cxn>
              <a:cxn ang="0">
                <a:pos x="160" y="0"/>
              </a:cxn>
              <a:cxn ang="0">
                <a:pos x="145" y="7"/>
              </a:cxn>
              <a:cxn ang="0">
                <a:pos x="131" y="7"/>
              </a:cxn>
              <a:cxn ang="0">
                <a:pos x="116" y="0"/>
              </a:cxn>
              <a:cxn ang="0">
                <a:pos x="87" y="7"/>
              </a:cxn>
              <a:cxn ang="0">
                <a:pos x="101" y="0"/>
              </a:cxn>
              <a:cxn ang="0">
                <a:pos x="87" y="7"/>
              </a:cxn>
              <a:cxn ang="0">
                <a:pos x="72" y="7"/>
              </a:cxn>
              <a:cxn ang="0">
                <a:pos x="57" y="0"/>
              </a:cxn>
              <a:cxn ang="0">
                <a:pos x="30" y="7"/>
              </a:cxn>
              <a:cxn ang="0">
                <a:pos x="43" y="0"/>
              </a:cxn>
              <a:cxn ang="0">
                <a:pos x="30" y="7"/>
              </a:cxn>
              <a:cxn ang="0">
                <a:pos x="15" y="7"/>
              </a:cxn>
              <a:cxn ang="0">
                <a:pos x="0" y="0"/>
              </a:cxn>
            </a:cxnLst>
            <a:rect l="0" t="0" r="r" b="b"/>
            <a:pathLst>
              <a:path w="363" h="7">
                <a:moveTo>
                  <a:pt x="349" y="7"/>
                </a:moveTo>
                <a:lnTo>
                  <a:pt x="363" y="7"/>
                </a:lnTo>
                <a:lnTo>
                  <a:pt x="363" y="0"/>
                </a:lnTo>
                <a:lnTo>
                  <a:pt x="349" y="0"/>
                </a:lnTo>
                <a:lnTo>
                  <a:pt x="349" y="7"/>
                </a:lnTo>
                <a:close/>
                <a:moveTo>
                  <a:pt x="319" y="7"/>
                </a:moveTo>
                <a:lnTo>
                  <a:pt x="334" y="7"/>
                </a:lnTo>
                <a:lnTo>
                  <a:pt x="334" y="0"/>
                </a:lnTo>
                <a:lnTo>
                  <a:pt x="319" y="0"/>
                </a:lnTo>
                <a:lnTo>
                  <a:pt x="319" y="7"/>
                </a:lnTo>
                <a:close/>
                <a:moveTo>
                  <a:pt x="290" y="7"/>
                </a:moveTo>
                <a:lnTo>
                  <a:pt x="305" y="7"/>
                </a:lnTo>
                <a:lnTo>
                  <a:pt x="305" y="0"/>
                </a:lnTo>
                <a:lnTo>
                  <a:pt x="290" y="0"/>
                </a:lnTo>
                <a:lnTo>
                  <a:pt x="290" y="7"/>
                </a:lnTo>
                <a:close/>
                <a:moveTo>
                  <a:pt x="261" y="7"/>
                </a:moveTo>
                <a:lnTo>
                  <a:pt x="275" y="7"/>
                </a:lnTo>
                <a:lnTo>
                  <a:pt x="275" y="0"/>
                </a:lnTo>
                <a:lnTo>
                  <a:pt x="261" y="0"/>
                </a:lnTo>
                <a:lnTo>
                  <a:pt x="261" y="7"/>
                </a:lnTo>
                <a:close/>
                <a:moveTo>
                  <a:pt x="231" y="7"/>
                </a:moveTo>
                <a:lnTo>
                  <a:pt x="246" y="7"/>
                </a:lnTo>
                <a:lnTo>
                  <a:pt x="246" y="0"/>
                </a:lnTo>
                <a:lnTo>
                  <a:pt x="231" y="0"/>
                </a:lnTo>
                <a:lnTo>
                  <a:pt x="231" y="7"/>
                </a:lnTo>
                <a:close/>
                <a:moveTo>
                  <a:pt x="204" y="7"/>
                </a:moveTo>
                <a:lnTo>
                  <a:pt x="217" y="7"/>
                </a:lnTo>
                <a:lnTo>
                  <a:pt x="217" y="0"/>
                </a:lnTo>
                <a:lnTo>
                  <a:pt x="204" y="0"/>
                </a:lnTo>
                <a:lnTo>
                  <a:pt x="204" y="7"/>
                </a:lnTo>
                <a:close/>
                <a:moveTo>
                  <a:pt x="175" y="7"/>
                </a:moveTo>
                <a:lnTo>
                  <a:pt x="189" y="7"/>
                </a:lnTo>
                <a:lnTo>
                  <a:pt x="189" y="0"/>
                </a:lnTo>
                <a:lnTo>
                  <a:pt x="175" y="0"/>
                </a:lnTo>
                <a:lnTo>
                  <a:pt x="175" y="7"/>
                </a:lnTo>
                <a:close/>
                <a:moveTo>
                  <a:pt x="145" y="7"/>
                </a:moveTo>
                <a:lnTo>
                  <a:pt x="160" y="7"/>
                </a:lnTo>
                <a:lnTo>
                  <a:pt x="160" y="0"/>
                </a:lnTo>
                <a:lnTo>
                  <a:pt x="145" y="0"/>
                </a:lnTo>
                <a:lnTo>
                  <a:pt x="145" y="7"/>
                </a:lnTo>
                <a:close/>
                <a:moveTo>
                  <a:pt x="116" y="7"/>
                </a:moveTo>
                <a:lnTo>
                  <a:pt x="131" y="7"/>
                </a:lnTo>
                <a:lnTo>
                  <a:pt x="131" y="0"/>
                </a:lnTo>
                <a:lnTo>
                  <a:pt x="116" y="0"/>
                </a:lnTo>
                <a:lnTo>
                  <a:pt x="116" y="7"/>
                </a:lnTo>
                <a:close/>
                <a:moveTo>
                  <a:pt x="87" y="7"/>
                </a:moveTo>
                <a:lnTo>
                  <a:pt x="101" y="7"/>
                </a:lnTo>
                <a:lnTo>
                  <a:pt x="101" y="0"/>
                </a:lnTo>
                <a:lnTo>
                  <a:pt x="87" y="0"/>
                </a:lnTo>
                <a:lnTo>
                  <a:pt x="87" y="7"/>
                </a:lnTo>
                <a:close/>
                <a:moveTo>
                  <a:pt x="57" y="7"/>
                </a:moveTo>
                <a:lnTo>
                  <a:pt x="72" y="7"/>
                </a:lnTo>
                <a:lnTo>
                  <a:pt x="72" y="0"/>
                </a:lnTo>
                <a:lnTo>
                  <a:pt x="57" y="0"/>
                </a:lnTo>
                <a:lnTo>
                  <a:pt x="57" y="7"/>
                </a:lnTo>
                <a:close/>
                <a:moveTo>
                  <a:pt x="30" y="7"/>
                </a:moveTo>
                <a:lnTo>
                  <a:pt x="43" y="7"/>
                </a:lnTo>
                <a:lnTo>
                  <a:pt x="43" y="0"/>
                </a:lnTo>
                <a:lnTo>
                  <a:pt x="30" y="0"/>
                </a:lnTo>
                <a:lnTo>
                  <a:pt x="30" y="7"/>
                </a:lnTo>
                <a:close/>
                <a:moveTo>
                  <a:pt x="0" y="7"/>
                </a:moveTo>
                <a:lnTo>
                  <a:pt x="15" y="7"/>
                </a:lnTo>
                <a:lnTo>
                  <a:pt x="15" y="0"/>
                </a:lnTo>
                <a:lnTo>
                  <a:pt x="0" y="0"/>
                </a:lnTo>
                <a:lnTo>
                  <a:pt x="0" y="7"/>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5" name="Rectangle 29">
            <a:extLst>
              <a:ext uri="{FF2B5EF4-FFF2-40B4-BE49-F238E27FC236}">
                <a16:creationId xmlns:a16="http://schemas.microsoft.com/office/drawing/2014/main" id="{F9DEF613-38B8-D438-796B-566E8052A578}"/>
              </a:ext>
            </a:extLst>
          </p:cNvPr>
          <p:cNvSpPr>
            <a:spLocks noChangeArrowheads="1"/>
          </p:cNvSpPr>
          <p:nvPr/>
        </p:nvSpPr>
        <p:spPr bwMode="auto">
          <a:xfrm>
            <a:off x="7345603" y="2391000"/>
            <a:ext cx="10514"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6" name="Freeform 30">
            <a:extLst>
              <a:ext uri="{FF2B5EF4-FFF2-40B4-BE49-F238E27FC236}">
                <a16:creationId xmlns:a16="http://schemas.microsoft.com/office/drawing/2014/main" id="{3B3CCE8D-41EA-8515-E431-A44013C9A224}"/>
              </a:ext>
            </a:extLst>
          </p:cNvPr>
          <p:cNvSpPr>
            <a:spLocks/>
          </p:cNvSpPr>
          <p:nvPr/>
        </p:nvSpPr>
        <p:spPr bwMode="auto">
          <a:xfrm>
            <a:off x="7345603" y="2391000"/>
            <a:ext cx="10514" cy="8762"/>
          </a:xfrm>
          <a:custGeom>
            <a:avLst/>
            <a:gdLst/>
            <a:ahLst/>
            <a:cxnLst>
              <a:cxn ang="0">
                <a:pos x="0" y="7"/>
              </a:cxn>
              <a:cxn ang="0">
                <a:pos x="7" y="7"/>
              </a:cxn>
              <a:cxn ang="0">
                <a:pos x="7" y="0"/>
              </a:cxn>
              <a:cxn ang="0">
                <a:pos x="0" y="0"/>
              </a:cxn>
            </a:cxnLst>
            <a:rect l="0" t="0" r="r" b="b"/>
            <a:pathLst>
              <a:path w="7" h="7">
                <a:moveTo>
                  <a:pt x="0" y="7"/>
                </a:moveTo>
                <a:lnTo>
                  <a:pt x="7" y="7"/>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7" name="Freeform 31">
            <a:extLst>
              <a:ext uri="{FF2B5EF4-FFF2-40B4-BE49-F238E27FC236}">
                <a16:creationId xmlns:a16="http://schemas.microsoft.com/office/drawing/2014/main" id="{89BEB0CB-A3DA-7424-742B-52D0F222CBD9}"/>
              </a:ext>
            </a:extLst>
          </p:cNvPr>
          <p:cNvSpPr>
            <a:spLocks/>
          </p:cNvSpPr>
          <p:nvPr/>
        </p:nvSpPr>
        <p:spPr bwMode="auto">
          <a:xfrm>
            <a:off x="7335089" y="2379734"/>
            <a:ext cx="37547" cy="31292"/>
          </a:xfrm>
          <a:custGeom>
            <a:avLst/>
            <a:gdLst/>
            <a:ahLst/>
            <a:cxnLst>
              <a:cxn ang="0">
                <a:pos x="12" y="25"/>
              </a:cxn>
              <a:cxn ang="0">
                <a:pos x="12" y="25"/>
              </a:cxn>
              <a:cxn ang="0">
                <a:pos x="18" y="25"/>
              </a:cxn>
              <a:cxn ang="0">
                <a:pos x="22" y="22"/>
              </a:cxn>
              <a:cxn ang="0">
                <a:pos x="25" y="18"/>
              </a:cxn>
              <a:cxn ang="0">
                <a:pos x="25" y="12"/>
              </a:cxn>
              <a:cxn ang="0">
                <a:pos x="25" y="12"/>
              </a:cxn>
              <a:cxn ang="0">
                <a:pos x="25" y="7"/>
              </a:cxn>
              <a:cxn ang="0">
                <a:pos x="22" y="3"/>
              </a:cxn>
              <a:cxn ang="0">
                <a:pos x="18" y="0"/>
              </a:cxn>
              <a:cxn ang="0">
                <a:pos x="12" y="0"/>
              </a:cxn>
              <a:cxn ang="0">
                <a:pos x="12" y="0"/>
              </a:cxn>
              <a:cxn ang="0">
                <a:pos x="7" y="0"/>
              </a:cxn>
              <a:cxn ang="0">
                <a:pos x="3" y="3"/>
              </a:cxn>
              <a:cxn ang="0">
                <a:pos x="1" y="7"/>
              </a:cxn>
              <a:cxn ang="0">
                <a:pos x="0" y="12"/>
              </a:cxn>
              <a:cxn ang="0">
                <a:pos x="0" y="12"/>
              </a:cxn>
              <a:cxn ang="0">
                <a:pos x="1" y="18"/>
              </a:cxn>
              <a:cxn ang="0">
                <a:pos x="3" y="22"/>
              </a:cxn>
              <a:cxn ang="0">
                <a:pos x="7" y="25"/>
              </a:cxn>
              <a:cxn ang="0">
                <a:pos x="12" y="25"/>
              </a:cxn>
              <a:cxn ang="0">
                <a:pos x="12" y="25"/>
              </a:cxn>
            </a:cxnLst>
            <a:rect l="0" t="0" r="r" b="b"/>
            <a:pathLst>
              <a:path w="25" h="25">
                <a:moveTo>
                  <a:pt x="12" y="25"/>
                </a:moveTo>
                <a:lnTo>
                  <a:pt x="12" y="25"/>
                </a:lnTo>
                <a:lnTo>
                  <a:pt x="18" y="25"/>
                </a:lnTo>
                <a:lnTo>
                  <a:pt x="22" y="22"/>
                </a:lnTo>
                <a:lnTo>
                  <a:pt x="25" y="18"/>
                </a:lnTo>
                <a:lnTo>
                  <a:pt x="25" y="12"/>
                </a:lnTo>
                <a:lnTo>
                  <a:pt x="25" y="12"/>
                </a:lnTo>
                <a:lnTo>
                  <a:pt x="25" y="7"/>
                </a:lnTo>
                <a:lnTo>
                  <a:pt x="22" y="3"/>
                </a:lnTo>
                <a:lnTo>
                  <a:pt x="18" y="0"/>
                </a:lnTo>
                <a:lnTo>
                  <a:pt x="12" y="0"/>
                </a:lnTo>
                <a:lnTo>
                  <a:pt x="12" y="0"/>
                </a:lnTo>
                <a:lnTo>
                  <a:pt x="7" y="0"/>
                </a:lnTo>
                <a:lnTo>
                  <a:pt x="3" y="3"/>
                </a:lnTo>
                <a:lnTo>
                  <a:pt x="1" y="7"/>
                </a:lnTo>
                <a:lnTo>
                  <a:pt x="0" y="12"/>
                </a:lnTo>
                <a:lnTo>
                  <a:pt x="0" y="12"/>
                </a:lnTo>
                <a:lnTo>
                  <a:pt x="1" y="18"/>
                </a:lnTo>
                <a:lnTo>
                  <a:pt x="3" y="22"/>
                </a:lnTo>
                <a:lnTo>
                  <a:pt x="7" y="25"/>
                </a:lnTo>
                <a:lnTo>
                  <a:pt x="12" y="25"/>
                </a:lnTo>
                <a:lnTo>
                  <a:pt x="12" y="2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8" name="Freeform 32">
            <a:extLst>
              <a:ext uri="{FF2B5EF4-FFF2-40B4-BE49-F238E27FC236}">
                <a16:creationId xmlns:a16="http://schemas.microsoft.com/office/drawing/2014/main" id="{45CDC4CA-3AC9-3F07-858F-B3F3D3EC4051}"/>
              </a:ext>
            </a:extLst>
          </p:cNvPr>
          <p:cNvSpPr>
            <a:spLocks noEditPoints="1"/>
          </p:cNvSpPr>
          <p:nvPr/>
        </p:nvSpPr>
        <p:spPr bwMode="auto">
          <a:xfrm>
            <a:off x="7332086" y="2377231"/>
            <a:ext cx="43554" cy="36299"/>
          </a:xfrm>
          <a:custGeom>
            <a:avLst/>
            <a:gdLst/>
            <a:ahLst/>
            <a:cxnLst>
              <a:cxn ang="0">
                <a:pos x="14" y="29"/>
              </a:cxn>
              <a:cxn ang="0">
                <a:pos x="14" y="29"/>
              </a:cxn>
              <a:cxn ang="0">
                <a:pos x="9" y="29"/>
              </a:cxn>
              <a:cxn ang="0">
                <a:pos x="3" y="25"/>
              </a:cxn>
              <a:cxn ang="0">
                <a:pos x="2" y="20"/>
              </a:cxn>
              <a:cxn ang="0">
                <a:pos x="0" y="14"/>
              </a:cxn>
              <a:cxn ang="0">
                <a:pos x="0" y="14"/>
              </a:cxn>
              <a:cxn ang="0">
                <a:pos x="2" y="9"/>
              </a:cxn>
              <a:cxn ang="0">
                <a:pos x="3" y="3"/>
              </a:cxn>
              <a:cxn ang="0">
                <a:pos x="9" y="2"/>
              </a:cxn>
              <a:cxn ang="0">
                <a:pos x="14" y="0"/>
              </a:cxn>
              <a:cxn ang="0">
                <a:pos x="14" y="0"/>
              </a:cxn>
              <a:cxn ang="0">
                <a:pos x="20" y="2"/>
              </a:cxn>
              <a:cxn ang="0">
                <a:pos x="25" y="3"/>
              </a:cxn>
              <a:cxn ang="0">
                <a:pos x="29" y="9"/>
              </a:cxn>
              <a:cxn ang="0">
                <a:pos x="29" y="14"/>
              </a:cxn>
              <a:cxn ang="0">
                <a:pos x="29" y="14"/>
              </a:cxn>
              <a:cxn ang="0">
                <a:pos x="29" y="20"/>
              </a:cxn>
              <a:cxn ang="0">
                <a:pos x="25" y="25"/>
              </a:cxn>
              <a:cxn ang="0">
                <a:pos x="20" y="29"/>
              </a:cxn>
              <a:cxn ang="0">
                <a:pos x="14" y="29"/>
              </a:cxn>
              <a:cxn ang="0">
                <a:pos x="14" y="29"/>
              </a:cxn>
              <a:cxn ang="0">
                <a:pos x="13" y="29"/>
              </a:cxn>
              <a:cxn ang="0">
                <a:pos x="14" y="29"/>
              </a:cxn>
              <a:cxn ang="0">
                <a:pos x="16" y="29"/>
              </a:cxn>
              <a:cxn ang="0">
                <a:pos x="14" y="29"/>
              </a:cxn>
              <a:cxn ang="0">
                <a:pos x="14" y="29"/>
              </a:cxn>
              <a:cxn ang="0">
                <a:pos x="14" y="3"/>
              </a:cxn>
              <a:cxn ang="0">
                <a:pos x="14" y="3"/>
              </a:cxn>
              <a:cxn ang="0">
                <a:pos x="11" y="3"/>
              </a:cxn>
              <a:cxn ang="0">
                <a:pos x="7" y="7"/>
              </a:cxn>
              <a:cxn ang="0">
                <a:pos x="3" y="11"/>
              </a:cxn>
              <a:cxn ang="0">
                <a:pos x="3" y="14"/>
              </a:cxn>
              <a:cxn ang="0">
                <a:pos x="3" y="14"/>
              </a:cxn>
              <a:cxn ang="0">
                <a:pos x="3" y="20"/>
              </a:cxn>
              <a:cxn ang="0">
                <a:pos x="7" y="24"/>
              </a:cxn>
              <a:cxn ang="0">
                <a:pos x="11" y="25"/>
              </a:cxn>
              <a:cxn ang="0">
                <a:pos x="14" y="25"/>
              </a:cxn>
              <a:cxn ang="0">
                <a:pos x="14" y="25"/>
              </a:cxn>
              <a:cxn ang="0">
                <a:pos x="20" y="25"/>
              </a:cxn>
              <a:cxn ang="0">
                <a:pos x="24" y="24"/>
              </a:cxn>
              <a:cxn ang="0">
                <a:pos x="25" y="20"/>
              </a:cxn>
              <a:cxn ang="0">
                <a:pos x="25" y="14"/>
              </a:cxn>
              <a:cxn ang="0">
                <a:pos x="25" y="14"/>
              </a:cxn>
              <a:cxn ang="0">
                <a:pos x="25" y="11"/>
              </a:cxn>
              <a:cxn ang="0">
                <a:pos x="24" y="7"/>
              </a:cxn>
              <a:cxn ang="0">
                <a:pos x="20" y="3"/>
              </a:cxn>
              <a:cxn ang="0">
                <a:pos x="14" y="3"/>
              </a:cxn>
              <a:cxn ang="0">
                <a:pos x="14" y="3"/>
              </a:cxn>
              <a:cxn ang="0">
                <a:pos x="14" y="3"/>
              </a:cxn>
              <a:cxn ang="0">
                <a:pos x="14" y="3"/>
              </a:cxn>
              <a:cxn ang="0">
                <a:pos x="14" y="3"/>
              </a:cxn>
            </a:cxnLst>
            <a:rect l="0" t="0" r="r" b="b"/>
            <a:pathLst>
              <a:path w="29" h="29">
                <a:moveTo>
                  <a:pt x="14" y="29"/>
                </a:moveTo>
                <a:lnTo>
                  <a:pt x="14" y="29"/>
                </a:lnTo>
                <a:lnTo>
                  <a:pt x="9" y="29"/>
                </a:lnTo>
                <a:lnTo>
                  <a:pt x="3" y="25"/>
                </a:lnTo>
                <a:lnTo>
                  <a:pt x="2" y="20"/>
                </a:lnTo>
                <a:lnTo>
                  <a:pt x="0" y="14"/>
                </a:lnTo>
                <a:lnTo>
                  <a:pt x="0" y="14"/>
                </a:lnTo>
                <a:lnTo>
                  <a:pt x="2" y="9"/>
                </a:lnTo>
                <a:lnTo>
                  <a:pt x="3" y="3"/>
                </a:lnTo>
                <a:lnTo>
                  <a:pt x="9" y="2"/>
                </a:lnTo>
                <a:lnTo>
                  <a:pt x="14" y="0"/>
                </a:lnTo>
                <a:lnTo>
                  <a:pt x="14" y="0"/>
                </a:lnTo>
                <a:lnTo>
                  <a:pt x="20" y="2"/>
                </a:lnTo>
                <a:lnTo>
                  <a:pt x="25" y="3"/>
                </a:lnTo>
                <a:lnTo>
                  <a:pt x="29" y="9"/>
                </a:lnTo>
                <a:lnTo>
                  <a:pt x="29" y="14"/>
                </a:lnTo>
                <a:lnTo>
                  <a:pt x="29" y="14"/>
                </a:lnTo>
                <a:lnTo>
                  <a:pt x="29" y="20"/>
                </a:lnTo>
                <a:lnTo>
                  <a:pt x="25" y="25"/>
                </a:lnTo>
                <a:lnTo>
                  <a:pt x="20" y="29"/>
                </a:lnTo>
                <a:lnTo>
                  <a:pt x="14" y="29"/>
                </a:lnTo>
                <a:lnTo>
                  <a:pt x="14" y="29"/>
                </a:lnTo>
                <a:lnTo>
                  <a:pt x="13" y="29"/>
                </a:lnTo>
                <a:lnTo>
                  <a:pt x="14" y="29"/>
                </a:lnTo>
                <a:lnTo>
                  <a:pt x="16" y="29"/>
                </a:lnTo>
                <a:lnTo>
                  <a:pt x="14" y="29"/>
                </a:lnTo>
                <a:lnTo>
                  <a:pt x="14" y="29"/>
                </a:lnTo>
                <a:close/>
                <a:moveTo>
                  <a:pt x="14" y="3"/>
                </a:moveTo>
                <a:lnTo>
                  <a:pt x="14" y="3"/>
                </a:lnTo>
                <a:lnTo>
                  <a:pt x="11" y="3"/>
                </a:lnTo>
                <a:lnTo>
                  <a:pt x="7" y="7"/>
                </a:lnTo>
                <a:lnTo>
                  <a:pt x="3" y="11"/>
                </a:lnTo>
                <a:lnTo>
                  <a:pt x="3" y="14"/>
                </a:lnTo>
                <a:lnTo>
                  <a:pt x="3" y="14"/>
                </a:lnTo>
                <a:lnTo>
                  <a:pt x="3" y="20"/>
                </a:lnTo>
                <a:lnTo>
                  <a:pt x="7" y="24"/>
                </a:lnTo>
                <a:lnTo>
                  <a:pt x="11" y="25"/>
                </a:lnTo>
                <a:lnTo>
                  <a:pt x="14" y="25"/>
                </a:lnTo>
                <a:lnTo>
                  <a:pt x="14" y="25"/>
                </a:lnTo>
                <a:lnTo>
                  <a:pt x="20" y="25"/>
                </a:lnTo>
                <a:lnTo>
                  <a:pt x="24" y="24"/>
                </a:lnTo>
                <a:lnTo>
                  <a:pt x="25" y="20"/>
                </a:lnTo>
                <a:lnTo>
                  <a:pt x="25" y="14"/>
                </a:lnTo>
                <a:lnTo>
                  <a:pt x="25" y="14"/>
                </a:lnTo>
                <a:lnTo>
                  <a:pt x="25" y="11"/>
                </a:lnTo>
                <a:lnTo>
                  <a:pt x="24" y="7"/>
                </a:lnTo>
                <a:lnTo>
                  <a:pt x="20" y="3"/>
                </a:lnTo>
                <a:lnTo>
                  <a:pt x="14" y="3"/>
                </a:lnTo>
                <a:lnTo>
                  <a:pt x="14" y="3"/>
                </a:lnTo>
                <a:lnTo>
                  <a:pt x="14" y="3"/>
                </a:lnTo>
                <a:lnTo>
                  <a:pt x="14" y="3"/>
                </a:lnTo>
                <a:lnTo>
                  <a:pt x="14" y="3"/>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69" name="Freeform 35">
            <a:extLst>
              <a:ext uri="{FF2B5EF4-FFF2-40B4-BE49-F238E27FC236}">
                <a16:creationId xmlns:a16="http://schemas.microsoft.com/office/drawing/2014/main" id="{99106957-F791-C614-88A5-E5AE5F7E2060}"/>
              </a:ext>
            </a:extLst>
          </p:cNvPr>
          <p:cNvSpPr>
            <a:spLocks noEditPoints="1"/>
          </p:cNvSpPr>
          <p:nvPr/>
        </p:nvSpPr>
        <p:spPr bwMode="auto">
          <a:xfrm>
            <a:off x="6777891" y="2812819"/>
            <a:ext cx="545183" cy="8762"/>
          </a:xfrm>
          <a:custGeom>
            <a:avLst/>
            <a:gdLst/>
            <a:ahLst/>
            <a:cxnLst>
              <a:cxn ang="0">
                <a:pos x="363" y="7"/>
              </a:cxn>
              <a:cxn ang="0">
                <a:pos x="349" y="0"/>
              </a:cxn>
              <a:cxn ang="0">
                <a:pos x="319" y="7"/>
              </a:cxn>
              <a:cxn ang="0">
                <a:pos x="334" y="0"/>
              </a:cxn>
              <a:cxn ang="0">
                <a:pos x="319" y="7"/>
              </a:cxn>
              <a:cxn ang="0">
                <a:pos x="305" y="7"/>
              </a:cxn>
              <a:cxn ang="0">
                <a:pos x="290" y="0"/>
              </a:cxn>
              <a:cxn ang="0">
                <a:pos x="261" y="7"/>
              </a:cxn>
              <a:cxn ang="0">
                <a:pos x="275" y="0"/>
              </a:cxn>
              <a:cxn ang="0">
                <a:pos x="261" y="7"/>
              </a:cxn>
              <a:cxn ang="0">
                <a:pos x="246" y="7"/>
              </a:cxn>
              <a:cxn ang="0">
                <a:pos x="231" y="0"/>
              </a:cxn>
              <a:cxn ang="0">
                <a:pos x="204" y="7"/>
              </a:cxn>
              <a:cxn ang="0">
                <a:pos x="217" y="0"/>
              </a:cxn>
              <a:cxn ang="0">
                <a:pos x="204" y="7"/>
              </a:cxn>
              <a:cxn ang="0">
                <a:pos x="189" y="7"/>
              </a:cxn>
              <a:cxn ang="0">
                <a:pos x="175" y="0"/>
              </a:cxn>
              <a:cxn ang="0">
                <a:pos x="145" y="7"/>
              </a:cxn>
              <a:cxn ang="0">
                <a:pos x="160" y="0"/>
              </a:cxn>
              <a:cxn ang="0">
                <a:pos x="145" y="7"/>
              </a:cxn>
              <a:cxn ang="0">
                <a:pos x="131" y="7"/>
              </a:cxn>
              <a:cxn ang="0">
                <a:pos x="116" y="0"/>
              </a:cxn>
              <a:cxn ang="0">
                <a:pos x="87" y="7"/>
              </a:cxn>
              <a:cxn ang="0">
                <a:pos x="101" y="0"/>
              </a:cxn>
              <a:cxn ang="0">
                <a:pos x="87" y="7"/>
              </a:cxn>
              <a:cxn ang="0">
                <a:pos x="72" y="7"/>
              </a:cxn>
              <a:cxn ang="0">
                <a:pos x="57" y="0"/>
              </a:cxn>
              <a:cxn ang="0">
                <a:pos x="30" y="7"/>
              </a:cxn>
              <a:cxn ang="0">
                <a:pos x="43" y="0"/>
              </a:cxn>
              <a:cxn ang="0">
                <a:pos x="30" y="7"/>
              </a:cxn>
              <a:cxn ang="0">
                <a:pos x="15" y="7"/>
              </a:cxn>
              <a:cxn ang="0">
                <a:pos x="0" y="0"/>
              </a:cxn>
            </a:cxnLst>
            <a:rect l="0" t="0" r="r" b="b"/>
            <a:pathLst>
              <a:path w="363" h="7">
                <a:moveTo>
                  <a:pt x="349" y="7"/>
                </a:moveTo>
                <a:lnTo>
                  <a:pt x="363" y="7"/>
                </a:lnTo>
                <a:lnTo>
                  <a:pt x="363" y="0"/>
                </a:lnTo>
                <a:lnTo>
                  <a:pt x="349" y="0"/>
                </a:lnTo>
                <a:lnTo>
                  <a:pt x="349" y="7"/>
                </a:lnTo>
                <a:close/>
                <a:moveTo>
                  <a:pt x="319" y="7"/>
                </a:moveTo>
                <a:lnTo>
                  <a:pt x="334" y="7"/>
                </a:lnTo>
                <a:lnTo>
                  <a:pt x="334" y="0"/>
                </a:lnTo>
                <a:lnTo>
                  <a:pt x="319" y="0"/>
                </a:lnTo>
                <a:lnTo>
                  <a:pt x="319" y="7"/>
                </a:lnTo>
                <a:close/>
                <a:moveTo>
                  <a:pt x="290" y="7"/>
                </a:moveTo>
                <a:lnTo>
                  <a:pt x="305" y="7"/>
                </a:lnTo>
                <a:lnTo>
                  <a:pt x="305" y="0"/>
                </a:lnTo>
                <a:lnTo>
                  <a:pt x="290" y="0"/>
                </a:lnTo>
                <a:lnTo>
                  <a:pt x="290" y="7"/>
                </a:lnTo>
                <a:close/>
                <a:moveTo>
                  <a:pt x="261" y="7"/>
                </a:moveTo>
                <a:lnTo>
                  <a:pt x="275" y="7"/>
                </a:lnTo>
                <a:lnTo>
                  <a:pt x="275" y="0"/>
                </a:lnTo>
                <a:lnTo>
                  <a:pt x="261" y="0"/>
                </a:lnTo>
                <a:lnTo>
                  <a:pt x="261" y="7"/>
                </a:lnTo>
                <a:close/>
                <a:moveTo>
                  <a:pt x="231" y="7"/>
                </a:moveTo>
                <a:lnTo>
                  <a:pt x="246" y="7"/>
                </a:lnTo>
                <a:lnTo>
                  <a:pt x="246" y="0"/>
                </a:lnTo>
                <a:lnTo>
                  <a:pt x="231" y="0"/>
                </a:lnTo>
                <a:lnTo>
                  <a:pt x="231" y="7"/>
                </a:lnTo>
                <a:close/>
                <a:moveTo>
                  <a:pt x="204" y="7"/>
                </a:moveTo>
                <a:lnTo>
                  <a:pt x="217" y="7"/>
                </a:lnTo>
                <a:lnTo>
                  <a:pt x="217" y="0"/>
                </a:lnTo>
                <a:lnTo>
                  <a:pt x="204" y="0"/>
                </a:lnTo>
                <a:lnTo>
                  <a:pt x="204" y="7"/>
                </a:lnTo>
                <a:close/>
                <a:moveTo>
                  <a:pt x="175" y="7"/>
                </a:moveTo>
                <a:lnTo>
                  <a:pt x="189" y="7"/>
                </a:lnTo>
                <a:lnTo>
                  <a:pt x="189" y="0"/>
                </a:lnTo>
                <a:lnTo>
                  <a:pt x="175" y="0"/>
                </a:lnTo>
                <a:lnTo>
                  <a:pt x="175" y="7"/>
                </a:lnTo>
                <a:close/>
                <a:moveTo>
                  <a:pt x="145" y="7"/>
                </a:moveTo>
                <a:lnTo>
                  <a:pt x="160" y="7"/>
                </a:lnTo>
                <a:lnTo>
                  <a:pt x="160" y="0"/>
                </a:lnTo>
                <a:lnTo>
                  <a:pt x="145" y="0"/>
                </a:lnTo>
                <a:lnTo>
                  <a:pt x="145" y="7"/>
                </a:lnTo>
                <a:close/>
                <a:moveTo>
                  <a:pt x="116" y="7"/>
                </a:moveTo>
                <a:lnTo>
                  <a:pt x="131" y="7"/>
                </a:lnTo>
                <a:lnTo>
                  <a:pt x="131" y="0"/>
                </a:lnTo>
                <a:lnTo>
                  <a:pt x="116" y="0"/>
                </a:lnTo>
                <a:lnTo>
                  <a:pt x="116" y="7"/>
                </a:lnTo>
                <a:close/>
                <a:moveTo>
                  <a:pt x="87" y="7"/>
                </a:moveTo>
                <a:lnTo>
                  <a:pt x="101" y="7"/>
                </a:lnTo>
                <a:lnTo>
                  <a:pt x="101" y="0"/>
                </a:lnTo>
                <a:lnTo>
                  <a:pt x="87" y="0"/>
                </a:lnTo>
                <a:lnTo>
                  <a:pt x="87" y="7"/>
                </a:lnTo>
                <a:close/>
                <a:moveTo>
                  <a:pt x="57" y="7"/>
                </a:moveTo>
                <a:lnTo>
                  <a:pt x="72" y="7"/>
                </a:lnTo>
                <a:lnTo>
                  <a:pt x="72" y="0"/>
                </a:lnTo>
                <a:lnTo>
                  <a:pt x="57" y="0"/>
                </a:lnTo>
                <a:lnTo>
                  <a:pt x="57" y="7"/>
                </a:lnTo>
                <a:close/>
                <a:moveTo>
                  <a:pt x="30" y="7"/>
                </a:moveTo>
                <a:lnTo>
                  <a:pt x="43" y="7"/>
                </a:lnTo>
                <a:lnTo>
                  <a:pt x="43" y="0"/>
                </a:lnTo>
                <a:lnTo>
                  <a:pt x="30" y="0"/>
                </a:lnTo>
                <a:lnTo>
                  <a:pt x="30" y="7"/>
                </a:lnTo>
                <a:close/>
                <a:moveTo>
                  <a:pt x="0" y="7"/>
                </a:moveTo>
                <a:lnTo>
                  <a:pt x="15" y="7"/>
                </a:lnTo>
                <a:lnTo>
                  <a:pt x="15" y="0"/>
                </a:lnTo>
                <a:lnTo>
                  <a:pt x="0" y="0"/>
                </a:lnTo>
                <a:lnTo>
                  <a:pt x="0" y="7"/>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0" name="Rectangle 36">
            <a:extLst>
              <a:ext uri="{FF2B5EF4-FFF2-40B4-BE49-F238E27FC236}">
                <a16:creationId xmlns:a16="http://schemas.microsoft.com/office/drawing/2014/main" id="{0D016095-E147-26D5-8EAE-DF0B5446F231}"/>
              </a:ext>
            </a:extLst>
          </p:cNvPr>
          <p:cNvSpPr>
            <a:spLocks noChangeArrowheads="1"/>
          </p:cNvSpPr>
          <p:nvPr/>
        </p:nvSpPr>
        <p:spPr bwMode="auto">
          <a:xfrm>
            <a:off x="7345603" y="2812819"/>
            <a:ext cx="10514"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1" name="Freeform 37">
            <a:extLst>
              <a:ext uri="{FF2B5EF4-FFF2-40B4-BE49-F238E27FC236}">
                <a16:creationId xmlns:a16="http://schemas.microsoft.com/office/drawing/2014/main" id="{2F8CA7BD-B5B3-1ACC-9869-BEE89F32C641}"/>
              </a:ext>
            </a:extLst>
          </p:cNvPr>
          <p:cNvSpPr>
            <a:spLocks/>
          </p:cNvSpPr>
          <p:nvPr/>
        </p:nvSpPr>
        <p:spPr bwMode="auto">
          <a:xfrm>
            <a:off x="7345603" y="2812819"/>
            <a:ext cx="10514" cy="8762"/>
          </a:xfrm>
          <a:custGeom>
            <a:avLst/>
            <a:gdLst/>
            <a:ahLst/>
            <a:cxnLst>
              <a:cxn ang="0">
                <a:pos x="0" y="7"/>
              </a:cxn>
              <a:cxn ang="0">
                <a:pos x="7" y="7"/>
              </a:cxn>
              <a:cxn ang="0">
                <a:pos x="7" y="0"/>
              </a:cxn>
              <a:cxn ang="0">
                <a:pos x="0" y="0"/>
              </a:cxn>
            </a:cxnLst>
            <a:rect l="0" t="0" r="r" b="b"/>
            <a:pathLst>
              <a:path w="7" h="7">
                <a:moveTo>
                  <a:pt x="0" y="7"/>
                </a:moveTo>
                <a:lnTo>
                  <a:pt x="7" y="7"/>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2" name="Freeform 38">
            <a:extLst>
              <a:ext uri="{FF2B5EF4-FFF2-40B4-BE49-F238E27FC236}">
                <a16:creationId xmlns:a16="http://schemas.microsoft.com/office/drawing/2014/main" id="{58A4E8C2-237A-D5F8-9EAF-E15C5FFEF7C5}"/>
              </a:ext>
            </a:extLst>
          </p:cNvPr>
          <p:cNvSpPr>
            <a:spLocks/>
          </p:cNvSpPr>
          <p:nvPr/>
        </p:nvSpPr>
        <p:spPr bwMode="auto">
          <a:xfrm>
            <a:off x="7335089" y="2801554"/>
            <a:ext cx="37547" cy="31292"/>
          </a:xfrm>
          <a:custGeom>
            <a:avLst/>
            <a:gdLst/>
            <a:ahLst/>
            <a:cxnLst>
              <a:cxn ang="0">
                <a:pos x="12" y="25"/>
              </a:cxn>
              <a:cxn ang="0">
                <a:pos x="12" y="25"/>
              </a:cxn>
              <a:cxn ang="0">
                <a:pos x="18" y="25"/>
              </a:cxn>
              <a:cxn ang="0">
                <a:pos x="22" y="22"/>
              </a:cxn>
              <a:cxn ang="0">
                <a:pos x="25" y="18"/>
              </a:cxn>
              <a:cxn ang="0">
                <a:pos x="25" y="13"/>
              </a:cxn>
              <a:cxn ang="0">
                <a:pos x="25" y="13"/>
              </a:cxn>
              <a:cxn ang="0">
                <a:pos x="25" y="7"/>
              </a:cxn>
              <a:cxn ang="0">
                <a:pos x="22" y="3"/>
              </a:cxn>
              <a:cxn ang="0">
                <a:pos x="18" y="2"/>
              </a:cxn>
              <a:cxn ang="0">
                <a:pos x="12" y="0"/>
              </a:cxn>
              <a:cxn ang="0">
                <a:pos x="12" y="0"/>
              </a:cxn>
              <a:cxn ang="0">
                <a:pos x="7" y="2"/>
              </a:cxn>
              <a:cxn ang="0">
                <a:pos x="3" y="3"/>
              </a:cxn>
              <a:cxn ang="0">
                <a:pos x="1" y="7"/>
              </a:cxn>
              <a:cxn ang="0">
                <a:pos x="0" y="13"/>
              </a:cxn>
              <a:cxn ang="0">
                <a:pos x="0" y="13"/>
              </a:cxn>
              <a:cxn ang="0">
                <a:pos x="1" y="18"/>
              </a:cxn>
              <a:cxn ang="0">
                <a:pos x="3" y="22"/>
              </a:cxn>
              <a:cxn ang="0">
                <a:pos x="7" y="25"/>
              </a:cxn>
              <a:cxn ang="0">
                <a:pos x="12" y="25"/>
              </a:cxn>
              <a:cxn ang="0">
                <a:pos x="12" y="25"/>
              </a:cxn>
            </a:cxnLst>
            <a:rect l="0" t="0" r="r" b="b"/>
            <a:pathLst>
              <a:path w="25" h="25">
                <a:moveTo>
                  <a:pt x="12" y="25"/>
                </a:moveTo>
                <a:lnTo>
                  <a:pt x="12" y="25"/>
                </a:lnTo>
                <a:lnTo>
                  <a:pt x="18" y="25"/>
                </a:lnTo>
                <a:lnTo>
                  <a:pt x="22" y="22"/>
                </a:lnTo>
                <a:lnTo>
                  <a:pt x="25" y="18"/>
                </a:lnTo>
                <a:lnTo>
                  <a:pt x="25" y="13"/>
                </a:lnTo>
                <a:lnTo>
                  <a:pt x="25" y="13"/>
                </a:lnTo>
                <a:lnTo>
                  <a:pt x="25" y="7"/>
                </a:lnTo>
                <a:lnTo>
                  <a:pt x="22" y="3"/>
                </a:lnTo>
                <a:lnTo>
                  <a:pt x="18" y="2"/>
                </a:lnTo>
                <a:lnTo>
                  <a:pt x="12" y="0"/>
                </a:lnTo>
                <a:lnTo>
                  <a:pt x="12" y="0"/>
                </a:lnTo>
                <a:lnTo>
                  <a:pt x="7" y="2"/>
                </a:lnTo>
                <a:lnTo>
                  <a:pt x="3" y="3"/>
                </a:lnTo>
                <a:lnTo>
                  <a:pt x="1" y="7"/>
                </a:lnTo>
                <a:lnTo>
                  <a:pt x="0" y="13"/>
                </a:lnTo>
                <a:lnTo>
                  <a:pt x="0" y="13"/>
                </a:lnTo>
                <a:lnTo>
                  <a:pt x="1" y="18"/>
                </a:lnTo>
                <a:lnTo>
                  <a:pt x="3" y="22"/>
                </a:lnTo>
                <a:lnTo>
                  <a:pt x="7" y="25"/>
                </a:lnTo>
                <a:lnTo>
                  <a:pt x="12" y="25"/>
                </a:lnTo>
                <a:lnTo>
                  <a:pt x="12" y="2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3" name="Freeform 39">
            <a:extLst>
              <a:ext uri="{FF2B5EF4-FFF2-40B4-BE49-F238E27FC236}">
                <a16:creationId xmlns:a16="http://schemas.microsoft.com/office/drawing/2014/main" id="{0D4658D5-5E7D-559A-1F67-C5A7E4A3BBA8}"/>
              </a:ext>
            </a:extLst>
          </p:cNvPr>
          <p:cNvSpPr>
            <a:spLocks noEditPoints="1"/>
          </p:cNvSpPr>
          <p:nvPr/>
        </p:nvSpPr>
        <p:spPr bwMode="auto">
          <a:xfrm>
            <a:off x="7332086" y="2799051"/>
            <a:ext cx="43554" cy="36299"/>
          </a:xfrm>
          <a:custGeom>
            <a:avLst/>
            <a:gdLst/>
            <a:ahLst/>
            <a:cxnLst>
              <a:cxn ang="0">
                <a:pos x="14" y="29"/>
              </a:cxn>
              <a:cxn ang="0">
                <a:pos x="14" y="29"/>
              </a:cxn>
              <a:cxn ang="0">
                <a:pos x="9" y="29"/>
              </a:cxn>
              <a:cxn ang="0">
                <a:pos x="3" y="26"/>
              </a:cxn>
              <a:cxn ang="0">
                <a:pos x="2" y="20"/>
              </a:cxn>
              <a:cxn ang="0">
                <a:pos x="0" y="15"/>
              </a:cxn>
              <a:cxn ang="0">
                <a:pos x="0" y="15"/>
              </a:cxn>
              <a:cxn ang="0">
                <a:pos x="2" y="9"/>
              </a:cxn>
              <a:cxn ang="0">
                <a:pos x="3" y="4"/>
              </a:cxn>
              <a:cxn ang="0">
                <a:pos x="9" y="2"/>
              </a:cxn>
              <a:cxn ang="0">
                <a:pos x="14" y="0"/>
              </a:cxn>
              <a:cxn ang="0">
                <a:pos x="14" y="0"/>
              </a:cxn>
              <a:cxn ang="0">
                <a:pos x="20" y="2"/>
              </a:cxn>
              <a:cxn ang="0">
                <a:pos x="25" y="4"/>
              </a:cxn>
              <a:cxn ang="0">
                <a:pos x="29" y="9"/>
              </a:cxn>
              <a:cxn ang="0">
                <a:pos x="29" y="15"/>
              </a:cxn>
              <a:cxn ang="0">
                <a:pos x="29" y="15"/>
              </a:cxn>
              <a:cxn ang="0">
                <a:pos x="29" y="20"/>
              </a:cxn>
              <a:cxn ang="0">
                <a:pos x="25" y="26"/>
              </a:cxn>
              <a:cxn ang="0">
                <a:pos x="20" y="29"/>
              </a:cxn>
              <a:cxn ang="0">
                <a:pos x="14" y="29"/>
              </a:cxn>
              <a:cxn ang="0">
                <a:pos x="14" y="29"/>
              </a:cxn>
              <a:cxn ang="0">
                <a:pos x="13" y="29"/>
              </a:cxn>
              <a:cxn ang="0">
                <a:pos x="14" y="29"/>
              </a:cxn>
              <a:cxn ang="0">
                <a:pos x="16" y="29"/>
              </a:cxn>
              <a:cxn ang="0">
                <a:pos x="14" y="29"/>
              </a:cxn>
              <a:cxn ang="0">
                <a:pos x="14" y="29"/>
              </a:cxn>
              <a:cxn ang="0">
                <a:pos x="14" y="4"/>
              </a:cxn>
              <a:cxn ang="0">
                <a:pos x="14" y="4"/>
              </a:cxn>
              <a:cxn ang="0">
                <a:pos x="11" y="4"/>
              </a:cxn>
              <a:cxn ang="0">
                <a:pos x="7" y="7"/>
              </a:cxn>
              <a:cxn ang="0">
                <a:pos x="3" y="11"/>
              </a:cxn>
              <a:cxn ang="0">
                <a:pos x="3" y="15"/>
              </a:cxn>
              <a:cxn ang="0">
                <a:pos x="3" y="15"/>
              </a:cxn>
              <a:cxn ang="0">
                <a:pos x="3" y="20"/>
              </a:cxn>
              <a:cxn ang="0">
                <a:pos x="7" y="24"/>
              </a:cxn>
              <a:cxn ang="0">
                <a:pos x="11" y="26"/>
              </a:cxn>
              <a:cxn ang="0">
                <a:pos x="14" y="27"/>
              </a:cxn>
              <a:cxn ang="0">
                <a:pos x="14" y="27"/>
              </a:cxn>
              <a:cxn ang="0">
                <a:pos x="20" y="26"/>
              </a:cxn>
              <a:cxn ang="0">
                <a:pos x="24" y="24"/>
              </a:cxn>
              <a:cxn ang="0">
                <a:pos x="25" y="20"/>
              </a:cxn>
              <a:cxn ang="0">
                <a:pos x="25" y="15"/>
              </a:cxn>
              <a:cxn ang="0">
                <a:pos x="25" y="15"/>
              </a:cxn>
              <a:cxn ang="0">
                <a:pos x="25" y="11"/>
              </a:cxn>
              <a:cxn ang="0">
                <a:pos x="24" y="7"/>
              </a:cxn>
              <a:cxn ang="0">
                <a:pos x="20" y="4"/>
              </a:cxn>
              <a:cxn ang="0">
                <a:pos x="14" y="4"/>
              </a:cxn>
              <a:cxn ang="0">
                <a:pos x="14" y="4"/>
              </a:cxn>
              <a:cxn ang="0">
                <a:pos x="14" y="4"/>
              </a:cxn>
              <a:cxn ang="0">
                <a:pos x="14" y="4"/>
              </a:cxn>
              <a:cxn ang="0">
                <a:pos x="14" y="4"/>
              </a:cxn>
            </a:cxnLst>
            <a:rect l="0" t="0" r="r" b="b"/>
            <a:pathLst>
              <a:path w="29" h="29">
                <a:moveTo>
                  <a:pt x="14" y="29"/>
                </a:moveTo>
                <a:lnTo>
                  <a:pt x="14" y="29"/>
                </a:lnTo>
                <a:lnTo>
                  <a:pt x="9" y="29"/>
                </a:lnTo>
                <a:lnTo>
                  <a:pt x="3" y="26"/>
                </a:lnTo>
                <a:lnTo>
                  <a:pt x="2" y="20"/>
                </a:lnTo>
                <a:lnTo>
                  <a:pt x="0" y="15"/>
                </a:lnTo>
                <a:lnTo>
                  <a:pt x="0" y="15"/>
                </a:lnTo>
                <a:lnTo>
                  <a:pt x="2" y="9"/>
                </a:lnTo>
                <a:lnTo>
                  <a:pt x="3" y="4"/>
                </a:lnTo>
                <a:lnTo>
                  <a:pt x="9" y="2"/>
                </a:lnTo>
                <a:lnTo>
                  <a:pt x="14" y="0"/>
                </a:lnTo>
                <a:lnTo>
                  <a:pt x="14" y="0"/>
                </a:lnTo>
                <a:lnTo>
                  <a:pt x="20" y="2"/>
                </a:lnTo>
                <a:lnTo>
                  <a:pt x="25" y="4"/>
                </a:lnTo>
                <a:lnTo>
                  <a:pt x="29" y="9"/>
                </a:lnTo>
                <a:lnTo>
                  <a:pt x="29" y="15"/>
                </a:lnTo>
                <a:lnTo>
                  <a:pt x="29" y="15"/>
                </a:lnTo>
                <a:lnTo>
                  <a:pt x="29" y="20"/>
                </a:lnTo>
                <a:lnTo>
                  <a:pt x="25" y="26"/>
                </a:lnTo>
                <a:lnTo>
                  <a:pt x="20" y="29"/>
                </a:lnTo>
                <a:lnTo>
                  <a:pt x="14" y="29"/>
                </a:lnTo>
                <a:lnTo>
                  <a:pt x="14" y="29"/>
                </a:lnTo>
                <a:lnTo>
                  <a:pt x="13" y="29"/>
                </a:lnTo>
                <a:lnTo>
                  <a:pt x="14" y="29"/>
                </a:lnTo>
                <a:lnTo>
                  <a:pt x="16" y="29"/>
                </a:lnTo>
                <a:lnTo>
                  <a:pt x="14" y="29"/>
                </a:lnTo>
                <a:lnTo>
                  <a:pt x="14" y="29"/>
                </a:lnTo>
                <a:close/>
                <a:moveTo>
                  <a:pt x="14" y="4"/>
                </a:moveTo>
                <a:lnTo>
                  <a:pt x="14" y="4"/>
                </a:lnTo>
                <a:lnTo>
                  <a:pt x="11" y="4"/>
                </a:lnTo>
                <a:lnTo>
                  <a:pt x="7" y="7"/>
                </a:lnTo>
                <a:lnTo>
                  <a:pt x="3" y="11"/>
                </a:lnTo>
                <a:lnTo>
                  <a:pt x="3" y="15"/>
                </a:lnTo>
                <a:lnTo>
                  <a:pt x="3" y="15"/>
                </a:lnTo>
                <a:lnTo>
                  <a:pt x="3" y="20"/>
                </a:lnTo>
                <a:lnTo>
                  <a:pt x="7" y="24"/>
                </a:lnTo>
                <a:lnTo>
                  <a:pt x="11" y="26"/>
                </a:lnTo>
                <a:lnTo>
                  <a:pt x="14" y="27"/>
                </a:lnTo>
                <a:lnTo>
                  <a:pt x="14" y="27"/>
                </a:lnTo>
                <a:lnTo>
                  <a:pt x="20" y="26"/>
                </a:lnTo>
                <a:lnTo>
                  <a:pt x="24" y="24"/>
                </a:lnTo>
                <a:lnTo>
                  <a:pt x="25" y="20"/>
                </a:lnTo>
                <a:lnTo>
                  <a:pt x="25" y="15"/>
                </a:lnTo>
                <a:lnTo>
                  <a:pt x="25" y="15"/>
                </a:lnTo>
                <a:lnTo>
                  <a:pt x="25" y="11"/>
                </a:lnTo>
                <a:lnTo>
                  <a:pt x="24" y="7"/>
                </a:lnTo>
                <a:lnTo>
                  <a:pt x="20" y="4"/>
                </a:lnTo>
                <a:lnTo>
                  <a:pt x="14" y="4"/>
                </a:lnTo>
                <a:lnTo>
                  <a:pt x="14" y="4"/>
                </a:lnTo>
                <a:lnTo>
                  <a:pt x="14" y="4"/>
                </a:lnTo>
                <a:lnTo>
                  <a:pt x="14" y="4"/>
                </a:lnTo>
                <a:lnTo>
                  <a:pt x="14" y="4"/>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4" name="Freeform 42">
            <a:extLst>
              <a:ext uri="{FF2B5EF4-FFF2-40B4-BE49-F238E27FC236}">
                <a16:creationId xmlns:a16="http://schemas.microsoft.com/office/drawing/2014/main" id="{B237711C-DE32-F9B0-1AF9-F87B9FACB05C}"/>
              </a:ext>
            </a:extLst>
          </p:cNvPr>
          <p:cNvSpPr>
            <a:spLocks noEditPoints="1"/>
          </p:cNvSpPr>
          <p:nvPr/>
        </p:nvSpPr>
        <p:spPr bwMode="auto">
          <a:xfrm>
            <a:off x="6777891" y="3234639"/>
            <a:ext cx="545183" cy="8762"/>
          </a:xfrm>
          <a:custGeom>
            <a:avLst/>
            <a:gdLst/>
            <a:ahLst/>
            <a:cxnLst>
              <a:cxn ang="0">
                <a:pos x="363" y="7"/>
              </a:cxn>
              <a:cxn ang="0">
                <a:pos x="349" y="0"/>
              </a:cxn>
              <a:cxn ang="0">
                <a:pos x="319" y="7"/>
              </a:cxn>
              <a:cxn ang="0">
                <a:pos x="334" y="0"/>
              </a:cxn>
              <a:cxn ang="0">
                <a:pos x="319" y="7"/>
              </a:cxn>
              <a:cxn ang="0">
                <a:pos x="305" y="7"/>
              </a:cxn>
              <a:cxn ang="0">
                <a:pos x="290" y="0"/>
              </a:cxn>
              <a:cxn ang="0">
                <a:pos x="261" y="7"/>
              </a:cxn>
              <a:cxn ang="0">
                <a:pos x="275" y="0"/>
              </a:cxn>
              <a:cxn ang="0">
                <a:pos x="261" y="7"/>
              </a:cxn>
              <a:cxn ang="0">
                <a:pos x="246" y="7"/>
              </a:cxn>
              <a:cxn ang="0">
                <a:pos x="231" y="0"/>
              </a:cxn>
              <a:cxn ang="0">
                <a:pos x="204" y="7"/>
              </a:cxn>
              <a:cxn ang="0">
                <a:pos x="217" y="0"/>
              </a:cxn>
              <a:cxn ang="0">
                <a:pos x="204" y="7"/>
              </a:cxn>
              <a:cxn ang="0">
                <a:pos x="189" y="7"/>
              </a:cxn>
              <a:cxn ang="0">
                <a:pos x="175" y="0"/>
              </a:cxn>
              <a:cxn ang="0">
                <a:pos x="145" y="7"/>
              </a:cxn>
              <a:cxn ang="0">
                <a:pos x="160" y="0"/>
              </a:cxn>
              <a:cxn ang="0">
                <a:pos x="145" y="7"/>
              </a:cxn>
              <a:cxn ang="0">
                <a:pos x="131" y="7"/>
              </a:cxn>
              <a:cxn ang="0">
                <a:pos x="116" y="0"/>
              </a:cxn>
              <a:cxn ang="0">
                <a:pos x="87" y="7"/>
              </a:cxn>
              <a:cxn ang="0">
                <a:pos x="101" y="0"/>
              </a:cxn>
              <a:cxn ang="0">
                <a:pos x="87" y="7"/>
              </a:cxn>
              <a:cxn ang="0">
                <a:pos x="72" y="7"/>
              </a:cxn>
              <a:cxn ang="0">
                <a:pos x="57" y="0"/>
              </a:cxn>
              <a:cxn ang="0">
                <a:pos x="30" y="7"/>
              </a:cxn>
              <a:cxn ang="0">
                <a:pos x="43" y="0"/>
              </a:cxn>
              <a:cxn ang="0">
                <a:pos x="30" y="7"/>
              </a:cxn>
              <a:cxn ang="0">
                <a:pos x="15" y="7"/>
              </a:cxn>
              <a:cxn ang="0">
                <a:pos x="0" y="0"/>
              </a:cxn>
            </a:cxnLst>
            <a:rect l="0" t="0" r="r" b="b"/>
            <a:pathLst>
              <a:path w="363" h="7">
                <a:moveTo>
                  <a:pt x="349" y="7"/>
                </a:moveTo>
                <a:lnTo>
                  <a:pt x="363" y="7"/>
                </a:lnTo>
                <a:lnTo>
                  <a:pt x="363" y="0"/>
                </a:lnTo>
                <a:lnTo>
                  <a:pt x="349" y="0"/>
                </a:lnTo>
                <a:lnTo>
                  <a:pt x="349" y="7"/>
                </a:lnTo>
                <a:close/>
                <a:moveTo>
                  <a:pt x="319" y="7"/>
                </a:moveTo>
                <a:lnTo>
                  <a:pt x="334" y="7"/>
                </a:lnTo>
                <a:lnTo>
                  <a:pt x="334" y="0"/>
                </a:lnTo>
                <a:lnTo>
                  <a:pt x="319" y="0"/>
                </a:lnTo>
                <a:lnTo>
                  <a:pt x="319" y="7"/>
                </a:lnTo>
                <a:close/>
                <a:moveTo>
                  <a:pt x="290" y="7"/>
                </a:moveTo>
                <a:lnTo>
                  <a:pt x="305" y="7"/>
                </a:lnTo>
                <a:lnTo>
                  <a:pt x="305" y="0"/>
                </a:lnTo>
                <a:lnTo>
                  <a:pt x="290" y="0"/>
                </a:lnTo>
                <a:lnTo>
                  <a:pt x="290" y="7"/>
                </a:lnTo>
                <a:close/>
                <a:moveTo>
                  <a:pt x="261" y="7"/>
                </a:moveTo>
                <a:lnTo>
                  <a:pt x="275" y="7"/>
                </a:lnTo>
                <a:lnTo>
                  <a:pt x="275" y="0"/>
                </a:lnTo>
                <a:lnTo>
                  <a:pt x="261" y="0"/>
                </a:lnTo>
                <a:lnTo>
                  <a:pt x="261" y="7"/>
                </a:lnTo>
                <a:close/>
                <a:moveTo>
                  <a:pt x="231" y="7"/>
                </a:moveTo>
                <a:lnTo>
                  <a:pt x="246" y="7"/>
                </a:lnTo>
                <a:lnTo>
                  <a:pt x="246" y="0"/>
                </a:lnTo>
                <a:lnTo>
                  <a:pt x="231" y="0"/>
                </a:lnTo>
                <a:lnTo>
                  <a:pt x="231" y="7"/>
                </a:lnTo>
                <a:close/>
                <a:moveTo>
                  <a:pt x="204" y="7"/>
                </a:moveTo>
                <a:lnTo>
                  <a:pt x="217" y="7"/>
                </a:lnTo>
                <a:lnTo>
                  <a:pt x="217" y="0"/>
                </a:lnTo>
                <a:lnTo>
                  <a:pt x="204" y="0"/>
                </a:lnTo>
                <a:lnTo>
                  <a:pt x="204" y="7"/>
                </a:lnTo>
                <a:close/>
                <a:moveTo>
                  <a:pt x="175" y="7"/>
                </a:moveTo>
                <a:lnTo>
                  <a:pt x="189" y="7"/>
                </a:lnTo>
                <a:lnTo>
                  <a:pt x="189" y="0"/>
                </a:lnTo>
                <a:lnTo>
                  <a:pt x="175" y="0"/>
                </a:lnTo>
                <a:lnTo>
                  <a:pt x="175" y="7"/>
                </a:lnTo>
                <a:close/>
                <a:moveTo>
                  <a:pt x="145" y="7"/>
                </a:moveTo>
                <a:lnTo>
                  <a:pt x="160" y="7"/>
                </a:lnTo>
                <a:lnTo>
                  <a:pt x="160" y="0"/>
                </a:lnTo>
                <a:lnTo>
                  <a:pt x="145" y="0"/>
                </a:lnTo>
                <a:lnTo>
                  <a:pt x="145" y="7"/>
                </a:lnTo>
                <a:close/>
                <a:moveTo>
                  <a:pt x="116" y="7"/>
                </a:moveTo>
                <a:lnTo>
                  <a:pt x="131" y="7"/>
                </a:lnTo>
                <a:lnTo>
                  <a:pt x="131" y="0"/>
                </a:lnTo>
                <a:lnTo>
                  <a:pt x="116" y="0"/>
                </a:lnTo>
                <a:lnTo>
                  <a:pt x="116" y="7"/>
                </a:lnTo>
                <a:close/>
                <a:moveTo>
                  <a:pt x="87" y="7"/>
                </a:moveTo>
                <a:lnTo>
                  <a:pt x="101" y="7"/>
                </a:lnTo>
                <a:lnTo>
                  <a:pt x="101" y="0"/>
                </a:lnTo>
                <a:lnTo>
                  <a:pt x="87" y="0"/>
                </a:lnTo>
                <a:lnTo>
                  <a:pt x="87" y="7"/>
                </a:lnTo>
                <a:close/>
                <a:moveTo>
                  <a:pt x="57" y="7"/>
                </a:moveTo>
                <a:lnTo>
                  <a:pt x="72" y="7"/>
                </a:lnTo>
                <a:lnTo>
                  <a:pt x="72" y="0"/>
                </a:lnTo>
                <a:lnTo>
                  <a:pt x="57" y="0"/>
                </a:lnTo>
                <a:lnTo>
                  <a:pt x="57" y="7"/>
                </a:lnTo>
                <a:close/>
                <a:moveTo>
                  <a:pt x="30" y="7"/>
                </a:moveTo>
                <a:lnTo>
                  <a:pt x="43" y="7"/>
                </a:lnTo>
                <a:lnTo>
                  <a:pt x="43" y="0"/>
                </a:lnTo>
                <a:lnTo>
                  <a:pt x="30" y="0"/>
                </a:lnTo>
                <a:lnTo>
                  <a:pt x="30" y="7"/>
                </a:lnTo>
                <a:close/>
                <a:moveTo>
                  <a:pt x="0" y="7"/>
                </a:moveTo>
                <a:lnTo>
                  <a:pt x="15" y="7"/>
                </a:lnTo>
                <a:lnTo>
                  <a:pt x="15" y="0"/>
                </a:lnTo>
                <a:lnTo>
                  <a:pt x="0" y="0"/>
                </a:lnTo>
                <a:lnTo>
                  <a:pt x="0" y="7"/>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5" name="Rectangle 43">
            <a:extLst>
              <a:ext uri="{FF2B5EF4-FFF2-40B4-BE49-F238E27FC236}">
                <a16:creationId xmlns:a16="http://schemas.microsoft.com/office/drawing/2014/main" id="{B7DAC972-36E7-CEE2-D58D-E35D3892104D}"/>
              </a:ext>
            </a:extLst>
          </p:cNvPr>
          <p:cNvSpPr>
            <a:spLocks noChangeArrowheads="1"/>
          </p:cNvSpPr>
          <p:nvPr/>
        </p:nvSpPr>
        <p:spPr bwMode="auto">
          <a:xfrm>
            <a:off x="7345603" y="3234639"/>
            <a:ext cx="10514"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6" name="Freeform 44">
            <a:extLst>
              <a:ext uri="{FF2B5EF4-FFF2-40B4-BE49-F238E27FC236}">
                <a16:creationId xmlns:a16="http://schemas.microsoft.com/office/drawing/2014/main" id="{62118162-6EA2-F295-B337-8168565D20CD}"/>
              </a:ext>
            </a:extLst>
          </p:cNvPr>
          <p:cNvSpPr>
            <a:spLocks/>
          </p:cNvSpPr>
          <p:nvPr/>
        </p:nvSpPr>
        <p:spPr bwMode="auto">
          <a:xfrm>
            <a:off x="7345603" y="3234639"/>
            <a:ext cx="10514" cy="8762"/>
          </a:xfrm>
          <a:custGeom>
            <a:avLst/>
            <a:gdLst/>
            <a:ahLst/>
            <a:cxnLst>
              <a:cxn ang="0">
                <a:pos x="0" y="7"/>
              </a:cxn>
              <a:cxn ang="0">
                <a:pos x="7" y="7"/>
              </a:cxn>
              <a:cxn ang="0">
                <a:pos x="7" y="0"/>
              </a:cxn>
              <a:cxn ang="0">
                <a:pos x="0" y="0"/>
              </a:cxn>
            </a:cxnLst>
            <a:rect l="0" t="0" r="r" b="b"/>
            <a:pathLst>
              <a:path w="7" h="7">
                <a:moveTo>
                  <a:pt x="0" y="7"/>
                </a:moveTo>
                <a:lnTo>
                  <a:pt x="7" y="7"/>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7" name="Freeform 45">
            <a:extLst>
              <a:ext uri="{FF2B5EF4-FFF2-40B4-BE49-F238E27FC236}">
                <a16:creationId xmlns:a16="http://schemas.microsoft.com/office/drawing/2014/main" id="{1C1B7BBE-DCC0-5494-5D6B-475A8EEA6FB8}"/>
              </a:ext>
            </a:extLst>
          </p:cNvPr>
          <p:cNvSpPr>
            <a:spLocks/>
          </p:cNvSpPr>
          <p:nvPr/>
        </p:nvSpPr>
        <p:spPr bwMode="auto">
          <a:xfrm>
            <a:off x="7335089" y="3223374"/>
            <a:ext cx="37547" cy="33796"/>
          </a:xfrm>
          <a:custGeom>
            <a:avLst/>
            <a:gdLst/>
            <a:ahLst/>
            <a:cxnLst>
              <a:cxn ang="0">
                <a:pos x="12" y="27"/>
              </a:cxn>
              <a:cxn ang="0">
                <a:pos x="12" y="27"/>
              </a:cxn>
              <a:cxn ang="0">
                <a:pos x="18" y="26"/>
              </a:cxn>
              <a:cxn ang="0">
                <a:pos x="22" y="22"/>
              </a:cxn>
              <a:cxn ang="0">
                <a:pos x="25" y="18"/>
              </a:cxn>
              <a:cxn ang="0">
                <a:pos x="25" y="13"/>
              </a:cxn>
              <a:cxn ang="0">
                <a:pos x="25" y="13"/>
              </a:cxn>
              <a:cxn ang="0">
                <a:pos x="25" y="9"/>
              </a:cxn>
              <a:cxn ang="0">
                <a:pos x="22" y="4"/>
              </a:cxn>
              <a:cxn ang="0">
                <a:pos x="18" y="2"/>
              </a:cxn>
              <a:cxn ang="0">
                <a:pos x="12" y="0"/>
              </a:cxn>
              <a:cxn ang="0">
                <a:pos x="12" y="0"/>
              </a:cxn>
              <a:cxn ang="0">
                <a:pos x="7" y="2"/>
              </a:cxn>
              <a:cxn ang="0">
                <a:pos x="3" y="4"/>
              </a:cxn>
              <a:cxn ang="0">
                <a:pos x="1" y="9"/>
              </a:cxn>
              <a:cxn ang="0">
                <a:pos x="0" y="13"/>
              </a:cxn>
              <a:cxn ang="0">
                <a:pos x="0" y="13"/>
              </a:cxn>
              <a:cxn ang="0">
                <a:pos x="1" y="18"/>
              </a:cxn>
              <a:cxn ang="0">
                <a:pos x="3" y="22"/>
              </a:cxn>
              <a:cxn ang="0">
                <a:pos x="7" y="26"/>
              </a:cxn>
              <a:cxn ang="0">
                <a:pos x="12" y="27"/>
              </a:cxn>
              <a:cxn ang="0">
                <a:pos x="12" y="27"/>
              </a:cxn>
            </a:cxnLst>
            <a:rect l="0" t="0" r="r" b="b"/>
            <a:pathLst>
              <a:path w="25" h="27">
                <a:moveTo>
                  <a:pt x="12" y="27"/>
                </a:moveTo>
                <a:lnTo>
                  <a:pt x="12" y="27"/>
                </a:lnTo>
                <a:lnTo>
                  <a:pt x="18" y="26"/>
                </a:lnTo>
                <a:lnTo>
                  <a:pt x="22" y="22"/>
                </a:lnTo>
                <a:lnTo>
                  <a:pt x="25" y="18"/>
                </a:lnTo>
                <a:lnTo>
                  <a:pt x="25" y="13"/>
                </a:lnTo>
                <a:lnTo>
                  <a:pt x="25" y="13"/>
                </a:lnTo>
                <a:lnTo>
                  <a:pt x="25" y="9"/>
                </a:lnTo>
                <a:lnTo>
                  <a:pt x="22" y="4"/>
                </a:lnTo>
                <a:lnTo>
                  <a:pt x="18" y="2"/>
                </a:lnTo>
                <a:lnTo>
                  <a:pt x="12" y="0"/>
                </a:lnTo>
                <a:lnTo>
                  <a:pt x="12" y="0"/>
                </a:lnTo>
                <a:lnTo>
                  <a:pt x="7" y="2"/>
                </a:lnTo>
                <a:lnTo>
                  <a:pt x="3" y="4"/>
                </a:lnTo>
                <a:lnTo>
                  <a:pt x="1" y="9"/>
                </a:lnTo>
                <a:lnTo>
                  <a:pt x="0" y="13"/>
                </a:lnTo>
                <a:lnTo>
                  <a:pt x="0" y="13"/>
                </a:lnTo>
                <a:lnTo>
                  <a:pt x="1" y="18"/>
                </a:lnTo>
                <a:lnTo>
                  <a:pt x="3" y="22"/>
                </a:lnTo>
                <a:lnTo>
                  <a:pt x="7" y="26"/>
                </a:lnTo>
                <a:lnTo>
                  <a:pt x="12" y="27"/>
                </a:lnTo>
                <a:lnTo>
                  <a:pt x="12" y="2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8" name="Freeform 46">
            <a:extLst>
              <a:ext uri="{FF2B5EF4-FFF2-40B4-BE49-F238E27FC236}">
                <a16:creationId xmlns:a16="http://schemas.microsoft.com/office/drawing/2014/main" id="{899B9D5B-75EA-9C26-83D0-6C31AC3DF51A}"/>
              </a:ext>
            </a:extLst>
          </p:cNvPr>
          <p:cNvSpPr>
            <a:spLocks noEditPoints="1"/>
          </p:cNvSpPr>
          <p:nvPr/>
        </p:nvSpPr>
        <p:spPr bwMode="auto">
          <a:xfrm>
            <a:off x="7332086" y="3220870"/>
            <a:ext cx="43554" cy="38803"/>
          </a:xfrm>
          <a:custGeom>
            <a:avLst/>
            <a:gdLst/>
            <a:ahLst/>
            <a:cxnLst>
              <a:cxn ang="0">
                <a:pos x="14" y="31"/>
              </a:cxn>
              <a:cxn ang="0">
                <a:pos x="14" y="31"/>
              </a:cxn>
              <a:cxn ang="0">
                <a:pos x="9" y="29"/>
              </a:cxn>
              <a:cxn ang="0">
                <a:pos x="3" y="26"/>
              </a:cxn>
              <a:cxn ang="0">
                <a:pos x="2" y="22"/>
              </a:cxn>
              <a:cxn ang="0">
                <a:pos x="0" y="15"/>
              </a:cxn>
              <a:cxn ang="0">
                <a:pos x="0" y="15"/>
              </a:cxn>
              <a:cxn ang="0">
                <a:pos x="2" y="9"/>
              </a:cxn>
              <a:cxn ang="0">
                <a:pos x="3" y="6"/>
              </a:cxn>
              <a:cxn ang="0">
                <a:pos x="9" y="2"/>
              </a:cxn>
              <a:cxn ang="0">
                <a:pos x="14" y="0"/>
              </a:cxn>
              <a:cxn ang="0">
                <a:pos x="14" y="0"/>
              </a:cxn>
              <a:cxn ang="0">
                <a:pos x="20" y="2"/>
              </a:cxn>
              <a:cxn ang="0">
                <a:pos x="25" y="6"/>
              </a:cxn>
              <a:cxn ang="0">
                <a:pos x="29" y="9"/>
              </a:cxn>
              <a:cxn ang="0">
                <a:pos x="29" y="15"/>
              </a:cxn>
              <a:cxn ang="0">
                <a:pos x="29" y="15"/>
              </a:cxn>
              <a:cxn ang="0">
                <a:pos x="29" y="22"/>
              </a:cxn>
              <a:cxn ang="0">
                <a:pos x="25" y="26"/>
              </a:cxn>
              <a:cxn ang="0">
                <a:pos x="20" y="29"/>
              </a:cxn>
              <a:cxn ang="0">
                <a:pos x="14" y="31"/>
              </a:cxn>
              <a:cxn ang="0">
                <a:pos x="14" y="31"/>
              </a:cxn>
              <a:cxn ang="0">
                <a:pos x="13" y="31"/>
              </a:cxn>
              <a:cxn ang="0">
                <a:pos x="14" y="31"/>
              </a:cxn>
              <a:cxn ang="0">
                <a:pos x="16" y="31"/>
              </a:cxn>
              <a:cxn ang="0">
                <a:pos x="14" y="31"/>
              </a:cxn>
              <a:cxn ang="0">
                <a:pos x="14" y="31"/>
              </a:cxn>
              <a:cxn ang="0">
                <a:pos x="14" y="4"/>
              </a:cxn>
              <a:cxn ang="0">
                <a:pos x="14" y="4"/>
              </a:cxn>
              <a:cxn ang="0">
                <a:pos x="11" y="6"/>
              </a:cxn>
              <a:cxn ang="0">
                <a:pos x="7" y="7"/>
              </a:cxn>
              <a:cxn ang="0">
                <a:pos x="3" y="11"/>
              </a:cxn>
              <a:cxn ang="0">
                <a:pos x="3" y="15"/>
              </a:cxn>
              <a:cxn ang="0">
                <a:pos x="3" y="15"/>
              </a:cxn>
              <a:cxn ang="0">
                <a:pos x="3" y="20"/>
              </a:cxn>
              <a:cxn ang="0">
                <a:pos x="7" y="24"/>
              </a:cxn>
              <a:cxn ang="0">
                <a:pos x="11" y="26"/>
              </a:cxn>
              <a:cxn ang="0">
                <a:pos x="14" y="28"/>
              </a:cxn>
              <a:cxn ang="0">
                <a:pos x="14" y="28"/>
              </a:cxn>
              <a:cxn ang="0">
                <a:pos x="20" y="26"/>
              </a:cxn>
              <a:cxn ang="0">
                <a:pos x="24" y="24"/>
              </a:cxn>
              <a:cxn ang="0">
                <a:pos x="25" y="20"/>
              </a:cxn>
              <a:cxn ang="0">
                <a:pos x="25" y="15"/>
              </a:cxn>
              <a:cxn ang="0">
                <a:pos x="25" y="15"/>
              </a:cxn>
              <a:cxn ang="0">
                <a:pos x="25" y="11"/>
              </a:cxn>
              <a:cxn ang="0">
                <a:pos x="24" y="7"/>
              </a:cxn>
              <a:cxn ang="0">
                <a:pos x="20" y="6"/>
              </a:cxn>
              <a:cxn ang="0">
                <a:pos x="14" y="4"/>
              </a:cxn>
              <a:cxn ang="0">
                <a:pos x="14" y="4"/>
              </a:cxn>
              <a:cxn ang="0">
                <a:pos x="14" y="4"/>
              </a:cxn>
              <a:cxn ang="0">
                <a:pos x="14" y="4"/>
              </a:cxn>
              <a:cxn ang="0">
                <a:pos x="14" y="4"/>
              </a:cxn>
            </a:cxnLst>
            <a:rect l="0" t="0" r="r" b="b"/>
            <a:pathLst>
              <a:path w="29" h="31">
                <a:moveTo>
                  <a:pt x="14" y="31"/>
                </a:moveTo>
                <a:lnTo>
                  <a:pt x="14" y="31"/>
                </a:lnTo>
                <a:lnTo>
                  <a:pt x="9" y="29"/>
                </a:lnTo>
                <a:lnTo>
                  <a:pt x="3" y="26"/>
                </a:lnTo>
                <a:lnTo>
                  <a:pt x="2" y="22"/>
                </a:lnTo>
                <a:lnTo>
                  <a:pt x="0" y="15"/>
                </a:lnTo>
                <a:lnTo>
                  <a:pt x="0" y="15"/>
                </a:lnTo>
                <a:lnTo>
                  <a:pt x="2" y="9"/>
                </a:lnTo>
                <a:lnTo>
                  <a:pt x="3" y="6"/>
                </a:lnTo>
                <a:lnTo>
                  <a:pt x="9" y="2"/>
                </a:lnTo>
                <a:lnTo>
                  <a:pt x="14" y="0"/>
                </a:lnTo>
                <a:lnTo>
                  <a:pt x="14" y="0"/>
                </a:lnTo>
                <a:lnTo>
                  <a:pt x="20" y="2"/>
                </a:lnTo>
                <a:lnTo>
                  <a:pt x="25" y="6"/>
                </a:lnTo>
                <a:lnTo>
                  <a:pt x="29" y="9"/>
                </a:lnTo>
                <a:lnTo>
                  <a:pt x="29" y="15"/>
                </a:lnTo>
                <a:lnTo>
                  <a:pt x="29" y="15"/>
                </a:lnTo>
                <a:lnTo>
                  <a:pt x="29" y="22"/>
                </a:lnTo>
                <a:lnTo>
                  <a:pt x="25" y="26"/>
                </a:lnTo>
                <a:lnTo>
                  <a:pt x="20" y="29"/>
                </a:lnTo>
                <a:lnTo>
                  <a:pt x="14" y="31"/>
                </a:lnTo>
                <a:lnTo>
                  <a:pt x="14" y="31"/>
                </a:lnTo>
                <a:lnTo>
                  <a:pt x="13" y="31"/>
                </a:lnTo>
                <a:lnTo>
                  <a:pt x="14" y="31"/>
                </a:lnTo>
                <a:lnTo>
                  <a:pt x="16" y="31"/>
                </a:lnTo>
                <a:lnTo>
                  <a:pt x="14" y="31"/>
                </a:lnTo>
                <a:lnTo>
                  <a:pt x="14" y="31"/>
                </a:lnTo>
                <a:close/>
                <a:moveTo>
                  <a:pt x="14" y="4"/>
                </a:moveTo>
                <a:lnTo>
                  <a:pt x="14" y="4"/>
                </a:lnTo>
                <a:lnTo>
                  <a:pt x="11" y="6"/>
                </a:lnTo>
                <a:lnTo>
                  <a:pt x="7" y="7"/>
                </a:lnTo>
                <a:lnTo>
                  <a:pt x="3" y="11"/>
                </a:lnTo>
                <a:lnTo>
                  <a:pt x="3" y="15"/>
                </a:lnTo>
                <a:lnTo>
                  <a:pt x="3" y="15"/>
                </a:lnTo>
                <a:lnTo>
                  <a:pt x="3" y="20"/>
                </a:lnTo>
                <a:lnTo>
                  <a:pt x="7" y="24"/>
                </a:lnTo>
                <a:lnTo>
                  <a:pt x="11" y="26"/>
                </a:lnTo>
                <a:lnTo>
                  <a:pt x="14" y="28"/>
                </a:lnTo>
                <a:lnTo>
                  <a:pt x="14" y="28"/>
                </a:lnTo>
                <a:lnTo>
                  <a:pt x="20" y="26"/>
                </a:lnTo>
                <a:lnTo>
                  <a:pt x="24" y="24"/>
                </a:lnTo>
                <a:lnTo>
                  <a:pt x="25" y="20"/>
                </a:lnTo>
                <a:lnTo>
                  <a:pt x="25" y="15"/>
                </a:lnTo>
                <a:lnTo>
                  <a:pt x="25" y="15"/>
                </a:lnTo>
                <a:lnTo>
                  <a:pt x="25" y="11"/>
                </a:lnTo>
                <a:lnTo>
                  <a:pt x="24" y="7"/>
                </a:lnTo>
                <a:lnTo>
                  <a:pt x="20" y="6"/>
                </a:lnTo>
                <a:lnTo>
                  <a:pt x="14" y="4"/>
                </a:lnTo>
                <a:lnTo>
                  <a:pt x="14" y="4"/>
                </a:lnTo>
                <a:lnTo>
                  <a:pt x="14" y="4"/>
                </a:lnTo>
                <a:lnTo>
                  <a:pt x="14" y="4"/>
                </a:lnTo>
                <a:lnTo>
                  <a:pt x="14" y="4"/>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79" name="Freeform 49">
            <a:extLst>
              <a:ext uri="{FF2B5EF4-FFF2-40B4-BE49-F238E27FC236}">
                <a16:creationId xmlns:a16="http://schemas.microsoft.com/office/drawing/2014/main" id="{43D50ADB-4B60-E8F8-E9B4-DD5229E8D7DB}"/>
              </a:ext>
            </a:extLst>
          </p:cNvPr>
          <p:cNvSpPr>
            <a:spLocks noEditPoints="1"/>
          </p:cNvSpPr>
          <p:nvPr/>
        </p:nvSpPr>
        <p:spPr bwMode="auto">
          <a:xfrm>
            <a:off x="6777891" y="3658962"/>
            <a:ext cx="545183" cy="7510"/>
          </a:xfrm>
          <a:custGeom>
            <a:avLst/>
            <a:gdLst/>
            <a:ahLst/>
            <a:cxnLst>
              <a:cxn ang="0">
                <a:pos x="363" y="6"/>
              </a:cxn>
              <a:cxn ang="0">
                <a:pos x="349" y="0"/>
              </a:cxn>
              <a:cxn ang="0">
                <a:pos x="319" y="6"/>
              </a:cxn>
              <a:cxn ang="0">
                <a:pos x="334" y="0"/>
              </a:cxn>
              <a:cxn ang="0">
                <a:pos x="319" y="6"/>
              </a:cxn>
              <a:cxn ang="0">
                <a:pos x="305" y="6"/>
              </a:cxn>
              <a:cxn ang="0">
                <a:pos x="290" y="0"/>
              </a:cxn>
              <a:cxn ang="0">
                <a:pos x="261" y="6"/>
              </a:cxn>
              <a:cxn ang="0">
                <a:pos x="275" y="0"/>
              </a:cxn>
              <a:cxn ang="0">
                <a:pos x="261" y="6"/>
              </a:cxn>
              <a:cxn ang="0">
                <a:pos x="246" y="6"/>
              </a:cxn>
              <a:cxn ang="0">
                <a:pos x="231" y="0"/>
              </a:cxn>
              <a:cxn ang="0">
                <a:pos x="204" y="6"/>
              </a:cxn>
              <a:cxn ang="0">
                <a:pos x="217" y="0"/>
              </a:cxn>
              <a:cxn ang="0">
                <a:pos x="204" y="6"/>
              </a:cxn>
              <a:cxn ang="0">
                <a:pos x="189" y="6"/>
              </a:cxn>
              <a:cxn ang="0">
                <a:pos x="175" y="0"/>
              </a:cxn>
              <a:cxn ang="0">
                <a:pos x="145" y="6"/>
              </a:cxn>
              <a:cxn ang="0">
                <a:pos x="160" y="0"/>
              </a:cxn>
              <a:cxn ang="0">
                <a:pos x="145" y="6"/>
              </a:cxn>
              <a:cxn ang="0">
                <a:pos x="131" y="6"/>
              </a:cxn>
              <a:cxn ang="0">
                <a:pos x="116" y="0"/>
              </a:cxn>
              <a:cxn ang="0">
                <a:pos x="87" y="6"/>
              </a:cxn>
              <a:cxn ang="0">
                <a:pos x="101" y="0"/>
              </a:cxn>
              <a:cxn ang="0">
                <a:pos x="87" y="6"/>
              </a:cxn>
              <a:cxn ang="0">
                <a:pos x="72" y="6"/>
              </a:cxn>
              <a:cxn ang="0">
                <a:pos x="57" y="0"/>
              </a:cxn>
              <a:cxn ang="0">
                <a:pos x="30" y="6"/>
              </a:cxn>
              <a:cxn ang="0">
                <a:pos x="43" y="0"/>
              </a:cxn>
              <a:cxn ang="0">
                <a:pos x="30" y="6"/>
              </a:cxn>
              <a:cxn ang="0">
                <a:pos x="15" y="6"/>
              </a:cxn>
              <a:cxn ang="0">
                <a:pos x="0" y="0"/>
              </a:cxn>
            </a:cxnLst>
            <a:rect l="0" t="0" r="r" b="b"/>
            <a:pathLst>
              <a:path w="363" h="6">
                <a:moveTo>
                  <a:pt x="349" y="6"/>
                </a:moveTo>
                <a:lnTo>
                  <a:pt x="363" y="6"/>
                </a:lnTo>
                <a:lnTo>
                  <a:pt x="363" y="0"/>
                </a:lnTo>
                <a:lnTo>
                  <a:pt x="349" y="0"/>
                </a:lnTo>
                <a:lnTo>
                  <a:pt x="349" y="6"/>
                </a:lnTo>
                <a:close/>
                <a:moveTo>
                  <a:pt x="319" y="6"/>
                </a:moveTo>
                <a:lnTo>
                  <a:pt x="334" y="6"/>
                </a:lnTo>
                <a:lnTo>
                  <a:pt x="334" y="0"/>
                </a:lnTo>
                <a:lnTo>
                  <a:pt x="319" y="0"/>
                </a:lnTo>
                <a:lnTo>
                  <a:pt x="319" y="6"/>
                </a:lnTo>
                <a:close/>
                <a:moveTo>
                  <a:pt x="290" y="6"/>
                </a:moveTo>
                <a:lnTo>
                  <a:pt x="305" y="6"/>
                </a:lnTo>
                <a:lnTo>
                  <a:pt x="305" y="0"/>
                </a:lnTo>
                <a:lnTo>
                  <a:pt x="290" y="0"/>
                </a:lnTo>
                <a:lnTo>
                  <a:pt x="290" y="6"/>
                </a:lnTo>
                <a:close/>
                <a:moveTo>
                  <a:pt x="261" y="6"/>
                </a:moveTo>
                <a:lnTo>
                  <a:pt x="275" y="6"/>
                </a:lnTo>
                <a:lnTo>
                  <a:pt x="275" y="0"/>
                </a:lnTo>
                <a:lnTo>
                  <a:pt x="261" y="0"/>
                </a:lnTo>
                <a:lnTo>
                  <a:pt x="261" y="6"/>
                </a:lnTo>
                <a:close/>
                <a:moveTo>
                  <a:pt x="231" y="6"/>
                </a:moveTo>
                <a:lnTo>
                  <a:pt x="246" y="6"/>
                </a:lnTo>
                <a:lnTo>
                  <a:pt x="246" y="0"/>
                </a:lnTo>
                <a:lnTo>
                  <a:pt x="231" y="0"/>
                </a:lnTo>
                <a:lnTo>
                  <a:pt x="231" y="6"/>
                </a:lnTo>
                <a:close/>
                <a:moveTo>
                  <a:pt x="204" y="6"/>
                </a:moveTo>
                <a:lnTo>
                  <a:pt x="217" y="6"/>
                </a:lnTo>
                <a:lnTo>
                  <a:pt x="217" y="0"/>
                </a:lnTo>
                <a:lnTo>
                  <a:pt x="204" y="0"/>
                </a:lnTo>
                <a:lnTo>
                  <a:pt x="204" y="6"/>
                </a:lnTo>
                <a:close/>
                <a:moveTo>
                  <a:pt x="175" y="6"/>
                </a:moveTo>
                <a:lnTo>
                  <a:pt x="189" y="6"/>
                </a:lnTo>
                <a:lnTo>
                  <a:pt x="189" y="0"/>
                </a:lnTo>
                <a:lnTo>
                  <a:pt x="175" y="0"/>
                </a:lnTo>
                <a:lnTo>
                  <a:pt x="175" y="6"/>
                </a:lnTo>
                <a:close/>
                <a:moveTo>
                  <a:pt x="145" y="6"/>
                </a:moveTo>
                <a:lnTo>
                  <a:pt x="160" y="6"/>
                </a:lnTo>
                <a:lnTo>
                  <a:pt x="160" y="0"/>
                </a:lnTo>
                <a:lnTo>
                  <a:pt x="145" y="0"/>
                </a:lnTo>
                <a:lnTo>
                  <a:pt x="145" y="6"/>
                </a:lnTo>
                <a:close/>
                <a:moveTo>
                  <a:pt x="116" y="6"/>
                </a:moveTo>
                <a:lnTo>
                  <a:pt x="131" y="6"/>
                </a:lnTo>
                <a:lnTo>
                  <a:pt x="131" y="0"/>
                </a:lnTo>
                <a:lnTo>
                  <a:pt x="116" y="0"/>
                </a:lnTo>
                <a:lnTo>
                  <a:pt x="116" y="6"/>
                </a:lnTo>
                <a:close/>
                <a:moveTo>
                  <a:pt x="87" y="6"/>
                </a:moveTo>
                <a:lnTo>
                  <a:pt x="101" y="6"/>
                </a:lnTo>
                <a:lnTo>
                  <a:pt x="101" y="0"/>
                </a:lnTo>
                <a:lnTo>
                  <a:pt x="87" y="0"/>
                </a:lnTo>
                <a:lnTo>
                  <a:pt x="87" y="6"/>
                </a:lnTo>
                <a:close/>
                <a:moveTo>
                  <a:pt x="57" y="6"/>
                </a:moveTo>
                <a:lnTo>
                  <a:pt x="72" y="6"/>
                </a:lnTo>
                <a:lnTo>
                  <a:pt x="72" y="0"/>
                </a:lnTo>
                <a:lnTo>
                  <a:pt x="57" y="0"/>
                </a:lnTo>
                <a:lnTo>
                  <a:pt x="57" y="6"/>
                </a:lnTo>
                <a:close/>
                <a:moveTo>
                  <a:pt x="30" y="6"/>
                </a:moveTo>
                <a:lnTo>
                  <a:pt x="43" y="6"/>
                </a:lnTo>
                <a:lnTo>
                  <a:pt x="43" y="0"/>
                </a:lnTo>
                <a:lnTo>
                  <a:pt x="30" y="0"/>
                </a:lnTo>
                <a:lnTo>
                  <a:pt x="30" y="6"/>
                </a:lnTo>
                <a:close/>
                <a:moveTo>
                  <a:pt x="0" y="6"/>
                </a:moveTo>
                <a:lnTo>
                  <a:pt x="15" y="6"/>
                </a:lnTo>
                <a:lnTo>
                  <a:pt x="15" y="0"/>
                </a:lnTo>
                <a:lnTo>
                  <a:pt x="0" y="0"/>
                </a:lnTo>
                <a:lnTo>
                  <a:pt x="0" y="6"/>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0" name="Rectangle 50">
            <a:extLst>
              <a:ext uri="{FF2B5EF4-FFF2-40B4-BE49-F238E27FC236}">
                <a16:creationId xmlns:a16="http://schemas.microsoft.com/office/drawing/2014/main" id="{D3E59E78-E944-A235-D4BF-725BBA83247E}"/>
              </a:ext>
            </a:extLst>
          </p:cNvPr>
          <p:cNvSpPr>
            <a:spLocks noChangeArrowheads="1"/>
          </p:cNvSpPr>
          <p:nvPr/>
        </p:nvSpPr>
        <p:spPr bwMode="auto">
          <a:xfrm>
            <a:off x="7345603" y="3658962"/>
            <a:ext cx="10514" cy="7510"/>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1" name="Freeform 51">
            <a:extLst>
              <a:ext uri="{FF2B5EF4-FFF2-40B4-BE49-F238E27FC236}">
                <a16:creationId xmlns:a16="http://schemas.microsoft.com/office/drawing/2014/main" id="{6F4112DC-46AF-03FD-A104-BA3CF77F5565}"/>
              </a:ext>
            </a:extLst>
          </p:cNvPr>
          <p:cNvSpPr>
            <a:spLocks/>
          </p:cNvSpPr>
          <p:nvPr/>
        </p:nvSpPr>
        <p:spPr bwMode="auto">
          <a:xfrm>
            <a:off x="7345603" y="3658962"/>
            <a:ext cx="10514" cy="7510"/>
          </a:xfrm>
          <a:custGeom>
            <a:avLst/>
            <a:gdLst/>
            <a:ahLst/>
            <a:cxnLst>
              <a:cxn ang="0">
                <a:pos x="0" y="6"/>
              </a:cxn>
              <a:cxn ang="0">
                <a:pos x="7" y="6"/>
              </a:cxn>
              <a:cxn ang="0">
                <a:pos x="7" y="0"/>
              </a:cxn>
              <a:cxn ang="0">
                <a:pos x="0" y="0"/>
              </a:cxn>
            </a:cxnLst>
            <a:rect l="0" t="0" r="r" b="b"/>
            <a:pathLst>
              <a:path w="7" h="6">
                <a:moveTo>
                  <a:pt x="0" y="6"/>
                </a:moveTo>
                <a:lnTo>
                  <a:pt x="7" y="6"/>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2" name="Freeform 52">
            <a:extLst>
              <a:ext uri="{FF2B5EF4-FFF2-40B4-BE49-F238E27FC236}">
                <a16:creationId xmlns:a16="http://schemas.microsoft.com/office/drawing/2014/main" id="{64AAC1F8-B2A3-F1BD-DECA-EDF71BD8852C}"/>
              </a:ext>
            </a:extLst>
          </p:cNvPr>
          <p:cNvSpPr>
            <a:spLocks/>
          </p:cNvSpPr>
          <p:nvPr/>
        </p:nvSpPr>
        <p:spPr bwMode="auto">
          <a:xfrm>
            <a:off x="7335089" y="3645194"/>
            <a:ext cx="37547" cy="35048"/>
          </a:xfrm>
          <a:custGeom>
            <a:avLst/>
            <a:gdLst/>
            <a:ahLst/>
            <a:cxnLst>
              <a:cxn ang="0">
                <a:pos x="12" y="28"/>
              </a:cxn>
              <a:cxn ang="0">
                <a:pos x="12" y="28"/>
              </a:cxn>
              <a:cxn ang="0">
                <a:pos x="18" y="26"/>
              </a:cxn>
              <a:cxn ang="0">
                <a:pos x="22" y="24"/>
              </a:cxn>
              <a:cxn ang="0">
                <a:pos x="25" y="18"/>
              </a:cxn>
              <a:cxn ang="0">
                <a:pos x="25" y="13"/>
              </a:cxn>
              <a:cxn ang="0">
                <a:pos x="25" y="13"/>
              </a:cxn>
              <a:cxn ang="0">
                <a:pos x="25" y="9"/>
              </a:cxn>
              <a:cxn ang="0">
                <a:pos x="22" y="4"/>
              </a:cxn>
              <a:cxn ang="0">
                <a:pos x="18" y="2"/>
              </a:cxn>
              <a:cxn ang="0">
                <a:pos x="12" y="0"/>
              </a:cxn>
              <a:cxn ang="0">
                <a:pos x="12" y="0"/>
              </a:cxn>
              <a:cxn ang="0">
                <a:pos x="7" y="2"/>
              </a:cxn>
              <a:cxn ang="0">
                <a:pos x="3" y="4"/>
              </a:cxn>
              <a:cxn ang="0">
                <a:pos x="1" y="9"/>
              </a:cxn>
              <a:cxn ang="0">
                <a:pos x="0" y="13"/>
              </a:cxn>
              <a:cxn ang="0">
                <a:pos x="0" y="13"/>
              </a:cxn>
              <a:cxn ang="0">
                <a:pos x="1" y="18"/>
              </a:cxn>
              <a:cxn ang="0">
                <a:pos x="3" y="24"/>
              </a:cxn>
              <a:cxn ang="0">
                <a:pos x="7" y="26"/>
              </a:cxn>
              <a:cxn ang="0">
                <a:pos x="12" y="28"/>
              </a:cxn>
              <a:cxn ang="0">
                <a:pos x="12" y="28"/>
              </a:cxn>
            </a:cxnLst>
            <a:rect l="0" t="0" r="r" b="b"/>
            <a:pathLst>
              <a:path w="25" h="28">
                <a:moveTo>
                  <a:pt x="12" y="28"/>
                </a:moveTo>
                <a:lnTo>
                  <a:pt x="12" y="28"/>
                </a:lnTo>
                <a:lnTo>
                  <a:pt x="18" y="26"/>
                </a:lnTo>
                <a:lnTo>
                  <a:pt x="22" y="24"/>
                </a:lnTo>
                <a:lnTo>
                  <a:pt x="25" y="18"/>
                </a:lnTo>
                <a:lnTo>
                  <a:pt x="25" y="13"/>
                </a:lnTo>
                <a:lnTo>
                  <a:pt x="25" y="13"/>
                </a:lnTo>
                <a:lnTo>
                  <a:pt x="25" y="9"/>
                </a:lnTo>
                <a:lnTo>
                  <a:pt x="22" y="4"/>
                </a:lnTo>
                <a:lnTo>
                  <a:pt x="18" y="2"/>
                </a:lnTo>
                <a:lnTo>
                  <a:pt x="12" y="0"/>
                </a:lnTo>
                <a:lnTo>
                  <a:pt x="12" y="0"/>
                </a:lnTo>
                <a:lnTo>
                  <a:pt x="7" y="2"/>
                </a:lnTo>
                <a:lnTo>
                  <a:pt x="3" y="4"/>
                </a:lnTo>
                <a:lnTo>
                  <a:pt x="1" y="9"/>
                </a:lnTo>
                <a:lnTo>
                  <a:pt x="0" y="13"/>
                </a:lnTo>
                <a:lnTo>
                  <a:pt x="0" y="13"/>
                </a:lnTo>
                <a:lnTo>
                  <a:pt x="1" y="18"/>
                </a:lnTo>
                <a:lnTo>
                  <a:pt x="3" y="24"/>
                </a:lnTo>
                <a:lnTo>
                  <a:pt x="7" y="26"/>
                </a:lnTo>
                <a:lnTo>
                  <a:pt x="12" y="28"/>
                </a:lnTo>
                <a:lnTo>
                  <a:pt x="12" y="2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3" name="Freeform 53">
            <a:extLst>
              <a:ext uri="{FF2B5EF4-FFF2-40B4-BE49-F238E27FC236}">
                <a16:creationId xmlns:a16="http://schemas.microsoft.com/office/drawing/2014/main" id="{F3D8281E-7D1E-DCDD-63EC-114417607107}"/>
              </a:ext>
            </a:extLst>
          </p:cNvPr>
          <p:cNvSpPr>
            <a:spLocks noEditPoints="1"/>
          </p:cNvSpPr>
          <p:nvPr/>
        </p:nvSpPr>
        <p:spPr bwMode="auto">
          <a:xfrm>
            <a:off x="7332086" y="3642691"/>
            <a:ext cx="43554" cy="38803"/>
          </a:xfrm>
          <a:custGeom>
            <a:avLst/>
            <a:gdLst/>
            <a:ahLst/>
            <a:cxnLst>
              <a:cxn ang="0">
                <a:pos x="14" y="31"/>
              </a:cxn>
              <a:cxn ang="0">
                <a:pos x="14" y="31"/>
              </a:cxn>
              <a:cxn ang="0">
                <a:pos x="9" y="30"/>
              </a:cxn>
              <a:cxn ang="0">
                <a:pos x="3" y="26"/>
              </a:cxn>
              <a:cxn ang="0">
                <a:pos x="2" y="22"/>
              </a:cxn>
              <a:cxn ang="0">
                <a:pos x="0" y="15"/>
              </a:cxn>
              <a:cxn ang="0">
                <a:pos x="0" y="15"/>
              </a:cxn>
              <a:cxn ang="0">
                <a:pos x="2" y="9"/>
              </a:cxn>
              <a:cxn ang="0">
                <a:pos x="3" y="6"/>
              </a:cxn>
              <a:cxn ang="0">
                <a:pos x="9" y="2"/>
              </a:cxn>
              <a:cxn ang="0">
                <a:pos x="14" y="0"/>
              </a:cxn>
              <a:cxn ang="0">
                <a:pos x="14" y="0"/>
              </a:cxn>
              <a:cxn ang="0">
                <a:pos x="20" y="2"/>
              </a:cxn>
              <a:cxn ang="0">
                <a:pos x="25" y="6"/>
              </a:cxn>
              <a:cxn ang="0">
                <a:pos x="29" y="9"/>
              </a:cxn>
              <a:cxn ang="0">
                <a:pos x="29" y="15"/>
              </a:cxn>
              <a:cxn ang="0">
                <a:pos x="29" y="15"/>
              </a:cxn>
              <a:cxn ang="0">
                <a:pos x="29" y="22"/>
              </a:cxn>
              <a:cxn ang="0">
                <a:pos x="25" y="26"/>
              </a:cxn>
              <a:cxn ang="0">
                <a:pos x="20" y="30"/>
              </a:cxn>
              <a:cxn ang="0">
                <a:pos x="14" y="31"/>
              </a:cxn>
              <a:cxn ang="0">
                <a:pos x="14" y="31"/>
              </a:cxn>
              <a:cxn ang="0">
                <a:pos x="13" y="31"/>
              </a:cxn>
              <a:cxn ang="0">
                <a:pos x="14" y="31"/>
              </a:cxn>
              <a:cxn ang="0">
                <a:pos x="16" y="31"/>
              </a:cxn>
              <a:cxn ang="0">
                <a:pos x="14" y="31"/>
              </a:cxn>
              <a:cxn ang="0">
                <a:pos x="14" y="31"/>
              </a:cxn>
              <a:cxn ang="0">
                <a:pos x="14" y="4"/>
              </a:cxn>
              <a:cxn ang="0">
                <a:pos x="14" y="4"/>
              </a:cxn>
              <a:cxn ang="0">
                <a:pos x="11" y="6"/>
              </a:cxn>
              <a:cxn ang="0">
                <a:pos x="7" y="8"/>
              </a:cxn>
              <a:cxn ang="0">
                <a:pos x="3" y="11"/>
              </a:cxn>
              <a:cxn ang="0">
                <a:pos x="3" y="15"/>
              </a:cxn>
              <a:cxn ang="0">
                <a:pos x="3" y="15"/>
              </a:cxn>
              <a:cxn ang="0">
                <a:pos x="3" y="20"/>
              </a:cxn>
              <a:cxn ang="0">
                <a:pos x="7" y="24"/>
              </a:cxn>
              <a:cxn ang="0">
                <a:pos x="11" y="26"/>
              </a:cxn>
              <a:cxn ang="0">
                <a:pos x="14" y="28"/>
              </a:cxn>
              <a:cxn ang="0">
                <a:pos x="14" y="28"/>
              </a:cxn>
              <a:cxn ang="0">
                <a:pos x="20" y="26"/>
              </a:cxn>
              <a:cxn ang="0">
                <a:pos x="24" y="24"/>
              </a:cxn>
              <a:cxn ang="0">
                <a:pos x="25" y="20"/>
              </a:cxn>
              <a:cxn ang="0">
                <a:pos x="25" y="15"/>
              </a:cxn>
              <a:cxn ang="0">
                <a:pos x="25" y="15"/>
              </a:cxn>
              <a:cxn ang="0">
                <a:pos x="25" y="11"/>
              </a:cxn>
              <a:cxn ang="0">
                <a:pos x="24" y="8"/>
              </a:cxn>
              <a:cxn ang="0">
                <a:pos x="20" y="6"/>
              </a:cxn>
              <a:cxn ang="0">
                <a:pos x="14" y="4"/>
              </a:cxn>
              <a:cxn ang="0">
                <a:pos x="14" y="4"/>
              </a:cxn>
              <a:cxn ang="0">
                <a:pos x="14" y="4"/>
              </a:cxn>
              <a:cxn ang="0">
                <a:pos x="14" y="4"/>
              </a:cxn>
              <a:cxn ang="0">
                <a:pos x="14" y="4"/>
              </a:cxn>
            </a:cxnLst>
            <a:rect l="0" t="0" r="r" b="b"/>
            <a:pathLst>
              <a:path w="29" h="31">
                <a:moveTo>
                  <a:pt x="14" y="31"/>
                </a:moveTo>
                <a:lnTo>
                  <a:pt x="14" y="31"/>
                </a:lnTo>
                <a:lnTo>
                  <a:pt x="9" y="30"/>
                </a:lnTo>
                <a:lnTo>
                  <a:pt x="3" y="26"/>
                </a:lnTo>
                <a:lnTo>
                  <a:pt x="2" y="22"/>
                </a:lnTo>
                <a:lnTo>
                  <a:pt x="0" y="15"/>
                </a:lnTo>
                <a:lnTo>
                  <a:pt x="0" y="15"/>
                </a:lnTo>
                <a:lnTo>
                  <a:pt x="2" y="9"/>
                </a:lnTo>
                <a:lnTo>
                  <a:pt x="3" y="6"/>
                </a:lnTo>
                <a:lnTo>
                  <a:pt x="9" y="2"/>
                </a:lnTo>
                <a:lnTo>
                  <a:pt x="14" y="0"/>
                </a:lnTo>
                <a:lnTo>
                  <a:pt x="14" y="0"/>
                </a:lnTo>
                <a:lnTo>
                  <a:pt x="20" y="2"/>
                </a:lnTo>
                <a:lnTo>
                  <a:pt x="25" y="6"/>
                </a:lnTo>
                <a:lnTo>
                  <a:pt x="29" y="9"/>
                </a:lnTo>
                <a:lnTo>
                  <a:pt x="29" y="15"/>
                </a:lnTo>
                <a:lnTo>
                  <a:pt x="29" y="15"/>
                </a:lnTo>
                <a:lnTo>
                  <a:pt x="29" y="22"/>
                </a:lnTo>
                <a:lnTo>
                  <a:pt x="25" y="26"/>
                </a:lnTo>
                <a:lnTo>
                  <a:pt x="20" y="30"/>
                </a:lnTo>
                <a:lnTo>
                  <a:pt x="14" y="31"/>
                </a:lnTo>
                <a:lnTo>
                  <a:pt x="14" y="31"/>
                </a:lnTo>
                <a:lnTo>
                  <a:pt x="13" y="31"/>
                </a:lnTo>
                <a:lnTo>
                  <a:pt x="14" y="31"/>
                </a:lnTo>
                <a:lnTo>
                  <a:pt x="16" y="31"/>
                </a:lnTo>
                <a:lnTo>
                  <a:pt x="14" y="31"/>
                </a:lnTo>
                <a:lnTo>
                  <a:pt x="14" y="31"/>
                </a:lnTo>
                <a:close/>
                <a:moveTo>
                  <a:pt x="14" y="4"/>
                </a:moveTo>
                <a:lnTo>
                  <a:pt x="14" y="4"/>
                </a:lnTo>
                <a:lnTo>
                  <a:pt x="11" y="6"/>
                </a:lnTo>
                <a:lnTo>
                  <a:pt x="7" y="8"/>
                </a:lnTo>
                <a:lnTo>
                  <a:pt x="3" y="11"/>
                </a:lnTo>
                <a:lnTo>
                  <a:pt x="3" y="15"/>
                </a:lnTo>
                <a:lnTo>
                  <a:pt x="3" y="15"/>
                </a:lnTo>
                <a:lnTo>
                  <a:pt x="3" y="20"/>
                </a:lnTo>
                <a:lnTo>
                  <a:pt x="7" y="24"/>
                </a:lnTo>
                <a:lnTo>
                  <a:pt x="11" y="26"/>
                </a:lnTo>
                <a:lnTo>
                  <a:pt x="14" y="28"/>
                </a:lnTo>
                <a:lnTo>
                  <a:pt x="14" y="28"/>
                </a:lnTo>
                <a:lnTo>
                  <a:pt x="20" y="26"/>
                </a:lnTo>
                <a:lnTo>
                  <a:pt x="24" y="24"/>
                </a:lnTo>
                <a:lnTo>
                  <a:pt x="25" y="20"/>
                </a:lnTo>
                <a:lnTo>
                  <a:pt x="25" y="15"/>
                </a:lnTo>
                <a:lnTo>
                  <a:pt x="25" y="15"/>
                </a:lnTo>
                <a:lnTo>
                  <a:pt x="25" y="11"/>
                </a:lnTo>
                <a:lnTo>
                  <a:pt x="24" y="8"/>
                </a:lnTo>
                <a:lnTo>
                  <a:pt x="20" y="6"/>
                </a:lnTo>
                <a:lnTo>
                  <a:pt x="14" y="4"/>
                </a:lnTo>
                <a:lnTo>
                  <a:pt x="14" y="4"/>
                </a:lnTo>
                <a:lnTo>
                  <a:pt x="14" y="4"/>
                </a:lnTo>
                <a:lnTo>
                  <a:pt x="14" y="4"/>
                </a:lnTo>
                <a:lnTo>
                  <a:pt x="14" y="4"/>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4" name="Rectangle 54">
            <a:extLst>
              <a:ext uri="{FF2B5EF4-FFF2-40B4-BE49-F238E27FC236}">
                <a16:creationId xmlns:a16="http://schemas.microsoft.com/office/drawing/2014/main" id="{5D9D3AF3-05A1-497F-D3A1-EE9E9EC71977}"/>
              </a:ext>
            </a:extLst>
          </p:cNvPr>
          <p:cNvSpPr>
            <a:spLocks noChangeArrowheads="1"/>
          </p:cNvSpPr>
          <p:nvPr/>
        </p:nvSpPr>
        <p:spPr bwMode="auto">
          <a:xfrm>
            <a:off x="6744850" y="4080782"/>
            <a:ext cx="12015" cy="7510"/>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5" name="Freeform 55">
            <a:extLst>
              <a:ext uri="{FF2B5EF4-FFF2-40B4-BE49-F238E27FC236}">
                <a16:creationId xmlns:a16="http://schemas.microsoft.com/office/drawing/2014/main" id="{3664F88D-D2EA-C046-A0E8-2B694BD74F13}"/>
              </a:ext>
            </a:extLst>
          </p:cNvPr>
          <p:cNvSpPr>
            <a:spLocks/>
          </p:cNvSpPr>
          <p:nvPr/>
        </p:nvSpPr>
        <p:spPr bwMode="auto">
          <a:xfrm>
            <a:off x="6744850" y="4080782"/>
            <a:ext cx="12015" cy="7510"/>
          </a:xfrm>
          <a:custGeom>
            <a:avLst/>
            <a:gdLst/>
            <a:ahLst/>
            <a:cxnLst>
              <a:cxn ang="0">
                <a:pos x="0" y="6"/>
              </a:cxn>
              <a:cxn ang="0">
                <a:pos x="8" y="6"/>
              </a:cxn>
              <a:cxn ang="0">
                <a:pos x="8" y="0"/>
              </a:cxn>
              <a:cxn ang="0">
                <a:pos x="0" y="0"/>
              </a:cxn>
            </a:cxnLst>
            <a:rect l="0" t="0" r="r" b="b"/>
            <a:pathLst>
              <a:path w="8" h="6">
                <a:moveTo>
                  <a:pt x="0" y="6"/>
                </a:moveTo>
                <a:lnTo>
                  <a:pt x="8" y="6"/>
                </a:lnTo>
                <a:lnTo>
                  <a:pt x="8"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6" name="Freeform 56">
            <a:extLst>
              <a:ext uri="{FF2B5EF4-FFF2-40B4-BE49-F238E27FC236}">
                <a16:creationId xmlns:a16="http://schemas.microsoft.com/office/drawing/2014/main" id="{D3821238-E4C8-1FE4-3719-E42002E673C4}"/>
              </a:ext>
            </a:extLst>
          </p:cNvPr>
          <p:cNvSpPr>
            <a:spLocks noEditPoints="1"/>
          </p:cNvSpPr>
          <p:nvPr/>
        </p:nvSpPr>
        <p:spPr bwMode="auto">
          <a:xfrm>
            <a:off x="6777891" y="4080782"/>
            <a:ext cx="545183" cy="7510"/>
          </a:xfrm>
          <a:custGeom>
            <a:avLst/>
            <a:gdLst/>
            <a:ahLst/>
            <a:cxnLst>
              <a:cxn ang="0">
                <a:pos x="363" y="6"/>
              </a:cxn>
              <a:cxn ang="0">
                <a:pos x="349" y="0"/>
              </a:cxn>
              <a:cxn ang="0">
                <a:pos x="319" y="6"/>
              </a:cxn>
              <a:cxn ang="0">
                <a:pos x="334" y="0"/>
              </a:cxn>
              <a:cxn ang="0">
                <a:pos x="319" y="6"/>
              </a:cxn>
              <a:cxn ang="0">
                <a:pos x="305" y="6"/>
              </a:cxn>
              <a:cxn ang="0">
                <a:pos x="290" y="0"/>
              </a:cxn>
              <a:cxn ang="0">
                <a:pos x="261" y="6"/>
              </a:cxn>
              <a:cxn ang="0">
                <a:pos x="275" y="0"/>
              </a:cxn>
              <a:cxn ang="0">
                <a:pos x="261" y="6"/>
              </a:cxn>
              <a:cxn ang="0">
                <a:pos x="246" y="6"/>
              </a:cxn>
              <a:cxn ang="0">
                <a:pos x="231" y="0"/>
              </a:cxn>
              <a:cxn ang="0">
                <a:pos x="204" y="6"/>
              </a:cxn>
              <a:cxn ang="0">
                <a:pos x="217" y="0"/>
              </a:cxn>
              <a:cxn ang="0">
                <a:pos x="204" y="6"/>
              </a:cxn>
              <a:cxn ang="0">
                <a:pos x="189" y="6"/>
              </a:cxn>
              <a:cxn ang="0">
                <a:pos x="175" y="0"/>
              </a:cxn>
              <a:cxn ang="0">
                <a:pos x="145" y="6"/>
              </a:cxn>
              <a:cxn ang="0">
                <a:pos x="160" y="0"/>
              </a:cxn>
              <a:cxn ang="0">
                <a:pos x="145" y="6"/>
              </a:cxn>
              <a:cxn ang="0">
                <a:pos x="131" y="6"/>
              </a:cxn>
              <a:cxn ang="0">
                <a:pos x="116" y="0"/>
              </a:cxn>
              <a:cxn ang="0">
                <a:pos x="87" y="6"/>
              </a:cxn>
              <a:cxn ang="0">
                <a:pos x="101" y="0"/>
              </a:cxn>
              <a:cxn ang="0">
                <a:pos x="87" y="6"/>
              </a:cxn>
              <a:cxn ang="0">
                <a:pos x="72" y="6"/>
              </a:cxn>
              <a:cxn ang="0">
                <a:pos x="57" y="0"/>
              </a:cxn>
              <a:cxn ang="0">
                <a:pos x="30" y="6"/>
              </a:cxn>
              <a:cxn ang="0">
                <a:pos x="43" y="0"/>
              </a:cxn>
              <a:cxn ang="0">
                <a:pos x="30" y="6"/>
              </a:cxn>
              <a:cxn ang="0">
                <a:pos x="15" y="6"/>
              </a:cxn>
              <a:cxn ang="0">
                <a:pos x="0" y="0"/>
              </a:cxn>
            </a:cxnLst>
            <a:rect l="0" t="0" r="r" b="b"/>
            <a:pathLst>
              <a:path w="363" h="6">
                <a:moveTo>
                  <a:pt x="349" y="6"/>
                </a:moveTo>
                <a:lnTo>
                  <a:pt x="363" y="6"/>
                </a:lnTo>
                <a:lnTo>
                  <a:pt x="363" y="0"/>
                </a:lnTo>
                <a:lnTo>
                  <a:pt x="349" y="0"/>
                </a:lnTo>
                <a:lnTo>
                  <a:pt x="349" y="6"/>
                </a:lnTo>
                <a:close/>
                <a:moveTo>
                  <a:pt x="319" y="6"/>
                </a:moveTo>
                <a:lnTo>
                  <a:pt x="334" y="6"/>
                </a:lnTo>
                <a:lnTo>
                  <a:pt x="334" y="0"/>
                </a:lnTo>
                <a:lnTo>
                  <a:pt x="319" y="0"/>
                </a:lnTo>
                <a:lnTo>
                  <a:pt x="319" y="6"/>
                </a:lnTo>
                <a:close/>
                <a:moveTo>
                  <a:pt x="290" y="6"/>
                </a:moveTo>
                <a:lnTo>
                  <a:pt x="305" y="6"/>
                </a:lnTo>
                <a:lnTo>
                  <a:pt x="305" y="0"/>
                </a:lnTo>
                <a:lnTo>
                  <a:pt x="290" y="0"/>
                </a:lnTo>
                <a:lnTo>
                  <a:pt x="290" y="6"/>
                </a:lnTo>
                <a:close/>
                <a:moveTo>
                  <a:pt x="261" y="6"/>
                </a:moveTo>
                <a:lnTo>
                  <a:pt x="275" y="6"/>
                </a:lnTo>
                <a:lnTo>
                  <a:pt x="275" y="0"/>
                </a:lnTo>
                <a:lnTo>
                  <a:pt x="261" y="0"/>
                </a:lnTo>
                <a:lnTo>
                  <a:pt x="261" y="6"/>
                </a:lnTo>
                <a:close/>
                <a:moveTo>
                  <a:pt x="231" y="6"/>
                </a:moveTo>
                <a:lnTo>
                  <a:pt x="246" y="6"/>
                </a:lnTo>
                <a:lnTo>
                  <a:pt x="246" y="0"/>
                </a:lnTo>
                <a:lnTo>
                  <a:pt x="231" y="0"/>
                </a:lnTo>
                <a:lnTo>
                  <a:pt x="231" y="6"/>
                </a:lnTo>
                <a:close/>
                <a:moveTo>
                  <a:pt x="204" y="6"/>
                </a:moveTo>
                <a:lnTo>
                  <a:pt x="217" y="6"/>
                </a:lnTo>
                <a:lnTo>
                  <a:pt x="217" y="0"/>
                </a:lnTo>
                <a:lnTo>
                  <a:pt x="204" y="0"/>
                </a:lnTo>
                <a:lnTo>
                  <a:pt x="204" y="6"/>
                </a:lnTo>
                <a:close/>
                <a:moveTo>
                  <a:pt x="175" y="6"/>
                </a:moveTo>
                <a:lnTo>
                  <a:pt x="189" y="6"/>
                </a:lnTo>
                <a:lnTo>
                  <a:pt x="189" y="0"/>
                </a:lnTo>
                <a:lnTo>
                  <a:pt x="175" y="0"/>
                </a:lnTo>
                <a:lnTo>
                  <a:pt x="175" y="6"/>
                </a:lnTo>
                <a:close/>
                <a:moveTo>
                  <a:pt x="145" y="6"/>
                </a:moveTo>
                <a:lnTo>
                  <a:pt x="160" y="6"/>
                </a:lnTo>
                <a:lnTo>
                  <a:pt x="160" y="0"/>
                </a:lnTo>
                <a:lnTo>
                  <a:pt x="145" y="0"/>
                </a:lnTo>
                <a:lnTo>
                  <a:pt x="145" y="6"/>
                </a:lnTo>
                <a:close/>
                <a:moveTo>
                  <a:pt x="116" y="6"/>
                </a:moveTo>
                <a:lnTo>
                  <a:pt x="131" y="6"/>
                </a:lnTo>
                <a:lnTo>
                  <a:pt x="131" y="0"/>
                </a:lnTo>
                <a:lnTo>
                  <a:pt x="116" y="0"/>
                </a:lnTo>
                <a:lnTo>
                  <a:pt x="116" y="6"/>
                </a:lnTo>
                <a:close/>
                <a:moveTo>
                  <a:pt x="87" y="6"/>
                </a:moveTo>
                <a:lnTo>
                  <a:pt x="101" y="6"/>
                </a:lnTo>
                <a:lnTo>
                  <a:pt x="101" y="0"/>
                </a:lnTo>
                <a:lnTo>
                  <a:pt x="87" y="0"/>
                </a:lnTo>
                <a:lnTo>
                  <a:pt x="87" y="6"/>
                </a:lnTo>
                <a:close/>
                <a:moveTo>
                  <a:pt x="57" y="6"/>
                </a:moveTo>
                <a:lnTo>
                  <a:pt x="72" y="6"/>
                </a:lnTo>
                <a:lnTo>
                  <a:pt x="72" y="0"/>
                </a:lnTo>
                <a:lnTo>
                  <a:pt x="57" y="0"/>
                </a:lnTo>
                <a:lnTo>
                  <a:pt x="57" y="6"/>
                </a:lnTo>
                <a:close/>
                <a:moveTo>
                  <a:pt x="30" y="6"/>
                </a:moveTo>
                <a:lnTo>
                  <a:pt x="43" y="6"/>
                </a:lnTo>
                <a:lnTo>
                  <a:pt x="43" y="0"/>
                </a:lnTo>
                <a:lnTo>
                  <a:pt x="30" y="0"/>
                </a:lnTo>
                <a:lnTo>
                  <a:pt x="30" y="6"/>
                </a:lnTo>
                <a:close/>
                <a:moveTo>
                  <a:pt x="0" y="6"/>
                </a:moveTo>
                <a:lnTo>
                  <a:pt x="15" y="6"/>
                </a:lnTo>
                <a:lnTo>
                  <a:pt x="15" y="0"/>
                </a:lnTo>
                <a:lnTo>
                  <a:pt x="0" y="0"/>
                </a:lnTo>
                <a:lnTo>
                  <a:pt x="0" y="6"/>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7" name="Rectangle 57">
            <a:extLst>
              <a:ext uri="{FF2B5EF4-FFF2-40B4-BE49-F238E27FC236}">
                <a16:creationId xmlns:a16="http://schemas.microsoft.com/office/drawing/2014/main" id="{3E5DE9CF-7A3C-CF02-60BF-DD56860CB41B}"/>
              </a:ext>
            </a:extLst>
          </p:cNvPr>
          <p:cNvSpPr>
            <a:spLocks noChangeArrowheads="1"/>
          </p:cNvSpPr>
          <p:nvPr/>
        </p:nvSpPr>
        <p:spPr bwMode="auto">
          <a:xfrm>
            <a:off x="7345603" y="4080782"/>
            <a:ext cx="10514" cy="7510"/>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8" name="Freeform 58">
            <a:extLst>
              <a:ext uri="{FF2B5EF4-FFF2-40B4-BE49-F238E27FC236}">
                <a16:creationId xmlns:a16="http://schemas.microsoft.com/office/drawing/2014/main" id="{72B72757-CC5C-0D3A-3423-A802E91285CB}"/>
              </a:ext>
            </a:extLst>
          </p:cNvPr>
          <p:cNvSpPr>
            <a:spLocks/>
          </p:cNvSpPr>
          <p:nvPr/>
        </p:nvSpPr>
        <p:spPr bwMode="auto">
          <a:xfrm>
            <a:off x="7345603" y="4080782"/>
            <a:ext cx="10514" cy="7510"/>
          </a:xfrm>
          <a:custGeom>
            <a:avLst/>
            <a:gdLst/>
            <a:ahLst/>
            <a:cxnLst>
              <a:cxn ang="0">
                <a:pos x="0" y="6"/>
              </a:cxn>
              <a:cxn ang="0">
                <a:pos x="7" y="6"/>
              </a:cxn>
              <a:cxn ang="0">
                <a:pos x="7" y="0"/>
              </a:cxn>
              <a:cxn ang="0">
                <a:pos x="0" y="0"/>
              </a:cxn>
            </a:cxnLst>
            <a:rect l="0" t="0" r="r" b="b"/>
            <a:pathLst>
              <a:path w="7" h="6">
                <a:moveTo>
                  <a:pt x="0" y="6"/>
                </a:moveTo>
                <a:lnTo>
                  <a:pt x="7" y="6"/>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89" name="Freeform 59">
            <a:extLst>
              <a:ext uri="{FF2B5EF4-FFF2-40B4-BE49-F238E27FC236}">
                <a16:creationId xmlns:a16="http://schemas.microsoft.com/office/drawing/2014/main" id="{7314C62B-1C90-354D-3494-A6758CDD99CD}"/>
              </a:ext>
            </a:extLst>
          </p:cNvPr>
          <p:cNvSpPr>
            <a:spLocks/>
          </p:cNvSpPr>
          <p:nvPr/>
        </p:nvSpPr>
        <p:spPr bwMode="auto">
          <a:xfrm>
            <a:off x="7335089" y="4067013"/>
            <a:ext cx="37547" cy="35048"/>
          </a:xfrm>
          <a:custGeom>
            <a:avLst/>
            <a:gdLst/>
            <a:ahLst/>
            <a:cxnLst>
              <a:cxn ang="0">
                <a:pos x="12" y="28"/>
              </a:cxn>
              <a:cxn ang="0">
                <a:pos x="12" y="28"/>
              </a:cxn>
              <a:cxn ang="0">
                <a:pos x="18" y="26"/>
              </a:cxn>
              <a:cxn ang="0">
                <a:pos x="22" y="24"/>
              </a:cxn>
              <a:cxn ang="0">
                <a:pos x="25" y="19"/>
              </a:cxn>
              <a:cxn ang="0">
                <a:pos x="25" y="15"/>
              </a:cxn>
              <a:cxn ang="0">
                <a:pos x="25" y="15"/>
              </a:cxn>
              <a:cxn ang="0">
                <a:pos x="25" y="9"/>
              </a:cxn>
              <a:cxn ang="0">
                <a:pos x="22" y="4"/>
              </a:cxn>
              <a:cxn ang="0">
                <a:pos x="18" y="2"/>
              </a:cxn>
              <a:cxn ang="0">
                <a:pos x="12" y="0"/>
              </a:cxn>
              <a:cxn ang="0">
                <a:pos x="12" y="0"/>
              </a:cxn>
              <a:cxn ang="0">
                <a:pos x="7" y="2"/>
              </a:cxn>
              <a:cxn ang="0">
                <a:pos x="3" y="4"/>
              </a:cxn>
              <a:cxn ang="0">
                <a:pos x="1" y="9"/>
              </a:cxn>
              <a:cxn ang="0">
                <a:pos x="0" y="15"/>
              </a:cxn>
              <a:cxn ang="0">
                <a:pos x="0" y="15"/>
              </a:cxn>
              <a:cxn ang="0">
                <a:pos x="1" y="19"/>
              </a:cxn>
              <a:cxn ang="0">
                <a:pos x="3" y="24"/>
              </a:cxn>
              <a:cxn ang="0">
                <a:pos x="7" y="26"/>
              </a:cxn>
              <a:cxn ang="0">
                <a:pos x="12" y="28"/>
              </a:cxn>
              <a:cxn ang="0">
                <a:pos x="12" y="28"/>
              </a:cxn>
            </a:cxnLst>
            <a:rect l="0" t="0" r="r" b="b"/>
            <a:pathLst>
              <a:path w="25" h="28">
                <a:moveTo>
                  <a:pt x="12" y="28"/>
                </a:moveTo>
                <a:lnTo>
                  <a:pt x="12" y="28"/>
                </a:lnTo>
                <a:lnTo>
                  <a:pt x="18" y="26"/>
                </a:lnTo>
                <a:lnTo>
                  <a:pt x="22" y="24"/>
                </a:lnTo>
                <a:lnTo>
                  <a:pt x="25" y="19"/>
                </a:lnTo>
                <a:lnTo>
                  <a:pt x="25" y="15"/>
                </a:lnTo>
                <a:lnTo>
                  <a:pt x="25" y="15"/>
                </a:lnTo>
                <a:lnTo>
                  <a:pt x="25" y="9"/>
                </a:lnTo>
                <a:lnTo>
                  <a:pt x="22" y="4"/>
                </a:lnTo>
                <a:lnTo>
                  <a:pt x="18" y="2"/>
                </a:lnTo>
                <a:lnTo>
                  <a:pt x="12" y="0"/>
                </a:lnTo>
                <a:lnTo>
                  <a:pt x="12" y="0"/>
                </a:lnTo>
                <a:lnTo>
                  <a:pt x="7" y="2"/>
                </a:lnTo>
                <a:lnTo>
                  <a:pt x="3" y="4"/>
                </a:lnTo>
                <a:lnTo>
                  <a:pt x="1" y="9"/>
                </a:lnTo>
                <a:lnTo>
                  <a:pt x="0" y="15"/>
                </a:lnTo>
                <a:lnTo>
                  <a:pt x="0" y="15"/>
                </a:lnTo>
                <a:lnTo>
                  <a:pt x="1" y="19"/>
                </a:lnTo>
                <a:lnTo>
                  <a:pt x="3" y="24"/>
                </a:lnTo>
                <a:lnTo>
                  <a:pt x="7" y="26"/>
                </a:lnTo>
                <a:lnTo>
                  <a:pt x="12" y="28"/>
                </a:lnTo>
                <a:lnTo>
                  <a:pt x="12" y="2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0" name="Freeform 60">
            <a:extLst>
              <a:ext uri="{FF2B5EF4-FFF2-40B4-BE49-F238E27FC236}">
                <a16:creationId xmlns:a16="http://schemas.microsoft.com/office/drawing/2014/main" id="{6B116190-8686-7B16-8AF0-012131AF3198}"/>
              </a:ext>
            </a:extLst>
          </p:cNvPr>
          <p:cNvSpPr>
            <a:spLocks noEditPoints="1"/>
          </p:cNvSpPr>
          <p:nvPr/>
        </p:nvSpPr>
        <p:spPr bwMode="auto">
          <a:xfrm>
            <a:off x="7332086" y="4064510"/>
            <a:ext cx="43554" cy="40053"/>
          </a:xfrm>
          <a:custGeom>
            <a:avLst/>
            <a:gdLst/>
            <a:ahLst/>
            <a:cxnLst>
              <a:cxn ang="0">
                <a:pos x="14" y="32"/>
              </a:cxn>
              <a:cxn ang="0">
                <a:pos x="14" y="32"/>
              </a:cxn>
              <a:cxn ang="0">
                <a:pos x="9" y="30"/>
              </a:cxn>
              <a:cxn ang="0">
                <a:pos x="3" y="26"/>
              </a:cxn>
              <a:cxn ang="0">
                <a:pos x="2" y="22"/>
              </a:cxn>
              <a:cxn ang="0">
                <a:pos x="0" y="17"/>
              </a:cxn>
              <a:cxn ang="0">
                <a:pos x="0" y="17"/>
              </a:cxn>
              <a:cxn ang="0">
                <a:pos x="2" y="10"/>
              </a:cxn>
              <a:cxn ang="0">
                <a:pos x="3" y="6"/>
              </a:cxn>
              <a:cxn ang="0">
                <a:pos x="9" y="2"/>
              </a:cxn>
              <a:cxn ang="0">
                <a:pos x="14" y="0"/>
              </a:cxn>
              <a:cxn ang="0">
                <a:pos x="14" y="0"/>
              </a:cxn>
              <a:cxn ang="0">
                <a:pos x="20" y="2"/>
              </a:cxn>
              <a:cxn ang="0">
                <a:pos x="25" y="6"/>
              </a:cxn>
              <a:cxn ang="0">
                <a:pos x="29" y="10"/>
              </a:cxn>
              <a:cxn ang="0">
                <a:pos x="29" y="17"/>
              </a:cxn>
              <a:cxn ang="0">
                <a:pos x="29" y="17"/>
              </a:cxn>
              <a:cxn ang="0">
                <a:pos x="29" y="22"/>
              </a:cxn>
              <a:cxn ang="0">
                <a:pos x="25" y="26"/>
              </a:cxn>
              <a:cxn ang="0">
                <a:pos x="20" y="30"/>
              </a:cxn>
              <a:cxn ang="0">
                <a:pos x="14" y="32"/>
              </a:cxn>
              <a:cxn ang="0">
                <a:pos x="14" y="32"/>
              </a:cxn>
              <a:cxn ang="0">
                <a:pos x="13" y="32"/>
              </a:cxn>
              <a:cxn ang="0">
                <a:pos x="14" y="32"/>
              </a:cxn>
              <a:cxn ang="0">
                <a:pos x="16" y="32"/>
              </a:cxn>
              <a:cxn ang="0">
                <a:pos x="14" y="32"/>
              </a:cxn>
              <a:cxn ang="0">
                <a:pos x="14" y="32"/>
              </a:cxn>
              <a:cxn ang="0">
                <a:pos x="14" y="4"/>
              </a:cxn>
              <a:cxn ang="0">
                <a:pos x="14" y="4"/>
              </a:cxn>
              <a:cxn ang="0">
                <a:pos x="11" y="6"/>
              </a:cxn>
              <a:cxn ang="0">
                <a:pos x="7" y="8"/>
              </a:cxn>
              <a:cxn ang="0">
                <a:pos x="3" y="11"/>
              </a:cxn>
              <a:cxn ang="0">
                <a:pos x="3" y="17"/>
              </a:cxn>
              <a:cxn ang="0">
                <a:pos x="3" y="17"/>
              </a:cxn>
              <a:cxn ang="0">
                <a:pos x="3" y="21"/>
              </a:cxn>
              <a:cxn ang="0">
                <a:pos x="7" y="24"/>
              </a:cxn>
              <a:cxn ang="0">
                <a:pos x="11" y="26"/>
              </a:cxn>
              <a:cxn ang="0">
                <a:pos x="14" y="28"/>
              </a:cxn>
              <a:cxn ang="0">
                <a:pos x="14" y="28"/>
              </a:cxn>
              <a:cxn ang="0">
                <a:pos x="20" y="26"/>
              </a:cxn>
              <a:cxn ang="0">
                <a:pos x="24" y="24"/>
              </a:cxn>
              <a:cxn ang="0">
                <a:pos x="25" y="21"/>
              </a:cxn>
              <a:cxn ang="0">
                <a:pos x="25" y="17"/>
              </a:cxn>
              <a:cxn ang="0">
                <a:pos x="25" y="17"/>
              </a:cxn>
              <a:cxn ang="0">
                <a:pos x="25" y="11"/>
              </a:cxn>
              <a:cxn ang="0">
                <a:pos x="24" y="8"/>
              </a:cxn>
              <a:cxn ang="0">
                <a:pos x="20" y="6"/>
              </a:cxn>
              <a:cxn ang="0">
                <a:pos x="14" y="4"/>
              </a:cxn>
              <a:cxn ang="0">
                <a:pos x="14" y="4"/>
              </a:cxn>
              <a:cxn ang="0">
                <a:pos x="14" y="4"/>
              </a:cxn>
              <a:cxn ang="0">
                <a:pos x="14" y="4"/>
              </a:cxn>
              <a:cxn ang="0">
                <a:pos x="14" y="4"/>
              </a:cxn>
            </a:cxnLst>
            <a:rect l="0" t="0" r="r" b="b"/>
            <a:pathLst>
              <a:path w="29" h="32">
                <a:moveTo>
                  <a:pt x="14" y="32"/>
                </a:moveTo>
                <a:lnTo>
                  <a:pt x="14" y="32"/>
                </a:lnTo>
                <a:lnTo>
                  <a:pt x="9" y="30"/>
                </a:lnTo>
                <a:lnTo>
                  <a:pt x="3" y="26"/>
                </a:lnTo>
                <a:lnTo>
                  <a:pt x="2" y="22"/>
                </a:lnTo>
                <a:lnTo>
                  <a:pt x="0" y="17"/>
                </a:lnTo>
                <a:lnTo>
                  <a:pt x="0" y="17"/>
                </a:lnTo>
                <a:lnTo>
                  <a:pt x="2" y="10"/>
                </a:lnTo>
                <a:lnTo>
                  <a:pt x="3" y="6"/>
                </a:lnTo>
                <a:lnTo>
                  <a:pt x="9" y="2"/>
                </a:lnTo>
                <a:lnTo>
                  <a:pt x="14" y="0"/>
                </a:lnTo>
                <a:lnTo>
                  <a:pt x="14" y="0"/>
                </a:lnTo>
                <a:lnTo>
                  <a:pt x="20" y="2"/>
                </a:lnTo>
                <a:lnTo>
                  <a:pt x="25" y="6"/>
                </a:lnTo>
                <a:lnTo>
                  <a:pt x="29" y="10"/>
                </a:lnTo>
                <a:lnTo>
                  <a:pt x="29" y="17"/>
                </a:lnTo>
                <a:lnTo>
                  <a:pt x="29" y="17"/>
                </a:lnTo>
                <a:lnTo>
                  <a:pt x="29" y="22"/>
                </a:lnTo>
                <a:lnTo>
                  <a:pt x="25" y="26"/>
                </a:lnTo>
                <a:lnTo>
                  <a:pt x="20" y="30"/>
                </a:lnTo>
                <a:lnTo>
                  <a:pt x="14" y="32"/>
                </a:lnTo>
                <a:lnTo>
                  <a:pt x="14" y="32"/>
                </a:lnTo>
                <a:lnTo>
                  <a:pt x="13" y="32"/>
                </a:lnTo>
                <a:lnTo>
                  <a:pt x="14" y="32"/>
                </a:lnTo>
                <a:lnTo>
                  <a:pt x="16" y="32"/>
                </a:lnTo>
                <a:lnTo>
                  <a:pt x="14" y="32"/>
                </a:lnTo>
                <a:lnTo>
                  <a:pt x="14" y="32"/>
                </a:lnTo>
                <a:close/>
                <a:moveTo>
                  <a:pt x="14" y="4"/>
                </a:moveTo>
                <a:lnTo>
                  <a:pt x="14" y="4"/>
                </a:lnTo>
                <a:lnTo>
                  <a:pt x="11" y="6"/>
                </a:lnTo>
                <a:lnTo>
                  <a:pt x="7" y="8"/>
                </a:lnTo>
                <a:lnTo>
                  <a:pt x="3" y="11"/>
                </a:lnTo>
                <a:lnTo>
                  <a:pt x="3" y="17"/>
                </a:lnTo>
                <a:lnTo>
                  <a:pt x="3" y="17"/>
                </a:lnTo>
                <a:lnTo>
                  <a:pt x="3" y="21"/>
                </a:lnTo>
                <a:lnTo>
                  <a:pt x="7" y="24"/>
                </a:lnTo>
                <a:lnTo>
                  <a:pt x="11" y="26"/>
                </a:lnTo>
                <a:lnTo>
                  <a:pt x="14" y="28"/>
                </a:lnTo>
                <a:lnTo>
                  <a:pt x="14" y="28"/>
                </a:lnTo>
                <a:lnTo>
                  <a:pt x="20" y="26"/>
                </a:lnTo>
                <a:lnTo>
                  <a:pt x="24" y="24"/>
                </a:lnTo>
                <a:lnTo>
                  <a:pt x="25" y="21"/>
                </a:lnTo>
                <a:lnTo>
                  <a:pt x="25" y="17"/>
                </a:lnTo>
                <a:lnTo>
                  <a:pt x="25" y="17"/>
                </a:lnTo>
                <a:lnTo>
                  <a:pt x="25" y="11"/>
                </a:lnTo>
                <a:lnTo>
                  <a:pt x="24" y="8"/>
                </a:lnTo>
                <a:lnTo>
                  <a:pt x="20" y="6"/>
                </a:lnTo>
                <a:lnTo>
                  <a:pt x="14" y="4"/>
                </a:lnTo>
                <a:lnTo>
                  <a:pt x="14" y="4"/>
                </a:lnTo>
                <a:lnTo>
                  <a:pt x="14" y="4"/>
                </a:lnTo>
                <a:lnTo>
                  <a:pt x="14" y="4"/>
                </a:lnTo>
                <a:lnTo>
                  <a:pt x="14" y="4"/>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1" name="Rectangle 61">
            <a:extLst>
              <a:ext uri="{FF2B5EF4-FFF2-40B4-BE49-F238E27FC236}">
                <a16:creationId xmlns:a16="http://schemas.microsoft.com/office/drawing/2014/main" id="{01DBB8BB-8BDE-DE42-F6DE-96D5DA52DE54}"/>
              </a:ext>
            </a:extLst>
          </p:cNvPr>
          <p:cNvSpPr>
            <a:spLocks noChangeArrowheads="1"/>
          </p:cNvSpPr>
          <p:nvPr/>
        </p:nvSpPr>
        <p:spPr bwMode="auto">
          <a:xfrm>
            <a:off x="6744850" y="4502602"/>
            <a:ext cx="12015"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2" name="Freeform 62">
            <a:extLst>
              <a:ext uri="{FF2B5EF4-FFF2-40B4-BE49-F238E27FC236}">
                <a16:creationId xmlns:a16="http://schemas.microsoft.com/office/drawing/2014/main" id="{6F3F7767-65CD-F1E7-D6D1-4EEC5EE724C5}"/>
              </a:ext>
            </a:extLst>
          </p:cNvPr>
          <p:cNvSpPr>
            <a:spLocks/>
          </p:cNvSpPr>
          <p:nvPr/>
        </p:nvSpPr>
        <p:spPr bwMode="auto">
          <a:xfrm>
            <a:off x="6744850" y="4502602"/>
            <a:ext cx="12015" cy="10014"/>
          </a:xfrm>
          <a:custGeom>
            <a:avLst/>
            <a:gdLst/>
            <a:ahLst/>
            <a:cxnLst>
              <a:cxn ang="0">
                <a:pos x="0" y="8"/>
              </a:cxn>
              <a:cxn ang="0">
                <a:pos x="8" y="8"/>
              </a:cxn>
              <a:cxn ang="0">
                <a:pos x="8" y="0"/>
              </a:cxn>
              <a:cxn ang="0">
                <a:pos x="0" y="0"/>
              </a:cxn>
            </a:cxnLst>
            <a:rect l="0" t="0" r="r" b="b"/>
            <a:pathLst>
              <a:path w="8" h="8">
                <a:moveTo>
                  <a:pt x="0" y="8"/>
                </a:moveTo>
                <a:lnTo>
                  <a:pt x="8" y="8"/>
                </a:lnTo>
                <a:lnTo>
                  <a:pt x="8"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3" name="Freeform 63">
            <a:extLst>
              <a:ext uri="{FF2B5EF4-FFF2-40B4-BE49-F238E27FC236}">
                <a16:creationId xmlns:a16="http://schemas.microsoft.com/office/drawing/2014/main" id="{3EE36805-FE79-7AD5-3654-84A495D7C3CC}"/>
              </a:ext>
            </a:extLst>
          </p:cNvPr>
          <p:cNvSpPr>
            <a:spLocks noEditPoints="1"/>
          </p:cNvSpPr>
          <p:nvPr/>
        </p:nvSpPr>
        <p:spPr bwMode="auto">
          <a:xfrm>
            <a:off x="6777891" y="4502602"/>
            <a:ext cx="545183" cy="10014"/>
          </a:xfrm>
          <a:custGeom>
            <a:avLst/>
            <a:gdLst/>
            <a:ahLst/>
            <a:cxnLst>
              <a:cxn ang="0">
                <a:pos x="363" y="8"/>
              </a:cxn>
              <a:cxn ang="0">
                <a:pos x="349" y="0"/>
              </a:cxn>
              <a:cxn ang="0">
                <a:pos x="319" y="8"/>
              </a:cxn>
              <a:cxn ang="0">
                <a:pos x="334" y="0"/>
              </a:cxn>
              <a:cxn ang="0">
                <a:pos x="319" y="8"/>
              </a:cxn>
              <a:cxn ang="0">
                <a:pos x="305" y="8"/>
              </a:cxn>
              <a:cxn ang="0">
                <a:pos x="290" y="0"/>
              </a:cxn>
              <a:cxn ang="0">
                <a:pos x="261" y="8"/>
              </a:cxn>
              <a:cxn ang="0">
                <a:pos x="275" y="0"/>
              </a:cxn>
              <a:cxn ang="0">
                <a:pos x="261" y="8"/>
              </a:cxn>
              <a:cxn ang="0">
                <a:pos x="246" y="8"/>
              </a:cxn>
              <a:cxn ang="0">
                <a:pos x="231" y="0"/>
              </a:cxn>
              <a:cxn ang="0">
                <a:pos x="204" y="8"/>
              </a:cxn>
              <a:cxn ang="0">
                <a:pos x="217" y="0"/>
              </a:cxn>
              <a:cxn ang="0">
                <a:pos x="204" y="8"/>
              </a:cxn>
              <a:cxn ang="0">
                <a:pos x="189" y="8"/>
              </a:cxn>
              <a:cxn ang="0">
                <a:pos x="175" y="0"/>
              </a:cxn>
              <a:cxn ang="0">
                <a:pos x="145" y="8"/>
              </a:cxn>
              <a:cxn ang="0">
                <a:pos x="160" y="0"/>
              </a:cxn>
              <a:cxn ang="0">
                <a:pos x="145" y="8"/>
              </a:cxn>
              <a:cxn ang="0">
                <a:pos x="131" y="8"/>
              </a:cxn>
              <a:cxn ang="0">
                <a:pos x="116" y="0"/>
              </a:cxn>
              <a:cxn ang="0">
                <a:pos x="87" y="8"/>
              </a:cxn>
              <a:cxn ang="0">
                <a:pos x="101" y="0"/>
              </a:cxn>
              <a:cxn ang="0">
                <a:pos x="87" y="8"/>
              </a:cxn>
              <a:cxn ang="0">
                <a:pos x="72" y="8"/>
              </a:cxn>
              <a:cxn ang="0">
                <a:pos x="57" y="0"/>
              </a:cxn>
              <a:cxn ang="0">
                <a:pos x="30" y="8"/>
              </a:cxn>
              <a:cxn ang="0">
                <a:pos x="43" y="0"/>
              </a:cxn>
              <a:cxn ang="0">
                <a:pos x="30" y="8"/>
              </a:cxn>
              <a:cxn ang="0">
                <a:pos x="15" y="8"/>
              </a:cxn>
              <a:cxn ang="0">
                <a:pos x="0" y="0"/>
              </a:cxn>
            </a:cxnLst>
            <a:rect l="0" t="0" r="r" b="b"/>
            <a:pathLst>
              <a:path w="363" h="8">
                <a:moveTo>
                  <a:pt x="349" y="8"/>
                </a:moveTo>
                <a:lnTo>
                  <a:pt x="363" y="8"/>
                </a:lnTo>
                <a:lnTo>
                  <a:pt x="363" y="0"/>
                </a:lnTo>
                <a:lnTo>
                  <a:pt x="349" y="0"/>
                </a:lnTo>
                <a:lnTo>
                  <a:pt x="349" y="8"/>
                </a:lnTo>
                <a:close/>
                <a:moveTo>
                  <a:pt x="319" y="8"/>
                </a:moveTo>
                <a:lnTo>
                  <a:pt x="334" y="8"/>
                </a:lnTo>
                <a:lnTo>
                  <a:pt x="334" y="0"/>
                </a:lnTo>
                <a:lnTo>
                  <a:pt x="319" y="0"/>
                </a:lnTo>
                <a:lnTo>
                  <a:pt x="319" y="8"/>
                </a:lnTo>
                <a:close/>
                <a:moveTo>
                  <a:pt x="290" y="8"/>
                </a:moveTo>
                <a:lnTo>
                  <a:pt x="305" y="8"/>
                </a:lnTo>
                <a:lnTo>
                  <a:pt x="305" y="0"/>
                </a:lnTo>
                <a:lnTo>
                  <a:pt x="290" y="0"/>
                </a:lnTo>
                <a:lnTo>
                  <a:pt x="290" y="8"/>
                </a:lnTo>
                <a:close/>
                <a:moveTo>
                  <a:pt x="261" y="8"/>
                </a:moveTo>
                <a:lnTo>
                  <a:pt x="275" y="8"/>
                </a:lnTo>
                <a:lnTo>
                  <a:pt x="275" y="0"/>
                </a:lnTo>
                <a:lnTo>
                  <a:pt x="261" y="0"/>
                </a:lnTo>
                <a:lnTo>
                  <a:pt x="261" y="8"/>
                </a:lnTo>
                <a:close/>
                <a:moveTo>
                  <a:pt x="231" y="8"/>
                </a:moveTo>
                <a:lnTo>
                  <a:pt x="246" y="8"/>
                </a:lnTo>
                <a:lnTo>
                  <a:pt x="246" y="0"/>
                </a:lnTo>
                <a:lnTo>
                  <a:pt x="231" y="0"/>
                </a:lnTo>
                <a:lnTo>
                  <a:pt x="231" y="8"/>
                </a:lnTo>
                <a:close/>
                <a:moveTo>
                  <a:pt x="204" y="8"/>
                </a:moveTo>
                <a:lnTo>
                  <a:pt x="217" y="8"/>
                </a:lnTo>
                <a:lnTo>
                  <a:pt x="217" y="0"/>
                </a:lnTo>
                <a:lnTo>
                  <a:pt x="204" y="0"/>
                </a:lnTo>
                <a:lnTo>
                  <a:pt x="204" y="8"/>
                </a:lnTo>
                <a:close/>
                <a:moveTo>
                  <a:pt x="175" y="8"/>
                </a:moveTo>
                <a:lnTo>
                  <a:pt x="189" y="8"/>
                </a:lnTo>
                <a:lnTo>
                  <a:pt x="189" y="0"/>
                </a:lnTo>
                <a:lnTo>
                  <a:pt x="175" y="0"/>
                </a:lnTo>
                <a:lnTo>
                  <a:pt x="175" y="8"/>
                </a:lnTo>
                <a:close/>
                <a:moveTo>
                  <a:pt x="145" y="8"/>
                </a:moveTo>
                <a:lnTo>
                  <a:pt x="160" y="8"/>
                </a:lnTo>
                <a:lnTo>
                  <a:pt x="160" y="0"/>
                </a:lnTo>
                <a:lnTo>
                  <a:pt x="145" y="0"/>
                </a:lnTo>
                <a:lnTo>
                  <a:pt x="145" y="8"/>
                </a:lnTo>
                <a:close/>
                <a:moveTo>
                  <a:pt x="116" y="8"/>
                </a:moveTo>
                <a:lnTo>
                  <a:pt x="131" y="8"/>
                </a:lnTo>
                <a:lnTo>
                  <a:pt x="131" y="0"/>
                </a:lnTo>
                <a:lnTo>
                  <a:pt x="116" y="0"/>
                </a:lnTo>
                <a:lnTo>
                  <a:pt x="116" y="8"/>
                </a:lnTo>
                <a:close/>
                <a:moveTo>
                  <a:pt x="87" y="8"/>
                </a:moveTo>
                <a:lnTo>
                  <a:pt x="101" y="8"/>
                </a:lnTo>
                <a:lnTo>
                  <a:pt x="101" y="0"/>
                </a:lnTo>
                <a:lnTo>
                  <a:pt x="87" y="0"/>
                </a:lnTo>
                <a:lnTo>
                  <a:pt x="87" y="8"/>
                </a:lnTo>
                <a:close/>
                <a:moveTo>
                  <a:pt x="57" y="8"/>
                </a:moveTo>
                <a:lnTo>
                  <a:pt x="72" y="8"/>
                </a:lnTo>
                <a:lnTo>
                  <a:pt x="72" y="0"/>
                </a:lnTo>
                <a:lnTo>
                  <a:pt x="57" y="0"/>
                </a:lnTo>
                <a:lnTo>
                  <a:pt x="57" y="8"/>
                </a:lnTo>
                <a:close/>
                <a:moveTo>
                  <a:pt x="30" y="8"/>
                </a:moveTo>
                <a:lnTo>
                  <a:pt x="43" y="8"/>
                </a:lnTo>
                <a:lnTo>
                  <a:pt x="43" y="0"/>
                </a:lnTo>
                <a:lnTo>
                  <a:pt x="30" y="0"/>
                </a:lnTo>
                <a:lnTo>
                  <a:pt x="30" y="8"/>
                </a:lnTo>
                <a:close/>
                <a:moveTo>
                  <a:pt x="0" y="8"/>
                </a:moveTo>
                <a:lnTo>
                  <a:pt x="15" y="8"/>
                </a:lnTo>
                <a:lnTo>
                  <a:pt x="15" y="0"/>
                </a:lnTo>
                <a:lnTo>
                  <a:pt x="0" y="0"/>
                </a:lnTo>
                <a:lnTo>
                  <a:pt x="0" y="8"/>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4" name="Rectangle 64">
            <a:extLst>
              <a:ext uri="{FF2B5EF4-FFF2-40B4-BE49-F238E27FC236}">
                <a16:creationId xmlns:a16="http://schemas.microsoft.com/office/drawing/2014/main" id="{F0D20E91-9FB7-D857-F009-F925268EF46E}"/>
              </a:ext>
            </a:extLst>
          </p:cNvPr>
          <p:cNvSpPr>
            <a:spLocks noChangeArrowheads="1"/>
          </p:cNvSpPr>
          <p:nvPr/>
        </p:nvSpPr>
        <p:spPr bwMode="auto">
          <a:xfrm>
            <a:off x="7345603" y="4502602"/>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5" name="Freeform 65">
            <a:extLst>
              <a:ext uri="{FF2B5EF4-FFF2-40B4-BE49-F238E27FC236}">
                <a16:creationId xmlns:a16="http://schemas.microsoft.com/office/drawing/2014/main" id="{12BDAA5C-DC99-3D39-D69A-367BDBA13544}"/>
              </a:ext>
            </a:extLst>
          </p:cNvPr>
          <p:cNvSpPr>
            <a:spLocks/>
          </p:cNvSpPr>
          <p:nvPr/>
        </p:nvSpPr>
        <p:spPr bwMode="auto">
          <a:xfrm>
            <a:off x="7345603" y="4502602"/>
            <a:ext cx="10514" cy="10014"/>
          </a:xfrm>
          <a:custGeom>
            <a:avLst/>
            <a:gdLst/>
            <a:ahLst/>
            <a:cxnLst>
              <a:cxn ang="0">
                <a:pos x="0" y="8"/>
              </a:cxn>
              <a:cxn ang="0">
                <a:pos x="7" y="8"/>
              </a:cxn>
              <a:cxn ang="0">
                <a:pos x="7" y="0"/>
              </a:cxn>
              <a:cxn ang="0">
                <a:pos x="0" y="0"/>
              </a:cxn>
            </a:cxnLst>
            <a:rect l="0" t="0" r="r" b="b"/>
            <a:pathLst>
              <a:path w="7" h="8">
                <a:moveTo>
                  <a:pt x="0" y="8"/>
                </a:moveTo>
                <a:lnTo>
                  <a:pt x="7" y="8"/>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6" name="Freeform 66">
            <a:extLst>
              <a:ext uri="{FF2B5EF4-FFF2-40B4-BE49-F238E27FC236}">
                <a16:creationId xmlns:a16="http://schemas.microsoft.com/office/drawing/2014/main" id="{8F21AF71-C77E-3CAD-A201-0DD9D327C42B}"/>
              </a:ext>
            </a:extLst>
          </p:cNvPr>
          <p:cNvSpPr>
            <a:spLocks/>
          </p:cNvSpPr>
          <p:nvPr/>
        </p:nvSpPr>
        <p:spPr bwMode="auto">
          <a:xfrm>
            <a:off x="7335089" y="4488833"/>
            <a:ext cx="37547" cy="35048"/>
          </a:xfrm>
          <a:custGeom>
            <a:avLst/>
            <a:gdLst/>
            <a:ahLst/>
            <a:cxnLst>
              <a:cxn ang="0">
                <a:pos x="12" y="28"/>
              </a:cxn>
              <a:cxn ang="0">
                <a:pos x="12" y="28"/>
              </a:cxn>
              <a:cxn ang="0">
                <a:pos x="18" y="26"/>
              </a:cxn>
              <a:cxn ang="0">
                <a:pos x="22" y="24"/>
              </a:cxn>
              <a:cxn ang="0">
                <a:pos x="25" y="19"/>
              </a:cxn>
              <a:cxn ang="0">
                <a:pos x="25" y="15"/>
              </a:cxn>
              <a:cxn ang="0">
                <a:pos x="25" y="15"/>
              </a:cxn>
              <a:cxn ang="0">
                <a:pos x="25" y="10"/>
              </a:cxn>
              <a:cxn ang="0">
                <a:pos x="22" y="6"/>
              </a:cxn>
              <a:cxn ang="0">
                <a:pos x="18" y="2"/>
              </a:cxn>
              <a:cxn ang="0">
                <a:pos x="12" y="0"/>
              </a:cxn>
              <a:cxn ang="0">
                <a:pos x="12" y="0"/>
              </a:cxn>
              <a:cxn ang="0">
                <a:pos x="7" y="2"/>
              </a:cxn>
              <a:cxn ang="0">
                <a:pos x="3" y="6"/>
              </a:cxn>
              <a:cxn ang="0">
                <a:pos x="1" y="10"/>
              </a:cxn>
              <a:cxn ang="0">
                <a:pos x="0" y="15"/>
              </a:cxn>
              <a:cxn ang="0">
                <a:pos x="0" y="15"/>
              </a:cxn>
              <a:cxn ang="0">
                <a:pos x="1" y="19"/>
              </a:cxn>
              <a:cxn ang="0">
                <a:pos x="3" y="24"/>
              </a:cxn>
              <a:cxn ang="0">
                <a:pos x="7" y="26"/>
              </a:cxn>
              <a:cxn ang="0">
                <a:pos x="12" y="28"/>
              </a:cxn>
              <a:cxn ang="0">
                <a:pos x="12" y="28"/>
              </a:cxn>
            </a:cxnLst>
            <a:rect l="0" t="0" r="r" b="b"/>
            <a:pathLst>
              <a:path w="25" h="28">
                <a:moveTo>
                  <a:pt x="12" y="28"/>
                </a:moveTo>
                <a:lnTo>
                  <a:pt x="12" y="28"/>
                </a:lnTo>
                <a:lnTo>
                  <a:pt x="18" y="26"/>
                </a:lnTo>
                <a:lnTo>
                  <a:pt x="22" y="24"/>
                </a:lnTo>
                <a:lnTo>
                  <a:pt x="25" y="19"/>
                </a:lnTo>
                <a:lnTo>
                  <a:pt x="25" y="15"/>
                </a:lnTo>
                <a:lnTo>
                  <a:pt x="25" y="15"/>
                </a:lnTo>
                <a:lnTo>
                  <a:pt x="25" y="10"/>
                </a:lnTo>
                <a:lnTo>
                  <a:pt x="22" y="6"/>
                </a:lnTo>
                <a:lnTo>
                  <a:pt x="18" y="2"/>
                </a:lnTo>
                <a:lnTo>
                  <a:pt x="12" y="0"/>
                </a:lnTo>
                <a:lnTo>
                  <a:pt x="12" y="0"/>
                </a:lnTo>
                <a:lnTo>
                  <a:pt x="7" y="2"/>
                </a:lnTo>
                <a:lnTo>
                  <a:pt x="3" y="6"/>
                </a:lnTo>
                <a:lnTo>
                  <a:pt x="1" y="10"/>
                </a:lnTo>
                <a:lnTo>
                  <a:pt x="0" y="15"/>
                </a:lnTo>
                <a:lnTo>
                  <a:pt x="0" y="15"/>
                </a:lnTo>
                <a:lnTo>
                  <a:pt x="1" y="19"/>
                </a:lnTo>
                <a:lnTo>
                  <a:pt x="3" y="24"/>
                </a:lnTo>
                <a:lnTo>
                  <a:pt x="7" y="26"/>
                </a:lnTo>
                <a:lnTo>
                  <a:pt x="12" y="28"/>
                </a:lnTo>
                <a:lnTo>
                  <a:pt x="12" y="2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7" name="Freeform 67">
            <a:extLst>
              <a:ext uri="{FF2B5EF4-FFF2-40B4-BE49-F238E27FC236}">
                <a16:creationId xmlns:a16="http://schemas.microsoft.com/office/drawing/2014/main" id="{74B80B9A-8187-29A0-D9F9-06274054B19A}"/>
              </a:ext>
            </a:extLst>
          </p:cNvPr>
          <p:cNvSpPr>
            <a:spLocks noEditPoints="1"/>
          </p:cNvSpPr>
          <p:nvPr/>
        </p:nvSpPr>
        <p:spPr bwMode="auto">
          <a:xfrm>
            <a:off x="7332086" y="4488833"/>
            <a:ext cx="43554" cy="37550"/>
          </a:xfrm>
          <a:custGeom>
            <a:avLst/>
            <a:gdLst/>
            <a:ahLst/>
            <a:cxnLst>
              <a:cxn ang="0">
                <a:pos x="14" y="30"/>
              </a:cxn>
              <a:cxn ang="0">
                <a:pos x="14" y="30"/>
              </a:cxn>
              <a:cxn ang="0">
                <a:pos x="9" y="28"/>
              </a:cxn>
              <a:cxn ang="0">
                <a:pos x="3" y="24"/>
              </a:cxn>
              <a:cxn ang="0">
                <a:pos x="2" y="20"/>
              </a:cxn>
              <a:cxn ang="0">
                <a:pos x="0" y="15"/>
              </a:cxn>
              <a:cxn ang="0">
                <a:pos x="0" y="15"/>
              </a:cxn>
              <a:cxn ang="0">
                <a:pos x="2" y="10"/>
              </a:cxn>
              <a:cxn ang="0">
                <a:pos x="3" y="4"/>
              </a:cxn>
              <a:cxn ang="0">
                <a:pos x="9" y="0"/>
              </a:cxn>
              <a:cxn ang="0">
                <a:pos x="14" y="0"/>
              </a:cxn>
              <a:cxn ang="0">
                <a:pos x="14" y="0"/>
              </a:cxn>
              <a:cxn ang="0">
                <a:pos x="20" y="0"/>
              </a:cxn>
              <a:cxn ang="0">
                <a:pos x="25" y="4"/>
              </a:cxn>
              <a:cxn ang="0">
                <a:pos x="29" y="10"/>
              </a:cxn>
              <a:cxn ang="0">
                <a:pos x="29" y="15"/>
              </a:cxn>
              <a:cxn ang="0">
                <a:pos x="29" y="15"/>
              </a:cxn>
              <a:cxn ang="0">
                <a:pos x="29" y="20"/>
              </a:cxn>
              <a:cxn ang="0">
                <a:pos x="25" y="24"/>
              </a:cxn>
              <a:cxn ang="0">
                <a:pos x="20" y="28"/>
              </a:cxn>
              <a:cxn ang="0">
                <a:pos x="14" y="30"/>
              </a:cxn>
              <a:cxn ang="0">
                <a:pos x="14" y="30"/>
              </a:cxn>
              <a:cxn ang="0">
                <a:pos x="13" y="30"/>
              </a:cxn>
              <a:cxn ang="0">
                <a:pos x="14" y="30"/>
              </a:cxn>
              <a:cxn ang="0">
                <a:pos x="16" y="30"/>
              </a:cxn>
              <a:cxn ang="0">
                <a:pos x="14" y="30"/>
              </a:cxn>
              <a:cxn ang="0">
                <a:pos x="14" y="30"/>
              </a:cxn>
              <a:cxn ang="0">
                <a:pos x="14" y="2"/>
              </a:cxn>
              <a:cxn ang="0">
                <a:pos x="14" y="2"/>
              </a:cxn>
              <a:cxn ang="0">
                <a:pos x="11" y="4"/>
              </a:cxn>
              <a:cxn ang="0">
                <a:pos x="7" y="6"/>
              </a:cxn>
              <a:cxn ang="0">
                <a:pos x="3" y="10"/>
              </a:cxn>
              <a:cxn ang="0">
                <a:pos x="3" y="15"/>
              </a:cxn>
              <a:cxn ang="0">
                <a:pos x="3" y="15"/>
              </a:cxn>
              <a:cxn ang="0">
                <a:pos x="3" y="19"/>
              </a:cxn>
              <a:cxn ang="0">
                <a:pos x="7" y="22"/>
              </a:cxn>
              <a:cxn ang="0">
                <a:pos x="11" y="24"/>
              </a:cxn>
              <a:cxn ang="0">
                <a:pos x="14" y="26"/>
              </a:cxn>
              <a:cxn ang="0">
                <a:pos x="14" y="26"/>
              </a:cxn>
              <a:cxn ang="0">
                <a:pos x="20" y="24"/>
              </a:cxn>
              <a:cxn ang="0">
                <a:pos x="24" y="22"/>
              </a:cxn>
              <a:cxn ang="0">
                <a:pos x="25" y="19"/>
              </a:cxn>
              <a:cxn ang="0">
                <a:pos x="25" y="15"/>
              </a:cxn>
              <a:cxn ang="0">
                <a:pos x="25" y="15"/>
              </a:cxn>
              <a:cxn ang="0">
                <a:pos x="25" y="10"/>
              </a:cxn>
              <a:cxn ang="0">
                <a:pos x="24" y="6"/>
              </a:cxn>
              <a:cxn ang="0">
                <a:pos x="20" y="4"/>
              </a:cxn>
              <a:cxn ang="0">
                <a:pos x="14" y="2"/>
              </a:cxn>
              <a:cxn ang="0">
                <a:pos x="14" y="2"/>
              </a:cxn>
              <a:cxn ang="0">
                <a:pos x="14" y="2"/>
              </a:cxn>
              <a:cxn ang="0">
                <a:pos x="14" y="2"/>
              </a:cxn>
              <a:cxn ang="0">
                <a:pos x="14" y="2"/>
              </a:cxn>
            </a:cxnLst>
            <a:rect l="0" t="0" r="r" b="b"/>
            <a:pathLst>
              <a:path w="29" h="30">
                <a:moveTo>
                  <a:pt x="14" y="30"/>
                </a:moveTo>
                <a:lnTo>
                  <a:pt x="14" y="30"/>
                </a:lnTo>
                <a:lnTo>
                  <a:pt x="9" y="28"/>
                </a:lnTo>
                <a:lnTo>
                  <a:pt x="3" y="24"/>
                </a:lnTo>
                <a:lnTo>
                  <a:pt x="2" y="20"/>
                </a:lnTo>
                <a:lnTo>
                  <a:pt x="0" y="15"/>
                </a:lnTo>
                <a:lnTo>
                  <a:pt x="0" y="15"/>
                </a:lnTo>
                <a:lnTo>
                  <a:pt x="2" y="10"/>
                </a:lnTo>
                <a:lnTo>
                  <a:pt x="3" y="4"/>
                </a:lnTo>
                <a:lnTo>
                  <a:pt x="9" y="0"/>
                </a:lnTo>
                <a:lnTo>
                  <a:pt x="14" y="0"/>
                </a:lnTo>
                <a:lnTo>
                  <a:pt x="14" y="0"/>
                </a:lnTo>
                <a:lnTo>
                  <a:pt x="20" y="0"/>
                </a:lnTo>
                <a:lnTo>
                  <a:pt x="25" y="4"/>
                </a:lnTo>
                <a:lnTo>
                  <a:pt x="29" y="10"/>
                </a:lnTo>
                <a:lnTo>
                  <a:pt x="29" y="15"/>
                </a:lnTo>
                <a:lnTo>
                  <a:pt x="29" y="15"/>
                </a:lnTo>
                <a:lnTo>
                  <a:pt x="29" y="20"/>
                </a:lnTo>
                <a:lnTo>
                  <a:pt x="25" y="24"/>
                </a:lnTo>
                <a:lnTo>
                  <a:pt x="20" y="28"/>
                </a:lnTo>
                <a:lnTo>
                  <a:pt x="14" y="30"/>
                </a:lnTo>
                <a:lnTo>
                  <a:pt x="14" y="30"/>
                </a:lnTo>
                <a:lnTo>
                  <a:pt x="13" y="30"/>
                </a:lnTo>
                <a:lnTo>
                  <a:pt x="14" y="30"/>
                </a:lnTo>
                <a:lnTo>
                  <a:pt x="16" y="30"/>
                </a:lnTo>
                <a:lnTo>
                  <a:pt x="14" y="30"/>
                </a:lnTo>
                <a:lnTo>
                  <a:pt x="14" y="30"/>
                </a:lnTo>
                <a:close/>
                <a:moveTo>
                  <a:pt x="14" y="2"/>
                </a:moveTo>
                <a:lnTo>
                  <a:pt x="14" y="2"/>
                </a:lnTo>
                <a:lnTo>
                  <a:pt x="11" y="4"/>
                </a:lnTo>
                <a:lnTo>
                  <a:pt x="7" y="6"/>
                </a:lnTo>
                <a:lnTo>
                  <a:pt x="3" y="10"/>
                </a:lnTo>
                <a:lnTo>
                  <a:pt x="3" y="15"/>
                </a:lnTo>
                <a:lnTo>
                  <a:pt x="3" y="15"/>
                </a:lnTo>
                <a:lnTo>
                  <a:pt x="3" y="19"/>
                </a:lnTo>
                <a:lnTo>
                  <a:pt x="7" y="22"/>
                </a:lnTo>
                <a:lnTo>
                  <a:pt x="11" y="24"/>
                </a:lnTo>
                <a:lnTo>
                  <a:pt x="14" y="26"/>
                </a:lnTo>
                <a:lnTo>
                  <a:pt x="14" y="26"/>
                </a:lnTo>
                <a:lnTo>
                  <a:pt x="20" y="24"/>
                </a:lnTo>
                <a:lnTo>
                  <a:pt x="24" y="22"/>
                </a:lnTo>
                <a:lnTo>
                  <a:pt x="25" y="19"/>
                </a:lnTo>
                <a:lnTo>
                  <a:pt x="25" y="15"/>
                </a:lnTo>
                <a:lnTo>
                  <a:pt x="25" y="15"/>
                </a:lnTo>
                <a:lnTo>
                  <a:pt x="25" y="10"/>
                </a:lnTo>
                <a:lnTo>
                  <a:pt x="24" y="6"/>
                </a:lnTo>
                <a:lnTo>
                  <a:pt x="20" y="4"/>
                </a:lnTo>
                <a:lnTo>
                  <a:pt x="14" y="2"/>
                </a:lnTo>
                <a:lnTo>
                  <a:pt x="14" y="2"/>
                </a:lnTo>
                <a:lnTo>
                  <a:pt x="14" y="2"/>
                </a:lnTo>
                <a:lnTo>
                  <a:pt x="14" y="2"/>
                </a:lnTo>
                <a:lnTo>
                  <a:pt x="14" y="2"/>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8" name="Rectangle 68">
            <a:extLst>
              <a:ext uri="{FF2B5EF4-FFF2-40B4-BE49-F238E27FC236}">
                <a16:creationId xmlns:a16="http://schemas.microsoft.com/office/drawing/2014/main" id="{F8DE2A2A-E696-AF38-B27A-EED0F9CA1104}"/>
              </a:ext>
            </a:extLst>
          </p:cNvPr>
          <p:cNvSpPr>
            <a:spLocks noChangeArrowheads="1"/>
          </p:cNvSpPr>
          <p:nvPr/>
        </p:nvSpPr>
        <p:spPr bwMode="auto">
          <a:xfrm>
            <a:off x="6657742" y="4924421"/>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299" name="Freeform 69">
            <a:extLst>
              <a:ext uri="{FF2B5EF4-FFF2-40B4-BE49-F238E27FC236}">
                <a16:creationId xmlns:a16="http://schemas.microsoft.com/office/drawing/2014/main" id="{12B23FA7-FB09-1F96-D46B-0E829A03A873}"/>
              </a:ext>
            </a:extLst>
          </p:cNvPr>
          <p:cNvSpPr>
            <a:spLocks/>
          </p:cNvSpPr>
          <p:nvPr/>
        </p:nvSpPr>
        <p:spPr bwMode="auto">
          <a:xfrm>
            <a:off x="6657742" y="4924421"/>
            <a:ext cx="10514" cy="10014"/>
          </a:xfrm>
          <a:custGeom>
            <a:avLst/>
            <a:gdLst/>
            <a:ahLst/>
            <a:cxnLst>
              <a:cxn ang="0">
                <a:pos x="0" y="8"/>
              </a:cxn>
              <a:cxn ang="0">
                <a:pos x="7" y="8"/>
              </a:cxn>
              <a:cxn ang="0">
                <a:pos x="7" y="0"/>
              </a:cxn>
              <a:cxn ang="0">
                <a:pos x="0" y="0"/>
              </a:cxn>
            </a:cxnLst>
            <a:rect l="0" t="0" r="r" b="b"/>
            <a:pathLst>
              <a:path w="7" h="8">
                <a:moveTo>
                  <a:pt x="0" y="8"/>
                </a:moveTo>
                <a:lnTo>
                  <a:pt x="7" y="8"/>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0" name="Freeform 70">
            <a:extLst>
              <a:ext uri="{FF2B5EF4-FFF2-40B4-BE49-F238E27FC236}">
                <a16:creationId xmlns:a16="http://schemas.microsoft.com/office/drawing/2014/main" id="{E6C1D5A6-71F9-27C6-7BFA-2D89D996AAF2}"/>
              </a:ext>
            </a:extLst>
          </p:cNvPr>
          <p:cNvSpPr>
            <a:spLocks noEditPoints="1"/>
          </p:cNvSpPr>
          <p:nvPr/>
        </p:nvSpPr>
        <p:spPr bwMode="auto">
          <a:xfrm>
            <a:off x="6690783" y="4924421"/>
            <a:ext cx="629287" cy="10014"/>
          </a:xfrm>
          <a:custGeom>
            <a:avLst/>
            <a:gdLst/>
            <a:ahLst/>
            <a:cxnLst>
              <a:cxn ang="0">
                <a:pos x="419" y="8"/>
              </a:cxn>
              <a:cxn ang="0">
                <a:pos x="407" y="0"/>
              </a:cxn>
              <a:cxn ang="0">
                <a:pos x="377" y="8"/>
              </a:cxn>
              <a:cxn ang="0">
                <a:pos x="392" y="0"/>
              </a:cxn>
              <a:cxn ang="0">
                <a:pos x="377" y="8"/>
              </a:cxn>
              <a:cxn ang="0">
                <a:pos x="363" y="8"/>
              </a:cxn>
              <a:cxn ang="0">
                <a:pos x="348" y="0"/>
              </a:cxn>
              <a:cxn ang="0">
                <a:pos x="319" y="8"/>
              </a:cxn>
              <a:cxn ang="0">
                <a:pos x="333" y="0"/>
              </a:cxn>
              <a:cxn ang="0">
                <a:pos x="319" y="8"/>
              </a:cxn>
              <a:cxn ang="0">
                <a:pos x="304" y="8"/>
              </a:cxn>
              <a:cxn ang="0">
                <a:pos x="289" y="0"/>
              </a:cxn>
              <a:cxn ang="0">
                <a:pos x="260" y="8"/>
              </a:cxn>
              <a:cxn ang="0">
                <a:pos x="275" y="0"/>
              </a:cxn>
              <a:cxn ang="0">
                <a:pos x="260" y="8"/>
              </a:cxn>
              <a:cxn ang="0">
                <a:pos x="245" y="8"/>
              </a:cxn>
              <a:cxn ang="0">
                <a:pos x="231" y="0"/>
              </a:cxn>
              <a:cxn ang="0">
                <a:pos x="203" y="8"/>
              </a:cxn>
              <a:cxn ang="0">
                <a:pos x="218" y="0"/>
              </a:cxn>
              <a:cxn ang="0">
                <a:pos x="203" y="8"/>
              </a:cxn>
              <a:cxn ang="0">
                <a:pos x="189" y="8"/>
              </a:cxn>
              <a:cxn ang="0">
                <a:pos x="174" y="0"/>
              </a:cxn>
              <a:cxn ang="0">
                <a:pos x="145" y="8"/>
              </a:cxn>
              <a:cxn ang="0">
                <a:pos x="159" y="0"/>
              </a:cxn>
              <a:cxn ang="0">
                <a:pos x="145" y="8"/>
              </a:cxn>
              <a:cxn ang="0">
                <a:pos x="130" y="8"/>
              </a:cxn>
              <a:cxn ang="0">
                <a:pos x="115" y="0"/>
              </a:cxn>
              <a:cxn ang="0">
                <a:pos x="86" y="8"/>
              </a:cxn>
              <a:cxn ang="0">
                <a:pos x="101" y="0"/>
              </a:cxn>
              <a:cxn ang="0">
                <a:pos x="86" y="8"/>
              </a:cxn>
              <a:cxn ang="0">
                <a:pos x="71" y="8"/>
              </a:cxn>
              <a:cxn ang="0">
                <a:pos x="57" y="0"/>
              </a:cxn>
              <a:cxn ang="0">
                <a:pos x="29" y="8"/>
              </a:cxn>
              <a:cxn ang="0">
                <a:pos x="42" y="0"/>
              </a:cxn>
              <a:cxn ang="0">
                <a:pos x="29" y="8"/>
              </a:cxn>
              <a:cxn ang="0">
                <a:pos x="15" y="8"/>
              </a:cxn>
              <a:cxn ang="0">
                <a:pos x="0" y="0"/>
              </a:cxn>
            </a:cxnLst>
            <a:rect l="0" t="0" r="r" b="b"/>
            <a:pathLst>
              <a:path w="419" h="8">
                <a:moveTo>
                  <a:pt x="407" y="8"/>
                </a:moveTo>
                <a:lnTo>
                  <a:pt x="419" y="8"/>
                </a:lnTo>
                <a:lnTo>
                  <a:pt x="419" y="0"/>
                </a:lnTo>
                <a:lnTo>
                  <a:pt x="407" y="0"/>
                </a:lnTo>
                <a:lnTo>
                  <a:pt x="407" y="8"/>
                </a:lnTo>
                <a:close/>
                <a:moveTo>
                  <a:pt x="377" y="8"/>
                </a:moveTo>
                <a:lnTo>
                  <a:pt x="392" y="8"/>
                </a:lnTo>
                <a:lnTo>
                  <a:pt x="392" y="0"/>
                </a:lnTo>
                <a:lnTo>
                  <a:pt x="377" y="0"/>
                </a:lnTo>
                <a:lnTo>
                  <a:pt x="377" y="8"/>
                </a:lnTo>
                <a:close/>
                <a:moveTo>
                  <a:pt x="348" y="8"/>
                </a:moveTo>
                <a:lnTo>
                  <a:pt x="363" y="8"/>
                </a:lnTo>
                <a:lnTo>
                  <a:pt x="363" y="0"/>
                </a:lnTo>
                <a:lnTo>
                  <a:pt x="348" y="0"/>
                </a:lnTo>
                <a:lnTo>
                  <a:pt x="348" y="8"/>
                </a:lnTo>
                <a:close/>
                <a:moveTo>
                  <a:pt x="319" y="8"/>
                </a:moveTo>
                <a:lnTo>
                  <a:pt x="333" y="8"/>
                </a:lnTo>
                <a:lnTo>
                  <a:pt x="333" y="0"/>
                </a:lnTo>
                <a:lnTo>
                  <a:pt x="319" y="0"/>
                </a:lnTo>
                <a:lnTo>
                  <a:pt x="319" y="8"/>
                </a:lnTo>
                <a:close/>
                <a:moveTo>
                  <a:pt x="289" y="8"/>
                </a:moveTo>
                <a:lnTo>
                  <a:pt x="304" y="8"/>
                </a:lnTo>
                <a:lnTo>
                  <a:pt x="304" y="0"/>
                </a:lnTo>
                <a:lnTo>
                  <a:pt x="289" y="0"/>
                </a:lnTo>
                <a:lnTo>
                  <a:pt x="289" y="8"/>
                </a:lnTo>
                <a:close/>
                <a:moveTo>
                  <a:pt x="260" y="8"/>
                </a:moveTo>
                <a:lnTo>
                  <a:pt x="275" y="8"/>
                </a:lnTo>
                <a:lnTo>
                  <a:pt x="275" y="0"/>
                </a:lnTo>
                <a:lnTo>
                  <a:pt x="260" y="0"/>
                </a:lnTo>
                <a:lnTo>
                  <a:pt x="260" y="8"/>
                </a:lnTo>
                <a:close/>
                <a:moveTo>
                  <a:pt x="231" y="8"/>
                </a:moveTo>
                <a:lnTo>
                  <a:pt x="245" y="8"/>
                </a:lnTo>
                <a:lnTo>
                  <a:pt x="245" y="0"/>
                </a:lnTo>
                <a:lnTo>
                  <a:pt x="231" y="0"/>
                </a:lnTo>
                <a:lnTo>
                  <a:pt x="231" y="8"/>
                </a:lnTo>
                <a:close/>
                <a:moveTo>
                  <a:pt x="203" y="8"/>
                </a:moveTo>
                <a:lnTo>
                  <a:pt x="218" y="8"/>
                </a:lnTo>
                <a:lnTo>
                  <a:pt x="218" y="0"/>
                </a:lnTo>
                <a:lnTo>
                  <a:pt x="203" y="0"/>
                </a:lnTo>
                <a:lnTo>
                  <a:pt x="203" y="8"/>
                </a:lnTo>
                <a:close/>
                <a:moveTo>
                  <a:pt x="174" y="8"/>
                </a:moveTo>
                <a:lnTo>
                  <a:pt x="189" y="8"/>
                </a:lnTo>
                <a:lnTo>
                  <a:pt x="189" y="0"/>
                </a:lnTo>
                <a:lnTo>
                  <a:pt x="174" y="0"/>
                </a:lnTo>
                <a:lnTo>
                  <a:pt x="174" y="8"/>
                </a:lnTo>
                <a:close/>
                <a:moveTo>
                  <a:pt x="145" y="8"/>
                </a:moveTo>
                <a:lnTo>
                  <a:pt x="159" y="8"/>
                </a:lnTo>
                <a:lnTo>
                  <a:pt x="159" y="0"/>
                </a:lnTo>
                <a:lnTo>
                  <a:pt x="145" y="0"/>
                </a:lnTo>
                <a:lnTo>
                  <a:pt x="145" y="8"/>
                </a:lnTo>
                <a:close/>
                <a:moveTo>
                  <a:pt x="115" y="8"/>
                </a:moveTo>
                <a:lnTo>
                  <a:pt x="130" y="8"/>
                </a:lnTo>
                <a:lnTo>
                  <a:pt x="130" y="0"/>
                </a:lnTo>
                <a:lnTo>
                  <a:pt x="115" y="0"/>
                </a:lnTo>
                <a:lnTo>
                  <a:pt x="115" y="8"/>
                </a:lnTo>
                <a:close/>
                <a:moveTo>
                  <a:pt x="86" y="8"/>
                </a:moveTo>
                <a:lnTo>
                  <a:pt x="101" y="8"/>
                </a:lnTo>
                <a:lnTo>
                  <a:pt x="101" y="0"/>
                </a:lnTo>
                <a:lnTo>
                  <a:pt x="86" y="0"/>
                </a:lnTo>
                <a:lnTo>
                  <a:pt x="86" y="8"/>
                </a:lnTo>
                <a:close/>
                <a:moveTo>
                  <a:pt x="57" y="8"/>
                </a:moveTo>
                <a:lnTo>
                  <a:pt x="71" y="8"/>
                </a:lnTo>
                <a:lnTo>
                  <a:pt x="71" y="0"/>
                </a:lnTo>
                <a:lnTo>
                  <a:pt x="57" y="0"/>
                </a:lnTo>
                <a:lnTo>
                  <a:pt x="57" y="8"/>
                </a:lnTo>
                <a:close/>
                <a:moveTo>
                  <a:pt x="29" y="8"/>
                </a:moveTo>
                <a:lnTo>
                  <a:pt x="42" y="8"/>
                </a:lnTo>
                <a:lnTo>
                  <a:pt x="42" y="0"/>
                </a:lnTo>
                <a:lnTo>
                  <a:pt x="29" y="0"/>
                </a:lnTo>
                <a:lnTo>
                  <a:pt x="29" y="8"/>
                </a:lnTo>
                <a:close/>
                <a:moveTo>
                  <a:pt x="0" y="8"/>
                </a:moveTo>
                <a:lnTo>
                  <a:pt x="15" y="8"/>
                </a:lnTo>
                <a:lnTo>
                  <a:pt x="15" y="0"/>
                </a:lnTo>
                <a:lnTo>
                  <a:pt x="0" y="0"/>
                </a:lnTo>
                <a:lnTo>
                  <a:pt x="0" y="8"/>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1" name="Rectangle 71">
            <a:extLst>
              <a:ext uri="{FF2B5EF4-FFF2-40B4-BE49-F238E27FC236}">
                <a16:creationId xmlns:a16="http://schemas.microsoft.com/office/drawing/2014/main" id="{A8416249-C5C4-5256-5E3F-944FF70132E9}"/>
              </a:ext>
            </a:extLst>
          </p:cNvPr>
          <p:cNvSpPr>
            <a:spLocks noChangeArrowheads="1"/>
          </p:cNvSpPr>
          <p:nvPr/>
        </p:nvSpPr>
        <p:spPr bwMode="auto">
          <a:xfrm>
            <a:off x="7342600" y="4924421"/>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2" name="Freeform 72">
            <a:extLst>
              <a:ext uri="{FF2B5EF4-FFF2-40B4-BE49-F238E27FC236}">
                <a16:creationId xmlns:a16="http://schemas.microsoft.com/office/drawing/2014/main" id="{5BA50062-7187-4064-83E5-99D8D41ED892}"/>
              </a:ext>
            </a:extLst>
          </p:cNvPr>
          <p:cNvSpPr>
            <a:spLocks/>
          </p:cNvSpPr>
          <p:nvPr/>
        </p:nvSpPr>
        <p:spPr bwMode="auto">
          <a:xfrm>
            <a:off x="7342600" y="4924421"/>
            <a:ext cx="10514" cy="10014"/>
          </a:xfrm>
          <a:custGeom>
            <a:avLst/>
            <a:gdLst/>
            <a:ahLst/>
            <a:cxnLst>
              <a:cxn ang="0">
                <a:pos x="0" y="8"/>
              </a:cxn>
              <a:cxn ang="0">
                <a:pos x="7" y="8"/>
              </a:cxn>
              <a:cxn ang="0">
                <a:pos x="7" y="0"/>
              </a:cxn>
              <a:cxn ang="0">
                <a:pos x="0" y="0"/>
              </a:cxn>
            </a:cxnLst>
            <a:rect l="0" t="0" r="r" b="b"/>
            <a:pathLst>
              <a:path w="7" h="8">
                <a:moveTo>
                  <a:pt x="0" y="8"/>
                </a:moveTo>
                <a:lnTo>
                  <a:pt x="7" y="8"/>
                </a:lnTo>
                <a:lnTo>
                  <a:pt x="7"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3" name="Freeform 73">
            <a:extLst>
              <a:ext uri="{FF2B5EF4-FFF2-40B4-BE49-F238E27FC236}">
                <a16:creationId xmlns:a16="http://schemas.microsoft.com/office/drawing/2014/main" id="{DA6FBD52-7780-09D5-33D1-EA9A7C5F17A7}"/>
              </a:ext>
            </a:extLst>
          </p:cNvPr>
          <p:cNvSpPr>
            <a:spLocks/>
          </p:cNvSpPr>
          <p:nvPr/>
        </p:nvSpPr>
        <p:spPr bwMode="auto">
          <a:xfrm>
            <a:off x="7335089" y="4910653"/>
            <a:ext cx="37547" cy="35048"/>
          </a:xfrm>
          <a:custGeom>
            <a:avLst/>
            <a:gdLst/>
            <a:ahLst/>
            <a:cxnLst>
              <a:cxn ang="0">
                <a:pos x="12" y="28"/>
              </a:cxn>
              <a:cxn ang="0">
                <a:pos x="12" y="28"/>
              </a:cxn>
              <a:cxn ang="0">
                <a:pos x="18" y="28"/>
              </a:cxn>
              <a:cxn ang="0">
                <a:pos x="22" y="24"/>
              </a:cxn>
              <a:cxn ang="0">
                <a:pos x="25" y="21"/>
              </a:cxn>
              <a:cxn ang="0">
                <a:pos x="25" y="15"/>
              </a:cxn>
              <a:cxn ang="0">
                <a:pos x="25" y="15"/>
              </a:cxn>
              <a:cxn ang="0">
                <a:pos x="25" y="10"/>
              </a:cxn>
              <a:cxn ang="0">
                <a:pos x="22" y="6"/>
              </a:cxn>
              <a:cxn ang="0">
                <a:pos x="18" y="2"/>
              </a:cxn>
              <a:cxn ang="0">
                <a:pos x="12" y="0"/>
              </a:cxn>
              <a:cxn ang="0">
                <a:pos x="12" y="0"/>
              </a:cxn>
              <a:cxn ang="0">
                <a:pos x="7" y="2"/>
              </a:cxn>
              <a:cxn ang="0">
                <a:pos x="3" y="6"/>
              </a:cxn>
              <a:cxn ang="0">
                <a:pos x="0" y="10"/>
              </a:cxn>
              <a:cxn ang="0">
                <a:pos x="0" y="15"/>
              </a:cxn>
              <a:cxn ang="0">
                <a:pos x="0" y="15"/>
              </a:cxn>
              <a:cxn ang="0">
                <a:pos x="0" y="21"/>
              </a:cxn>
              <a:cxn ang="0">
                <a:pos x="3" y="24"/>
              </a:cxn>
              <a:cxn ang="0">
                <a:pos x="7" y="28"/>
              </a:cxn>
              <a:cxn ang="0">
                <a:pos x="12" y="28"/>
              </a:cxn>
              <a:cxn ang="0">
                <a:pos x="12" y="28"/>
              </a:cxn>
            </a:cxnLst>
            <a:rect l="0" t="0" r="r" b="b"/>
            <a:pathLst>
              <a:path w="25" h="28">
                <a:moveTo>
                  <a:pt x="12" y="28"/>
                </a:moveTo>
                <a:lnTo>
                  <a:pt x="12" y="28"/>
                </a:lnTo>
                <a:lnTo>
                  <a:pt x="18" y="28"/>
                </a:lnTo>
                <a:lnTo>
                  <a:pt x="22" y="24"/>
                </a:lnTo>
                <a:lnTo>
                  <a:pt x="25" y="21"/>
                </a:lnTo>
                <a:lnTo>
                  <a:pt x="25" y="15"/>
                </a:lnTo>
                <a:lnTo>
                  <a:pt x="25" y="15"/>
                </a:lnTo>
                <a:lnTo>
                  <a:pt x="25" y="10"/>
                </a:lnTo>
                <a:lnTo>
                  <a:pt x="22" y="6"/>
                </a:lnTo>
                <a:lnTo>
                  <a:pt x="18" y="2"/>
                </a:lnTo>
                <a:lnTo>
                  <a:pt x="12" y="0"/>
                </a:lnTo>
                <a:lnTo>
                  <a:pt x="12" y="0"/>
                </a:lnTo>
                <a:lnTo>
                  <a:pt x="7" y="2"/>
                </a:lnTo>
                <a:lnTo>
                  <a:pt x="3" y="6"/>
                </a:lnTo>
                <a:lnTo>
                  <a:pt x="0" y="10"/>
                </a:lnTo>
                <a:lnTo>
                  <a:pt x="0" y="15"/>
                </a:lnTo>
                <a:lnTo>
                  <a:pt x="0" y="15"/>
                </a:lnTo>
                <a:lnTo>
                  <a:pt x="0" y="21"/>
                </a:lnTo>
                <a:lnTo>
                  <a:pt x="3" y="24"/>
                </a:lnTo>
                <a:lnTo>
                  <a:pt x="7" y="28"/>
                </a:lnTo>
                <a:lnTo>
                  <a:pt x="12" y="28"/>
                </a:lnTo>
                <a:lnTo>
                  <a:pt x="12" y="2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4" name="Freeform 74">
            <a:extLst>
              <a:ext uri="{FF2B5EF4-FFF2-40B4-BE49-F238E27FC236}">
                <a16:creationId xmlns:a16="http://schemas.microsoft.com/office/drawing/2014/main" id="{B2CF87AC-AC32-EE64-2C8E-FFA950206F3F}"/>
              </a:ext>
            </a:extLst>
          </p:cNvPr>
          <p:cNvSpPr>
            <a:spLocks noEditPoints="1"/>
          </p:cNvSpPr>
          <p:nvPr/>
        </p:nvSpPr>
        <p:spPr bwMode="auto">
          <a:xfrm>
            <a:off x="7332086" y="4909402"/>
            <a:ext cx="43554" cy="38803"/>
          </a:xfrm>
          <a:custGeom>
            <a:avLst/>
            <a:gdLst/>
            <a:ahLst/>
            <a:cxnLst>
              <a:cxn ang="0">
                <a:pos x="14" y="31"/>
              </a:cxn>
              <a:cxn ang="0">
                <a:pos x="14" y="31"/>
              </a:cxn>
              <a:cxn ang="0">
                <a:pos x="9" y="31"/>
              </a:cxn>
              <a:cxn ang="0">
                <a:pos x="3" y="27"/>
              </a:cxn>
              <a:cxn ang="0">
                <a:pos x="0" y="22"/>
              </a:cxn>
              <a:cxn ang="0">
                <a:pos x="0" y="16"/>
              </a:cxn>
              <a:cxn ang="0">
                <a:pos x="0" y="16"/>
              </a:cxn>
              <a:cxn ang="0">
                <a:pos x="0" y="11"/>
              </a:cxn>
              <a:cxn ang="0">
                <a:pos x="3" y="5"/>
              </a:cxn>
              <a:cxn ang="0">
                <a:pos x="9" y="1"/>
              </a:cxn>
              <a:cxn ang="0">
                <a:pos x="14" y="0"/>
              </a:cxn>
              <a:cxn ang="0">
                <a:pos x="14" y="0"/>
              </a:cxn>
              <a:cxn ang="0">
                <a:pos x="20" y="1"/>
              </a:cxn>
              <a:cxn ang="0">
                <a:pos x="25" y="5"/>
              </a:cxn>
              <a:cxn ang="0">
                <a:pos x="29" y="11"/>
              </a:cxn>
              <a:cxn ang="0">
                <a:pos x="29" y="16"/>
              </a:cxn>
              <a:cxn ang="0">
                <a:pos x="29" y="16"/>
              </a:cxn>
              <a:cxn ang="0">
                <a:pos x="29" y="22"/>
              </a:cxn>
              <a:cxn ang="0">
                <a:pos x="25" y="27"/>
              </a:cxn>
              <a:cxn ang="0">
                <a:pos x="20" y="31"/>
              </a:cxn>
              <a:cxn ang="0">
                <a:pos x="14" y="31"/>
              </a:cxn>
              <a:cxn ang="0">
                <a:pos x="14" y="31"/>
              </a:cxn>
              <a:cxn ang="0">
                <a:pos x="13" y="31"/>
              </a:cxn>
              <a:cxn ang="0">
                <a:pos x="14" y="31"/>
              </a:cxn>
              <a:cxn ang="0">
                <a:pos x="16" y="31"/>
              </a:cxn>
              <a:cxn ang="0">
                <a:pos x="14" y="31"/>
              </a:cxn>
              <a:cxn ang="0">
                <a:pos x="14" y="31"/>
              </a:cxn>
              <a:cxn ang="0">
                <a:pos x="14" y="3"/>
              </a:cxn>
              <a:cxn ang="0">
                <a:pos x="14" y="3"/>
              </a:cxn>
              <a:cxn ang="0">
                <a:pos x="9" y="5"/>
              </a:cxn>
              <a:cxn ang="0">
                <a:pos x="5" y="7"/>
              </a:cxn>
              <a:cxn ang="0">
                <a:pos x="3" y="11"/>
              </a:cxn>
              <a:cxn ang="0">
                <a:pos x="3" y="16"/>
              </a:cxn>
              <a:cxn ang="0">
                <a:pos x="3" y="16"/>
              </a:cxn>
              <a:cxn ang="0">
                <a:pos x="3" y="20"/>
              </a:cxn>
              <a:cxn ang="0">
                <a:pos x="5" y="23"/>
              </a:cxn>
              <a:cxn ang="0">
                <a:pos x="9" y="27"/>
              </a:cxn>
              <a:cxn ang="0">
                <a:pos x="14" y="27"/>
              </a:cxn>
              <a:cxn ang="0">
                <a:pos x="14" y="27"/>
              </a:cxn>
              <a:cxn ang="0">
                <a:pos x="18" y="27"/>
              </a:cxn>
              <a:cxn ang="0">
                <a:pos x="24" y="23"/>
              </a:cxn>
              <a:cxn ang="0">
                <a:pos x="25" y="20"/>
              </a:cxn>
              <a:cxn ang="0">
                <a:pos x="25" y="16"/>
              </a:cxn>
              <a:cxn ang="0">
                <a:pos x="25" y="16"/>
              </a:cxn>
              <a:cxn ang="0">
                <a:pos x="25" y="11"/>
              </a:cxn>
              <a:cxn ang="0">
                <a:pos x="24" y="7"/>
              </a:cxn>
              <a:cxn ang="0">
                <a:pos x="18" y="5"/>
              </a:cxn>
              <a:cxn ang="0">
                <a:pos x="14" y="3"/>
              </a:cxn>
              <a:cxn ang="0">
                <a:pos x="14" y="3"/>
              </a:cxn>
              <a:cxn ang="0">
                <a:pos x="13" y="3"/>
              </a:cxn>
              <a:cxn ang="0">
                <a:pos x="14" y="3"/>
              </a:cxn>
              <a:cxn ang="0">
                <a:pos x="16" y="3"/>
              </a:cxn>
              <a:cxn ang="0">
                <a:pos x="14" y="3"/>
              </a:cxn>
              <a:cxn ang="0">
                <a:pos x="14" y="3"/>
              </a:cxn>
            </a:cxnLst>
            <a:rect l="0" t="0" r="r" b="b"/>
            <a:pathLst>
              <a:path w="29" h="31">
                <a:moveTo>
                  <a:pt x="14" y="31"/>
                </a:moveTo>
                <a:lnTo>
                  <a:pt x="14" y="31"/>
                </a:lnTo>
                <a:lnTo>
                  <a:pt x="9" y="31"/>
                </a:lnTo>
                <a:lnTo>
                  <a:pt x="3" y="27"/>
                </a:lnTo>
                <a:lnTo>
                  <a:pt x="0" y="22"/>
                </a:lnTo>
                <a:lnTo>
                  <a:pt x="0" y="16"/>
                </a:lnTo>
                <a:lnTo>
                  <a:pt x="0" y="16"/>
                </a:lnTo>
                <a:lnTo>
                  <a:pt x="0" y="11"/>
                </a:lnTo>
                <a:lnTo>
                  <a:pt x="3" y="5"/>
                </a:lnTo>
                <a:lnTo>
                  <a:pt x="9" y="1"/>
                </a:lnTo>
                <a:lnTo>
                  <a:pt x="14" y="0"/>
                </a:lnTo>
                <a:lnTo>
                  <a:pt x="14" y="0"/>
                </a:lnTo>
                <a:lnTo>
                  <a:pt x="20" y="1"/>
                </a:lnTo>
                <a:lnTo>
                  <a:pt x="25" y="5"/>
                </a:lnTo>
                <a:lnTo>
                  <a:pt x="29" y="11"/>
                </a:lnTo>
                <a:lnTo>
                  <a:pt x="29" y="16"/>
                </a:lnTo>
                <a:lnTo>
                  <a:pt x="29" y="16"/>
                </a:lnTo>
                <a:lnTo>
                  <a:pt x="29" y="22"/>
                </a:lnTo>
                <a:lnTo>
                  <a:pt x="25" y="27"/>
                </a:lnTo>
                <a:lnTo>
                  <a:pt x="20" y="31"/>
                </a:lnTo>
                <a:lnTo>
                  <a:pt x="14" y="31"/>
                </a:lnTo>
                <a:lnTo>
                  <a:pt x="14" y="31"/>
                </a:lnTo>
                <a:lnTo>
                  <a:pt x="13" y="31"/>
                </a:lnTo>
                <a:lnTo>
                  <a:pt x="14" y="31"/>
                </a:lnTo>
                <a:lnTo>
                  <a:pt x="16" y="31"/>
                </a:lnTo>
                <a:lnTo>
                  <a:pt x="14" y="31"/>
                </a:lnTo>
                <a:lnTo>
                  <a:pt x="14" y="31"/>
                </a:lnTo>
                <a:close/>
                <a:moveTo>
                  <a:pt x="14" y="3"/>
                </a:moveTo>
                <a:lnTo>
                  <a:pt x="14" y="3"/>
                </a:lnTo>
                <a:lnTo>
                  <a:pt x="9" y="5"/>
                </a:lnTo>
                <a:lnTo>
                  <a:pt x="5" y="7"/>
                </a:lnTo>
                <a:lnTo>
                  <a:pt x="3" y="11"/>
                </a:lnTo>
                <a:lnTo>
                  <a:pt x="3" y="16"/>
                </a:lnTo>
                <a:lnTo>
                  <a:pt x="3" y="16"/>
                </a:lnTo>
                <a:lnTo>
                  <a:pt x="3" y="20"/>
                </a:lnTo>
                <a:lnTo>
                  <a:pt x="5" y="23"/>
                </a:lnTo>
                <a:lnTo>
                  <a:pt x="9" y="27"/>
                </a:lnTo>
                <a:lnTo>
                  <a:pt x="14" y="27"/>
                </a:lnTo>
                <a:lnTo>
                  <a:pt x="14" y="27"/>
                </a:lnTo>
                <a:lnTo>
                  <a:pt x="18" y="27"/>
                </a:lnTo>
                <a:lnTo>
                  <a:pt x="24" y="23"/>
                </a:lnTo>
                <a:lnTo>
                  <a:pt x="25" y="20"/>
                </a:lnTo>
                <a:lnTo>
                  <a:pt x="25" y="16"/>
                </a:lnTo>
                <a:lnTo>
                  <a:pt x="25" y="16"/>
                </a:lnTo>
                <a:lnTo>
                  <a:pt x="25" y="11"/>
                </a:lnTo>
                <a:lnTo>
                  <a:pt x="24" y="7"/>
                </a:lnTo>
                <a:lnTo>
                  <a:pt x="18" y="5"/>
                </a:lnTo>
                <a:lnTo>
                  <a:pt x="14" y="3"/>
                </a:lnTo>
                <a:lnTo>
                  <a:pt x="14" y="3"/>
                </a:lnTo>
                <a:lnTo>
                  <a:pt x="13" y="3"/>
                </a:lnTo>
                <a:lnTo>
                  <a:pt x="14" y="3"/>
                </a:lnTo>
                <a:lnTo>
                  <a:pt x="16" y="3"/>
                </a:lnTo>
                <a:lnTo>
                  <a:pt x="14" y="3"/>
                </a:lnTo>
                <a:lnTo>
                  <a:pt x="14" y="3"/>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5" name="Freeform 75">
            <a:extLst>
              <a:ext uri="{FF2B5EF4-FFF2-40B4-BE49-F238E27FC236}">
                <a16:creationId xmlns:a16="http://schemas.microsoft.com/office/drawing/2014/main" id="{9BC3AC83-5B90-64EB-4012-F6AAC02DC8DE}"/>
              </a:ext>
            </a:extLst>
          </p:cNvPr>
          <p:cNvSpPr>
            <a:spLocks/>
          </p:cNvSpPr>
          <p:nvPr/>
        </p:nvSpPr>
        <p:spPr bwMode="auto">
          <a:xfrm>
            <a:off x="6582648" y="1134303"/>
            <a:ext cx="557198" cy="3795126"/>
          </a:xfrm>
          <a:custGeom>
            <a:avLst/>
            <a:gdLst/>
            <a:ahLst/>
            <a:cxnLst>
              <a:cxn ang="0">
                <a:pos x="0" y="0"/>
              </a:cxn>
              <a:cxn ang="0">
                <a:pos x="0" y="0"/>
              </a:cxn>
              <a:cxn ang="0">
                <a:pos x="10" y="14"/>
              </a:cxn>
              <a:cxn ang="0">
                <a:pos x="33" y="58"/>
              </a:cxn>
              <a:cxn ang="0">
                <a:pos x="68" y="128"/>
              </a:cxn>
              <a:cxn ang="0">
                <a:pos x="90" y="174"/>
              </a:cxn>
              <a:cxn ang="0">
                <a:pos x="112" y="225"/>
              </a:cxn>
              <a:cxn ang="0">
                <a:pos x="136" y="284"/>
              </a:cxn>
              <a:cxn ang="0">
                <a:pos x="162" y="348"/>
              </a:cxn>
              <a:cxn ang="0">
                <a:pos x="187" y="418"/>
              </a:cxn>
              <a:cxn ang="0">
                <a:pos x="211" y="494"/>
              </a:cxn>
              <a:cxn ang="0">
                <a:pos x="237" y="575"/>
              </a:cxn>
              <a:cxn ang="0">
                <a:pos x="261" y="663"/>
              </a:cxn>
              <a:cxn ang="0">
                <a:pos x="283" y="756"/>
              </a:cxn>
              <a:cxn ang="0">
                <a:pos x="305" y="854"/>
              </a:cxn>
              <a:cxn ang="0">
                <a:pos x="323" y="958"/>
              </a:cxn>
              <a:cxn ang="0">
                <a:pos x="339" y="1066"/>
              </a:cxn>
              <a:cxn ang="0">
                <a:pos x="352" y="1178"/>
              </a:cxn>
              <a:cxn ang="0">
                <a:pos x="363" y="1297"/>
              </a:cxn>
              <a:cxn ang="0">
                <a:pos x="369" y="1420"/>
              </a:cxn>
              <a:cxn ang="0">
                <a:pos x="371" y="1482"/>
              </a:cxn>
              <a:cxn ang="0">
                <a:pos x="371" y="1546"/>
              </a:cxn>
              <a:cxn ang="0">
                <a:pos x="371" y="1612"/>
              </a:cxn>
              <a:cxn ang="0">
                <a:pos x="369" y="1678"/>
              </a:cxn>
              <a:cxn ang="0">
                <a:pos x="365" y="1746"/>
              </a:cxn>
              <a:cxn ang="0">
                <a:pos x="360" y="1814"/>
              </a:cxn>
              <a:cxn ang="0">
                <a:pos x="354" y="1883"/>
              </a:cxn>
              <a:cxn ang="0">
                <a:pos x="347" y="1953"/>
              </a:cxn>
              <a:cxn ang="0">
                <a:pos x="338" y="2024"/>
              </a:cxn>
              <a:cxn ang="0">
                <a:pos x="327" y="2096"/>
              </a:cxn>
              <a:cxn ang="0">
                <a:pos x="316" y="2169"/>
              </a:cxn>
              <a:cxn ang="0">
                <a:pos x="301" y="2244"/>
              </a:cxn>
              <a:cxn ang="0">
                <a:pos x="286" y="2319"/>
              </a:cxn>
              <a:cxn ang="0">
                <a:pos x="270" y="2395"/>
              </a:cxn>
              <a:cxn ang="0">
                <a:pos x="250" y="2471"/>
              </a:cxn>
              <a:cxn ang="0">
                <a:pos x="229" y="2550"/>
              </a:cxn>
              <a:cxn ang="0">
                <a:pos x="207" y="2627"/>
              </a:cxn>
              <a:cxn ang="0">
                <a:pos x="182" y="2708"/>
              </a:cxn>
              <a:cxn ang="0">
                <a:pos x="156" y="2787"/>
              </a:cxn>
              <a:cxn ang="0">
                <a:pos x="127" y="2869"/>
              </a:cxn>
              <a:cxn ang="0">
                <a:pos x="96" y="2950"/>
              </a:cxn>
              <a:cxn ang="0">
                <a:pos x="63" y="3032"/>
              </a:cxn>
              <a:cxn ang="0">
                <a:pos x="0" y="0"/>
              </a:cxn>
            </a:cxnLst>
            <a:rect l="0" t="0" r="r" b="b"/>
            <a:pathLst>
              <a:path w="371" h="3032">
                <a:moveTo>
                  <a:pt x="0" y="0"/>
                </a:moveTo>
                <a:lnTo>
                  <a:pt x="0" y="0"/>
                </a:lnTo>
                <a:lnTo>
                  <a:pt x="10" y="14"/>
                </a:lnTo>
                <a:lnTo>
                  <a:pt x="33" y="58"/>
                </a:lnTo>
                <a:lnTo>
                  <a:pt x="68" y="128"/>
                </a:lnTo>
                <a:lnTo>
                  <a:pt x="90" y="174"/>
                </a:lnTo>
                <a:lnTo>
                  <a:pt x="112" y="225"/>
                </a:lnTo>
                <a:lnTo>
                  <a:pt x="136" y="284"/>
                </a:lnTo>
                <a:lnTo>
                  <a:pt x="162" y="348"/>
                </a:lnTo>
                <a:lnTo>
                  <a:pt x="187" y="418"/>
                </a:lnTo>
                <a:lnTo>
                  <a:pt x="211" y="494"/>
                </a:lnTo>
                <a:lnTo>
                  <a:pt x="237" y="575"/>
                </a:lnTo>
                <a:lnTo>
                  <a:pt x="261" y="663"/>
                </a:lnTo>
                <a:lnTo>
                  <a:pt x="283" y="756"/>
                </a:lnTo>
                <a:lnTo>
                  <a:pt x="305" y="854"/>
                </a:lnTo>
                <a:lnTo>
                  <a:pt x="323" y="958"/>
                </a:lnTo>
                <a:lnTo>
                  <a:pt x="339" y="1066"/>
                </a:lnTo>
                <a:lnTo>
                  <a:pt x="352" y="1178"/>
                </a:lnTo>
                <a:lnTo>
                  <a:pt x="363" y="1297"/>
                </a:lnTo>
                <a:lnTo>
                  <a:pt x="369" y="1420"/>
                </a:lnTo>
                <a:lnTo>
                  <a:pt x="371" y="1482"/>
                </a:lnTo>
                <a:lnTo>
                  <a:pt x="371" y="1546"/>
                </a:lnTo>
                <a:lnTo>
                  <a:pt x="371" y="1612"/>
                </a:lnTo>
                <a:lnTo>
                  <a:pt x="369" y="1678"/>
                </a:lnTo>
                <a:lnTo>
                  <a:pt x="365" y="1746"/>
                </a:lnTo>
                <a:lnTo>
                  <a:pt x="360" y="1814"/>
                </a:lnTo>
                <a:lnTo>
                  <a:pt x="354" y="1883"/>
                </a:lnTo>
                <a:lnTo>
                  <a:pt x="347" y="1953"/>
                </a:lnTo>
                <a:lnTo>
                  <a:pt x="338" y="2024"/>
                </a:lnTo>
                <a:lnTo>
                  <a:pt x="327" y="2096"/>
                </a:lnTo>
                <a:lnTo>
                  <a:pt x="316" y="2169"/>
                </a:lnTo>
                <a:lnTo>
                  <a:pt x="301" y="2244"/>
                </a:lnTo>
                <a:lnTo>
                  <a:pt x="286" y="2319"/>
                </a:lnTo>
                <a:lnTo>
                  <a:pt x="270" y="2395"/>
                </a:lnTo>
                <a:lnTo>
                  <a:pt x="250" y="2471"/>
                </a:lnTo>
                <a:lnTo>
                  <a:pt x="229" y="2550"/>
                </a:lnTo>
                <a:lnTo>
                  <a:pt x="207" y="2627"/>
                </a:lnTo>
                <a:lnTo>
                  <a:pt x="182" y="2708"/>
                </a:lnTo>
                <a:lnTo>
                  <a:pt x="156" y="2787"/>
                </a:lnTo>
                <a:lnTo>
                  <a:pt x="127" y="2869"/>
                </a:lnTo>
                <a:lnTo>
                  <a:pt x="96" y="2950"/>
                </a:lnTo>
                <a:lnTo>
                  <a:pt x="63" y="3032"/>
                </a:lnTo>
                <a:lnTo>
                  <a:pt x="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6" name="Freeform 76">
            <a:extLst>
              <a:ext uri="{FF2B5EF4-FFF2-40B4-BE49-F238E27FC236}">
                <a16:creationId xmlns:a16="http://schemas.microsoft.com/office/drawing/2014/main" id="{966A0A53-0449-B2F4-1110-4B1613185033}"/>
              </a:ext>
            </a:extLst>
          </p:cNvPr>
          <p:cNvSpPr>
            <a:spLocks/>
          </p:cNvSpPr>
          <p:nvPr/>
        </p:nvSpPr>
        <p:spPr bwMode="auto">
          <a:xfrm>
            <a:off x="6582648" y="1134303"/>
            <a:ext cx="557198" cy="3795126"/>
          </a:xfrm>
          <a:custGeom>
            <a:avLst/>
            <a:gdLst/>
            <a:ahLst/>
            <a:cxnLst>
              <a:cxn ang="0">
                <a:pos x="0" y="0"/>
              </a:cxn>
              <a:cxn ang="0">
                <a:pos x="0" y="0"/>
              </a:cxn>
              <a:cxn ang="0">
                <a:pos x="10" y="14"/>
              </a:cxn>
              <a:cxn ang="0">
                <a:pos x="33" y="58"/>
              </a:cxn>
              <a:cxn ang="0">
                <a:pos x="68" y="128"/>
              </a:cxn>
              <a:cxn ang="0">
                <a:pos x="90" y="174"/>
              </a:cxn>
              <a:cxn ang="0">
                <a:pos x="112" y="225"/>
              </a:cxn>
              <a:cxn ang="0">
                <a:pos x="136" y="284"/>
              </a:cxn>
              <a:cxn ang="0">
                <a:pos x="162" y="348"/>
              </a:cxn>
              <a:cxn ang="0">
                <a:pos x="187" y="418"/>
              </a:cxn>
              <a:cxn ang="0">
                <a:pos x="211" y="494"/>
              </a:cxn>
              <a:cxn ang="0">
                <a:pos x="237" y="575"/>
              </a:cxn>
              <a:cxn ang="0">
                <a:pos x="261" y="663"/>
              </a:cxn>
              <a:cxn ang="0">
                <a:pos x="283" y="756"/>
              </a:cxn>
              <a:cxn ang="0">
                <a:pos x="305" y="854"/>
              </a:cxn>
              <a:cxn ang="0">
                <a:pos x="323" y="958"/>
              </a:cxn>
              <a:cxn ang="0">
                <a:pos x="339" y="1066"/>
              </a:cxn>
              <a:cxn ang="0">
                <a:pos x="352" y="1178"/>
              </a:cxn>
              <a:cxn ang="0">
                <a:pos x="363" y="1297"/>
              </a:cxn>
              <a:cxn ang="0">
                <a:pos x="369" y="1420"/>
              </a:cxn>
              <a:cxn ang="0">
                <a:pos x="371" y="1482"/>
              </a:cxn>
              <a:cxn ang="0">
                <a:pos x="371" y="1546"/>
              </a:cxn>
              <a:cxn ang="0">
                <a:pos x="371" y="1612"/>
              </a:cxn>
              <a:cxn ang="0">
                <a:pos x="369" y="1678"/>
              </a:cxn>
              <a:cxn ang="0">
                <a:pos x="365" y="1746"/>
              </a:cxn>
              <a:cxn ang="0">
                <a:pos x="360" y="1814"/>
              </a:cxn>
              <a:cxn ang="0">
                <a:pos x="354" y="1883"/>
              </a:cxn>
              <a:cxn ang="0">
                <a:pos x="347" y="1953"/>
              </a:cxn>
              <a:cxn ang="0">
                <a:pos x="338" y="2024"/>
              </a:cxn>
              <a:cxn ang="0">
                <a:pos x="327" y="2096"/>
              </a:cxn>
              <a:cxn ang="0">
                <a:pos x="316" y="2169"/>
              </a:cxn>
              <a:cxn ang="0">
                <a:pos x="301" y="2244"/>
              </a:cxn>
              <a:cxn ang="0">
                <a:pos x="286" y="2319"/>
              </a:cxn>
              <a:cxn ang="0">
                <a:pos x="270" y="2395"/>
              </a:cxn>
              <a:cxn ang="0">
                <a:pos x="250" y="2471"/>
              </a:cxn>
              <a:cxn ang="0">
                <a:pos x="229" y="2550"/>
              </a:cxn>
              <a:cxn ang="0">
                <a:pos x="207" y="2627"/>
              </a:cxn>
              <a:cxn ang="0">
                <a:pos x="182" y="2708"/>
              </a:cxn>
              <a:cxn ang="0">
                <a:pos x="156" y="2787"/>
              </a:cxn>
              <a:cxn ang="0">
                <a:pos x="127" y="2869"/>
              </a:cxn>
              <a:cxn ang="0">
                <a:pos x="96" y="2950"/>
              </a:cxn>
              <a:cxn ang="0">
                <a:pos x="63" y="3032"/>
              </a:cxn>
            </a:cxnLst>
            <a:rect l="0" t="0" r="r" b="b"/>
            <a:pathLst>
              <a:path w="371" h="3032">
                <a:moveTo>
                  <a:pt x="0" y="0"/>
                </a:moveTo>
                <a:lnTo>
                  <a:pt x="0" y="0"/>
                </a:lnTo>
                <a:lnTo>
                  <a:pt x="10" y="14"/>
                </a:lnTo>
                <a:lnTo>
                  <a:pt x="33" y="58"/>
                </a:lnTo>
                <a:lnTo>
                  <a:pt x="68" y="128"/>
                </a:lnTo>
                <a:lnTo>
                  <a:pt x="90" y="174"/>
                </a:lnTo>
                <a:lnTo>
                  <a:pt x="112" y="225"/>
                </a:lnTo>
                <a:lnTo>
                  <a:pt x="136" y="284"/>
                </a:lnTo>
                <a:lnTo>
                  <a:pt x="162" y="348"/>
                </a:lnTo>
                <a:lnTo>
                  <a:pt x="187" y="418"/>
                </a:lnTo>
                <a:lnTo>
                  <a:pt x="211" y="494"/>
                </a:lnTo>
                <a:lnTo>
                  <a:pt x="237" y="575"/>
                </a:lnTo>
                <a:lnTo>
                  <a:pt x="261" y="663"/>
                </a:lnTo>
                <a:lnTo>
                  <a:pt x="283" y="756"/>
                </a:lnTo>
                <a:lnTo>
                  <a:pt x="305" y="854"/>
                </a:lnTo>
                <a:lnTo>
                  <a:pt x="323" y="958"/>
                </a:lnTo>
                <a:lnTo>
                  <a:pt x="339" y="1066"/>
                </a:lnTo>
                <a:lnTo>
                  <a:pt x="352" y="1178"/>
                </a:lnTo>
                <a:lnTo>
                  <a:pt x="363" y="1297"/>
                </a:lnTo>
                <a:lnTo>
                  <a:pt x="369" y="1420"/>
                </a:lnTo>
                <a:lnTo>
                  <a:pt x="371" y="1482"/>
                </a:lnTo>
                <a:lnTo>
                  <a:pt x="371" y="1546"/>
                </a:lnTo>
                <a:lnTo>
                  <a:pt x="371" y="1612"/>
                </a:lnTo>
                <a:lnTo>
                  <a:pt x="369" y="1678"/>
                </a:lnTo>
                <a:lnTo>
                  <a:pt x="365" y="1746"/>
                </a:lnTo>
                <a:lnTo>
                  <a:pt x="360" y="1814"/>
                </a:lnTo>
                <a:lnTo>
                  <a:pt x="354" y="1883"/>
                </a:lnTo>
                <a:lnTo>
                  <a:pt x="347" y="1953"/>
                </a:lnTo>
                <a:lnTo>
                  <a:pt x="338" y="2024"/>
                </a:lnTo>
                <a:lnTo>
                  <a:pt x="327" y="2096"/>
                </a:lnTo>
                <a:lnTo>
                  <a:pt x="316" y="2169"/>
                </a:lnTo>
                <a:lnTo>
                  <a:pt x="301" y="2244"/>
                </a:lnTo>
                <a:lnTo>
                  <a:pt x="286" y="2319"/>
                </a:lnTo>
                <a:lnTo>
                  <a:pt x="270" y="2395"/>
                </a:lnTo>
                <a:lnTo>
                  <a:pt x="250" y="2471"/>
                </a:lnTo>
                <a:lnTo>
                  <a:pt x="229" y="2550"/>
                </a:lnTo>
                <a:lnTo>
                  <a:pt x="207" y="2627"/>
                </a:lnTo>
                <a:lnTo>
                  <a:pt x="182" y="2708"/>
                </a:lnTo>
                <a:lnTo>
                  <a:pt x="156" y="2787"/>
                </a:lnTo>
                <a:lnTo>
                  <a:pt x="127" y="2869"/>
                </a:lnTo>
                <a:lnTo>
                  <a:pt x="96" y="2950"/>
                </a:lnTo>
                <a:lnTo>
                  <a:pt x="63" y="3032"/>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7" name="Freeform 77">
            <a:extLst>
              <a:ext uri="{FF2B5EF4-FFF2-40B4-BE49-F238E27FC236}">
                <a16:creationId xmlns:a16="http://schemas.microsoft.com/office/drawing/2014/main" id="{5F2721A6-857F-7CF5-19BE-199451951A65}"/>
              </a:ext>
            </a:extLst>
          </p:cNvPr>
          <p:cNvSpPr>
            <a:spLocks noEditPoints="1"/>
          </p:cNvSpPr>
          <p:nvPr/>
        </p:nvSpPr>
        <p:spPr bwMode="auto">
          <a:xfrm>
            <a:off x="6578141" y="1131799"/>
            <a:ext cx="566209" cy="3786365"/>
          </a:xfrm>
          <a:custGeom>
            <a:avLst/>
            <a:gdLst/>
            <a:ahLst/>
            <a:cxnLst>
              <a:cxn ang="0">
                <a:pos x="86" y="2997"/>
              </a:cxn>
              <a:cxn ang="0">
                <a:pos x="106" y="2928"/>
              </a:cxn>
              <a:cxn ang="0">
                <a:pos x="115" y="2900"/>
              </a:cxn>
              <a:cxn ang="0">
                <a:pos x="137" y="2862"/>
              </a:cxn>
              <a:cxn ang="0">
                <a:pos x="150" y="2803"/>
              </a:cxn>
              <a:cxn ang="0">
                <a:pos x="174" y="2734"/>
              </a:cxn>
              <a:cxn ang="0">
                <a:pos x="190" y="2708"/>
              </a:cxn>
              <a:cxn ang="0">
                <a:pos x="203" y="2666"/>
              </a:cxn>
              <a:cxn ang="0">
                <a:pos x="216" y="2594"/>
              </a:cxn>
              <a:cxn ang="0">
                <a:pos x="225" y="2565"/>
              </a:cxn>
              <a:cxn ang="0">
                <a:pos x="243" y="2525"/>
              </a:cxn>
              <a:cxn ang="0">
                <a:pos x="251" y="2466"/>
              </a:cxn>
              <a:cxn ang="0">
                <a:pos x="269" y="2397"/>
              </a:cxn>
              <a:cxn ang="0">
                <a:pos x="282" y="2369"/>
              </a:cxn>
              <a:cxn ang="0">
                <a:pos x="293" y="2325"/>
              </a:cxn>
              <a:cxn ang="0">
                <a:pos x="300" y="2252"/>
              </a:cxn>
              <a:cxn ang="0">
                <a:pos x="306" y="2224"/>
              </a:cxn>
              <a:cxn ang="0">
                <a:pos x="320" y="2182"/>
              </a:cxn>
              <a:cxn ang="0">
                <a:pos x="322" y="2124"/>
              </a:cxn>
              <a:cxn ang="0">
                <a:pos x="333" y="2050"/>
              </a:cxn>
              <a:cxn ang="0">
                <a:pos x="344" y="2023"/>
              </a:cxn>
              <a:cxn ang="0">
                <a:pos x="350" y="1979"/>
              </a:cxn>
              <a:cxn ang="0">
                <a:pos x="352" y="1905"/>
              </a:cxn>
              <a:cxn ang="0">
                <a:pos x="353" y="1876"/>
              </a:cxn>
              <a:cxn ang="0">
                <a:pos x="366" y="1832"/>
              </a:cxn>
              <a:cxn ang="0">
                <a:pos x="363" y="1774"/>
              </a:cxn>
              <a:cxn ang="0">
                <a:pos x="366" y="1700"/>
              </a:cxn>
              <a:cxn ang="0">
                <a:pos x="375" y="1671"/>
              </a:cxn>
              <a:cxn ang="0">
                <a:pos x="368" y="1627"/>
              </a:cxn>
              <a:cxn ang="0">
                <a:pos x="370" y="1554"/>
              </a:cxn>
              <a:cxn ang="0">
                <a:pos x="377" y="1537"/>
              </a:cxn>
              <a:cxn ang="0">
                <a:pos x="370" y="1466"/>
              </a:cxn>
              <a:cxn ang="0">
                <a:pos x="368" y="1436"/>
              </a:cxn>
              <a:cxn ang="0">
                <a:pos x="375" y="1392"/>
              </a:cxn>
              <a:cxn ang="0">
                <a:pos x="364" y="1336"/>
              </a:cxn>
              <a:cxn ang="0">
                <a:pos x="359" y="1262"/>
              </a:cxn>
              <a:cxn ang="0">
                <a:pos x="364" y="1231"/>
              </a:cxn>
              <a:cxn ang="0">
                <a:pos x="361" y="1187"/>
              </a:cxn>
              <a:cxn ang="0">
                <a:pos x="344" y="1116"/>
              </a:cxn>
              <a:cxn ang="0">
                <a:pos x="341" y="1086"/>
              </a:cxn>
              <a:cxn ang="0">
                <a:pos x="342" y="1042"/>
              </a:cxn>
              <a:cxn ang="0">
                <a:pos x="326" y="986"/>
              </a:cxn>
              <a:cxn ang="0">
                <a:pos x="315" y="914"/>
              </a:cxn>
              <a:cxn ang="0">
                <a:pos x="317" y="883"/>
              </a:cxn>
              <a:cxn ang="0">
                <a:pos x="308" y="839"/>
              </a:cxn>
              <a:cxn ang="0">
                <a:pos x="286" y="769"/>
              </a:cxn>
              <a:cxn ang="0">
                <a:pos x="286" y="740"/>
              </a:cxn>
              <a:cxn ang="0">
                <a:pos x="276" y="696"/>
              </a:cxn>
              <a:cxn ang="0">
                <a:pos x="251" y="628"/>
              </a:cxn>
              <a:cxn ang="0">
                <a:pos x="242" y="599"/>
              </a:cxn>
              <a:cxn ang="0">
                <a:pos x="236" y="555"/>
              </a:cxn>
              <a:cxn ang="0">
                <a:pos x="212" y="502"/>
              </a:cxn>
              <a:cxn ang="0">
                <a:pos x="190" y="432"/>
              </a:cxn>
              <a:cxn ang="0">
                <a:pos x="187" y="401"/>
              </a:cxn>
              <a:cxn ang="0">
                <a:pos x="172" y="361"/>
              </a:cxn>
              <a:cxn ang="0">
                <a:pos x="139" y="295"/>
              </a:cxn>
              <a:cxn ang="0">
                <a:pos x="128" y="267"/>
              </a:cxn>
              <a:cxn ang="0">
                <a:pos x="117" y="223"/>
              </a:cxn>
              <a:cxn ang="0">
                <a:pos x="80" y="159"/>
              </a:cxn>
              <a:cxn ang="0">
                <a:pos x="69" y="134"/>
              </a:cxn>
              <a:cxn ang="0">
                <a:pos x="57" y="92"/>
              </a:cxn>
              <a:cxn ang="0">
                <a:pos x="14" y="29"/>
              </a:cxn>
              <a:cxn ang="0">
                <a:pos x="14" y="13"/>
              </a:cxn>
            </a:cxnLst>
            <a:rect l="0" t="0" r="r" b="b"/>
            <a:pathLst>
              <a:path w="377" h="3025">
                <a:moveTo>
                  <a:pt x="73" y="3008"/>
                </a:moveTo>
                <a:lnTo>
                  <a:pt x="73" y="3008"/>
                </a:lnTo>
                <a:lnTo>
                  <a:pt x="68" y="3023"/>
                </a:lnTo>
                <a:lnTo>
                  <a:pt x="75" y="3025"/>
                </a:lnTo>
                <a:lnTo>
                  <a:pt x="75" y="3025"/>
                </a:lnTo>
                <a:lnTo>
                  <a:pt x="80" y="3012"/>
                </a:lnTo>
                <a:lnTo>
                  <a:pt x="73" y="3008"/>
                </a:lnTo>
                <a:close/>
                <a:moveTo>
                  <a:pt x="84" y="2981"/>
                </a:moveTo>
                <a:lnTo>
                  <a:pt x="84" y="2981"/>
                </a:lnTo>
                <a:lnTo>
                  <a:pt x="79" y="2996"/>
                </a:lnTo>
                <a:lnTo>
                  <a:pt x="86" y="2997"/>
                </a:lnTo>
                <a:lnTo>
                  <a:pt x="86" y="2997"/>
                </a:lnTo>
                <a:lnTo>
                  <a:pt x="91" y="2985"/>
                </a:lnTo>
                <a:lnTo>
                  <a:pt x="84" y="2981"/>
                </a:lnTo>
                <a:lnTo>
                  <a:pt x="84" y="2981"/>
                </a:lnTo>
                <a:close/>
                <a:moveTo>
                  <a:pt x="95" y="2955"/>
                </a:moveTo>
                <a:lnTo>
                  <a:pt x="95" y="2955"/>
                </a:lnTo>
                <a:lnTo>
                  <a:pt x="90" y="2968"/>
                </a:lnTo>
                <a:lnTo>
                  <a:pt x="97" y="2970"/>
                </a:lnTo>
                <a:lnTo>
                  <a:pt x="97" y="2970"/>
                </a:lnTo>
                <a:lnTo>
                  <a:pt x="102" y="2957"/>
                </a:lnTo>
                <a:lnTo>
                  <a:pt x="95" y="2955"/>
                </a:lnTo>
                <a:close/>
                <a:moveTo>
                  <a:pt x="106" y="2928"/>
                </a:moveTo>
                <a:lnTo>
                  <a:pt x="106" y="2928"/>
                </a:lnTo>
                <a:lnTo>
                  <a:pt x="100" y="2941"/>
                </a:lnTo>
                <a:lnTo>
                  <a:pt x="106" y="2944"/>
                </a:lnTo>
                <a:lnTo>
                  <a:pt x="106" y="2944"/>
                </a:lnTo>
                <a:lnTo>
                  <a:pt x="111" y="2930"/>
                </a:lnTo>
                <a:lnTo>
                  <a:pt x="106" y="2928"/>
                </a:lnTo>
                <a:close/>
                <a:moveTo>
                  <a:pt x="115" y="2900"/>
                </a:moveTo>
                <a:lnTo>
                  <a:pt x="115" y="2900"/>
                </a:lnTo>
                <a:lnTo>
                  <a:pt x="110" y="2913"/>
                </a:lnTo>
                <a:lnTo>
                  <a:pt x="117" y="2917"/>
                </a:lnTo>
                <a:lnTo>
                  <a:pt x="117" y="2917"/>
                </a:lnTo>
                <a:lnTo>
                  <a:pt x="122" y="2902"/>
                </a:lnTo>
                <a:lnTo>
                  <a:pt x="115" y="2900"/>
                </a:lnTo>
                <a:close/>
                <a:moveTo>
                  <a:pt x="126" y="2873"/>
                </a:moveTo>
                <a:lnTo>
                  <a:pt x="126" y="2873"/>
                </a:lnTo>
                <a:lnTo>
                  <a:pt x="121" y="2886"/>
                </a:lnTo>
                <a:lnTo>
                  <a:pt x="128" y="2889"/>
                </a:lnTo>
                <a:lnTo>
                  <a:pt x="128" y="2889"/>
                </a:lnTo>
                <a:lnTo>
                  <a:pt x="132" y="2875"/>
                </a:lnTo>
                <a:lnTo>
                  <a:pt x="126" y="2873"/>
                </a:lnTo>
                <a:close/>
                <a:moveTo>
                  <a:pt x="135" y="2845"/>
                </a:moveTo>
                <a:lnTo>
                  <a:pt x="135" y="2845"/>
                </a:lnTo>
                <a:lnTo>
                  <a:pt x="130" y="2858"/>
                </a:lnTo>
                <a:lnTo>
                  <a:pt x="137" y="2862"/>
                </a:lnTo>
                <a:lnTo>
                  <a:pt x="137" y="2862"/>
                </a:lnTo>
                <a:lnTo>
                  <a:pt x="143" y="2847"/>
                </a:lnTo>
                <a:lnTo>
                  <a:pt x="135" y="2845"/>
                </a:lnTo>
                <a:close/>
                <a:moveTo>
                  <a:pt x="146" y="2818"/>
                </a:moveTo>
                <a:lnTo>
                  <a:pt x="146" y="2818"/>
                </a:lnTo>
                <a:lnTo>
                  <a:pt x="141" y="2831"/>
                </a:lnTo>
                <a:lnTo>
                  <a:pt x="148" y="2833"/>
                </a:lnTo>
                <a:lnTo>
                  <a:pt x="148" y="2833"/>
                </a:lnTo>
                <a:lnTo>
                  <a:pt x="152" y="2820"/>
                </a:lnTo>
                <a:lnTo>
                  <a:pt x="146" y="2818"/>
                </a:lnTo>
                <a:close/>
                <a:moveTo>
                  <a:pt x="155" y="2789"/>
                </a:moveTo>
                <a:lnTo>
                  <a:pt x="155" y="2789"/>
                </a:lnTo>
                <a:lnTo>
                  <a:pt x="150" y="2803"/>
                </a:lnTo>
                <a:lnTo>
                  <a:pt x="157" y="2805"/>
                </a:lnTo>
                <a:lnTo>
                  <a:pt x="157" y="2805"/>
                </a:lnTo>
                <a:lnTo>
                  <a:pt x="163" y="2792"/>
                </a:lnTo>
                <a:lnTo>
                  <a:pt x="155" y="2789"/>
                </a:lnTo>
                <a:close/>
                <a:moveTo>
                  <a:pt x="165" y="2761"/>
                </a:moveTo>
                <a:lnTo>
                  <a:pt x="165" y="2761"/>
                </a:lnTo>
                <a:lnTo>
                  <a:pt x="159" y="2776"/>
                </a:lnTo>
                <a:lnTo>
                  <a:pt x="166" y="2778"/>
                </a:lnTo>
                <a:lnTo>
                  <a:pt x="166" y="2778"/>
                </a:lnTo>
                <a:lnTo>
                  <a:pt x="172" y="2765"/>
                </a:lnTo>
                <a:lnTo>
                  <a:pt x="165" y="2761"/>
                </a:lnTo>
                <a:close/>
                <a:moveTo>
                  <a:pt x="174" y="2734"/>
                </a:moveTo>
                <a:lnTo>
                  <a:pt x="174" y="2734"/>
                </a:lnTo>
                <a:lnTo>
                  <a:pt x="168" y="2748"/>
                </a:lnTo>
                <a:lnTo>
                  <a:pt x="176" y="2750"/>
                </a:lnTo>
                <a:lnTo>
                  <a:pt x="176" y="2750"/>
                </a:lnTo>
                <a:lnTo>
                  <a:pt x="181" y="2735"/>
                </a:lnTo>
                <a:lnTo>
                  <a:pt x="174" y="2734"/>
                </a:lnTo>
                <a:close/>
                <a:moveTo>
                  <a:pt x="183" y="2706"/>
                </a:moveTo>
                <a:lnTo>
                  <a:pt x="183" y="2706"/>
                </a:lnTo>
                <a:lnTo>
                  <a:pt x="177" y="2721"/>
                </a:lnTo>
                <a:lnTo>
                  <a:pt x="185" y="2723"/>
                </a:lnTo>
                <a:lnTo>
                  <a:pt x="185" y="2723"/>
                </a:lnTo>
                <a:lnTo>
                  <a:pt x="190" y="2708"/>
                </a:lnTo>
                <a:lnTo>
                  <a:pt x="183" y="2706"/>
                </a:lnTo>
                <a:close/>
                <a:moveTo>
                  <a:pt x="192" y="2679"/>
                </a:moveTo>
                <a:lnTo>
                  <a:pt x="192" y="2679"/>
                </a:lnTo>
                <a:lnTo>
                  <a:pt x="187" y="2692"/>
                </a:lnTo>
                <a:lnTo>
                  <a:pt x="194" y="2695"/>
                </a:lnTo>
                <a:lnTo>
                  <a:pt x="194" y="2695"/>
                </a:lnTo>
                <a:lnTo>
                  <a:pt x="198" y="2681"/>
                </a:lnTo>
                <a:lnTo>
                  <a:pt x="192" y="2679"/>
                </a:lnTo>
                <a:close/>
                <a:moveTo>
                  <a:pt x="199" y="2649"/>
                </a:moveTo>
                <a:lnTo>
                  <a:pt x="199" y="2649"/>
                </a:lnTo>
                <a:lnTo>
                  <a:pt x="196" y="2664"/>
                </a:lnTo>
                <a:lnTo>
                  <a:pt x="203" y="2666"/>
                </a:lnTo>
                <a:lnTo>
                  <a:pt x="203" y="2666"/>
                </a:lnTo>
                <a:lnTo>
                  <a:pt x="207" y="2653"/>
                </a:lnTo>
                <a:lnTo>
                  <a:pt x="199" y="2649"/>
                </a:lnTo>
                <a:close/>
                <a:moveTo>
                  <a:pt x="209" y="2622"/>
                </a:moveTo>
                <a:lnTo>
                  <a:pt x="209" y="2622"/>
                </a:lnTo>
                <a:lnTo>
                  <a:pt x="205" y="2637"/>
                </a:lnTo>
                <a:lnTo>
                  <a:pt x="212" y="2638"/>
                </a:lnTo>
                <a:lnTo>
                  <a:pt x="212" y="2638"/>
                </a:lnTo>
                <a:lnTo>
                  <a:pt x="216" y="2624"/>
                </a:lnTo>
                <a:lnTo>
                  <a:pt x="209" y="2622"/>
                </a:lnTo>
                <a:close/>
                <a:moveTo>
                  <a:pt x="216" y="2594"/>
                </a:moveTo>
                <a:lnTo>
                  <a:pt x="216" y="2594"/>
                </a:lnTo>
                <a:lnTo>
                  <a:pt x="212" y="2607"/>
                </a:lnTo>
                <a:lnTo>
                  <a:pt x="220" y="2611"/>
                </a:lnTo>
                <a:lnTo>
                  <a:pt x="220" y="2611"/>
                </a:lnTo>
                <a:lnTo>
                  <a:pt x="223" y="2596"/>
                </a:lnTo>
                <a:lnTo>
                  <a:pt x="216" y="2594"/>
                </a:lnTo>
                <a:close/>
                <a:moveTo>
                  <a:pt x="225" y="2565"/>
                </a:moveTo>
                <a:lnTo>
                  <a:pt x="225" y="2565"/>
                </a:lnTo>
                <a:lnTo>
                  <a:pt x="221" y="2580"/>
                </a:lnTo>
                <a:lnTo>
                  <a:pt x="229" y="2582"/>
                </a:lnTo>
                <a:lnTo>
                  <a:pt x="229" y="2582"/>
                </a:lnTo>
                <a:lnTo>
                  <a:pt x="232" y="2567"/>
                </a:lnTo>
                <a:lnTo>
                  <a:pt x="225" y="2565"/>
                </a:lnTo>
                <a:close/>
                <a:moveTo>
                  <a:pt x="232" y="2538"/>
                </a:moveTo>
                <a:lnTo>
                  <a:pt x="232" y="2538"/>
                </a:lnTo>
                <a:lnTo>
                  <a:pt x="229" y="2552"/>
                </a:lnTo>
                <a:lnTo>
                  <a:pt x="236" y="2554"/>
                </a:lnTo>
                <a:lnTo>
                  <a:pt x="236" y="2554"/>
                </a:lnTo>
                <a:lnTo>
                  <a:pt x="240" y="2539"/>
                </a:lnTo>
                <a:lnTo>
                  <a:pt x="232" y="2538"/>
                </a:lnTo>
                <a:close/>
                <a:moveTo>
                  <a:pt x="240" y="2510"/>
                </a:moveTo>
                <a:lnTo>
                  <a:pt x="240" y="2510"/>
                </a:lnTo>
                <a:lnTo>
                  <a:pt x="236" y="2523"/>
                </a:lnTo>
                <a:lnTo>
                  <a:pt x="243" y="2525"/>
                </a:lnTo>
                <a:lnTo>
                  <a:pt x="243" y="2525"/>
                </a:lnTo>
                <a:lnTo>
                  <a:pt x="247" y="2512"/>
                </a:lnTo>
                <a:lnTo>
                  <a:pt x="240" y="2510"/>
                </a:lnTo>
                <a:close/>
                <a:moveTo>
                  <a:pt x="247" y="2481"/>
                </a:moveTo>
                <a:lnTo>
                  <a:pt x="247" y="2481"/>
                </a:lnTo>
                <a:lnTo>
                  <a:pt x="243" y="2495"/>
                </a:lnTo>
                <a:lnTo>
                  <a:pt x="251" y="2497"/>
                </a:lnTo>
                <a:lnTo>
                  <a:pt x="251" y="2497"/>
                </a:lnTo>
                <a:lnTo>
                  <a:pt x="254" y="2483"/>
                </a:lnTo>
                <a:lnTo>
                  <a:pt x="247" y="2481"/>
                </a:lnTo>
                <a:close/>
                <a:moveTo>
                  <a:pt x="254" y="2453"/>
                </a:moveTo>
                <a:lnTo>
                  <a:pt x="254" y="2453"/>
                </a:lnTo>
                <a:lnTo>
                  <a:pt x="251" y="2466"/>
                </a:lnTo>
                <a:lnTo>
                  <a:pt x="258" y="2468"/>
                </a:lnTo>
                <a:lnTo>
                  <a:pt x="258" y="2468"/>
                </a:lnTo>
                <a:lnTo>
                  <a:pt x="262" y="2455"/>
                </a:lnTo>
                <a:lnTo>
                  <a:pt x="254" y="2453"/>
                </a:lnTo>
                <a:close/>
                <a:moveTo>
                  <a:pt x="262" y="2424"/>
                </a:moveTo>
                <a:lnTo>
                  <a:pt x="262" y="2424"/>
                </a:lnTo>
                <a:lnTo>
                  <a:pt x="258" y="2439"/>
                </a:lnTo>
                <a:lnTo>
                  <a:pt x="265" y="2440"/>
                </a:lnTo>
                <a:lnTo>
                  <a:pt x="265" y="2440"/>
                </a:lnTo>
                <a:lnTo>
                  <a:pt x="269" y="2426"/>
                </a:lnTo>
                <a:lnTo>
                  <a:pt x="262" y="2424"/>
                </a:lnTo>
                <a:close/>
                <a:moveTo>
                  <a:pt x="269" y="2397"/>
                </a:moveTo>
                <a:lnTo>
                  <a:pt x="269" y="2397"/>
                </a:lnTo>
                <a:lnTo>
                  <a:pt x="265" y="2409"/>
                </a:lnTo>
                <a:lnTo>
                  <a:pt x="273" y="2411"/>
                </a:lnTo>
                <a:lnTo>
                  <a:pt x="273" y="2411"/>
                </a:lnTo>
                <a:lnTo>
                  <a:pt x="276" y="2397"/>
                </a:lnTo>
                <a:lnTo>
                  <a:pt x="269" y="2397"/>
                </a:lnTo>
                <a:close/>
                <a:moveTo>
                  <a:pt x="275" y="2367"/>
                </a:moveTo>
                <a:lnTo>
                  <a:pt x="275" y="2367"/>
                </a:lnTo>
                <a:lnTo>
                  <a:pt x="273" y="2382"/>
                </a:lnTo>
                <a:lnTo>
                  <a:pt x="280" y="2384"/>
                </a:lnTo>
                <a:lnTo>
                  <a:pt x="280" y="2384"/>
                </a:lnTo>
                <a:lnTo>
                  <a:pt x="282" y="2369"/>
                </a:lnTo>
                <a:lnTo>
                  <a:pt x="275" y="2367"/>
                </a:lnTo>
                <a:close/>
                <a:moveTo>
                  <a:pt x="282" y="2338"/>
                </a:moveTo>
                <a:lnTo>
                  <a:pt x="282" y="2338"/>
                </a:lnTo>
                <a:lnTo>
                  <a:pt x="278" y="2353"/>
                </a:lnTo>
                <a:lnTo>
                  <a:pt x="286" y="2354"/>
                </a:lnTo>
                <a:lnTo>
                  <a:pt x="286" y="2354"/>
                </a:lnTo>
                <a:lnTo>
                  <a:pt x="289" y="2340"/>
                </a:lnTo>
                <a:lnTo>
                  <a:pt x="282" y="2338"/>
                </a:lnTo>
                <a:close/>
                <a:moveTo>
                  <a:pt x="287" y="2310"/>
                </a:moveTo>
                <a:lnTo>
                  <a:pt x="287" y="2310"/>
                </a:lnTo>
                <a:lnTo>
                  <a:pt x="286" y="2325"/>
                </a:lnTo>
                <a:lnTo>
                  <a:pt x="293" y="2325"/>
                </a:lnTo>
                <a:lnTo>
                  <a:pt x="293" y="2325"/>
                </a:lnTo>
                <a:lnTo>
                  <a:pt x="295" y="2312"/>
                </a:lnTo>
                <a:lnTo>
                  <a:pt x="287" y="2310"/>
                </a:lnTo>
                <a:close/>
                <a:moveTo>
                  <a:pt x="295" y="2281"/>
                </a:moveTo>
                <a:lnTo>
                  <a:pt x="295" y="2281"/>
                </a:lnTo>
                <a:lnTo>
                  <a:pt x="291" y="2296"/>
                </a:lnTo>
                <a:lnTo>
                  <a:pt x="298" y="2298"/>
                </a:lnTo>
                <a:lnTo>
                  <a:pt x="298" y="2298"/>
                </a:lnTo>
                <a:lnTo>
                  <a:pt x="302" y="2283"/>
                </a:lnTo>
                <a:lnTo>
                  <a:pt x="295" y="2281"/>
                </a:lnTo>
                <a:close/>
                <a:moveTo>
                  <a:pt x="300" y="2252"/>
                </a:moveTo>
                <a:lnTo>
                  <a:pt x="300" y="2252"/>
                </a:lnTo>
                <a:lnTo>
                  <a:pt x="297" y="2266"/>
                </a:lnTo>
                <a:lnTo>
                  <a:pt x="304" y="2268"/>
                </a:lnTo>
                <a:lnTo>
                  <a:pt x="304" y="2268"/>
                </a:lnTo>
                <a:lnTo>
                  <a:pt x="308" y="2254"/>
                </a:lnTo>
                <a:lnTo>
                  <a:pt x="300" y="2252"/>
                </a:lnTo>
                <a:close/>
                <a:moveTo>
                  <a:pt x="306" y="2224"/>
                </a:moveTo>
                <a:lnTo>
                  <a:pt x="306" y="2224"/>
                </a:lnTo>
                <a:lnTo>
                  <a:pt x="302" y="2239"/>
                </a:lnTo>
                <a:lnTo>
                  <a:pt x="309" y="2239"/>
                </a:lnTo>
                <a:lnTo>
                  <a:pt x="309" y="2239"/>
                </a:lnTo>
                <a:lnTo>
                  <a:pt x="313" y="2224"/>
                </a:lnTo>
                <a:lnTo>
                  <a:pt x="306" y="2224"/>
                </a:lnTo>
                <a:close/>
                <a:moveTo>
                  <a:pt x="311" y="2195"/>
                </a:moveTo>
                <a:lnTo>
                  <a:pt x="311" y="2195"/>
                </a:lnTo>
                <a:lnTo>
                  <a:pt x="308" y="2210"/>
                </a:lnTo>
                <a:lnTo>
                  <a:pt x="315" y="2211"/>
                </a:lnTo>
                <a:lnTo>
                  <a:pt x="315" y="2211"/>
                </a:lnTo>
                <a:lnTo>
                  <a:pt x="319" y="2197"/>
                </a:lnTo>
                <a:lnTo>
                  <a:pt x="311" y="2195"/>
                </a:lnTo>
                <a:close/>
                <a:moveTo>
                  <a:pt x="315" y="2166"/>
                </a:moveTo>
                <a:lnTo>
                  <a:pt x="315" y="2166"/>
                </a:lnTo>
                <a:lnTo>
                  <a:pt x="313" y="2180"/>
                </a:lnTo>
                <a:lnTo>
                  <a:pt x="320" y="2182"/>
                </a:lnTo>
                <a:lnTo>
                  <a:pt x="320" y="2182"/>
                </a:lnTo>
                <a:lnTo>
                  <a:pt x="322" y="2167"/>
                </a:lnTo>
                <a:lnTo>
                  <a:pt x="315" y="2166"/>
                </a:lnTo>
                <a:close/>
                <a:moveTo>
                  <a:pt x="320" y="2138"/>
                </a:moveTo>
                <a:lnTo>
                  <a:pt x="320" y="2138"/>
                </a:lnTo>
                <a:lnTo>
                  <a:pt x="319" y="2151"/>
                </a:lnTo>
                <a:lnTo>
                  <a:pt x="326" y="2153"/>
                </a:lnTo>
                <a:lnTo>
                  <a:pt x="326" y="2153"/>
                </a:lnTo>
                <a:lnTo>
                  <a:pt x="328" y="2138"/>
                </a:lnTo>
                <a:lnTo>
                  <a:pt x="320" y="2138"/>
                </a:lnTo>
                <a:close/>
                <a:moveTo>
                  <a:pt x="326" y="2109"/>
                </a:moveTo>
                <a:lnTo>
                  <a:pt x="326" y="2109"/>
                </a:lnTo>
                <a:lnTo>
                  <a:pt x="322" y="2124"/>
                </a:lnTo>
                <a:lnTo>
                  <a:pt x="330" y="2124"/>
                </a:lnTo>
                <a:lnTo>
                  <a:pt x="330" y="2124"/>
                </a:lnTo>
                <a:lnTo>
                  <a:pt x="333" y="2109"/>
                </a:lnTo>
                <a:lnTo>
                  <a:pt x="326" y="2109"/>
                </a:lnTo>
                <a:close/>
                <a:moveTo>
                  <a:pt x="330" y="2080"/>
                </a:moveTo>
                <a:lnTo>
                  <a:pt x="330" y="2080"/>
                </a:lnTo>
                <a:lnTo>
                  <a:pt x="328" y="2094"/>
                </a:lnTo>
                <a:lnTo>
                  <a:pt x="335" y="2094"/>
                </a:lnTo>
                <a:lnTo>
                  <a:pt x="335" y="2094"/>
                </a:lnTo>
                <a:lnTo>
                  <a:pt x="337" y="2081"/>
                </a:lnTo>
                <a:lnTo>
                  <a:pt x="330" y="2080"/>
                </a:lnTo>
                <a:close/>
                <a:moveTo>
                  <a:pt x="333" y="2050"/>
                </a:moveTo>
                <a:lnTo>
                  <a:pt x="333" y="2050"/>
                </a:lnTo>
                <a:lnTo>
                  <a:pt x="331" y="2065"/>
                </a:lnTo>
                <a:lnTo>
                  <a:pt x="339" y="2067"/>
                </a:lnTo>
                <a:lnTo>
                  <a:pt x="339" y="2067"/>
                </a:lnTo>
                <a:lnTo>
                  <a:pt x="341" y="2052"/>
                </a:lnTo>
                <a:lnTo>
                  <a:pt x="333" y="2050"/>
                </a:lnTo>
                <a:close/>
                <a:moveTo>
                  <a:pt x="337" y="2021"/>
                </a:moveTo>
                <a:lnTo>
                  <a:pt x="337" y="2021"/>
                </a:lnTo>
                <a:lnTo>
                  <a:pt x="335" y="2036"/>
                </a:lnTo>
                <a:lnTo>
                  <a:pt x="342" y="2037"/>
                </a:lnTo>
                <a:lnTo>
                  <a:pt x="342" y="2037"/>
                </a:lnTo>
                <a:lnTo>
                  <a:pt x="344" y="2023"/>
                </a:lnTo>
                <a:lnTo>
                  <a:pt x="337" y="2021"/>
                </a:lnTo>
                <a:close/>
                <a:moveTo>
                  <a:pt x="342" y="1992"/>
                </a:moveTo>
                <a:lnTo>
                  <a:pt x="342" y="1992"/>
                </a:lnTo>
                <a:lnTo>
                  <a:pt x="341" y="2006"/>
                </a:lnTo>
                <a:lnTo>
                  <a:pt x="346" y="2008"/>
                </a:lnTo>
                <a:lnTo>
                  <a:pt x="346" y="2008"/>
                </a:lnTo>
                <a:lnTo>
                  <a:pt x="348" y="1993"/>
                </a:lnTo>
                <a:lnTo>
                  <a:pt x="342" y="1992"/>
                </a:lnTo>
                <a:close/>
                <a:moveTo>
                  <a:pt x="344" y="1964"/>
                </a:moveTo>
                <a:lnTo>
                  <a:pt x="344" y="1964"/>
                </a:lnTo>
                <a:lnTo>
                  <a:pt x="344" y="1977"/>
                </a:lnTo>
                <a:lnTo>
                  <a:pt x="350" y="1979"/>
                </a:lnTo>
                <a:lnTo>
                  <a:pt x="350" y="1979"/>
                </a:lnTo>
                <a:lnTo>
                  <a:pt x="352" y="1964"/>
                </a:lnTo>
                <a:lnTo>
                  <a:pt x="344" y="1964"/>
                </a:lnTo>
                <a:close/>
                <a:moveTo>
                  <a:pt x="348" y="1935"/>
                </a:moveTo>
                <a:lnTo>
                  <a:pt x="348" y="1935"/>
                </a:lnTo>
                <a:lnTo>
                  <a:pt x="346" y="1949"/>
                </a:lnTo>
                <a:lnTo>
                  <a:pt x="353" y="1949"/>
                </a:lnTo>
                <a:lnTo>
                  <a:pt x="353" y="1949"/>
                </a:lnTo>
                <a:lnTo>
                  <a:pt x="355" y="1935"/>
                </a:lnTo>
                <a:lnTo>
                  <a:pt x="348" y="1935"/>
                </a:lnTo>
                <a:close/>
                <a:moveTo>
                  <a:pt x="352" y="1905"/>
                </a:moveTo>
                <a:lnTo>
                  <a:pt x="352" y="1905"/>
                </a:lnTo>
                <a:lnTo>
                  <a:pt x="350" y="1920"/>
                </a:lnTo>
                <a:lnTo>
                  <a:pt x="357" y="1920"/>
                </a:lnTo>
                <a:lnTo>
                  <a:pt x="357" y="1920"/>
                </a:lnTo>
                <a:lnTo>
                  <a:pt x="359" y="1905"/>
                </a:lnTo>
                <a:lnTo>
                  <a:pt x="352" y="1905"/>
                </a:lnTo>
                <a:close/>
                <a:moveTo>
                  <a:pt x="353" y="1876"/>
                </a:moveTo>
                <a:lnTo>
                  <a:pt x="353" y="1876"/>
                </a:lnTo>
                <a:lnTo>
                  <a:pt x="353" y="1891"/>
                </a:lnTo>
                <a:lnTo>
                  <a:pt x="361" y="1891"/>
                </a:lnTo>
                <a:lnTo>
                  <a:pt x="361" y="1891"/>
                </a:lnTo>
                <a:lnTo>
                  <a:pt x="361" y="1876"/>
                </a:lnTo>
                <a:lnTo>
                  <a:pt x="353" y="1876"/>
                </a:lnTo>
                <a:close/>
                <a:moveTo>
                  <a:pt x="357" y="1847"/>
                </a:moveTo>
                <a:lnTo>
                  <a:pt x="357" y="1847"/>
                </a:lnTo>
                <a:lnTo>
                  <a:pt x="355" y="1861"/>
                </a:lnTo>
                <a:lnTo>
                  <a:pt x="363" y="1861"/>
                </a:lnTo>
                <a:lnTo>
                  <a:pt x="363" y="1861"/>
                </a:lnTo>
                <a:lnTo>
                  <a:pt x="364" y="1847"/>
                </a:lnTo>
                <a:lnTo>
                  <a:pt x="357" y="1847"/>
                </a:lnTo>
                <a:close/>
                <a:moveTo>
                  <a:pt x="359" y="1818"/>
                </a:moveTo>
                <a:lnTo>
                  <a:pt x="359" y="1818"/>
                </a:lnTo>
                <a:lnTo>
                  <a:pt x="359" y="1832"/>
                </a:lnTo>
                <a:lnTo>
                  <a:pt x="366" y="1832"/>
                </a:lnTo>
                <a:lnTo>
                  <a:pt x="366" y="1832"/>
                </a:lnTo>
                <a:lnTo>
                  <a:pt x="366" y="1818"/>
                </a:lnTo>
                <a:lnTo>
                  <a:pt x="359" y="1818"/>
                </a:lnTo>
                <a:close/>
                <a:moveTo>
                  <a:pt x="361" y="1788"/>
                </a:moveTo>
                <a:lnTo>
                  <a:pt x="361" y="1788"/>
                </a:lnTo>
                <a:lnTo>
                  <a:pt x="361" y="1803"/>
                </a:lnTo>
                <a:lnTo>
                  <a:pt x="368" y="1803"/>
                </a:lnTo>
                <a:lnTo>
                  <a:pt x="368" y="1803"/>
                </a:lnTo>
                <a:lnTo>
                  <a:pt x="368" y="1788"/>
                </a:lnTo>
                <a:lnTo>
                  <a:pt x="361" y="1788"/>
                </a:lnTo>
                <a:close/>
                <a:moveTo>
                  <a:pt x="363" y="1759"/>
                </a:moveTo>
                <a:lnTo>
                  <a:pt x="363" y="1759"/>
                </a:lnTo>
                <a:lnTo>
                  <a:pt x="363" y="1774"/>
                </a:lnTo>
                <a:lnTo>
                  <a:pt x="370" y="1774"/>
                </a:lnTo>
                <a:lnTo>
                  <a:pt x="370" y="1774"/>
                </a:lnTo>
                <a:lnTo>
                  <a:pt x="370" y="1759"/>
                </a:lnTo>
                <a:lnTo>
                  <a:pt x="363" y="1759"/>
                </a:lnTo>
                <a:close/>
                <a:moveTo>
                  <a:pt x="364" y="1730"/>
                </a:moveTo>
                <a:lnTo>
                  <a:pt x="364" y="1730"/>
                </a:lnTo>
                <a:lnTo>
                  <a:pt x="364" y="1744"/>
                </a:lnTo>
                <a:lnTo>
                  <a:pt x="372" y="1744"/>
                </a:lnTo>
                <a:lnTo>
                  <a:pt x="372" y="1744"/>
                </a:lnTo>
                <a:lnTo>
                  <a:pt x="372" y="1730"/>
                </a:lnTo>
                <a:lnTo>
                  <a:pt x="364" y="1730"/>
                </a:lnTo>
                <a:close/>
                <a:moveTo>
                  <a:pt x="366" y="1700"/>
                </a:moveTo>
                <a:lnTo>
                  <a:pt x="366" y="1700"/>
                </a:lnTo>
                <a:lnTo>
                  <a:pt x="366" y="1715"/>
                </a:lnTo>
                <a:lnTo>
                  <a:pt x="374" y="1715"/>
                </a:lnTo>
                <a:lnTo>
                  <a:pt x="374" y="1715"/>
                </a:lnTo>
                <a:lnTo>
                  <a:pt x="374" y="1700"/>
                </a:lnTo>
                <a:lnTo>
                  <a:pt x="366" y="1700"/>
                </a:lnTo>
                <a:close/>
                <a:moveTo>
                  <a:pt x="368" y="1671"/>
                </a:moveTo>
                <a:lnTo>
                  <a:pt x="368" y="1671"/>
                </a:lnTo>
                <a:lnTo>
                  <a:pt x="366" y="1686"/>
                </a:lnTo>
                <a:lnTo>
                  <a:pt x="374" y="1686"/>
                </a:lnTo>
                <a:lnTo>
                  <a:pt x="374" y="1686"/>
                </a:lnTo>
                <a:lnTo>
                  <a:pt x="375" y="1671"/>
                </a:lnTo>
                <a:lnTo>
                  <a:pt x="368" y="1671"/>
                </a:lnTo>
                <a:close/>
                <a:moveTo>
                  <a:pt x="368" y="1642"/>
                </a:moveTo>
                <a:lnTo>
                  <a:pt x="368" y="1642"/>
                </a:lnTo>
                <a:lnTo>
                  <a:pt x="368" y="1656"/>
                </a:lnTo>
                <a:lnTo>
                  <a:pt x="375" y="1656"/>
                </a:lnTo>
                <a:lnTo>
                  <a:pt x="375" y="1656"/>
                </a:lnTo>
                <a:lnTo>
                  <a:pt x="375" y="1642"/>
                </a:lnTo>
                <a:lnTo>
                  <a:pt x="368" y="1642"/>
                </a:lnTo>
                <a:lnTo>
                  <a:pt x="368" y="1642"/>
                </a:lnTo>
                <a:close/>
                <a:moveTo>
                  <a:pt x="370" y="1612"/>
                </a:moveTo>
                <a:lnTo>
                  <a:pt x="370" y="1612"/>
                </a:lnTo>
                <a:lnTo>
                  <a:pt x="368" y="1627"/>
                </a:lnTo>
                <a:lnTo>
                  <a:pt x="375" y="1627"/>
                </a:lnTo>
                <a:lnTo>
                  <a:pt x="375" y="1627"/>
                </a:lnTo>
                <a:lnTo>
                  <a:pt x="377" y="1612"/>
                </a:lnTo>
                <a:lnTo>
                  <a:pt x="370" y="1612"/>
                </a:lnTo>
                <a:close/>
                <a:moveTo>
                  <a:pt x="370" y="1583"/>
                </a:moveTo>
                <a:lnTo>
                  <a:pt x="370" y="1583"/>
                </a:lnTo>
                <a:lnTo>
                  <a:pt x="370" y="1598"/>
                </a:lnTo>
                <a:lnTo>
                  <a:pt x="377" y="1598"/>
                </a:lnTo>
                <a:lnTo>
                  <a:pt x="377" y="1598"/>
                </a:lnTo>
                <a:lnTo>
                  <a:pt x="377" y="1583"/>
                </a:lnTo>
                <a:lnTo>
                  <a:pt x="370" y="1583"/>
                </a:lnTo>
                <a:close/>
                <a:moveTo>
                  <a:pt x="370" y="1554"/>
                </a:moveTo>
                <a:lnTo>
                  <a:pt x="370" y="1554"/>
                </a:lnTo>
                <a:lnTo>
                  <a:pt x="370" y="1568"/>
                </a:lnTo>
                <a:lnTo>
                  <a:pt x="377" y="1568"/>
                </a:lnTo>
                <a:lnTo>
                  <a:pt x="377" y="1568"/>
                </a:lnTo>
                <a:lnTo>
                  <a:pt x="377" y="1554"/>
                </a:lnTo>
                <a:lnTo>
                  <a:pt x="370" y="1554"/>
                </a:lnTo>
                <a:close/>
                <a:moveTo>
                  <a:pt x="370" y="1524"/>
                </a:moveTo>
                <a:lnTo>
                  <a:pt x="370" y="1524"/>
                </a:lnTo>
                <a:lnTo>
                  <a:pt x="370" y="1537"/>
                </a:lnTo>
                <a:lnTo>
                  <a:pt x="370" y="1539"/>
                </a:lnTo>
                <a:lnTo>
                  <a:pt x="377" y="1539"/>
                </a:lnTo>
                <a:lnTo>
                  <a:pt x="377" y="1537"/>
                </a:lnTo>
                <a:lnTo>
                  <a:pt x="377" y="1537"/>
                </a:lnTo>
                <a:lnTo>
                  <a:pt x="377" y="1524"/>
                </a:lnTo>
                <a:lnTo>
                  <a:pt x="370" y="1524"/>
                </a:lnTo>
                <a:close/>
                <a:moveTo>
                  <a:pt x="370" y="1495"/>
                </a:moveTo>
                <a:lnTo>
                  <a:pt x="370" y="1495"/>
                </a:lnTo>
                <a:lnTo>
                  <a:pt x="370" y="1510"/>
                </a:lnTo>
                <a:lnTo>
                  <a:pt x="377" y="1510"/>
                </a:lnTo>
                <a:lnTo>
                  <a:pt x="377" y="1510"/>
                </a:lnTo>
                <a:lnTo>
                  <a:pt x="377" y="1495"/>
                </a:lnTo>
                <a:lnTo>
                  <a:pt x="370" y="1495"/>
                </a:lnTo>
                <a:close/>
                <a:moveTo>
                  <a:pt x="370" y="1466"/>
                </a:moveTo>
                <a:lnTo>
                  <a:pt x="370" y="1466"/>
                </a:lnTo>
                <a:lnTo>
                  <a:pt x="370" y="1480"/>
                </a:lnTo>
                <a:lnTo>
                  <a:pt x="377" y="1480"/>
                </a:lnTo>
                <a:lnTo>
                  <a:pt x="377" y="1480"/>
                </a:lnTo>
                <a:lnTo>
                  <a:pt x="377" y="1466"/>
                </a:lnTo>
                <a:lnTo>
                  <a:pt x="370" y="1466"/>
                </a:lnTo>
                <a:close/>
                <a:moveTo>
                  <a:pt x="368" y="1436"/>
                </a:moveTo>
                <a:lnTo>
                  <a:pt x="368" y="1436"/>
                </a:lnTo>
                <a:lnTo>
                  <a:pt x="370" y="1451"/>
                </a:lnTo>
                <a:lnTo>
                  <a:pt x="377" y="1451"/>
                </a:lnTo>
                <a:lnTo>
                  <a:pt x="377" y="1451"/>
                </a:lnTo>
                <a:lnTo>
                  <a:pt x="375" y="1436"/>
                </a:lnTo>
                <a:lnTo>
                  <a:pt x="368" y="1436"/>
                </a:lnTo>
                <a:close/>
                <a:moveTo>
                  <a:pt x="368" y="1407"/>
                </a:moveTo>
                <a:lnTo>
                  <a:pt x="368" y="1407"/>
                </a:lnTo>
                <a:lnTo>
                  <a:pt x="368" y="1422"/>
                </a:lnTo>
                <a:lnTo>
                  <a:pt x="375" y="1422"/>
                </a:lnTo>
                <a:lnTo>
                  <a:pt x="375" y="1422"/>
                </a:lnTo>
                <a:lnTo>
                  <a:pt x="375" y="1407"/>
                </a:lnTo>
                <a:lnTo>
                  <a:pt x="368" y="1407"/>
                </a:lnTo>
                <a:close/>
                <a:moveTo>
                  <a:pt x="366" y="1378"/>
                </a:moveTo>
                <a:lnTo>
                  <a:pt x="366" y="1378"/>
                </a:lnTo>
                <a:lnTo>
                  <a:pt x="368" y="1392"/>
                </a:lnTo>
                <a:lnTo>
                  <a:pt x="375" y="1392"/>
                </a:lnTo>
                <a:lnTo>
                  <a:pt x="375" y="1392"/>
                </a:lnTo>
                <a:lnTo>
                  <a:pt x="374" y="1378"/>
                </a:lnTo>
                <a:lnTo>
                  <a:pt x="366" y="1378"/>
                </a:lnTo>
                <a:close/>
                <a:moveTo>
                  <a:pt x="364" y="1350"/>
                </a:moveTo>
                <a:lnTo>
                  <a:pt x="364" y="1350"/>
                </a:lnTo>
                <a:lnTo>
                  <a:pt x="366" y="1363"/>
                </a:lnTo>
                <a:lnTo>
                  <a:pt x="374" y="1363"/>
                </a:lnTo>
                <a:lnTo>
                  <a:pt x="374" y="1363"/>
                </a:lnTo>
                <a:lnTo>
                  <a:pt x="372" y="1348"/>
                </a:lnTo>
                <a:lnTo>
                  <a:pt x="364" y="1350"/>
                </a:lnTo>
                <a:close/>
                <a:moveTo>
                  <a:pt x="363" y="1321"/>
                </a:moveTo>
                <a:lnTo>
                  <a:pt x="363" y="1321"/>
                </a:lnTo>
                <a:lnTo>
                  <a:pt x="364" y="1336"/>
                </a:lnTo>
                <a:lnTo>
                  <a:pt x="372" y="1334"/>
                </a:lnTo>
                <a:lnTo>
                  <a:pt x="372" y="1334"/>
                </a:lnTo>
                <a:lnTo>
                  <a:pt x="370" y="1319"/>
                </a:lnTo>
                <a:lnTo>
                  <a:pt x="363" y="1321"/>
                </a:lnTo>
                <a:close/>
                <a:moveTo>
                  <a:pt x="361" y="1292"/>
                </a:moveTo>
                <a:lnTo>
                  <a:pt x="361" y="1292"/>
                </a:lnTo>
                <a:lnTo>
                  <a:pt x="363" y="1306"/>
                </a:lnTo>
                <a:lnTo>
                  <a:pt x="370" y="1304"/>
                </a:lnTo>
                <a:lnTo>
                  <a:pt x="370" y="1304"/>
                </a:lnTo>
                <a:lnTo>
                  <a:pt x="368" y="1290"/>
                </a:lnTo>
                <a:lnTo>
                  <a:pt x="361" y="1292"/>
                </a:lnTo>
                <a:close/>
                <a:moveTo>
                  <a:pt x="359" y="1262"/>
                </a:moveTo>
                <a:lnTo>
                  <a:pt x="359" y="1262"/>
                </a:lnTo>
                <a:lnTo>
                  <a:pt x="361" y="1277"/>
                </a:lnTo>
                <a:lnTo>
                  <a:pt x="368" y="1275"/>
                </a:lnTo>
                <a:lnTo>
                  <a:pt x="368" y="1275"/>
                </a:lnTo>
                <a:lnTo>
                  <a:pt x="366" y="1261"/>
                </a:lnTo>
                <a:lnTo>
                  <a:pt x="359" y="1262"/>
                </a:lnTo>
                <a:close/>
                <a:moveTo>
                  <a:pt x="357" y="1233"/>
                </a:moveTo>
                <a:lnTo>
                  <a:pt x="357" y="1233"/>
                </a:lnTo>
                <a:lnTo>
                  <a:pt x="359" y="1248"/>
                </a:lnTo>
                <a:lnTo>
                  <a:pt x="366" y="1246"/>
                </a:lnTo>
                <a:lnTo>
                  <a:pt x="366" y="1246"/>
                </a:lnTo>
                <a:lnTo>
                  <a:pt x="364" y="1231"/>
                </a:lnTo>
                <a:lnTo>
                  <a:pt x="357" y="1233"/>
                </a:lnTo>
                <a:close/>
                <a:moveTo>
                  <a:pt x="355" y="1204"/>
                </a:moveTo>
                <a:lnTo>
                  <a:pt x="355" y="1204"/>
                </a:lnTo>
                <a:lnTo>
                  <a:pt x="355" y="1218"/>
                </a:lnTo>
                <a:lnTo>
                  <a:pt x="363" y="1217"/>
                </a:lnTo>
                <a:lnTo>
                  <a:pt x="363" y="1217"/>
                </a:lnTo>
                <a:lnTo>
                  <a:pt x="361" y="1202"/>
                </a:lnTo>
                <a:lnTo>
                  <a:pt x="355" y="1204"/>
                </a:lnTo>
                <a:close/>
                <a:moveTo>
                  <a:pt x="352" y="1174"/>
                </a:moveTo>
                <a:lnTo>
                  <a:pt x="352" y="1174"/>
                </a:lnTo>
                <a:lnTo>
                  <a:pt x="353" y="1189"/>
                </a:lnTo>
                <a:lnTo>
                  <a:pt x="361" y="1187"/>
                </a:lnTo>
                <a:lnTo>
                  <a:pt x="361" y="1187"/>
                </a:lnTo>
                <a:lnTo>
                  <a:pt x="359" y="1173"/>
                </a:lnTo>
                <a:lnTo>
                  <a:pt x="352" y="1174"/>
                </a:lnTo>
                <a:close/>
                <a:moveTo>
                  <a:pt x="348" y="1145"/>
                </a:moveTo>
                <a:lnTo>
                  <a:pt x="348" y="1145"/>
                </a:lnTo>
                <a:lnTo>
                  <a:pt x="350" y="1160"/>
                </a:lnTo>
                <a:lnTo>
                  <a:pt x="357" y="1160"/>
                </a:lnTo>
                <a:lnTo>
                  <a:pt x="357" y="1160"/>
                </a:lnTo>
                <a:lnTo>
                  <a:pt x="355" y="1145"/>
                </a:lnTo>
                <a:lnTo>
                  <a:pt x="348" y="1145"/>
                </a:lnTo>
                <a:close/>
                <a:moveTo>
                  <a:pt x="344" y="1116"/>
                </a:moveTo>
                <a:lnTo>
                  <a:pt x="344" y="1116"/>
                </a:lnTo>
                <a:lnTo>
                  <a:pt x="346" y="1130"/>
                </a:lnTo>
                <a:lnTo>
                  <a:pt x="353" y="1130"/>
                </a:lnTo>
                <a:lnTo>
                  <a:pt x="353" y="1130"/>
                </a:lnTo>
                <a:lnTo>
                  <a:pt x="352" y="1116"/>
                </a:lnTo>
                <a:lnTo>
                  <a:pt x="344" y="1116"/>
                </a:lnTo>
                <a:close/>
                <a:moveTo>
                  <a:pt x="341" y="1086"/>
                </a:moveTo>
                <a:lnTo>
                  <a:pt x="341" y="1086"/>
                </a:lnTo>
                <a:lnTo>
                  <a:pt x="342" y="1101"/>
                </a:lnTo>
                <a:lnTo>
                  <a:pt x="350" y="1101"/>
                </a:lnTo>
                <a:lnTo>
                  <a:pt x="350" y="1101"/>
                </a:lnTo>
                <a:lnTo>
                  <a:pt x="348" y="1086"/>
                </a:lnTo>
                <a:lnTo>
                  <a:pt x="341" y="1086"/>
                </a:lnTo>
                <a:close/>
                <a:moveTo>
                  <a:pt x="337" y="1057"/>
                </a:moveTo>
                <a:lnTo>
                  <a:pt x="337" y="1057"/>
                </a:lnTo>
                <a:lnTo>
                  <a:pt x="339" y="1072"/>
                </a:lnTo>
                <a:lnTo>
                  <a:pt x="346" y="1072"/>
                </a:lnTo>
                <a:lnTo>
                  <a:pt x="346" y="1072"/>
                </a:lnTo>
                <a:lnTo>
                  <a:pt x="344" y="1057"/>
                </a:lnTo>
                <a:lnTo>
                  <a:pt x="337" y="1057"/>
                </a:lnTo>
                <a:close/>
                <a:moveTo>
                  <a:pt x="333" y="1030"/>
                </a:moveTo>
                <a:lnTo>
                  <a:pt x="333" y="1030"/>
                </a:lnTo>
                <a:lnTo>
                  <a:pt x="335" y="1044"/>
                </a:lnTo>
                <a:lnTo>
                  <a:pt x="342" y="1042"/>
                </a:lnTo>
                <a:lnTo>
                  <a:pt x="342" y="1042"/>
                </a:lnTo>
                <a:lnTo>
                  <a:pt x="341" y="1028"/>
                </a:lnTo>
                <a:lnTo>
                  <a:pt x="333" y="1030"/>
                </a:lnTo>
                <a:close/>
                <a:moveTo>
                  <a:pt x="330" y="1000"/>
                </a:moveTo>
                <a:lnTo>
                  <a:pt x="330" y="1000"/>
                </a:lnTo>
                <a:lnTo>
                  <a:pt x="331" y="1015"/>
                </a:lnTo>
                <a:lnTo>
                  <a:pt x="339" y="1013"/>
                </a:lnTo>
                <a:lnTo>
                  <a:pt x="339" y="1013"/>
                </a:lnTo>
                <a:lnTo>
                  <a:pt x="337" y="998"/>
                </a:lnTo>
                <a:lnTo>
                  <a:pt x="330" y="1000"/>
                </a:lnTo>
                <a:close/>
                <a:moveTo>
                  <a:pt x="324" y="971"/>
                </a:moveTo>
                <a:lnTo>
                  <a:pt x="324" y="971"/>
                </a:lnTo>
                <a:lnTo>
                  <a:pt x="326" y="986"/>
                </a:lnTo>
                <a:lnTo>
                  <a:pt x="333" y="984"/>
                </a:lnTo>
                <a:lnTo>
                  <a:pt x="333" y="984"/>
                </a:lnTo>
                <a:lnTo>
                  <a:pt x="331" y="969"/>
                </a:lnTo>
                <a:lnTo>
                  <a:pt x="324" y="971"/>
                </a:lnTo>
                <a:close/>
                <a:moveTo>
                  <a:pt x="320" y="942"/>
                </a:moveTo>
                <a:lnTo>
                  <a:pt x="320" y="942"/>
                </a:lnTo>
                <a:lnTo>
                  <a:pt x="322" y="956"/>
                </a:lnTo>
                <a:lnTo>
                  <a:pt x="330" y="955"/>
                </a:lnTo>
                <a:lnTo>
                  <a:pt x="330" y="955"/>
                </a:lnTo>
                <a:lnTo>
                  <a:pt x="326" y="942"/>
                </a:lnTo>
                <a:lnTo>
                  <a:pt x="320" y="942"/>
                </a:lnTo>
                <a:close/>
                <a:moveTo>
                  <a:pt x="315" y="914"/>
                </a:moveTo>
                <a:lnTo>
                  <a:pt x="315" y="914"/>
                </a:lnTo>
                <a:lnTo>
                  <a:pt x="317" y="927"/>
                </a:lnTo>
                <a:lnTo>
                  <a:pt x="324" y="927"/>
                </a:lnTo>
                <a:lnTo>
                  <a:pt x="324" y="927"/>
                </a:lnTo>
                <a:lnTo>
                  <a:pt x="322" y="912"/>
                </a:lnTo>
                <a:lnTo>
                  <a:pt x="315" y="914"/>
                </a:lnTo>
                <a:close/>
                <a:moveTo>
                  <a:pt x="309" y="885"/>
                </a:moveTo>
                <a:lnTo>
                  <a:pt x="309" y="885"/>
                </a:lnTo>
                <a:lnTo>
                  <a:pt x="311" y="900"/>
                </a:lnTo>
                <a:lnTo>
                  <a:pt x="319" y="898"/>
                </a:lnTo>
                <a:lnTo>
                  <a:pt x="319" y="898"/>
                </a:lnTo>
                <a:lnTo>
                  <a:pt x="317" y="883"/>
                </a:lnTo>
                <a:lnTo>
                  <a:pt x="309" y="885"/>
                </a:lnTo>
                <a:close/>
                <a:moveTo>
                  <a:pt x="304" y="856"/>
                </a:moveTo>
                <a:lnTo>
                  <a:pt x="304" y="856"/>
                </a:lnTo>
                <a:lnTo>
                  <a:pt x="306" y="870"/>
                </a:lnTo>
                <a:lnTo>
                  <a:pt x="313" y="868"/>
                </a:lnTo>
                <a:lnTo>
                  <a:pt x="313" y="868"/>
                </a:lnTo>
                <a:lnTo>
                  <a:pt x="311" y="854"/>
                </a:lnTo>
                <a:lnTo>
                  <a:pt x="304" y="856"/>
                </a:lnTo>
                <a:close/>
                <a:moveTo>
                  <a:pt x="298" y="826"/>
                </a:moveTo>
                <a:lnTo>
                  <a:pt x="298" y="826"/>
                </a:lnTo>
                <a:lnTo>
                  <a:pt x="300" y="841"/>
                </a:lnTo>
                <a:lnTo>
                  <a:pt x="308" y="839"/>
                </a:lnTo>
                <a:lnTo>
                  <a:pt x="308" y="839"/>
                </a:lnTo>
                <a:lnTo>
                  <a:pt x="306" y="826"/>
                </a:lnTo>
                <a:lnTo>
                  <a:pt x="298" y="826"/>
                </a:lnTo>
                <a:close/>
                <a:moveTo>
                  <a:pt x="291" y="799"/>
                </a:moveTo>
                <a:lnTo>
                  <a:pt x="291" y="799"/>
                </a:lnTo>
                <a:lnTo>
                  <a:pt x="295" y="813"/>
                </a:lnTo>
                <a:lnTo>
                  <a:pt x="302" y="812"/>
                </a:lnTo>
                <a:lnTo>
                  <a:pt x="302" y="812"/>
                </a:lnTo>
                <a:lnTo>
                  <a:pt x="298" y="797"/>
                </a:lnTo>
                <a:lnTo>
                  <a:pt x="291" y="799"/>
                </a:lnTo>
                <a:close/>
                <a:moveTo>
                  <a:pt x="286" y="769"/>
                </a:moveTo>
                <a:lnTo>
                  <a:pt x="286" y="769"/>
                </a:lnTo>
                <a:lnTo>
                  <a:pt x="289" y="784"/>
                </a:lnTo>
                <a:lnTo>
                  <a:pt x="297" y="782"/>
                </a:lnTo>
                <a:lnTo>
                  <a:pt x="297" y="782"/>
                </a:lnTo>
                <a:lnTo>
                  <a:pt x="293" y="768"/>
                </a:lnTo>
                <a:lnTo>
                  <a:pt x="286" y="769"/>
                </a:lnTo>
                <a:lnTo>
                  <a:pt x="286" y="769"/>
                </a:lnTo>
                <a:close/>
                <a:moveTo>
                  <a:pt x="278" y="742"/>
                </a:moveTo>
                <a:lnTo>
                  <a:pt x="278" y="742"/>
                </a:lnTo>
                <a:lnTo>
                  <a:pt x="282" y="755"/>
                </a:lnTo>
                <a:lnTo>
                  <a:pt x="289" y="755"/>
                </a:lnTo>
                <a:lnTo>
                  <a:pt x="289" y="755"/>
                </a:lnTo>
                <a:lnTo>
                  <a:pt x="286" y="740"/>
                </a:lnTo>
                <a:lnTo>
                  <a:pt x="278" y="742"/>
                </a:lnTo>
                <a:close/>
                <a:moveTo>
                  <a:pt x="273" y="713"/>
                </a:moveTo>
                <a:lnTo>
                  <a:pt x="273" y="713"/>
                </a:lnTo>
                <a:lnTo>
                  <a:pt x="275" y="727"/>
                </a:lnTo>
                <a:lnTo>
                  <a:pt x="282" y="725"/>
                </a:lnTo>
                <a:lnTo>
                  <a:pt x="282" y="725"/>
                </a:lnTo>
                <a:lnTo>
                  <a:pt x="278" y="711"/>
                </a:lnTo>
                <a:lnTo>
                  <a:pt x="273" y="713"/>
                </a:lnTo>
                <a:close/>
                <a:moveTo>
                  <a:pt x="265" y="685"/>
                </a:moveTo>
                <a:lnTo>
                  <a:pt x="265" y="685"/>
                </a:lnTo>
                <a:lnTo>
                  <a:pt x="269" y="698"/>
                </a:lnTo>
                <a:lnTo>
                  <a:pt x="276" y="696"/>
                </a:lnTo>
                <a:lnTo>
                  <a:pt x="276" y="696"/>
                </a:lnTo>
                <a:lnTo>
                  <a:pt x="273" y="683"/>
                </a:lnTo>
                <a:lnTo>
                  <a:pt x="265" y="685"/>
                </a:lnTo>
                <a:close/>
                <a:moveTo>
                  <a:pt x="258" y="656"/>
                </a:moveTo>
                <a:lnTo>
                  <a:pt x="258" y="656"/>
                </a:lnTo>
                <a:lnTo>
                  <a:pt x="262" y="671"/>
                </a:lnTo>
                <a:lnTo>
                  <a:pt x="269" y="669"/>
                </a:lnTo>
                <a:lnTo>
                  <a:pt x="269" y="669"/>
                </a:lnTo>
                <a:lnTo>
                  <a:pt x="265" y="654"/>
                </a:lnTo>
                <a:lnTo>
                  <a:pt x="258" y="656"/>
                </a:lnTo>
                <a:close/>
                <a:moveTo>
                  <a:pt x="251" y="628"/>
                </a:moveTo>
                <a:lnTo>
                  <a:pt x="251" y="628"/>
                </a:lnTo>
                <a:lnTo>
                  <a:pt x="254" y="641"/>
                </a:lnTo>
                <a:lnTo>
                  <a:pt x="262" y="639"/>
                </a:lnTo>
                <a:lnTo>
                  <a:pt x="262" y="639"/>
                </a:lnTo>
                <a:lnTo>
                  <a:pt x="256" y="627"/>
                </a:lnTo>
                <a:lnTo>
                  <a:pt x="251" y="628"/>
                </a:lnTo>
                <a:close/>
                <a:moveTo>
                  <a:pt x="242" y="599"/>
                </a:moveTo>
                <a:lnTo>
                  <a:pt x="242" y="599"/>
                </a:lnTo>
                <a:lnTo>
                  <a:pt x="245" y="614"/>
                </a:lnTo>
                <a:lnTo>
                  <a:pt x="253" y="612"/>
                </a:lnTo>
                <a:lnTo>
                  <a:pt x="253" y="612"/>
                </a:lnTo>
                <a:lnTo>
                  <a:pt x="249" y="597"/>
                </a:lnTo>
                <a:lnTo>
                  <a:pt x="242" y="599"/>
                </a:lnTo>
                <a:close/>
                <a:moveTo>
                  <a:pt x="234" y="572"/>
                </a:moveTo>
                <a:lnTo>
                  <a:pt x="234" y="572"/>
                </a:lnTo>
                <a:lnTo>
                  <a:pt x="238" y="586"/>
                </a:lnTo>
                <a:lnTo>
                  <a:pt x="245" y="583"/>
                </a:lnTo>
                <a:lnTo>
                  <a:pt x="245" y="583"/>
                </a:lnTo>
                <a:lnTo>
                  <a:pt x="242" y="570"/>
                </a:lnTo>
                <a:lnTo>
                  <a:pt x="234" y="572"/>
                </a:lnTo>
                <a:close/>
                <a:moveTo>
                  <a:pt x="225" y="544"/>
                </a:moveTo>
                <a:lnTo>
                  <a:pt x="225" y="544"/>
                </a:lnTo>
                <a:lnTo>
                  <a:pt x="231" y="557"/>
                </a:lnTo>
                <a:lnTo>
                  <a:pt x="236" y="555"/>
                </a:lnTo>
                <a:lnTo>
                  <a:pt x="236" y="555"/>
                </a:lnTo>
                <a:lnTo>
                  <a:pt x="232" y="540"/>
                </a:lnTo>
                <a:lnTo>
                  <a:pt x="225" y="544"/>
                </a:lnTo>
                <a:close/>
                <a:moveTo>
                  <a:pt x="218" y="515"/>
                </a:moveTo>
                <a:lnTo>
                  <a:pt x="218" y="515"/>
                </a:lnTo>
                <a:lnTo>
                  <a:pt x="221" y="529"/>
                </a:lnTo>
                <a:lnTo>
                  <a:pt x="229" y="528"/>
                </a:lnTo>
                <a:lnTo>
                  <a:pt x="229" y="528"/>
                </a:lnTo>
                <a:lnTo>
                  <a:pt x="223" y="513"/>
                </a:lnTo>
                <a:lnTo>
                  <a:pt x="218" y="515"/>
                </a:lnTo>
                <a:close/>
                <a:moveTo>
                  <a:pt x="209" y="487"/>
                </a:moveTo>
                <a:lnTo>
                  <a:pt x="209" y="487"/>
                </a:lnTo>
                <a:lnTo>
                  <a:pt x="212" y="502"/>
                </a:lnTo>
                <a:lnTo>
                  <a:pt x="220" y="498"/>
                </a:lnTo>
                <a:lnTo>
                  <a:pt x="220" y="498"/>
                </a:lnTo>
                <a:lnTo>
                  <a:pt x="216" y="485"/>
                </a:lnTo>
                <a:lnTo>
                  <a:pt x="209" y="487"/>
                </a:lnTo>
                <a:close/>
                <a:moveTo>
                  <a:pt x="199" y="460"/>
                </a:moveTo>
                <a:lnTo>
                  <a:pt x="199" y="460"/>
                </a:lnTo>
                <a:lnTo>
                  <a:pt x="203" y="473"/>
                </a:lnTo>
                <a:lnTo>
                  <a:pt x="210" y="471"/>
                </a:lnTo>
                <a:lnTo>
                  <a:pt x="210" y="471"/>
                </a:lnTo>
                <a:lnTo>
                  <a:pt x="207" y="458"/>
                </a:lnTo>
                <a:lnTo>
                  <a:pt x="199" y="460"/>
                </a:lnTo>
                <a:close/>
                <a:moveTo>
                  <a:pt x="190" y="432"/>
                </a:moveTo>
                <a:lnTo>
                  <a:pt x="190" y="432"/>
                </a:lnTo>
                <a:lnTo>
                  <a:pt x="194" y="445"/>
                </a:lnTo>
                <a:lnTo>
                  <a:pt x="201" y="443"/>
                </a:lnTo>
                <a:lnTo>
                  <a:pt x="201" y="443"/>
                </a:lnTo>
                <a:lnTo>
                  <a:pt x="198" y="429"/>
                </a:lnTo>
                <a:lnTo>
                  <a:pt x="190" y="432"/>
                </a:lnTo>
                <a:close/>
                <a:moveTo>
                  <a:pt x="181" y="405"/>
                </a:moveTo>
                <a:lnTo>
                  <a:pt x="181" y="405"/>
                </a:lnTo>
                <a:lnTo>
                  <a:pt x="185" y="418"/>
                </a:lnTo>
                <a:lnTo>
                  <a:pt x="192" y="416"/>
                </a:lnTo>
                <a:lnTo>
                  <a:pt x="192" y="416"/>
                </a:lnTo>
                <a:lnTo>
                  <a:pt x="187" y="401"/>
                </a:lnTo>
                <a:lnTo>
                  <a:pt x="181" y="405"/>
                </a:lnTo>
                <a:close/>
                <a:moveTo>
                  <a:pt x="170" y="377"/>
                </a:moveTo>
                <a:lnTo>
                  <a:pt x="170" y="377"/>
                </a:lnTo>
                <a:lnTo>
                  <a:pt x="176" y="390"/>
                </a:lnTo>
                <a:lnTo>
                  <a:pt x="183" y="388"/>
                </a:lnTo>
                <a:lnTo>
                  <a:pt x="183" y="388"/>
                </a:lnTo>
                <a:lnTo>
                  <a:pt x="177" y="374"/>
                </a:lnTo>
                <a:lnTo>
                  <a:pt x="170" y="377"/>
                </a:lnTo>
                <a:close/>
                <a:moveTo>
                  <a:pt x="161" y="350"/>
                </a:moveTo>
                <a:lnTo>
                  <a:pt x="161" y="350"/>
                </a:lnTo>
                <a:lnTo>
                  <a:pt x="165" y="363"/>
                </a:lnTo>
                <a:lnTo>
                  <a:pt x="172" y="361"/>
                </a:lnTo>
                <a:lnTo>
                  <a:pt x="172" y="361"/>
                </a:lnTo>
                <a:lnTo>
                  <a:pt x="166" y="346"/>
                </a:lnTo>
                <a:lnTo>
                  <a:pt x="161" y="350"/>
                </a:lnTo>
                <a:close/>
                <a:moveTo>
                  <a:pt x="150" y="322"/>
                </a:moveTo>
                <a:lnTo>
                  <a:pt x="150" y="322"/>
                </a:lnTo>
                <a:lnTo>
                  <a:pt x="155" y="335"/>
                </a:lnTo>
                <a:lnTo>
                  <a:pt x="161" y="333"/>
                </a:lnTo>
                <a:lnTo>
                  <a:pt x="161" y="333"/>
                </a:lnTo>
                <a:lnTo>
                  <a:pt x="157" y="319"/>
                </a:lnTo>
                <a:lnTo>
                  <a:pt x="150" y="322"/>
                </a:lnTo>
                <a:close/>
                <a:moveTo>
                  <a:pt x="139" y="295"/>
                </a:moveTo>
                <a:lnTo>
                  <a:pt x="139" y="295"/>
                </a:lnTo>
                <a:lnTo>
                  <a:pt x="144" y="308"/>
                </a:lnTo>
                <a:lnTo>
                  <a:pt x="152" y="306"/>
                </a:lnTo>
                <a:lnTo>
                  <a:pt x="152" y="306"/>
                </a:lnTo>
                <a:lnTo>
                  <a:pt x="146" y="291"/>
                </a:lnTo>
                <a:lnTo>
                  <a:pt x="139" y="295"/>
                </a:lnTo>
                <a:close/>
                <a:moveTo>
                  <a:pt x="128" y="267"/>
                </a:moveTo>
                <a:lnTo>
                  <a:pt x="128" y="267"/>
                </a:lnTo>
                <a:lnTo>
                  <a:pt x="133" y="280"/>
                </a:lnTo>
                <a:lnTo>
                  <a:pt x="141" y="278"/>
                </a:lnTo>
                <a:lnTo>
                  <a:pt x="141" y="278"/>
                </a:lnTo>
                <a:lnTo>
                  <a:pt x="135" y="264"/>
                </a:lnTo>
                <a:lnTo>
                  <a:pt x="128" y="267"/>
                </a:lnTo>
                <a:lnTo>
                  <a:pt x="128" y="267"/>
                </a:lnTo>
                <a:close/>
                <a:moveTo>
                  <a:pt x="117" y="240"/>
                </a:moveTo>
                <a:lnTo>
                  <a:pt x="117" y="240"/>
                </a:lnTo>
                <a:lnTo>
                  <a:pt x="122" y="255"/>
                </a:lnTo>
                <a:lnTo>
                  <a:pt x="130" y="251"/>
                </a:lnTo>
                <a:lnTo>
                  <a:pt x="130" y="251"/>
                </a:lnTo>
                <a:lnTo>
                  <a:pt x="124" y="238"/>
                </a:lnTo>
                <a:lnTo>
                  <a:pt x="117" y="240"/>
                </a:lnTo>
                <a:close/>
                <a:moveTo>
                  <a:pt x="106" y="212"/>
                </a:moveTo>
                <a:lnTo>
                  <a:pt x="106" y="212"/>
                </a:lnTo>
                <a:lnTo>
                  <a:pt x="111" y="227"/>
                </a:lnTo>
                <a:lnTo>
                  <a:pt x="117" y="223"/>
                </a:lnTo>
                <a:lnTo>
                  <a:pt x="117" y="223"/>
                </a:lnTo>
                <a:lnTo>
                  <a:pt x="111" y="211"/>
                </a:lnTo>
                <a:lnTo>
                  <a:pt x="106" y="212"/>
                </a:lnTo>
                <a:close/>
                <a:moveTo>
                  <a:pt x="93" y="187"/>
                </a:moveTo>
                <a:lnTo>
                  <a:pt x="93" y="187"/>
                </a:lnTo>
                <a:lnTo>
                  <a:pt x="99" y="200"/>
                </a:lnTo>
                <a:lnTo>
                  <a:pt x="106" y="198"/>
                </a:lnTo>
                <a:lnTo>
                  <a:pt x="106" y="198"/>
                </a:lnTo>
                <a:lnTo>
                  <a:pt x="100" y="183"/>
                </a:lnTo>
                <a:lnTo>
                  <a:pt x="93" y="187"/>
                </a:lnTo>
                <a:close/>
                <a:moveTo>
                  <a:pt x="80" y="159"/>
                </a:moveTo>
                <a:lnTo>
                  <a:pt x="80" y="159"/>
                </a:lnTo>
                <a:lnTo>
                  <a:pt x="88" y="174"/>
                </a:lnTo>
                <a:lnTo>
                  <a:pt x="93" y="170"/>
                </a:lnTo>
                <a:lnTo>
                  <a:pt x="93" y="170"/>
                </a:lnTo>
                <a:lnTo>
                  <a:pt x="88" y="157"/>
                </a:lnTo>
                <a:lnTo>
                  <a:pt x="80" y="159"/>
                </a:lnTo>
                <a:close/>
                <a:moveTo>
                  <a:pt x="69" y="134"/>
                </a:moveTo>
                <a:lnTo>
                  <a:pt x="69" y="134"/>
                </a:lnTo>
                <a:lnTo>
                  <a:pt x="75" y="146"/>
                </a:lnTo>
                <a:lnTo>
                  <a:pt x="82" y="143"/>
                </a:lnTo>
                <a:lnTo>
                  <a:pt x="82" y="143"/>
                </a:lnTo>
                <a:lnTo>
                  <a:pt x="75" y="130"/>
                </a:lnTo>
                <a:lnTo>
                  <a:pt x="69" y="134"/>
                </a:lnTo>
                <a:lnTo>
                  <a:pt x="69" y="134"/>
                </a:lnTo>
                <a:close/>
                <a:moveTo>
                  <a:pt x="57" y="108"/>
                </a:moveTo>
                <a:lnTo>
                  <a:pt x="57" y="108"/>
                </a:lnTo>
                <a:lnTo>
                  <a:pt x="62" y="121"/>
                </a:lnTo>
                <a:lnTo>
                  <a:pt x="69" y="117"/>
                </a:lnTo>
                <a:lnTo>
                  <a:pt x="69" y="117"/>
                </a:lnTo>
                <a:lnTo>
                  <a:pt x="62" y="104"/>
                </a:lnTo>
                <a:lnTo>
                  <a:pt x="57" y="108"/>
                </a:lnTo>
                <a:close/>
                <a:moveTo>
                  <a:pt x="42" y="81"/>
                </a:moveTo>
                <a:lnTo>
                  <a:pt x="42" y="81"/>
                </a:lnTo>
                <a:lnTo>
                  <a:pt x="49" y="93"/>
                </a:lnTo>
                <a:lnTo>
                  <a:pt x="57" y="92"/>
                </a:lnTo>
                <a:lnTo>
                  <a:pt x="57" y="92"/>
                </a:lnTo>
                <a:lnTo>
                  <a:pt x="49" y="77"/>
                </a:lnTo>
                <a:lnTo>
                  <a:pt x="42" y="81"/>
                </a:lnTo>
                <a:close/>
                <a:moveTo>
                  <a:pt x="29" y="55"/>
                </a:moveTo>
                <a:lnTo>
                  <a:pt x="29" y="55"/>
                </a:lnTo>
                <a:lnTo>
                  <a:pt x="36" y="68"/>
                </a:lnTo>
                <a:lnTo>
                  <a:pt x="42" y="64"/>
                </a:lnTo>
                <a:lnTo>
                  <a:pt x="42" y="64"/>
                </a:lnTo>
                <a:lnTo>
                  <a:pt x="36" y="51"/>
                </a:lnTo>
                <a:lnTo>
                  <a:pt x="29" y="55"/>
                </a:lnTo>
                <a:close/>
                <a:moveTo>
                  <a:pt x="14" y="29"/>
                </a:moveTo>
                <a:lnTo>
                  <a:pt x="14" y="29"/>
                </a:lnTo>
                <a:lnTo>
                  <a:pt x="22" y="42"/>
                </a:lnTo>
                <a:lnTo>
                  <a:pt x="29" y="38"/>
                </a:lnTo>
                <a:lnTo>
                  <a:pt x="29" y="38"/>
                </a:lnTo>
                <a:lnTo>
                  <a:pt x="22" y="26"/>
                </a:lnTo>
                <a:lnTo>
                  <a:pt x="14" y="29"/>
                </a:lnTo>
                <a:close/>
                <a:moveTo>
                  <a:pt x="0" y="4"/>
                </a:moveTo>
                <a:lnTo>
                  <a:pt x="0" y="4"/>
                </a:lnTo>
                <a:lnTo>
                  <a:pt x="2" y="7"/>
                </a:lnTo>
                <a:lnTo>
                  <a:pt x="2" y="7"/>
                </a:lnTo>
                <a:lnTo>
                  <a:pt x="7" y="16"/>
                </a:lnTo>
                <a:lnTo>
                  <a:pt x="14" y="13"/>
                </a:lnTo>
                <a:lnTo>
                  <a:pt x="14" y="13"/>
                </a:lnTo>
                <a:lnTo>
                  <a:pt x="7" y="0"/>
                </a:lnTo>
                <a:lnTo>
                  <a:pt x="0" y="4"/>
                </a:lnTo>
                <a:close/>
              </a:path>
            </a:pathLst>
          </a:custGeom>
          <a:solidFill>
            <a:srgbClr val="56575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8" name="Rectangle 98">
            <a:extLst>
              <a:ext uri="{FF2B5EF4-FFF2-40B4-BE49-F238E27FC236}">
                <a16:creationId xmlns:a16="http://schemas.microsoft.com/office/drawing/2014/main" id="{CDFAD61F-47DD-A5D0-7F93-7BCDDABD48E8}"/>
              </a:ext>
            </a:extLst>
          </p:cNvPr>
          <p:cNvSpPr>
            <a:spLocks noChangeArrowheads="1"/>
          </p:cNvSpPr>
          <p:nvPr/>
        </p:nvSpPr>
        <p:spPr bwMode="auto">
          <a:xfrm>
            <a:off x="5870756" y="1124289"/>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09" name="Freeform 99">
            <a:extLst>
              <a:ext uri="{FF2B5EF4-FFF2-40B4-BE49-F238E27FC236}">
                <a16:creationId xmlns:a16="http://schemas.microsoft.com/office/drawing/2014/main" id="{66ACFA2A-B168-D769-24AA-81B66C2B0C14}"/>
              </a:ext>
            </a:extLst>
          </p:cNvPr>
          <p:cNvSpPr>
            <a:spLocks/>
          </p:cNvSpPr>
          <p:nvPr/>
        </p:nvSpPr>
        <p:spPr bwMode="auto">
          <a:xfrm>
            <a:off x="5870756" y="1124289"/>
            <a:ext cx="10514" cy="10014"/>
          </a:xfrm>
          <a:custGeom>
            <a:avLst/>
            <a:gdLst/>
            <a:ahLst/>
            <a:cxnLst>
              <a:cxn ang="0">
                <a:pos x="7" y="0"/>
              </a:cxn>
              <a:cxn ang="0">
                <a:pos x="0" y="0"/>
              </a:cxn>
              <a:cxn ang="0">
                <a:pos x="0" y="8"/>
              </a:cxn>
              <a:cxn ang="0">
                <a:pos x="7" y="8"/>
              </a:cxn>
            </a:cxnLst>
            <a:rect l="0" t="0" r="r" b="b"/>
            <a:pathLst>
              <a:path w="7" h="8">
                <a:moveTo>
                  <a:pt x="7" y="0"/>
                </a:moveTo>
                <a:lnTo>
                  <a:pt x="0" y="0"/>
                </a:lnTo>
                <a:lnTo>
                  <a:pt x="0" y="8"/>
                </a:lnTo>
                <a:lnTo>
                  <a:pt x="7"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0" name="Freeform 100">
            <a:extLst>
              <a:ext uri="{FF2B5EF4-FFF2-40B4-BE49-F238E27FC236}">
                <a16:creationId xmlns:a16="http://schemas.microsoft.com/office/drawing/2014/main" id="{51C60933-0E0C-74B3-A2B6-6ED18081836E}"/>
              </a:ext>
            </a:extLst>
          </p:cNvPr>
          <p:cNvSpPr>
            <a:spLocks noEditPoints="1"/>
          </p:cNvSpPr>
          <p:nvPr/>
        </p:nvSpPr>
        <p:spPr bwMode="auto">
          <a:xfrm>
            <a:off x="5152858" y="1124289"/>
            <a:ext cx="695371" cy="10014"/>
          </a:xfrm>
          <a:custGeom>
            <a:avLst/>
            <a:gdLst/>
            <a:ahLst/>
            <a:cxnLst>
              <a:cxn ang="0">
                <a:pos x="0" y="0"/>
              </a:cxn>
              <a:cxn ang="0">
                <a:pos x="14" y="8"/>
              </a:cxn>
              <a:cxn ang="0">
                <a:pos x="44" y="0"/>
              </a:cxn>
              <a:cxn ang="0">
                <a:pos x="29" y="8"/>
              </a:cxn>
              <a:cxn ang="0">
                <a:pos x="44" y="0"/>
              </a:cxn>
              <a:cxn ang="0">
                <a:pos x="60" y="0"/>
              </a:cxn>
              <a:cxn ang="0">
                <a:pos x="75" y="8"/>
              </a:cxn>
              <a:cxn ang="0">
                <a:pos x="104" y="0"/>
              </a:cxn>
              <a:cxn ang="0">
                <a:pos x="89" y="8"/>
              </a:cxn>
              <a:cxn ang="0">
                <a:pos x="104" y="0"/>
              </a:cxn>
              <a:cxn ang="0">
                <a:pos x="119" y="0"/>
              </a:cxn>
              <a:cxn ang="0">
                <a:pos x="133" y="8"/>
              </a:cxn>
              <a:cxn ang="0">
                <a:pos x="164" y="0"/>
              </a:cxn>
              <a:cxn ang="0">
                <a:pos x="148" y="8"/>
              </a:cxn>
              <a:cxn ang="0">
                <a:pos x="164" y="0"/>
              </a:cxn>
              <a:cxn ang="0">
                <a:pos x="179" y="0"/>
              </a:cxn>
              <a:cxn ang="0">
                <a:pos x="194" y="8"/>
              </a:cxn>
              <a:cxn ang="0">
                <a:pos x="223" y="0"/>
              </a:cxn>
              <a:cxn ang="0">
                <a:pos x="208" y="8"/>
              </a:cxn>
              <a:cxn ang="0">
                <a:pos x="223" y="0"/>
              </a:cxn>
              <a:cxn ang="0">
                <a:pos x="238" y="0"/>
              </a:cxn>
              <a:cxn ang="0">
                <a:pos x="254" y="8"/>
              </a:cxn>
              <a:cxn ang="0">
                <a:pos x="284" y="0"/>
              </a:cxn>
              <a:cxn ang="0">
                <a:pos x="269" y="8"/>
              </a:cxn>
              <a:cxn ang="0">
                <a:pos x="284" y="0"/>
              </a:cxn>
              <a:cxn ang="0">
                <a:pos x="298" y="0"/>
              </a:cxn>
              <a:cxn ang="0">
                <a:pos x="313" y="8"/>
              </a:cxn>
              <a:cxn ang="0">
                <a:pos x="342" y="0"/>
              </a:cxn>
              <a:cxn ang="0">
                <a:pos x="328" y="8"/>
              </a:cxn>
              <a:cxn ang="0">
                <a:pos x="342" y="0"/>
              </a:cxn>
              <a:cxn ang="0">
                <a:pos x="359" y="0"/>
              </a:cxn>
              <a:cxn ang="0">
                <a:pos x="373" y="8"/>
              </a:cxn>
              <a:cxn ang="0">
                <a:pos x="403" y="0"/>
              </a:cxn>
              <a:cxn ang="0">
                <a:pos x="388" y="8"/>
              </a:cxn>
              <a:cxn ang="0">
                <a:pos x="403" y="0"/>
              </a:cxn>
              <a:cxn ang="0">
                <a:pos x="417" y="0"/>
              </a:cxn>
              <a:cxn ang="0">
                <a:pos x="432" y="8"/>
              </a:cxn>
              <a:cxn ang="0">
                <a:pos x="463" y="0"/>
              </a:cxn>
              <a:cxn ang="0">
                <a:pos x="448" y="8"/>
              </a:cxn>
              <a:cxn ang="0">
                <a:pos x="463" y="0"/>
              </a:cxn>
            </a:cxnLst>
            <a:rect l="0" t="0" r="r" b="b"/>
            <a:pathLst>
              <a:path w="463" h="8">
                <a:moveTo>
                  <a:pt x="14" y="0"/>
                </a:moveTo>
                <a:lnTo>
                  <a:pt x="0" y="0"/>
                </a:lnTo>
                <a:lnTo>
                  <a:pt x="0" y="8"/>
                </a:lnTo>
                <a:lnTo>
                  <a:pt x="14" y="8"/>
                </a:lnTo>
                <a:lnTo>
                  <a:pt x="14" y="0"/>
                </a:lnTo>
                <a:close/>
                <a:moveTo>
                  <a:pt x="44" y="0"/>
                </a:moveTo>
                <a:lnTo>
                  <a:pt x="29" y="0"/>
                </a:lnTo>
                <a:lnTo>
                  <a:pt x="29" y="8"/>
                </a:lnTo>
                <a:lnTo>
                  <a:pt x="44" y="8"/>
                </a:lnTo>
                <a:lnTo>
                  <a:pt x="44" y="0"/>
                </a:lnTo>
                <a:close/>
                <a:moveTo>
                  <a:pt x="75" y="0"/>
                </a:moveTo>
                <a:lnTo>
                  <a:pt x="60" y="0"/>
                </a:lnTo>
                <a:lnTo>
                  <a:pt x="60" y="8"/>
                </a:lnTo>
                <a:lnTo>
                  <a:pt x="75" y="8"/>
                </a:lnTo>
                <a:lnTo>
                  <a:pt x="75" y="0"/>
                </a:lnTo>
                <a:close/>
                <a:moveTo>
                  <a:pt x="104" y="0"/>
                </a:moveTo>
                <a:lnTo>
                  <a:pt x="89" y="0"/>
                </a:lnTo>
                <a:lnTo>
                  <a:pt x="89" y="8"/>
                </a:lnTo>
                <a:lnTo>
                  <a:pt x="104" y="8"/>
                </a:lnTo>
                <a:lnTo>
                  <a:pt x="104" y="0"/>
                </a:lnTo>
                <a:close/>
                <a:moveTo>
                  <a:pt x="133" y="0"/>
                </a:moveTo>
                <a:lnTo>
                  <a:pt x="119" y="0"/>
                </a:lnTo>
                <a:lnTo>
                  <a:pt x="119" y="8"/>
                </a:lnTo>
                <a:lnTo>
                  <a:pt x="133" y="8"/>
                </a:lnTo>
                <a:lnTo>
                  <a:pt x="133" y="0"/>
                </a:lnTo>
                <a:close/>
                <a:moveTo>
                  <a:pt x="164" y="0"/>
                </a:moveTo>
                <a:lnTo>
                  <a:pt x="148" y="0"/>
                </a:lnTo>
                <a:lnTo>
                  <a:pt x="148" y="8"/>
                </a:lnTo>
                <a:lnTo>
                  <a:pt x="164" y="8"/>
                </a:lnTo>
                <a:lnTo>
                  <a:pt x="164" y="0"/>
                </a:lnTo>
                <a:close/>
                <a:moveTo>
                  <a:pt x="194" y="0"/>
                </a:moveTo>
                <a:lnTo>
                  <a:pt x="179" y="0"/>
                </a:lnTo>
                <a:lnTo>
                  <a:pt x="179" y="8"/>
                </a:lnTo>
                <a:lnTo>
                  <a:pt x="194" y="8"/>
                </a:lnTo>
                <a:lnTo>
                  <a:pt x="194" y="0"/>
                </a:lnTo>
                <a:close/>
                <a:moveTo>
                  <a:pt x="223" y="0"/>
                </a:moveTo>
                <a:lnTo>
                  <a:pt x="208" y="0"/>
                </a:lnTo>
                <a:lnTo>
                  <a:pt x="208" y="8"/>
                </a:lnTo>
                <a:lnTo>
                  <a:pt x="223" y="8"/>
                </a:lnTo>
                <a:lnTo>
                  <a:pt x="223" y="0"/>
                </a:lnTo>
                <a:close/>
                <a:moveTo>
                  <a:pt x="254" y="0"/>
                </a:moveTo>
                <a:lnTo>
                  <a:pt x="238" y="0"/>
                </a:lnTo>
                <a:lnTo>
                  <a:pt x="238" y="8"/>
                </a:lnTo>
                <a:lnTo>
                  <a:pt x="254" y="8"/>
                </a:lnTo>
                <a:lnTo>
                  <a:pt x="254" y="0"/>
                </a:lnTo>
                <a:close/>
                <a:moveTo>
                  <a:pt x="284" y="0"/>
                </a:moveTo>
                <a:lnTo>
                  <a:pt x="269" y="0"/>
                </a:lnTo>
                <a:lnTo>
                  <a:pt x="269" y="8"/>
                </a:lnTo>
                <a:lnTo>
                  <a:pt x="284" y="8"/>
                </a:lnTo>
                <a:lnTo>
                  <a:pt x="284" y="0"/>
                </a:lnTo>
                <a:close/>
                <a:moveTo>
                  <a:pt x="313" y="0"/>
                </a:moveTo>
                <a:lnTo>
                  <a:pt x="298" y="0"/>
                </a:lnTo>
                <a:lnTo>
                  <a:pt x="298" y="8"/>
                </a:lnTo>
                <a:lnTo>
                  <a:pt x="313" y="8"/>
                </a:lnTo>
                <a:lnTo>
                  <a:pt x="313" y="0"/>
                </a:lnTo>
                <a:close/>
                <a:moveTo>
                  <a:pt x="342" y="0"/>
                </a:moveTo>
                <a:lnTo>
                  <a:pt x="328" y="0"/>
                </a:lnTo>
                <a:lnTo>
                  <a:pt x="328" y="8"/>
                </a:lnTo>
                <a:lnTo>
                  <a:pt x="342" y="8"/>
                </a:lnTo>
                <a:lnTo>
                  <a:pt x="342" y="0"/>
                </a:lnTo>
                <a:close/>
                <a:moveTo>
                  <a:pt x="373" y="0"/>
                </a:moveTo>
                <a:lnTo>
                  <a:pt x="359" y="0"/>
                </a:lnTo>
                <a:lnTo>
                  <a:pt x="359" y="8"/>
                </a:lnTo>
                <a:lnTo>
                  <a:pt x="373" y="8"/>
                </a:lnTo>
                <a:lnTo>
                  <a:pt x="373" y="0"/>
                </a:lnTo>
                <a:close/>
                <a:moveTo>
                  <a:pt x="403" y="0"/>
                </a:moveTo>
                <a:lnTo>
                  <a:pt x="388" y="0"/>
                </a:lnTo>
                <a:lnTo>
                  <a:pt x="388" y="8"/>
                </a:lnTo>
                <a:lnTo>
                  <a:pt x="403" y="8"/>
                </a:lnTo>
                <a:lnTo>
                  <a:pt x="403" y="0"/>
                </a:lnTo>
                <a:close/>
                <a:moveTo>
                  <a:pt x="432" y="0"/>
                </a:moveTo>
                <a:lnTo>
                  <a:pt x="417" y="0"/>
                </a:lnTo>
                <a:lnTo>
                  <a:pt x="417" y="8"/>
                </a:lnTo>
                <a:lnTo>
                  <a:pt x="432" y="8"/>
                </a:lnTo>
                <a:lnTo>
                  <a:pt x="432" y="0"/>
                </a:lnTo>
                <a:close/>
                <a:moveTo>
                  <a:pt x="463" y="0"/>
                </a:moveTo>
                <a:lnTo>
                  <a:pt x="448" y="0"/>
                </a:lnTo>
                <a:lnTo>
                  <a:pt x="448" y="8"/>
                </a:lnTo>
                <a:lnTo>
                  <a:pt x="463" y="8"/>
                </a:lnTo>
                <a:lnTo>
                  <a:pt x="463" y="0"/>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1" name="Rectangle 101">
            <a:extLst>
              <a:ext uri="{FF2B5EF4-FFF2-40B4-BE49-F238E27FC236}">
                <a16:creationId xmlns:a16="http://schemas.microsoft.com/office/drawing/2014/main" id="{D5031187-EA3B-20C2-DCD1-9F59FD0E2DD1}"/>
              </a:ext>
            </a:extLst>
          </p:cNvPr>
          <p:cNvSpPr>
            <a:spLocks noChangeArrowheads="1"/>
          </p:cNvSpPr>
          <p:nvPr/>
        </p:nvSpPr>
        <p:spPr bwMode="auto">
          <a:xfrm>
            <a:off x="5119816" y="1124289"/>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2" name="Freeform 102">
            <a:extLst>
              <a:ext uri="{FF2B5EF4-FFF2-40B4-BE49-F238E27FC236}">
                <a16:creationId xmlns:a16="http://schemas.microsoft.com/office/drawing/2014/main" id="{8BA07580-C40E-EFFA-F766-B1CA75FFA45B}"/>
              </a:ext>
            </a:extLst>
          </p:cNvPr>
          <p:cNvSpPr>
            <a:spLocks/>
          </p:cNvSpPr>
          <p:nvPr/>
        </p:nvSpPr>
        <p:spPr bwMode="auto">
          <a:xfrm>
            <a:off x="5119816" y="1124289"/>
            <a:ext cx="10514" cy="10014"/>
          </a:xfrm>
          <a:custGeom>
            <a:avLst/>
            <a:gdLst/>
            <a:ahLst/>
            <a:cxnLst>
              <a:cxn ang="0">
                <a:pos x="7" y="0"/>
              </a:cxn>
              <a:cxn ang="0">
                <a:pos x="0" y="0"/>
              </a:cxn>
              <a:cxn ang="0">
                <a:pos x="0" y="8"/>
              </a:cxn>
              <a:cxn ang="0">
                <a:pos x="7" y="8"/>
              </a:cxn>
            </a:cxnLst>
            <a:rect l="0" t="0" r="r" b="b"/>
            <a:pathLst>
              <a:path w="7" h="8">
                <a:moveTo>
                  <a:pt x="7" y="0"/>
                </a:moveTo>
                <a:lnTo>
                  <a:pt x="0" y="0"/>
                </a:lnTo>
                <a:lnTo>
                  <a:pt x="0" y="8"/>
                </a:lnTo>
                <a:lnTo>
                  <a:pt x="7"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3" name="Freeform 103">
            <a:extLst>
              <a:ext uri="{FF2B5EF4-FFF2-40B4-BE49-F238E27FC236}">
                <a16:creationId xmlns:a16="http://schemas.microsoft.com/office/drawing/2014/main" id="{40E81D46-B892-1AB0-0CDF-F4C044498A22}"/>
              </a:ext>
            </a:extLst>
          </p:cNvPr>
          <p:cNvSpPr>
            <a:spLocks/>
          </p:cNvSpPr>
          <p:nvPr/>
        </p:nvSpPr>
        <p:spPr bwMode="auto">
          <a:xfrm>
            <a:off x="5100292" y="1110520"/>
            <a:ext cx="40551" cy="35048"/>
          </a:xfrm>
          <a:custGeom>
            <a:avLst/>
            <a:gdLst/>
            <a:ahLst/>
            <a:cxnLst>
              <a:cxn ang="0">
                <a:pos x="13" y="0"/>
              </a:cxn>
              <a:cxn ang="0">
                <a:pos x="13" y="0"/>
              </a:cxn>
              <a:cxn ang="0">
                <a:pos x="7" y="2"/>
              </a:cxn>
              <a:cxn ang="0">
                <a:pos x="3" y="4"/>
              </a:cxn>
              <a:cxn ang="0">
                <a:pos x="0" y="10"/>
              </a:cxn>
              <a:cxn ang="0">
                <a:pos x="0" y="15"/>
              </a:cxn>
              <a:cxn ang="0">
                <a:pos x="0" y="15"/>
              </a:cxn>
              <a:cxn ang="0">
                <a:pos x="0" y="21"/>
              </a:cxn>
              <a:cxn ang="0">
                <a:pos x="3" y="24"/>
              </a:cxn>
              <a:cxn ang="0">
                <a:pos x="7" y="28"/>
              </a:cxn>
              <a:cxn ang="0">
                <a:pos x="13" y="28"/>
              </a:cxn>
              <a:cxn ang="0">
                <a:pos x="13" y="28"/>
              </a:cxn>
              <a:cxn ang="0">
                <a:pos x="18" y="28"/>
              </a:cxn>
              <a:cxn ang="0">
                <a:pos x="22" y="24"/>
              </a:cxn>
              <a:cxn ang="0">
                <a:pos x="25" y="21"/>
              </a:cxn>
              <a:cxn ang="0">
                <a:pos x="27" y="15"/>
              </a:cxn>
              <a:cxn ang="0">
                <a:pos x="27" y="15"/>
              </a:cxn>
              <a:cxn ang="0">
                <a:pos x="25" y="10"/>
              </a:cxn>
              <a:cxn ang="0">
                <a:pos x="22" y="4"/>
              </a:cxn>
              <a:cxn ang="0">
                <a:pos x="18" y="2"/>
              </a:cxn>
              <a:cxn ang="0">
                <a:pos x="13" y="0"/>
              </a:cxn>
              <a:cxn ang="0">
                <a:pos x="13" y="0"/>
              </a:cxn>
            </a:cxnLst>
            <a:rect l="0" t="0" r="r" b="b"/>
            <a:pathLst>
              <a:path w="27" h="28">
                <a:moveTo>
                  <a:pt x="13" y="0"/>
                </a:moveTo>
                <a:lnTo>
                  <a:pt x="13" y="0"/>
                </a:lnTo>
                <a:lnTo>
                  <a:pt x="7" y="2"/>
                </a:lnTo>
                <a:lnTo>
                  <a:pt x="3" y="4"/>
                </a:lnTo>
                <a:lnTo>
                  <a:pt x="0" y="10"/>
                </a:lnTo>
                <a:lnTo>
                  <a:pt x="0" y="15"/>
                </a:lnTo>
                <a:lnTo>
                  <a:pt x="0" y="15"/>
                </a:lnTo>
                <a:lnTo>
                  <a:pt x="0" y="21"/>
                </a:lnTo>
                <a:lnTo>
                  <a:pt x="3" y="24"/>
                </a:lnTo>
                <a:lnTo>
                  <a:pt x="7" y="28"/>
                </a:lnTo>
                <a:lnTo>
                  <a:pt x="13" y="28"/>
                </a:lnTo>
                <a:lnTo>
                  <a:pt x="13" y="28"/>
                </a:lnTo>
                <a:lnTo>
                  <a:pt x="18" y="28"/>
                </a:lnTo>
                <a:lnTo>
                  <a:pt x="22" y="24"/>
                </a:lnTo>
                <a:lnTo>
                  <a:pt x="25" y="21"/>
                </a:lnTo>
                <a:lnTo>
                  <a:pt x="27" y="15"/>
                </a:lnTo>
                <a:lnTo>
                  <a:pt x="27" y="15"/>
                </a:lnTo>
                <a:lnTo>
                  <a:pt x="25" y="10"/>
                </a:lnTo>
                <a:lnTo>
                  <a:pt x="22" y="4"/>
                </a:lnTo>
                <a:lnTo>
                  <a:pt x="18" y="2"/>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4" name="Freeform 104">
            <a:extLst>
              <a:ext uri="{FF2B5EF4-FFF2-40B4-BE49-F238E27FC236}">
                <a16:creationId xmlns:a16="http://schemas.microsoft.com/office/drawing/2014/main" id="{7879CFB4-FE0D-0113-AC15-ABE5896549D4}"/>
              </a:ext>
            </a:extLst>
          </p:cNvPr>
          <p:cNvSpPr>
            <a:spLocks noEditPoints="1"/>
          </p:cNvSpPr>
          <p:nvPr/>
        </p:nvSpPr>
        <p:spPr bwMode="auto">
          <a:xfrm>
            <a:off x="5097287" y="1109268"/>
            <a:ext cx="46558" cy="38803"/>
          </a:xfrm>
          <a:custGeom>
            <a:avLst/>
            <a:gdLst/>
            <a:ahLst/>
            <a:cxnLst>
              <a:cxn ang="0">
                <a:pos x="15" y="0"/>
              </a:cxn>
              <a:cxn ang="0">
                <a:pos x="15" y="0"/>
              </a:cxn>
              <a:cxn ang="0">
                <a:pos x="20" y="1"/>
              </a:cxn>
              <a:cxn ang="0">
                <a:pos x="26" y="5"/>
              </a:cxn>
              <a:cxn ang="0">
                <a:pos x="29" y="9"/>
              </a:cxn>
              <a:cxn ang="0">
                <a:pos x="31" y="16"/>
              </a:cxn>
              <a:cxn ang="0">
                <a:pos x="31" y="16"/>
              </a:cxn>
              <a:cxn ang="0">
                <a:pos x="29" y="22"/>
              </a:cxn>
              <a:cxn ang="0">
                <a:pos x="26" y="27"/>
              </a:cxn>
              <a:cxn ang="0">
                <a:pos x="20" y="31"/>
              </a:cxn>
              <a:cxn ang="0">
                <a:pos x="15" y="31"/>
              </a:cxn>
              <a:cxn ang="0">
                <a:pos x="15" y="31"/>
              </a:cxn>
              <a:cxn ang="0">
                <a:pos x="9" y="31"/>
              </a:cxn>
              <a:cxn ang="0">
                <a:pos x="4" y="27"/>
              </a:cxn>
              <a:cxn ang="0">
                <a:pos x="0" y="22"/>
              </a:cxn>
              <a:cxn ang="0">
                <a:pos x="0" y="16"/>
              </a:cxn>
              <a:cxn ang="0">
                <a:pos x="0" y="16"/>
              </a:cxn>
              <a:cxn ang="0">
                <a:pos x="0" y="9"/>
              </a:cxn>
              <a:cxn ang="0">
                <a:pos x="4" y="5"/>
              </a:cxn>
              <a:cxn ang="0">
                <a:pos x="9" y="1"/>
              </a:cxn>
              <a:cxn ang="0">
                <a:pos x="15" y="0"/>
              </a:cxn>
              <a:cxn ang="0">
                <a:pos x="15" y="0"/>
              </a:cxn>
              <a:cxn ang="0">
                <a:pos x="18" y="0"/>
              </a:cxn>
              <a:cxn ang="0">
                <a:pos x="15" y="0"/>
              </a:cxn>
              <a:cxn ang="0">
                <a:pos x="13" y="0"/>
              </a:cxn>
              <a:cxn ang="0">
                <a:pos x="15" y="0"/>
              </a:cxn>
              <a:cxn ang="0">
                <a:pos x="15" y="0"/>
              </a:cxn>
              <a:cxn ang="0">
                <a:pos x="15" y="27"/>
              </a:cxn>
              <a:cxn ang="0">
                <a:pos x="15" y="27"/>
              </a:cxn>
              <a:cxn ang="0">
                <a:pos x="20" y="27"/>
              </a:cxn>
              <a:cxn ang="0">
                <a:pos x="24" y="23"/>
              </a:cxn>
              <a:cxn ang="0">
                <a:pos x="26" y="20"/>
              </a:cxn>
              <a:cxn ang="0">
                <a:pos x="27" y="16"/>
              </a:cxn>
              <a:cxn ang="0">
                <a:pos x="27" y="16"/>
              </a:cxn>
              <a:cxn ang="0">
                <a:pos x="26" y="11"/>
              </a:cxn>
              <a:cxn ang="0">
                <a:pos x="24" y="7"/>
              </a:cxn>
              <a:cxn ang="0">
                <a:pos x="20" y="5"/>
              </a:cxn>
              <a:cxn ang="0">
                <a:pos x="15" y="3"/>
              </a:cxn>
              <a:cxn ang="0">
                <a:pos x="15" y="3"/>
              </a:cxn>
              <a:cxn ang="0">
                <a:pos x="11" y="5"/>
              </a:cxn>
              <a:cxn ang="0">
                <a:pos x="7" y="7"/>
              </a:cxn>
              <a:cxn ang="0">
                <a:pos x="4" y="11"/>
              </a:cxn>
              <a:cxn ang="0">
                <a:pos x="4" y="16"/>
              </a:cxn>
              <a:cxn ang="0">
                <a:pos x="4" y="16"/>
              </a:cxn>
              <a:cxn ang="0">
                <a:pos x="4" y="20"/>
              </a:cxn>
              <a:cxn ang="0">
                <a:pos x="7" y="23"/>
              </a:cxn>
              <a:cxn ang="0">
                <a:pos x="11" y="27"/>
              </a:cxn>
              <a:cxn ang="0">
                <a:pos x="15" y="27"/>
              </a:cxn>
              <a:cxn ang="0">
                <a:pos x="15" y="27"/>
              </a:cxn>
              <a:cxn ang="0">
                <a:pos x="16" y="27"/>
              </a:cxn>
              <a:cxn ang="0">
                <a:pos x="15" y="27"/>
              </a:cxn>
              <a:cxn ang="0">
                <a:pos x="13" y="27"/>
              </a:cxn>
              <a:cxn ang="0">
                <a:pos x="15" y="27"/>
              </a:cxn>
              <a:cxn ang="0">
                <a:pos x="15" y="27"/>
              </a:cxn>
            </a:cxnLst>
            <a:rect l="0" t="0" r="r" b="b"/>
            <a:pathLst>
              <a:path w="31" h="31">
                <a:moveTo>
                  <a:pt x="15" y="0"/>
                </a:moveTo>
                <a:lnTo>
                  <a:pt x="15" y="0"/>
                </a:lnTo>
                <a:lnTo>
                  <a:pt x="20" y="1"/>
                </a:lnTo>
                <a:lnTo>
                  <a:pt x="26" y="5"/>
                </a:lnTo>
                <a:lnTo>
                  <a:pt x="29" y="9"/>
                </a:lnTo>
                <a:lnTo>
                  <a:pt x="31" y="16"/>
                </a:lnTo>
                <a:lnTo>
                  <a:pt x="31" y="16"/>
                </a:lnTo>
                <a:lnTo>
                  <a:pt x="29" y="22"/>
                </a:lnTo>
                <a:lnTo>
                  <a:pt x="26" y="27"/>
                </a:lnTo>
                <a:lnTo>
                  <a:pt x="20" y="31"/>
                </a:lnTo>
                <a:lnTo>
                  <a:pt x="15" y="31"/>
                </a:lnTo>
                <a:lnTo>
                  <a:pt x="15" y="31"/>
                </a:lnTo>
                <a:lnTo>
                  <a:pt x="9" y="31"/>
                </a:lnTo>
                <a:lnTo>
                  <a:pt x="4" y="27"/>
                </a:lnTo>
                <a:lnTo>
                  <a:pt x="0" y="22"/>
                </a:lnTo>
                <a:lnTo>
                  <a:pt x="0" y="16"/>
                </a:lnTo>
                <a:lnTo>
                  <a:pt x="0" y="16"/>
                </a:lnTo>
                <a:lnTo>
                  <a:pt x="0" y="9"/>
                </a:lnTo>
                <a:lnTo>
                  <a:pt x="4" y="5"/>
                </a:lnTo>
                <a:lnTo>
                  <a:pt x="9" y="1"/>
                </a:lnTo>
                <a:lnTo>
                  <a:pt x="15" y="0"/>
                </a:lnTo>
                <a:lnTo>
                  <a:pt x="15" y="0"/>
                </a:lnTo>
                <a:lnTo>
                  <a:pt x="18" y="0"/>
                </a:lnTo>
                <a:lnTo>
                  <a:pt x="15" y="0"/>
                </a:lnTo>
                <a:lnTo>
                  <a:pt x="13" y="0"/>
                </a:lnTo>
                <a:lnTo>
                  <a:pt x="15" y="0"/>
                </a:lnTo>
                <a:lnTo>
                  <a:pt x="15" y="0"/>
                </a:lnTo>
                <a:close/>
                <a:moveTo>
                  <a:pt x="15" y="27"/>
                </a:moveTo>
                <a:lnTo>
                  <a:pt x="15" y="27"/>
                </a:lnTo>
                <a:lnTo>
                  <a:pt x="20" y="27"/>
                </a:lnTo>
                <a:lnTo>
                  <a:pt x="24" y="23"/>
                </a:lnTo>
                <a:lnTo>
                  <a:pt x="26" y="20"/>
                </a:lnTo>
                <a:lnTo>
                  <a:pt x="27" y="16"/>
                </a:lnTo>
                <a:lnTo>
                  <a:pt x="27" y="16"/>
                </a:lnTo>
                <a:lnTo>
                  <a:pt x="26" y="11"/>
                </a:lnTo>
                <a:lnTo>
                  <a:pt x="24" y="7"/>
                </a:lnTo>
                <a:lnTo>
                  <a:pt x="20" y="5"/>
                </a:lnTo>
                <a:lnTo>
                  <a:pt x="15" y="3"/>
                </a:lnTo>
                <a:lnTo>
                  <a:pt x="15" y="3"/>
                </a:lnTo>
                <a:lnTo>
                  <a:pt x="11" y="5"/>
                </a:lnTo>
                <a:lnTo>
                  <a:pt x="7" y="7"/>
                </a:lnTo>
                <a:lnTo>
                  <a:pt x="4" y="11"/>
                </a:lnTo>
                <a:lnTo>
                  <a:pt x="4" y="16"/>
                </a:lnTo>
                <a:lnTo>
                  <a:pt x="4" y="16"/>
                </a:lnTo>
                <a:lnTo>
                  <a:pt x="4" y="20"/>
                </a:lnTo>
                <a:lnTo>
                  <a:pt x="7" y="23"/>
                </a:lnTo>
                <a:lnTo>
                  <a:pt x="11" y="27"/>
                </a:lnTo>
                <a:lnTo>
                  <a:pt x="15" y="27"/>
                </a:lnTo>
                <a:lnTo>
                  <a:pt x="15" y="27"/>
                </a:lnTo>
                <a:lnTo>
                  <a:pt x="16" y="27"/>
                </a:lnTo>
                <a:lnTo>
                  <a:pt x="15" y="27"/>
                </a:lnTo>
                <a:lnTo>
                  <a:pt x="13" y="27"/>
                </a:lnTo>
                <a:lnTo>
                  <a:pt x="15" y="27"/>
                </a:lnTo>
                <a:lnTo>
                  <a:pt x="15" y="27"/>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5" name="Rectangle 105">
            <a:extLst>
              <a:ext uri="{FF2B5EF4-FFF2-40B4-BE49-F238E27FC236}">
                <a16:creationId xmlns:a16="http://schemas.microsoft.com/office/drawing/2014/main" id="{79637C82-3371-F984-F7A4-8EFFD06E0FCD}"/>
              </a:ext>
            </a:extLst>
          </p:cNvPr>
          <p:cNvSpPr>
            <a:spLocks noChangeArrowheads="1"/>
          </p:cNvSpPr>
          <p:nvPr/>
        </p:nvSpPr>
        <p:spPr bwMode="auto">
          <a:xfrm>
            <a:off x="5716062" y="1592422"/>
            <a:ext cx="12015" cy="7510"/>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6" name="Freeform 106">
            <a:extLst>
              <a:ext uri="{FF2B5EF4-FFF2-40B4-BE49-F238E27FC236}">
                <a16:creationId xmlns:a16="http://schemas.microsoft.com/office/drawing/2014/main" id="{619CE975-AFFF-9120-0F3D-A0D98CD62124}"/>
              </a:ext>
            </a:extLst>
          </p:cNvPr>
          <p:cNvSpPr>
            <a:spLocks/>
          </p:cNvSpPr>
          <p:nvPr/>
        </p:nvSpPr>
        <p:spPr bwMode="auto">
          <a:xfrm>
            <a:off x="5716062" y="1592422"/>
            <a:ext cx="12015" cy="7510"/>
          </a:xfrm>
          <a:custGeom>
            <a:avLst/>
            <a:gdLst/>
            <a:ahLst/>
            <a:cxnLst>
              <a:cxn ang="0">
                <a:pos x="8" y="0"/>
              </a:cxn>
              <a:cxn ang="0">
                <a:pos x="0" y="0"/>
              </a:cxn>
              <a:cxn ang="0">
                <a:pos x="0" y="6"/>
              </a:cxn>
              <a:cxn ang="0">
                <a:pos x="8" y="6"/>
              </a:cxn>
            </a:cxnLst>
            <a:rect l="0" t="0" r="r" b="b"/>
            <a:pathLst>
              <a:path w="8" h="6">
                <a:moveTo>
                  <a:pt x="8" y="0"/>
                </a:moveTo>
                <a:lnTo>
                  <a:pt x="0" y="0"/>
                </a:lnTo>
                <a:lnTo>
                  <a:pt x="0" y="6"/>
                </a:lnTo>
                <a:lnTo>
                  <a:pt x="8" y="6"/>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7" name="Freeform 107">
            <a:extLst>
              <a:ext uri="{FF2B5EF4-FFF2-40B4-BE49-F238E27FC236}">
                <a16:creationId xmlns:a16="http://schemas.microsoft.com/office/drawing/2014/main" id="{CC80F91C-6BEE-E5CB-09D1-4168DB62378D}"/>
              </a:ext>
            </a:extLst>
          </p:cNvPr>
          <p:cNvSpPr>
            <a:spLocks noEditPoints="1"/>
          </p:cNvSpPr>
          <p:nvPr/>
        </p:nvSpPr>
        <p:spPr bwMode="auto">
          <a:xfrm>
            <a:off x="5149853" y="1592422"/>
            <a:ext cx="545183" cy="7510"/>
          </a:xfrm>
          <a:custGeom>
            <a:avLst/>
            <a:gdLst/>
            <a:ahLst/>
            <a:cxnLst>
              <a:cxn ang="0">
                <a:pos x="0" y="0"/>
              </a:cxn>
              <a:cxn ang="0">
                <a:pos x="14" y="6"/>
              </a:cxn>
              <a:cxn ang="0">
                <a:pos x="44" y="0"/>
              </a:cxn>
              <a:cxn ang="0">
                <a:pos x="29" y="6"/>
              </a:cxn>
              <a:cxn ang="0">
                <a:pos x="44" y="0"/>
              </a:cxn>
              <a:cxn ang="0">
                <a:pos x="58" y="0"/>
              </a:cxn>
              <a:cxn ang="0">
                <a:pos x="73" y="6"/>
              </a:cxn>
              <a:cxn ang="0">
                <a:pos x="102" y="0"/>
              </a:cxn>
              <a:cxn ang="0">
                <a:pos x="88" y="6"/>
              </a:cxn>
              <a:cxn ang="0">
                <a:pos x="102" y="0"/>
              </a:cxn>
              <a:cxn ang="0">
                <a:pos x="117" y="0"/>
              </a:cxn>
              <a:cxn ang="0">
                <a:pos x="132" y="6"/>
              </a:cxn>
              <a:cxn ang="0">
                <a:pos x="159" y="0"/>
              </a:cxn>
              <a:cxn ang="0">
                <a:pos x="146" y="6"/>
              </a:cxn>
              <a:cxn ang="0">
                <a:pos x="159" y="0"/>
              </a:cxn>
              <a:cxn ang="0">
                <a:pos x="174" y="0"/>
              </a:cxn>
              <a:cxn ang="0">
                <a:pos x="188" y="6"/>
              </a:cxn>
              <a:cxn ang="0">
                <a:pos x="218" y="0"/>
              </a:cxn>
              <a:cxn ang="0">
                <a:pos x="203" y="6"/>
              </a:cxn>
              <a:cxn ang="0">
                <a:pos x="218" y="0"/>
              </a:cxn>
              <a:cxn ang="0">
                <a:pos x="232" y="0"/>
              </a:cxn>
              <a:cxn ang="0">
                <a:pos x="247" y="6"/>
              </a:cxn>
              <a:cxn ang="0">
                <a:pos x="276" y="0"/>
              </a:cxn>
              <a:cxn ang="0">
                <a:pos x="262" y="6"/>
              </a:cxn>
              <a:cxn ang="0">
                <a:pos x="276" y="0"/>
              </a:cxn>
              <a:cxn ang="0">
                <a:pos x="291" y="0"/>
              </a:cxn>
              <a:cxn ang="0">
                <a:pos x="306" y="6"/>
              </a:cxn>
              <a:cxn ang="0">
                <a:pos x="333" y="0"/>
              </a:cxn>
              <a:cxn ang="0">
                <a:pos x="320" y="6"/>
              </a:cxn>
              <a:cxn ang="0">
                <a:pos x="333" y="0"/>
              </a:cxn>
              <a:cxn ang="0">
                <a:pos x="348" y="0"/>
              </a:cxn>
              <a:cxn ang="0">
                <a:pos x="363" y="6"/>
              </a:cxn>
            </a:cxnLst>
            <a:rect l="0" t="0" r="r" b="b"/>
            <a:pathLst>
              <a:path w="363" h="6">
                <a:moveTo>
                  <a:pt x="14" y="0"/>
                </a:moveTo>
                <a:lnTo>
                  <a:pt x="0" y="0"/>
                </a:lnTo>
                <a:lnTo>
                  <a:pt x="0" y="6"/>
                </a:lnTo>
                <a:lnTo>
                  <a:pt x="14" y="6"/>
                </a:lnTo>
                <a:lnTo>
                  <a:pt x="14" y="0"/>
                </a:lnTo>
                <a:close/>
                <a:moveTo>
                  <a:pt x="44" y="0"/>
                </a:moveTo>
                <a:lnTo>
                  <a:pt x="29" y="0"/>
                </a:lnTo>
                <a:lnTo>
                  <a:pt x="29" y="6"/>
                </a:lnTo>
                <a:lnTo>
                  <a:pt x="44" y="6"/>
                </a:lnTo>
                <a:lnTo>
                  <a:pt x="44" y="0"/>
                </a:lnTo>
                <a:close/>
                <a:moveTo>
                  <a:pt x="73" y="0"/>
                </a:moveTo>
                <a:lnTo>
                  <a:pt x="58" y="0"/>
                </a:lnTo>
                <a:lnTo>
                  <a:pt x="58" y="6"/>
                </a:lnTo>
                <a:lnTo>
                  <a:pt x="73" y="6"/>
                </a:lnTo>
                <a:lnTo>
                  <a:pt x="73" y="0"/>
                </a:lnTo>
                <a:close/>
                <a:moveTo>
                  <a:pt x="102" y="0"/>
                </a:moveTo>
                <a:lnTo>
                  <a:pt x="88" y="0"/>
                </a:lnTo>
                <a:lnTo>
                  <a:pt x="88" y="6"/>
                </a:lnTo>
                <a:lnTo>
                  <a:pt x="102" y="6"/>
                </a:lnTo>
                <a:lnTo>
                  <a:pt x="102" y="0"/>
                </a:lnTo>
                <a:close/>
                <a:moveTo>
                  <a:pt x="132" y="0"/>
                </a:moveTo>
                <a:lnTo>
                  <a:pt x="117" y="0"/>
                </a:lnTo>
                <a:lnTo>
                  <a:pt x="117" y="6"/>
                </a:lnTo>
                <a:lnTo>
                  <a:pt x="132" y="6"/>
                </a:lnTo>
                <a:lnTo>
                  <a:pt x="132" y="0"/>
                </a:lnTo>
                <a:close/>
                <a:moveTo>
                  <a:pt x="159" y="0"/>
                </a:moveTo>
                <a:lnTo>
                  <a:pt x="146" y="0"/>
                </a:lnTo>
                <a:lnTo>
                  <a:pt x="146" y="6"/>
                </a:lnTo>
                <a:lnTo>
                  <a:pt x="159" y="6"/>
                </a:lnTo>
                <a:lnTo>
                  <a:pt x="159" y="0"/>
                </a:lnTo>
                <a:close/>
                <a:moveTo>
                  <a:pt x="188" y="0"/>
                </a:moveTo>
                <a:lnTo>
                  <a:pt x="174" y="0"/>
                </a:lnTo>
                <a:lnTo>
                  <a:pt x="174" y="6"/>
                </a:lnTo>
                <a:lnTo>
                  <a:pt x="188" y="6"/>
                </a:lnTo>
                <a:lnTo>
                  <a:pt x="188" y="0"/>
                </a:lnTo>
                <a:close/>
                <a:moveTo>
                  <a:pt x="218" y="0"/>
                </a:moveTo>
                <a:lnTo>
                  <a:pt x="203" y="0"/>
                </a:lnTo>
                <a:lnTo>
                  <a:pt x="203" y="6"/>
                </a:lnTo>
                <a:lnTo>
                  <a:pt x="218" y="6"/>
                </a:lnTo>
                <a:lnTo>
                  <a:pt x="218" y="0"/>
                </a:lnTo>
                <a:close/>
                <a:moveTo>
                  <a:pt x="247" y="0"/>
                </a:moveTo>
                <a:lnTo>
                  <a:pt x="232" y="0"/>
                </a:lnTo>
                <a:lnTo>
                  <a:pt x="232" y="6"/>
                </a:lnTo>
                <a:lnTo>
                  <a:pt x="247" y="6"/>
                </a:lnTo>
                <a:lnTo>
                  <a:pt x="247" y="0"/>
                </a:lnTo>
                <a:close/>
                <a:moveTo>
                  <a:pt x="276" y="0"/>
                </a:moveTo>
                <a:lnTo>
                  <a:pt x="262" y="0"/>
                </a:lnTo>
                <a:lnTo>
                  <a:pt x="262" y="6"/>
                </a:lnTo>
                <a:lnTo>
                  <a:pt x="276" y="6"/>
                </a:lnTo>
                <a:lnTo>
                  <a:pt x="276" y="0"/>
                </a:lnTo>
                <a:close/>
                <a:moveTo>
                  <a:pt x="306" y="0"/>
                </a:moveTo>
                <a:lnTo>
                  <a:pt x="291" y="0"/>
                </a:lnTo>
                <a:lnTo>
                  <a:pt x="291" y="6"/>
                </a:lnTo>
                <a:lnTo>
                  <a:pt x="306" y="6"/>
                </a:lnTo>
                <a:lnTo>
                  <a:pt x="306" y="0"/>
                </a:lnTo>
                <a:close/>
                <a:moveTo>
                  <a:pt x="333" y="0"/>
                </a:moveTo>
                <a:lnTo>
                  <a:pt x="320" y="0"/>
                </a:lnTo>
                <a:lnTo>
                  <a:pt x="320" y="6"/>
                </a:lnTo>
                <a:lnTo>
                  <a:pt x="333" y="6"/>
                </a:lnTo>
                <a:lnTo>
                  <a:pt x="333" y="0"/>
                </a:lnTo>
                <a:close/>
                <a:moveTo>
                  <a:pt x="363" y="0"/>
                </a:moveTo>
                <a:lnTo>
                  <a:pt x="348" y="0"/>
                </a:lnTo>
                <a:lnTo>
                  <a:pt x="348" y="6"/>
                </a:lnTo>
                <a:lnTo>
                  <a:pt x="363" y="6"/>
                </a:lnTo>
                <a:lnTo>
                  <a:pt x="363" y="0"/>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8" name="Rectangle 108">
            <a:extLst>
              <a:ext uri="{FF2B5EF4-FFF2-40B4-BE49-F238E27FC236}">
                <a16:creationId xmlns:a16="http://schemas.microsoft.com/office/drawing/2014/main" id="{1405920B-7958-C52A-A74D-75DA52BC2482}"/>
              </a:ext>
            </a:extLst>
          </p:cNvPr>
          <p:cNvSpPr>
            <a:spLocks noChangeArrowheads="1"/>
          </p:cNvSpPr>
          <p:nvPr/>
        </p:nvSpPr>
        <p:spPr bwMode="auto">
          <a:xfrm>
            <a:off x="5116812" y="1592422"/>
            <a:ext cx="10514" cy="7510"/>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19" name="Freeform 109">
            <a:extLst>
              <a:ext uri="{FF2B5EF4-FFF2-40B4-BE49-F238E27FC236}">
                <a16:creationId xmlns:a16="http://schemas.microsoft.com/office/drawing/2014/main" id="{BD0AB027-AD2E-B3FB-393B-5811ABD324B1}"/>
              </a:ext>
            </a:extLst>
          </p:cNvPr>
          <p:cNvSpPr>
            <a:spLocks/>
          </p:cNvSpPr>
          <p:nvPr/>
        </p:nvSpPr>
        <p:spPr bwMode="auto">
          <a:xfrm>
            <a:off x="5116812" y="1592422"/>
            <a:ext cx="10514" cy="7510"/>
          </a:xfrm>
          <a:custGeom>
            <a:avLst/>
            <a:gdLst/>
            <a:ahLst/>
            <a:cxnLst>
              <a:cxn ang="0">
                <a:pos x="7" y="0"/>
              </a:cxn>
              <a:cxn ang="0">
                <a:pos x="0" y="0"/>
              </a:cxn>
              <a:cxn ang="0">
                <a:pos x="0" y="6"/>
              </a:cxn>
              <a:cxn ang="0">
                <a:pos x="7" y="6"/>
              </a:cxn>
            </a:cxnLst>
            <a:rect l="0" t="0" r="r" b="b"/>
            <a:pathLst>
              <a:path w="7" h="6">
                <a:moveTo>
                  <a:pt x="7" y="0"/>
                </a:moveTo>
                <a:lnTo>
                  <a:pt x="0" y="0"/>
                </a:lnTo>
                <a:lnTo>
                  <a:pt x="0" y="6"/>
                </a:lnTo>
                <a:lnTo>
                  <a:pt x="7" y="6"/>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0" name="Freeform 110">
            <a:extLst>
              <a:ext uri="{FF2B5EF4-FFF2-40B4-BE49-F238E27FC236}">
                <a16:creationId xmlns:a16="http://schemas.microsoft.com/office/drawing/2014/main" id="{C70E5975-8E6A-D154-BE82-9B957AA9B3DB}"/>
              </a:ext>
            </a:extLst>
          </p:cNvPr>
          <p:cNvSpPr>
            <a:spLocks/>
          </p:cNvSpPr>
          <p:nvPr/>
        </p:nvSpPr>
        <p:spPr bwMode="auto">
          <a:xfrm>
            <a:off x="5100292" y="1578652"/>
            <a:ext cx="37547" cy="35048"/>
          </a:xfrm>
          <a:custGeom>
            <a:avLst/>
            <a:gdLst/>
            <a:ahLst/>
            <a:cxnLst>
              <a:cxn ang="0">
                <a:pos x="13" y="0"/>
              </a:cxn>
              <a:cxn ang="0">
                <a:pos x="13" y="0"/>
              </a:cxn>
              <a:cxn ang="0">
                <a:pos x="7" y="2"/>
              </a:cxn>
              <a:cxn ang="0">
                <a:pos x="3" y="4"/>
              </a:cxn>
              <a:cxn ang="0">
                <a:pos x="0" y="9"/>
              </a:cxn>
              <a:cxn ang="0">
                <a:pos x="0" y="13"/>
              </a:cxn>
              <a:cxn ang="0">
                <a:pos x="0" y="13"/>
              </a:cxn>
              <a:cxn ang="0">
                <a:pos x="0" y="19"/>
              </a:cxn>
              <a:cxn ang="0">
                <a:pos x="3" y="24"/>
              </a:cxn>
              <a:cxn ang="0">
                <a:pos x="7" y="26"/>
              </a:cxn>
              <a:cxn ang="0">
                <a:pos x="13" y="28"/>
              </a:cxn>
              <a:cxn ang="0">
                <a:pos x="13" y="28"/>
              </a:cxn>
              <a:cxn ang="0">
                <a:pos x="18" y="26"/>
              </a:cxn>
              <a:cxn ang="0">
                <a:pos x="22" y="24"/>
              </a:cxn>
              <a:cxn ang="0">
                <a:pos x="24" y="19"/>
              </a:cxn>
              <a:cxn ang="0">
                <a:pos x="25" y="13"/>
              </a:cxn>
              <a:cxn ang="0">
                <a:pos x="25" y="13"/>
              </a:cxn>
              <a:cxn ang="0">
                <a:pos x="24" y="9"/>
              </a:cxn>
              <a:cxn ang="0">
                <a:pos x="22" y="4"/>
              </a:cxn>
              <a:cxn ang="0">
                <a:pos x="18" y="2"/>
              </a:cxn>
              <a:cxn ang="0">
                <a:pos x="13" y="0"/>
              </a:cxn>
              <a:cxn ang="0">
                <a:pos x="13" y="0"/>
              </a:cxn>
            </a:cxnLst>
            <a:rect l="0" t="0" r="r" b="b"/>
            <a:pathLst>
              <a:path w="25" h="28">
                <a:moveTo>
                  <a:pt x="13" y="0"/>
                </a:moveTo>
                <a:lnTo>
                  <a:pt x="13" y="0"/>
                </a:lnTo>
                <a:lnTo>
                  <a:pt x="7" y="2"/>
                </a:lnTo>
                <a:lnTo>
                  <a:pt x="3" y="4"/>
                </a:lnTo>
                <a:lnTo>
                  <a:pt x="0" y="9"/>
                </a:lnTo>
                <a:lnTo>
                  <a:pt x="0" y="13"/>
                </a:lnTo>
                <a:lnTo>
                  <a:pt x="0" y="13"/>
                </a:lnTo>
                <a:lnTo>
                  <a:pt x="0" y="19"/>
                </a:lnTo>
                <a:lnTo>
                  <a:pt x="3" y="24"/>
                </a:lnTo>
                <a:lnTo>
                  <a:pt x="7" y="26"/>
                </a:lnTo>
                <a:lnTo>
                  <a:pt x="13" y="28"/>
                </a:lnTo>
                <a:lnTo>
                  <a:pt x="13" y="28"/>
                </a:lnTo>
                <a:lnTo>
                  <a:pt x="18" y="26"/>
                </a:lnTo>
                <a:lnTo>
                  <a:pt x="22" y="24"/>
                </a:lnTo>
                <a:lnTo>
                  <a:pt x="24" y="19"/>
                </a:lnTo>
                <a:lnTo>
                  <a:pt x="25" y="13"/>
                </a:lnTo>
                <a:lnTo>
                  <a:pt x="25" y="13"/>
                </a:lnTo>
                <a:lnTo>
                  <a:pt x="24" y="9"/>
                </a:lnTo>
                <a:lnTo>
                  <a:pt x="22" y="4"/>
                </a:lnTo>
                <a:lnTo>
                  <a:pt x="18" y="2"/>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1" name="Freeform 111">
            <a:extLst>
              <a:ext uri="{FF2B5EF4-FFF2-40B4-BE49-F238E27FC236}">
                <a16:creationId xmlns:a16="http://schemas.microsoft.com/office/drawing/2014/main" id="{180D7B51-4AD5-5C56-7E80-C625CDE3B97B}"/>
              </a:ext>
            </a:extLst>
          </p:cNvPr>
          <p:cNvSpPr>
            <a:spLocks noEditPoints="1"/>
          </p:cNvSpPr>
          <p:nvPr/>
        </p:nvSpPr>
        <p:spPr bwMode="auto">
          <a:xfrm>
            <a:off x="5097287" y="1576149"/>
            <a:ext cx="43554" cy="40053"/>
          </a:xfrm>
          <a:custGeom>
            <a:avLst/>
            <a:gdLst/>
            <a:ahLst/>
            <a:cxnLst>
              <a:cxn ang="0">
                <a:pos x="15" y="0"/>
              </a:cxn>
              <a:cxn ang="0">
                <a:pos x="15" y="0"/>
              </a:cxn>
              <a:cxn ang="0">
                <a:pos x="20" y="2"/>
              </a:cxn>
              <a:cxn ang="0">
                <a:pos x="26" y="6"/>
              </a:cxn>
              <a:cxn ang="0">
                <a:pos x="27" y="10"/>
              </a:cxn>
              <a:cxn ang="0">
                <a:pos x="29" y="15"/>
              </a:cxn>
              <a:cxn ang="0">
                <a:pos x="29" y="15"/>
              </a:cxn>
              <a:cxn ang="0">
                <a:pos x="27" y="22"/>
              </a:cxn>
              <a:cxn ang="0">
                <a:pos x="26" y="26"/>
              </a:cxn>
              <a:cxn ang="0">
                <a:pos x="20" y="30"/>
              </a:cxn>
              <a:cxn ang="0">
                <a:pos x="15" y="32"/>
              </a:cxn>
              <a:cxn ang="0">
                <a:pos x="15" y="32"/>
              </a:cxn>
              <a:cxn ang="0">
                <a:pos x="9" y="30"/>
              </a:cxn>
              <a:cxn ang="0">
                <a:pos x="4" y="26"/>
              </a:cxn>
              <a:cxn ang="0">
                <a:pos x="0" y="22"/>
              </a:cxn>
              <a:cxn ang="0">
                <a:pos x="0" y="15"/>
              </a:cxn>
              <a:cxn ang="0">
                <a:pos x="0" y="15"/>
              </a:cxn>
              <a:cxn ang="0">
                <a:pos x="0" y="10"/>
              </a:cxn>
              <a:cxn ang="0">
                <a:pos x="4" y="6"/>
              </a:cxn>
              <a:cxn ang="0">
                <a:pos x="9" y="2"/>
              </a:cxn>
              <a:cxn ang="0">
                <a:pos x="15" y="0"/>
              </a:cxn>
              <a:cxn ang="0">
                <a:pos x="15" y="0"/>
              </a:cxn>
              <a:cxn ang="0">
                <a:pos x="16" y="0"/>
              </a:cxn>
              <a:cxn ang="0">
                <a:pos x="15" y="0"/>
              </a:cxn>
              <a:cxn ang="0">
                <a:pos x="13" y="0"/>
              </a:cxn>
              <a:cxn ang="0">
                <a:pos x="15" y="0"/>
              </a:cxn>
              <a:cxn ang="0">
                <a:pos x="15" y="0"/>
              </a:cxn>
              <a:cxn ang="0">
                <a:pos x="15" y="28"/>
              </a:cxn>
              <a:cxn ang="0">
                <a:pos x="15" y="28"/>
              </a:cxn>
              <a:cxn ang="0">
                <a:pos x="18" y="26"/>
              </a:cxn>
              <a:cxn ang="0">
                <a:pos x="22" y="24"/>
              </a:cxn>
              <a:cxn ang="0">
                <a:pos x="26" y="21"/>
              </a:cxn>
              <a:cxn ang="0">
                <a:pos x="26" y="15"/>
              </a:cxn>
              <a:cxn ang="0">
                <a:pos x="26" y="15"/>
              </a:cxn>
              <a:cxn ang="0">
                <a:pos x="26" y="11"/>
              </a:cxn>
              <a:cxn ang="0">
                <a:pos x="22" y="8"/>
              </a:cxn>
              <a:cxn ang="0">
                <a:pos x="18" y="6"/>
              </a:cxn>
              <a:cxn ang="0">
                <a:pos x="15" y="4"/>
              </a:cxn>
              <a:cxn ang="0">
                <a:pos x="15" y="4"/>
              </a:cxn>
              <a:cxn ang="0">
                <a:pos x="9" y="6"/>
              </a:cxn>
              <a:cxn ang="0">
                <a:pos x="5" y="8"/>
              </a:cxn>
              <a:cxn ang="0">
                <a:pos x="4" y="11"/>
              </a:cxn>
              <a:cxn ang="0">
                <a:pos x="4" y="15"/>
              </a:cxn>
              <a:cxn ang="0">
                <a:pos x="4" y="15"/>
              </a:cxn>
              <a:cxn ang="0">
                <a:pos x="4" y="21"/>
              </a:cxn>
              <a:cxn ang="0">
                <a:pos x="5" y="24"/>
              </a:cxn>
              <a:cxn ang="0">
                <a:pos x="9" y="26"/>
              </a:cxn>
              <a:cxn ang="0">
                <a:pos x="15" y="28"/>
              </a:cxn>
              <a:cxn ang="0">
                <a:pos x="15" y="28"/>
              </a:cxn>
              <a:cxn ang="0">
                <a:pos x="16" y="28"/>
              </a:cxn>
              <a:cxn ang="0">
                <a:pos x="15" y="28"/>
              </a:cxn>
              <a:cxn ang="0">
                <a:pos x="13" y="28"/>
              </a:cxn>
              <a:cxn ang="0">
                <a:pos x="15" y="28"/>
              </a:cxn>
              <a:cxn ang="0">
                <a:pos x="15" y="28"/>
              </a:cxn>
            </a:cxnLst>
            <a:rect l="0" t="0" r="r" b="b"/>
            <a:pathLst>
              <a:path w="29" h="32">
                <a:moveTo>
                  <a:pt x="15" y="0"/>
                </a:moveTo>
                <a:lnTo>
                  <a:pt x="15" y="0"/>
                </a:lnTo>
                <a:lnTo>
                  <a:pt x="20" y="2"/>
                </a:lnTo>
                <a:lnTo>
                  <a:pt x="26" y="6"/>
                </a:lnTo>
                <a:lnTo>
                  <a:pt x="27" y="10"/>
                </a:lnTo>
                <a:lnTo>
                  <a:pt x="29" y="15"/>
                </a:lnTo>
                <a:lnTo>
                  <a:pt x="29" y="15"/>
                </a:lnTo>
                <a:lnTo>
                  <a:pt x="27" y="22"/>
                </a:lnTo>
                <a:lnTo>
                  <a:pt x="26" y="26"/>
                </a:lnTo>
                <a:lnTo>
                  <a:pt x="20" y="30"/>
                </a:lnTo>
                <a:lnTo>
                  <a:pt x="15" y="32"/>
                </a:lnTo>
                <a:lnTo>
                  <a:pt x="15" y="32"/>
                </a:lnTo>
                <a:lnTo>
                  <a:pt x="9" y="30"/>
                </a:lnTo>
                <a:lnTo>
                  <a:pt x="4" y="26"/>
                </a:lnTo>
                <a:lnTo>
                  <a:pt x="0" y="22"/>
                </a:lnTo>
                <a:lnTo>
                  <a:pt x="0" y="15"/>
                </a:lnTo>
                <a:lnTo>
                  <a:pt x="0" y="15"/>
                </a:lnTo>
                <a:lnTo>
                  <a:pt x="0" y="10"/>
                </a:lnTo>
                <a:lnTo>
                  <a:pt x="4" y="6"/>
                </a:lnTo>
                <a:lnTo>
                  <a:pt x="9" y="2"/>
                </a:lnTo>
                <a:lnTo>
                  <a:pt x="15" y="0"/>
                </a:lnTo>
                <a:lnTo>
                  <a:pt x="15" y="0"/>
                </a:lnTo>
                <a:lnTo>
                  <a:pt x="16" y="0"/>
                </a:lnTo>
                <a:lnTo>
                  <a:pt x="15" y="0"/>
                </a:lnTo>
                <a:lnTo>
                  <a:pt x="13" y="0"/>
                </a:lnTo>
                <a:lnTo>
                  <a:pt x="15" y="0"/>
                </a:lnTo>
                <a:lnTo>
                  <a:pt x="15" y="0"/>
                </a:lnTo>
                <a:close/>
                <a:moveTo>
                  <a:pt x="15" y="28"/>
                </a:moveTo>
                <a:lnTo>
                  <a:pt x="15" y="28"/>
                </a:lnTo>
                <a:lnTo>
                  <a:pt x="18" y="26"/>
                </a:lnTo>
                <a:lnTo>
                  <a:pt x="22" y="24"/>
                </a:lnTo>
                <a:lnTo>
                  <a:pt x="26" y="21"/>
                </a:lnTo>
                <a:lnTo>
                  <a:pt x="26" y="15"/>
                </a:lnTo>
                <a:lnTo>
                  <a:pt x="26" y="15"/>
                </a:lnTo>
                <a:lnTo>
                  <a:pt x="26" y="11"/>
                </a:lnTo>
                <a:lnTo>
                  <a:pt x="22" y="8"/>
                </a:lnTo>
                <a:lnTo>
                  <a:pt x="18" y="6"/>
                </a:lnTo>
                <a:lnTo>
                  <a:pt x="15" y="4"/>
                </a:lnTo>
                <a:lnTo>
                  <a:pt x="15" y="4"/>
                </a:lnTo>
                <a:lnTo>
                  <a:pt x="9" y="6"/>
                </a:lnTo>
                <a:lnTo>
                  <a:pt x="5" y="8"/>
                </a:lnTo>
                <a:lnTo>
                  <a:pt x="4" y="11"/>
                </a:lnTo>
                <a:lnTo>
                  <a:pt x="4" y="15"/>
                </a:lnTo>
                <a:lnTo>
                  <a:pt x="4" y="15"/>
                </a:lnTo>
                <a:lnTo>
                  <a:pt x="4" y="21"/>
                </a:lnTo>
                <a:lnTo>
                  <a:pt x="5" y="24"/>
                </a:lnTo>
                <a:lnTo>
                  <a:pt x="9" y="26"/>
                </a:lnTo>
                <a:lnTo>
                  <a:pt x="15" y="28"/>
                </a:lnTo>
                <a:lnTo>
                  <a:pt x="15" y="28"/>
                </a:lnTo>
                <a:lnTo>
                  <a:pt x="16" y="28"/>
                </a:lnTo>
                <a:lnTo>
                  <a:pt x="15" y="28"/>
                </a:lnTo>
                <a:lnTo>
                  <a:pt x="13" y="28"/>
                </a:lnTo>
                <a:lnTo>
                  <a:pt x="15" y="28"/>
                </a:lnTo>
                <a:lnTo>
                  <a:pt x="15" y="28"/>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2" name="Rectangle 112">
            <a:extLst>
              <a:ext uri="{FF2B5EF4-FFF2-40B4-BE49-F238E27FC236}">
                <a16:creationId xmlns:a16="http://schemas.microsoft.com/office/drawing/2014/main" id="{E00A96C5-9611-DF9B-B56E-35361F690437}"/>
              </a:ext>
            </a:extLst>
          </p:cNvPr>
          <p:cNvSpPr>
            <a:spLocks noChangeArrowheads="1"/>
          </p:cNvSpPr>
          <p:nvPr/>
        </p:nvSpPr>
        <p:spPr bwMode="auto">
          <a:xfrm>
            <a:off x="5716062" y="2058050"/>
            <a:ext cx="12015"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3" name="Freeform 113">
            <a:extLst>
              <a:ext uri="{FF2B5EF4-FFF2-40B4-BE49-F238E27FC236}">
                <a16:creationId xmlns:a16="http://schemas.microsoft.com/office/drawing/2014/main" id="{A0081741-E065-F1CC-A0DB-85EFB163F39C}"/>
              </a:ext>
            </a:extLst>
          </p:cNvPr>
          <p:cNvSpPr>
            <a:spLocks/>
          </p:cNvSpPr>
          <p:nvPr/>
        </p:nvSpPr>
        <p:spPr bwMode="auto">
          <a:xfrm>
            <a:off x="5716062" y="2058050"/>
            <a:ext cx="12015" cy="8762"/>
          </a:xfrm>
          <a:custGeom>
            <a:avLst/>
            <a:gdLst/>
            <a:ahLst/>
            <a:cxnLst>
              <a:cxn ang="0">
                <a:pos x="8" y="0"/>
              </a:cxn>
              <a:cxn ang="0">
                <a:pos x="0" y="0"/>
              </a:cxn>
              <a:cxn ang="0">
                <a:pos x="0" y="7"/>
              </a:cxn>
              <a:cxn ang="0">
                <a:pos x="8" y="7"/>
              </a:cxn>
            </a:cxnLst>
            <a:rect l="0" t="0" r="r" b="b"/>
            <a:pathLst>
              <a:path w="8" h="7">
                <a:moveTo>
                  <a:pt x="8" y="0"/>
                </a:moveTo>
                <a:lnTo>
                  <a:pt x="0" y="0"/>
                </a:lnTo>
                <a:lnTo>
                  <a:pt x="0" y="7"/>
                </a:lnTo>
                <a:lnTo>
                  <a:pt x="8"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4" name="Freeform 114">
            <a:extLst>
              <a:ext uri="{FF2B5EF4-FFF2-40B4-BE49-F238E27FC236}">
                <a16:creationId xmlns:a16="http://schemas.microsoft.com/office/drawing/2014/main" id="{08612A0E-66BD-B2B2-C7B5-52FB2115D73E}"/>
              </a:ext>
            </a:extLst>
          </p:cNvPr>
          <p:cNvSpPr>
            <a:spLocks noEditPoints="1"/>
          </p:cNvSpPr>
          <p:nvPr/>
        </p:nvSpPr>
        <p:spPr bwMode="auto">
          <a:xfrm>
            <a:off x="5149853" y="2058050"/>
            <a:ext cx="545183" cy="8762"/>
          </a:xfrm>
          <a:custGeom>
            <a:avLst/>
            <a:gdLst/>
            <a:ahLst/>
            <a:cxnLst>
              <a:cxn ang="0">
                <a:pos x="0" y="0"/>
              </a:cxn>
              <a:cxn ang="0">
                <a:pos x="14" y="7"/>
              </a:cxn>
              <a:cxn ang="0">
                <a:pos x="44" y="0"/>
              </a:cxn>
              <a:cxn ang="0">
                <a:pos x="29" y="7"/>
              </a:cxn>
              <a:cxn ang="0">
                <a:pos x="44" y="0"/>
              </a:cxn>
              <a:cxn ang="0">
                <a:pos x="58" y="0"/>
              </a:cxn>
              <a:cxn ang="0">
                <a:pos x="73" y="7"/>
              </a:cxn>
              <a:cxn ang="0">
                <a:pos x="102" y="0"/>
              </a:cxn>
              <a:cxn ang="0">
                <a:pos x="88" y="7"/>
              </a:cxn>
              <a:cxn ang="0">
                <a:pos x="102" y="0"/>
              </a:cxn>
              <a:cxn ang="0">
                <a:pos x="117" y="0"/>
              </a:cxn>
              <a:cxn ang="0">
                <a:pos x="132" y="7"/>
              </a:cxn>
              <a:cxn ang="0">
                <a:pos x="159" y="0"/>
              </a:cxn>
              <a:cxn ang="0">
                <a:pos x="146" y="7"/>
              </a:cxn>
              <a:cxn ang="0">
                <a:pos x="159" y="0"/>
              </a:cxn>
              <a:cxn ang="0">
                <a:pos x="174" y="0"/>
              </a:cxn>
              <a:cxn ang="0">
                <a:pos x="188" y="7"/>
              </a:cxn>
              <a:cxn ang="0">
                <a:pos x="218" y="0"/>
              </a:cxn>
              <a:cxn ang="0">
                <a:pos x="203" y="7"/>
              </a:cxn>
              <a:cxn ang="0">
                <a:pos x="218" y="0"/>
              </a:cxn>
              <a:cxn ang="0">
                <a:pos x="232" y="0"/>
              </a:cxn>
              <a:cxn ang="0">
                <a:pos x="247" y="7"/>
              </a:cxn>
              <a:cxn ang="0">
                <a:pos x="276" y="0"/>
              </a:cxn>
              <a:cxn ang="0">
                <a:pos x="262" y="7"/>
              </a:cxn>
              <a:cxn ang="0">
                <a:pos x="276" y="0"/>
              </a:cxn>
              <a:cxn ang="0">
                <a:pos x="291" y="0"/>
              </a:cxn>
              <a:cxn ang="0">
                <a:pos x="306" y="7"/>
              </a:cxn>
              <a:cxn ang="0">
                <a:pos x="333" y="0"/>
              </a:cxn>
              <a:cxn ang="0">
                <a:pos x="320" y="7"/>
              </a:cxn>
              <a:cxn ang="0">
                <a:pos x="333" y="0"/>
              </a:cxn>
              <a:cxn ang="0">
                <a:pos x="348" y="0"/>
              </a:cxn>
              <a:cxn ang="0">
                <a:pos x="363" y="7"/>
              </a:cxn>
            </a:cxnLst>
            <a:rect l="0" t="0" r="r" b="b"/>
            <a:pathLst>
              <a:path w="363" h="7">
                <a:moveTo>
                  <a:pt x="14" y="0"/>
                </a:moveTo>
                <a:lnTo>
                  <a:pt x="0" y="0"/>
                </a:lnTo>
                <a:lnTo>
                  <a:pt x="0" y="7"/>
                </a:lnTo>
                <a:lnTo>
                  <a:pt x="14" y="7"/>
                </a:lnTo>
                <a:lnTo>
                  <a:pt x="14" y="0"/>
                </a:lnTo>
                <a:close/>
                <a:moveTo>
                  <a:pt x="44" y="0"/>
                </a:moveTo>
                <a:lnTo>
                  <a:pt x="29" y="0"/>
                </a:lnTo>
                <a:lnTo>
                  <a:pt x="29" y="7"/>
                </a:lnTo>
                <a:lnTo>
                  <a:pt x="44" y="7"/>
                </a:lnTo>
                <a:lnTo>
                  <a:pt x="44" y="0"/>
                </a:lnTo>
                <a:close/>
                <a:moveTo>
                  <a:pt x="73" y="0"/>
                </a:moveTo>
                <a:lnTo>
                  <a:pt x="58" y="0"/>
                </a:lnTo>
                <a:lnTo>
                  <a:pt x="58" y="7"/>
                </a:lnTo>
                <a:lnTo>
                  <a:pt x="73" y="7"/>
                </a:lnTo>
                <a:lnTo>
                  <a:pt x="73" y="0"/>
                </a:lnTo>
                <a:close/>
                <a:moveTo>
                  <a:pt x="102" y="0"/>
                </a:moveTo>
                <a:lnTo>
                  <a:pt x="88" y="0"/>
                </a:lnTo>
                <a:lnTo>
                  <a:pt x="88" y="7"/>
                </a:lnTo>
                <a:lnTo>
                  <a:pt x="102" y="7"/>
                </a:lnTo>
                <a:lnTo>
                  <a:pt x="102" y="0"/>
                </a:lnTo>
                <a:close/>
                <a:moveTo>
                  <a:pt x="132" y="0"/>
                </a:moveTo>
                <a:lnTo>
                  <a:pt x="117" y="0"/>
                </a:lnTo>
                <a:lnTo>
                  <a:pt x="117" y="7"/>
                </a:lnTo>
                <a:lnTo>
                  <a:pt x="132" y="7"/>
                </a:lnTo>
                <a:lnTo>
                  <a:pt x="132" y="0"/>
                </a:lnTo>
                <a:close/>
                <a:moveTo>
                  <a:pt x="159" y="0"/>
                </a:moveTo>
                <a:lnTo>
                  <a:pt x="146" y="0"/>
                </a:lnTo>
                <a:lnTo>
                  <a:pt x="146" y="7"/>
                </a:lnTo>
                <a:lnTo>
                  <a:pt x="159" y="7"/>
                </a:lnTo>
                <a:lnTo>
                  <a:pt x="159" y="0"/>
                </a:lnTo>
                <a:close/>
                <a:moveTo>
                  <a:pt x="188" y="0"/>
                </a:moveTo>
                <a:lnTo>
                  <a:pt x="174" y="0"/>
                </a:lnTo>
                <a:lnTo>
                  <a:pt x="174" y="7"/>
                </a:lnTo>
                <a:lnTo>
                  <a:pt x="188" y="7"/>
                </a:lnTo>
                <a:lnTo>
                  <a:pt x="188" y="0"/>
                </a:lnTo>
                <a:close/>
                <a:moveTo>
                  <a:pt x="218" y="0"/>
                </a:moveTo>
                <a:lnTo>
                  <a:pt x="203" y="0"/>
                </a:lnTo>
                <a:lnTo>
                  <a:pt x="203" y="7"/>
                </a:lnTo>
                <a:lnTo>
                  <a:pt x="218" y="7"/>
                </a:lnTo>
                <a:lnTo>
                  <a:pt x="218" y="0"/>
                </a:lnTo>
                <a:close/>
                <a:moveTo>
                  <a:pt x="247" y="0"/>
                </a:moveTo>
                <a:lnTo>
                  <a:pt x="232" y="0"/>
                </a:lnTo>
                <a:lnTo>
                  <a:pt x="232" y="7"/>
                </a:lnTo>
                <a:lnTo>
                  <a:pt x="247" y="7"/>
                </a:lnTo>
                <a:lnTo>
                  <a:pt x="247" y="0"/>
                </a:lnTo>
                <a:close/>
                <a:moveTo>
                  <a:pt x="276" y="0"/>
                </a:moveTo>
                <a:lnTo>
                  <a:pt x="262" y="0"/>
                </a:lnTo>
                <a:lnTo>
                  <a:pt x="262" y="7"/>
                </a:lnTo>
                <a:lnTo>
                  <a:pt x="276" y="7"/>
                </a:lnTo>
                <a:lnTo>
                  <a:pt x="276" y="0"/>
                </a:lnTo>
                <a:close/>
                <a:moveTo>
                  <a:pt x="306" y="0"/>
                </a:moveTo>
                <a:lnTo>
                  <a:pt x="291" y="0"/>
                </a:lnTo>
                <a:lnTo>
                  <a:pt x="291" y="7"/>
                </a:lnTo>
                <a:lnTo>
                  <a:pt x="306" y="7"/>
                </a:lnTo>
                <a:lnTo>
                  <a:pt x="306" y="0"/>
                </a:lnTo>
                <a:close/>
                <a:moveTo>
                  <a:pt x="333" y="0"/>
                </a:moveTo>
                <a:lnTo>
                  <a:pt x="320" y="0"/>
                </a:lnTo>
                <a:lnTo>
                  <a:pt x="320" y="7"/>
                </a:lnTo>
                <a:lnTo>
                  <a:pt x="333" y="7"/>
                </a:lnTo>
                <a:lnTo>
                  <a:pt x="333" y="0"/>
                </a:lnTo>
                <a:close/>
                <a:moveTo>
                  <a:pt x="363" y="0"/>
                </a:moveTo>
                <a:lnTo>
                  <a:pt x="348" y="0"/>
                </a:lnTo>
                <a:lnTo>
                  <a:pt x="348" y="7"/>
                </a:lnTo>
                <a:lnTo>
                  <a:pt x="363" y="7"/>
                </a:lnTo>
                <a:lnTo>
                  <a:pt x="363" y="0"/>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5" name="Rectangle 115">
            <a:extLst>
              <a:ext uri="{FF2B5EF4-FFF2-40B4-BE49-F238E27FC236}">
                <a16:creationId xmlns:a16="http://schemas.microsoft.com/office/drawing/2014/main" id="{9BC6B018-54BF-7E29-A07C-4053CC198BC9}"/>
              </a:ext>
            </a:extLst>
          </p:cNvPr>
          <p:cNvSpPr>
            <a:spLocks noChangeArrowheads="1"/>
          </p:cNvSpPr>
          <p:nvPr/>
        </p:nvSpPr>
        <p:spPr bwMode="auto">
          <a:xfrm>
            <a:off x="5116812" y="2058050"/>
            <a:ext cx="10514"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6" name="Freeform 116">
            <a:extLst>
              <a:ext uri="{FF2B5EF4-FFF2-40B4-BE49-F238E27FC236}">
                <a16:creationId xmlns:a16="http://schemas.microsoft.com/office/drawing/2014/main" id="{EC06F444-90FE-2BF3-B32C-4BEF26B5BF90}"/>
              </a:ext>
            </a:extLst>
          </p:cNvPr>
          <p:cNvSpPr>
            <a:spLocks/>
          </p:cNvSpPr>
          <p:nvPr/>
        </p:nvSpPr>
        <p:spPr bwMode="auto">
          <a:xfrm>
            <a:off x="5116812" y="2058050"/>
            <a:ext cx="10514" cy="8762"/>
          </a:xfrm>
          <a:custGeom>
            <a:avLst/>
            <a:gdLst/>
            <a:ahLst/>
            <a:cxnLst>
              <a:cxn ang="0">
                <a:pos x="7" y="0"/>
              </a:cxn>
              <a:cxn ang="0">
                <a:pos x="0" y="0"/>
              </a:cxn>
              <a:cxn ang="0">
                <a:pos x="0" y="7"/>
              </a:cxn>
              <a:cxn ang="0">
                <a:pos x="7" y="7"/>
              </a:cxn>
            </a:cxnLst>
            <a:rect l="0" t="0" r="r" b="b"/>
            <a:pathLst>
              <a:path w="7" h="7">
                <a:moveTo>
                  <a:pt x="7" y="0"/>
                </a:moveTo>
                <a:lnTo>
                  <a:pt x="0" y="0"/>
                </a:lnTo>
                <a:lnTo>
                  <a:pt x="0" y="7"/>
                </a:lnTo>
                <a:lnTo>
                  <a:pt x="7"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7" name="Freeform 117">
            <a:extLst>
              <a:ext uri="{FF2B5EF4-FFF2-40B4-BE49-F238E27FC236}">
                <a16:creationId xmlns:a16="http://schemas.microsoft.com/office/drawing/2014/main" id="{4F2DF0E1-92C8-00EF-2274-3633D59062BD}"/>
              </a:ext>
            </a:extLst>
          </p:cNvPr>
          <p:cNvSpPr>
            <a:spLocks/>
          </p:cNvSpPr>
          <p:nvPr/>
        </p:nvSpPr>
        <p:spPr bwMode="auto">
          <a:xfrm>
            <a:off x="5100292" y="2046785"/>
            <a:ext cx="37547" cy="32545"/>
          </a:xfrm>
          <a:custGeom>
            <a:avLst/>
            <a:gdLst/>
            <a:ahLst/>
            <a:cxnLst>
              <a:cxn ang="0">
                <a:pos x="13" y="0"/>
              </a:cxn>
              <a:cxn ang="0">
                <a:pos x="13" y="0"/>
              </a:cxn>
              <a:cxn ang="0">
                <a:pos x="7" y="0"/>
              </a:cxn>
              <a:cxn ang="0">
                <a:pos x="3" y="4"/>
              </a:cxn>
              <a:cxn ang="0">
                <a:pos x="0" y="7"/>
              </a:cxn>
              <a:cxn ang="0">
                <a:pos x="0" y="13"/>
              </a:cxn>
              <a:cxn ang="0">
                <a:pos x="0" y="13"/>
              </a:cxn>
              <a:cxn ang="0">
                <a:pos x="0" y="18"/>
              </a:cxn>
              <a:cxn ang="0">
                <a:pos x="3" y="22"/>
              </a:cxn>
              <a:cxn ang="0">
                <a:pos x="7" y="26"/>
              </a:cxn>
              <a:cxn ang="0">
                <a:pos x="13" y="26"/>
              </a:cxn>
              <a:cxn ang="0">
                <a:pos x="13" y="26"/>
              </a:cxn>
              <a:cxn ang="0">
                <a:pos x="18" y="26"/>
              </a:cxn>
              <a:cxn ang="0">
                <a:pos x="22" y="22"/>
              </a:cxn>
              <a:cxn ang="0">
                <a:pos x="24" y="18"/>
              </a:cxn>
              <a:cxn ang="0">
                <a:pos x="25" y="13"/>
              </a:cxn>
              <a:cxn ang="0">
                <a:pos x="25" y="13"/>
              </a:cxn>
              <a:cxn ang="0">
                <a:pos x="24" y="7"/>
              </a:cxn>
              <a:cxn ang="0">
                <a:pos x="22" y="4"/>
              </a:cxn>
              <a:cxn ang="0">
                <a:pos x="18" y="0"/>
              </a:cxn>
              <a:cxn ang="0">
                <a:pos x="13" y="0"/>
              </a:cxn>
              <a:cxn ang="0">
                <a:pos x="13" y="0"/>
              </a:cxn>
            </a:cxnLst>
            <a:rect l="0" t="0" r="r" b="b"/>
            <a:pathLst>
              <a:path w="25" h="26">
                <a:moveTo>
                  <a:pt x="13" y="0"/>
                </a:moveTo>
                <a:lnTo>
                  <a:pt x="13" y="0"/>
                </a:lnTo>
                <a:lnTo>
                  <a:pt x="7" y="0"/>
                </a:lnTo>
                <a:lnTo>
                  <a:pt x="3" y="4"/>
                </a:lnTo>
                <a:lnTo>
                  <a:pt x="0" y="7"/>
                </a:lnTo>
                <a:lnTo>
                  <a:pt x="0" y="13"/>
                </a:lnTo>
                <a:lnTo>
                  <a:pt x="0" y="13"/>
                </a:lnTo>
                <a:lnTo>
                  <a:pt x="0" y="18"/>
                </a:lnTo>
                <a:lnTo>
                  <a:pt x="3" y="22"/>
                </a:lnTo>
                <a:lnTo>
                  <a:pt x="7" y="26"/>
                </a:lnTo>
                <a:lnTo>
                  <a:pt x="13" y="26"/>
                </a:lnTo>
                <a:lnTo>
                  <a:pt x="13" y="26"/>
                </a:lnTo>
                <a:lnTo>
                  <a:pt x="18" y="26"/>
                </a:lnTo>
                <a:lnTo>
                  <a:pt x="22" y="22"/>
                </a:lnTo>
                <a:lnTo>
                  <a:pt x="24" y="18"/>
                </a:lnTo>
                <a:lnTo>
                  <a:pt x="25" y="13"/>
                </a:lnTo>
                <a:lnTo>
                  <a:pt x="25" y="13"/>
                </a:lnTo>
                <a:lnTo>
                  <a:pt x="24" y="7"/>
                </a:lnTo>
                <a:lnTo>
                  <a:pt x="22" y="4"/>
                </a:lnTo>
                <a:lnTo>
                  <a:pt x="18" y="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8" name="Freeform 118">
            <a:extLst>
              <a:ext uri="{FF2B5EF4-FFF2-40B4-BE49-F238E27FC236}">
                <a16:creationId xmlns:a16="http://schemas.microsoft.com/office/drawing/2014/main" id="{1A5103E3-8C81-9ED1-E95C-89BCE9160DB4}"/>
              </a:ext>
            </a:extLst>
          </p:cNvPr>
          <p:cNvSpPr>
            <a:spLocks noEditPoints="1"/>
          </p:cNvSpPr>
          <p:nvPr/>
        </p:nvSpPr>
        <p:spPr bwMode="auto">
          <a:xfrm>
            <a:off x="5097287" y="2044281"/>
            <a:ext cx="43554" cy="36299"/>
          </a:xfrm>
          <a:custGeom>
            <a:avLst/>
            <a:gdLst/>
            <a:ahLst/>
            <a:cxnLst>
              <a:cxn ang="0">
                <a:pos x="15" y="0"/>
              </a:cxn>
              <a:cxn ang="0">
                <a:pos x="15" y="0"/>
              </a:cxn>
              <a:cxn ang="0">
                <a:pos x="20" y="2"/>
              </a:cxn>
              <a:cxn ang="0">
                <a:pos x="26" y="4"/>
              </a:cxn>
              <a:cxn ang="0">
                <a:pos x="27" y="9"/>
              </a:cxn>
              <a:cxn ang="0">
                <a:pos x="29" y="15"/>
              </a:cxn>
              <a:cxn ang="0">
                <a:pos x="29" y="15"/>
              </a:cxn>
              <a:cxn ang="0">
                <a:pos x="27" y="20"/>
              </a:cxn>
              <a:cxn ang="0">
                <a:pos x="26" y="26"/>
              </a:cxn>
              <a:cxn ang="0">
                <a:pos x="20" y="29"/>
              </a:cxn>
              <a:cxn ang="0">
                <a:pos x="15" y="29"/>
              </a:cxn>
              <a:cxn ang="0">
                <a:pos x="15" y="29"/>
              </a:cxn>
              <a:cxn ang="0">
                <a:pos x="9" y="29"/>
              </a:cxn>
              <a:cxn ang="0">
                <a:pos x="4" y="26"/>
              </a:cxn>
              <a:cxn ang="0">
                <a:pos x="0" y="20"/>
              </a:cxn>
              <a:cxn ang="0">
                <a:pos x="0" y="15"/>
              </a:cxn>
              <a:cxn ang="0">
                <a:pos x="0" y="15"/>
              </a:cxn>
              <a:cxn ang="0">
                <a:pos x="0" y="9"/>
              </a:cxn>
              <a:cxn ang="0">
                <a:pos x="4" y="4"/>
              </a:cxn>
              <a:cxn ang="0">
                <a:pos x="9" y="2"/>
              </a:cxn>
              <a:cxn ang="0">
                <a:pos x="15" y="0"/>
              </a:cxn>
              <a:cxn ang="0">
                <a:pos x="15" y="0"/>
              </a:cxn>
              <a:cxn ang="0">
                <a:pos x="16" y="0"/>
              </a:cxn>
              <a:cxn ang="0">
                <a:pos x="15" y="0"/>
              </a:cxn>
              <a:cxn ang="0">
                <a:pos x="13" y="0"/>
              </a:cxn>
              <a:cxn ang="0">
                <a:pos x="15" y="0"/>
              </a:cxn>
              <a:cxn ang="0">
                <a:pos x="15" y="0"/>
              </a:cxn>
              <a:cxn ang="0">
                <a:pos x="15" y="26"/>
              </a:cxn>
              <a:cxn ang="0">
                <a:pos x="15" y="26"/>
              </a:cxn>
              <a:cxn ang="0">
                <a:pos x="18" y="26"/>
              </a:cxn>
              <a:cxn ang="0">
                <a:pos x="22" y="22"/>
              </a:cxn>
              <a:cxn ang="0">
                <a:pos x="26" y="18"/>
              </a:cxn>
              <a:cxn ang="0">
                <a:pos x="26" y="15"/>
              </a:cxn>
              <a:cxn ang="0">
                <a:pos x="26" y="15"/>
              </a:cxn>
              <a:cxn ang="0">
                <a:pos x="26" y="11"/>
              </a:cxn>
              <a:cxn ang="0">
                <a:pos x="22" y="7"/>
              </a:cxn>
              <a:cxn ang="0">
                <a:pos x="18" y="4"/>
              </a:cxn>
              <a:cxn ang="0">
                <a:pos x="15" y="4"/>
              </a:cxn>
              <a:cxn ang="0">
                <a:pos x="15" y="4"/>
              </a:cxn>
              <a:cxn ang="0">
                <a:pos x="9" y="4"/>
              </a:cxn>
              <a:cxn ang="0">
                <a:pos x="5" y="7"/>
              </a:cxn>
              <a:cxn ang="0">
                <a:pos x="4" y="11"/>
              </a:cxn>
              <a:cxn ang="0">
                <a:pos x="4" y="15"/>
              </a:cxn>
              <a:cxn ang="0">
                <a:pos x="4" y="15"/>
              </a:cxn>
              <a:cxn ang="0">
                <a:pos x="4" y="18"/>
              </a:cxn>
              <a:cxn ang="0">
                <a:pos x="5" y="22"/>
              </a:cxn>
              <a:cxn ang="0">
                <a:pos x="9" y="26"/>
              </a:cxn>
              <a:cxn ang="0">
                <a:pos x="15" y="26"/>
              </a:cxn>
              <a:cxn ang="0">
                <a:pos x="15" y="26"/>
              </a:cxn>
              <a:cxn ang="0">
                <a:pos x="16" y="26"/>
              </a:cxn>
              <a:cxn ang="0">
                <a:pos x="15" y="26"/>
              </a:cxn>
              <a:cxn ang="0">
                <a:pos x="13" y="26"/>
              </a:cxn>
              <a:cxn ang="0">
                <a:pos x="15" y="26"/>
              </a:cxn>
              <a:cxn ang="0">
                <a:pos x="15" y="26"/>
              </a:cxn>
            </a:cxnLst>
            <a:rect l="0" t="0" r="r" b="b"/>
            <a:pathLst>
              <a:path w="29" h="29">
                <a:moveTo>
                  <a:pt x="15" y="0"/>
                </a:moveTo>
                <a:lnTo>
                  <a:pt x="15" y="0"/>
                </a:lnTo>
                <a:lnTo>
                  <a:pt x="20" y="2"/>
                </a:lnTo>
                <a:lnTo>
                  <a:pt x="26" y="4"/>
                </a:lnTo>
                <a:lnTo>
                  <a:pt x="27" y="9"/>
                </a:lnTo>
                <a:lnTo>
                  <a:pt x="29" y="15"/>
                </a:lnTo>
                <a:lnTo>
                  <a:pt x="29" y="15"/>
                </a:lnTo>
                <a:lnTo>
                  <a:pt x="27" y="20"/>
                </a:lnTo>
                <a:lnTo>
                  <a:pt x="26" y="26"/>
                </a:lnTo>
                <a:lnTo>
                  <a:pt x="20" y="29"/>
                </a:lnTo>
                <a:lnTo>
                  <a:pt x="15" y="29"/>
                </a:lnTo>
                <a:lnTo>
                  <a:pt x="15" y="29"/>
                </a:lnTo>
                <a:lnTo>
                  <a:pt x="9" y="29"/>
                </a:lnTo>
                <a:lnTo>
                  <a:pt x="4" y="26"/>
                </a:lnTo>
                <a:lnTo>
                  <a:pt x="0" y="20"/>
                </a:lnTo>
                <a:lnTo>
                  <a:pt x="0" y="15"/>
                </a:lnTo>
                <a:lnTo>
                  <a:pt x="0" y="15"/>
                </a:lnTo>
                <a:lnTo>
                  <a:pt x="0" y="9"/>
                </a:lnTo>
                <a:lnTo>
                  <a:pt x="4" y="4"/>
                </a:lnTo>
                <a:lnTo>
                  <a:pt x="9" y="2"/>
                </a:lnTo>
                <a:lnTo>
                  <a:pt x="15" y="0"/>
                </a:lnTo>
                <a:lnTo>
                  <a:pt x="15" y="0"/>
                </a:lnTo>
                <a:lnTo>
                  <a:pt x="16" y="0"/>
                </a:lnTo>
                <a:lnTo>
                  <a:pt x="15" y="0"/>
                </a:lnTo>
                <a:lnTo>
                  <a:pt x="13" y="0"/>
                </a:lnTo>
                <a:lnTo>
                  <a:pt x="15" y="0"/>
                </a:lnTo>
                <a:lnTo>
                  <a:pt x="15" y="0"/>
                </a:lnTo>
                <a:close/>
                <a:moveTo>
                  <a:pt x="15" y="26"/>
                </a:moveTo>
                <a:lnTo>
                  <a:pt x="15" y="26"/>
                </a:lnTo>
                <a:lnTo>
                  <a:pt x="18" y="26"/>
                </a:lnTo>
                <a:lnTo>
                  <a:pt x="22" y="22"/>
                </a:lnTo>
                <a:lnTo>
                  <a:pt x="26" y="18"/>
                </a:lnTo>
                <a:lnTo>
                  <a:pt x="26" y="15"/>
                </a:lnTo>
                <a:lnTo>
                  <a:pt x="26" y="15"/>
                </a:lnTo>
                <a:lnTo>
                  <a:pt x="26" y="11"/>
                </a:lnTo>
                <a:lnTo>
                  <a:pt x="22" y="7"/>
                </a:lnTo>
                <a:lnTo>
                  <a:pt x="18" y="4"/>
                </a:lnTo>
                <a:lnTo>
                  <a:pt x="15" y="4"/>
                </a:lnTo>
                <a:lnTo>
                  <a:pt x="15" y="4"/>
                </a:lnTo>
                <a:lnTo>
                  <a:pt x="9" y="4"/>
                </a:lnTo>
                <a:lnTo>
                  <a:pt x="5" y="7"/>
                </a:lnTo>
                <a:lnTo>
                  <a:pt x="4" y="11"/>
                </a:lnTo>
                <a:lnTo>
                  <a:pt x="4" y="15"/>
                </a:lnTo>
                <a:lnTo>
                  <a:pt x="4" y="15"/>
                </a:lnTo>
                <a:lnTo>
                  <a:pt x="4" y="18"/>
                </a:lnTo>
                <a:lnTo>
                  <a:pt x="5" y="22"/>
                </a:lnTo>
                <a:lnTo>
                  <a:pt x="9" y="26"/>
                </a:lnTo>
                <a:lnTo>
                  <a:pt x="15" y="26"/>
                </a:lnTo>
                <a:lnTo>
                  <a:pt x="15" y="26"/>
                </a:lnTo>
                <a:lnTo>
                  <a:pt x="16" y="26"/>
                </a:lnTo>
                <a:lnTo>
                  <a:pt x="15" y="26"/>
                </a:lnTo>
                <a:lnTo>
                  <a:pt x="13" y="26"/>
                </a:lnTo>
                <a:lnTo>
                  <a:pt x="15" y="26"/>
                </a:lnTo>
                <a:lnTo>
                  <a:pt x="15" y="26"/>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29" name="Freeform 121">
            <a:extLst>
              <a:ext uri="{FF2B5EF4-FFF2-40B4-BE49-F238E27FC236}">
                <a16:creationId xmlns:a16="http://schemas.microsoft.com/office/drawing/2014/main" id="{0353359D-C28B-E6EB-A767-939253A766A4}"/>
              </a:ext>
            </a:extLst>
          </p:cNvPr>
          <p:cNvSpPr>
            <a:spLocks noEditPoints="1"/>
          </p:cNvSpPr>
          <p:nvPr/>
        </p:nvSpPr>
        <p:spPr bwMode="auto">
          <a:xfrm>
            <a:off x="5149853" y="2526183"/>
            <a:ext cx="545183" cy="8762"/>
          </a:xfrm>
          <a:custGeom>
            <a:avLst/>
            <a:gdLst/>
            <a:ahLst/>
            <a:cxnLst>
              <a:cxn ang="0">
                <a:pos x="0" y="0"/>
              </a:cxn>
              <a:cxn ang="0">
                <a:pos x="14" y="7"/>
              </a:cxn>
              <a:cxn ang="0">
                <a:pos x="44" y="0"/>
              </a:cxn>
              <a:cxn ang="0">
                <a:pos x="29" y="7"/>
              </a:cxn>
              <a:cxn ang="0">
                <a:pos x="44" y="0"/>
              </a:cxn>
              <a:cxn ang="0">
                <a:pos x="58" y="0"/>
              </a:cxn>
              <a:cxn ang="0">
                <a:pos x="73" y="7"/>
              </a:cxn>
              <a:cxn ang="0">
                <a:pos x="102" y="0"/>
              </a:cxn>
              <a:cxn ang="0">
                <a:pos x="88" y="7"/>
              </a:cxn>
              <a:cxn ang="0">
                <a:pos x="102" y="0"/>
              </a:cxn>
              <a:cxn ang="0">
                <a:pos x="117" y="0"/>
              </a:cxn>
              <a:cxn ang="0">
                <a:pos x="132" y="7"/>
              </a:cxn>
              <a:cxn ang="0">
                <a:pos x="159" y="0"/>
              </a:cxn>
              <a:cxn ang="0">
                <a:pos x="146" y="7"/>
              </a:cxn>
              <a:cxn ang="0">
                <a:pos x="159" y="0"/>
              </a:cxn>
              <a:cxn ang="0">
                <a:pos x="174" y="0"/>
              </a:cxn>
              <a:cxn ang="0">
                <a:pos x="188" y="7"/>
              </a:cxn>
              <a:cxn ang="0">
                <a:pos x="218" y="0"/>
              </a:cxn>
              <a:cxn ang="0">
                <a:pos x="203" y="7"/>
              </a:cxn>
              <a:cxn ang="0">
                <a:pos x="218" y="0"/>
              </a:cxn>
              <a:cxn ang="0">
                <a:pos x="232" y="0"/>
              </a:cxn>
              <a:cxn ang="0">
                <a:pos x="247" y="7"/>
              </a:cxn>
              <a:cxn ang="0">
                <a:pos x="276" y="0"/>
              </a:cxn>
              <a:cxn ang="0">
                <a:pos x="262" y="7"/>
              </a:cxn>
              <a:cxn ang="0">
                <a:pos x="276" y="0"/>
              </a:cxn>
              <a:cxn ang="0">
                <a:pos x="291" y="0"/>
              </a:cxn>
              <a:cxn ang="0">
                <a:pos x="306" y="7"/>
              </a:cxn>
              <a:cxn ang="0">
                <a:pos x="333" y="0"/>
              </a:cxn>
              <a:cxn ang="0">
                <a:pos x="320" y="7"/>
              </a:cxn>
              <a:cxn ang="0">
                <a:pos x="333" y="0"/>
              </a:cxn>
              <a:cxn ang="0">
                <a:pos x="348" y="0"/>
              </a:cxn>
              <a:cxn ang="0">
                <a:pos x="363" y="7"/>
              </a:cxn>
            </a:cxnLst>
            <a:rect l="0" t="0" r="r" b="b"/>
            <a:pathLst>
              <a:path w="363" h="7">
                <a:moveTo>
                  <a:pt x="14" y="0"/>
                </a:moveTo>
                <a:lnTo>
                  <a:pt x="0" y="0"/>
                </a:lnTo>
                <a:lnTo>
                  <a:pt x="0" y="7"/>
                </a:lnTo>
                <a:lnTo>
                  <a:pt x="14" y="7"/>
                </a:lnTo>
                <a:lnTo>
                  <a:pt x="14" y="0"/>
                </a:lnTo>
                <a:close/>
                <a:moveTo>
                  <a:pt x="44" y="0"/>
                </a:moveTo>
                <a:lnTo>
                  <a:pt x="29" y="0"/>
                </a:lnTo>
                <a:lnTo>
                  <a:pt x="29" y="7"/>
                </a:lnTo>
                <a:lnTo>
                  <a:pt x="44" y="7"/>
                </a:lnTo>
                <a:lnTo>
                  <a:pt x="44" y="0"/>
                </a:lnTo>
                <a:close/>
                <a:moveTo>
                  <a:pt x="73" y="0"/>
                </a:moveTo>
                <a:lnTo>
                  <a:pt x="58" y="0"/>
                </a:lnTo>
                <a:lnTo>
                  <a:pt x="58" y="7"/>
                </a:lnTo>
                <a:lnTo>
                  <a:pt x="73" y="7"/>
                </a:lnTo>
                <a:lnTo>
                  <a:pt x="73" y="0"/>
                </a:lnTo>
                <a:close/>
                <a:moveTo>
                  <a:pt x="102" y="0"/>
                </a:moveTo>
                <a:lnTo>
                  <a:pt x="88" y="0"/>
                </a:lnTo>
                <a:lnTo>
                  <a:pt x="88" y="7"/>
                </a:lnTo>
                <a:lnTo>
                  <a:pt x="102" y="7"/>
                </a:lnTo>
                <a:lnTo>
                  <a:pt x="102" y="0"/>
                </a:lnTo>
                <a:close/>
                <a:moveTo>
                  <a:pt x="132" y="0"/>
                </a:moveTo>
                <a:lnTo>
                  <a:pt x="117" y="0"/>
                </a:lnTo>
                <a:lnTo>
                  <a:pt x="117" y="7"/>
                </a:lnTo>
                <a:lnTo>
                  <a:pt x="132" y="7"/>
                </a:lnTo>
                <a:lnTo>
                  <a:pt x="132" y="0"/>
                </a:lnTo>
                <a:close/>
                <a:moveTo>
                  <a:pt x="159" y="0"/>
                </a:moveTo>
                <a:lnTo>
                  <a:pt x="146" y="0"/>
                </a:lnTo>
                <a:lnTo>
                  <a:pt x="146" y="7"/>
                </a:lnTo>
                <a:lnTo>
                  <a:pt x="159" y="7"/>
                </a:lnTo>
                <a:lnTo>
                  <a:pt x="159" y="0"/>
                </a:lnTo>
                <a:close/>
                <a:moveTo>
                  <a:pt x="188" y="0"/>
                </a:moveTo>
                <a:lnTo>
                  <a:pt x="174" y="0"/>
                </a:lnTo>
                <a:lnTo>
                  <a:pt x="174" y="7"/>
                </a:lnTo>
                <a:lnTo>
                  <a:pt x="188" y="7"/>
                </a:lnTo>
                <a:lnTo>
                  <a:pt x="188" y="0"/>
                </a:lnTo>
                <a:close/>
                <a:moveTo>
                  <a:pt x="218" y="0"/>
                </a:moveTo>
                <a:lnTo>
                  <a:pt x="203" y="0"/>
                </a:lnTo>
                <a:lnTo>
                  <a:pt x="203" y="7"/>
                </a:lnTo>
                <a:lnTo>
                  <a:pt x="218" y="7"/>
                </a:lnTo>
                <a:lnTo>
                  <a:pt x="218" y="0"/>
                </a:lnTo>
                <a:close/>
                <a:moveTo>
                  <a:pt x="247" y="0"/>
                </a:moveTo>
                <a:lnTo>
                  <a:pt x="232" y="0"/>
                </a:lnTo>
                <a:lnTo>
                  <a:pt x="232" y="7"/>
                </a:lnTo>
                <a:lnTo>
                  <a:pt x="247" y="7"/>
                </a:lnTo>
                <a:lnTo>
                  <a:pt x="247" y="0"/>
                </a:lnTo>
                <a:close/>
                <a:moveTo>
                  <a:pt x="276" y="0"/>
                </a:moveTo>
                <a:lnTo>
                  <a:pt x="262" y="0"/>
                </a:lnTo>
                <a:lnTo>
                  <a:pt x="262" y="7"/>
                </a:lnTo>
                <a:lnTo>
                  <a:pt x="276" y="7"/>
                </a:lnTo>
                <a:lnTo>
                  <a:pt x="276" y="0"/>
                </a:lnTo>
                <a:close/>
                <a:moveTo>
                  <a:pt x="306" y="0"/>
                </a:moveTo>
                <a:lnTo>
                  <a:pt x="291" y="0"/>
                </a:lnTo>
                <a:lnTo>
                  <a:pt x="291" y="7"/>
                </a:lnTo>
                <a:lnTo>
                  <a:pt x="306" y="7"/>
                </a:lnTo>
                <a:lnTo>
                  <a:pt x="306" y="0"/>
                </a:lnTo>
                <a:close/>
                <a:moveTo>
                  <a:pt x="333" y="0"/>
                </a:moveTo>
                <a:lnTo>
                  <a:pt x="320" y="0"/>
                </a:lnTo>
                <a:lnTo>
                  <a:pt x="320" y="7"/>
                </a:lnTo>
                <a:lnTo>
                  <a:pt x="333" y="7"/>
                </a:lnTo>
                <a:lnTo>
                  <a:pt x="333" y="0"/>
                </a:lnTo>
                <a:close/>
                <a:moveTo>
                  <a:pt x="363" y="0"/>
                </a:moveTo>
                <a:lnTo>
                  <a:pt x="348" y="0"/>
                </a:lnTo>
                <a:lnTo>
                  <a:pt x="348" y="7"/>
                </a:lnTo>
                <a:lnTo>
                  <a:pt x="363" y="7"/>
                </a:lnTo>
                <a:lnTo>
                  <a:pt x="363" y="0"/>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0" name="Rectangle 122">
            <a:extLst>
              <a:ext uri="{FF2B5EF4-FFF2-40B4-BE49-F238E27FC236}">
                <a16:creationId xmlns:a16="http://schemas.microsoft.com/office/drawing/2014/main" id="{240955D6-E5DA-328F-541E-5C0AB3775695}"/>
              </a:ext>
            </a:extLst>
          </p:cNvPr>
          <p:cNvSpPr>
            <a:spLocks noChangeArrowheads="1"/>
          </p:cNvSpPr>
          <p:nvPr/>
        </p:nvSpPr>
        <p:spPr bwMode="auto">
          <a:xfrm>
            <a:off x="5116812" y="2526183"/>
            <a:ext cx="10514"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1" name="Freeform 123">
            <a:extLst>
              <a:ext uri="{FF2B5EF4-FFF2-40B4-BE49-F238E27FC236}">
                <a16:creationId xmlns:a16="http://schemas.microsoft.com/office/drawing/2014/main" id="{26CB8033-00EB-DEE7-4015-B3264E0E26D7}"/>
              </a:ext>
            </a:extLst>
          </p:cNvPr>
          <p:cNvSpPr>
            <a:spLocks/>
          </p:cNvSpPr>
          <p:nvPr/>
        </p:nvSpPr>
        <p:spPr bwMode="auto">
          <a:xfrm>
            <a:off x="5116812" y="2526183"/>
            <a:ext cx="10514" cy="8762"/>
          </a:xfrm>
          <a:custGeom>
            <a:avLst/>
            <a:gdLst/>
            <a:ahLst/>
            <a:cxnLst>
              <a:cxn ang="0">
                <a:pos x="7" y="0"/>
              </a:cxn>
              <a:cxn ang="0">
                <a:pos x="0" y="0"/>
              </a:cxn>
              <a:cxn ang="0">
                <a:pos x="0" y="7"/>
              </a:cxn>
              <a:cxn ang="0">
                <a:pos x="7" y="7"/>
              </a:cxn>
            </a:cxnLst>
            <a:rect l="0" t="0" r="r" b="b"/>
            <a:pathLst>
              <a:path w="7" h="7">
                <a:moveTo>
                  <a:pt x="7" y="0"/>
                </a:moveTo>
                <a:lnTo>
                  <a:pt x="0" y="0"/>
                </a:lnTo>
                <a:lnTo>
                  <a:pt x="0" y="7"/>
                </a:lnTo>
                <a:lnTo>
                  <a:pt x="7"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2" name="Freeform 124">
            <a:extLst>
              <a:ext uri="{FF2B5EF4-FFF2-40B4-BE49-F238E27FC236}">
                <a16:creationId xmlns:a16="http://schemas.microsoft.com/office/drawing/2014/main" id="{6085558A-D41F-45EF-3967-DBF6EE63DDC3}"/>
              </a:ext>
            </a:extLst>
          </p:cNvPr>
          <p:cNvSpPr>
            <a:spLocks/>
          </p:cNvSpPr>
          <p:nvPr/>
        </p:nvSpPr>
        <p:spPr bwMode="auto">
          <a:xfrm>
            <a:off x="5100292" y="2512413"/>
            <a:ext cx="37547" cy="33796"/>
          </a:xfrm>
          <a:custGeom>
            <a:avLst/>
            <a:gdLst/>
            <a:ahLst/>
            <a:cxnLst>
              <a:cxn ang="0">
                <a:pos x="13" y="0"/>
              </a:cxn>
              <a:cxn ang="0">
                <a:pos x="13" y="0"/>
              </a:cxn>
              <a:cxn ang="0">
                <a:pos x="7" y="2"/>
              </a:cxn>
              <a:cxn ang="0">
                <a:pos x="3" y="5"/>
              </a:cxn>
              <a:cxn ang="0">
                <a:pos x="0" y="9"/>
              </a:cxn>
              <a:cxn ang="0">
                <a:pos x="0" y="15"/>
              </a:cxn>
              <a:cxn ang="0">
                <a:pos x="0" y="15"/>
              </a:cxn>
              <a:cxn ang="0">
                <a:pos x="0" y="18"/>
              </a:cxn>
              <a:cxn ang="0">
                <a:pos x="3" y="24"/>
              </a:cxn>
              <a:cxn ang="0">
                <a:pos x="7" y="26"/>
              </a:cxn>
              <a:cxn ang="0">
                <a:pos x="13" y="27"/>
              </a:cxn>
              <a:cxn ang="0">
                <a:pos x="13" y="27"/>
              </a:cxn>
              <a:cxn ang="0">
                <a:pos x="18" y="26"/>
              </a:cxn>
              <a:cxn ang="0">
                <a:pos x="22" y="24"/>
              </a:cxn>
              <a:cxn ang="0">
                <a:pos x="24" y="18"/>
              </a:cxn>
              <a:cxn ang="0">
                <a:pos x="25" y="15"/>
              </a:cxn>
              <a:cxn ang="0">
                <a:pos x="25" y="15"/>
              </a:cxn>
              <a:cxn ang="0">
                <a:pos x="24" y="9"/>
              </a:cxn>
              <a:cxn ang="0">
                <a:pos x="22" y="5"/>
              </a:cxn>
              <a:cxn ang="0">
                <a:pos x="18" y="2"/>
              </a:cxn>
              <a:cxn ang="0">
                <a:pos x="13" y="0"/>
              </a:cxn>
              <a:cxn ang="0">
                <a:pos x="13" y="0"/>
              </a:cxn>
            </a:cxnLst>
            <a:rect l="0" t="0" r="r" b="b"/>
            <a:pathLst>
              <a:path w="25" h="27">
                <a:moveTo>
                  <a:pt x="13" y="0"/>
                </a:moveTo>
                <a:lnTo>
                  <a:pt x="13" y="0"/>
                </a:lnTo>
                <a:lnTo>
                  <a:pt x="7" y="2"/>
                </a:lnTo>
                <a:lnTo>
                  <a:pt x="3" y="5"/>
                </a:lnTo>
                <a:lnTo>
                  <a:pt x="0" y="9"/>
                </a:lnTo>
                <a:lnTo>
                  <a:pt x="0" y="15"/>
                </a:lnTo>
                <a:lnTo>
                  <a:pt x="0" y="15"/>
                </a:lnTo>
                <a:lnTo>
                  <a:pt x="0" y="18"/>
                </a:lnTo>
                <a:lnTo>
                  <a:pt x="3" y="24"/>
                </a:lnTo>
                <a:lnTo>
                  <a:pt x="7" y="26"/>
                </a:lnTo>
                <a:lnTo>
                  <a:pt x="13" y="27"/>
                </a:lnTo>
                <a:lnTo>
                  <a:pt x="13" y="27"/>
                </a:lnTo>
                <a:lnTo>
                  <a:pt x="18" y="26"/>
                </a:lnTo>
                <a:lnTo>
                  <a:pt x="22" y="24"/>
                </a:lnTo>
                <a:lnTo>
                  <a:pt x="24" y="18"/>
                </a:lnTo>
                <a:lnTo>
                  <a:pt x="25" y="15"/>
                </a:lnTo>
                <a:lnTo>
                  <a:pt x="25" y="15"/>
                </a:lnTo>
                <a:lnTo>
                  <a:pt x="24" y="9"/>
                </a:lnTo>
                <a:lnTo>
                  <a:pt x="22" y="5"/>
                </a:lnTo>
                <a:lnTo>
                  <a:pt x="18" y="2"/>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3" name="Freeform 125">
            <a:extLst>
              <a:ext uri="{FF2B5EF4-FFF2-40B4-BE49-F238E27FC236}">
                <a16:creationId xmlns:a16="http://schemas.microsoft.com/office/drawing/2014/main" id="{3AD269C5-0228-A6B7-FB39-D228908F831D}"/>
              </a:ext>
            </a:extLst>
          </p:cNvPr>
          <p:cNvSpPr>
            <a:spLocks noEditPoints="1"/>
          </p:cNvSpPr>
          <p:nvPr/>
        </p:nvSpPr>
        <p:spPr bwMode="auto">
          <a:xfrm>
            <a:off x="5097287" y="2512413"/>
            <a:ext cx="43554" cy="36299"/>
          </a:xfrm>
          <a:custGeom>
            <a:avLst/>
            <a:gdLst/>
            <a:ahLst/>
            <a:cxnLst>
              <a:cxn ang="0">
                <a:pos x="15" y="0"/>
              </a:cxn>
              <a:cxn ang="0">
                <a:pos x="15" y="0"/>
              </a:cxn>
              <a:cxn ang="0">
                <a:pos x="20" y="0"/>
              </a:cxn>
              <a:cxn ang="0">
                <a:pos x="26" y="4"/>
              </a:cxn>
              <a:cxn ang="0">
                <a:pos x="27" y="9"/>
              </a:cxn>
              <a:cxn ang="0">
                <a:pos x="29" y="15"/>
              </a:cxn>
              <a:cxn ang="0">
                <a:pos x="29" y="15"/>
              </a:cxn>
              <a:cxn ang="0">
                <a:pos x="27" y="20"/>
              </a:cxn>
              <a:cxn ang="0">
                <a:pos x="26" y="24"/>
              </a:cxn>
              <a:cxn ang="0">
                <a:pos x="20" y="27"/>
              </a:cxn>
              <a:cxn ang="0">
                <a:pos x="15" y="29"/>
              </a:cxn>
              <a:cxn ang="0">
                <a:pos x="15" y="29"/>
              </a:cxn>
              <a:cxn ang="0">
                <a:pos x="9" y="27"/>
              </a:cxn>
              <a:cxn ang="0">
                <a:pos x="4" y="24"/>
              </a:cxn>
              <a:cxn ang="0">
                <a:pos x="0" y="20"/>
              </a:cxn>
              <a:cxn ang="0">
                <a:pos x="0" y="15"/>
              </a:cxn>
              <a:cxn ang="0">
                <a:pos x="0" y="15"/>
              </a:cxn>
              <a:cxn ang="0">
                <a:pos x="0" y="9"/>
              </a:cxn>
              <a:cxn ang="0">
                <a:pos x="4" y="4"/>
              </a:cxn>
              <a:cxn ang="0">
                <a:pos x="9" y="0"/>
              </a:cxn>
              <a:cxn ang="0">
                <a:pos x="15" y="0"/>
              </a:cxn>
              <a:cxn ang="0">
                <a:pos x="15" y="0"/>
              </a:cxn>
              <a:cxn ang="0">
                <a:pos x="16" y="0"/>
              </a:cxn>
              <a:cxn ang="0">
                <a:pos x="15" y="0"/>
              </a:cxn>
              <a:cxn ang="0">
                <a:pos x="13" y="0"/>
              </a:cxn>
              <a:cxn ang="0">
                <a:pos x="15" y="0"/>
              </a:cxn>
              <a:cxn ang="0">
                <a:pos x="15" y="0"/>
              </a:cxn>
              <a:cxn ang="0">
                <a:pos x="15" y="26"/>
              </a:cxn>
              <a:cxn ang="0">
                <a:pos x="15" y="26"/>
              </a:cxn>
              <a:cxn ang="0">
                <a:pos x="18" y="24"/>
              </a:cxn>
              <a:cxn ang="0">
                <a:pos x="22" y="22"/>
              </a:cxn>
              <a:cxn ang="0">
                <a:pos x="26" y="18"/>
              </a:cxn>
              <a:cxn ang="0">
                <a:pos x="26" y="15"/>
              </a:cxn>
              <a:cxn ang="0">
                <a:pos x="26" y="15"/>
              </a:cxn>
              <a:cxn ang="0">
                <a:pos x="26" y="9"/>
              </a:cxn>
              <a:cxn ang="0">
                <a:pos x="22" y="5"/>
              </a:cxn>
              <a:cxn ang="0">
                <a:pos x="18" y="4"/>
              </a:cxn>
              <a:cxn ang="0">
                <a:pos x="15" y="2"/>
              </a:cxn>
              <a:cxn ang="0">
                <a:pos x="15" y="2"/>
              </a:cxn>
              <a:cxn ang="0">
                <a:pos x="9" y="4"/>
              </a:cxn>
              <a:cxn ang="0">
                <a:pos x="5" y="5"/>
              </a:cxn>
              <a:cxn ang="0">
                <a:pos x="4" y="9"/>
              </a:cxn>
              <a:cxn ang="0">
                <a:pos x="4" y="15"/>
              </a:cxn>
              <a:cxn ang="0">
                <a:pos x="4" y="15"/>
              </a:cxn>
              <a:cxn ang="0">
                <a:pos x="4" y="18"/>
              </a:cxn>
              <a:cxn ang="0">
                <a:pos x="5" y="22"/>
              </a:cxn>
              <a:cxn ang="0">
                <a:pos x="9" y="24"/>
              </a:cxn>
              <a:cxn ang="0">
                <a:pos x="15" y="26"/>
              </a:cxn>
              <a:cxn ang="0">
                <a:pos x="15" y="26"/>
              </a:cxn>
              <a:cxn ang="0">
                <a:pos x="16" y="26"/>
              </a:cxn>
              <a:cxn ang="0">
                <a:pos x="15" y="26"/>
              </a:cxn>
              <a:cxn ang="0">
                <a:pos x="13" y="26"/>
              </a:cxn>
              <a:cxn ang="0">
                <a:pos x="15" y="26"/>
              </a:cxn>
              <a:cxn ang="0">
                <a:pos x="15" y="26"/>
              </a:cxn>
            </a:cxnLst>
            <a:rect l="0" t="0" r="r" b="b"/>
            <a:pathLst>
              <a:path w="29" h="29">
                <a:moveTo>
                  <a:pt x="15" y="0"/>
                </a:moveTo>
                <a:lnTo>
                  <a:pt x="15" y="0"/>
                </a:lnTo>
                <a:lnTo>
                  <a:pt x="20" y="0"/>
                </a:lnTo>
                <a:lnTo>
                  <a:pt x="26" y="4"/>
                </a:lnTo>
                <a:lnTo>
                  <a:pt x="27" y="9"/>
                </a:lnTo>
                <a:lnTo>
                  <a:pt x="29" y="15"/>
                </a:lnTo>
                <a:lnTo>
                  <a:pt x="29" y="15"/>
                </a:lnTo>
                <a:lnTo>
                  <a:pt x="27" y="20"/>
                </a:lnTo>
                <a:lnTo>
                  <a:pt x="26" y="24"/>
                </a:lnTo>
                <a:lnTo>
                  <a:pt x="20" y="27"/>
                </a:lnTo>
                <a:lnTo>
                  <a:pt x="15" y="29"/>
                </a:lnTo>
                <a:lnTo>
                  <a:pt x="15" y="29"/>
                </a:lnTo>
                <a:lnTo>
                  <a:pt x="9" y="27"/>
                </a:lnTo>
                <a:lnTo>
                  <a:pt x="4" y="24"/>
                </a:lnTo>
                <a:lnTo>
                  <a:pt x="0" y="20"/>
                </a:lnTo>
                <a:lnTo>
                  <a:pt x="0" y="15"/>
                </a:lnTo>
                <a:lnTo>
                  <a:pt x="0" y="15"/>
                </a:lnTo>
                <a:lnTo>
                  <a:pt x="0" y="9"/>
                </a:lnTo>
                <a:lnTo>
                  <a:pt x="4" y="4"/>
                </a:lnTo>
                <a:lnTo>
                  <a:pt x="9" y="0"/>
                </a:lnTo>
                <a:lnTo>
                  <a:pt x="15" y="0"/>
                </a:lnTo>
                <a:lnTo>
                  <a:pt x="15" y="0"/>
                </a:lnTo>
                <a:lnTo>
                  <a:pt x="16" y="0"/>
                </a:lnTo>
                <a:lnTo>
                  <a:pt x="15" y="0"/>
                </a:lnTo>
                <a:lnTo>
                  <a:pt x="13" y="0"/>
                </a:lnTo>
                <a:lnTo>
                  <a:pt x="15" y="0"/>
                </a:lnTo>
                <a:lnTo>
                  <a:pt x="15" y="0"/>
                </a:lnTo>
                <a:close/>
                <a:moveTo>
                  <a:pt x="15" y="26"/>
                </a:moveTo>
                <a:lnTo>
                  <a:pt x="15" y="26"/>
                </a:lnTo>
                <a:lnTo>
                  <a:pt x="18" y="24"/>
                </a:lnTo>
                <a:lnTo>
                  <a:pt x="22" y="22"/>
                </a:lnTo>
                <a:lnTo>
                  <a:pt x="26" y="18"/>
                </a:lnTo>
                <a:lnTo>
                  <a:pt x="26" y="15"/>
                </a:lnTo>
                <a:lnTo>
                  <a:pt x="26" y="15"/>
                </a:lnTo>
                <a:lnTo>
                  <a:pt x="26" y="9"/>
                </a:lnTo>
                <a:lnTo>
                  <a:pt x="22" y="5"/>
                </a:lnTo>
                <a:lnTo>
                  <a:pt x="18" y="4"/>
                </a:lnTo>
                <a:lnTo>
                  <a:pt x="15" y="2"/>
                </a:lnTo>
                <a:lnTo>
                  <a:pt x="15" y="2"/>
                </a:lnTo>
                <a:lnTo>
                  <a:pt x="9" y="4"/>
                </a:lnTo>
                <a:lnTo>
                  <a:pt x="5" y="5"/>
                </a:lnTo>
                <a:lnTo>
                  <a:pt x="4" y="9"/>
                </a:lnTo>
                <a:lnTo>
                  <a:pt x="4" y="15"/>
                </a:lnTo>
                <a:lnTo>
                  <a:pt x="4" y="15"/>
                </a:lnTo>
                <a:lnTo>
                  <a:pt x="4" y="18"/>
                </a:lnTo>
                <a:lnTo>
                  <a:pt x="5" y="22"/>
                </a:lnTo>
                <a:lnTo>
                  <a:pt x="9" y="24"/>
                </a:lnTo>
                <a:lnTo>
                  <a:pt x="15" y="26"/>
                </a:lnTo>
                <a:lnTo>
                  <a:pt x="15" y="26"/>
                </a:lnTo>
                <a:lnTo>
                  <a:pt x="16" y="26"/>
                </a:lnTo>
                <a:lnTo>
                  <a:pt x="15" y="26"/>
                </a:lnTo>
                <a:lnTo>
                  <a:pt x="13" y="26"/>
                </a:lnTo>
                <a:lnTo>
                  <a:pt x="15" y="26"/>
                </a:lnTo>
                <a:lnTo>
                  <a:pt x="15" y="26"/>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4" name="Freeform 128">
            <a:extLst>
              <a:ext uri="{FF2B5EF4-FFF2-40B4-BE49-F238E27FC236}">
                <a16:creationId xmlns:a16="http://schemas.microsoft.com/office/drawing/2014/main" id="{4E30C760-5ACE-1B82-913E-9F5F60F34DB9}"/>
              </a:ext>
            </a:extLst>
          </p:cNvPr>
          <p:cNvSpPr>
            <a:spLocks noEditPoints="1"/>
          </p:cNvSpPr>
          <p:nvPr/>
        </p:nvSpPr>
        <p:spPr bwMode="auto">
          <a:xfrm>
            <a:off x="5149853" y="2991811"/>
            <a:ext cx="545183" cy="8762"/>
          </a:xfrm>
          <a:custGeom>
            <a:avLst/>
            <a:gdLst/>
            <a:ahLst/>
            <a:cxnLst>
              <a:cxn ang="0">
                <a:pos x="0" y="0"/>
              </a:cxn>
              <a:cxn ang="0">
                <a:pos x="14" y="7"/>
              </a:cxn>
              <a:cxn ang="0">
                <a:pos x="44" y="0"/>
              </a:cxn>
              <a:cxn ang="0">
                <a:pos x="29" y="7"/>
              </a:cxn>
              <a:cxn ang="0">
                <a:pos x="44" y="0"/>
              </a:cxn>
              <a:cxn ang="0">
                <a:pos x="58" y="0"/>
              </a:cxn>
              <a:cxn ang="0">
                <a:pos x="73" y="7"/>
              </a:cxn>
              <a:cxn ang="0">
                <a:pos x="102" y="0"/>
              </a:cxn>
              <a:cxn ang="0">
                <a:pos x="88" y="7"/>
              </a:cxn>
              <a:cxn ang="0">
                <a:pos x="102" y="0"/>
              </a:cxn>
              <a:cxn ang="0">
                <a:pos x="117" y="0"/>
              </a:cxn>
              <a:cxn ang="0">
                <a:pos x="132" y="7"/>
              </a:cxn>
              <a:cxn ang="0">
                <a:pos x="159" y="0"/>
              </a:cxn>
              <a:cxn ang="0">
                <a:pos x="146" y="7"/>
              </a:cxn>
              <a:cxn ang="0">
                <a:pos x="159" y="0"/>
              </a:cxn>
              <a:cxn ang="0">
                <a:pos x="174" y="0"/>
              </a:cxn>
              <a:cxn ang="0">
                <a:pos x="188" y="7"/>
              </a:cxn>
              <a:cxn ang="0">
                <a:pos x="218" y="0"/>
              </a:cxn>
              <a:cxn ang="0">
                <a:pos x="203" y="7"/>
              </a:cxn>
              <a:cxn ang="0">
                <a:pos x="218" y="0"/>
              </a:cxn>
              <a:cxn ang="0">
                <a:pos x="232" y="0"/>
              </a:cxn>
              <a:cxn ang="0">
                <a:pos x="247" y="7"/>
              </a:cxn>
              <a:cxn ang="0">
                <a:pos x="276" y="0"/>
              </a:cxn>
              <a:cxn ang="0">
                <a:pos x="262" y="7"/>
              </a:cxn>
              <a:cxn ang="0">
                <a:pos x="276" y="0"/>
              </a:cxn>
              <a:cxn ang="0">
                <a:pos x="291" y="0"/>
              </a:cxn>
              <a:cxn ang="0">
                <a:pos x="306" y="7"/>
              </a:cxn>
              <a:cxn ang="0">
                <a:pos x="333" y="0"/>
              </a:cxn>
              <a:cxn ang="0">
                <a:pos x="320" y="7"/>
              </a:cxn>
              <a:cxn ang="0">
                <a:pos x="333" y="0"/>
              </a:cxn>
              <a:cxn ang="0">
                <a:pos x="348" y="0"/>
              </a:cxn>
              <a:cxn ang="0">
                <a:pos x="363" y="7"/>
              </a:cxn>
            </a:cxnLst>
            <a:rect l="0" t="0" r="r" b="b"/>
            <a:pathLst>
              <a:path w="363" h="7">
                <a:moveTo>
                  <a:pt x="14" y="0"/>
                </a:moveTo>
                <a:lnTo>
                  <a:pt x="0" y="0"/>
                </a:lnTo>
                <a:lnTo>
                  <a:pt x="0" y="7"/>
                </a:lnTo>
                <a:lnTo>
                  <a:pt x="14" y="7"/>
                </a:lnTo>
                <a:lnTo>
                  <a:pt x="14" y="0"/>
                </a:lnTo>
                <a:close/>
                <a:moveTo>
                  <a:pt x="44" y="0"/>
                </a:moveTo>
                <a:lnTo>
                  <a:pt x="29" y="0"/>
                </a:lnTo>
                <a:lnTo>
                  <a:pt x="29" y="7"/>
                </a:lnTo>
                <a:lnTo>
                  <a:pt x="44" y="7"/>
                </a:lnTo>
                <a:lnTo>
                  <a:pt x="44" y="0"/>
                </a:lnTo>
                <a:close/>
                <a:moveTo>
                  <a:pt x="73" y="0"/>
                </a:moveTo>
                <a:lnTo>
                  <a:pt x="58" y="0"/>
                </a:lnTo>
                <a:lnTo>
                  <a:pt x="58" y="7"/>
                </a:lnTo>
                <a:lnTo>
                  <a:pt x="73" y="7"/>
                </a:lnTo>
                <a:lnTo>
                  <a:pt x="73" y="0"/>
                </a:lnTo>
                <a:close/>
                <a:moveTo>
                  <a:pt x="102" y="0"/>
                </a:moveTo>
                <a:lnTo>
                  <a:pt x="88" y="0"/>
                </a:lnTo>
                <a:lnTo>
                  <a:pt x="88" y="7"/>
                </a:lnTo>
                <a:lnTo>
                  <a:pt x="102" y="7"/>
                </a:lnTo>
                <a:lnTo>
                  <a:pt x="102" y="0"/>
                </a:lnTo>
                <a:close/>
                <a:moveTo>
                  <a:pt x="132" y="0"/>
                </a:moveTo>
                <a:lnTo>
                  <a:pt x="117" y="0"/>
                </a:lnTo>
                <a:lnTo>
                  <a:pt x="117" y="7"/>
                </a:lnTo>
                <a:lnTo>
                  <a:pt x="132" y="7"/>
                </a:lnTo>
                <a:lnTo>
                  <a:pt x="132" y="0"/>
                </a:lnTo>
                <a:close/>
                <a:moveTo>
                  <a:pt x="159" y="0"/>
                </a:moveTo>
                <a:lnTo>
                  <a:pt x="146" y="0"/>
                </a:lnTo>
                <a:lnTo>
                  <a:pt x="146" y="7"/>
                </a:lnTo>
                <a:lnTo>
                  <a:pt x="159" y="7"/>
                </a:lnTo>
                <a:lnTo>
                  <a:pt x="159" y="0"/>
                </a:lnTo>
                <a:close/>
                <a:moveTo>
                  <a:pt x="188" y="0"/>
                </a:moveTo>
                <a:lnTo>
                  <a:pt x="174" y="0"/>
                </a:lnTo>
                <a:lnTo>
                  <a:pt x="174" y="7"/>
                </a:lnTo>
                <a:lnTo>
                  <a:pt x="188" y="7"/>
                </a:lnTo>
                <a:lnTo>
                  <a:pt x="188" y="0"/>
                </a:lnTo>
                <a:close/>
                <a:moveTo>
                  <a:pt x="218" y="0"/>
                </a:moveTo>
                <a:lnTo>
                  <a:pt x="203" y="0"/>
                </a:lnTo>
                <a:lnTo>
                  <a:pt x="203" y="7"/>
                </a:lnTo>
                <a:lnTo>
                  <a:pt x="218" y="7"/>
                </a:lnTo>
                <a:lnTo>
                  <a:pt x="218" y="0"/>
                </a:lnTo>
                <a:close/>
                <a:moveTo>
                  <a:pt x="247" y="0"/>
                </a:moveTo>
                <a:lnTo>
                  <a:pt x="232" y="0"/>
                </a:lnTo>
                <a:lnTo>
                  <a:pt x="232" y="7"/>
                </a:lnTo>
                <a:lnTo>
                  <a:pt x="247" y="7"/>
                </a:lnTo>
                <a:lnTo>
                  <a:pt x="247" y="0"/>
                </a:lnTo>
                <a:close/>
                <a:moveTo>
                  <a:pt x="276" y="0"/>
                </a:moveTo>
                <a:lnTo>
                  <a:pt x="262" y="0"/>
                </a:lnTo>
                <a:lnTo>
                  <a:pt x="262" y="7"/>
                </a:lnTo>
                <a:lnTo>
                  <a:pt x="276" y="7"/>
                </a:lnTo>
                <a:lnTo>
                  <a:pt x="276" y="0"/>
                </a:lnTo>
                <a:close/>
                <a:moveTo>
                  <a:pt x="306" y="0"/>
                </a:moveTo>
                <a:lnTo>
                  <a:pt x="291" y="0"/>
                </a:lnTo>
                <a:lnTo>
                  <a:pt x="291" y="7"/>
                </a:lnTo>
                <a:lnTo>
                  <a:pt x="306" y="7"/>
                </a:lnTo>
                <a:lnTo>
                  <a:pt x="306" y="0"/>
                </a:lnTo>
                <a:close/>
                <a:moveTo>
                  <a:pt x="333" y="0"/>
                </a:moveTo>
                <a:lnTo>
                  <a:pt x="320" y="0"/>
                </a:lnTo>
                <a:lnTo>
                  <a:pt x="320" y="7"/>
                </a:lnTo>
                <a:lnTo>
                  <a:pt x="333" y="7"/>
                </a:lnTo>
                <a:lnTo>
                  <a:pt x="333" y="0"/>
                </a:lnTo>
                <a:close/>
                <a:moveTo>
                  <a:pt x="363" y="0"/>
                </a:moveTo>
                <a:lnTo>
                  <a:pt x="348" y="0"/>
                </a:lnTo>
                <a:lnTo>
                  <a:pt x="348" y="7"/>
                </a:lnTo>
                <a:lnTo>
                  <a:pt x="363" y="7"/>
                </a:lnTo>
                <a:lnTo>
                  <a:pt x="363" y="0"/>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5" name="Rectangle 129">
            <a:extLst>
              <a:ext uri="{FF2B5EF4-FFF2-40B4-BE49-F238E27FC236}">
                <a16:creationId xmlns:a16="http://schemas.microsoft.com/office/drawing/2014/main" id="{C1E84F38-A744-03DF-07D1-59C7942FD5D6}"/>
              </a:ext>
            </a:extLst>
          </p:cNvPr>
          <p:cNvSpPr>
            <a:spLocks noChangeArrowheads="1"/>
          </p:cNvSpPr>
          <p:nvPr/>
        </p:nvSpPr>
        <p:spPr bwMode="auto">
          <a:xfrm>
            <a:off x="5116812" y="2991811"/>
            <a:ext cx="10514"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6" name="Freeform 130">
            <a:extLst>
              <a:ext uri="{FF2B5EF4-FFF2-40B4-BE49-F238E27FC236}">
                <a16:creationId xmlns:a16="http://schemas.microsoft.com/office/drawing/2014/main" id="{CDE03DF4-4738-D7F0-BAFA-0F9CD26AF085}"/>
              </a:ext>
            </a:extLst>
          </p:cNvPr>
          <p:cNvSpPr>
            <a:spLocks/>
          </p:cNvSpPr>
          <p:nvPr/>
        </p:nvSpPr>
        <p:spPr bwMode="auto">
          <a:xfrm>
            <a:off x="5116812" y="2991811"/>
            <a:ext cx="10514" cy="8762"/>
          </a:xfrm>
          <a:custGeom>
            <a:avLst/>
            <a:gdLst/>
            <a:ahLst/>
            <a:cxnLst>
              <a:cxn ang="0">
                <a:pos x="7" y="0"/>
              </a:cxn>
              <a:cxn ang="0">
                <a:pos x="0" y="0"/>
              </a:cxn>
              <a:cxn ang="0">
                <a:pos x="0" y="7"/>
              </a:cxn>
              <a:cxn ang="0">
                <a:pos x="7" y="7"/>
              </a:cxn>
            </a:cxnLst>
            <a:rect l="0" t="0" r="r" b="b"/>
            <a:pathLst>
              <a:path w="7" h="7">
                <a:moveTo>
                  <a:pt x="7" y="0"/>
                </a:moveTo>
                <a:lnTo>
                  <a:pt x="0" y="0"/>
                </a:lnTo>
                <a:lnTo>
                  <a:pt x="0" y="7"/>
                </a:lnTo>
                <a:lnTo>
                  <a:pt x="7"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7" name="Freeform 131">
            <a:extLst>
              <a:ext uri="{FF2B5EF4-FFF2-40B4-BE49-F238E27FC236}">
                <a16:creationId xmlns:a16="http://schemas.microsoft.com/office/drawing/2014/main" id="{FB9E0939-3AF3-8635-2A28-FA77EC7AE168}"/>
              </a:ext>
            </a:extLst>
          </p:cNvPr>
          <p:cNvSpPr>
            <a:spLocks/>
          </p:cNvSpPr>
          <p:nvPr/>
        </p:nvSpPr>
        <p:spPr bwMode="auto">
          <a:xfrm>
            <a:off x="5100292" y="2980546"/>
            <a:ext cx="37547" cy="33796"/>
          </a:xfrm>
          <a:custGeom>
            <a:avLst/>
            <a:gdLst/>
            <a:ahLst/>
            <a:cxnLst>
              <a:cxn ang="0">
                <a:pos x="13" y="0"/>
              </a:cxn>
              <a:cxn ang="0">
                <a:pos x="13" y="0"/>
              </a:cxn>
              <a:cxn ang="0">
                <a:pos x="7" y="2"/>
              </a:cxn>
              <a:cxn ang="0">
                <a:pos x="3" y="3"/>
              </a:cxn>
              <a:cxn ang="0">
                <a:pos x="0" y="9"/>
              </a:cxn>
              <a:cxn ang="0">
                <a:pos x="0" y="13"/>
              </a:cxn>
              <a:cxn ang="0">
                <a:pos x="0" y="13"/>
              </a:cxn>
              <a:cxn ang="0">
                <a:pos x="0" y="18"/>
              </a:cxn>
              <a:cxn ang="0">
                <a:pos x="3" y="22"/>
              </a:cxn>
              <a:cxn ang="0">
                <a:pos x="7" y="25"/>
              </a:cxn>
              <a:cxn ang="0">
                <a:pos x="13" y="27"/>
              </a:cxn>
              <a:cxn ang="0">
                <a:pos x="13" y="27"/>
              </a:cxn>
              <a:cxn ang="0">
                <a:pos x="18" y="25"/>
              </a:cxn>
              <a:cxn ang="0">
                <a:pos x="22" y="22"/>
              </a:cxn>
              <a:cxn ang="0">
                <a:pos x="24" y="18"/>
              </a:cxn>
              <a:cxn ang="0">
                <a:pos x="25" y="13"/>
              </a:cxn>
              <a:cxn ang="0">
                <a:pos x="25" y="13"/>
              </a:cxn>
              <a:cxn ang="0">
                <a:pos x="24" y="9"/>
              </a:cxn>
              <a:cxn ang="0">
                <a:pos x="22" y="3"/>
              </a:cxn>
              <a:cxn ang="0">
                <a:pos x="18" y="2"/>
              </a:cxn>
              <a:cxn ang="0">
                <a:pos x="13" y="0"/>
              </a:cxn>
              <a:cxn ang="0">
                <a:pos x="13" y="0"/>
              </a:cxn>
            </a:cxnLst>
            <a:rect l="0" t="0" r="r" b="b"/>
            <a:pathLst>
              <a:path w="25" h="27">
                <a:moveTo>
                  <a:pt x="13" y="0"/>
                </a:moveTo>
                <a:lnTo>
                  <a:pt x="13" y="0"/>
                </a:lnTo>
                <a:lnTo>
                  <a:pt x="7" y="2"/>
                </a:lnTo>
                <a:lnTo>
                  <a:pt x="3" y="3"/>
                </a:lnTo>
                <a:lnTo>
                  <a:pt x="0" y="9"/>
                </a:lnTo>
                <a:lnTo>
                  <a:pt x="0" y="13"/>
                </a:lnTo>
                <a:lnTo>
                  <a:pt x="0" y="13"/>
                </a:lnTo>
                <a:lnTo>
                  <a:pt x="0" y="18"/>
                </a:lnTo>
                <a:lnTo>
                  <a:pt x="3" y="22"/>
                </a:lnTo>
                <a:lnTo>
                  <a:pt x="7" y="25"/>
                </a:lnTo>
                <a:lnTo>
                  <a:pt x="13" y="27"/>
                </a:lnTo>
                <a:lnTo>
                  <a:pt x="13" y="27"/>
                </a:lnTo>
                <a:lnTo>
                  <a:pt x="18" y="25"/>
                </a:lnTo>
                <a:lnTo>
                  <a:pt x="22" y="22"/>
                </a:lnTo>
                <a:lnTo>
                  <a:pt x="24" y="18"/>
                </a:lnTo>
                <a:lnTo>
                  <a:pt x="25" y="13"/>
                </a:lnTo>
                <a:lnTo>
                  <a:pt x="25" y="13"/>
                </a:lnTo>
                <a:lnTo>
                  <a:pt x="24" y="9"/>
                </a:lnTo>
                <a:lnTo>
                  <a:pt x="22" y="3"/>
                </a:lnTo>
                <a:lnTo>
                  <a:pt x="18" y="2"/>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8" name="Freeform 132">
            <a:extLst>
              <a:ext uri="{FF2B5EF4-FFF2-40B4-BE49-F238E27FC236}">
                <a16:creationId xmlns:a16="http://schemas.microsoft.com/office/drawing/2014/main" id="{805C6425-F75A-BF9C-EA4F-87A58813EC9C}"/>
              </a:ext>
            </a:extLst>
          </p:cNvPr>
          <p:cNvSpPr>
            <a:spLocks noEditPoints="1"/>
          </p:cNvSpPr>
          <p:nvPr/>
        </p:nvSpPr>
        <p:spPr bwMode="auto">
          <a:xfrm>
            <a:off x="5097287" y="2978042"/>
            <a:ext cx="43554" cy="38803"/>
          </a:xfrm>
          <a:custGeom>
            <a:avLst/>
            <a:gdLst/>
            <a:ahLst/>
            <a:cxnLst>
              <a:cxn ang="0">
                <a:pos x="15" y="0"/>
              </a:cxn>
              <a:cxn ang="0">
                <a:pos x="15" y="0"/>
              </a:cxn>
              <a:cxn ang="0">
                <a:pos x="20" y="2"/>
              </a:cxn>
              <a:cxn ang="0">
                <a:pos x="26" y="5"/>
              </a:cxn>
              <a:cxn ang="0">
                <a:pos x="27" y="9"/>
              </a:cxn>
              <a:cxn ang="0">
                <a:pos x="29" y="15"/>
              </a:cxn>
              <a:cxn ang="0">
                <a:pos x="29" y="15"/>
              </a:cxn>
              <a:cxn ang="0">
                <a:pos x="27" y="22"/>
              </a:cxn>
              <a:cxn ang="0">
                <a:pos x="26" y="26"/>
              </a:cxn>
              <a:cxn ang="0">
                <a:pos x="20" y="29"/>
              </a:cxn>
              <a:cxn ang="0">
                <a:pos x="15" y="31"/>
              </a:cxn>
              <a:cxn ang="0">
                <a:pos x="15" y="31"/>
              </a:cxn>
              <a:cxn ang="0">
                <a:pos x="9" y="29"/>
              </a:cxn>
              <a:cxn ang="0">
                <a:pos x="4" y="26"/>
              </a:cxn>
              <a:cxn ang="0">
                <a:pos x="0" y="22"/>
              </a:cxn>
              <a:cxn ang="0">
                <a:pos x="0" y="15"/>
              </a:cxn>
              <a:cxn ang="0">
                <a:pos x="0" y="15"/>
              </a:cxn>
              <a:cxn ang="0">
                <a:pos x="0" y="9"/>
              </a:cxn>
              <a:cxn ang="0">
                <a:pos x="4" y="5"/>
              </a:cxn>
              <a:cxn ang="0">
                <a:pos x="9" y="2"/>
              </a:cxn>
              <a:cxn ang="0">
                <a:pos x="15" y="0"/>
              </a:cxn>
              <a:cxn ang="0">
                <a:pos x="15" y="0"/>
              </a:cxn>
              <a:cxn ang="0">
                <a:pos x="16" y="0"/>
              </a:cxn>
              <a:cxn ang="0">
                <a:pos x="15" y="0"/>
              </a:cxn>
              <a:cxn ang="0">
                <a:pos x="13" y="0"/>
              </a:cxn>
              <a:cxn ang="0">
                <a:pos x="15" y="0"/>
              </a:cxn>
              <a:cxn ang="0">
                <a:pos x="15" y="0"/>
              </a:cxn>
              <a:cxn ang="0">
                <a:pos x="15" y="27"/>
              </a:cxn>
              <a:cxn ang="0">
                <a:pos x="15" y="27"/>
              </a:cxn>
              <a:cxn ang="0">
                <a:pos x="18" y="26"/>
              </a:cxn>
              <a:cxn ang="0">
                <a:pos x="22" y="24"/>
              </a:cxn>
              <a:cxn ang="0">
                <a:pos x="26" y="20"/>
              </a:cxn>
              <a:cxn ang="0">
                <a:pos x="26" y="15"/>
              </a:cxn>
              <a:cxn ang="0">
                <a:pos x="26" y="15"/>
              </a:cxn>
              <a:cxn ang="0">
                <a:pos x="26" y="11"/>
              </a:cxn>
              <a:cxn ang="0">
                <a:pos x="22" y="7"/>
              </a:cxn>
              <a:cxn ang="0">
                <a:pos x="18" y="5"/>
              </a:cxn>
              <a:cxn ang="0">
                <a:pos x="15" y="4"/>
              </a:cxn>
              <a:cxn ang="0">
                <a:pos x="15" y="4"/>
              </a:cxn>
              <a:cxn ang="0">
                <a:pos x="9" y="5"/>
              </a:cxn>
              <a:cxn ang="0">
                <a:pos x="5" y="7"/>
              </a:cxn>
              <a:cxn ang="0">
                <a:pos x="4" y="11"/>
              </a:cxn>
              <a:cxn ang="0">
                <a:pos x="4" y="15"/>
              </a:cxn>
              <a:cxn ang="0">
                <a:pos x="4" y="15"/>
              </a:cxn>
              <a:cxn ang="0">
                <a:pos x="4" y="20"/>
              </a:cxn>
              <a:cxn ang="0">
                <a:pos x="5" y="24"/>
              </a:cxn>
              <a:cxn ang="0">
                <a:pos x="9" y="26"/>
              </a:cxn>
              <a:cxn ang="0">
                <a:pos x="15" y="27"/>
              </a:cxn>
              <a:cxn ang="0">
                <a:pos x="15" y="27"/>
              </a:cxn>
              <a:cxn ang="0">
                <a:pos x="16" y="27"/>
              </a:cxn>
              <a:cxn ang="0">
                <a:pos x="15" y="27"/>
              </a:cxn>
              <a:cxn ang="0">
                <a:pos x="13" y="27"/>
              </a:cxn>
              <a:cxn ang="0">
                <a:pos x="15" y="27"/>
              </a:cxn>
              <a:cxn ang="0">
                <a:pos x="15" y="27"/>
              </a:cxn>
            </a:cxnLst>
            <a:rect l="0" t="0" r="r" b="b"/>
            <a:pathLst>
              <a:path w="29" h="31">
                <a:moveTo>
                  <a:pt x="15" y="0"/>
                </a:moveTo>
                <a:lnTo>
                  <a:pt x="15" y="0"/>
                </a:lnTo>
                <a:lnTo>
                  <a:pt x="20" y="2"/>
                </a:lnTo>
                <a:lnTo>
                  <a:pt x="26" y="5"/>
                </a:lnTo>
                <a:lnTo>
                  <a:pt x="27" y="9"/>
                </a:lnTo>
                <a:lnTo>
                  <a:pt x="29" y="15"/>
                </a:lnTo>
                <a:lnTo>
                  <a:pt x="29" y="15"/>
                </a:lnTo>
                <a:lnTo>
                  <a:pt x="27" y="22"/>
                </a:lnTo>
                <a:lnTo>
                  <a:pt x="26" y="26"/>
                </a:lnTo>
                <a:lnTo>
                  <a:pt x="20" y="29"/>
                </a:lnTo>
                <a:lnTo>
                  <a:pt x="15" y="31"/>
                </a:lnTo>
                <a:lnTo>
                  <a:pt x="15" y="31"/>
                </a:lnTo>
                <a:lnTo>
                  <a:pt x="9" y="29"/>
                </a:lnTo>
                <a:lnTo>
                  <a:pt x="4" y="26"/>
                </a:lnTo>
                <a:lnTo>
                  <a:pt x="0" y="22"/>
                </a:lnTo>
                <a:lnTo>
                  <a:pt x="0" y="15"/>
                </a:lnTo>
                <a:lnTo>
                  <a:pt x="0" y="15"/>
                </a:lnTo>
                <a:lnTo>
                  <a:pt x="0" y="9"/>
                </a:lnTo>
                <a:lnTo>
                  <a:pt x="4" y="5"/>
                </a:lnTo>
                <a:lnTo>
                  <a:pt x="9" y="2"/>
                </a:lnTo>
                <a:lnTo>
                  <a:pt x="15" y="0"/>
                </a:lnTo>
                <a:lnTo>
                  <a:pt x="15" y="0"/>
                </a:lnTo>
                <a:lnTo>
                  <a:pt x="16" y="0"/>
                </a:lnTo>
                <a:lnTo>
                  <a:pt x="15" y="0"/>
                </a:lnTo>
                <a:lnTo>
                  <a:pt x="13" y="0"/>
                </a:lnTo>
                <a:lnTo>
                  <a:pt x="15" y="0"/>
                </a:lnTo>
                <a:lnTo>
                  <a:pt x="15" y="0"/>
                </a:lnTo>
                <a:close/>
                <a:moveTo>
                  <a:pt x="15" y="27"/>
                </a:moveTo>
                <a:lnTo>
                  <a:pt x="15" y="27"/>
                </a:lnTo>
                <a:lnTo>
                  <a:pt x="18" y="26"/>
                </a:lnTo>
                <a:lnTo>
                  <a:pt x="22" y="24"/>
                </a:lnTo>
                <a:lnTo>
                  <a:pt x="26" y="20"/>
                </a:lnTo>
                <a:lnTo>
                  <a:pt x="26" y="15"/>
                </a:lnTo>
                <a:lnTo>
                  <a:pt x="26" y="15"/>
                </a:lnTo>
                <a:lnTo>
                  <a:pt x="26" y="11"/>
                </a:lnTo>
                <a:lnTo>
                  <a:pt x="22" y="7"/>
                </a:lnTo>
                <a:lnTo>
                  <a:pt x="18" y="5"/>
                </a:lnTo>
                <a:lnTo>
                  <a:pt x="15" y="4"/>
                </a:lnTo>
                <a:lnTo>
                  <a:pt x="15" y="4"/>
                </a:lnTo>
                <a:lnTo>
                  <a:pt x="9" y="5"/>
                </a:lnTo>
                <a:lnTo>
                  <a:pt x="5" y="7"/>
                </a:lnTo>
                <a:lnTo>
                  <a:pt x="4" y="11"/>
                </a:lnTo>
                <a:lnTo>
                  <a:pt x="4" y="15"/>
                </a:lnTo>
                <a:lnTo>
                  <a:pt x="4" y="15"/>
                </a:lnTo>
                <a:lnTo>
                  <a:pt x="4" y="20"/>
                </a:lnTo>
                <a:lnTo>
                  <a:pt x="5" y="24"/>
                </a:lnTo>
                <a:lnTo>
                  <a:pt x="9" y="26"/>
                </a:lnTo>
                <a:lnTo>
                  <a:pt x="15" y="27"/>
                </a:lnTo>
                <a:lnTo>
                  <a:pt x="15" y="27"/>
                </a:lnTo>
                <a:lnTo>
                  <a:pt x="16" y="27"/>
                </a:lnTo>
                <a:lnTo>
                  <a:pt x="15" y="27"/>
                </a:lnTo>
                <a:lnTo>
                  <a:pt x="13" y="27"/>
                </a:lnTo>
                <a:lnTo>
                  <a:pt x="15" y="27"/>
                </a:lnTo>
                <a:lnTo>
                  <a:pt x="15" y="27"/>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39" name="Freeform 135">
            <a:extLst>
              <a:ext uri="{FF2B5EF4-FFF2-40B4-BE49-F238E27FC236}">
                <a16:creationId xmlns:a16="http://schemas.microsoft.com/office/drawing/2014/main" id="{E96B589C-1C69-3C9A-AAFE-E328A5004BFE}"/>
              </a:ext>
            </a:extLst>
          </p:cNvPr>
          <p:cNvSpPr>
            <a:spLocks noEditPoints="1"/>
          </p:cNvSpPr>
          <p:nvPr/>
        </p:nvSpPr>
        <p:spPr bwMode="auto">
          <a:xfrm>
            <a:off x="5149853" y="3459943"/>
            <a:ext cx="545183" cy="8762"/>
          </a:xfrm>
          <a:custGeom>
            <a:avLst/>
            <a:gdLst/>
            <a:ahLst/>
            <a:cxnLst>
              <a:cxn ang="0">
                <a:pos x="0" y="0"/>
              </a:cxn>
              <a:cxn ang="0">
                <a:pos x="14" y="7"/>
              </a:cxn>
              <a:cxn ang="0">
                <a:pos x="44" y="0"/>
              </a:cxn>
              <a:cxn ang="0">
                <a:pos x="29" y="7"/>
              </a:cxn>
              <a:cxn ang="0">
                <a:pos x="44" y="0"/>
              </a:cxn>
              <a:cxn ang="0">
                <a:pos x="58" y="0"/>
              </a:cxn>
              <a:cxn ang="0">
                <a:pos x="73" y="7"/>
              </a:cxn>
              <a:cxn ang="0">
                <a:pos x="102" y="0"/>
              </a:cxn>
              <a:cxn ang="0">
                <a:pos x="88" y="7"/>
              </a:cxn>
              <a:cxn ang="0">
                <a:pos x="102" y="0"/>
              </a:cxn>
              <a:cxn ang="0">
                <a:pos x="117" y="0"/>
              </a:cxn>
              <a:cxn ang="0">
                <a:pos x="132" y="7"/>
              </a:cxn>
              <a:cxn ang="0">
                <a:pos x="159" y="0"/>
              </a:cxn>
              <a:cxn ang="0">
                <a:pos x="146" y="7"/>
              </a:cxn>
              <a:cxn ang="0">
                <a:pos x="159" y="0"/>
              </a:cxn>
              <a:cxn ang="0">
                <a:pos x="174" y="0"/>
              </a:cxn>
              <a:cxn ang="0">
                <a:pos x="188" y="7"/>
              </a:cxn>
              <a:cxn ang="0">
                <a:pos x="218" y="0"/>
              </a:cxn>
              <a:cxn ang="0">
                <a:pos x="203" y="7"/>
              </a:cxn>
              <a:cxn ang="0">
                <a:pos x="218" y="0"/>
              </a:cxn>
              <a:cxn ang="0">
                <a:pos x="232" y="0"/>
              </a:cxn>
              <a:cxn ang="0">
                <a:pos x="247" y="7"/>
              </a:cxn>
              <a:cxn ang="0">
                <a:pos x="276" y="0"/>
              </a:cxn>
              <a:cxn ang="0">
                <a:pos x="262" y="7"/>
              </a:cxn>
              <a:cxn ang="0">
                <a:pos x="276" y="0"/>
              </a:cxn>
              <a:cxn ang="0">
                <a:pos x="291" y="0"/>
              </a:cxn>
              <a:cxn ang="0">
                <a:pos x="306" y="7"/>
              </a:cxn>
              <a:cxn ang="0">
                <a:pos x="333" y="0"/>
              </a:cxn>
              <a:cxn ang="0">
                <a:pos x="320" y="7"/>
              </a:cxn>
              <a:cxn ang="0">
                <a:pos x="333" y="0"/>
              </a:cxn>
              <a:cxn ang="0">
                <a:pos x="348" y="0"/>
              </a:cxn>
              <a:cxn ang="0">
                <a:pos x="363" y="7"/>
              </a:cxn>
            </a:cxnLst>
            <a:rect l="0" t="0" r="r" b="b"/>
            <a:pathLst>
              <a:path w="363" h="7">
                <a:moveTo>
                  <a:pt x="14" y="0"/>
                </a:moveTo>
                <a:lnTo>
                  <a:pt x="0" y="0"/>
                </a:lnTo>
                <a:lnTo>
                  <a:pt x="0" y="7"/>
                </a:lnTo>
                <a:lnTo>
                  <a:pt x="14" y="7"/>
                </a:lnTo>
                <a:lnTo>
                  <a:pt x="14" y="0"/>
                </a:lnTo>
                <a:close/>
                <a:moveTo>
                  <a:pt x="44" y="0"/>
                </a:moveTo>
                <a:lnTo>
                  <a:pt x="29" y="0"/>
                </a:lnTo>
                <a:lnTo>
                  <a:pt x="29" y="7"/>
                </a:lnTo>
                <a:lnTo>
                  <a:pt x="44" y="7"/>
                </a:lnTo>
                <a:lnTo>
                  <a:pt x="44" y="0"/>
                </a:lnTo>
                <a:close/>
                <a:moveTo>
                  <a:pt x="73" y="0"/>
                </a:moveTo>
                <a:lnTo>
                  <a:pt x="58" y="0"/>
                </a:lnTo>
                <a:lnTo>
                  <a:pt x="58" y="7"/>
                </a:lnTo>
                <a:lnTo>
                  <a:pt x="73" y="7"/>
                </a:lnTo>
                <a:lnTo>
                  <a:pt x="73" y="0"/>
                </a:lnTo>
                <a:close/>
                <a:moveTo>
                  <a:pt x="102" y="0"/>
                </a:moveTo>
                <a:lnTo>
                  <a:pt x="88" y="0"/>
                </a:lnTo>
                <a:lnTo>
                  <a:pt x="88" y="7"/>
                </a:lnTo>
                <a:lnTo>
                  <a:pt x="102" y="7"/>
                </a:lnTo>
                <a:lnTo>
                  <a:pt x="102" y="0"/>
                </a:lnTo>
                <a:close/>
                <a:moveTo>
                  <a:pt x="132" y="0"/>
                </a:moveTo>
                <a:lnTo>
                  <a:pt x="117" y="0"/>
                </a:lnTo>
                <a:lnTo>
                  <a:pt x="117" y="7"/>
                </a:lnTo>
                <a:lnTo>
                  <a:pt x="132" y="7"/>
                </a:lnTo>
                <a:lnTo>
                  <a:pt x="132" y="0"/>
                </a:lnTo>
                <a:close/>
                <a:moveTo>
                  <a:pt x="159" y="0"/>
                </a:moveTo>
                <a:lnTo>
                  <a:pt x="146" y="0"/>
                </a:lnTo>
                <a:lnTo>
                  <a:pt x="146" y="7"/>
                </a:lnTo>
                <a:lnTo>
                  <a:pt x="159" y="7"/>
                </a:lnTo>
                <a:lnTo>
                  <a:pt x="159" y="0"/>
                </a:lnTo>
                <a:close/>
                <a:moveTo>
                  <a:pt x="188" y="0"/>
                </a:moveTo>
                <a:lnTo>
                  <a:pt x="174" y="0"/>
                </a:lnTo>
                <a:lnTo>
                  <a:pt x="174" y="7"/>
                </a:lnTo>
                <a:lnTo>
                  <a:pt x="188" y="7"/>
                </a:lnTo>
                <a:lnTo>
                  <a:pt x="188" y="0"/>
                </a:lnTo>
                <a:close/>
                <a:moveTo>
                  <a:pt x="218" y="0"/>
                </a:moveTo>
                <a:lnTo>
                  <a:pt x="203" y="0"/>
                </a:lnTo>
                <a:lnTo>
                  <a:pt x="203" y="7"/>
                </a:lnTo>
                <a:lnTo>
                  <a:pt x="218" y="7"/>
                </a:lnTo>
                <a:lnTo>
                  <a:pt x="218" y="0"/>
                </a:lnTo>
                <a:close/>
                <a:moveTo>
                  <a:pt x="247" y="0"/>
                </a:moveTo>
                <a:lnTo>
                  <a:pt x="232" y="0"/>
                </a:lnTo>
                <a:lnTo>
                  <a:pt x="232" y="7"/>
                </a:lnTo>
                <a:lnTo>
                  <a:pt x="247" y="7"/>
                </a:lnTo>
                <a:lnTo>
                  <a:pt x="247" y="0"/>
                </a:lnTo>
                <a:close/>
                <a:moveTo>
                  <a:pt x="276" y="0"/>
                </a:moveTo>
                <a:lnTo>
                  <a:pt x="262" y="0"/>
                </a:lnTo>
                <a:lnTo>
                  <a:pt x="262" y="7"/>
                </a:lnTo>
                <a:lnTo>
                  <a:pt x="276" y="7"/>
                </a:lnTo>
                <a:lnTo>
                  <a:pt x="276" y="0"/>
                </a:lnTo>
                <a:close/>
                <a:moveTo>
                  <a:pt x="306" y="0"/>
                </a:moveTo>
                <a:lnTo>
                  <a:pt x="291" y="0"/>
                </a:lnTo>
                <a:lnTo>
                  <a:pt x="291" y="7"/>
                </a:lnTo>
                <a:lnTo>
                  <a:pt x="306" y="7"/>
                </a:lnTo>
                <a:lnTo>
                  <a:pt x="306" y="0"/>
                </a:lnTo>
                <a:close/>
                <a:moveTo>
                  <a:pt x="333" y="0"/>
                </a:moveTo>
                <a:lnTo>
                  <a:pt x="320" y="0"/>
                </a:lnTo>
                <a:lnTo>
                  <a:pt x="320" y="7"/>
                </a:lnTo>
                <a:lnTo>
                  <a:pt x="333" y="7"/>
                </a:lnTo>
                <a:lnTo>
                  <a:pt x="333" y="0"/>
                </a:lnTo>
                <a:close/>
                <a:moveTo>
                  <a:pt x="363" y="0"/>
                </a:moveTo>
                <a:lnTo>
                  <a:pt x="348" y="0"/>
                </a:lnTo>
                <a:lnTo>
                  <a:pt x="348" y="7"/>
                </a:lnTo>
                <a:lnTo>
                  <a:pt x="363" y="7"/>
                </a:lnTo>
                <a:lnTo>
                  <a:pt x="363" y="0"/>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0" name="Rectangle 136">
            <a:extLst>
              <a:ext uri="{FF2B5EF4-FFF2-40B4-BE49-F238E27FC236}">
                <a16:creationId xmlns:a16="http://schemas.microsoft.com/office/drawing/2014/main" id="{F9E236CA-78F5-E764-5A75-875FF8FE8D8B}"/>
              </a:ext>
            </a:extLst>
          </p:cNvPr>
          <p:cNvSpPr>
            <a:spLocks noChangeArrowheads="1"/>
          </p:cNvSpPr>
          <p:nvPr/>
        </p:nvSpPr>
        <p:spPr bwMode="auto">
          <a:xfrm>
            <a:off x="5116812" y="3459943"/>
            <a:ext cx="10514" cy="8762"/>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1" name="Freeform 137">
            <a:extLst>
              <a:ext uri="{FF2B5EF4-FFF2-40B4-BE49-F238E27FC236}">
                <a16:creationId xmlns:a16="http://schemas.microsoft.com/office/drawing/2014/main" id="{CFD4AD78-B1DF-707A-E436-B1884629E1C4}"/>
              </a:ext>
            </a:extLst>
          </p:cNvPr>
          <p:cNvSpPr>
            <a:spLocks/>
          </p:cNvSpPr>
          <p:nvPr/>
        </p:nvSpPr>
        <p:spPr bwMode="auto">
          <a:xfrm>
            <a:off x="5116812" y="3459943"/>
            <a:ext cx="10514" cy="8762"/>
          </a:xfrm>
          <a:custGeom>
            <a:avLst/>
            <a:gdLst/>
            <a:ahLst/>
            <a:cxnLst>
              <a:cxn ang="0">
                <a:pos x="7" y="0"/>
              </a:cxn>
              <a:cxn ang="0">
                <a:pos x="0" y="0"/>
              </a:cxn>
              <a:cxn ang="0">
                <a:pos x="0" y="7"/>
              </a:cxn>
              <a:cxn ang="0">
                <a:pos x="7" y="7"/>
              </a:cxn>
            </a:cxnLst>
            <a:rect l="0" t="0" r="r" b="b"/>
            <a:pathLst>
              <a:path w="7" h="7">
                <a:moveTo>
                  <a:pt x="7" y="0"/>
                </a:moveTo>
                <a:lnTo>
                  <a:pt x="0" y="0"/>
                </a:lnTo>
                <a:lnTo>
                  <a:pt x="0" y="7"/>
                </a:lnTo>
                <a:lnTo>
                  <a:pt x="7"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2" name="Freeform 138">
            <a:extLst>
              <a:ext uri="{FF2B5EF4-FFF2-40B4-BE49-F238E27FC236}">
                <a16:creationId xmlns:a16="http://schemas.microsoft.com/office/drawing/2014/main" id="{8394201F-7795-404D-F139-9BD9076E3D0D}"/>
              </a:ext>
            </a:extLst>
          </p:cNvPr>
          <p:cNvSpPr>
            <a:spLocks/>
          </p:cNvSpPr>
          <p:nvPr/>
        </p:nvSpPr>
        <p:spPr bwMode="auto">
          <a:xfrm>
            <a:off x="5100292" y="3447427"/>
            <a:ext cx="37547" cy="32545"/>
          </a:xfrm>
          <a:custGeom>
            <a:avLst/>
            <a:gdLst/>
            <a:ahLst/>
            <a:cxnLst>
              <a:cxn ang="0">
                <a:pos x="13" y="0"/>
              </a:cxn>
              <a:cxn ang="0">
                <a:pos x="13" y="0"/>
              </a:cxn>
              <a:cxn ang="0">
                <a:pos x="7" y="0"/>
              </a:cxn>
              <a:cxn ang="0">
                <a:pos x="3" y="4"/>
              </a:cxn>
              <a:cxn ang="0">
                <a:pos x="0" y="8"/>
              </a:cxn>
              <a:cxn ang="0">
                <a:pos x="0" y="13"/>
              </a:cxn>
              <a:cxn ang="0">
                <a:pos x="0" y="13"/>
              </a:cxn>
              <a:cxn ang="0">
                <a:pos x="0" y="19"/>
              </a:cxn>
              <a:cxn ang="0">
                <a:pos x="3" y="22"/>
              </a:cxn>
              <a:cxn ang="0">
                <a:pos x="7" y="26"/>
              </a:cxn>
              <a:cxn ang="0">
                <a:pos x="13" y="26"/>
              </a:cxn>
              <a:cxn ang="0">
                <a:pos x="13" y="26"/>
              </a:cxn>
              <a:cxn ang="0">
                <a:pos x="18" y="26"/>
              </a:cxn>
              <a:cxn ang="0">
                <a:pos x="22" y="22"/>
              </a:cxn>
              <a:cxn ang="0">
                <a:pos x="24" y="19"/>
              </a:cxn>
              <a:cxn ang="0">
                <a:pos x="25" y="13"/>
              </a:cxn>
              <a:cxn ang="0">
                <a:pos x="25" y="13"/>
              </a:cxn>
              <a:cxn ang="0">
                <a:pos x="24" y="8"/>
              </a:cxn>
              <a:cxn ang="0">
                <a:pos x="22" y="4"/>
              </a:cxn>
              <a:cxn ang="0">
                <a:pos x="18" y="0"/>
              </a:cxn>
              <a:cxn ang="0">
                <a:pos x="13" y="0"/>
              </a:cxn>
              <a:cxn ang="0">
                <a:pos x="13" y="0"/>
              </a:cxn>
            </a:cxnLst>
            <a:rect l="0" t="0" r="r" b="b"/>
            <a:pathLst>
              <a:path w="25" h="26">
                <a:moveTo>
                  <a:pt x="13" y="0"/>
                </a:moveTo>
                <a:lnTo>
                  <a:pt x="13" y="0"/>
                </a:lnTo>
                <a:lnTo>
                  <a:pt x="7" y="0"/>
                </a:lnTo>
                <a:lnTo>
                  <a:pt x="3" y="4"/>
                </a:lnTo>
                <a:lnTo>
                  <a:pt x="0" y="8"/>
                </a:lnTo>
                <a:lnTo>
                  <a:pt x="0" y="13"/>
                </a:lnTo>
                <a:lnTo>
                  <a:pt x="0" y="13"/>
                </a:lnTo>
                <a:lnTo>
                  <a:pt x="0" y="19"/>
                </a:lnTo>
                <a:lnTo>
                  <a:pt x="3" y="22"/>
                </a:lnTo>
                <a:lnTo>
                  <a:pt x="7" y="26"/>
                </a:lnTo>
                <a:lnTo>
                  <a:pt x="13" y="26"/>
                </a:lnTo>
                <a:lnTo>
                  <a:pt x="13" y="26"/>
                </a:lnTo>
                <a:lnTo>
                  <a:pt x="18" y="26"/>
                </a:lnTo>
                <a:lnTo>
                  <a:pt x="22" y="22"/>
                </a:lnTo>
                <a:lnTo>
                  <a:pt x="24" y="19"/>
                </a:lnTo>
                <a:lnTo>
                  <a:pt x="25" y="13"/>
                </a:lnTo>
                <a:lnTo>
                  <a:pt x="25" y="13"/>
                </a:lnTo>
                <a:lnTo>
                  <a:pt x="24" y="8"/>
                </a:lnTo>
                <a:lnTo>
                  <a:pt x="22" y="4"/>
                </a:lnTo>
                <a:lnTo>
                  <a:pt x="18" y="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3" name="Freeform 139">
            <a:extLst>
              <a:ext uri="{FF2B5EF4-FFF2-40B4-BE49-F238E27FC236}">
                <a16:creationId xmlns:a16="http://schemas.microsoft.com/office/drawing/2014/main" id="{0D9D79D3-F12C-F61F-67F8-4D871D0081E3}"/>
              </a:ext>
            </a:extLst>
          </p:cNvPr>
          <p:cNvSpPr>
            <a:spLocks noEditPoints="1"/>
          </p:cNvSpPr>
          <p:nvPr/>
        </p:nvSpPr>
        <p:spPr bwMode="auto">
          <a:xfrm>
            <a:off x="5097287" y="3446175"/>
            <a:ext cx="43554" cy="36299"/>
          </a:xfrm>
          <a:custGeom>
            <a:avLst/>
            <a:gdLst/>
            <a:ahLst/>
            <a:cxnLst>
              <a:cxn ang="0">
                <a:pos x="15" y="0"/>
              </a:cxn>
              <a:cxn ang="0">
                <a:pos x="15" y="0"/>
              </a:cxn>
              <a:cxn ang="0">
                <a:pos x="20" y="0"/>
              </a:cxn>
              <a:cxn ang="0">
                <a:pos x="26" y="3"/>
              </a:cxn>
              <a:cxn ang="0">
                <a:pos x="27" y="9"/>
              </a:cxn>
              <a:cxn ang="0">
                <a:pos x="29" y="14"/>
              </a:cxn>
              <a:cxn ang="0">
                <a:pos x="29" y="14"/>
              </a:cxn>
              <a:cxn ang="0">
                <a:pos x="27" y="20"/>
              </a:cxn>
              <a:cxn ang="0">
                <a:pos x="26" y="25"/>
              </a:cxn>
              <a:cxn ang="0">
                <a:pos x="20" y="27"/>
              </a:cxn>
              <a:cxn ang="0">
                <a:pos x="15" y="29"/>
              </a:cxn>
              <a:cxn ang="0">
                <a:pos x="15" y="29"/>
              </a:cxn>
              <a:cxn ang="0">
                <a:pos x="9" y="27"/>
              </a:cxn>
              <a:cxn ang="0">
                <a:pos x="4" y="25"/>
              </a:cxn>
              <a:cxn ang="0">
                <a:pos x="0" y="20"/>
              </a:cxn>
              <a:cxn ang="0">
                <a:pos x="0" y="14"/>
              </a:cxn>
              <a:cxn ang="0">
                <a:pos x="0" y="14"/>
              </a:cxn>
              <a:cxn ang="0">
                <a:pos x="0" y="9"/>
              </a:cxn>
              <a:cxn ang="0">
                <a:pos x="4" y="3"/>
              </a:cxn>
              <a:cxn ang="0">
                <a:pos x="9" y="0"/>
              </a:cxn>
              <a:cxn ang="0">
                <a:pos x="15" y="0"/>
              </a:cxn>
              <a:cxn ang="0">
                <a:pos x="15" y="0"/>
              </a:cxn>
              <a:cxn ang="0">
                <a:pos x="16" y="0"/>
              </a:cxn>
              <a:cxn ang="0">
                <a:pos x="15" y="0"/>
              </a:cxn>
              <a:cxn ang="0">
                <a:pos x="13" y="0"/>
              </a:cxn>
              <a:cxn ang="0">
                <a:pos x="15" y="0"/>
              </a:cxn>
              <a:cxn ang="0">
                <a:pos x="15" y="0"/>
              </a:cxn>
              <a:cxn ang="0">
                <a:pos x="15" y="25"/>
              </a:cxn>
              <a:cxn ang="0">
                <a:pos x="15" y="25"/>
              </a:cxn>
              <a:cxn ang="0">
                <a:pos x="18" y="25"/>
              </a:cxn>
              <a:cxn ang="0">
                <a:pos x="22" y="22"/>
              </a:cxn>
              <a:cxn ang="0">
                <a:pos x="26" y="18"/>
              </a:cxn>
              <a:cxn ang="0">
                <a:pos x="26" y="14"/>
              </a:cxn>
              <a:cxn ang="0">
                <a:pos x="26" y="14"/>
              </a:cxn>
              <a:cxn ang="0">
                <a:pos x="26" y="11"/>
              </a:cxn>
              <a:cxn ang="0">
                <a:pos x="22" y="7"/>
              </a:cxn>
              <a:cxn ang="0">
                <a:pos x="18" y="3"/>
              </a:cxn>
              <a:cxn ang="0">
                <a:pos x="15" y="3"/>
              </a:cxn>
              <a:cxn ang="0">
                <a:pos x="15" y="3"/>
              </a:cxn>
              <a:cxn ang="0">
                <a:pos x="9" y="3"/>
              </a:cxn>
              <a:cxn ang="0">
                <a:pos x="5" y="7"/>
              </a:cxn>
              <a:cxn ang="0">
                <a:pos x="4" y="11"/>
              </a:cxn>
              <a:cxn ang="0">
                <a:pos x="4" y="14"/>
              </a:cxn>
              <a:cxn ang="0">
                <a:pos x="4" y="14"/>
              </a:cxn>
              <a:cxn ang="0">
                <a:pos x="4" y="18"/>
              </a:cxn>
              <a:cxn ang="0">
                <a:pos x="5" y="22"/>
              </a:cxn>
              <a:cxn ang="0">
                <a:pos x="9" y="25"/>
              </a:cxn>
              <a:cxn ang="0">
                <a:pos x="15" y="25"/>
              </a:cxn>
              <a:cxn ang="0">
                <a:pos x="15" y="25"/>
              </a:cxn>
              <a:cxn ang="0">
                <a:pos x="16" y="25"/>
              </a:cxn>
              <a:cxn ang="0">
                <a:pos x="15" y="25"/>
              </a:cxn>
              <a:cxn ang="0">
                <a:pos x="13" y="25"/>
              </a:cxn>
              <a:cxn ang="0">
                <a:pos x="15" y="25"/>
              </a:cxn>
              <a:cxn ang="0">
                <a:pos x="15" y="25"/>
              </a:cxn>
            </a:cxnLst>
            <a:rect l="0" t="0" r="r" b="b"/>
            <a:pathLst>
              <a:path w="29" h="29">
                <a:moveTo>
                  <a:pt x="15" y="0"/>
                </a:moveTo>
                <a:lnTo>
                  <a:pt x="15" y="0"/>
                </a:lnTo>
                <a:lnTo>
                  <a:pt x="20" y="0"/>
                </a:lnTo>
                <a:lnTo>
                  <a:pt x="26" y="3"/>
                </a:lnTo>
                <a:lnTo>
                  <a:pt x="27" y="9"/>
                </a:lnTo>
                <a:lnTo>
                  <a:pt x="29" y="14"/>
                </a:lnTo>
                <a:lnTo>
                  <a:pt x="29" y="14"/>
                </a:lnTo>
                <a:lnTo>
                  <a:pt x="27" y="20"/>
                </a:lnTo>
                <a:lnTo>
                  <a:pt x="26" y="25"/>
                </a:lnTo>
                <a:lnTo>
                  <a:pt x="20" y="27"/>
                </a:lnTo>
                <a:lnTo>
                  <a:pt x="15" y="29"/>
                </a:lnTo>
                <a:lnTo>
                  <a:pt x="15" y="29"/>
                </a:lnTo>
                <a:lnTo>
                  <a:pt x="9" y="27"/>
                </a:lnTo>
                <a:lnTo>
                  <a:pt x="4" y="25"/>
                </a:lnTo>
                <a:lnTo>
                  <a:pt x="0" y="20"/>
                </a:lnTo>
                <a:lnTo>
                  <a:pt x="0" y="14"/>
                </a:lnTo>
                <a:lnTo>
                  <a:pt x="0" y="14"/>
                </a:lnTo>
                <a:lnTo>
                  <a:pt x="0" y="9"/>
                </a:lnTo>
                <a:lnTo>
                  <a:pt x="4" y="3"/>
                </a:lnTo>
                <a:lnTo>
                  <a:pt x="9" y="0"/>
                </a:lnTo>
                <a:lnTo>
                  <a:pt x="15" y="0"/>
                </a:lnTo>
                <a:lnTo>
                  <a:pt x="15" y="0"/>
                </a:lnTo>
                <a:lnTo>
                  <a:pt x="16" y="0"/>
                </a:lnTo>
                <a:lnTo>
                  <a:pt x="15" y="0"/>
                </a:lnTo>
                <a:lnTo>
                  <a:pt x="13" y="0"/>
                </a:lnTo>
                <a:lnTo>
                  <a:pt x="15" y="0"/>
                </a:lnTo>
                <a:lnTo>
                  <a:pt x="15" y="0"/>
                </a:lnTo>
                <a:close/>
                <a:moveTo>
                  <a:pt x="15" y="25"/>
                </a:moveTo>
                <a:lnTo>
                  <a:pt x="15" y="25"/>
                </a:lnTo>
                <a:lnTo>
                  <a:pt x="18" y="25"/>
                </a:lnTo>
                <a:lnTo>
                  <a:pt x="22" y="22"/>
                </a:lnTo>
                <a:lnTo>
                  <a:pt x="26" y="18"/>
                </a:lnTo>
                <a:lnTo>
                  <a:pt x="26" y="14"/>
                </a:lnTo>
                <a:lnTo>
                  <a:pt x="26" y="14"/>
                </a:lnTo>
                <a:lnTo>
                  <a:pt x="26" y="11"/>
                </a:lnTo>
                <a:lnTo>
                  <a:pt x="22" y="7"/>
                </a:lnTo>
                <a:lnTo>
                  <a:pt x="18" y="3"/>
                </a:lnTo>
                <a:lnTo>
                  <a:pt x="15" y="3"/>
                </a:lnTo>
                <a:lnTo>
                  <a:pt x="15" y="3"/>
                </a:lnTo>
                <a:lnTo>
                  <a:pt x="9" y="3"/>
                </a:lnTo>
                <a:lnTo>
                  <a:pt x="5" y="7"/>
                </a:lnTo>
                <a:lnTo>
                  <a:pt x="4" y="11"/>
                </a:lnTo>
                <a:lnTo>
                  <a:pt x="4" y="14"/>
                </a:lnTo>
                <a:lnTo>
                  <a:pt x="4" y="14"/>
                </a:lnTo>
                <a:lnTo>
                  <a:pt x="4" y="18"/>
                </a:lnTo>
                <a:lnTo>
                  <a:pt x="5" y="22"/>
                </a:lnTo>
                <a:lnTo>
                  <a:pt x="9" y="25"/>
                </a:lnTo>
                <a:lnTo>
                  <a:pt x="15" y="25"/>
                </a:lnTo>
                <a:lnTo>
                  <a:pt x="15" y="25"/>
                </a:lnTo>
                <a:lnTo>
                  <a:pt x="16" y="25"/>
                </a:lnTo>
                <a:lnTo>
                  <a:pt x="15" y="25"/>
                </a:lnTo>
                <a:lnTo>
                  <a:pt x="13" y="25"/>
                </a:lnTo>
                <a:lnTo>
                  <a:pt x="15" y="25"/>
                </a:lnTo>
                <a:lnTo>
                  <a:pt x="15" y="25"/>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4" name="Rectangle 140">
            <a:extLst>
              <a:ext uri="{FF2B5EF4-FFF2-40B4-BE49-F238E27FC236}">
                <a16:creationId xmlns:a16="http://schemas.microsoft.com/office/drawing/2014/main" id="{29D8B51D-5F84-1691-2BE1-DDA181B83375}"/>
              </a:ext>
            </a:extLst>
          </p:cNvPr>
          <p:cNvSpPr>
            <a:spLocks noChangeArrowheads="1"/>
          </p:cNvSpPr>
          <p:nvPr/>
        </p:nvSpPr>
        <p:spPr bwMode="auto">
          <a:xfrm>
            <a:off x="5716062" y="3926824"/>
            <a:ext cx="12015"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5" name="Freeform 141">
            <a:extLst>
              <a:ext uri="{FF2B5EF4-FFF2-40B4-BE49-F238E27FC236}">
                <a16:creationId xmlns:a16="http://schemas.microsoft.com/office/drawing/2014/main" id="{8535F20D-5623-339E-5BE0-07C9C00749D1}"/>
              </a:ext>
            </a:extLst>
          </p:cNvPr>
          <p:cNvSpPr>
            <a:spLocks/>
          </p:cNvSpPr>
          <p:nvPr/>
        </p:nvSpPr>
        <p:spPr bwMode="auto">
          <a:xfrm>
            <a:off x="5716062" y="3926824"/>
            <a:ext cx="12015" cy="10014"/>
          </a:xfrm>
          <a:custGeom>
            <a:avLst/>
            <a:gdLst/>
            <a:ahLst/>
            <a:cxnLst>
              <a:cxn ang="0">
                <a:pos x="8" y="0"/>
              </a:cxn>
              <a:cxn ang="0">
                <a:pos x="0" y="0"/>
              </a:cxn>
              <a:cxn ang="0">
                <a:pos x="0" y="8"/>
              </a:cxn>
              <a:cxn ang="0">
                <a:pos x="8" y="8"/>
              </a:cxn>
            </a:cxnLst>
            <a:rect l="0" t="0" r="r" b="b"/>
            <a:pathLst>
              <a:path w="8" h="8">
                <a:moveTo>
                  <a:pt x="8" y="0"/>
                </a:moveTo>
                <a:lnTo>
                  <a:pt x="0" y="0"/>
                </a:lnTo>
                <a:lnTo>
                  <a:pt x="0" y="8"/>
                </a:lnTo>
                <a:lnTo>
                  <a:pt x="8"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6" name="Freeform 142">
            <a:extLst>
              <a:ext uri="{FF2B5EF4-FFF2-40B4-BE49-F238E27FC236}">
                <a16:creationId xmlns:a16="http://schemas.microsoft.com/office/drawing/2014/main" id="{A8B71C78-9A02-F901-2D54-DB0C6C9AF769}"/>
              </a:ext>
            </a:extLst>
          </p:cNvPr>
          <p:cNvSpPr>
            <a:spLocks noEditPoints="1"/>
          </p:cNvSpPr>
          <p:nvPr/>
        </p:nvSpPr>
        <p:spPr bwMode="auto">
          <a:xfrm>
            <a:off x="5149853" y="3926824"/>
            <a:ext cx="545183" cy="10014"/>
          </a:xfrm>
          <a:custGeom>
            <a:avLst/>
            <a:gdLst/>
            <a:ahLst/>
            <a:cxnLst>
              <a:cxn ang="0">
                <a:pos x="0" y="0"/>
              </a:cxn>
              <a:cxn ang="0">
                <a:pos x="14" y="8"/>
              </a:cxn>
              <a:cxn ang="0">
                <a:pos x="44" y="0"/>
              </a:cxn>
              <a:cxn ang="0">
                <a:pos x="29" y="8"/>
              </a:cxn>
              <a:cxn ang="0">
                <a:pos x="44" y="0"/>
              </a:cxn>
              <a:cxn ang="0">
                <a:pos x="58" y="0"/>
              </a:cxn>
              <a:cxn ang="0">
                <a:pos x="73" y="8"/>
              </a:cxn>
              <a:cxn ang="0">
                <a:pos x="102" y="0"/>
              </a:cxn>
              <a:cxn ang="0">
                <a:pos x="88" y="8"/>
              </a:cxn>
              <a:cxn ang="0">
                <a:pos x="102" y="0"/>
              </a:cxn>
              <a:cxn ang="0">
                <a:pos x="117" y="0"/>
              </a:cxn>
              <a:cxn ang="0">
                <a:pos x="132" y="8"/>
              </a:cxn>
              <a:cxn ang="0">
                <a:pos x="159" y="0"/>
              </a:cxn>
              <a:cxn ang="0">
                <a:pos x="146" y="8"/>
              </a:cxn>
              <a:cxn ang="0">
                <a:pos x="159" y="0"/>
              </a:cxn>
              <a:cxn ang="0">
                <a:pos x="174" y="0"/>
              </a:cxn>
              <a:cxn ang="0">
                <a:pos x="188" y="8"/>
              </a:cxn>
              <a:cxn ang="0">
                <a:pos x="218" y="0"/>
              </a:cxn>
              <a:cxn ang="0">
                <a:pos x="203" y="8"/>
              </a:cxn>
              <a:cxn ang="0">
                <a:pos x="218" y="0"/>
              </a:cxn>
              <a:cxn ang="0">
                <a:pos x="232" y="0"/>
              </a:cxn>
              <a:cxn ang="0">
                <a:pos x="247" y="8"/>
              </a:cxn>
              <a:cxn ang="0">
                <a:pos x="276" y="0"/>
              </a:cxn>
              <a:cxn ang="0">
                <a:pos x="262" y="8"/>
              </a:cxn>
              <a:cxn ang="0">
                <a:pos x="276" y="0"/>
              </a:cxn>
              <a:cxn ang="0">
                <a:pos x="291" y="0"/>
              </a:cxn>
              <a:cxn ang="0">
                <a:pos x="306" y="8"/>
              </a:cxn>
              <a:cxn ang="0">
                <a:pos x="333" y="0"/>
              </a:cxn>
              <a:cxn ang="0">
                <a:pos x="320" y="8"/>
              </a:cxn>
              <a:cxn ang="0">
                <a:pos x="333" y="0"/>
              </a:cxn>
              <a:cxn ang="0">
                <a:pos x="348" y="0"/>
              </a:cxn>
              <a:cxn ang="0">
                <a:pos x="363" y="8"/>
              </a:cxn>
            </a:cxnLst>
            <a:rect l="0" t="0" r="r" b="b"/>
            <a:pathLst>
              <a:path w="363" h="8">
                <a:moveTo>
                  <a:pt x="14" y="0"/>
                </a:moveTo>
                <a:lnTo>
                  <a:pt x="0" y="0"/>
                </a:lnTo>
                <a:lnTo>
                  <a:pt x="0" y="8"/>
                </a:lnTo>
                <a:lnTo>
                  <a:pt x="14" y="8"/>
                </a:lnTo>
                <a:lnTo>
                  <a:pt x="14" y="0"/>
                </a:lnTo>
                <a:close/>
                <a:moveTo>
                  <a:pt x="44" y="0"/>
                </a:moveTo>
                <a:lnTo>
                  <a:pt x="29" y="0"/>
                </a:lnTo>
                <a:lnTo>
                  <a:pt x="29" y="8"/>
                </a:lnTo>
                <a:lnTo>
                  <a:pt x="44" y="8"/>
                </a:lnTo>
                <a:lnTo>
                  <a:pt x="44" y="0"/>
                </a:lnTo>
                <a:close/>
                <a:moveTo>
                  <a:pt x="73" y="0"/>
                </a:moveTo>
                <a:lnTo>
                  <a:pt x="58" y="0"/>
                </a:lnTo>
                <a:lnTo>
                  <a:pt x="58" y="8"/>
                </a:lnTo>
                <a:lnTo>
                  <a:pt x="73" y="8"/>
                </a:lnTo>
                <a:lnTo>
                  <a:pt x="73" y="0"/>
                </a:lnTo>
                <a:close/>
                <a:moveTo>
                  <a:pt x="102" y="0"/>
                </a:moveTo>
                <a:lnTo>
                  <a:pt x="88" y="0"/>
                </a:lnTo>
                <a:lnTo>
                  <a:pt x="88" y="8"/>
                </a:lnTo>
                <a:lnTo>
                  <a:pt x="102" y="8"/>
                </a:lnTo>
                <a:lnTo>
                  <a:pt x="102" y="0"/>
                </a:lnTo>
                <a:close/>
                <a:moveTo>
                  <a:pt x="132" y="0"/>
                </a:moveTo>
                <a:lnTo>
                  <a:pt x="117" y="0"/>
                </a:lnTo>
                <a:lnTo>
                  <a:pt x="117" y="8"/>
                </a:lnTo>
                <a:lnTo>
                  <a:pt x="132" y="8"/>
                </a:lnTo>
                <a:lnTo>
                  <a:pt x="132" y="0"/>
                </a:lnTo>
                <a:close/>
                <a:moveTo>
                  <a:pt x="159" y="0"/>
                </a:moveTo>
                <a:lnTo>
                  <a:pt x="146" y="0"/>
                </a:lnTo>
                <a:lnTo>
                  <a:pt x="146" y="8"/>
                </a:lnTo>
                <a:lnTo>
                  <a:pt x="159" y="8"/>
                </a:lnTo>
                <a:lnTo>
                  <a:pt x="159" y="0"/>
                </a:lnTo>
                <a:close/>
                <a:moveTo>
                  <a:pt x="188" y="0"/>
                </a:moveTo>
                <a:lnTo>
                  <a:pt x="174" y="0"/>
                </a:lnTo>
                <a:lnTo>
                  <a:pt x="174" y="8"/>
                </a:lnTo>
                <a:lnTo>
                  <a:pt x="188" y="8"/>
                </a:lnTo>
                <a:lnTo>
                  <a:pt x="188" y="0"/>
                </a:lnTo>
                <a:close/>
                <a:moveTo>
                  <a:pt x="218" y="0"/>
                </a:moveTo>
                <a:lnTo>
                  <a:pt x="203" y="0"/>
                </a:lnTo>
                <a:lnTo>
                  <a:pt x="203" y="8"/>
                </a:lnTo>
                <a:lnTo>
                  <a:pt x="218" y="8"/>
                </a:lnTo>
                <a:lnTo>
                  <a:pt x="218" y="0"/>
                </a:lnTo>
                <a:close/>
                <a:moveTo>
                  <a:pt x="247" y="0"/>
                </a:moveTo>
                <a:lnTo>
                  <a:pt x="232" y="0"/>
                </a:lnTo>
                <a:lnTo>
                  <a:pt x="232" y="8"/>
                </a:lnTo>
                <a:lnTo>
                  <a:pt x="247" y="8"/>
                </a:lnTo>
                <a:lnTo>
                  <a:pt x="247" y="0"/>
                </a:lnTo>
                <a:close/>
                <a:moveTo>
                  <a:pt x="276" y="0"/>
                </a:moveTo>
                <a:lnTo>
                  <a:pt x="262" y="0"/>
                </a:lnTo>
                <a:lnTo>
                  <a:pt x="262" y="8"/>
                </a:lnTo>
                <a:lnTo>
                  <a:pt x="276" y="8"/>
                </a:lnTo>
                <a:lnTo>
                  <a:pt x="276" y="0"/>
                </a:lnTo>
                <a:close/>
                <a:moveTo>
                  <a:pt x="306" y="0"/>
                </a:moveTo>
                <a:lnTo>
                  <a:pt x="291" y="0"/>
                </a:lnTo>
                <a:lnTo>
                  <a:pt x="291" y="8"/>
                </a:lnTo>
                <a:lnTo>
                  <a:pt x="306" y="8"/>
                </a:lnTo>
                <a:lnTo>
                  <a:pt x="306" y="0"/>
                </a:lnTo>
                <a:close/>
                <a:moveTo>
                  <a:pt x="333" y="0"/>
                </a:moveTo>
                <a:lnTo>
                  <a:pt x="320" y="0"/>
                </a:lnTo>
                <a:lnTo>
                  <a:pt x="320" y="8"/>
                </a:lnTo>
                <a:lnTo>
                  <a:pt x="333" y="8"/>
                </a:lnTo>
                <a:lnTo>
                  <a:pt x="333" y="0"/>
                </a:lnTo>
                <a:close/>
                <a:moveTo>
                  <a:pt x="363" y="0"/>
                </a:moveTo>
                <a:lnTo>
                  <a:pt x="348" y="0"/>
                </a:lnTo>
                <a:lnTo>
                  <a:pt x="348" y="8"/>
                </a:lnTo>
                <a:lnTo>
                  <a:pt x="363" y="8"/>
                </a:lnTo>
                <a:lnTo>
                  <a:pt x="363" y="0"/>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7" name="Rectangle 143">
            <a:extLst>
              <a:ext uri="{FF2B5EF4-FFF2-40B4-BE49-F238E27FC236}">
                <a16:creationId xmlns:a16="http://schemas.microsoft.com/office/drawing/2014/main" id="{2883B35E-BF0F-51DC-233E-9FD28DB28840}"/>
              </a:ext>
            </a:extLst>
          </p:cNvPr>
          <p:cNvSpPr>
            <a:spLocks noChangeArrowheads="1"/>
          </p:cNvSpPr>
          <p:nvPr/>
        </p:nvSpPr>
        <p:spPr bwMode="auto">
          <a:xfrm>
            <a:off x="5116812" y="3926824"/>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8" name="Freeform 144">
            <a:extLst>
              <a:ext uri="{FF2B5EF4-FFF2-40B4-BE49-F238E27FC236}">
                <a16:creationId xmlns:a16="http://schemas.microsoft.com/office/drawing/2014/main" id="{4503C27F-92C4-C43F-752A-E38CAAC91A2A}"/>
              </a:ext>
            </a:extLst>
          </p:cNvPr>
          <p:cNvSpPr>
            <a:spLocks/>
          </p:cNvSpPr>
          <p:nvPr/>
        </p:nvSpPr>
        <p:spPr bwMode="auto">
          <a:xfrm>
            <a:off x="5116812" y="3926824"/>
            <a:ext cx="10514" cy="10014"/>
          </a:xfrm>
          <a:custGeom>
            <a:avLst/>
            <a:gdLst/>
            <a:ahLst/>
            <a:cxnLst>
              <a:cxn ang="0">
                <a:pos x="7" y="0"/>
              </a:cxn>
              <a:cxn ang="0">
                <a:pos x="0" y="0"/>
              </a:cxn>
              <a:cxn ang="0">
                <a:pos x="0" y="8"/>
              </a:cxn>
              <a:cxn ang="0">
                <a:pos x="7" y="8"/>
              </a:cxn>
            </a:cxnLst>
            <a:rect l="0" t="0" r="r" b="b"/>
            <a:pathLst>
              <a:path w="7" h="8">
                <a:moveTo>
                  <a:pt x="7" y="0"/>
                </a:moveTo>
                <a:lnTo>
                  <a:pt x="0" y="0"/>
                </a:lnTo>
                <a:lnTo>
                  <a:pt x="0" y="8"/>
                </a:lnTo>
                <a:lnTo>
                  <a:pt x="7"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49" name="Freeform 145">
            <a:extLst>
              <a:ext uri="{FF2B5EF4-FFF2-40B4-BE49-F238E27FC236}">
                <a16:creationId xmlns:a16="http://schemas.microsoft.com/office/drawing/2014/main" id="{3C7DE549-73EA-D4CA-DED4-E5FC4E5A43B5}"/>
              </a:ext>
            </a:extLst>
          </p:cNvPr>
          <p:cNvSpPr>
            <a:spLocks/>
          </p:cNvSpPr>
          <p:nvPr/>
        </p:nvSpPr>
        <p:spPr bwMode="auto">
          <a:xfrm>
            <a:off x="5100292" y="3913055"/>
            <a:ext cx="37547" cy="35048"/>
          </a:xfrm>
          <a:custGeom>
            <a:avLst/>
            <a:gdLst/>
            <a:ahLst/>
            <a:cxnLst>
              <a:cxn ang="0">
                <a:pos x="13" y="0"/>
              </a:cxn>
              <a:cxn ang="0">
                <a:pos x="13" y="0"/>
              </a:cxn>
              <a:cxn ang="0">
                <a:pos x="7" y="2"/>
              </a:cxn>
              <a:cxn ang="0">
                <a:pos x="3" y="4"/>
              </a:cxn>
              <a:cxn ang="0">
                <a:pos x="0" y="10"/>
              </a:cxn>
              <a:cxn ang="0">
                <a:pos x="0" y="15"/>
              </a:cxn>
              <a:cxn ang="0">
                <a:pos x="0" y="15"/>
              </a:cxn>
              <a:cxn ang="0">
                <a:pos x="0" y="19"/>
              </a:cxn>
              <a:cxn ang="0">
                <a:pos x="3" y="24"/>
              </a:cxn>
              <a:cxn ang="0">
                <a:pos x="7" y="26"/>
              </a:cxn>
              <a:cxn ang="0">
                <a:pos x="13" y="28"/>
              </a:cxn>
              <a:cxn ang="0">
                <a:pos x="13" y="28"/>
              </a:cxn>
              <a:cxn ang="0">
                <a:pos x="18" y="26"/>
              </a:cxn>
              <a:cxn ang="0">
                <a:pos x="22" y="24"/>
              </a:cxn>
              <a:cxn ang="0">
                <a:pos x="24" y="19"/>
              </a:cxn>
              <a:cxn ang="0">
                <a:pos x="25" y="15"/>
              </a:cxn>
              <a:cxn ang="0">
                <a:pos x="25" y="15"/>
              </a:cxn>
              <a:cxn ang="0">
                <a:pos x="24" y="10"/>
              </a:cxn>
              <a:cxn ang="0">
                <a:pos x="22" y="4"/>
              </a:cxn>
              <a:cxn ang="0">
                <a:pos x="18" y="2"/>
              </a:cxn>
              <a:cxn ang="0">
                <a:pos x="13" y="0"/>
              </a:cxn>
              <a:cxn ang="0">
                <a:pos x="13" y="0"/>
              </a:cxn>
            </a:cxnLst>
            <a:rect l="0" t="0" r="r" b="b"/>
            <a:pathLst>
              <a:path w="25" h="28">
                <a:moveTo>
                  <a:pt x="13" y="0"/>
                </a:moveTo>
                <a:lnTo>
                  <a:pt x="13" y="0"/>
                </a:lnTo>
                <a:lnTo>
                  <a:pt x="7" y="2"/>
                </a:lnTo>
                <a:lnTo>
                  <a:pt x="3" y="4"/>
                </a:lnTo>
                <a:lnTo>
                  <a:pt x="0" y="10"/>
                </a:lnTo>
                <a:lnTo>
                  <a:pt x="0" y="15"/>
                </a:lnTo>
                <a:lnTo>
                  <a:pt x="0" y="15"/>
                </a:lnTo>
                <a:lnTo>
                  <a:pt x="0" y="19"/>
                </a:lnTo>
                <a:lnTo>
                  <a:pt x="3" y="24"/>
                </a:lnTo>
                <a:lnTo>
                  <a:pt x="7" y="26"/>
                </a:lnTo>
                <a:lnTo>
                  <a:pt x="13" y="28"/>
                </a:lnTo>
                <a:lnTo>
                  <a:pt x="13" y="28"/>
                </a:lnTo>
                <a:lnTo>
                  <a:pt x="18" y="26"/>
                </a:lnTo>
                <a:lnTo>
                  <a:pt x="22" y="24"/>
                </a:lnTo>
                <a:lnTo>
                  <a:pt x="24" y="19"/>
                </a:lnTo>
                <a:lnTo>
                  <a:pt x="25" y="15"/>
                </a:lnTo>
                <a:lnTo>
                  <a:pt x="25" y="15"/>
                </a:lnTo>
                <a:lnTo>
                  <a:pt x="24" y="10"/>
                </a:lnTo>
                <a:lnTo>
                  <a:pt x="22" y="4"/>
                </a:lnTo>
                <a:lnTo>
                  <a:pt x="18" y="2"/>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0" name="Freeform 146">
            <a:extLst>
              <a:ext uri="{FF2B5EF4-FFF2-40B4-BE49-F238E27FC236}">
                <a16:creationId xmlns:a16="http://schemas.microsoft.com/office/drawing/2014/main" id="{C21781AC-4763-B25E-F639-3872D0E95CF3}"/>
              </a:ext>
            </a:extLst>
          </p:cNvPr>
          <p:cNvSpPr>
            <a:spLocks noEditPoints="1"/>
          </p:cNvSpPr>
          <p:nvPr/>
        </p:nvSpPr>
        <p:spPr bwMode="auto">
          <a:xfrm>
            <a:off x="5097287" y="3911804"/>
            <a:ext cx="43554" cy="38803"/>
          </a:xfrm>
          <a:custGeom>
            <a:avLst/>
            <a:gdLst/>
            <a:ahLst/>
            <a:cxnLst>
              <a:cxn ang="0">
                <a:pos x="15" y="0"/>
              </a:cxn>
              <a:cxn ang="0">
                <a:pos x="15" y="0"/>
              </a:cxn>
              <a:cxn ang="0">
                <a:pos x="20" y="1"/>
              </a:cxn>
              <a:cxn ang="0">
                <a:pos x="26" y="5"/>
              </a:cxn>
              <a:cxn ang="0">
                <a:pos x="27" y="9"/>
              </a:cxn>
              <a:cxn ang="0">
                <a:pos x="29" y="16"/>
              </a:cxn>
              <a:cxn ang="0">
                <a:pos x="29" y="16"/>
              </a:cxn>
              <a:cxn ang="0">
                <a:pos x="27" y="22"/>
              </a:cxn>
              <a:cxn ang="0">
                <a:pos x="26" y="25"/>
              </a:cxn>
              <a:cxn ang="0">
                <a:pos x="20" y="29"/>
              </a:cxn>
              <a:cxn ang="0">
                <a:pos x="15" y="31"/>
              </a:cxn>
              <a:cxn ang="0">
                <a:pos x="15" y="31"/>
              </a:cxn>
              <a:cxn ang="0">
                <a:pos x="9" y="29"/>
              </a:cxn>
              <a:cxn ang="0">
                <a:pos x="4" y="25"/>
              </a:cxn>
              <a:cxn ang="0">
                <a:pos x="0" y="22"/>
              </a:cxn>
              <a:cxn ang="0">
                <a:pos x="0" y="16"/>
              </a:cxn>
              <a:cxn ang="0">
                <a:pos x="0" y="16"/>
              </a:cxn>
              <a:cxn ang="0">
                <a:pos x="0" y="9"/>
              </a:cxn>
              <a:cxn ang="0">
                <a:pos x="4" y="5"/>
              </a:cxn>
              <a:cxn ang="0">
                <a:pos x="9" y="1"/>
              </a:cxn>
              <a:cxn ang="0">
                <a:pos x="15" y="0"/>
              </a:cxn>
              <a:cxn ang="0">
                <a:pos x="15" y="0"/>
              </a:cxn>
              <a:cxn ang="0">
                <a:pos x="16" y="0"/>
              </a:cxn>
              <a:cxn ang="0">
                <a:pos x="15" y="0"/>
              </a:cxn>
              <a:cxn ang="0">
                <a:pos x="13" y="0"/>
              </a:cxn>
              <a:cxn ang="0">
                <a:pos x="15" y="0"/>
              </a:cxn>
              <a:cxn ang="0">
                <a:pos x="15" y="0"/>
              </a:cxn>
              <a:cxn ang="0">
                <a:pos x="15" y="27"/>
              </a:cxn>
              <a:cxn ang="0">
                <a:pos x="15" y="27"/>
              </a:cxn>
              <a:cxn ang="0">
                <a:pos x="18" y="25"/>
              </a:cxn>
              <a:cxn ang="0">
                <a:pos x="22" y="23"/>
              </a:cxn>
              <a:cxn ang="0">
                <a:pos x="26" y="20"/>
              </a:cxn>
              <a:cxn ang="0">
                <a:pos x="26" y="16"/>
              </a:cxn>
              <a:cxn ang="0">
                <a:pos x="26" y="16"/>
              </a:cxn>
              <a:cxn ang="0">
                <a:pos x="26" y="11"/>
              </a:cxn>
              <a:cxn ang="0">
                <a:pos x="22" y="7"/>
              </a:cxn>
              <a:cxn ang="0">
                <a:pos x="18" y="5"/>
              </a:cxn>
              <a:cxn ang="0">
                <a:pos x="15" y="3"/>
              </a:cxn>
              <a:cxn ang="0">
                <a:pos x="15" y="3"/>
              </a:cxn>
              <a:cxn ang="0">
                <a:pos x="9" y="5"/>
              </a:cxn>
              <a:cxn ang="0">
                <a:pos x="5" y="7"/>
              </a:cxn>
              <a:cxn ang="0">
                <a:pos x="4" y="11"/>
              </a:cxn>
              <a:cxn ang="0">
                <a:pos x="4" y="16"/>
              </a:cxn>
              <a:cxn ang="0">
                <a:pos x="4" y="16"/>
              </a:cxn>
              <a:cxn ang="0">
                <a:pos x="4" y="20"/>
              </a:cxn>
              <a:cxn ang="0">
                <a:pos x="5" y="23"/>
              </a:cxn>
              <a:cxn ang="0">
                <a:pos x="9" y="25"/>
              </a:cxn>
              <a:cxn ang="0">
                <a:pos x="15" y="27"/>
              </a:cxn>
              <a:cxn ang="0">
                <a:pos x="15" y="27"/>
              </a:cxn>
              <a:cxn ang="0">
                <a:pos x="16" y="27"/>
              </a:cxn>
              <a:cxn ang="0">
                <a:pos x="15" y="27"/>
              </a:cxn>
              <a:cxn ang="0">
                <a:pos x="13" y="27"/>
              </a:cxn>
              <a:cxn ang="0">
                <a:pos x="15" y="27"/>
              </a:cxn>
              <a:cxn ang="0">
                <a:pos x="15" y="27"/>
              </a:cxn>
            </a:cxnLst>
            <a:rect l="0" t="0" r="r" b="b"/>
            <a:pathLst>
              <a:path w="29" h="31">
                <a:moveTo>
                  <a:pt x="15" y="0"/>
                </a:moveTo>
                <a:lnTo>
                  <a:pt x="15" y="0"/>
                </a:lnTo>
                <a:lnTo>
                  <a:pt x="20" y="1"/>
                </a:lnTo>
                <a:lnTo>
                  <a:pt x="26" y="5"/>
                </a:lnTo>
                <a:lnTo>
                  <a:pt x="27" y="9"/>
                </a:lnTo>
                <a:lnTo>
                  <a:pt x="29" y="16"/>
                </a:lnTo>
                <a:lnTo>
                  <a:pt x="29" y="16"/>
                </a:lnTo>
                <a:lnTo>
                  <a:pt x="27" y="22"/>
                </a:lnTo>
                <a:lnTo>
                  <a:pt x="26" y="25"/>
                </a:lnTo>
                <a:lnTo>
                  <a:pt x="20" y="29"/>
                </a:lnTo>
                <a:lnTo>
                  <a:pt x="15" y="31"/>
                </a:lnTo>
                <a:lnTo>
                  <a:pt x="15" y="31"/>
                </a:lnTo>
                <a:lnTo>
                  <a:pt x="9" y="29"/>
                </a:lnTo>
                <a:lnTo>
                  <a:pt x="4" y="25"/>
                </a:lnTo>
                <a:lnTo>
                  <a:pt x="0" y="22"/>
                </a:lnTo>
                <a:lnTo>
                  <a:pt x="0" y="16"/>
                </a:lnTo>
                <a:lnTo>
                  <a:pt x="0" y="16"/>
                </a:lnTo>
                <a:lnTo>
                  <a:pt x="0" y="9"/>
                </a:lnTo>
                <a:lnTo>
                  <a:pt x="4" y="5"/>
                </a:lnTo>
                <a:lnTo>
                  <a:pt x="9" y="1"/>
                </a:lnTo>
                <a:lnTo>
                  <a:pt x="15" y="0"/>
                </a:lnTo>
                <a:lnTo>
                  <a:pt x="15" y="0"/>
                </a:lnTo>
                <a:lnTo>
                  <a:pt x="16" y="0"/>
                </a:lnTo>
                <a:lnTo>
                  <a:pt x="15" y="0"/>
                </a:lnTo>
                <a:lnTo>
                  <a:pt x="13" y="0"/>
                </a:lnTo>
                <a:lnTo>
                  <a:pt x="15" y="0"/>
                </a:lnTo>
                <a:lnTo>
                  <a:pt x="15" y="0"/>
                </a:lnTo>
                <a:close/>
                <a:moveTo>
                  <a:pt x="15" y="27"/>
                </a:moveTo>
                <a:lnTo>
                  <a:pt x="15" y="27"/>
                </a:lnTo>
                <a:lnTo>
                  <a:pt x="18" y="25"/>
                </a:lnTo>
                <a:lnTo>
                  <a:pt x="22" y="23"/>
                </a:lnTo>
                <a:lnTo>
                  <a:pt x="26" y="20"/>
                </a:lnTo>
                <a:lnTo>
                  <a:pt x="26" y="16"/>
                </a:lnTo>
                <a:lnTo>
                  <a:pt x="26" y="16"/>
                </a:lnTo>
                <a:lnTo>
                  <a:pt x="26" y="11"/>
                </a:lnTo>
                <a:lnTo>
                  <a:pt x="22" y="7"/>
                </a:lnTo>
                <a:lnTo>
                  <a:pt x="18" y="5"/>
                </a:lnTo>
                <a:lnTo>
                  <a:pt x="15" y="3"/>
                </a:lnTo>
                <a:lnTo>
                  <a:pt x="15" y="3"/>
                </a:lnTo>
                <a:lnTo>
                  <a:pt x="9" y="5"/>
                </a:lnTo>
                <a:lnTo>
                  <a:pt x="5" y="7"/>
                </a:lnTo>
                <a:lnTo>
                  <a:pt x="4" y="11"/>
                </a:lnTo>
                <a:lnTo>
                  <a:pt x="4" y="16"/>
                </a:lnTo>
                <a:lnTo>
                  <a:pt x="4" y="16"/>
                </a:lnTo>
                <a:lnTo>
                  <a:pt x="4" y="20"/>
                </a:lnTo>
                <a:lnTo>
                  <a:pt x="5" y="23"/>
                </a:lnTo>
                <a:lnTo>
                  <a:pt x="9" y="25"/>
                </a:lnTo>
                <a:lnTo>
                  <a:pt x="15" y="27"/>
                </a:lnTo>
                <a:lnTo>
                  <a:pt x="15" y="27"/>
                </a:lnTo>
                <a:lnTo>
                  <a:pt x="16" y="27"/>
                </a:lnTo>
                <a:lnTo>
                  <a:pt x="15" y="27"/>
                </a:lnTo>
                <a:lnTo>
                  <a:pt x="13" y="27"/>
                </a:lnTo>
                <a:lnTo>
                  <a:pt x="15" y="27"/>
                </a:lnTo>
                <a:lnTo>
                  <a:pt x="15" y="27"/>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1" name="Rectangle 147">
            <a:extLst>
              <a:ext uri="{FF2B5EF4-FFF2-40B4-BE49-F238E27FC236}">
                <a16:creationId xmlns:a16="http://schemas.microsoft.com/office/drawing/2014/main" id="{7FC680DC-D5D9-6537-AA32-4E72CE7901D2}"/>
              </a:ext>
            </a:extLst>
          </p:cNvPr>
          <p:cNvSpPr>
            <a:spLocks noChangeArrowheads="1"/>
          </p:cNvSpPr>
          <p:nvPr/>
        </p:nvSpPr>
        <p:spPr bwMode="auto">
          <a:xfrm>
            <a:off x="5716062" y="4392453"/>
            <a:ext cx="12015"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2" name="Freeform 148">
            <a:extLst>
              <a:ext uri="{FF2B5EF4-FFF2-40B4-BE49-F238E27FC236}">
                <a16:creationId xmlns:a16="http://schemas.microsoft.com/office/drawing/2014/main" id="{0D55E430-4DD2-BDEF-2798-8AB374414AE4}"/>
              </a:ext>
            </a:extLst>
          </p:cNvPr>
          <p:cNvSpPr>
            <a:spLocks/>
          </p:cNvSpPr>
          <p:nvPr/>
        </p:nvSpPr>
        <p:spPr bwMode="auto">
          <a:xfrm>
            <a:off x="5716062" y="4392453"/>
            <a:ext cx="12015" cy="10014"/>
          </a:xfrm>
          <a:custGeom>
            <a:avLst/>
            <a:gdLst/>
            <a:ahLst/>
            <a:cxnLst>
              <a:cxn ang="0">
                <a:pos x="8" y="0"/>
              </a:cxn>
              <a:cxn ang="0">
                <a:pos x="0" y="0"/>
              </a:cxn>
              <a:cxn ang="0">
                <a:pos x="0" y="8"/>
              </a:cxn>
              <a:cxn ang="0">
                <a:pos x="8" y="8"/>
              </a:cxn>
            </a:cxnLst>
            <a:rect l="0" t="0" r="r" b="b"/>
            <a:pathLst>
              <a:path w="8" h="8">
                <a:moveTo>
                  <a:pt x="8" y="0"/>
                </a:moveTo>
                <a:lnTo>
                  <a:pt x="0" y="0"/>
                </a:lnTo>
                <a:lnTo>
                  <a:pt x="0" y="8"/>
                </a:lnTo>
                <a:lnTo>
                  <a:pt x="8"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3" name="Freeform 149">
            <a:extLst>
              <a:ext uri="{FF2B5EF4-FFF2-40B4-BE49-F238E27FC236}">
                <a16:creationId xmlns:a16="http://schemas.microsoft.com/office/drawing/2014/main" id="{E643E6C6-03AF-3487-DB78-D24D9B5E5569}"/>
              </a:ext>
            </a:extLst>
          </p:cNvPr>
          <p:cNvSpPr>
            <a:spLocks noEditPoints="1"/>
          </p:cNvSpPr>
          <p:nvPr/>
        </p:nvSpPr>
        <p:spPr bwMode="auto">
          <a:xfrm>
            <a:off x="5149853" y="4392453"/>
            <a:ext cx="545183" cy="10014"/>
          </a:xfrm>
          <a:custGeom>
            <a:avLst/>
            <a:gdLst/>
            <a:ahLst/>
            <a:cxnLst>
              <a:cxn ang="0">
                <a:pos x="0" y="0"/>
              </a:cxn>
              <a:cxn ang="0">
                <a:pos x="14" y="8"/>
              </a:cxn>
              <a:cxn ang="0">
                <a:pos x="44" y="0"/>
              </a:cxn>
              <a:cxn ang="0">
                <a:pos x="29" y="8"/>
              </a:cxn>
              <a:cxn ang="0">
                <a:pos x="44" y="0"/>
              </a:cxn>
              <a:cxn ang="0">
                <a:pos x="58" y="0"/>
              </a:cxn>
              <a:cxn ang="0">
                <a:pos x="73" y="8"/>
              </a:cxn>
              <a:cxn ang="0">
                <a:pos x="102" y="0"/>
              </a:cxn>
              <a:cxn ang="0">
                <a:pos x="88" y="8"/>
              </a:cxn>
              <a:cxn ang="0">
                <a:pos x="102" y="0"/>
              </a:cxn>
              <a:cxn ang="0">
                <a:pos x="117" y="0"/>
              </a:cxn>
              <a:cxn ang="0">
                <a:pos x="132" y="8"/>
              </a:cxn>
              <a:cxn ang="0">
                <a:pos x="159" y="0"/>
              </a:cxn>
              <a:cxn ang="0">
                <a:pos x="146" y="8"/>
              </a:cxn>
              <a:cxn ang="0">
                <a:pos x="159" y="0"/>
              </a:cxn>
              <a:cxn ang="0">
                <a:pos x="174" y="0"/>
              </a:cxn>
              <a:cxn ang="0">
                <a:pos x="188" y="8"/>
              </a:cxn>
              <a:cxn ang="0">
                <a:pos x="218" y="0"/>
              </a:cxn>
              <a:cxn ang="0">
                <a:pos x="203" y="8"/>
              </a:cxn>
              <a:cxn ang="0">
                <a:pos x="218" y="0"/>
              </a:cxn>
              <a:cxn ang="0">
                <a:pos x="232" y="0"/>
              </a:cxn>
              <a:cxn ang="0">
                <a:pos x="247" y="8"/>
              </a:cxn>
              <a:cxn ang="0">
                <a:pos x="276" y="0"/>
              </a:cxn>
              <a:cxn ang="0">
                <a:pos x="262" y="8"/>
              </a:cxn>
              <a:cxn ang="0">
                <a:pos x="276" y="0"/>
              </a:cxn>
              <a:cxn ang="0">
                <a:pos x="291" y="0"/>
              </a:cxn>
              <a:cxn ang="0">
                <a:pos x="306" y="8"/>
              </a:cxn>
              <a:cxn ang="0">
                <a:pos x="333" y="0"/>
              </a:cxn>
              <a:cxn ang="0">
                <a:pos x="320" y="8"/>
              </a:cxn>
              <a:cxn ang="0">
                <a:pos x="333" y="0"/>
              </a:cxn>
              <a:cxn ang="0">
                <a:pos x="348" y="0"/>
              </a:cxn>
              <a:cxn ang="0">
                <a:pos x="363" y="8"/>
              </a:cxn>
            </a:cxnLst>
            <a:rect l="0" t="0" r="r" b="b"/>
            <a:pathLst>
              <a:path w="363" h="8">
                <a:moveTo>
                  <a:pt x="14" y="0"/>
                </a:moveTo>
                <a:lnTo>
                  <a:pt x="0" y="0"/>
                </a:lnTo>
                <a:lnTo>
                  <a:pt x="0" y="8"/>
                </a:lnTo>
                <a:lnTo>
                  <a:pt x="14" y="8"/>
                </a:lnTo>
                <a:lnTo>
                  <a:pt x="14" y="0"/>
                </a:lnTo>
                <a:close/>
                <a:moveTo>
                  <a:pt x="44" y="0"/>
                </a:moveTo>
                <a:lnTo>
                  <a:pt x="29" y="0"/>
                </a:lnTo>
                <a:lnTo>
                  <a:pt x="29" y="8"/>
                </a:lnTo>
                <a:lnTo>
                  <a:pt x="44" y="8"/>
                </a:lnTo>
                <a:lnTo>
                  <a:pt x="44" y="0"/>
                </a:lnTo>
                <a:close/>
                <a:moveTo>
                  <a:pt x="73" y="0"/>
                </a:moveTo>
                <a:lnTo>
                  <a:pt x="58" y="0"/>
                </a:lnTo>
                <a:lnTo>
                  <a:pt x="58" y="8"/>
                </a:lnTo>
                <a:lnTo>
                  <a:pt x="73" y="8"/>
                </a:lnTo>
                <a:lnTo>
                  <a:pt x="73" y="0"/>
                </a:lnTo>
                <a:close/>
                <a:moveTo>
                  <a:pt x="102" y="0"/>
                </a:moveTo>
                <a:lnTo>
                  <a:pt x="88" y="0"/>
                </a:lnTo>
                <a:lnTo>
                  <a:pt x="88" y="8"/>
                </a:lnTo>
                <a:lnTo>
                  <a:pt x="102" y="8"/>
                </a:lnTo>
                <a:lnTo>
                  <a:pt x="102" y="0"/>
                </a:lnTo>
                <a:close/>
                <a:moveTo>
                  <a:pt x="132" y="0"/>
                </a:moveTo>
                <a:lnTo>
                  <a:pt x="117" y="0"/>
                </a:lnTo>
                <a:lnTo>
                  <a:pt x="117" y="8"/>
                </a:lnTo>
                <a:lnTo>
                  <a:pt x="132" y="8"/>
                </a:lnTo>
                <a:lnTo>
                  <a:pt x="132" y="0"/>
                </a:lnTo>
                <a:close/>
                <a:moveTo>
                  <a:pt x="159" y="0"/>
                </a:moveTo>
                <a:lnTo>
                  <a:pt x="146" y="0"/>
                </a:lnTo>
                <a:lnTo>
                  <a:pt x="146" y="8"/>
                </a:lnTo>
                <a:lnTo>
                  <a:pt x="159" y="8"/>
                </a:lnTo>
                <a:lnTo>
                  <a:pt x="159" y="0"/>
                </a:lnTo>
                <a:close/>
                <a:moveTo>
                  <a:pt x="188" y="0"/>
                </a:moveTo>
                <a:lnTo>
                  <a:pt x="174" y="0"/>
                </a:lnTo>
                <a:lnTo>
                  <a:pt x="174" y="8"/>
                </a:lnTo>
                <a:lnTo>
                  <a:pt x="188" y="8"/>
                </a:lnTo>
                <a:lnTo>
                  <a:pt x="188" y="0"/>
                </a:lnTo>
                <a:close/>
                <a:moveTo>
                  <a:pt x="218" y="0"/>
                </a:moveTo>
                <a:lnTo>
                  <a:pt x="203" y="0"/>
                </a:lnTo>
                <a:lnTo>
                  <a:pt x="203" y="8"/>
                </a:lnTo>
                <a:lnTo>
                  <a:pt x="218" y="8"/>
                </a:lnTo>
                <a:lnTo>
                  <a:pt x="218" y="0"/>
                </a:lnTo>
                <a:close/>
                <a:moveTo>
                  <a:pt x="247" y="0"/>
                </a:moveTo>
                <a:lnTo>
                  <a:pt x="232" y="0"/>
                </a:lnTo>
                <a:lnTo>
                  <a:pt x="232" y="8"/>
                </a:lnTo>
                <a:lnTo>
                  <a:pt x="247" y="8"/>
                </a:lnTo>
                <a:lnTo>
                  <a:pt x="247" y="0"/>
                </a:lnTo>
                <a:close/>
                <a:moveTo>
                  <a:pt x="276" y="0"/>
                </a:moveTo>
                <a:lnTo>
                  <a:pt x="262" y="0"/>
                </a:lnTo>
                <a:lnTo>
                  <a:pt x="262" y="8"/>
                </a:lnTo>
                <a:lnTo>
                  <a:pt x="276" y="8"/>
                </a:lnTo>
                <a:lnTo>
                  <a:pt x="276" y="0"/>
                </a:lnTo>
                <a:close/>
                <a:moveTo>
                  <a:pt x="306" y="0"/>
                </a:moveTo>
                <a:lnTo>
                  <a:pt x="291" y="0"/>
                </a:lnTo>
                <a:lnTo>
                  <a:pt x="291" y="8"/>
                </a:lnTo>
                <a:lnTo>
                  <a:pt x="306" y="8"/>
                </a:lnTo>
                <a:lnTo>
                  <a:pt x="306" y="0"/>
                </a:lnTo>
                <a:close/>
                <a:moveTo>
                  <a:pt x="333" y="0"/>
                </a:moveTo>
                <a:lnTo>
                  <a:pt x="320" y="0"/>
                </a:lnTo>
                <a:lnTo>
                  <a:pt x="320" y="8"/>
                </a:lnTo>
                <a:lnTo>
                  <a:pt x="333" y="8"/>
                </a:lnTo>
                <a:lnTo>
                  <a:pt x="333" y="0"/>
                </a:lnTo>
                <a:close/>
                <a:moveTo>
                  <a:pt x="363" y="0"/>
                </a:moveTo>
                <a:lnTo>
                  <a:pt x="348" y="0"/>
                </a:lnTo>
                <a:lnTo>
                  <a:pt x="348" y="8"/>
                </a:lnTo>
                <a:lnTo>
                  <a:pt x="363" y="8"/>
                </a:lnTo>
                <a:lnTo>
                  <a:pt x="363" y="0"/>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4" name="Rectangle 150">
            <a:extLst>
              <a:ext uri="{FF2B5EF4-FFF2-40B4-BE49-F238E27FC236}">
                <a16:creationId xmlns:a16="http://schemas.microsoft.com/office/drawing/2014/main" id="{76AAD499-C0E1-43A0-B93C-30EF6C111AAC}"/>
              </a:ext>
            </a:extLst>
          </p:cNvPr>
          <p:cNvSpPr>
            <a:spLocks noChangeArrowheads="1"/>
          </p:cNvSpPr>
          <p:nvPr/>
        </p:nvSpPr>
        <p:spPr bwMode="auto">
          <a:xfrm>
            <a:off x="5116812" y="4392453"/>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5" name="Freeform 151">
            <a:extLst>
              <a:ext uri="{FF2B5EF4-FFF2-40B4-BE49-F238E27FC236}">
                <a16:creationId xmlns:a16="http://schemas.microsoft.com/office/drawing/2014/main" id="{7D19EAB7-082C-66A2-F6C1-D99C3CDAE0FE}"/>
              </a:ext>
            </a:extLst>
          </p:cNvPr>
          <p:cNvSpPr>
            <a:spLocks/>
          </p:cNvSpPr>
          <p:nvPr/>
        </p:nvSpPr>
        <p:spPr bwMode="auto">
          <a:xfrm>
            <a:off x="5116812" y="4392453"/>
            <a:ext cx="10514" cy="10014"/>
          </a:xfrm>
          <a:custGeom>
            <a:avLst/>
            <a:gdLst/>
            <a:ahLst/>
            <a:cxnLst>
              <a:cxn ang="0">
                <a:pos x="7" y="0"/>
              </a:cxn>
              <a:cxn ang="0">
                <a:pos x="0" y="0"/>
              </a:cxn>
              <a:cxn ang="0">
                <a:pos x="0" y="8"/>
              </a:cxn>
              <a:cxn ang="0">
                <a:pos x="7" y="8"/>
              </a:cxn>
            </a:cxnLst>
            <a:rect l="0" t="0" r="r" b="b"/>
            <a:pathLst>
              <a:path w="7" h="8">
                <a:moveTo>
                  <a:pt x="7" y="0"/>
                </a:moveTo>
                <a:lnTo>
                  <a:pt x="0" y="0"/>
                </a:lnTo>
                <a:lnTo>
                  <a:pt x="0" y="8"/>
                </a:lnTo>
                <a:lnTo>
                  <a:pt x="7"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6" name="Freeform 152">
            <a:extLst>
              <a:ext uri="{FF2B5EF4-FFF2-40B4-BE49-F238E27FC236}">
                <a16:creationId xmlns:a16="http://schemas.microsoft.com/office/drawing/2014/main" id="{29C3F93E-1A6E-36CC-34C0-B5F7F5AFA2BE}"/>
              </a:ext>
            </a:extLst>
          </p:cNvPr>
          <p:cNvSpPr>
            <a:spLocks/>
          </p:cNvSpPr>
          <p:nvPr/>
        </p:nvSpPr>
        <p:spPr bwMode="auto">
          <a:xfrm>
            <a:off x="5100292" y="4381187"/>
            <a:ext cx="37547" cy="32545"/>
          </a:xfrm>
          <a:custGeom>
            <a:avLst/>
            <a:gdLst/>
            <a:ahLst/>
            <a:cxnLst>
              <a:cxn ang="0">
                <a:pos x="13" y="0"/>
              </a:cxn>
              <a:cxn ang="0">
                <a:pos x="13" y="0"/>
              </a:cxn>
              <a:cxn ang="0">
                <a:pos x="7" y="2"/>
              </a:cxn>
              <a:cxn ang="0">
                <a:pos x="3" y="4"/>
              </a:cxn>
              <a:cxn ang="0">
                <a:pos x="0" y="8"/>
              </a:cxn>
              <a:cxn ang="0">
                <a:pos x="0" y="13"/>
              </a:cxn>
              <a:cxn ang="0">
                <a:pos x="0" y="13"/>
              </a:cxn>
              <a:cxn ang="0">
                <a:pos x="0" y="19"/>
              </a:cxn>
              <a:cxn ang="0">
                <a:pos x="3" y="22"/>
              </a:cxn>
              <a:cxn ang="0">
                <a:pos x="7" y="26"/>
              </a:cxn>
              <a:cxn ang="0">
                <a:pos x="13" y="26"/>
              </a:cxn>
              <a:cxn ang="0">
                <a:pos x="13" y="26"/>
              </a:cxn>
              <a:cxn ang="0">
                <a:pos x="18" y="26"/>
              </a:cxn>
              <a:cxn ang="0">
                <a:pos x="22" y="22"/>
              </a:cxn>
              <a:cxn ang="0">
                <a:pos x="24" y="19"/>
              </a:cxn>
              <a:cxn ang="0">
                <a:pos x="25" y="13"/>
              </a:cxn>
              <a:cxn ang="0">
                <a:pos x="25" y="13"/>
              </a:cxn>
              <a:cxn ang="0">
                <a:pos x="24" y="8"/>
              </a:cxn>
              <a:cxn ang="0">
                <a:pos x="22" y="4"/>
              </a:cxn>
              <a:cxn ang="0">
                <a:pos x="18" y="2"/>
              </a:cxn>
              <a:cxn ang="0">
                <a:pos x="13" y="0"/>
              </a:cxn>
              <a:cxn ang="0">
                <a:pos x="13" y="0"/>
              </a:cxn>
            </a:cxnLst>
            <a:rect l="0" t="0" r="r" b="b"/>
            <a:pathLst>
              <a:path w="25" h="26">
                <a:moveTo>
                  <a:pt x="13" y="0"/>
                </a:moveTo>
                <a:lnTo>
                  <a:pt x="13" y="0"/>
                </a:lnTo>
                <a:lnTo>
                  <a:pt x="7" y="2"/>
                </a:lnTo>
                <a:lnTo>
                  <a:pt x="3" y="4"/>
                </a:lnTo>
                <a:lnTo>
                  <a:pt x="0" y="8"/>
                </a:lnTo>
                <a:lnTo>
                  <a:pt x="0" y="13"/>
                </a:lnTo>
                <a:lnTo>
                  <a:pt x="0" y="13"/>
                </a:lnTo>
                <a:lnTo>
                  <a:pt x="0" y="19"/>
                </a:lnTo>
                <a:lnTo>
                  <a:pt x="3" y="22"/>
                </a:lnTo>
                <a:lnTo>
                  <a:pt x="7" y="26"/>
                </a:lnTo>
                <a:lnTo>
                  <a:pt x="13" y="26"/>
                </a:lnTo>
                <a:lnTo>
                  <a:pt x="13" y="26"/>
                </a:lnTo>
                <a:lnTo>
                  <a:pt x="18" y="26"/>
                </a:lnTo>
                <a:lnTo>
                  <a:pt x="22" y="22"/>
                </a:lnTo>
                <a:lnTo>
                  <a:pt x="24" y="19"/>
                </a:lnTo>
                <a:lnTo>
                  <a:pt x="25" y="13"/>
                </a:lnTo>
                <a:lnTo>
                  <a:pt x="25" y="13"/>
                </a:lnTo>
                <a:lnTo>
                  <a:pt x="24" y="8"/>
                </a:lnTo>
                <a:lnTo>
                  <a:pt x="22" y="4"/>
                </a:lnTo>
                <a:lnTo>
                  <a:pt x="18" y="2"/>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7" name="Freeform 153">
            <a:extLst>
              <a:ext uri="{FF2B5EF4-FFF2-40B4-BE49-F238E27FC236}">
                <a16:creationId xmlns:a16="http://schemas.microsoft.com/office/drawing/2014/main" id="{8976FBBD-AF57-F030-EDDE-F2E428159E69}"/>
              </a:ext>
            </a:extLst>
          </p:cNvPr>
          <p:cNvSpPr>
            <a:spLocks noEditPoints="1"/>
          </p:cNvSpPr>
          <p:nvPr/>
        </p:nvSpPr>
        <p:spPr bwMode="auto">
          <a:xfrm>
            <a:off x="5097287" y="4378684"/>
            <a:ext cx="43554" cy="37550"/>
          </a:xfrm>
          <a:custGeom>
            <a:avLst/>
            <a:gdLst/>
            <a:ahLst/>
            <a:cxnLst>
              <a:cxn ang="0">
                <a:pos x="15" y="0"/>
              </a:cxn>
              <a:cxn ang="0">
                <a:pos x="15" y="0"/>
              </a:cxn>
              <a:cxn ang="0">
                <a:pos x="20" y="2"/>
              </a:cxn>
              <a:cxn ang="0">
                <a:pos x="26" y="4"/>
              </a:cxn>
              <a:cxn ang="0">
                <a:pos x="27" y="10"/>
              </a:cxn>
              <a:cxn ang="0">
                <a:pos x="29" y="15"/>
              </a:cxn>
              <a:cxn ang="0">
                <a:pos x="29" y="15"/>
              </a:cxn>
              <a:cxn ang="0">
                <a:pos x="27" y="21"/>
              </a:cxn>
              <a:cxn ang="0">
                <a:pos x="26" y="26"/>
              </a:cxn>
              <a:cxn ang="0">
                <a:pos x="20" y="30"/>
              </a:cxn>
              <a:cxn ang="0">
                <a:pos x="15" y="30"/>
              </a:cxn>
              <a:cxn ang="0">
                <a:pos x="15" y="30"/>
              </a:cxn>
              <a:cxn ang="0">
                <a:pos x="9" y="30"/>
              </a:cxn>
              <a:cxn ang="0">
                <a:pos x="4" y="26"/>
              </a:cxn>
              <a:cxn ang="0">
                <a:pos x="0" y="21"/>
              </a:cxn>
              <a:cxn ang="0">
                <a:pos x="0" y="15"/>
              </a:cxn>
              <a:cxn ang="0">
                <a:pos x="0" y="15"/>
              </a:cxn>
              <a:cxn ang="0">
                <a:pos x="0" y="10"/>
              </a:cxn>
              <a:cxn ang="0">
                <a:pos x="4" y="4"/>
              </a:cxn>
              <a:cxn ang="0">
                <a:pos x="9" y="2"/>
              </a:cxn>
              <a:cxn ang="0">
                <a:pos x="15" y="0"/>
              </a:cxn>
              <a:cxn ang="0">
                <a:pos x="15" y="0"/>
              </a:cxn>
              <a:cxn ang="0">
                <a:pos x="16" y="0"/>
              </a:cxn>
              <a:cxn ang="0">
                <a:pos x="15" y="0"/>
              </a:cxn>
              <a:cxn ang="0">
                <a:pos x="13" y="0"/>
              </a:cxn>
              <a:cxn ang="0">
                <a:pos x="15" y="0"/>
              </a:cxn>
              <a:cxn ang="0">
                <a:pos x="15" y="0"/>
              </a:cxn>
              <a:cxn ang="0">
                <a:pos x="15" y="26"/>
              </a:cxn>
              <a:cxn ang="0">
                <a:pos x="15" y="26"/>
              </a:cxn>
              <a:cxn ang="0">
                <a:pos x="18" y="26"/>
              </a:cxn>
              <a:cxn ang="0">
                <a:pos x="22" y="24"/>
              </a:cxn>
              <a:cxn ang="0">
                <a:pos x="26" y="21"/>
              </a:cxn>
              <a:cxn ang="0">
                <a:pos x="26" y="15"/>
              </a:cxn>
              <a:cxn ang="0">
                <a:pos x="26" y="15"/>
              </a:cxn>
              <a:cxn ang="0">
                <a:pos x="26" y="11"/>
              </a:cxn>
              <a:cxn ang="0">
                <a:pos x="22" y="8"/>
              </a:cxn>
              <a:cxn ang="0">
                <a:pos x="18" y="4"/>
              </a:cxn>
              <a:cxn ang="0">
                <a:pos x="15" y="4"/>
              </a:cxn>
              <a:cxn ang="0">
                <a:pos x="15" y="4"/>
              </a:cxn>
              <a:cxn ang="0">
                <a:pos x="9" y="4"/>
              </a:cxn>
              <a:cxn ang="0">
                <a:pos x="5" y="8"/>
              </a:cxn>
              <a:cxn ang="0">
                <a:pos x="4" y="11"/>
              </a:cxn>
              <a:cxn ang="0">
                <a:pos x="4" y="15"/>
              </a:cxn>
              <a:cxn ang="0">
                <a:pos x="4" y="15"/>
              </a:cxn>
              <a:cxn ang="0">
                <a:pos x="4" y="21"/>
              </a:cxn>
              <a:cxn ang="0">
                <a:pos x="5" y="24"/>
              </a:cxn>
              <a:cxn ang="0">
                <a:pos x="9" y="26"/>
              </a:cxn>
              <a:cxn ang="0">
                <a:pos x="15" y="26"/>
              </a:cxn>
              <a:cxn ang="0">
                <a:pos x="15" y="26"/>
              </a:cxn>
              <a:cxn ang="0">
                <a:pos x="16" y="26"/>
              </a:cxn>
              <a:cxn ang="0">
                <a:pos x="15" y="26"/>
              </a:cxn>
              <a:cxn ang="0">
                <a:pos x="13" y="26"/>
              </a:cxn>
              <a:cxn ang="0">
                <a:pos x="15" y="26"/>
              </a:cxn>
              <a:cxn ang="0">
                <a:pos x="15" y="26"/>
              </a:cxn>
            </a:cxnLst>
            <a:rect l="0" t="0" r="r" b="b"/>
            <a:pathLst>
              <a:path w="29" h="30">
                <a:moveTo>
                  <a:pt x="15" y="0"/>
                </a:moveTo>
                <a:lnTo>
                  <a:pt x="15" y="0"/>
                </a:lnTo>
                <a:lnTo>
                  <a:pt x="20" y="2"/>
                </a:lnTo>
                <a:lnTo>
                  <a:pt x="26" y="4"/>
                </a:lnTo>
                <a:lnTo>
                  <a:pt x="27" y="10"/>
                </a:lnTo>
                <a:lnTo>
                  <a:pt x="29" y="15"/>
                </a:lnTo>
                <a:lnTo>
                  <a:pt x="29" y="15"/>
                </a:lnTo>
                <a:lnTo>
                  <a:pt x="27" y="21"/>
                </a:lnTo>
                <a:lnTo>
                  <a:pt x="26" y="26"/>
                </a:lnTo>
                <a:lnTo>
                  <a:pt x="20" y="30"/>
                </a:lnTo>
                <a:lnTo>
                  <a:pt x="15" y="30"/>
                </a:lnTo>
                <a:lnTo>
                  <a:pt x="15" y="30"/>
                </a:lnTo>
                <a:lnTo>
                  <a:pt x="9" y="30"/>
                </a:lnTo>
                <a:lnTo>
                  <a:pt x="4" y="26"/>
                </a:lnTo>
                <a:lnTo>
                  <a:pt x="0" y="21"/>
                </a:lnTo>
                <a:lnTo>
                  <a:pt x="0" y="15"/>
                </a:lnTo>
                <a:lnTo>
                  <a:pt x="0" y="15"/>
                </a:lnTo>
                <a:lnTo>
                  <a:pt x="0" y="10"/>
                </a:lnTo>
                <a:lnTo>
                  <a:pt x="4" y="4"/>
                </a:lnTo>
                <a:lnTo>
                  <a:pt x="9" y="2"/>
                </a:lnTo>
                <a:lnTo>
                  <a:pt x="15" y="0"/>
                </a:lnTo>
                <a:lnTo>
                  <a:pt x="15" y="0"/>
                </a:lnTo>
                <a:lnTo>
                  <a:pt x="16" y="0"/>
                </a:lnTo>
                <a:lnTo>
                  <a:pt x="15" y="0"/>
                </a:lnTo>
                <a:lnTo>
                  <a:pt x="13" y="0"/>
                </a:lnTo>
                <a:lnTo>
                  <a:pt x="15" y="0"/>
                </a:lnTo>
                <a:lnTo>
                  <a:pt x="15" y="0"/>
                </a:lnTo>
                <a:close/>
                <a:moveTo>
                  <a:pt x="15" y="26"/>
                </a:moveTo>
                <a:lnTo>
                  <a:pt x="15" y="26"/>
                </a:lnTo>
                <a:lnTo>
                  <a:pt x="18" y="26"/>
                </a:lnTo>
                <a:lnTo>
                  <a:pt x="22" y="24"/>
                </a:lnTo>
                <a:lnTo>
                  <a:pt x="26" y="21"/>
                </a:lnTo>
                <a:lnTo>
                  <a:pt x="26" y="15"/>
                </a:lnTo>
                <a:lnTo>
                  <a:pt x="26" y="15"/>
                </a:lnTo>
                <a:lnTo>
                  <a:pt x="26" y="11"/>
                </a:lnTo>
                <a:lnTo>
                  <a:pt x="22" y="8"/>
                </a:lnTo>
                <a:lnTo>
                  <a:pt x="18" y="4"/>
                </a:lnTo>
                <a:lnTo>
                  <a:pt x="15" y="4"/>
                </a:lnTo>
                <a:lnTo>
                  <a:pt x="15" y="4"/>
                </a:lnTo>
                <a:lnTo>
                  <a:pt x="9" y="4"/>
                </a:lnTo>
                <a:lnTo>
                  <a:pt x="5" y="8"/>
                </a:lnTo>
                <a:lnTo>
                  <a:pt x="4" y="11"/>
                </a:lnTo>
                <a:lnTo>
                  <a:pt x="4" y="15"/>
                </a:lnTo>
                <a:lnTo>
                  <a:pt x="4" y="15"/>
                </a:lnTo>
                <a:lnTo>
                  <a:pt x="4" y="21"/>
                </a:lnTo>
                <a:lnTo>
                  <a:pt x="5" y="24"/>
                </a:lnTo>
                <a:lnTo>
                  <a:pt x="9" y="26"/>
                </a:lnTo>
                <a:lnTo>
                  <a:pt x="15" y="26"/>
                </a:lnTo>
                <a:lnTo>
                  <a:pt x="15" y="26"/>
                </a:lnTo>
                <a:lnTo>
                  <a:pt x="16" y="26"/>
                </a:lnTo>
                <a:lnTo>
                  <a:pt x="15" y="26"/>
                </a:lnTo>
                <a:lnTo>
                  <a:pt x="13" y="26"/>
                </a:lnTo>
                <a:lnTo>
                  <a:pt x="15" y="26"/>
                </a:lnTo>
                <a:lnTo>
                  <a:pt x="15" y="26"/>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8" name="Rectangle 154">
            <a:extLst>
              <a:ext uri="{FF2B5EF4-FFF2-40B4-BE49-F238E27FC236}">
                <a16:creationId xmlns:a16="http://schemas.microsoft.com/office/drawing/2014/main" id="{11391A6C-30FD-A28A-AC57-6F8B1C5C3387}"/>
              </a:ext>
            </a:extLst>
          </p:cNvPr>
          <p:cNvSpPr>
            <a:spLocks noChangeArrowheads="1"/>
          </p:cNvSpPr>
          <p:nvPr/>
        </p:nvSpPr>
        <p:spPr bwMode="auto">
          <a:xfrm>
            <a:off x="5804674" y="4924421"/>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59" name="Freeform 155">
            <a:extLst>
              <a:ext uri="{FF2B5EF4-FFF2-40B4-BE49-F238E27FC236}">
                <a16:creationId xmlns:a16="http://schemas.microsoft.com/office/drawing/2014/main" id="{174DE065-CDB4-01F5-0F86-BAC23829429D}"/>
              </a:ext>
            </a:extLst>
          </p:cNvPr>
          <p:cNvSpPr>
            <a:spLocks/>
          </p:cNvSpPr>
          <p:nvPr/>
        </p:nvSpPr>
        <p:spPr bwMode="auto">
          <a:xfrm>
            <a:off x="5804674" y="4924421"/>
            <a:ext cx="10514" cy="10014"/>
          </a:xfrm>
          <a:custGeom>
            <a:avLst/>
            <a:gdLst/>
            <a:ahLst/>
            <a:cxnLst>
              <a:cxn ang="0">
                <a:pos x="7" y="0"/>
              </a:cxn>
              <a:cxn ang="0">
                <a:pos x="0" y="0"/>
              </a:cxn>
              <a:cxn ang="0">
                <a:pos x="0" y="8"/>
              </a:cxn>
              <a:cxn ang="0">
                <a:pos x="7" y="8"/>
              </a:cxn>
            </a:cxnLst>
            <a:rect l="0" t="0" r="r" b="b"/>
            <a:pathLst>
              <a:path w="7" h="8">
                <a:moveTo>
                  <a:pt x="7" y="0"/>
                </a:moveTo>
                <a:lnTo>
                  <a:pt x="0" y="0"/>
                </a:lnTo>
                <a:lnTo>
                  <a:pt x="0" y="8"/>
                </a:lnTo>
                <a:lnTo>
                  <a:pt x="7"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60" name="Freeform 156">
            <a:extLst>
              <a:ext uri="{FF2B5EF4-FFF2-40B4-BE49-F238E27FC236}">
                <a16:creationId xmlns:a16="http://schemas.microsoft.com/office/drawing/2014/main" id="{480E3677-7FF3-2A7D-D357-9B7E30A79B4F}"/>
              </a:ext>
            </a:extLst>
          </p:cNvPr>
          <p:cNvSpPr>
            <a:spLocks noEditPoints="1"/>
          </p:cNvSpPr>
          <p:nvPr/>
        </p:nvSpPr>
        <p:spPr bwMode="auto">
          <a:xfrm>
            <a:off x="5152858" y="4924421"/>
            <a:ext cx="629287" cy="10014"/>
          </a:xfrm>
          <a:custGeom>
            <a:avLst/>
            <a:gdLst/>
            <a:ahLst/>
            <a:cxnLst>
              <a:cxn ang="0">
                <a:pos x="0" y="0"/>
              </a:cxn>
              <a:cxn ang="0">
                <a:pos x="12" y="8"/>
              </a:cxn>
              <a:cxn ang="0">
                <a:pos x="42" y="0"/>
              </a:cxn>
              <a:cxn ang="0">
                <a:pos x="27" y="8"/>
              </a:cxn>
              <a:cxn ang="0">
                <a:pos x="42" y="0"/>
              </a:cxn>
              <a:cxn ang="0">
                <a:pos x="56" y="0"/>
              </a:cxn>
              <a:cxn ang="0">
                <a:pos x="71" y="8"/>
              </a:cxn>
              <a:cxn ang="0">
                <a:pos x="100" y="0"/>
              </a:cxn>
              <a:cxn ang="0">
                <a:pos x="86" y="8"/>
              </a:cxn>
              <a:cxn ang="0">
                <a:pos x="100" y="0"/>
              </a:cxn>
              <a:cxn ang="0">
                <a:pos x="115" y="0"/>
              </a:cxn>
              <a:cxn ang="0">
                <a:pos x="130" y="8"/>
              </a:cxn>
              <a:cxn ang="0">
                <a:pos x="159" y="0"/>
              </a:cxn>
              <a:cxn ang="0">
                <a:pos x="144" y="8"/>
              </a:cxn>
              <a:cxn ang="0">
                <a:pos x="159" y="0"/>
              </a:cxn>
              <a:cxn ang="0">
                <a:pos x="174" y="0"/>
              </a:cxn>
              <a:cxn ang="0">
                <a:pos x="188" y="8"/>
              </a:cxn>
              <a:cxn ang="0">
                <a:pos x="216" y="0"/>
              </a:cxn>
              <a:cxn ang="0">
                <a:pos x="201" y="8"/>
              </a:cxn>
              <a:cxn ang="0">
                <a:pos x="216" y="0"/>
              </a:cxn>
              <a:cxn ang="0">
                <a:pos x="230" y="0"/>
              </a:cxn>
              <a:cxn ang="0">
                <a:pos x="245" y="8"/>
              </a:cxn>
              <a:cxn ang="0">
                <a:pos x="274" y="0"/>
              </a:cxn>
              <a:cxn ang="0">
                <a:pos x="260" y="8"/>
              </a:cxn>
              <a:cxn ang="0">
                <a:pos x="274" y="0"/>
              </a:cxn>
              <a:cxn ang="0">
                <a:pos x="289" y="0"/>
              </a:cxn>
              <a:cxn ang="0">
                <a:pos x="304" y="8"/>
              </a:cxn>
              <a:cxn ang="0">
                <a:pos x="333" y="0"/>
              </a:cxn>
              <a:cxn ang="0">
                <a:pos x="318" y="8"/>
              </a:cxn>
              <a:cxn ang="0">
                <a:pos x="333" y="0"/>
              </a:cxn>
              <a:cxn ang="0">
                <a:pos x="348" y="0"/>
              </a:cxn>
              <a:cxn ang="0">
                <a:pos x="362" y="8"/>
              </a:cxn>
              <a:cxn ang="0">
                <a:pos x="390" y="0"/>
              </a:cxn>
              <a:cxn ang="0">
                <a:pos x="377" y="8"/>
              </a:cxn>
              <a:cxn ang="0">
                <a:pos x="390" y="0"/>
              </a:cxn>
              <a:cxn ang="0">
                <a:pos x="404" y="0"/>
              </a:cxn>
              <a:cxn ang="0">
                <a:pos x="419" y="8"/>
              </a:cxn>
            </a:cxnLst>
            <a:rect l="0" t="0" r="r" b="b"/>
            <a:pathLst>
              <a:path w="419" h="8">
                <a:moveTo>
                  <a:pt x="12" y="0"/>
                </a:moveTo>
                <a:lnTo>
                  <a:pt x="0" y="0"/>
                </a:lnTo>
                <a:lnTo>
                  <a:pt x="0" y="8"/>
                </a:lnTo>
                <a:lnTo>
                  <a:pt x="12" y="8"/>
                </a:lnTo>
                <a:lnTo>
                  <a:pt x="12" y="0"/>
                </a:lnTo>
                <a:close/>
                <a:moveTo>
                  <a:pt x="42" y="0"/>
                </a:moveTo>
                <a:lnTo>
                  <a:pt x="27" y="0"/>
                </a:lnTo>
                <a:lnTo>
                  <a:pt x="27" y="8"/>
                </a:lnTo>
                <a:lnTo>
                  <a:pt x="42" y="8"/>
                </a:lnTo>
                <a:lnTo>
                  <a:pt x="42" y="0"/>
                </a:lnTo>
                <a:close/>
                <a:moveTo>
                  <a:pt x="71" y="0"/>
                </a:moveTo>
                <a:lnTo>
                  <a:pt x="56" y="0"/>
                </a:lnTo>
                <a:lnTo>
                  <a:pt x="56" y="8"/>
                </a:lnTo>
                <a:lnTo>
                  <a:pt x="71" y="8"/>
                </a:lnTo>
                <a:lnTo>
                  <a:pt x="71" y="0"/>
                </a:lnTo>
                <a:close/>
                <a:moveTo>
                  <a:pt x="100" y="0"/>
                </a:moveTo>
                <a:lnTo>
                  <a:pt x="86" y="0"/>
                </a:lnTo>
                <a:lnTo>
                  <a:pt x="86" y="8"/>
                </a:lnTo>
                <a:lnTo>
                  <a:pt x="100" y="8"/>
                </a:lnTo>
                <a:lnTo>
                  <a:pt x="100" y="0"/>
                </a:lnTo>
                <a:close/>
                <a:moveTo>
                  <a:pt x="130" y="0"/>
                </a:moveTo>
                <a:lnTo>
                  <a:pt x="115" y="0"/>
                </a:lnTo>
                <a:lnTo>
                  <a:pt x="115" y="8"/>
                </a:lnTo>
                <a:lnTo>
                  <a:pt x="130" y="8"/>
                </a:lnTo>
                <a:lnTo>
                  <a:pt x="130" y="0"/>
                </a:lnTo>
                <a:close/>
                <a:moveTo>
                  <a:pt x="159" y="0"/>
                </a:moveTo>
                <a:lnTo>
                  <a:pt x="144" y="0"/>
                </a:lnTo>
                <a:lnTo>
                  <a:pt x="144" y="8"/>
                </a:lnTo>
                <a:lnTo>
                  <a:pt x="159" y="8"/>
                </a:lnTo>
                <a:lnTo>
                  <a:pt x="159" y="0"/>
                </a:lnTo>
                <a:close/>
                <a:moveTo>
                  <a:pt x="188" y="0"/>
                </a:moveTo>
                <a:lnTo>
                  <a:pt x="174" y="0"/>
                </a:lnTo>
                <a:lnTo>
                  <a:pt x="174" y="8"/>
                </a:lnTo>
                <a:lnTo>
                  <a:pt x="188" y="8"/>
                </a:lnTo>
                <a:lnTo>
                  <a:pt x="188" y="0"/>
                </a:lnTo>
                <a:close/>
                <a:moveTo>
                  <a:pt x="216" y="0"/>
                </a:moveTo>
                <a:lnTo>
                  <a:pt x="201" y="0"/>
                </a:lnTo>
                <a:lnTo>
                  <a:pt x="201" y="8"/>
                </a:lnTo>
                <a:lnTo>
                  <a:pt x="216" y="8"/>
                </a:lnTo>
                <a:lnTo>
                  <a:pt x="216" y="0"/>
                </a:lnTo>
                <a:close/>
                <a:moveTo>
                  <a:pt x="245" y="0"/>
                </a:moveTo>
                <a:lnTo>
                  <a:pt x="230" y="0"/>
                </a:lnTo>
                <a:lnTo>
                  <a:pt x="230" y="8"/>
                </a:lnTo>
                <a:lnTo>
                  <a:pt x="245" y="8"/>
                </a:lnTo>
                <a:lnTo>
                  <a:pt x="245" y="0"/>
                </a:lnTo>
                <a:close/>
                <a:moveTo>
                  <a:pt x="274" y="0"/>
                </a:moveTo>
                <a:lnTo>
                  <a:pt x="260" y="0"/>
                </a:lnTo>
                <a:lnTo>
                  <a:pt x="260" y="8"/>
                </a:lnTo>
                <a:lnTo>
                  <a:pt x="274" y="8"/>
                </a:lnTo>
                <a:lnTo>
                  <a:pt x="274" y="0"/>
                </a:lnTo>
                <a:close/>
                <a:moveTo>
                  <a:pt x="304" y="0"/>
                </a:moveTo>
                <a:lnTo>
                  <a:pt x="289" y="0"/>
                </a:lnTo>
                <a:lnTo>
                  <a:pt x="289" y="8"/>
                </a:lnTo>
                <a:lnTo>
                  <a:pt x="304" y="8"/>
                </a:lnTo>
                <a:lnTo>
                  <a:pt x="304" y="0"/>
                </a:lnTo>
                <a:close/>
                <a:moveTo>
                  <a:pt x="333" y="0"/>
                </a:moveTo>
                <a:lnTo>
                  <a:pt x="318" y="0"/>
                </a:lnTo>
                <a:lnTo>
                  <a:pt x="318" y="8"/>
                </a:lnTo>
                <a:lnTo>
                  <a:pt x="333" y="8"/>
                </a:lnTo>
                <a:lnTo>
                  <a:pt x="333" y="0"/>
                </a:lnTo>
                <a:close/>
                <a:moveTo>
                  <a:pt x="362" y="0"/>
                </a:moveTo>
                <a:lnTo>
                  <a:pt x="348" y="0"/>
                </a:lnTo>
                <a:lnTo>
                  <a:pt x="348" y="8"/>
                </a:lnTo>
                <a:lnTo>
                  <a:pt x="362" y="8"/>
                </a:lnTo>
                <a:lnTo>
                  <a:pt x="362" y="0"/>
                </a:lnTo>
                <a:close/>
                <a:moveTo>
                  <a:pt x="390" y="0"/>
                </a:moveTo>
                <a:lnTo>
                  <a:pt x="377" y="0"/>
                </a:lnTo>
                <a:lnTo>
                  <a:pt x="377" y="8"/>
                </a:lnTo>
                <a:lnTo>
                  <a:pt x="390" y="8"/>
                </a:lnTo>
                <a:lnTo>
                  <a:pt x="390" y="0"/>
                </a:lnTo>
                <a:close/>
                <a:moveTo>
                  <a:pt x="419" y="0"/>
                </a:moveTo>
                <a:lnTo>
                  <a:pt x="404" y="0"/>
                </a:lnTo>
                <a:lnTo>
                  <a:pt x="404" y="8"/>
                </a:lnTo>
                <a:lnTo>
                  <a:pt x="419" y="8"/>
                </a:lnTo>
                <a:lnTo>
                  <a:pt x="419" y="0"/>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61" name="Rectangle 157">
            <a:extLst>
              <a:ext uri="{FF2B5EF4-FFF2-40B4-BE49-F238E27FC236}">
                <a16:creationId xmlns:a16="http://schemas.microsoft.com/office/drawing/2014/main" id="{9BA334A1-1906-68E7-9298-9B3D6300368B}"/>
              </a:ext>
            </a:extLst>
          </p:cNvPr>
          <p:cNvSpPr>
            <a:spLocks noChangeArrowheads="1"/>
          </p:cNvSpPr>
          <p:nvPr/>
        </p:nvSpPr>
        <p:spPr bwMode="auto">
          <a:xfrm>
            <a:off x="5119816" y="4924421"/>
            <a:ext cx="10514" cy="10014"/>
          </a:xfrm>
          <a:prstGeom prst="rect">
            <a:avLst/>
          </a:prstGeom>
          <a:solidFill>
            <a:srgbClr val="67686B"/>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62" name="Freeform 158">
            <a:extLst>
              <a:ext uri="{FF2B5EF4-FFF2-40B4-BE49-F238E27FC236}">
                <a16:creationId xmlns:a16="http://schemas.microsoft.com/office/drawing/2014/main" id="{A909F754-72CF-6FDE-BD9B-1D5339408EC2}"/>
              </a:ext>
            </a:extLst>
          </p:cNvPr>
          <p:cNvSpPr>
            <a:spLocks/>
          </p:cNvSpPr>
          <p:nvPr/>
        </p:nvSpPr>
        <p:spPr bwMode="auto">
          <a:xfrm>
            <a:off x="5119816" y="4924421"/>
            <a:ext cx="10514" cy="10014"/>
          </a:xfrm>
          <a:custGeom>
            <a:avLst/>
            <a:gdLst/>
            <a:ahLst/>
            <a:cxnLst>
              <a:cxn ang="0">
                <a:pos x="7" y="0"/>
              </a:cxn>
              <a:cxn ang="0">
                <a:pos x="0" y="0"/>
              </a:cxn>
              <a:cxn ang="0">
                <a:pos x="0" y="8"/>
              </a:cxn>
              <a:cxn ang="0">
                <a:pos x="7" y="8"/>
              </a:cxn>
            </a:cxnLst>
            <a:rect l="0" t="0" r="r" b="b"/>
            <a:pathLst>
              <a:path w="7" h="8">
                <a:moveTo>
                  <a:pt x="7" y="0"/>
                </a:moveTo>
                <a:lnTo>
                  <a:pt x="0" y="0"/>
                </a:lnTo>
                <a:lnTo>
                  <a:pt x="0" y="8"/>
                </a:lnTo>
                <a:lnTo>
                  <a:pt x="7"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63" name="Freeform 159">
            <a:extLst>
              <a:ext uri="{FF2B5EF4-FFF2-40B4-BE49-F238E27FC236}">
                <a16:creationId xmlns:a16="http://schemas.microsoft.com/office/drawing/2014/main" id="{BEA38397-6AEF-DD97-4A4A-E327C134399D}"/>
              </a:ext>
            </a:extLst>
          </p:cNvPr>
          <p:cNvSpPr>
            <a:spLocks/>
          </p:cNvSpPr>
          <p:nvPr/>
        </p:nvSpPr>
        <p:spPr bwMode="auto">
          <a:xfrm>
            <a:off x="5100292" y="4910653"/>
            <a:ext cx="37547" cy="35048"/>
          </a:xfrm>
          <a:custGeom>
            <a:avLst/>
            <a:gdLst/>
            <a:ahLst/>
            <a:cxnLst>
              <a:cxn ang="0">
                <a:pos x="13" y="0"/>
              </a:cxn>
              <a:cxn ang="0">
                <a:pos x="13" y="0"/>
              </a:cxn>
              <a:cxn ang="0">
                <a:pos x="7" y="2"/>
              </a:cxn>
              <a:cxn ang="0">
                <a:pos x="3" y="6"/>
              </a:cxn>
              <a:cxn ang="0">
                <a:pos x="0" y="10"/>
              </a:cxn>
              <a:cxn ang="0">
                <a:pos x="0" y="15"/>
              </a:cxn>
              <a:cxn ang="0">
                <a:pos x="0" y="15"/>
              </a:cxn>
              <a:cxn ang="0">
                <a:pos x="0" y="21"/>
              </a:cxn>
              <a:cxn ang="0">
                <a:pos x="3" y="24"/>
              </a:cxn>
              <a:cxn ang="0">
                <a:pos x="7" y="28"/>
              </a:cxn>
              <a:cxn ang="0">
                <a:pos x="13" y="28"/>
              </a:cxn>
              <a:cxn ang="0">
                <a:pos x="13" y="28"/>
              </a:cxn>
              <a:cxn ang="0">
                <a:pos x="18" y="28"/>
              </a:cxn>
              <a:cxn ang="0">
                <a:pos x="22" y="24"/>
              </a:cxn>
              <a:cxn ang="0">
                <a:pos x="25" y="21"/>
              </a:cxn>
              <a:cxn ang="0">
                <a:pos x="25" y="15"/>
              </a:cxn>
              <a:cxn ang="0">
                <a:pos x="25" y="15"/>
              </a:cxn>
              <a:cxn ang="0">
                <a:pos x="25" y="10"/>
              </a:cxn>
              <a:cxn ang="0">
                <a:pos x="22" y="6"/>
              </a:cxn>
              <a:cxn ang="0">
                <a:pos x="18" y="2"/>
              </a:cxn>
              <a:cxn ang="0">
                <a:pos x="13" y="0"/>
              </a:cxn>
              <a:cxn ang="0">
                <a:pos x="13" y="0"/>
              </a:cxn>
            </a:cxnLst>
            <a:rect l="0" t="0" r="r" b="b"/>
            <a:pathLst>
              <a:path w="25" h="28">
                <a:moveTo>
                  <a:pt x="13" y="0"/>
                </a:moveTo>
                <a:lnTo>
                  <a:pt x="13" y="0"/>
                </a:lnTo>
                <a:lnTo>
                  <a:pt x="7" y="2"/>
                </a:lnTo>
                <a:lnTo>
                  <a:pt x="3" y="6"/>
                </a:lnTo>
                <a:lnTo>
                  <a:pt x="0" y="10"/>
                </a:lnTo>
                <a:lnTo>
                  <a:pt x="0" y="15"/>
                </a:lnTo>
                <a:lnTo>
                  <a:pt x="0" y="15"/>
                </a:lnTo>
                <a:lnTo>
                  <a:pt x="0" y="21"/>
                </a:lnTo>
                <a:lnTo>
                  <a:pt x="3" y="24"/>
                </a:lnTo>
                <a:lnTo>
                  <a:pt x="7" y="28"/>
                </a:lnTo>
                <a:lnTo>
                  <a:pt x="13" y="28"/>
                </a:lnTo>
                <a:lnTo>
                  <a:pt x="13" y="28"/>
                </a:lnTo>
                <a:lnTo>
                  <a:pt x="18" y="28"/>
                </a:lnTo>
                <a:lnTo>
                  <a:pt x="22" y="24"/>
                </a:lnTo>
                <a:lnTo>
                  <a:pt x="25" y="21"/>
                </a:lnTo>
                <a:lnTo>
                  <a:pt x="25" y="15"/>
                </a:lnTo>
                <a:lnTo>
                  <a:pt x="25" y="15"/>
                </a:lnTo>
                <a:lnTo>
                  <a:pt x="25" y="10"/>
                </a:lnTo>
                <a:lnTo>
                  <a:pt x="22" y="6"/>
                </a:lnTo>
                <a:lnTo>
                  <a:pt x="18" y="2"/>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64" name="Freeform 160">
            <a:extLst>
              <a:ext uri="{FF2B5EF4-FFF2-40B4-BE49-F238E27FC236}">
                <a16:creationId xmlns:a16="http://schemas.microsoft.com/office/drawing/2014/main" id="{EDB82275-DA79-72D2-EB8D-2D99C9FCEE0D}"/>
              </a:ext>
            </a:extLst>
          </p:cNvPr>
          <p:cNvSpPr>
            <a:spLocks noEditPoints="1"/>
          </p:cNvSpPr>
          <p:nvPr/>
        </p:nvSpPr>
        <p:spPr bwMode="auto">
          <a:xfrm>
            <a:off x="5097287" y="4909402"/>
            <a:ext cx="43554" cy="38803"/>
          </a:xfrm>
          <a:custGeom>
            <a:avLst/>
            <a:gdLst/>
            <a:ahLst/>
            <a:cxnLst>
              <a:cxn ang="0">
                <a:pos x="15" y="0"/>
              </a:cxn>
              <a:cxn ang="0">
                <a:pos x="15" y="0"/>
              </a:cxn>
              <a:cxn ang="0">
                <a:pos x="20" y="1"/>
              </a:cxn>
              <a:cxn ang="0">
                <a:pos x="26" y="5"/>
              </a:cxn>
              <a:cxn ang="0">
                <a:pos x="29" y="11"/>
              </a:cxn>
              <a:cxn ang="0">
                <a:pos x="29" y="16"/>
              </a:cxn>
              <a:cxn ang="0">
                <a:pos x="29" y="16"/>
              </a:cxn>
              <a:cxn ang="0">
                <a:pos x="29" y="22"/>
              </a:cxn>
              <a:cxn ang="0">
                <a:pos x="26" y="27"/>
              </a:cxn>
              <a:cxn ang="0">
                <a:pos x="20" y="31"/>
              </a:cxn>
              <a:cxn ang="0">
                <a:pos x="15" y="31"/>
              </a:cxn>
              <a:cxn ang="0">
                <a:pos x="15" y="31"/>
              </a:cxn>
              <a:cxn ang="0">
                <a:pos x="9" y="31"/>
              </a:cxn>
              <a:cxn ang="0">
                <a:pos x="4" y="27"/>
              </a:cxn>
              <a:cxn ang="0">
                <a:pos x="0" y="22"/>
              </a:cxn>
              <a:cxn ang="0">
                <a:pos x="0" y="16"/>
              </a:cxn>
              <a:cxn ang="0">
                <a:pos x="0" y="16"/>
              </a:cxn>
              <a:cxn ang="0">
                <a:pos x="0" y="11"/>
              </a:cxn>
              <a:cxn ang="0">
                <a:pos x="4" y="5"/>
              </a:cxn>
              <a:cxn ang="0">
                <a:pos x="9" y="1"/>
              </a:cxn>
              <a:cxn ang="0">
                <a:pos x="15" y="0"/>
              </a:cxn>
              <a:cxn ang="0">
                <a:pos x="15" y="0"/>
              </a:cxn>
              <a:cxn ang="0">
                <a:pos x="15" y="0"/>
              </a:cxn>
              <a:cxn ang="0">
                <a:pos x="15" y="0"/>
              </a:cxn>
              <a:cxn ang="0">
                <a:pos x="15" y="0"/>
              </a:cxn>
              <a:cxn ang="0">
                <a:pos x="15" y="27"/>
              </a:cxn>
              <a:cxn ang="0">
                <a:pos x="15" y="27"/>
              </a:cxn>
              <a:cxn ang="0">
                <a:pos x="20" y="27"/>
              </a:cxn>
              <a:cxn ang="0">
                <a:pos x="24" y="23"/>
              </a:cxn>
              <a:cxn ang="0">
                <a:pos x="26" y="20"/>
              </a:cxn>
              <a:cxn ang="0">
                <a:pos x="26" y="16"/>
              </a:cxn>
              <a:cxn ang="0">
                <a:pos x="26" y="16"/>
              </a:cxn>
              <a:cxn ang="0">
                <a:pos x="26" y="11"/>
              </a:cxn>
              <a:cxn ang="0">
                <a:pos x="24" y="7"/>
              </a:cxn>
              <a:cxn ang="0">
                <a:pos x="20" y="5"/>
              </a:cxn>
              <a:cxn ang="0">
                <a:pos x="15" y="3"/>
              </a:cxn>
              <a:cxn ang="0">
                <a:pos x="15" y="3"/>
              </a:cxn>
              <a:cxn ang="0">
                <a:pos x="11" y="5"/>
              </a:cxn>
              <a:cxn ang="0">
                <a:pos x="7" y="7"/>
              </a:cxn>
              <a:cxn ang="0">
                <a:pos x="4" y="11"/>
              </a:cxn>
              <a:cxn ang="0">
                <a:pos x="4" y="16"/>
              </a:cxn>
              <a:cxn ang="0">
                <a:pos x="4" y="16"/>
              </a:cxn>
              <a:cxn ang="0">
                <a:pos x="4" y="20"/>
              </a:cxn>
              <a:cxn ang="0">
                <a:pos x="7" y="23"/>
              </a:cxn>
              <a:cxn ang="0">
                <a:pos x="11" y="27"/>
              </a:cxn>
              <a:cxn ang="0">
                <a:pos x="15" y="27"/>
              </a:cxn>
              <a:cxn ang="0">
                <a:pos x="15" y="27"/>
              </a:cxn>
              <a:cxn ang="0">
                <a:pos x="16" y="27"/>
              </a:cxn>
              <a:cxn ang="0">
                <a:pos x="15" y="27"/>
              </a:cxn>
              <a:cxn ang="0">
                <a:pos x="13" y="27"/>
              </a:cxn>
              <a:cxn ang="0">
                <a:pos x="15" y="27"/>
              </a:cxn>
              <a:cxn ang="0">
                <a:pos x="15" y="27"/>
              </a:cxn>
            </a:cxnLst>
            <a:rect l="0" t="0" r="r" b="b"/>
            <a:pathLst>
              <a:path w="29" h="31">
                <a:moveTo>
                  <a:pt x="15" y="0"/>
                </a:moveTo>
                <a:lnTo>
                  <a:pt x="15" y="0"/>
                </a:lnTo>
                <a:lnTo>
                  <a:pt x="20" y="1"/>
                </a:lnTo>
                <a:lnTo>
                  <a:pt x="26" y="5"/>
                </a:lnTo>
                <a:lnTo>
                  <a:pt x="29" y="11"/>
                </a:lnTo>
                <a:lnTo>
                  <a:pt x="29" y="16"/>
                </a:lnTo>
                <a:lnTo>
                  <a:pt x="29" y="16"/>
                </a:lnTo>
                <a:lnTo>
                  <a:pt x="29" y="22"/>
                </a:lnTo>
                <a:lnTo>
                  <a:pt x="26" y="27"/>
                </a:lnTo>
                <a:lnTo>
                  <a:pt x="20" y="31"/>
                </a:lnTo>
                <a:lnTo>
                  <a:pt x="15" y="31"/>
                </a:lnTo>
                <a:lnTo>
                  <a:pt x="15" y="31"/>
                </a:lnTo>
                <a:lnTo>
                  <a:pt x="9" y="31"/>
                </a:lnTo>
                <a:lnTo>
                  <a:pt x="4" y="27"/>
                </a:lnTo>
                <a:lnTo>
                  <a:pt x="0" y="22"/>
                </a:lnTo>
                <a:lnTo>
                  <a:pt x="0" y="16"/>
                </a:lnTo>
                <a:lnTo>
                  <a:pt x="0" y="16"/>
                </a:lnTo>
                <a:lnTo>
                  <a:pt x="0" y="11"/>
                </a:lnTo>
                <a:lnTo>
                  <a:pt x="4" y="5"/>
                </a:lnTo>
                <a:lnTo>
                  <a:pt x="9" y="1"/>
                </a:lnTo>
                <a:lnTo>
                  <a:pt x="15" y="0"/>
                </a:lnTo>
                <a:lnTo>
                  <a:pt x="15" y="0"/>
                </a:lnTo>
                <a:lnTo>
                  <a:pt x="15" y="0"/>
                </a:lnTo>
                <a:lnTo>
                  <a:pt x="15" y="0"/>
                </a:lnTo>
                <a:lnTo>
                  <a:pt x="15" y="0"/>
                </a:lnTo>
                <a:close/>
                <a:moveTo>
                  <a:pt x="15" y="27"/>
                </a:moveTo>
                <a:lnTo>
                  <a:pt x="15" y="27"/>
                </a:lnTo>
                <a:lnTo>
                  <a:pt x="20" y="27"/>
                </a:lnTo>
                <a:lnTo>
                  <a:pt x="24" y="23"/>
                </a:lnTo>
                <a:lnTo>
                  <a:pt x="26" y="20"/>
                </a:lnTo>
                <a:lnTo>
                  <a:pt x="26" y="16"/>
                </a:lnTo>
                <a:lnTo>
                  <a:pt x="26" y="16"/>
                </a:lnTo>
                <a:lnTo>
                  <a:pt x="26" y="11"/>
                </a:lnTo>
                <a:lnTo>
                  <a:pt x="24" y="7"/>
                </a:lnTo>
                <a:lnTo>
                  <a:pt x="20" y="5"/>
                </a:lnTo>
                <a:lnTo>
                  <a:pt x="15" y="3"/>
                </a:lnTo>
                <a:lnTo>
                  <a:pt x="15" y="3"/>
                </a:lnTo>
                <a:lnTo>
                  <a:pt x="11" y="5"/>
                </a:lnTo>
                <a:lnTo>
                  <a:pt x="7" y="7"/>
                </a:lnTo>
                <a:lnTo>
                  <a:pt x="4" y="11"/>
                </a:lnTo>
                <a:lnTo>
                  <a:pt x="4" y="16"/>
                </a:lnTo>
                <a:lnTo>
                  <a:pt x="4" y="16"/>
                </a:lnTo>
                <a:lnTo>
                  <a:pt x="4" y="20"/>
                </a:lnTo>
                <a:lnTo>
                  <a:pt x="7" y="23"/>
                </a:lnTo>
                <a:lnTo>
                  <a:pt x="11" y="27"/>
                </a:lnTo>
                <a:lnTo>
                  <a:pt x="15" y="27"/>
                </a:lnTo>
                <a:lnTo>
                  <a:pt x="15" y="27"/>
                </a:lnTo>
                <a:lnTo>
                  <a:pt x="16" y="27"/>
                </a:lnTo>
                <a:lnTo>
                  <a:pt x="15" y="27"/>
                </a:lnTo>
                <a:lnTo>
                  <a:pt x="13" y="27"/>
                </a:lnTo>
                <a:lnTo>
                  <a:pt x="15" y="27"/>
                </a:lnTo>
                <a:lnTo>
                  <a:pt x="15" y="27"/>
                </a:lnTo>
                <a:close/>
              </a:path>
            </a:pathLst>
          </a:custGeom>
          <a:solidFill>
            <a:srgbClr val="67686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65" name="Freeform 161">
            <a:extLst>
              <a:ext uri="{FF2B5EF4-FFF2-40B4-BE49-F238E27FC236}">
                <a16:creationId xmlns:a16="http://schemas.microsoft.com/office/drawing/2014/main" id="{FF341899-7A14-E0D7-D4CA-33848FB80944}"/>
              </a:ext>
            </a:extLst>
          </p:cNvPr>
          <p:cNvSpPr>
            <a:spLocks/>
          </p:cNvSpPr>
          <p:nvPr/>
        </p:nvSpPr>
        <p:spPr bwMode="auto">
          <a:xfrm>
            <a:off x="5333084" y="1134303"/>
            <a:ext cx="557198" cy="3795126"/>
          </a:xfrm>
          <a:custGeom>
            <a:avLst/>
            <a:gdLst/>
            <a:ahLst/>
            <a:cxnLst>
              <a:cxn ang="0">
                <a:pos x="371" y="0"/>
              </a:cxn>
              <a:cxn ang="0">
                <a:pos x="371" y="0"/>
              </a:cxn>
              <a:cxn ang="0">
                <a:pos x="361" y="14"/>
              </a:cxn>
              <a:cxn ang="0">
                <a:pos x="338" y="58"/>
              </a:cxn>
              <a:cxn ang="0">
                <a:pos x="303" y="128"/>
              </a:cxn>
              <a:cxn ang="0">
                <a:pos x="281" y="174"/>
              </a:cxn>
              <a:cxn ang="0">
                <a:pos x="259" y="225"/>
              </a:cxn>
              <a:cxn ang="0">
                <a:pos x="235" y="284"/>
              </a:cxn>
              <a:cxn ang="0">
                <a:pos x="209" y="348"/>
              </a:cxn>
              <a:cxn ang="0">
                <a:pos x="184" y="418"/>
              </a:cxn>
              <a:cxn ang="0">
                <a:pos x="160" y="494"/>
              </a:cxn>
              <a:cxn ang="0">
                <a:pos x="134" y="575"/>
              </a:cxn>
              <a:cxn ang="0">
                <a:pos x="110" y="663"/>
              </a:cxn>
              <a:cxn ang="0">
                <a:pos x="88" y="756"/>
              </a:cxn>
              <a:cxn ang="0">
                <a:pos x="66" y="854"/>
              </a:cxn>
              <a:cxn ang="0">
                <a:pos x="48" y="958"/>
              </a:cxn>
              <a:cxn ang="0">
                <a:pos x="32" y="1066"/>
              </a:cxn>
              <a:cxn ang="0">
                <a:pos x="19" y="1178"/>
              </a:cxn>
              <a:cxn ang="0">
                <a:pos x="8" y="1297"/>
              </a:cxn>
              <a:cxn ang="0">
                <a:pos x="2" y="1420"/>
              </a:cxn>
              <a:cxn ang="0">
                <a:pos x="0" y="1482"/>
              </a:cxn>
              <a:cxn ang="0">
                <a:pos x="0" y="1546"/>
              </a:cxn>
              <a:cxn ang="0">
                <a:pos x="0" y="1612"/>
              </a:cxn>
              <a:cxn ang="0">
                <a:pos x="2" y="1678"/>
              </a:cxn>
              <a:cxn ang="0">
                <a:pos x="6" y="1746"/>
              </a:cxn>
              <a:cxn ang="0">
                <a:pos x="11" y="1814"/>
              </a:cxn>
              <a:cxn ang="0">
                <a:pos x="17" y="1883"/>
              </a:cxn>
              <a:cxn ang="0">
                <a:pos x="24" y="1953"/>
              </a:cxn>
              <a:cxn ang="0">
                <a:pos x="33" y="2024"/>
              </a:cxn>
              <a:cxn ang="0">
                <a:pos x="44" y="2096"/>
              </a:cxn>
              <a:cxn ang="0">
                <a:pos x="55" y="2169"/>
              </a:cxn>
              <a:cxn ang="0">
                <a:pos x="70" y="2244"/>
              </a:cxn>
              <a:cxn ang="0">
                <a:pos x="85" y="2319"/>
              </a:cxn>
              <a:cxn ang="0">
                <a:pos x="101" y="2395"/>
              </a:cxn>
              <a:cxn ang="0">
                <a:pos x="121" y="2471"/>
              </a:cxn>
              <a:cxn ang="0">
                <a:pos x="142" y="2550"/>
              </a:cxn>
              <a:cxn ang="0">
                <a:pos x="164" y="2627"/>
              </a:cxn>
              <a:cxn ang="0">
                <a:pos x="189" y="2708"/>
              </a:cxn>
              <a:cxn ang="0">
                <a:pos x="215" y="2787"/>
              </a:cxn>
              <a:cxn ang="0">
                <a:pos x="244" y="2869"/>
              </a:cxn>
              <a:cxn ang="0">
                <a:pos x="275" y="2950"/>
              </a:cxn>
              <a:cxn ang="0">
                <a:pos x="308" y="3032"/>
              </a:cxn>
              <a:cxn ang="0">
                <a:pos x="371" y="0"/>
              </a:cxn>
            </a:cxnLst>
            <a:rect l="0" t="0" r="r" b="b"/>
            <a:pathLst>
              <a:path w="371" h="3032">
                <a:moveTo>
                  <a:pt x="371" y="0"/>
                </a:moveTo>
                <a:lnTo>
                  <a:pt x="371" y="0"/>
                </a:lnTo>
                <a:lnTo>
                  <a:pt x="361" y="14"/>
                </a:lnTo>
                <a:lnTo>
                  <a:pt x="338" y="58"/>
                </a:lnTo>
                <a:lnTo>
                  <a:pt x="303" y="128"/>
                </a:lnTo>
                <a:lnTo>
                  <a:pt x="281" y="174"/>
                </a:lnTo>
                <a:lnTo>
                  <a:pt x="259" y="225"/>
                </a:lnTo>
                <a:lnTo>
                  <a:pt x="235" y="284"/>
                </a:lnTo>
                <a:lnTo>
                  <a:pt x="209" y="348"/>
                </a:lnTo>
                <a:lnTo>
                  <a:pt x="184" y="418"/>
                </a:lnTo>
                <a:lnTo>
                  <a:pt x="160" y="494"/>
                </a:lnTo>
                <a:lnTo>
                  <a:pt x="134" y="575"/>
                </a:lnTo>
                <a:lnTo>
                  <a:pt x="110" y="663"/>
                </a:lnTo>
                <a:lnTo>
                  <a:pt x="88" y="756"/>
                </a:lnTo>
                <a:lnTo>
                  <a:pt x="66" y="854"/>
                </a:lnTo>
                <a:lnTo>
                  <a:pt x="48" y="958"/>
                </a:lnTo>
                <a:lnTo>
                  <a:pt x="32" y="1066"/>
                </a:lnTo>
                <a:lnTo>
                  <a:pt x="19" y="1178"/>
                </a:lnTo>
                <a:lnTo>
                  <a:pt x="8" y="1297"/>
                </a:lnTo>
                <a:lnTo>
                  <a:pt x="2" y="1420"/>
                </a:lnTo>
                <a:lnTo>
                  <a:pt x="0" y="1482"/>
                </a:lnTo>
                <a:lnTo>
                  <a:pt x="0" y="1546"/>
                </a:lnTo>
                <a:lnTo>
                  <a:pt x="0" y="1612"/>
                </a:lnTo>
                <a:lnTo>
                  <a:pt x="2" y="1678"/>
                </a:lnTo>
                <a:lnTo>
                  <a:pt x="6" y="1746"/>
                </a:lnTo>
                <a:lnTo>
                  <a:pt x="11" y="1814"/>
                </a:lnTo>
                <a:lnTo>
                  <a:pt x="17" y="1883"/>
                </a:lnTo>
                <a:lnTo>
                  <a:pt x="24" y="1953"/>
                </a:lnTo>
                <a:lnTo>
                  <a:pt x="33" y="2024"/>
                </a:lnTo>
                <a:lnTo>
                  <a:pt x="44" y="2096"/>
                </a:lnTo>
                <a:lnTo>
                  <a:pt x="55" y="2169"/>
                </a:lnTo>
                <a:lnTo>
                  <a:pt x="70" y="2244"/>
                </a:lnTo>
                <a:lnTo>
                  <a:pt x="85" y="2319"/>
                </a:lnTo>
                <a:lnTo>
                  <a:pt x="101" y="2395"/>
                </a:lnTo>
                <a:lnTo>
                  <a:pt x="121" y="2471"/>
                </a:lnTo>
                <a:lnTo>
                  <a:pt x="142" y="2550"/>
                </a:lnTo>
                <a:lnTo>
                  <a:pt x="164" y="2627"/>
                </a:lnTo>
                <a:lnTo>
                  <a:pt x="189" y="2708"/>
                </a:lnTo>
                <a:lnTo>
                  <a:pt x="215" y="2787"/>
                </a:lnTo>
                <a:lnTo>
                  <a:pt x="244" y="2869"/>
                </a:lnTo>
                <a:lnTo>
                  <a:pt x="275" y="2950"/>
                </a:lnTo>
                <a:lnTo>
                  <a:pt x="308" y="3032"/>
                </a:lnTo>
                <a:lnTo>
                  <a:pt x="371"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66" name="Freeform 162">
            <a:extLst>
              <a:ext uri="{FF2B5EF4-FFF2-40B4-BE49-F238E27FC236}">
                <a16:creationId xmlns:a16="http://schemas.microsoft.com/office/drawing/2014/main" id="{98171269-6596-4563-3176-081BB2198F3D}"/>
              </a:ext>
            </a:extLst>
          </p:cNvPr>
          <p:cNvSpPr>
            <a:spLocks/>
          </p:cNvSpPr>
          <p:nvPr/>
        </p:nvSpPr>
        <p:spPr bwMode="auto">
          <a:xfrm>
            <a:off x="5333084" y="1134303"/>
            <a:ext cx="557198" cy="3795126"/>
          </a:xfrm>
          <a:custGeom>
            <a:avLst/>
            <a:gdLst/>
            <a:ahLst/>
            <a:cxnLst>
              <a:cxn ang="0">
                <a:pos x="371" y="0"/>
              </a:cxn>
              <a:cxn ang="0">
                <a:pos x="371" y="0"/>
              </a:cxn>
              <a:cxn ang="0">
                <a:pos x="361" y="14"/>
              </a:cxn>
              <a:cxn ang="0">
                <a:pos x="338" y="58"/>
              </a:cxn>
              <a:cxn ang="0">
                <a:pos x="303" y="128"/>
              </a:cxn>
              <a:cxn ang="0">
                <a:pos x="281" y="174"/>
              </a:cxn>
              <a:cxn ang="0">
                <a:pos x="259" y="225"/>
              </a:cxn>
              <a:cxn ang="0">
                <a:pos x="235" y="284"/>
              </a:cxn>
              <a:cxn ang="0">
                <a:pos x="209" y="348"/>
              </a:cxn>
              <a:cxn ang="0">
                <a:pos x="184" y="418"/>
              </a:cxn>
              <a:cxn ang="0">
                <a:pos x="160" y="494"/>
              </a:cxn>
              <a:cxn ang="0">
                <a:pos x="134" y="575"/>
              </a:cxn>
              <a:cxn ang="0">
                <a:pos x="110" y="663"/>
              </a:cxn>
              <a:cxn ang="0">
                <a:pos x="88" y="756"/>
              </a:cxn>
              <a:cxn ang="0">
                <a:pos x="66" y="854"/>
              </a:cxn>
              <a:cxn ang="0">
                <a:pos x="48" y="958"/>
              </a:cxn>
              <a:cxn ang="0">
                <a:pos x="32" y="1066"/>
              </a:cxn>
              <a:cxn ang="0">
                <a:pos x="19" y="1178"/>
              </a:cxn>
              <a:cxn ang="0">
                <a:pos x="8" y="1297"/>
              </a:cxn>
              <a:cxn ang="0">
                <a:pos x="2" y="1420"/>
              </a:cxn>
              <a:cxn ang="0">
                <a:pos x="0" y="1482"/>
              </a:cxn>
              <a:cxn ang="0">
                <a:pos x="0" y="1546"/>
              </a:cxn>
              <a:cxn ang="0">
                <a:pos x="0" y="1612"/>
              </a:cxn>
              <a:cxn ang="0">
                <a:pos x="2" y="1678"/>
              </a:cxn>
              <a:cxn ang="0">
                <a:pos x="6" y="1746"/>
              </a:cxn>
              <a:cxn ang="0">
                <a:pos x="11" y="1814"/>
              </a:cxn>
              <a:cxn ang="0">
                <a:pos x="17" y="1883"/>
              </a:cxn>
              <a:cxn ang="0">
                <a:pos x="24" y="1953"/>
              </a:cxn>
              <a:cxn ang="0">
                <a:pos x="33" y="2024"/>
              </a:cxn>
              <a:cxn ang="0">
                <a:pos x="44" y="2096"/>
              </a:cxn>
              <a:cxn ang="0">
                <a:pos x="55" y="2169"/>
              </a:cxn>
              <a:cxn ang="0">
                <a:pos x="70" y="2244"/>
              </a:cxn>
              <a:cxn ang="0">
                <a:pos x="85" y="2319"/>
              </a:cxn>
              <a:cxn ang="0">
                <a:pos x="101" y="2395"/>
              </a:cxn>
              <a:cxn ang="0">
                <a:pos x="121" y="2471"/>
              </a:cxn>
              <a:cxn ang="0">
                <a:pos x="142" y="2550"/>
              </a:cxn>
              <a:cxn ang="0">
                <a:pos x="164" y="2627"/>
              </a:cxn>
              <a:cxn ang="0">
                <a:pos x="189" y="2708"/>
              </a:cxn>
              <a:cxn ang="0">
                <a:pos x="215" y="2787"/>
              </a:cxn>
              <a:cxn ang="0">
                <a:pos x="244" y="2869"/>
              </a:cxn>
              <a:cxn ang="0">
                <a:pos x="275" y="2950"/>
              </a:cxn>
              <a:cxn ang="0">
                <a:pos x="308" y="3032"/>
              </a:cxn>
            </a:cxnLst>
            <a:rect l="0" t="0" r="r" b="b"/>
            <a:pathLst>
              <a:path w="371" h="3032">
                <a:moveTo>
                  <a:pt x="371" y="0"/>
                </a:moveTo>
                <a:lnTo>
                  <a:pt x="371" y="0"/>
                </a:lnTo>
                <a:lnTo>
                  <a:pt x="361" y="14"/>
                </a:lnTo>
                <a:lnTo>
                  <a:pt x="338" y="58"/>
                </a:lnTo>
                <a:lnTo>
                  <a:pt x="303" y="128"/>
                </a:lnTo>
                <a:lnTo>
                  <a:pt x="281" y="174"/>
                </a:lnTo>
                <a:lnTo>
                  <a:pt x="259" y="225"/>
                </a:lnTo>
                <a:lnTo>
                  <a:pt x="235" y="284"/>
                </a:lnTo>
                <a:lnTo>
                  <a:pt x="209" y="348"/>
                </a:lnTo>
                <a:lnTo>
                  <a:pt x="184" y="418"/>
                </a:lnTo>
                <a:lnTo>
                  <a:pt x="160" y="494"/>
                </a:lnTo>
                <a:lnTo>
                  <a:pt x="134" y="575"/>
                </a:lnTo>
                <a:lnTo>
                  <a:pt x="110" y="663"/>
                </a:lnTo>
                <a:lnTo>
                  <a:pt x="88" y="756"/>
                </a:lnTo>
                <a:lnTo>
                  <a:pt x="66" y="854"/>
                </a:lnTo>
                <a:lnTo>
                  <a:pt x="48" y="958"/>
                </a:lnTo>
                <a:lnTo>
                  <a:pt x="32" y="1066"/>
                </a:lnTo>
                <a:lnTo>
                  <a:pt x="19" y="1178"/>
                </a:lnTo>
                <a:lnTo>
                  <a:pt x="8" y="1297"/>
                </a:lnTo>
                <a:lnTo>
                  <a:pt x="2" y="1420"/>
                </a:lnTo>
                <a:lnTo>
                  <a:pt x="0" y="1482"/>
                </a:lnTo>
                <a:lnTo>
                  <a:pt x="0" y="1546"/>
                </a:lnTo>
                <a:lnTo>
                  <a:pt x="0" y="1612"/>
                </a:lnTo>
                <a:lnTo>
                  <a:pt x="2" y="1678"/>
                </a:lnTo>
                <a:lnTo>
                  <a:pt x="6" y="1746"/>
                </a:lnTo>
                <a:lnTo>
                  <a:pt x="11" y="1814"/>
                </a:lnTo>
                <a:lnTo>
                  <a:pt x="17" y="1883"/>
                </a:lnTo>
                <a:lnTo>
                  <a:pt x="24" y="1953"/>
                </a:lnTo>
                <a:lnTo>
                  <a:pt x="33" y="2024"/>
                </a:lnTo>
                <a:lnTo>
                  <a:pt x="44" y="2096"/>
                </a:lnTo>
                <a:lnTo>
                  <a:pt x="55" y="2169"/>
                </a:lnTo>
                <a:lnTo>
                  <a:pt x="70" y="2244"/>
                </a:lnTo>
                <a:lnTo>
                  <a:pt x="85" y="2319"/>
                </a:lnTo>
                <a:lnTo>
                  <a:pt x="101" y="2395"/>
                </a:lnTo>
                <a:lnTo>
                  <a:pt x="121" y="2471"/>
                </a:lnTo>
                <a:lnTo>
                  <a:pt x="142" y="2550"/>
                </a:lnTo>
                <a:lnTo>
                  <a:pt x="164" y="2627"/>
                </a:lnTo>
                <a:lnTo>
                  <a:pt x="189" y="2708"/>
                </a:lnTo>
                <a:lnTo>
                  <a:pt x="215" y="2787"/>
                </a:lnTo>
                <a:lnTo>
                  <a:pt x="244" y="2869"/>
                </a:lnTo>
                <a:lnTo>
                  <a:pt x="275" y="2950"/>
                </a:lnTo>
                <a:lnTo>
                  <a:pt x="308" y="3032"/>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67" name="Freeform 163">
            <a:extLst>
              <a:ext uri="{FF2B5EF4-FFF2-40B4-BE49-F238E27FC236}">
                <a16:creationId xmlns:a16="http://schemas.microsoft.com/office/drawing/2014/main" id="{C39B8354-F13B-E0D1-BCE1-E637EA416006}"/>
              </a:ext>
            </a:extLst>
          </p:cNvPr>
          <p:cNvSpPr>
            <a:spLocks noEditPoints="1"/>
          </p:cNvSpPr>
          <p:nvPr/>
        </p:nvSpPr>
        <p:spPr bwMode="auto">
          <a:xfrm>
            <a:off x="5328577" y="1131799"/>
            <a:ext cx="566209" cy="3786365"/>
          </a:xfrm>
          <a:custGeom>
            <a:avLst/>
            <a:gdLst/>
            <a:ahLst/>
            <a:cxnLst>
              <a:cxn ang="0">
                <a:pos x="298" y="2996"/>
              </a:cxn>
              <a:cxn ang="0">
                <a:pos x="271" y="2943"/>
              </a:cxn>
              <a:cxn ang="0">
                <a:pos x="245" y="2875"/>
              </a:cxn>
              <a:cxn ang="0">
                <a:pos x="242" y="2845"/>
              </a:cxn>
              <a:cxn ang="0">
                <a:pos x="227" y="2803"/>
              </a:cxn>
              <a:cxn ang="0">
                <a:pos x="196" y="2735"/>
              </a:cxn>
              <a:cxn ang="0">
                <a:pos x="187" y="2708"/>
              </a:cxn>
              <a:cxn ang="0">
                <a:pos x="181" y="2664"/>
              </a:cxn>
              <a:cxn ang="0">
                <a:pos x="157" y="2611"/>
              </a:cxn>
              <a:cxn ang="0">
                <a:pos x="137" y="2539"/>
              </a:cxn>
              <a:cxn ang="0">
                <a:pos x="137" y="2510"/>
              </a:cxn>
              <a:cxn ang="0">
                <a:pos x="126" y="2466"/>
              </a:cxn>
              <a:cxn ang="0">
                <a:pos x="101" y="2397"/>
              </a:cxn>
              <a:cxn ang="0">
                <a:pos x="95" y="2369"/>
              </a:cxn>
              <a:cxn ang="0">
                <a:pos x="91" y="2325"/>
              </a:cxn>
              <a:cxn ang="0">
                <a:pos x="73" y="2268"/>
              </a:cxn>
              <a:cxn ang="0">
                <a:pos x="58" y="2197"/>
              </a:cxn>
              <a:cxn ang="0">
                <a:pos x="62" y="2166"/>
              </a:cxn>
              <a:cxn ang="0">
                <a:pos x="55" y="2124"/>
              </a:cxn>
              <a:cxn ang="0">
                <a:pos x="36" y="2052"/>
              </a:cxn>
              <a:cxn ang="0">
                <a:pos x="33" y="2023"/>
              </a:cxn>
              <a:cxn ang="0">
                <a:pos x="35" y="1977"/>
              </a:cxn>
              <a:cxn ang="0">
                <a:pos x="20" y="1920"/>
              </a:cxn>
              <a:cxn ang="0">
                <a:pos x="13" y="1847"/>
              </a:cxn>
              <a:cxn ang="0">
                <a:pos x="18" y="1818"/>
              </a:cxn>
              <a:cxn ang="0">
                <a:pos x="14" y="1774"/>
              </a:cxn>
              <a:cxn ang="0">
                <a:pos x="3" y="1700"/>
              </a:cxn>
              <a:cxn ang="0">
                <a:pos x="2" y="1671"/>
              </a:cxn>
              <a:cxn ang="0">
                <a:pos x="9" y="1627"/>
              </a:cxn>
              <a:cxn ang="0">
                <a:pos x="0" y="1554"/>
              </a:cxn>
              <a:cxn ang="0">
                <a:pos x="7" y="1537"/>
              </a:cxn>
              <a:cxn ang="0">
                <a:pos x="0" y="1480"/>
              </a:cxn>
              <a:cxn ang="0">
                <a:pos x="2" y="1436"/>
              </a:cxn>
              <a:cxn ang="0">
                <a:pos x="11" y="1392"/>
              </a:cxn>
              <a:cxn ang="0">
                <a:pos x="5" y="1334"/>
              </a:cxn>
              <a:cxn ang="0">
                <a:pos x="11" y="1261"/>
              </a:cxn>
              <a:cxn ang="0">
                <a:pos x="20" y="1233"/>
              </a:cxn>
              <a:cxn ang="0">
                <a:pos x="16" y="1187"/>
              </a:cxn>
              <a:cxn ang="0">
                <a:pos x="25" y="1116"/>
              </a:cxn>
              <a:cxn ang="0">
                <a:pos x="36" y="1086"/>
              </a:cxn>
              <a:cxn ang="0">
                <a:pos x="42" y="1044"/>
              </a:cxn>
              <a:cxn ang="0">
                <a:pos x="46" y="969"/>
              </a:cxn>
              <a:cxn ang="0">
                <a:pos x="51" y="942"/>
              </a:cxn>
              <a:cxn ang="0">
                <a:pos x="66" y="900"/>
              </a:cxn>
              <a:cxn ang="0">
                <a:pos x="69" y="839"/>
              </a:cxn>
              <a:cxn ang="0">
                <a:pos x="84" y="768"/>
              </a:cxn>
              <a:cxn ang="0">
                <a:pos x="99" y="742"/>
              </a:cxn>
              <a:cxn ang="0">
                <a:pos x="101" y="696"/>
              </a:cxn>
              <a:cxn ang="0">
                <a:pos x="121" y="627"/>
              </a:cxn>
              <a:cxn ang="0">
                <a:pos x="135" y="599"/>
              </a:cxn>
              <a:cxn ang="0">
                <a:pos x="146" y="557"/>
              </a:cxn>
              <a:cxn ang="0">
                <a:pos x="161" y="485"/>
              </a:cxn>
              <a:cxn ang="0">
                <a:pos x="170" y="458"/>
              </a:cxn>
              <a:cxn ang="0">
                <a:pos x="192" y="418"/>
              </a:cxn>
              <a:cxn ang="0">
                <a:pos x="205" y="361"/>
              </a:cxn>
              <a:cxn ang="0">
                <a:pos x="231" y="291"/>
              </a:cxn>
              <a:cxn ang="0">
                <a:pos x="249" y="267"/>
              </a:cxn>
              <a:cxn ang="0">
                <a:pos x="266" y="227"/>
              </a:cxn>
              <a:cxn ang="0">
                <a:pos x="289" y="157"/>
              </a:cxn>
              <a:cxn ang="0">
                <a:pos x="302" y="130"/>
              </a:cxn>
              <a:cxn ang="0">
                <a:pos x="328" y="93"/>
              </a:cxn>
              <a:cxn ang="0">
                <a:pos x="348" y="38"/>
              </a:cxn>
              <a:cxn ang="0">
                <a:pos x="377" y="4"/>
              </a:cxn>
            </a:cxnLst>
            <a:rect l="0" t="0" r="r" b="b"/>
            <a:pathLst>
              <a:path w="377" h="3025">
                <a:moveTo>
                  <a:pt x="297" y="3012"/>
                </a:moveTo>
                <a:lnTo>
                  <a:pt x="297" y="3012"/>
                </a:lnTo>
                <a:lnTo>
                  <a:pt x="302" y="3025"/>
                </a:lnTo>
                <a:lnTo>
                  <a:pt x="309" y="3023"/>
                </a:lnTo>
                <a:lnTo>
                  <a:pt x="309" y="3023"/>
                </a:lnTo>
                <a:lnTo>
                  <a:pt x="304" y="3008"/>
                </a:lnTo>
                <a:lnTo>
                  <a:pt x="297" y="3012"/>
                </a:lnTo>
                <a:close/>
                <a:moveTo>
                  <a:pt x="286" y="2985"/>
                </a:moveTo>
                <a:lnTo>
                  <a:pt x="286" y="2985"/>
                </a:lnTo>
                <a:lnTo>
                  <a:pt x="291" y="2997"/>
                </a:lnTo>
                <a:lnTo>
                  <a:pt x="298" y="2996"/>
                </a:lnTo>
                <a:lnTo>
                  <a:pt x="298" y="2996"/>
                </a:lnTo>
                <a:lnTo>
                  <a:pt x="293" y="2981"/>
                </a:lnTo>
                <a:lnTo>
                  <a:pt x="286" y="2985"/>
                </a:lnTo>
                <a:close/>
                <a:moveTo>
                  <a:pt x="277" y="2957"/>
                </a:moveTo>
                <a:lnTo>
                  <a:pt x="277" y="2957"/>
                </a:lnTo>
                <a:lnTo>
                  <a:pt x="280" y="2970"/>
                </a:lnTo>
                <a:lnTo>
                  <a:pt x="287" y="2968"/>
                </a:lnTo>
                <a:lnTo>
                  <a:pt x="287" y="2968"/>
                </a:lnTo>
                <a:lnTo>
                  <a:pt x="282" y="2955"/>
                </a:lnTo>
                <a:lnTo>
                  <a:pt x="277" y="2957"/>
                </a:lnTo>
                <a:close/>
                <a:moveTo>
                  <a:pt x="266" y="2930"/>
                </a:moveTo>
                <a:lnTo>
                  <a:pt x="266" y="2930"/>
                </a:lnTo>
                <a:lnTo>
                  <a:pt x="271" y="2943"/>
                </a:lnTo>
                <a:lnTo>
                  <a:pt x="277" y="2941"/>
                </a:lnTo>
                <a:lnTo>
                  <a:pt x="277" y="2941"/>
                </a:lnTo>
                <a:lnTo>
                  <a:pt x="271" y="2928"/>
                </a:lnTo>
                <a:lnTo>
                  <a:pt x="266" y="2930"/>
                </a:lnTo>
                <a:close/>
                <a:moveTo>
                  <a:pt x="255" y="2902"/>
                </a:moveTo>
                <a:lnTo>
                  <a:pt x="255" y="2902"/>
                </a:lnTo>
                <a:lnTo>
                  <a:pt x="260" y="2917"/>
                </a:lnTo>
                <a:lnTo>
                  <a:pt x="267" y="2913"/>
                </a:lnTo>
                <a:lnTo>
                  <a:pt x="267" y="2913"/>
                </a:lnTo>
                <a:lnTo>
                  <a:pt x="262" y="2900"/>
                </a:lnTo>
                <a:lnTo>
                  <a:pt x="255" y="2902"/>
                </a:lnTo>
                <a:close/>
                <a:moveTo>
                  <a:pt x="245" y="2875"/>
                </a:moveTo>
                <a:lnTo>
                  <a:pt x="245" y="2875"/>
                </a:lnTo>
                <a:lnTo>
                  <a:pt x="249" y="2889"/>
                </a:lnTo>
                <a:lnTo>
                  <a:pt x="256" y="2886"/>
                </a:lnTo>
                <a:lnTo>
                  <a:pt x="256" y="2886"/>
                </a:lnTo>
                <a:lnTo>
                  <a:pt x="251" y="2873"/>
                </a:lnTo>
                <a:lnTo>
                  <a:pt x="245" y="2875"/>
                </a:lnTo>
                <a:close/>
                <a:moveTo>
                  <a:pt x="234" y="2847"/>
                </a:moveTo>
                <a:lnTo>
                  <a:pt x="234" y="2847"/>
                </a:lnTo>
                <a:lnTo>
                  <a:pt x="240" y="2862"/>
                </a:lnTo>
                <a:lnTo>
                  <a:pt x="247" y="2858"/>
                </a:lnTo>
                <a:lnTo>
                  <a:pt x="247" y="2858"/>
                </a:lnTo>
                <a:lnTo>
                  <a:pt x="242" y="2845"/>
                </a:lnTo>
                <a:lnTo>
                  <a:pt x="234" y="2847"/>
                </a:lnTo>
                <a:close/>
                <a:moveTo>
                  <a:pt x="225" y="2820"/>
                </a:moveTo>
                <a:lnTo>
                  <a:pt x="225" y="2820"/>
                </a:lnTo>
                <a:lnTo>
                  <a:pt x="229" y="2833"/>
                </a:lnTo>
                <a:lnTo>
                  <a:pt x="236" y="2831"/>
                </a:lnTo>
                <a:lnTo>
                  <a:pt x="236" y="2831"/>
                </a:lnTo>
                <a:lnTo>
                  <a:pt x="233" y="2818"/>
                </a:lnTo>
                <a:lnTo>
                  <a:pt x="225" y="2820"/>
                </a:lnTo>
                <a:close/>
                <a:moveTo>
                  <a:pt x="214" y="2792"/>
                </a:moveTo>
                <a:lnTo>
                  <a:pt x="214" y="2792"/>
                </a:lnTo>
                <a:lnTo>
                  <a:pt x="220" y="2805"/>
                </a:lnTo>
                <a:lnTo>
                  <a:pt x="227" y="2803"/>
                </a:lnTo>
                <a:lnTo>
                  <a:pt x="227" y="2803"/>
                </a:lnTo>
                <a:lnTo>
                  <a:pt x="222" y="2789"/>
                </a:lnTo>
                <a:lnTo>
                  <a:pt x="214" y="2792"/>
                </a:lnTo>
                <a:close/>
                <a:moveTo>
                  <a:pt x="205" y="2765"/>
                </a:moveTo>
                <a:lnTo>
                  <a:pt x="205" y="2765"/>
                </a:lnTo>
                <a:lnTo>
                  <a:pt x="211" y="2778"/>
                </a:lnTo>
                <a:lnTo>
                  <a:pt x="218" y="2776"/>
                </a:lnTo>
                <a:lnTo>
                  <a:pt x="218" y="2776"/>
                </a:lnTo>
                <a:lnTo>
                  <a:pt x="212" y="2761"/>
                </a:lnTo>
                <a:lnTo>
                  <a:pt x="205" y="2765"/>
                </a:lnTo>
                <a:close/>
                <a:moveTo>
                  <a:pt x="196" y="2735"/>
                </a:moveTo>
                <a:lnTo>
                  <a:pt x="196" y="2735"/>
                </a:lnTo>
                <a:lnTo>
                  <a:pt x="201" y="2750"/>
                </a:lnTo>
                <a:lnTo>
                  <a:pt x="209" y="2748"/>
                </a:lnTo>
                <a:lnTo>
                  <a:pt x="209" y="2748"/>
                </a:lnTo>
                <a:lnTo>
                  <a:pt x="203" y="2734"/>
                </a:lnTo>
                <a:lnTo>
                  <a:pt x="196" y="2735"/>
                </a:lnTo>
                <a:close/>
                <a:moveTo>
                  <a:pt x="187" y="2708"/>
                </a:moveTo>
                <a:lnTo>
                  <a:pt x="187" y="2708"/>
                </a:lnTo>
                <a:lnTo>
                  <a:pt x="192" y="2723"/>
                </a:lnTo>
                <a:lnTo>
                  <a:pt x="200" y="2721"/>
                </a:lnTo>
                <a:lnTo>
                  <a:pt x="200" y="2721"/>
                </a:lnTo>
                <a:lnTo>
                  <a:pt x="194" y="2706"/>
                </a:lnTo>
                <a:lnTo>
                  <a:pt x="187" y="2708"/>
                </a:lnTo>
                <a:close/>
                <a:moveTo>
                  <a:pt x="179" y="2681"/>
                </a:moveTo>
                <a:lnTo>
                  <a:pt x="179" y="2681"/>
                </a:lnTo>
                <a:lnTo>
                  <a:pt x="183" y="2695"/>
                </a:lnTo>
                <a:lnTo>
                  <a:pt x="190" y="2692"/>
                </a:lnTo>
                <a:lnTo>
                  <a:pt x="190" y="2692"/>
                </a:lnTo>
                <a:lnTo>
                  <a:pt x="185" y="2679"/>
                </a:lnTo>
                <a:lnTo>
                  <a:pt x="179" y="2681"/>
                </a:lnTo>
                <a:close/>
                <a:moveTo>
                  <a:pt x="170" y="2653"/>
                </a:moveTo>
                <a:lnTo>
                  <a:pt x="170" y="2653"/>
                </a:lnTo>
                <a:lnTo>
                  <a:pt x="174" y="2666"/>
                </a:lnTo>
                <a:lnTo>
                  <a:pt x="181" y="2664"/>
                </a:lnTo>
                <a:lnTo>
                  <a:pt x="181" y="2664"/>
                </a:lnTo>
                <a:lnTo>
                  <a:pt x="178" y="2649"/>
                </a:lnTo>
                <a:lnTo>
                  <a:pt x="170" y="2653"/>
                </a:lnTo>
                <a:close/>
                <a:moveTo>
                  <a:pt x="161" y="2624"/>
                </a:moveTo>
                <a:lnTo>
                  <a:pt x="161" y="2624"/>
                </a:lnTo>
                <a:lnTo>
                  <a:pt x="165" y="2638"/>
                </a:lnTo>
                <a:lnTo>
                  <a:pt x="172" y="2637"/>
                </a:lnTo>
                <a:lnTo>
                  <a:pt x="172" y="2637"/>
                </a:lnTo>
                <a:lnTo>
                  <a:pt x="168" y="2622"/>
                </a:lnTo>
                <a:lnTo>
                  <a:pt x="161" y="2624"/>
                </a:lnTo>
                <a:close/>
                <a:moveTo>
                  <a:pt x="154" y="2596"/>
                </a:moveTo>
                <a:lnTo>
                  <a:pt x="154" y="2596"/>
                </a:lnTo>
                <a:lnTo>
                  <a:pt x="157" y="2611"/>
                </a:lnTo>
                <a:lnTo>
                  <a:pt x="165" y="2607"/>
                </a:lnTo>
                <a:lnTo>
                  <a:pt x="165" y="2607"/>
                </a:lnTo>
                <a:lnTo>
                  <a:pt x="161" y="2594"/>
                </a:lnTo>
                <a:lnTo>
                  <a:pt x="154" y="2596"/>
                </a:lnTo>
                <a:close/>
                <a:moveTo>
                  <a:pt x="145" y="2567"/>
                </a:moveTo>
                <a:lnTo>
                  <a:pt x="145" y="2567"/>
                </a:lnTo>
                <a:lnTo>
                  <a:pt x="148" y="2582"/>
                </a:lnTo>
                <a:lnTo>
                  <a:pt x="156" y="2580"/>
                </a:lnTo>
                <a:lnTo>
                  <a:pt x="156" y="2580"/>
                </a:lnTo>
                <a:lnTo>
                  <a:pt x="152" y="2565"/>
                </a:lnTo>
                <a:lnTo>
                  <a:pt x="145" y="2567"/>
                </a:lnTo>
                <a:close/>
                <a:moveTo>
                  <a:pt x="137" y="2539"/>
                </a:moveTo>
                <a:lnTo>
                  <a:pt x="137" y="2539"/>
                </a:lnTo>
                <a:lnTo>
                  <a:pt x="141" y="2554"/>
                </a:lnTo>
                <a:lnTo>
                  <a:pt x="148" y="2552"/>
                </a:lnTo>
                <a:lnTo>
                  <a:pt x="148" y="2552"/>
                </a:lnTo>
                <a:lnTo>
                  <a:pt x="145" y="2538"/>
                </a:lnTo>
                <a:lnTo>
                  <a:pt x="137" y="2539"/>
                </a:lnTo>
                <a:close/>
                <a:moveTo>
                  <a:pt x="130" y="2512"/>
                </a:moveTo>
                <a:lnTo>
                  <a:pt x="130" y="2512"/>
                </a:lnTo>
                <a:lnTo>
                  <a:pt x="134" y="2525"/>
                </a:lnTo>
                <a:lnTo>
                  <a:pt x="141" y="2523"/>
                </a:lnTo>
                <a:lnTo>
                  <a:pt x="141" y="2523"/>
                </a:lnTo>
                <a:lnTo>
                  <a:pt x="137" y="2510"/>
                </a:lnTo>
                <a:lnTo>
                  <a:pt x="130" y="2512"/>
                </a:lnTo>
                <a:close/>
                <a:moveTo>
                  <a:pt x="123" y="2483"/>
                </a:moveTo>
                <a:lnTo>
                  <a:pt x="123" y="2483"/>
                </a:lnTo>
                <a:lnTo>
                  <a:pt x="126" y="2497"/>
                </a:lnTo>
                <a:lnTo>
                  <a:pt x="134" y="2495"/>
                </a:lnTo>
                <a:lnTo>
                  <a:pt x="134" y="2495"/>
                </a:lnTo>
                <a:lnTo>
                  <a:pt x="130" y="2481"/>
                </a:lnTo>
                <a:lnTo>
                  <a:pt x="123" y="2483"/>
                </a:lnTo>
                <a:close/>
                <a:moveTo>
                  <a:pt x="115" y="2455"/>
                </a:moveTo>
                <a:lnTo>
                  <a:pt x="115" y="2455"/>
                </a:lnTo>
                <a:lnTo>
                  <a:pt x="119" y="2468"/>
                </a:lnTo>
                <a:lnTo>
                  <a:pt x="126" y="2466"/>
                </a:lnTo>
                <a:lnTo>
                  <a:pt x="126" y="2466"/>
                </a:lnTo>
                <a:lnTo>
                  <a:pt x="123" y="2453"/>
                </a:lnTo>
                <a:lnTo>
                  <a:pt x="115" y="2455"/>
                </a:lnTo>
                <a:close/>
                <a:moveTo>
                  <a:pt x="108" y="2426"/>
                </a:moveTo>
                <a:lnTo>
                  <a:pt x="108" y="2426"/>
                </a:lnTo>
                <a:lnTo>
                  <a:pt x="112" y="2440"/>
                </a:lnTo>
                <a:lnTo>
                  <a:pt x="119" y="2439"/>
                </a:lnTo>
                <a:lnTo>
                  <a:pt x="119" y="2439"/>
                </a:lnTo>
                <a:lnTo>
                  <a:pt x="115" y="2424"/>
                </a:lnTo>
                <a:lnTo>
                  <a:pt x="108" y="2426"/>
                </a:lnTo>
                <a:close/>
                <a:moveTo>
                  <a:pt x="101" y="2397"/>
                </a:moveTo>
                <a:lnTo>
                  <a:pt x="101" y="2397"/>
                </a:lnTo>
                <a:lnTo>
                  <a:pt x="104" y="2411"/>
                </a:lnTo>
                <a:lnTo>
                  <a:pt x="112" y="2409"/>
                </a:lnTo>
                <a:lnTo>
                  <a:pt x="112" y="2409"/>
                </a:lnTo>
                <a:lnTo>
                  <a:pt x="108" y="2397"/>
                </a:lnTo>
                <a:lnTo>
                  <a:pt x="101" y="2397"/>
                </a:lnTo>
                <a:close/>
                <a:moveTo>
                  <a:pt x="95" y="2369"/>
                </a:moveTo>
                <a:lnTo>
                  <a:pt x="95" y="2369"/>
                </a:lnTo>
                <a:lnTo>
                  <a:pt x="97" y="2384"/>
                </a:lnTo>
                <a:lnTo>
                  <a:pt x="104" y="2382"/>
                </a:lnTo>
                <a:lnTo>
                  <a:pt x="104" y="2382"/>
                </a:lnTo>
                <a:lnTo>
                  <a:pt x="102" y="2367"/>
                </a:lnTo>
                <a:lnTo>
                  <a:pt x="95" y="2369"/>
                </a:lnTo>
                <a:close/>
                <a:moveTo>
                  <a:pt x="88" y="2340"/>
                </a:moveTo>
                <a:lnTo>
                  <a:pt x="88" y="2340"/>
                </a:lnTo>
                <a:lnTo>
                  <a:pt x="91" y="2354"/>
                </a:lnTo>
                <a:lnTo>
                  <a:pt x="99" y="2353"/>
                </a:lnTo>
                <a:lnTo>
                  <a:pt x="99" y="2353"/>
                </a:lnTo>
                <a:lnTo>
                  <a:pt x="95" y="2338"/>
                </a:lnTo>
                <a:lnTo>
                  <a:pt x="88" y="2340"/>
                </a:lnTo>
                <a:close/>
                <a:moveTo>
                  <a:pt x="82" y="2312"/>
                </a:moveTo>
                <a:lnTo>
                  <a:pt x="82" y="2312"/>
                </a:lnTo>
                <a:lnTo>
                  <a:pt x="84" y="2325"/>
                </a:lnTo>
                <a:lnTo>
                  <a:pt x="91" y="2325"/>
                </a:lnTo>
                <a:lnTo>
                  <a:pt x="91" y="2325"/>
                </a:lnTo>
                <a:lnTo>
                  <a:pt x="90" y="2310"/>
                </a:lnTo>
                <a:lnTo>
                  <a:pt x="82" y="2312"/>
                </a:lnTo>
                <a:close/>
                <a:moveTo>
                  <a:pt x="77" y="2283"/>
                </a:moveTo>
                <a:lnTo>
                  <a:pt x="77" y="2283"/>
                </a:lnTo>
                <a:lnTo>
                  <a:pt x="79" y="2298"/>
                </a:lnTo>
                <a:lnTo>
                  <a:pt x="86" y="2296"/>
                </a:lnTo>
                <a:lnTo>
                  <a:pt x="86" y="2296"/>
                </a:lnTo>
                <a:lnTo>
                  <a:pt x="82" y="2281"/>
                </a:lnTo>
                <a:lnTo>
                  <a:pt x="77" y="2283"/>
                </a:lnTo>
                <a:close/>
                <a:moveTo>
                  <a:pt x="69" y="2254"/>
                </a:moveTo>
                <a:lnTo>
                  <a:pt x="69" y="2254"/>
                </a:lnTo>
                <a:lnTo>
                  <a:pt x="73" y="2268"/>
                </a:lnTo>
                <a:lnTo>
                  <a:pt x="80" y="2266"/>
                </a:lnTo>
                <a:lnTo>
                  <a:pt x="80" y="2266"/>
                </a:lnTo>
                <a:lnTo>
                  <a:pt x="77" y="2252"/>
                </a:lnTo>
                <a:lnTo>
                  <a:pt x="69" y="2254"/>
                </a:lnTo>
                <a:close/>
                <a:moveTo>
                  <a:pt x="64" y="2224"/>
                </a:moveTo>
                <a:lnTo>
                  <a:pt x="64" y="2224"/>
                </a:lnTo>
                <a:lnTo>
                  <a:pt x="68" y="2239"/>
                </a:lnTo>
                <a:lnTo>
                  <a:pt x="75" y="2239"/>
                </a:lnTo>
                <a:lnTo>
                  <a:pt x="75" y="2239"/>
                </a:lnTo>
                <a:lnTo>
                  <a:pt x="71" y="2224"/>
                </a:lnTo>
                <a:lnTo>
                  <a:pt x="64" y="2224"/>
                </a:lnTo>
                <a:close/>
                <a:moveTo>
                  <a:pt x="58" y="2197"/>
                </a:moveTo>
                <a:lnTo>
                  <a:pt x="58" y="2197"/>
                </a:lnTo>
                <a:lnTo>
                  <a:pt x="62" y="2211"/>
                </a:lnTo>
                <a:lnTo>
                  <a:pt x="69" y="2210"/>
                </a:lnTo>
                <a:lnTo>
                  <a:pt x="69" y="2210"/>
                </a:lnTo>
                <a:lnTo>
                  <a:pt x="66" y="2195"/>
                </a:lnTo>
                <a:lnTo>
                  <a:pt x="58" y="2197"/>
                </a:lnTo>
                <a:close/>
                <a:moveTo>
                  <a:pt x="55" y="2167"/>
                </a:moveTo>
                <a:lnTo>
                  <a:pt x="55" y="2167"/>
                </a:lnTo>
                <a:lnTo>
                  <a:pt x="57" y="2182"/>
                </a:lnTo>
                <a:lnTo>
                  <a:pt x="64" y="2180"/>
                </a:lnTo>
                <a:lnTo>
                  <a:pt x="64" y="2180"/>
                </a:lnTo>
                <a:lnTo>
                  <a:pt x="62" y="2166"/>
                </a:lnTo>
                <a:lnTo>
                  <a:pt x="55" y="2167"/>
                </a:lnTo>
                <a:close/>
                <a:moveTo>
                  <a:pt x="49" y="2138"/>
                </a:moveTo>
                <a:lnTo>
                  <a:pt x="49" y="2138"/>
                </a:lnTo>
                <a:lnTo>
                  <a:pt x="51" y="2153"/>
                </a:lnTo>
                <a:lnTo>
                  <a:pt x="58" y="2151"/>
                </a:lnTo>
                <a:lnTo>
                  <a:pt x="58" y="2151"/>
                </a:lnTo>
                <a:lnTo>
                  <a:pt x="57" y="2138"/>
                </a:lnTo>
                <a:lnTo>
                  <a:pt x="49" y="2138"/>
                </a:lnTo>
                <a:close/>
                <a:moveTo>
                  <a:pt x="44" y="2109"/>
                </a:moveTo>
                <a:lnTo>
                  <a:pt x="44" y="2109"/>
                </a:lnTo>
                <a:lnTo>
                  <a:pt x="47" y="2124"/>
                </a:lnTo>
                <a:lnTo>
                  <a:pt x="55" y="2124"/>
                </a:lnTo>
                <a:lnTo>
                  <a:pt x="55" y="2124"/>
                </a:lnTo>
                <a:lnTo>
                  <a:pt x="51" y="2109"/>
                </a:lnTo>
                <a:lnTo>
                  <a:pt x="44" y="2109"/>
                </a:lnTo>
                <a:close/>
                <a:moveTo>
                  <a:pt x="40" y="2081"/>
                </a:moveTo>
                <a:lnTo>
                  <a:pt x="40" y="2081"/>
                </a:lnTo>
                <a:lnTo>
                  <a:pt x="42" y="2094"/>
                </a:lnTo>
                <a:lnTo>
                  <a:pt x="49" y="2094"/>
                </a:lnTo>
                <a:lnTo>
                  <a:pt x="49" y="2094"/>
                </a:lnTo>
                <a:lnTo>
                  <a:pt x="47" y="2080"/>
                </a:lnTo>
                <a:lnTo>
                  <a:pt x="40" y="2081"/>
                </a:lnTo>
                <a:close/>
                <a:moveTo>
                  <a:pt x="36" y="2052"/>
                </a:moveTo>
                <a:lnTo>
                  <a:pt x="36" y="2052"/>
                </a:lnTo>
                <a:lnTo>
                  <a:pt x="38" y="2067"/>
                </a:lnTo>
                <a:lnTo>
                  <a:pt x="46" y="2065"/>
                </a:lnTo>
                <a:lnTo>
                  <a:pt x="46" y="2065"/>
                </a:lnTo>
                <a:lnTo>
                  <a:pt x="44" y="2050"/>
                </a:lnTo>
                <a:lnTo>
                  <a:pt x="36" y="2052"/>
                </a:lnTo>
                <a:close/>
                <a:moveTo>
                  <a:pt x="33" y="2023"/>
                </a:moveTo>
                <a:lnTo>
                  <a:pt x="33" y="2023"/>
                </a:lnTo>
                <a:lnTo>
                  <a:pt x="35" y="2037"/>
                </a:lnTo>
                <a:lnTo>
                  <a:pt x="42" y="2036"/>
                </a:lnTo>
                <a:lnTo>
                  <a:pt x="42" y="2036"/>
                </a:lnTo>
                <a:lnTo>
                  <a:pt x="40" y="2021"/>
                </a:lnTo>
                <a:lnTo>
                  <a:pt x="33" y="2023"/>
                </a:lnTo>
                <a:close/>
                <a:moveTo>
                  <a:pt x="29" y="1993"/>
                </a:moveTo>
                <a:lnTo>
                  <a:pt x="29" y="1993"/>
                </a:lnTo>
                <a:lnTo>
                  <a:pt x="31" y="2008"/>
                </a:lnTo>
                <a:lnTo>
                  <a:pt x="36" y="2006"/>
                </a:lnTo>
                <a:lnTo>
                  <a:pt x="36" y="2006"/>
                </a:lnTo>
                <a:lnTo>
                  <a:pt x="35" y="1992"/>
                </a:lnTo>
                <a:lnTo>
                  <a:pt x="29" y="1993"/>
                </a:lnTo>
                <a:close/>
                <a:moveTo>
                  <a:pt x="25" y="1964"/>
                </a:moveTo>
                <a:lnTo>
                  <a:pt x="25" y="1964"/>
                </a:lnTo>
                <a:lnTo>
                  <a:pt x="27" y="1979"/>
                </a:lnTo>
                <a:lnTo>
                  <a:pt x="35" y="1977"/>
                </a:lnTo>
                <a:lnTo>
                  <a:pt x="35" y="1977"/>
                </a:lnTo>
                <a:lnTo>
                  <a:pt x="33" y="1964"/>
                </a:lnTo>
                <a:lnTo>
                  <a:pt x="25" y="1964"/>
                </a:lnTo>
                <a:close/>
                <a:moveTo>
                  <a:pt x="22" y="1935"/>
                </a:moveTo>
                <a:lnTo>
                  <a:pt x="22" y="1935"/>
                </a:lnTo>
                <a:lnTo>
                  <a:pt x="24" y="1949"/>
                </a:lnTo>
                <a:lnTo>
                  <a:pt x="31" y="1949"/>
                </a:lnTo>
                <a:lnTo>
                  <a:pt x="31" y="1949"/>
                </a:lnTo>
                <a:lnTo>
                  <a:pt x="29" y="1935"/>
                </a:lnTo>
                <a:lnTo>
                  <a:pt x="22" y="1935"/>
                </a:lnTo>
                <a:close/>
                <a:moveTo>
                  <a:pt x="18" y="1905"/>
                </a:moveTo>
                <a:lnTo>
                  <a:pt x="18" y="1905"/>
                </a:lnTo>
                <a:lnTo>
                  <a:pt x="20" y="1920"/>
                </a:lnTo>
                <a:lnTo>
                  <a:pt x="27" y="1920"/>
                </a:lnTo>
                <a:lnTo>
                  <a:pt x="27" y="1920"/>
                </a:lnTo>
                <a:lnTo>
                  <a:pt x="25" y="1905"/>
                </a:lnTo>
                <a:lnTo>
                  <a:pt x="18" y="1905"/>
                </a:lnTo>
                <a:close/>
                <a:moveTo>
                  <a:pt x="16" y="1876"/>
                </a:moveTo>
                <a:lnTo>
                  <a:pt x="16" y="1876"/>
                </a:lnTo>
                <a:lnTo>
                  <a:pt x="16" y="1891"/>
                </a:lnTo>
                <a:lnTo>
                  <a:pt x="24" y="1891"/>
                </a:lnTo>
                <a:lnTo>
                  <a:pt x="24" y="1891"/>
                </a:lnTo>
                <a:lnTo>
                  <a:pt x="24" y="1876"/>
                </a:lnTo>
                <a:lnTo>
                  <a:pt x="16" y="1876"/>
                </a:lnTo>
                <a:close/>
                <a:moveTo>
                  <a:pt x="13" y="1847"/>
                </a:moveTo>
                <a:lnTo>
                  <a:pt x="13" y="1847"/>
                </a:lnTo>
                <a:lnTo>
                  <a:pt x="14" y="1861"/>
                </a:lnTo>
                <a:lnTo>
                  <a:pt x="22" y="1861"/>
                </a:lnTo>
                <a:lnTo>
                  <a:pt x="22" y="1861"/>
                </a:lnTo>
                <a:lnTo>
                  <a:pt x="20" y="1847"/>
                </a:lnTo>
                <a:lnTo>
                  <a:pt x="13" y="1847"/>
                </a:lnTo>
                <a:close/>
                <a:moveTo>
                  <a:pt x="11" y="1818"/>
                </a:moveTo>
                <a:lnTo>
                  <a:pt x="11" y="1818"/>
                </a:lnTo>
                <a:lnTo>
                  <a:pt x="11" y="1832"/>
                </a:lnTo>
                <a:lnTo>
                  <a:pt x="18" y="1832"/>
                </a:lnTo>
                <a:lnTo>
                  <a:pt x="18" y="1832"/>
                </a:lnTo>
                <a:lnTo>
                  <a:pt x="18" y="1818"/>
                </a:lnTo>
                <a:lnTo>
                  <a:pt x="11" y="1818"/>
                </a:lnTo>
                <a:close/>
                <a:moveTo>
                  <a:pt x="9" y="1788"/>
                </a:moveTo>
                <a:lnTo>
                  <a:pt x="9" y="1788"/>
                </a:lnTo>
                <a:lnTo>
                  <a:pt x="9" y="1803"/>
                </a:lnTo>
                <a:lnTo>
                  <a:pt x="16" y="1803"/>
                </a:lnTo>
                <a:lnTo>
                  <a:pt x="16" y="1803"/>
                </a:lnTo>
                <a:lnTo>
                  <a:pt x="16" y="1788"/>
                </a:lnTo>
                <a:lnTo>
                  <a:pt x="9" y="1788"/>
                </a:lnTo>
                <a:close/>
                <a:moveTo>
                  <a:pt x="7" y="1759"/>
                </a:moveTo>
                <a:lnTo>
                  <a:pt x="7" y="1759"/>
                </a:lnTo>
                <a:lnTo>
                  <a:pt x="7" y="1774"/>
                </a:lnTo>
                <a:lnTo>
                  <a:pt x="14" y="1774"/>
                </a:lnTo>
                <a:lnTo>
                  <a:pt x="14" y="1774"/>
                </a:lnTo>
                <a:lnTo>
                  <a:pt x="14" y="1759"/>
                </a:lnTo>
                <a:lnTo>
                  <a:pt x="7" y="1759"/>
                </a:lnTo>
                <a:close/>
                <a:moveTo>
                  <a:pt x="5" y="1730"/>
                </a:moveTo>
                <a:lnTo>
                  <a:pt x="5" y="1730"/>
                </a:lnTo>
                <a:lnTo>
                  <a:pt x="5" y="1744"/>
                </a:lnTo>
                <a:lnTo>
                  <a:pt x="13" y="1744"/>
                </a:lnTo>
                <a:lnTo>
                  <a:pt x="13" y="1744"/>
                </a:lnTo>
                <a:lnTo>
                  <a:pt x="13" y="1730"/>
                </a:lnTo>
                <a:lnTo>
                  <a:pt x="5" y="1730"/>
                </a:lnTo>
                <a:close/>
                <a:moveTo>
                  <a:pt x="3" y="1700"/>
                </a:moveTo>
                <a:lnTo>
                  <a:pt x="3" y="1700"/>
                </a:lnTo>
                <a:lnTo>
                  <a:pt x="3" y="1715"/>
                </a:lnTo>
                <a:lnTo>
                  <a:pt x="11" y="1715"/>
                </a:lnTo>
                <a:lnTo>
                  <a:pt x="11" y="1715"/>
                </a:lnTo>
                <a:lnTo>
                  <a:pt x="11" y="1700"/>
                </a:lnTo>
                <a:lnTo>
                  <a:pt x="3" y="1700"/>
                </a:lnTo>
                <a:close/>
                <a:moveTo>
                  <a:pt x="2" y="1671"/>
                </a:moveTo>
                <a:lnTo>
                  <a:pt x="2" y="1671"/>
                </a:lnTo>
                <a:lnTo>
                  <a:pt x="3" y="1686"/>
                </a:lnTo>
                <a:lnTo>
                  <a:pt x="11" y="1686"/>
                </a:lnTo>
                <a:lnTo>
                  <a:pt x="11" y="1686"/>
                </a:lnTo>
                <a:lnTo>
                  <a:pt x="9" y="1671"/>
                </a:lnTo>
                <a:lnTo>
                  <a:pt x="2" y="1671"/>
                </a:lnTo>
                <a:close/>
                <a:moveTo>
                  <a:pt x="2" y="1642"/>
                </a:moveTo>
                <a:lnTo>
                  <a:pt x="2" y="1642"/>
                </a:lnTo>
                <a:lnTo>
                  <a:pt x="2" y="1656"/>
                </a:lnTo>
                <a:lnTo>
                  <a:pt x="9" y="1656"/>
                </a:lnTo>
                <a:lnTo>
                  <a:pt x="9" y="1656"/>
                </a:lnTo>
                <a:lnTo>
                  <a:pt x="9" y="1642"/>
                </a:lnTo>
                <a:lnTo>
                  <a:pt x="2" y="1642"/>
                </a:lnTo>
                <a:close/>
                <a:moveTo>
                  <a:pt x="0" y="1612"/>
                </a:moveTo>
                <a:lnTo>
                  <a:pt x="0" y="1612"/>
                </a:lnTo>
                <a:lnTo>
                  <a:pt x="2" y="1627"/>
                </a:lnTo>
                <a:lnTo>
                  <a:pt x="9" y="1627"/>
                </a:lnTo>
                <a:lnTo>
                  <a:pt x="9" y="1627"/>
                </a:lnTo>
                <a:lnTo>
                  <a:pt x="7" y="1612"/>
                </a:lnTo>
                <a:lnTo>
                  <a:pt x="0" y="1612"/>
                </a:lnTo>
                <a:close/>
                <a:moveTo>
                  <a:pt x="0" y="1583"/>
                </a:moveTo>
                <a:lnTo>
                  <a:pt x="0" y="1583"/>
                </a:lnTo>
                <a:lnTo>
                  <a:pt x="0" y="1598"/>
                </a:lnTo>
                <a:lnTo>
                  <a:pt x="7" y="1598"/>
                </a:lnTo>
                <a:lnTo>
                  <a:pt x="7" y="1598"/>
                </a:lnTo>
                <a:lnTo>
                  <a:pt x="7" y="1583"/>
                </a:lnTo>
                <a:lnTo>
                  <a:pt x="0" y="1583"/>
                </a:lnTo>
                <a:lnTo>
                  <a:pt x="0" y="1583"/>
                </a:lnTo>
                <a:close/>
                <a:moveTo>
                  <a:pt x="0" y="1554"/>
                </a:moveTo>
                <a:lnTo>
                  <a:pt x="0" y="1554"/>
                </a:lnTo>
                <a:lnTo>
                  <a:pt x="0" y="1568"/>
                </a:lnTo>
                <a:lnTo>
                  <a:pt x="7" y="1568"/>
                </a:lnTo>
                <a:lnTo>
                  <a:pt x="7" y="1568"/>
                </a:lnTo>
                <a:lnTo>
                  <a:pt x="7" y="1554"/>
                </a:lnTo>
                <a:lnTo>
                  <a:pt x="0" y="1554"/>
                </a:lnTo>
                <a:close/>
                <a:moveTo>
                  <a:pt x="0" y="1524"/>
                </a:moveTo>
                <a:lnTo>
                  <a:pt x="0" y="1524"/>
                </a:lnTo>
                <a:lnTo>
                  <a:pt x="0" y="1537"/>
                </a:lnTo>
                <a:lnTo>
                  <a:pt x="0" y="1539"/>
                </a:lnTo>
                <a:lnTo>
                  <a:pt x="7" y="1539"/>
                </a:lnTo>
                <a:lnTo>
                  <a:pt x="7" y="1537"/>
                </a:lnTo>
                <a:lnTo>
                  <a:pt x="7" y="1537"/>
                </a:lnTo>
                <a:lnTo>
                  <a:pt x="7" y="1524"/>
                </a:lnTo>
                <a:lnTo>
                  <a:pt x="0" y="1524"/>
                </a:lnTo>
                <a:close/>
                <a:moveTo>
                  <a:pt x="0" y="1495"/>
                </a:moveTo>
                <a:lnTo>
                  <a:pt x="0" y="1495"/>
                </a:lnTo>
                <a:lnTo>
                  <a:pt x="0" y="1510"/>
                </a:lnTo>
                <a:lnTo>
                  <a:pt x="7" y="1510"/>
                </a:lnTo>
                <a:lnTo>
                  <a:pt x="7" y="1510"/>
                </a:lnTo>
                <a:lnTo>
                  <a:pt x="7" y="1495"/>
                </a:lnTo>
                <a:lnTo>
                  <a:pt x="0" y="1495"/>
                </a:lnTo>
                <a:close/>
                <a:moveTo>
                  <a:pt x="0" y="1466"/>
                </a:moveTo>
                <a:lnTo>
                  <a:pt x="0" y="1466"/>
                </a:lnTo>
                <a:lnTo>
                  <a:pt x="0" y="1480"/>
                </a:lnTo>
                <a:lnTo>
                  <a:pt x="7" y="1480"/>
                </a:lnTo>
                <a:lnTo>
                  <a:pt x="7" y="1480"/>
                </a:lnTo>
                <a:lnTo>
                  <a:pt x="7" y="1466"/>
                </a:lnTo>
                <a:lnTo>
                  <a:pt x="0" y="1466"/>
                </a:lnTo>
                <a:lnTo>
                  <a:pt x="0" y="1466"/>
                </a:lnTo>
                <a:close/>
                <a:moveTo>
                  <a:pt x="2" y="1436"/>
                </a:moveTo>
                <a:lnTo>
                  <a:pt x="2" y="1436"/>
                </a:lnTo>
                <a:lnTo>
                  <a:pt x="0" y="1451"/>
                </a:lnTo>
                <a:lnTo>
                  <a:pt x="7" y="1451"/>
                </a:lnTo>
                <a:lnTo>
                  <a:pt x="7" y="1451"/>
                </a:lnTo>
                <a:lnTo>
                  <a:pt x="9" y="1436"/>
                </a:lnTo>
                <a:lnTo>
                  <a:pt x="2" y="1436"/>
                </a:lnTo>
                <a:close/>
                <a:moveTo>
                  <a:pt x="2" y="1407"/>
                </a:moveTo>
                <a:lnTo>
                  <a:pt x="2" y="1407"/>
                </a:lnTo>
                <a:lnTo>
                  <a:pt x="2" y="1422"/>
                </a:lnTo>
                <a:lnTo>
                  <a:pt x="9" y="1422"/>
                </a:lnTo>
                <a:lnTo>
                  <a:pt x="9" y="1422"/>
                </a:lnTo>
                <a:lnTo>
                  <a:pt x="9" y="1407"/>
                </a:lnTo>
                <a:lnTo>
                  <a:pt x="2" y="1407"/>
                </a:lnTo>
                <a:close/>
                <a:moveTo>
                  <a:pt x="3" y="1378"/>
                </a:moveTo>
                <a:lnTo>
                  <a:pt x="3" y="1378"/>
                </a:lnTo>
                <a:lnTo>
                  <a:pt x="3" y="1392"/>
                </a:lnTo>
                <a:lnTo>
                  <a:pt x="11" y="1392"/>
                </a:lnTo>
                <a:lnTo>
                  <a:pt x="11" y="1392"/>
                </a:lnTo>
                <a:lnTo>
                  <a:pt x="11" y="1378"/>
                </a:lnTo>
                <a:lnTo>
                  <a:pt x="3" y="1378"/>
                </a:lnTo>
                <a:close/>
                <a:moveTo>
                  <a:pt x="5" y="1348"/>
                </a:moveTo>
                <a:lnTo>
                  <a:pt x="5" y="1348"/>
                </a:lnTo>
                <a:lnTo>
                  <a:pt x="3" y="1363"/>
                </a:lnTo>
                <a:lnTo>
                  <a:pt x="11" y="1363"/>
                </a:lnTo>
                <a:lnTo>
                  <a:pt x="11" y="1363"/>
                </a:lnTo>
                <a:lnTo>
                  <a:pt x="13" y="1350"/>
                </a:lnTo>
                <a:lnTo>
                  <a:pt x="5" y="1348"/>
                </a:lnTo>
                <a:close/>
                <a:moveTo>
                  <a:pt x="7" y="1319"/>
                </a:moveTo>
                <a:lnTo>
                  <a:pt x="7" y="1319"/>
                </a:lnTo>
                <a:lnTo>
                  <a:pt x="5" y="1334"/>
                </a:lnTo>
                <a:lnTo>
                  <a:pt x="13" y="1336"/>
                </a:lnTo>
                <a:lnTo>
                  <a:pt x="13" y="1336"/>
                </a:lnTo>
                <a:lnTo>
                  <a:pt x="14" y="1321"/>
                </a:lnTo>
                <a:lnTo>
                  <a:pt x="7" y="1319"/>
                </a:lnTo>
                <a:close/>
                <a:moveTo>
                  <a:pt x="9" y="1290"/>
                </a:moveTo>
                <a:lnTo>
                  <a:pt x="9" y="1290"/>
                </a:lnTo>
                <a:lnTo>
                  <a:pt x="7" y="1304"/>
                </a:lnTo>
                <a:lnTo>
                  <a:pt x="14" y="1306"/>
                </a:lnTo>
                <a:lnTo>
                  <a:pt x="14" y="1306"/>
                </a:lnTo>
                <a:lnTo>
                  <a:pt x="16" y="1292"/>
                </a:lnTo>
                <a:lnTo>
                  <a:pt x="9" y="1290"/>
                </a:lnTo>
                <a:close/>
                <a:moveTo>
                  <a:pt x="11" y="1261"/>
                </a:moveTo>
                <a:lnTo>
                  <a:pt x="11" y="1261"/>
                </a:lnTo>
                <a:lnTo>
                  <a:pt x="9" y="1275"/>
                </a:lnTo>
                <a:lnTo>
                  <a:pt x="16" y="1277"/>
                </a:lnTo>
                <a:lnTo>
                  <a:pt x="16" y="1277"/>
                </a:lnTo>
                <a:lnTo>
                  <a:pt x="18" y="1262"/>
                </a:lnTo>
                <a:lnTo>
                  <a:pt x="11" y="1261"/>
                </a:lnTo>
                <a:close/>
                <a:moveTo>
                  <a:pt x="13" y="1231"/>
                </a:moveTo>
                <a:lnTo>
                  <a:pt x="13" y="1231"/>
                </a:lnTo>
                <a:lnTo>
                  <a:pt x="11" y="1246"/>
                </a:lnTo>
                <a:lnTo>
                  <a:pt x="18" y="1248"/>
                </a:lnTo>
                <a:lnTo>
                  <a:pt x="18" y="1248"/>
                </a:lnTo>
                <a:lnTo>
                  <a:pt x="20" y="1233"/>
                </a:lnTo>
                <a:lnTo>
                  <a:pt x="13" y="1231"/>
                </a:lnTo>
                <a:lnTo>
                  <a:pt x="13" y="1231"/>
                </a:lnTo>
                <a:close/>
                <a:moveTo>
                  <a:pt x="16" y="1202"/>
                </a:moveTo>
                <a:lnTo>
                  <a:pt x="16" y="1202"/>
                </a:lnTo>
                <a:lnTo>
                  <a:pt x="14" y="1217"/>
                </a:lnTo>
                <a:lnTo>
                  <a:pt x="22" y="1218"/>
                </a:lnTo>
                <a:lnTo>
                  <a:pt x="22" y="1218"/>
                </a:lnTo>
                <a:lnTo>
                  <a:pt x="22" y="1204"/>
                </a:lnTo>
                <a:lnTo>
                  <a:pt x="16" y="1202"/>
                </a:lnTo>
                <a:close/>
                <a:moveTo>
                  <a:pt x="18" y="1173"/>
                </a:moveTo>
                <a:lnTo>
                  <a:pt x="18" y="1173"/>
                </a:lnTo>
                <a:lnTo>
                  <a:pt x="16" y="1187"/>
                </a:lnTo>
                <a:lnTo>
                  <a:pt x="24" y="1189"/>
                </a:lnTo>
                <a:lnTo>
                  <a:pt x="24" y="1189"/>
                </a:lnTo>
                <a:lnTo>
                  <a:pt x="25" y="1174"/>
                </a:lnTo>
                <a:lnTo>
                  <a:pt x="18" y="1173"/>
                </a:lnTo>
                <a:close/>
                <a:moveTo>
                  <a:pt x="22" y="1145"/>
                </a:moveTo>
                <a:lnTo>
                  <a:pt x="22" y="1145"/>
                </a:lnTo>
                <a:lnTo>
                  <a:pt x="20" y="1160"/>
                </a:lnTo>
                <a:lnTo>
                  <a:pt x="27" y="1160"/>
                </a:lnTo>
                <a:lnTo>
                  <a:pt x="27" y="1160"/>
                </a:lnTo>
                <a:lnTo>
                  <a:pt x="29" y="1145"/>
                </a:lnTo>
                <a:lnTo>
                  <a:pt x="22" y="1145"/>
                </a:lnTo>
                <a:close/>
                <a:moveTo>
                  <a:pt x="25" y="1116"/>
                </a:moveTo>
                <a:lnTo>
                  <a:pt x="25" y="1116"/>
                </a:lnTo>
                <a:lnTo>
                  <a:pt x="24" y="1130"/>
                </a:lnTo>
                <a:lnTo>
                  <a:pt x="31" y="1130"/>
                </a:lnTo>
                <a:lnTo>
                  <a:pt x="31" y="1130"/>
                </a:lnTo>
                <a:lnTo>
                  <a:pt x="33" y="1116"/>
                </a:lnTo>
                <a:lnTo>
                  <a:pt x="25" y="1116"/>
                </a:lnTo>
                <a:close/>
                <a:moveTo>
                  <a:pt x="29" y="1086"/>
                </a:moveTo>
                <a:lnTo>
                  <a:pt x="29" y="1086"/>
                </a:lnTo>
                <a:lnTo>
                  <a:pt x="27" y="1101"/>
                </a:lnTo>
                <a:lnTo>
                  <a:pt x="35" y="1101"/>
                </a:lnTo>
                <a:lnTo>
                  <a:pt x="35" y="1101"/>
                </a:lnTo>
                <a:lnTo>
                  <a:pt x="36" y="1086"/>
                </a:lnTo>
                <a:lnTo>
                  <a:pt x="29" y="1086"/>
                </a:lnTo>
                <a:close/>
                <a:moveTo>
                  <a:pt x="33" y="1057"/>
                </a:moveTo>
                <a:lnTo>
                  <a:pt x="33" y="1057"/>
                </a:lnTo>
                <a:lnTo>
                  <a:pt x="31" y="1072"/>
                </a:lnTo>
                <a:lnTo>
                  <a:pt x="38" y="1072"/>
                </a:lnTo>
                <a:lnTo>
                  <a:pt x="38" y="1072"/>
                </a:lnTo>
                <a:lnTo>
                  <a:pt x="40" y="1057"/>
                </a:lnTo>
                <a:lnTo>
                  <a:pt x="33" y="1057"/>
                </a:lnTo>
                <a:close/>
                <a:moveTo>
                  <a:pt x="36" y="1028"/>
                </a:moveTo>
                <a:lnTo>
                  <a:pt x="36" y="1028"/>
                </a:lnTo>
                <a:lnTo>
                  <a:pt x="35" y="1042"/>
                </a:lnTo>
                <a:lnTo>
                  <a:pt x="42" y="1044"/>
                </a:lnTo>
                <a:lnTo>
                  <a:pt x="42" y="1044"/>
                </a:lnTo>
                <a:lnTo>
                  <a:pt x="44" y="1030"/>
                </a:lnTo>
                <a:lnTo>
                  <a:pt x="36" y="1028"/>
                </a:lnTo>
                <a:close/>
                <a:moveTo>
                  <a:pt x="40" y="998"/>
                </a:moveTo>
                <a:lnTo>
                  <a:pt x="40" y="998"/>
                </a:lnTo>
                <a:lnTo>
                  <a:pt x="38" y="1013"/>
                </a:lnTo>
                <a:lnTo>
                  <a:pt x="46" y="1015"/>
                </a:lnTo>
                <a:lnTo>
                  <a:pt x="46" y="1015"/>
                </a:lnTo>
                <a:lnTo>
                  <a:pt x="47" y="1000"/>
                </a:lnTo>
                <a:lnTo>
                  <a:pt x="40" y="998"/>
                </a:lnTo>
                <a:close/>
                <a:moveTo>
                  <a:pt x="46" y="969"/>
                </a:moveTo>
                <a:lnTo>
                  <a:pt x="46" y="969"/>
                </a:lnTo>
                <a:lnTo>
                  <a:pt x="44" y="984"/>
                </a:lnTo>
                <a:lnTo>
                  <a:pt x="51" y="986"/>
                </a:lnTo>
                <a:lnTo>
                  <a:pt x="51" y="986"/>
                </a:lnTo>
                <a:lnTo>
                  <a:pt x="53" y="971"/>
                </a:lnTo>
                <a:lnTo>
                  <a:pt x="46" y="969"/>
                </a:lnTo>
                <a:close/>
                <a:moveTo>
                  <a:pt x="51" y="942"/>
                </a:moveTo>
                <a:lnTo>
                  <a:pt x="51" y="942"/>
                </a:lnTo>
                <a:lnTo>
                  <a:pt x="47" y="955"/>
                </a:lnTo>
                <a:lnTo>
                  <a:pt x="55" y="956"/>
                </a:lnTo>
                <a:lnTo>
                  <a:pt x="55" y="956"/>
                </a:lnTo>
                <a:lnTo>
                  <a:pt x="57" y="942"/>
                </a:lnTo>
                <a:lnTo>
                  <a:pt x="51" y="942"/>
                </a:lnTo>
                <a:close/>
                <a:moveTo>
                  <a:pt x="55" y="912"/>
                </a:moveTo>
                <a:lnTo>
                  <a:pt x="55" y="912"/>
                </a:lnTo>
                <a:lnTo>
                  <a:pt x="53" y="927"/>
                </a:lnTo>
                <a:lnTo>
                  <a:pt x="60" y="927"/>
                </a:lnTo>
                <a:lnTo>
                  <a:pt x="60" y="927"/>
                </a:lnTo>
                <a:lnTo>
                  <a:pt x="62" y="914"/>
                </a:lnTo>
                <a:lnTo>
                  <a:pt x="55" y="912"/>
                </a:lnTo>
                <a:close/>
                <a:moveTo>
                  <a:pt x="60" y="883"/>
                </a:moveTo>
                <a:lnTo>
                  <a:pt x="60" y="883"/>
                </a:lnTo>
                <a:lnTo>
                  <a:pt x="58" y="898"/>
                </a:lnTo>
                <a:lnTo>
                  <a:pt x="66" y="900"/>
                </a:lnTo>
                <a:lnTo>
                  <a:pt x="66" y="900"/>
                </a:lnTo>
                <a:lnTo>
                  <a:pt x="68" y="885"/>
                </a:lnTo>
                <a:lnTo>
                  <a:pt x="60" y="883"/>
                </a:lnTo>
                <a:close/>
                <a:moveTo>
                  <a:pt x="66" y="854"/>
                </a:moveTo>
                <a:lnTo>
                  <a:pt x="66" y="854"/>
                </a:lnTo>
                <a:lnTo>
                  <a:pt x="64" y="868"/>
                </a:lnTo>
                <a:lnTo>
                  <a:pt x="71" y="870"/>
                </a:lnTo>
                <a:lnTo>
                  <a:pt x="71" y="870"/>
                </a:lnTo>
                <a:lnTo>
                  <a:pt x="73" y="856"/>
                </a:lnTo>
                <a:lnTo>
                  <a:pt x="66" y="854"/>
                </a:lnTo>
                <a:close/>
                <a:moveTo>
                  <a:pt x="71" y="826"/>
                </a:moveTo>
                <a:lnTo>
                  <a:pt x="71" y="826"/>
                </a:lnTo>
                <a:lnTo>
                  <a:pt x="69" y="839"/>
                </a:lnTo>
                <a:lnTo>
                  <a:pt x="77" y="841"/>
                </a:lnTo>
                <a:lnTo>
                  <a:pt x="77" y="841"/>
                </a:lnTo>
                <a:lnTo>
                  <a:pt x="79" y="826"/>
                </a:lnTo>
                <a:lnTo>
                  <a:pt x="71" y="826"/>
                </a:lnTo>
                <a:close/>
                <a:moveTo>
                  <a:pt x="79" y="797"/>
                </a:moveTo>
                <a:lnTo>
                  <a:pt x="79" y="797"/>
                </a:lnTo>
                <a:lnTo>
                  <a:pt x="75" y="812"/>
                </a:lnTo>
                <a:lnTo>
                  <a:pt x="82" y="813"/>
                </a:lnTo>
                <a:lnTo>
                  <a:pt x="82" y="813"/>
                </a:lnTo>
                <a:lnTo>
                  <a:pt x="86" y="799"/>
                </a:lnTo>
                <a:lnTo>
                  <a:pt x="79" y="797"/>
                </a:lnTo>
                <a:close/>
                <a:moveTo>
                  <a:pt x="84" y="768"/>
                </a:moveTo>
                <a:lnTo>
                  <a:pt x="84" y="768"/>
                </a:lnTo>
                <a:lnTo>
                  <a:pt x="80" y="782"/>
                </a:lnTo>
                <a:lnTo>
                  <a:pt x="88" y="784"/>
                </a:lnTo>
                <a:lnTo>
                  <a:pt x="88" y="784"/>
                </a:lnTo>
                <a:lnTo>
                  <a:pt x="91" y="769"/>
                </a:lnTo>
                <a:lnTo>
                  <a:pt x="84" y="768"/>
                </a:lnTo>
                <a:close/>
                <a:moveTo>
                  <a:pt x="91" y="740"/>
                </a:moveTo>
                <a:lnTo>
                  <a:pt x="91" y="740"/>
                </a:lnTo>
                <a:lnTo>
                  <a:pt x="88" y="755"/>
                </a:lnTo>
                <a:lnTo>
                  <a:pt x="95" y="755"/>
                </a:lnTo>
                <a:lnTo>
                  <a:pt x="95" y="755"/>
                </a:lnTo>
                <a:lnTo>
                  <a:pt x="99" y="742"/>
                </a:lnTo>
                <a:lnTo>
                  <a:pt x="91" y="740"/>
                </a:lnTo>
                <a:close/>
                <a:moveTo>
                  <a:pt x="99" y="711"/>
                </a:moveTo>
                <a:lnTo>
                  <a:pt x="99" y="711"/>
                </a:lnTo>
                <a:lnTo>
                  <a:pt x="95" y="725"/>
                </a:lnTo>
                <a:lnTo>
                  <a:pt x="102" y="727"/>
                </a:lnTo>
                <a:lnTo>
                  <a:pt x="102" y="727"/>
                </a:lnTo>
                <a:lnTo>
                  <a:pt x="104" y="713"/>
                </a:lnTo>
                <a:lnTo>
                  <a:pt x="99" y="711"/>
                </a:lnTo>
                <a:lnTo>
                  <a:pt x="99" y="711"/>
                </a:lnTo>
                <a:close/>
                <a:moveTo>
                  <a:pt x="104" y="683"/>
                </a:moveTo>
                <a:lnTo>
                  <a:pt x="104" y="683"/>
                </a:lnTo>
                <a:lnTo>
                  <a:pt x="101" y="696"/>
                </a:lnTo>
                <a:lnTo>
                  <a:pt x="108" y="698"/>
                </a:lnTo>
                <a:lnTo>
                  <a:pt x="108" y="698"/>
                </a:lnTo>
                <a:lnTo>
                  <a:pt x="112" y="685"/>
                </a:lnTo>
                <a:lnTo>
                  <a:pt x="104" y="683"/>
                </a:lnTo>
                <a:close/>
                <a:moveTo>
                  <a:pt x="112" y="654"/>
                </a:moveTo>
                <a:lnTo>
                  <a:pt x="112" y="654"/>
                </a:lnTo>
                <a:lnTo>
                  <a:pt x="108" y="669"/>
                </a:lnTo>
                <a:lnTo>
                  <a:pt x="115" y="671"/>
                </a:lnTo>
                <a:lnTo>
                  <a:pt x="115" y="671"/>
                </a:lnTo>
                <a:lnTo>
                  <a:pt x="119" y="656"/>
                </a:lnTo>
                <a:lnTo>
                  <a:pt x="112" y="654"/>
                </a:lnTo>
                <a:close/>
                <a:moveTo>
                  <a:pt x="121" y="627"/>
                </a:moveTo>
                <a:lnTo>
                  <a:pt x="121" y="627"/>
                </a:lnTo>
                <a:lnTo>
                  <a:pt x="115" y="639"/>
                </a:lnTo>
                <a:lnTo>
                  <a:pt x="123" y="641"/>
                </a:lnTo>
                <a:lnTo>
                  <a:pt x="123" y="641"/>
                </a:lnTo>
                <a:lnTo>
                  <a:pt x="126" y="628"/>
                </a:lnTo>
                <a:lnTo>
                  <a:pt x="121" y="627"/>
                </a:lnTo>
                <a:close/>
                <a:moveTo>
                  <a:pt x="128" y="597"/>
                </a:moveTo>
                <a:lnTo>
                  <a:pt x="128" y="597"/>
                </a:lnTo>
                <a:lnTo>
                  <a:pt x="124" y="612"/>
                </a:lnTo>
                <a:lnTo>
                  <a:pt x="132" y="614"/>
                </a:lnTo>
                <a:lnTo>
                  <a:pt x="132" y="614"/>
                </a:lnTo>
                <a:lnTo>
                  <a:pt x="135" y="599"/>
                </a:lnTo>
                <a:lnTo>
                  <a:pt x="128" y="597"/>
                </a:lnTo>
                <a:close/>
                <a:moveTo>
                  <a:pt x="135" y="570"/>
                </a:moveTo>
                <a:lnTo>
                  <a:pt x="135" y="570"/>
                </a:lnTo>
                <a:lnTo>
                  <a:pt x="132" y="583"/>
                </a:lnTo>
                <a:lnTo>
                  <a:pt x="139" y="586"/>
                </a:lnTo>
                <a:lnTo>
                  <a:pt x="139" y="586"/>
                </a:lnTo>
                <a:lnTo>
                  <a:pt x="143" y="572"/>
                </a:lnTo>
                <a:lnTo>
                  <a:pt x="135" y="570"/>
                </a:lnTo>
                <a:close/>
                <a:moveTo>
                  <a:pt x="145" y="540"/>
                </a:moveTo>
                <a:lnTo>
                  <a:pt x="145" y="540"/>
                </a:lnTo>
                <a:lnTo>
                  <a:pt x="141" y="555"/>
                </a:lnTo>
                <a:lnTo>
                  <a:pt x="146" y="557"/>
                </a:lnTo>
                <a:lnTo>
                  <a:pt x="146" y="557"/>
                </a:lnTo>
                <a:lnTo>
                  <a:pt x="152" y="544"/>
                </a:lnTo>
                <a:lnTo>
                  <a:pt x="145" y="540"/>
                </a:lnTo>
                <a:close/>
                <a:moveTo>
                  <a:pt x="154" y="513"/>
                </a:moveTo>
                <a:lnTo>
                  <a:pt x="154" y="513"/>
                </a:lnTo>
                <a:lnTo>
                  <a:pt x="148" y="528"/>
                </a:lnTo>
                <a:lnTo>
                  <a:pt x="156" y="529"/>
                </a:lnTo>
                <a:lnTo>
                  <a:pt x="156" y="529"/>
                </a:lnTo>
                <a:lnTo>
                  <a:pt x="159" y="515"/>
                </a:lnTo>
                <a:lnTo>
                  <a:pt x="154" y="513"/>
                </a:lnTo>
                <a:close/>
                <a:moveTo>
                  <a:pt x="161" y="485"/>
                </a:moveTo>
                <a:lnTo>
                  <a:pt x="161" y="485"/>
                </a:lnTo>
                <a:lnTo>
                  <a:pt x="157" y="498"/>
                </a:lnTo>
                <a:lnTo>
                  <a:pt x="165" y="502"/>
                </a:lnTo>
                <a:lnTo>
                  <a:pt x="165" y="502"/>
                </a:lnTo>
                <a:lnTo>
                  <a:pt x="168" y="487"/>
                </a:lnTo>
                <a:lnTo>
                  <a:pt x="161" y="485"/>
                </a:lnTo>
                <a:close/>
                <a:moveTo>
                  <a:pt x="170" y="458"/>
                </a:moveTo>
                <a:lnTo>
                  <a:pt x="170" y="458"/>
                </a:lnTo>
                <a:lnTo>
                  <a:pt x="167" y="471"/>
                </a:lnTo>
                <a:lnTo>
                  <a:pt x="174" y="473"/>
                </a:lnTo>
                <a:lnTo>
                  <a:pt x="174" y="473"/>
                </a:lnTo>
                <a:lnTo>
                  <a:pt x="178" y="460"/>
                </a:lnTo>
                <a:lnTo>
                  <a:pt x="170" y="458"/>
                </a:lnTo>
                <a:close/>
                <a:moveTo>
                  <a:pt x="179" y="429"/>
                </a:moveTo>
                <a:lnTo>
                  <a:pt x="179" y="429"/>
                </a:lnTo>
                <a:lnTo>
                  <a:pt x="176" y="443"/>
                </a:lnTo>
                <a:lnTo>
                  <a:pt x="183" y="445"/>
                </a:lnTo>
                <a:lnTo>
                  <a:pt x="183" y="445"/>
                </a:lnTo>
                <a:lnTo>
                  <a:pt x="187" y="432"/>
                </a:lnTo>
                <a:lnTo>
                  <a:pt x="179" y="429"/>
                </a:lnTo>
                <a:close/>
                <a:moveTo>
                  <a:pt x="190" y="401"/>
                </a:moveTo>
                <a:lnTo>
                  <a:pt x="190" y="401"/>
                </a:lnTo>
                <a:lnTo>
                  <a:pt x="185" y="416"/>
                </a:lnTo>
                <a:lnTo>
                  <a:pt x="192" y="418"/>
                </a:lnTo>
                <a:lnTo>
                  <a:pt x="192" y="418"/>
                </a:lnTo>
                <a:lnTo>
                  <a:pt x="196" y="405"/>
                </a:lnTo>
                <a:lnTo>
                  <a:pt x="190" y="401"/>
                </a:lnTo>
                <a:close/>
                <a:moveTo>
                  <a:pt x="200" y="374"/>
                </a:moveTo>
                <a:lnTo>
                  <a:pt x="200" y="374"/>
                </a:lnTo>
                <a:lnTo>
                  <a:pt x="194" y="388"/>
                </a:lnTo>
                <a:lnTo>
                  <a:pt x="201" y="390"/>
                </a:lnTo>
                <a:lnTo>
                  <a:pt x="201" y="390"/>
                </a:lnTo>
                <a:lnTo>
                  <a:pt x="207" y="377"/>
                </a:lnTo>
                <a:lnTo>
                  <a:pt x="200" y="374"/>
                </a:lnTo>
                <a:close/>
                <a:moveTo>
                  <a:pt x="211" y="346"/>
                </a:moveTo>
                <a:lnTo>
                  <a:pt x="211" y="346"/>
                </a:lnTo>
                <a:lnTo>
                  <a:pt x="205" y="361"/>
                </a:lnTo>
                <a:lnTo>
                  <a:pt x="212" y="363"/>
                </a:lnTo>
                <a:lnTo>
                  <a:pt x="212" y="363"/>
                </a:lnTo>
                <a:lnTo>
                  <a:pt x="216" y="350"/>
                </a:lnTo>
                <a:lnTo>
                  <a:pt x="211" y="346"/>
                </a:lnTo>
                <a:close/>
                <a:moveTo>
                  <a:pt x="220" y="319"/>
                </a:moveTo>
                <a:lnTo>
                  <a:pt x="220" y="319"/>
                </a:lnTo>
                <a:lnTo>
                  <a:pt x="216" y="333"/>
                </a:lnTo>
                <a:lnTo>
                  <a:pt x="222" y="335"/>
                </a:lnTo>
                <a:lnTo>
                  <a:pt x="222" y="335"/>
                </a:lnTo>
                <a:lnTo>
                  <a:pt x="227" y="322"/>
                </a:lnTo>
                <a:lnTo>
                  <a:pt x="220" y="319"/>
                </a:lnTo>
                <a:close/>
                <a:moveTo>
                  <a:pt x="231" y="291"/>
                </a:moveTo>
                <a:lnTo>
                  <a:pt x="231" y="291"/>
                </a:lnTo>
                <a:lnTo>
                  <a:pt x="225" y="306"/>
                </a:lnTo>
                <a:lnTo>
                  <a:pt x="233" y="308"/>
                </a:lnTo>
                <a:lnTo>
                  <a:pt x="233" y="308"/>
                </a:lnTo>
                <a:lnTo>
                  <a:pt x="238" y="295"/>
                </a:lnTo>
                <a:lnTo>
                  <a:pt x="231" y="291"/>
                </a:lnTo>
                <a:close/>
                <a:moveTo>
                  <a:pt x="242" y="264"/>
                </a:moveTo>
                <a:lnTo>
                  <a:pt x="242" y="264"/>
                </a:lnTo>
                <a:lnTo>
                  <a:pt x="236" y="278"/>
                </a:lnTo>
                <a:lnTo>
                  <a:pt x="244" y="280"/>
                </a:lnTo>
                <a:lnTo>
                  <a:pt x="244" y="280"/>
                </a:lnTo>
                <a:lnTo>
                  <a:pt x="249" y="267"/>
                </a:lnTo>
                <a:lnTo>
                  <a:pt x="242" y="264"/>
                </a:lnTo>
                <a:close/>
                <a:moveTo>
                  <a:pt x="253" y="238"/>
                </a:moveTo>
                <a:lnTo>
                  <a:pt x="253" y="238"/>
                </a:lnTo>
                <a:lnTo>
                  <a:pt x="247" y="251"/>
                </a:lnTo>
                <a:lnTo>
                  <a:pt x="255" y="255"/>
                </a:lnTo>
                <a:lnTo>
                  <a:pt x="255" y="255"/>
                </a:lnTo>
                <a:lnTo>
                  <a:pt x="260" y="240"/>
                </a:lnTo>
                <a:lnTo>
                  <a:pt x="253" y="238"/>
                </a:lnTo>
                <a:close/>
                <a:moveTo>
                  <a:pt x="266" y="211"/>
                </a:moveTo>
                <a:lnTo>
                  <a:pt x="266" y="211"/>
                </a:lnTo>
                <a:lnTo>
                  <a:pt x="260" y="223"/>
                </a:lnTo>
                <a:lnTo>
                  <a:pt x="266" y="227"/>
                </a:lnTo>
                <a:lnTo>
                  <a:pt x="266" y="227"/>
                </a:lnTo>
                <a:lnTo>
                  <a:pt x="271" y="212"/>
                </a:lnTo>
                <a:lnTo>
                  <a:pt x="266" y="211"/>
                </a:lnTo>
                <a:close/>
                <a:moveTo>
                  <a:pt x="277" y="183"/>
                </a:moveTo>
                <a:lnTo>
                  <a:pt x="277" y="183"/>
                </a:lnTo>
                <a:lnTo>
                  <a:pt x="271" y="198"/>
                </a:lnTo>
                <a:lnTo>
                  <a:pt x="278" y="200"/>
                </a:lnTo>
                <a:lnTo>
                  <a:pt x="278" y="200"/>
                </a:lnTo>
                <a:lnTo>
                  <a:pt x="284" y="187"/>
                </a:lnTo>
                <a:lnTo>
                  <a:pt x="277" y="183"/>
                </a:lnTo>
                <a:close/>
                <a:moveTo>
                  <a:pt x="289" y="157"/>
                </a:moveTo>
                <a:lnTo>
                  <a:pt x="289" y="157"/>
                </a:lnTo>
                <a:lnTo>
                  <a:pt x="284" y="170"/>
                </a:lnTo>
                <a:lnTo>
                  <a:pt x="289" y="174"/>
                </a:lnTo>
                <a:lnTo>
                  <a:pt x="289" y="174"/>
                </a:lnTo>
                <a:lnTo>
                  <a:pt x="297" y="159"/>
                </a:lnTo>
                <a:lnTo>
                  <a:pt x="289" y="157"/>
                </a:lnTo>
                <a:close/>
                <a:moveTo>
                  <a:pt x="302" y="130"/>
                </a:moveTo>
                <a:lnTo>
                  <a:pt x="302" y="130"/>
                </a:lnTo>
                <a:lnTo>
                  <a:pt x="295" y="143"/>
                </a:lnTo>
                <a:lnTo>
                  <a:pt x="302" y="146"/>
                </a:lnTo>
                <a:lnTo>
                  <a:pt x="302" y="146"/>
                </a:lnTo>
                <a:lnTo>
                  <a:pt x="308" y="134"/>
                </a:lnTo>
                <a:lnTo>
                  <a:pt x="302" y="130"/>
                </a:lnTo>
                <a:close/>
                <a:moveTo>
                  <a:pt x="315" y="104"/>
                </a:moveTo>
                <a:lnTo>
                  <a:pt x="315" y="104"/>
                </a:lnTo>
                <a:lnTo>
                  <a:pt x="308" y="117"/>
                </a:lnTo>
                <a:lnTo>
                  <a:pt x="315" y="121"/>
                </a:lnTo>
                <a:lnTo>
                  <a:pt x="315" y="121"/>
                </a:lnTo>
                <a:lnTo>
                  <a:pt x="320" y="108"/>
                </a:lnTo>
                <a:lnTo>
                  <a:pt x="315" y="104"/>
                </a:lnTo>
                <a:close/>
                <a:moveTo>
                  <a:pt x="328" y="77"/>
                </a:moveTo>
                <a:lnTo>
                  <a:pt x="328" y="77"/>
                </a:lnTo>
                <a:lnTo>
                  <a:pt x="320" y="92"/>
                </a:lnTo>
                <a:lnTo>
                  <a:pt x="328" y="93"/>
                </a:lnTo>
                <a:lnTo>
                  <a:pt x="328" y="93"/>
                </a:lnTo>
                <a:lnTo>
                  <a:pt x="335" y="81"/>
                </a:lnTo>
                <a:lnTo>
                  <a:pt x="328" y="77"/>
                </a:lnTo>
                <a:close/>
                <a:moveTo>
                  <a:pt x="341" y="51"/>
                </a:moveTo>
                <a:lnTo>
                  <a:pt x="341" y="51"/>
                </a:lnTo>
                <a:lnTo>
                  <a:pt x="335" y="64"/>
                </a:lnTo>
                <a:lnTo>
                  <a:pt x="341" y="68"/>
                </a:lnTo>
                <a:lnTo>
                  <a:pt x="341" y="68"/>
                </a:lnTo>
                <a:lnTo>
                  <a:pt x="348" y="55"/>
                </a:lnTo>
                <a:lnTo>
                  <a:pt x="341" y="51"/>
                </a:lnTo>
                <a:close/>
                <a:moveTo>
                  <a:pt x="355" y="26"/>
                </a:moveTo>
                <a:lnTo>
                  <a:pt x="355" y="26"/>
                </a:lnTo>
                <a:lnTo>
                  <a:pt x="348" y="38"/>
                </a:lnTo>
                <a:lnTo>
                  <a:pt x="355" y="42"/>
                </a:lnTo>
                <a:lnTo>
                  <a:pt x="355" y="42"/>
                </a:lnTo>
                <a:lnTo>
                  <a:pt x="363" y="29"/>
                </a:lnTo>
                <a:lnTo>
                  <a:pt x="355" y="26"/>
                </a:lnTo>
                <a:close/>
                <a:moveTo>
                  <a:pt x="370" y="0"/>
                </a:moveTo>
                <a:lnTo>
                  <a:pt x="370" y="0"/>
                </a:lnTo>
                <a:lnTo>
                  <a:pt x="363" y="13"/>
                </a:lnTo>
                <a:lnTo>
                  <a:pt x="370" y="16"/>
                </a:lnTo>
                <a:lnTo>
                  <a:pt x="370" y="16"/>
                </a:lnTo>
                <a:lnTo>
                  <a:pt x="375" y="7"/>
                </a:lnTo>
                <a:lnTo>
                  <a:pt x="375" y="7"/>
                </a:lnTo>
                <a:lnTo>
                  <a:pt x="377" y="4"/>
                </a:lnTo>
                <a:lnTo>
                  <a:pt x="370" y="0"/>
                </a:lnTo>
                <a:close/>
              </a:path>
            </a:pathLst>
          </a:custGeom>
          <a:solidFill>
            <a:srgbClr val="56575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68" name="Freeform 173">
            <a:extLst>
              <a:ext uri="{FF2B5EF4-FFF2-40B4-BE49-F238E27FC236}">
                <a16:creationId xmlns:a16="http://schemas.microsoft.com/office/drawing/2014/main" id="{51C63296-46FA-2367-6B47-0B138AC67235}"/>
              </a:ext>
            </a:extLst>
          </p:cNvPr>
          <p:cNvSpPr>
            <a:spLocks/>
          </p:cNvSpPr>
          <p:nvPr/>
        </p:nvSpPr>
        <p:spPr bwMode="auto">
          <a:xfrm>
            <a:off x="3561687" y="952807"/>
            <a:ext cx="1260078" cy="350473"/>
          </a:xfrm>
          <a:custGeom>
            <a:avLst/>
            <a:gdLst/>
            <a:ahLst/>
            <a:cxnLst>
              <a:cxn ang="0">
                <a:pos x="0" y="225"/>
              </a:cxn>
              <a:cxn ang="0">
                <a:pos x="2" y="236"/>
              </a:cxn>
              <a:cxn ang="0">
                <a:pos x="9" y="257"/>
              </a:cxn>
              <a:cxn ang="0">
                <a:pos x="26" y="271"/>
              </a:cxn>
              <a:cxn ang="0">
                <a:pos x="44" y="279"/>
              </a:cxn>
              <a:cxn ang="0">
                <a:pos x="784" y="280"/>
              </a:cxn>
              <a:cxn ang="0">
                <a:pos x="795" y="279"/>
              </a:cxn>
              <a:cxn ang="0">
                <a:pos x="815" y="271"/>
              </a:cxn>
              <a:cxn ang="0">
                <a:pos x="830" y="257"/>
              </a:cxn>
              <a:cxn ang="0">
                <a:pos x="839" y="236"/>
              </a:cxn>
              <a:cxn ang="0">
                <a:pos x="839" y="55"/>
              </a:cxn>
              <a:cxn ang="0">
                <a:pos x="839" y="44"/>
              </a:cxn>
              <a:cxn ang="0">
                <a:pos x="830" y="26"/>
              </a:cxn>
              <a:cxn ang="0">
                <a:pos x="815" y="11"/>
              </a:cxn>
              <a:cxn ang="0">
                <a:pos x="795" y="2"/>
              </a:cxn>
              <a:cxn ang="0">
                <a:pos x="55" y="0"/>
              </a:cxn>
              <a:cxn ang="0">
                <a:pos x="44" y="2"/>
              </a:cxn>
              <a:cxn ang="0">
                <a:pos x="26" y="11"/>
              </a:cxn>
              <a:cxn ang="0">
                <a:pos x="9" y="26"/>
              </a:cxn>
              <a:cxn ang="0">
                <a:pos x="2" y="44"/>
              </a:cxn>
              <a:cxn ang="0">
                <a:pos x="0" y="225"/>
              </a:cxn>
              <a:cxn ang="0">
                <a:pos x="7" y="225"/>
              </a:cxn>
              <a:cxn ang="0">
                <a:pos x="7" y="55"/>
              </a:cxn>
              <a:cxn ang="0">
                <a:pos x="11" y="37"/>
              </a:cxn>
              <a:cxn ang="0">
                <a:pos x="20" y="22"/>
              </a:cxn>
              <a:cxn ang="0">
                <a:pos x="27" y="15"/>
              </a:cxn>
              <a:cxn ang="0">
                <a:pos x="46" y="7"/>
              </a:cxn>
              <a:cxn ang="0">
                <a:pos x="784" y="7"/>
              </a:cxn>
              <a:cxn ang="0">
                <a:pos x="795" y="7"/>
              </a:cxn>
              <a:cxn ang="0">
                <a:pos x="812" y="15"/>
              </a:cxn>
              <a:cxn ang="0">
                <a:pos x="819" y="22"/>
              </a:cxn>
              <a:cxn ang="0">
                <a:pos x="830" y="37"/>
              </a:cxn>
              <a:cxn ang="0">
                <a:pos x="834" y="55"/>
              </a:cxn>
              <a:cxn ang="0">
                <a:pos x="834" y="225"/>
              </a:cxn>
              <a:cxn ang="0">
                <a:pos x="830" y="246"/>
              </a:cxn>
              <a:cxn ang="0">
                <a:pos x="819" y="260"/>
              </a:cxn>
              <a:cxn ang="0">
                <a:pos x="812" y="266"/>
              </a:cxn>
              <a:cxn ang="0">
                <a:pos x="795" y="273"/>
              </a:cxn>
              <a:cxn ang="0">
                <a:pos x="55" y="275"/>
              </a:cxn>
              <a:cxn ang="0">
                <a:pos x="46" y="273"/>
              </a:cxn>
              <a:cxn ang="0">
                <a:pos x="27" y="266"/>
              </a:cxn>
              <a:cxn ang="0">
                <a:pos x="20" y="260"/>
              </a:cxn>
              <a:cxn ang="0">
                <a:pos x="11" y="246"/>
              </a:cxn>
              <a:cxn ang="0">
                <a:pos x="7" y="225"/>
              </a:cxn>
            </a:cxnLst>
            <a:rect l="0" t="0" r="r" b="b"/>
            <a:pathLst>
              <a:path w="839" h="280">
                <a:moveTo>
                  <a:pt x="4" y="225"/>
                </a:moveTo>
                <a:lnTo>
                  <a:pt x="0" y="225"/>
                </a:lnTo>
                <a:lnTo>
                  <a:pt x="0" y="225"/>
                </a:lnTo>
                <a:lnTo>
                  <a:pt x="2" y="236"/>
                </a:lnTo>
                <a:lnTo>
                  <a:pt x="5" y="247"/>
                </a:lnTo>
                <a:lnTo>
                  <a:pt x="9" y="257"/>
                </a:lnTo>
                <a:lnTo>
                  <a:pt x="16" y="264"/>
                </a:lnTo>
                <a:lnTo>
                  <a:pt x="26" y="271"/>
                </a:lnTo>
                <a:lnTo>
                  <a:pt x="35" y="277"/>
                </a:lnTo>
                <a:lnTo>
                  <a:pt x="44" y="279"/>
                </a:lnTo>
                <a:lnTo>
                  <a:pt x="55" y="280"/>
                </a:lnTo>
                <a:lnTo>
                  <a:pt x="784" y="280"/>
                </a:lnTo>
                <a:lnTo>
                  <a:pt x="784" y="280"/>
                </a:lnTo>
                <a:lnTo>
                  <a:pt x="795" y="279"/>
                </a:lnTo>
                <a:lnTo>
                  <a:pt x="806" y="277"/>
                </a:lnTo>
                <a:lnTo>
                  <a:pt x="815" y="271"/>
                </a:lnTo>
                <a:lnTo>
                  <a:pt x="823" y="264"/>
                </a:lnTo>
                <a:lnTo>
                  <a:pt x="830" y="257"/>
                </a:lnTo>
                <a:lnTo>
                  <a:pt x="836" y="247"/>
                </a:lnTo>
                <a:lnTo>
                  <a:pt x="839" y="236"/>
                </a:lnTo>
                <a:lnTo>
                  <a:pt x="839" y="225"/>
                </a:lnTo>
                <a:lnTo>
                  <a:pt x="839" y="55"/>
                </a:lnTo>
                <a:lnTo>
                  <a:pt x="839" y="55"/>
                </a:lnTo>
                <a:lnTo>
                  <a:pt x="839" y="44"/>
                </a:lnTo>
                <a:lnTo>
                  <a:pt x="836" y="35"/>
                </a:lnTo>
                <a:lnTo>
                  <a:pt x="830" y="26"/>
                </a:lnTo>
                <a:lnTo>
                  <a:pt x="823" y="16"/>
                </a:lnTo>
                <a:lnTo>
                  <a:pt x="815" y="11"/>
                </a:lnTo>
                <a:lnTo>
                  <a:pt x="806" y="5"/>
                </a:lnTo>
                <a:lnTo>
                  <a:pt x="795" y="2"/>
                </a:lnTo>
                <a:lnTo>
                  <a:pt x="784" y="0"/>
                </a:lnTo>
                <a:lnTo>
                  <a:pt x="55" y="0"/>
                </a:lnTo>
                <a:lnTo>
                  <a:pt x="55" y="0"/>
                </a:lnTo>
                <a:lnTo>
                  <a:pt x="44" y="2"/>
                </a:lnTo>
                <a:lnTo>
                  <a:pt x="35" y="5"/>
                </a:lnTo>
                <a:lnTo>
                  <a:pt x="26" y="11"/>
                </a:lnTo>
                <a:lnTo>
                  <a:pt x="16" y="16"/>
                </a:lnTo>
                <a:lnTo>
                  <a:pt x="9" y="26"/>
                </a:lnTo>
                <a:lnTo>
                  <a:pt x="5" y="35"/>
                </a:lnTo>
                <a:lnTo>
                  <a:pt x="2" y="44"/>
                </a:lnTo>
                <a:lnTo>
                  <a:pt x="0" y="55"/>
                </a:lnTo>
                <a:lnTo>
                  <a:pt x="0" y="225"/>
                </a:lnTo>
                <a:lnTo>
                  <a:pt x="4" y="225"/>
                </a:lnTo>
                <a:lnTo>
                  <a:pt x="7" y="225"/>
                </a:lnTo>
                <a:lnTo>
                  <a:pt x="7" y="55"/>
                </a:lnTo>
                <a:lnTo>
                  <a:pt x="7" y="55"/>
                </a:lnTo>
                <a:lnTo>
                  <a:pt x="7" y="46"/>
                </a:lnTo>
                <a:lnTo>
                  <a:pt x="11" y="37"/>
                </a:lnTo>
                <a:lnTo>
                  <a:pt x="15" y="29"/>
                </a:lnTo>
                <a:lnTo>
                  <a:pt x="20" y="22"/>
                </a:lnTo>
                <a:lnTo>
                  <a:pt x="20" y="22"/>
                </a:lnTo>
                <a:lnTo>
                  <a:pt x="27" y="15"/>
                </a:lnTo>
                <a:lnTo>
                  <a:pt x="37" y="11"/>
                </a:lnTo>
                <a:lnTo>
                  <a:pt x="46" y="7"/>
                </a:lnTo>
                <a:lnTo>
                  <a:pt x="55" y="7"/>
                </a:lnTo>
                <a:lnTo>
                  <a:pt x="784" y="7"/>
                </a:lnTo>
                <a:lnTo>
                  <a:pt x="784" y="7"/>
                </a:lnTo>
                <a:lnTo>
                  <a:pt x="795" y="7"/>
                </a:lnTo>
                <a:lnTo>
                  <a:pt x="804" y="11"/>
                </a:lnTo>
                <a:lnTo>
                  <a:pt x="812" y="15"/>
                </a:lnTo>
                <a:lnTo>
                  <a:pt x="819" y="22"/>
                </a:lnTo>
                <a:lnTo>
                  <a:pt x="819" y="22"/>
                </a:lnTo>
                <a:lnTo>
                  <a:pt x="825" y="29"/>
                </a:lnTo>
                <a:lnTo>
                  <a:pt x="830" y="37"/>
                </a:lnTo>
                <a:lnTo>
                  <a:pt x="832" y="46"/>
                </a:lnTo>
                <a:lnTo>
                  <a:pt x="834" y="55"/>
                </a:lnTo>
                <a:lnTo>
                  <a:pt x="834" y="225"/>
                </a:lnTo>
                <a:lnTo>
                  <a:pt x="834" y="225"/>
                </a:lnTo>
                <a:lnTo>
                  <a:pt x="832" y="236"/>
                </a:lnTo>
                <a:lnTo>
                  <a:pt x="830" y="246"/>
                </a:lnTo>
                <a:lnTo>
                  <a:pt x="825" y="253"/>
                </a:lnTo>
                <a:lnTo>
                  <a:pt x="819" y="260"/>
                </a:lnTo>
                <a:lnTo>
                  <a:pt x="819" y="260"/>
                </a:lnTo>
                <a:lnTo>
                  <a:pt x="812" y="266"/>
                </a:lnTo>
                <a:lnTo>
                  <a:pt x="804" y="271"/>
                </a:lnTo>
                <a:lnTo>
                  <a:pt x="795" y="273"/>
                </a:lnTo>
                <a:lnTo>
                  <a:pt x="784" y="275"/>
                </a:lnTo>
                <a:lnTo>
                  <a:pt x="55" y="275"/>
                </a:lnTo>
                <a:lnTo>
                  <a:pt x="55" y="275"/>
                </a:lnTo>
                <a:lnTo>
                  <a:pt x="46" y="273"/>
                </a:lnTo>
                <a:lnTo>
                  <a:pt x="37" y="271"/>
                </a:lnTo>
                <a:lnTo>
                  <a:pt x="27" y="266"/>
                </a:lnTo>
                <a:lnTo>
                  <a:pt x="20" y="260"/>
                </a:lnTo>
                <a:lnTo>
                  <a:pt x="20" y="260"/>
                </a:lnTo>
                <a:lnTo>
                  <a:pt x="15" y="253"/>
                </a:lnTo>
                <a:lnTo>
                  <a:pt x="11" y="246"/>
                </a:lnTo>
                <a:lnTo>
                  <a:pt x="7" y="236"/>
                </a:lnTo>
                <a:lnTo>
                  <a:pt x="7" y="225"/>
                </a:lnTo>
                <a:lnTo>
                  <a:pt x="4" y="225"/>
                </a:lnTo>
                <a:close/>
              </a:path>
            </a:pathLst>
          </a:custGeom>
          <a:solidFill>
            <a:srgbClr val="939598"/>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grpSp>
        <p:nvGrpSpPr>
          <p:cNvPr id="369" name="Group 368">
            <a:extLst>
              <a:ext uri="{FF2B5EF4-FFF2-40B4-BE49-F238E27FC236}">
                <a16:creationId xmlns:a16="http://schemas.microsoft.com/office/drawing/2014/main" id="{19C7E42F-D080-5749-B30B-54CE360CC5C8}"/>
              </a:ext>
            </a:extLst>
          </p:cNvPr>
          <p:cNvGrpSpPr/>
          <p:nvPr/>
        </p:nvGrpSpPr>
        <p:grpSpPr>
          <a:xfrm>
            <a:off x="5300033" y="1093005"/>
            <a:ext cx="1877348" cy="3904524"/>
            <a:chOff x="5929048" y="2245857"/>
            <a:chExt cx="1696486" cy="4201764"/>
          </a:xfrm>
          <a:solidFill>
            <a:srgbClr val="00318A"/>
          </a:solidFill>
        </p:grpSpPr>
        <p:sp>
          <p:nvSpPr>
            <p:cNvPr id="370" name="Freeform 87">
              <a:extLst>
                <a:ext uri="{FF2B5EF4-FFF2-40B4-BE49-F238E27FC236}">
                  <a16:creationId xmlns:a16="http://schemas.microsoft.com/office/drawing/2014/main" id="{004C27D1-DBBC-D66F-8342-9B193DFC1175}"/>
                </a:ext>
              </a:extLst>
            </p:cNvPr>
            <p:cNvSpPr>
              <a:spLocks/>
            </p:cNvSpPr>
            <p:nvPr/>
          </p:nvSpPr>
          <p:spPr bwMode="auto">
            <a:xfrm>
              <a:off x="7128665" y="6362240"/>
              <a:ext cx="77291" cy="78646"/>
            </a:xfrm>
            <a:custGeom>
              <a:avLst/>
              <a:gdLst/>
              <a:ahLst/>
              <a:cxnLst>
                <a:cxn ang="0">
                  <a:pos x="57" y="29"/>
                </a:cxn>
                <a:cxn ang="0">
                  <a:pos x="57" y="29"/>
                </a:cxn>
                <a:cxn ang="0">
                  <a:pos x="57" y="34"/>
                </a:cxn>
                <a:cxn ang="0">
                  <a:pos x="55" y="40"/>
                </a:cxn>
                <a:cxn ang="0">
                  <a:pos x="49" y="49"/>
                </a:cxn>
                <a:cxn ang="0">
                  <a:pos x="40" y="55"/>
                </a:cxn>
                <a:cxn ang="0">
                  <a:pos x="35" y="56"/>
                </a:cxn>
                <a:cxn ang="0">
                  <a:pos x="29" y="58"/>
                </a:cxn>
                <a:cxn ang="0">
                  <a:pos x="29" y="58"/>
                </a:cxn>
                <a:cxn ang="0">
                  <a:pos x="22" y="56"/>
                </a:cxn>
                <a:cxn ang="0">
                  <a:pos x="16" y="55"/>
                </a:cxn>
                <a:cxn ang="0">
                  <a:pos x="7" y="49"/>
                </a:cxn>
                <a:cxn ang="0">
                  <a:pos x="2" y="40"/>
                </a:cxn>
                <a:cxn ang="0">
                  <a:pos x="0" y="34"/>
                </a:cxn>
                <a:cxn ang="0">
                  <a:pos x="0" y="29"/>
                </a:cxn>
                <a:cxn ang="0">
                  <a:pos x="0" y="29"/>
                </a:cxn>
                <a:cxn ang="0">
                  <a:pos x="0" y="23"/>
                </a:cxn>
                <a:cxn ang="0">
                  <a:pos x="2" y="18"/>
                </a:cxn>
                <a:cxn ang="0">
                  <a:pos x="7" y="9"/>
                </a:cxn>
                <a:cxn ang="0">
                  <a:pos x="16" y="1"/>
                </a:cxn>
                <a:cxn ang="0">
                  <a:pos x="22" y="0"/>
                </a:cxn>
                <a:cxn ang="0">
                  <a:pos x="29" y="0"/>
                </a:cxn>
                <a:cxn ang="0">
                  <a:pos x="29" y="0"/>
                </a:cxn>
                <a:cxn ang="0">
                  <a:pos x="35" y="0"/>
                </a:cxn>
                <a:cxn ang="0">
                  <a:pos x="40" y="1"/>
                </a:cxn>
                <a:cxn ang="0">
                  <a:pos x="49" y="9"/>
                </a:cxn>
                <a:cxn ang="0">
                  <a:pos x="55" y="18"/>
                </a:cxn>
                <a:cxn ang="0">
                  <a:pos x="57" y="23"/>
                </a:cxn>
                <a:cxn ang="0">
                  <a:pos x="57" y="29"/>
                </a:cxn>
                <a:cxn ang="0">
                  <a:pos x="57" y="29"/>
                </a:cxn>
              </a:cxnLst>
              <a:rect l="0" t="0" r="r" b="b"/>
              <a:pathLst>
                <a:path w="57" h="58">
                  <a:moveTo>
                    <a:pt x="57" y="29"/>
                  </a:moveTo>
                  <a:lnTo>
                    <a:pt x="57" y="29"/>
                  </a:lnTo>
                  <a:lnTo>
                    <a:pt x="57" y="34"/>
                  </a:lnTo>
                  <a:lnTo>
                    <a:pt x="55" y="40"/>
                  </a:lnTo>
                  <a:lnTo>
                    <a:pt x="49" y="49"/>
                  </a:lnTo>
                  <a:lnTo>
                    <a:pt x="40" y="55"/>
                  </a:lnTo>
                  <a:lnTo>
                    <a:pt x="35" y="56"/>
                  </a:lnTo>
                  <a:lnTo>
                    <a:pt x="29" y="58"/>
                  </a:lnTo>
                  <a:lnTo>
                    <a:pt x="29" y="58"/>
                  </a:lnTo>
                  <a:lnTo>
                    <a:pt x="22" y="56"/>
                  </a:lnTo>
                  <a:lnTo>
                    <a:pt x="16" y="55"/>
                  </a:lnTo>
                  <a:lnTo>
                    <a:pt x="7" y="49"/>
                  </a:lnTo>
                  <a:lnTo>
                    <a:pt x="2" y="40"/>
                  </a:lnTo>
                  <a:lnTo>
                    <a:pt x="0" y="34"/>
                  </a:lnTo>
                  <a:lnTo>
                    <a:pt x="0" y="29"/>
                  </a:lnTo>
                  <a:lnTo>
                    <a:pt x="0" y="29"/>
                  </a:lnTo>
                  <a:lnTo>
                    <a:pt x="0" y="23"/>
                  </a:lnTo>
                  <a:lnTo>
                    <a:pt x="2" y="18"/>
                  </a:lnTo>
                  <a:lnTo>
                    <a:pt x="7" y="9"/>
                  </a:lnTo>
                  <a:lnTo>
                    <a:pt x="16" y="1"/>
                  </a:lnTo>
                  <a:lnTo>
                    <a:pt x="22" y="0"/>
                  </a:lnTo>
                  <a:lnTo>
                    <a:pt x="29" y="0"/>
                  </a:lnTo>
                  <a:lnTo>
                    <a:pt x="29" y="0"/>
                  </a:lnTo>
                  <a:lnTo>
                    <a:pt x="35" y="0"/>
                  </a:lnTo>
                  <a:lnTo>
                    <a:pt x="40" y="1"/>
                  </a:lnTo>
                  <a:lnTo>
                    <a:pt x="49" y="9"/>
                  </a:lnTo>
                  <a:lnTo>
                    <a:pt x="55" y="18"/>
                  </a:lnTo>
                  <a:lnTo>
                    <a:pt x="57" y="23"/>
                  </a:lnTo>
                  <a:lnTo>
                    <a:pt x="57" y="29"/>
                  </a:lnTo>
                  <a:lnTo>
                    <a:pt x="57"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71" name="Freeform 172">
              <a:extLst>
                <a:ext uri="{FF2B5EF4-FFF2-40B4-BE49-F238E27FC236}">
                  <a16:creationId xmlns:a16="http://schemas.microsoft.com/office/drawing/2014/main" id="{E475D0A2-A600-5AB2-559E-04406739E4A2}"/>
                </a:ext>
              </a:extLst>
            </p:cNvPr>
            <p:cNvSpPr>
              <a:spLocks/>
            </p:cNvSpPr>
            <p:nvPr/>
          </p:nvSpPr>
          <p:spPr bwMode="auto">
            <a:xfrm>
              <a:off x="6337386" y="6368975"/>
              <a:ext cx="77291" cy="78646"/>
            </a:xfrm>
            <a:custGeom>
              <a:avLst/>
              <a:gdLst/>
              <a:ahLst/>
              <a:cxnLst>
                <a:cxn ang="0">
                  <a:pos x="0" y="29"/>
                </a:cxn>
                <a:cxn ang="0">
                  <a:pos x="0" y="29"/>
                </a:cxn>
                <a:cxn ang="0">
                  <a:pos x="0" y="34"/>
                </a:cxn>
                <a:cxn ang="0">
                  <a:pos x="2" y="40"/>
                </a:cxn>
                <a:cxn ang="0">
                  <a:pos x="8" y="49"/>
                </a:cxn>
                <a:cxn ang="0">
                  <a:pos x="17" y="55"/>
                </a:cxn>
                <a:cxn ang="0">
                  <a:pos x="22" y="56"/>
                </a:cxn>
                <a:cxn ang="0">
                  <a:pos x="28" y="58"/>
                </a:cxn>
                <a:cxn ang="0">
                  <a:pos x="28" y="58"/>
                </a:cxn>
                <a:cxn ang="0">
                  <a:pos x="35" y="56"/>
                </a:cxn>
                <a:cxn ang="0">
                  <a:pos x="41" y="55"/>
                </a:cxn>
                <a:cxn ang="0">
                  <a:pos x="50" y="49"/>
                </a:cxn>
                <a:cxn ang="0">
                  <a:pos x="55" y="40"/>
                </a:cxn>
                <a:cxn ang="0">
                  <a:pos x="57" y="34"/>
                </a:cxn>
                <a:cxn ang="0">
                  <a:pos x="57" y="29"/>
                </a:cxn>
                <a:cxn ang="0">
                  <a:pos x="57" y="29"/>
                </a:cxn>
                <a:cxn ang="0">
                  <a:pos x="57" y="23"/>
                </a:cxn>
                <a:cxn ang="0">
                  <a:pos x="55" y="18"/>
                </a:cxn>
                <a:cxn ang="0">
                  <a:pos x="50" y="9"/>
                </a:cxn>
                <a:cxn ang="0">
                  <a:pos x="41" y="1"/>
                </a:cxn>
                <a:cxn ang="0">
                  <a:pos x="35" y="0"/>
                </a:cxn>
                <a:cxn ang="0">
                  <a:pos x="28" y="0"/>
                </a:cxn>
                <a:cxn ang="0">
                  <a:pos x="28" y="0"/>
                </a:cxn>
                <a:cxn ang="0">
                  <a:pos x="22" y="0"/>
                </a:cxn>
                <a:cxn ang="0">
                  <a:pos x="17" y="1"/>
                </a:cxn>
                <a:cxn ang="0">
                  <a:pos x="8" y="9"/>
                </a:cxn>
                <a:cxn ang="0">
                  <a:pos x="2" y="18"/>
                </a:cxn>
                <a:cxn ang="0">
                  <a:pos x="0" y="23"/>
                </a:cxn>
                <a:cxn ang="0">
                  <a:pos x="0" y="29"/>
                </a:cxn>
                <a:cxn ang="0">
                  <a:pos x="0" y="29"/>
                </a:cxn>
              </a:cxnLst>
              <a:rect l="0" t="0" r="r" b="b"/>
              <a:pathLst>
                <a:path w="57" h="58">
                  <a:moveTo>
                    <a:pt x="0" y="29"/>
                  </a:moveTo>
                  <a:lnTo>
                    <a:pt x="0" y="29"/>
                  </a:lnTo>
                  <a:lnTo>
                    <a:pt x="0" y="34"/>
                  </a:lnTo>
                  <a:lnTo>
                    <a:pt x="2" y="40"/>
                  </a:lnTo>
                  <a:lnTo>
                    <a:pt x="8" y="49"/>
                  </a:lnTo>
                  <a:lnTo>
                    <a:pt x="17" y="55"/>
                  </a:lnTo>
                  <a:lnTo>
                    <a:pt x="22" y="56"/>
                  </a:lnTo>
                  <a:lnTo>
                    <a:pt x="28" y="58"/>
                  </a:lnTo>
                  <a:lnTo>
                    <a:pt x="28" y="58"/>
                  </a:lnTo>
                  <a:lnTo>
                    <a:pt x="35" y="56"/>
                  </a:lnTo>
                  <a:lnTo>
                    <a:pt x="41" y="55"/>
                  </a:lnTo>
                  <a:lnTo>
                    <a:pt x="50" y="49"/>
                  </a:lnTo>
                  <a:lnTo>
                    <a:pt x="55" y="40"/>
                  </a:lnTo>
                  <a:lnTo>
                    <a:pt x="57" y="34"/>
                  </a:lnTo>
                  <a:lnTo>
                    <a:pt x="57" y="29"/>
                  </a:lnTo>
                  <a:lnTo>
                    <a:pt x="57" y="29"/>
                  </a:lnTo>
                  <a:lnTo>
                    <a:pt x="57" y="23"/>
                  </a:lnTo>
                  <a:lnTo>
                    <a:pt x="55" y="18"/>
                  </a:lnTo>
                  <a:lnTo>
                    <a:pt x="50" y="9"/>
                  </a:lnTo>
                  <a:lnTo>
                    <a:pt x="41" y="1"/>
                  </a:lnTo>
                  <a:lnTo>
                    <a:pt x="35" y="0"/>
                  </a:lnTo>
                  <a:lnTo>
                    <a:pt x="28" y="0"/>
                  </a:lnTo>
                  <a:lnTo>
                    <a:pt x="28" y="0"/>
                  </a:lnTo>
                  <a:lnTo>
                    <a:pt x="22" y="0"/>
                  </a:lnTo>
                  <a:lnTo>
                    <a:pt x="17" y="1"/>
                  </a:lnTo>
                  <a:lnTo>
                    <a:pt x="8" y="9"/>
                  </a:lnTo>
                  <a:lnTo>
                    <a:pt x="2" y="18"/>
                  </a:lnTo>
                  <a:lnTo>
                    <a:pt x="0" y="23"/>
                  </a:lnTo>
                  <a:lnTo>
                    <a:pt x="0" y="29"/>
                  </a:lnTo>
                  <a:lnTo>
                    <a:pt x="0"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72" name="Freeform 78">
              <a:extLst>
                <a:ext uri="{FF2B5EF4-FFF2-40B4-BE49-F238E27FC236}">
                  <a16:creationId xmlns:a16="http://schemas.microsoft.com/office/drawing/2014/main" id="{EFB8B448-D477-79E7-3F44-EB4703AB70F8}"/>
                </a:ext>
              </a:extLst>
            </p:cNvPr>
            <p:cNvSpPr>
              <a:spLocks/>
            </p:cNvSpPr>
            <p:nvPr/>
          </p:nvSpPr>
          <p:spPr bwMode="auto">
            <a:xfrm>
              <a:off x="7056872" y="2245857"/>
              <a:ext cx="78717" cy="78125"/>
            </a:xfrm>
            <a:custGeom>
              <a:avLst/>
              <a:gdLst/>
              <a:ahLst/>
              <a:cxnLst>
                <a:cxn ang="0">
                  <a:pos x="58" y="29"/>
                </a:cxn>
                <a:cxn ang="0">
                  <a:pos x="58" y="29"/>
                </a:cxn>
                <a:cxn ang="0">
                  <a:pos x="58" y="35"/>
                </a:cxn>
                <a:cxn ang="0">
                  <a:pos x="56" y="40"/>
                </a:cxn>
                <a:cxn ang="0">
                  <a:pos x="49" y="49"/>
                </a:cxn>
                <a:cxn ang="0">
                  <a:pos x="40" y="55"/>
                </a:cxn>
                <a:cxn ang="0">
                  <a:pos x="34" y="57"/>
                </a:cxn>
                <a:cxn ang="0">
                  <a:pos x="29" y="58"/>
                </a:cxn>
                <a:cxn ang="0">
                  <a:pos x="29" y="58"/>
                </a:cxn>
                <a:cxn ang="0">
                  <a:pos x="23" y="57"/>
                </a:cxn>
                <a:cxn ang="0">
                  <a:pos x="18" y="55"/>
                </a:cxn>
                <a:cxn ang="0">
                  <a:pos x="9" y="49"/>
                </a:cxn>
                <a:cxn ang="0">
                  <a:pos x="3" y="40"/>
                </a:cxn>
                <a:cxn ang="0">
                  <a:pos x="1" y="35"/>
                </a:cxn>
                <a:cxn ang="0">
                  <a:pos x="0" y="29"/>
                </a:cxn>
                <a:cxn ang="0">
                  <a:pos x="0" y="29"/>
                </a:cxn>
                <a:cxn ang="0">
                  <a:pos x="1" y="24"/>
                </a:cxn>
                <a:cxn ang="0">
                  <a:pos x="3" y="18"/>
                </a:cxn>
                <a:cxn ang="0">
                  <a:pos x="9" y="9"/>
                </a:cxn>
                <a:cxn ang="0">
                  <a:pos x="18" y="2"/>
                </a:cxn>
                <a:cxn ang="0">
                  <a:pos x="23" y="0"/>
                </a:cxn>
                <a:cxn ang="0">
                  <a:pos x="29" y="0"/>
                </a:cxn>
                <a:cxn ang="0">
                  <a:pos x="29" y="0"/>
                </a:cxn>
                <a:cxn ang="0">
                  <a:pos x="34" y="0"/>
                </a:cxn>
                <a:cxn ang="0">
                  <a:pos x="40" y="2"/>
                </a:cxn>
                <a:cxn ang="0">
                  <a:pos x="49" y="9"/>
                </a:cxn>
                <a:cxn ang="0">
                  <a:pos x="56" y="18"/>
                </a:cxn>
                <a:cxn ang="0">
                  <a:pos x="58" y="24"/>
                </a:cxn>
                <a:cxn ang="0">
                  <a:pos x="58" y="29"/>
                </a:cxn>
                <a:cxn ang="0">
                  <a:pos x="58" y="29"/>
                </a:cxn>
              </a:cxnLst>
              <a:rect l="0" t="0" r="r" b="b"/>
              <a:pathLst>
                <a:path w="58" h="58">
                  <a:moveTo>
                    <a:pt x="58" y="29"/>
                  </a:moveTo>
                  <a:lnTo>
                    <a:pt x="58" y="29"/>
                  </a:lnTo>
                  <a:lnTo>
                    <a:pt x="58" y="35"/>
                  </a:lnTo>
                  <a:lnTo>
                    <a:pt x="56" y="40"/>
                  </a:lnTo>
                  <a:lnTo>
                    <a:pt x="49" y="49"/>
                  </a:lnTo>
                  <a:lnTo>
                    <a:pt x="40" y="55"/>
                  </a:lnTo>
                  <a:lnTo>
                    <a:pt x="34" y="57"/>
                  </a:lnTo>
                  <a:lnTo>
                    <a:pt x="29" y="58"/>
                  </a:lnTo>
                  <a:lnTo>
                    <a:pt x="29" y="58"/>
                  </a:lnTo>
                  <a:lnTo>
                    <a:pt x="23" y="57"/>
                  </a:lnTo>
                  <a:lnTo>
                    <a:pt x="18" y="55"/>
                  </a:lnTo>
                  <a:lnTo>
                    <a:pt x="9" y="49"/>
                  </a:lnTo>
                  <a:lnTo>
                    <a:pt x="3" y="40"/>
                  </a:lnTo>
                  <a:lnTo>
                    <a:pt x="1" y="35"/>
                  </a:lnTo>
                  <a:lnTo>
                    <a:pt x="0" y="29"/>
                  </a:lnTo>
                  <a:lnTo>
                    <a:pt x="0" y="29"/>
                  </a:lnTo>
                  <a:lnTo>
                    <a:pt x="1" y="24"/>
                  </a:lnTo>
                  <a:lnTo>
                    <a:pt x="3" y="18"/>
                  </a:lnTo>
                  <a:lnTo>
                    <a:pt x="9" y="9"/>
                  </a:lnTo>
                  <a:lnTo>
                    <a:pt x="18" y="2"/>
                  </a:lnTo>
                  <a:lnTo>
                    <a:pt x="23" y="0"/>
                  </a:lnTo>
                  <a:lnTo>
                    <a:pt x="29" y="0"/>
                  </a:lnTo>
                  <a:lnTo>
                    <a:pt x="29" y="0"/>
                  </a:lnTo>
                  <a:lnTo>
                    <a:pt x="34" y="0"/>
                  </a:lnTo>
                  <a:lnTo>
                    <a:pt x="40" y="2"/>
                  </a:lnTo>
                  <a:lnTo>
                    <a:pt x="49" y="9"/>
                  </a:lnTo>
                  <a:lnTo>
                    <a:pt x="56" y="18"/>
                  </a:lnTo>
                  <a:lnTo>
                    <a:pt x="58" y="24"/>
                  </a:lnTo>
                  <a:lnTo>
                    <a:pt x="58" y="29"/>
                  </a:lnTo>
                  <a:lnTo>
                    <a:pt x="58"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73" name="Freeform 79">
              <a:extLst>
                <a:ext uri="{FF2B5EF4-FFF2-40B4-BE49-F238E27FC236}">
                  <a16:creationId xmlns:a16="http://schemas.microsoft.com/office/drawing/2014/main" id="{3384DAD2-9462-F641-840D-AE95282A2C50}"/>
                </a:ext>
              </a:extLst>
            </p:cNvPr>
            <p:cNvSpPr>
              <a:spLocks/>
            </p:cNvSpPr>
            <p:nvPr/>
          </p:nvSpPr>
          <p:spPr bwMode="auto">
            <a:xfrm>
              <a:off x="7263164" y="2699791"/>
              <a:ext cx="78717" cy="79472"/>
            </a:xfrm>
            <a:custGeom>
              <a:avLst/>
              <a:gdLst/>
              <a:ahLst/>
              <a:cxnLst>
                <a:cxn ang="0">
                  <a:pos x="58" y="29"/>
                </a:cxn>
                <a:cxn ang="0">
                  <a:pos x="58" y="29"/>
                </a:cxn>
                <a:cxn ang="0">
                  <a:pos x="58" y="35"/>
                </a:cxn>
                <a:cxn ang="0">
                  <a:pos x="56" y="40"/>
                </a:cxn>
                <a:cxn ang="0">
                  <a:pos x="49" y="49"/>
                </a:cxn>
                <a:cxn ang="0">
                  <a:pos x="40" y="57"/>
                </a:cxn>
                <a:cxn ang="0">
                  <a:pos x="34" y="59"/>
                </a:cxn>
                <a:cxn ang="0">
                  <a:pos x="29" y="59"/>
                </a:cxn>
                <a:cxn ang="0">
                  <a:pos x="29" y="59"/>
                </a:cxn>
                <a:cxn ang="0">
                  <a:pos x="23" y="59"/>
                </a:cxn>
                <a:cxn ang="0">
                  <a:pos x="18" y="57"/>
                </a:cxn>
                <a:cxn ang="0">
                  <a:pos x="9" y="49"/>
                </a:cxn>
                <a:cxn ang="0">
                  <a:pos x="1" y="40"/>
                </a:cxn>
                <a:cxn ang="0">
                  <a:pos x="1" y="35"/>
                </a:cxn>
                <a:cxn ang="0">
                  <a:pos x="0" y="29"/>
                </a:cxn>
                <a:cxn ang="0">
                  <a:pos x="0" y="29"/>
                </a:cxn>
                <a:cxn ang="0">
                  <a:pos x="1" y="24"/>
                </a:cxn>
                <a:cxn ang="0">
                  <a:pos x="1" y="18"/>
                </a:cxn>
                <a:cxn ang="0">
                  <a:pos x="9" y="9"/>
                </a:cxn>
                <a:cxn ang="0">
                  <a:pos x="18" y="2"/>
                </a:cxn>
                <a:cxn ang="0">
                  <a:pos x="23" y="0"/>
                </a:cxn>
                <a:cxn ang="0">
                  <a:pos x="29" y="0"/>
                </a:cxn>
                <a:cxn ang="0">
                  <a:pos x="29" y="0"/>
                </a:cxn>
                <a:cxn ang="0">
                  <a:pos x="34" y="0"/>
                </a:cxn>
                <a:cxn ang="0">
                  <a:pos x="40" y="2"/>
                </a:cxn>
                <a:cxn ang="0">
                  <a:pos x="49" y="9"/>
                </a:cxn>
                <a:cxn ang="0">
                  <a:pos x="56" y="18"/>
                </a:cxn>
                <a:cxn ang="0">
                  <a:pos x="58" y="24"/>
                </a:cxn>
                <a:cxn ang="0">
                  <a:pos x="58" y="29"/>
                </a:cxn>
                <a:cxn ang="0">
                  <a:pos x="58" y="29"/>
                </a:cxn>
              </a:cxnLst>
              <a:rect l="0" t="0" r="r" b="b"/>
              <a:pathLst>
                <a:path w="58" h="59">
                  <a:moveTo>
                    <a:pt x="58" y="29"/>
                  </a:moveTo>
                  <a:lnTo>
                    <a:pt x="58" y="29"/>
                  </a:lnTo>
                  <a:lnTo>
                    <a:pt x="58" y="35"/>
                  </a:lnTo>
                  <a:lnTo>
                    <a:pt x="56" y="40"/>
                  </a:lnTo>
                  <a:lnTo>
                    <a:pt x="49" y="49"/>
                  </a:lnTo>
                  <a:lnTo>
                    <a:pt x="40" y="57"/>
                  </a:lnTo>
                  <a:lnTo>
                    <a:pt x="34" y="59"/>
                  </a:lnTo>
                  <a:lnTo>
                    <a:pt x="29" y="59"/>
                  </a:lnTo>
                  <a:lnTo>
                    <a:pt x="29" y="59"/>
                  </a:lnTo>
                  <a:lnTo>
                    <a:pt x="23" y="59"/>
                  </a:lnTo>
                  <a:lnTo>
                    <a:pt x="18" y="57"/>
                  </a:lnTo>
                  <a:lnTo>
                    <a:pt x="9" y="49"/>
                  </a:lnTo>
                  <a:lnTo>
                    <a:pt x="1" y="40"/>
                  </a:lnTo>
                  <a:lnTo>
                    <a:pt x="1" y="35"/>
                  </a:lnTo>
                  <a:lnTo>
                    <a:pt x="0" y="29"/>
                  </a:lnTo>
                  <a:lnTo>
                    <a:pt x="0" y="29"/>
                  </a:lnTo>
                  <a:lnTo>
                    <a:pt x="1" y="24"/>
                  </a:lnTo>
                  <a:lnTo>
                    <a:pt x="1" y="18"/>
                  </a:lnTo>
                  <a:lnTo>
                    <a:pt x="9" y="9"/>
                  </a:lnTo>
                  <a:lnTo>
                    <a:pt x="18" y="2"/>
                  </a:lnTo>
                  <a:lnTo>
                    <a:pt x="23" y="0"/>
                  </a:lnTo>
                  <a:lnTo>
                    <a:pt x="29" y="0"/>
                  </a:lnTo>
                  <a:lnTo>
                    <a:pt x="29" y="0"/>
                  </a:lnTo>
                  <a:lnTo>
                    <a:pt x="34" y="0"/>
                  </a:lnTo>
                  <a:lnTo>
                    <a:pt x="40" y="2"/>
                  </a:lnTo>
                  <a:lnTo>
                    <a:pt x="49" y="9"/>
                  </a:lnTo>
                  <a:lnTo>
                    <a:pt x="56" y="18"/>
                  </a:lnTo>
                  <a:lnTo>
                    <a:pt x="58" y="24"/>
                  </a:lnTo>
                  <a:lnTo>
                    <a:pt x="58" y="29"/>
                  </a:lnTo>
                  <a:lnTo>
                    <a:pt x="58"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74" name="Freeform 80">
              <a:extLst>
                <a:ext uri="{FF2B5EF4-FFF2-40B4-BE49-F238E27FC236}">
                  <a16:creationId xmlns:a16="http://schemas.microsoft.com/office/drawing/2014/main" id="{192B29C2-0801-E25C-89FF-41DACDBB7642}"/>
                </a:ext>
              </a:extLst>
            </p:cNvPr>
            <p:cNvSpPr>
              <a:spLocks/>
            </p:cNvSpPr>
            <p:nvPr/>
          </p:nvSpPr>
          <p:spPr bwMode="auto">
            <a:xfrm>
              <a:off x="7413813" y="3159112"/>
              <a:ext cx="80074" cy="78125"/>
            </a:xfrm>
            <a:custGeom>
              <a:avLst/>
              <a:gdLst/>
              <a:ahLst/>
              <a:cxnLst>
                <a:cxn ang="0">
                  <a:pos x="59" y="29"/>
                </a:cxn>
                <a:cxn ang="0">
                  <a:pos x="59" y="29"/>
                </a:cxn>
                <a:cxn ang="0">
                  <a:pos x="59" y="35"/>
                </a:cxn>
                <a:cxn ang="0">
                  <a:pos x="57" y="40"/>
                </a:cxn>
                <a:cxn ang="0">
                  <a:pos x="50" y="49"/>
                </a:cxn>
                <a:cxn ang="0">
                  <a:pos x="41" y="55"/>
                </a:cxn>
                <a:cxn ang="0">
                  <a:pos x="35" y="57"/>
                </a:cxn>
                <a:cxn ang="0">
                  <a:pos x="30" y="58"/>
                </a:cxn>
                <a:cxn ang="0">
                  <a:pos x="30" y="58"/>
                </a:cxn>
                <a:cxn ang="0">
                  <a:pos x="24" y="57"/>
                </a:cxn>
                <a:cxn ang="0">
                  <a:pos x="19" y="55"/>
                </a:cxn>
                <a:cxn ang="0">
                  <a:pos x="10" y="49"/>
                </a:cxn>
                <a:cxn ang="0">
                  <a:pos x="2" y="40"/>
                </a:cxn>
                <a:cxn ang="0">
                  <a:pos x="0" y="35"/>
                </a:cxn>
                <a:cxn ang="0">
                  <a:pos x="0" y="29"/>
                </a:cxn>
                <a:cxn ang="0">
                  <a:pos x="0" y="29"/>
                </a:cxn>
                <a:cxn ang="0">
                  <a:pos x="0" y="24"/>
                </a:cxn>
                <a:cxn ang="0">
                  <a:pos x="2" y="18"/>
                </a:cxn>
                <a:cxn ang="0">
                  <a:pos x="10" y="9"/>
                </a:cxn>
                <a:cxn ang="0">
                  <a:pos x="19" y="2"/>
                </a:cxn>
                <a:cxn ang="0">
                  <a:pos x="24" y="0"/>
                </a:cxn>
                <a:cxn ang="0">
                  <a:pos x="30" y="0"/>
                </a:cxn>
                <a:cxn ang="0">
                  <a:pos x="30" y="0"/>
                </a:cxn>
                <a:cxn ang="0">
                  <a:pos x="35" y="0"/>
                </a:cxn>
                <a:cxn ang="0">
                  <a:pos x="41" y="2"/>
                </a:cxn>
                <a:cxn ang="0">
                  <a:pos x="50" y="9"/>
                </a:cxn>
                <a:cxn ang="0">
                  <a:pos x="57" y="18"/>
                </a:cxn>
                <a:cxn ang="0">
                  <a:pos x="59" y="24"/>
                </a:cxn>
                <a:cxn ang="0">
                  <a:pos x="59" y="29"/>
                </a:cxn>
                <a:cxn ang="0">
                  <a:pos x="59" y="29"/>
                </a:cxn>
              </a:cxnLst>
              <a:rect l="0" t="0" r="r" b="b"/>
              <a:pathLst>
                <a:path w="59" h="58">
                  <a:moveTo>
                    <a:pt x="59" y="29"/>
                  </a:moveTo>
                  <a:lnTo>
                    <a:pt x="59" y="29"/>
                  </a:lnTo>
                  <a:lnTo>
                    <a:pt x="59" y="35"/>
                  </a:lnTo>
                  <a:lnTo>
                    <a:pt x="57" y="40"/>
                  </a:lnTo>
                  <a:lnTo>
                    <a:pt x="50" y="49"/>
                  </a:lnTo>
                  <a:lnTo>
                    <a:pt x="41" y="55"/>
                  </a:lnTo>
                  <a:lnTo>
                    <a:pt x="35" y="57"/>
                  </a:lnTo>
                  <a:lnTo>
                    <a:pt x="30" y="58"/>
                  </a:lnTo>
                  <a:lnTo>
                    <a:pt x="30" y="58"/>
                  </a:lnTo>
                  <a:lnTo>
                    <a:pt x="24" y="57"/>
                  </a:lnTo>
                  <a:lnTo>
                    <a:pt x="19" y="55"/>
                  </a:lnTo>
                  <a:lnTo>
                    <a:pt x="10" y="49"/>
                  </a:lnTo>
                  <a:lnTo>
                    <a:pt x="2" y="40"/>
                  </a:lnTo>
                  <a:lnTo>
                    <a:pt x="0" y="35"/>
                  </a:lnTo>
                  <a:lnTo>
                    <a:pt x="0" y="29"/>
                  </a:lnTo>
                  <a:lnTo>
                    <a:pt x="0" y="29"/>
                  </a:lnTo>
                  <a:lnTo>
                    <a:pt x="0" y="24"/>
                  </a:lnTo>
                  <a:lnTo>
                    <a:pt x="2" y="18"/>
                  </a:lnTo>
                  <a:lnTo>
                    <a:pt x="10" y="9"/>
                  </a:lnTo>
                  <a:lnTo>
                    <a:pt x="19" y="2"/>
                  </a:lnTo>
                  <a:lnTo>
                    <a:pt x="24" y="0"/>
                  </a:lnTo>
                  <a:lnTo>
                    <a:pt x="30" y="0"/>
                  </a:lnTo>
                  <a:lnTo>
                    <a:pt x="30" y="0"/>
                  </a:lnTo>
                  <a:lnTo>
                    <a:pt x="35" y="0"/>
                  </a:lnTo>
                  <a:lnTo>
                    <a:pt x="41" y="2"/>
                  </a:lnTo>
                  <a:lnTo>
                    <a:pt x="50" y="9"/>
                  </a:lnTo>
                  <a:lnTo>
                    <a:pt x="57" y="18"/>
                  </a:lnTo>
                  <a:lnTo>
                    <a:pt x="59" y="24"/>
                  </a:lnTo>
                  <a:lnTo>
                    <a:pt x="59" y="29"/>
                  </a:lnTo>
                  <a:lnTo>
                    <a:pt x="59"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75" name="Freeform 81">
              <a:extLst>
                <a:ext uri="{FF2B5EF4-FFF2-40B4-BE49-F238E27FC236}">
                  <a16:creationId xmlns:a16="http://schemas.microsoft.com/office/drawing/2014/main" id="{67992945-92DB-742B-BF5A-95DAE7F7119E}"/>
                </a:ext>
              </a:extLst>
            </p:cNvPr>
            <p:cNvSpPr>
              <a:spLocks/>
            </p:cNvSpPr>
            <p:nvPr/>
          </p:nvSpPr>
          <p:spPr bwMode="auto">
            <a:xfrm>
              <a:off x="7506102" y="3604964"/>
              <a:ext cx="80074" cy="79472"/>
            </a:xfrm>
            <a:custGeom>
              <a:avLst/>
              <a:gdLst/>
              <a:ahLst/>
              <a:cxnLst>
                <a:cxn ang="0">
                  <a:pos x="59" y="30"/>
                </a:cxn>
                <a:cxn ang="0">
                  <a:pos x="59" y="30"/>
                </a:cxn>
                <a:cxn ang="0">
                  <a:pos x="57" y="35"/>
                </a:cxn>
                <a:cxn ang="0">
                  <a:pos x="55" y="41"/>
                </a:cxn>
                <a:cxn ang="0">
                  <a:pos x="50" y="50"/>
                </a:cxn>
                <a:cxn ang="0">
                  <a:pos x="41" y="57"/>
                </a:cxn>
                <a:cxn ang="0">
                  <a:pos x="35" y="57"/>
                </a:cxn>
                <a:cxn ang="0">
                  <a:pos x="30" y="59"/>
                </a:cxn>
                <a:cxn ang="0">
                  <a:pos x="30" y="59"/>
                </a:cxn>
                <a:cxn ang="0">
                  <a:pos x="24" y="57"/>
                </a:cxn>
                <a:cxn ang="0">
                  <a:pos x="19" y="57"/>
                </a:cxn>
                <a:cxn ang="0">
                  <a:pos x="9" y="50"/>
                </a:cxn>
                <a:cxn ang="0">
                  <a:pos x="2" y="41"/>
                </a:cxn>
                <a:cxn ang="0">
                  <a:pos x="0" y="35"/>
                </a:cxn>
                <a:cxn ang="0">
                  <a:pos x="0" y="30"/>
                </a:cxn>
                <a:cxn ang="0">
                  <a:pos x="0" y="30"/>
                </a:cxn>
                <a:cxn ang="0">
                  <a:pos x="0" y="24"/>
                </a:cxn>
                <a:cxn ang="0">
                  <a:pos x="2" y="19"/>
                </a:cxn>
                <a:cxn ang="0">
                  <a:pos x="9" y="10"/>
                </a:cxn>
                <a:cxn ang="0">
                  <a:pos x="19" y="2"/>
                </a:cxn>
                <a:cxn ang="0">
                  <a:pos x="24" y="0"/>
                </a:cxn>
                <a:cxn ang="0">
                  <a:pos x="30" y="0"/>
                </a:cxn>
                <a:cxn ang="0">
                  <a:pos x="30" y="0"/>
                </a:cxn>
                <a:cxn ang="0">
                  <a:pos x="35" y="0"/>
                </a:cxn>
                <a:cxn ang="0">
                  <a:pos x="41" y="2"/>
                </a:cxn>
                <a:cxn ang="0">
                  <a:pos x="50" y="10"/>
                </a:cxn>
                <a:cxn ang="0">
                  <a:pos x="55" y="19"/>
                </a:cxn>
                <a:cxn ang="0">
                  <a:pos x="57" y="24"/>
                </a:cxn>
                <a:cxn ang="0">
                  <a:pos x="59" y="30"/>
                </a:cxn>
                <a:cxn ang="0">
                  <a:pos x="59" y="30"/>
                </a:cxn>
              </a:cxnLst>
              <a:rect l="0" t="0" r="r" b="b"/>
              <a:pathLst>
                <a:path w="59" h="59">
                  <a:moveTo>
                    <a:pt x="59" y="30"/>
                  </a:moveTo>
                  <a:lnTo>
                    <a:pt x="59" y="30"/>
                  </a:lnTo>
                  <a:lnTo>
                    <a:pt x="57" y="35"/>
                  </a:lnTo>
                  <a:lnTo>
                    <a:pt x="55" y="41"/>
                  </a:lnTo>
                  <a:lnTo>
                    <a:pt x="50" y="50"/>
                  </a:lnTo>
                  <a:lnTo>
                    <a:pt x="41" y="57"/>
                  </a:lnTo>
                  <a:lnTo>
                    <a:pt x="35" y="57"/>
                  </a:lnTo>
                  <a:lnTo>
                    <a:pt x="30" y="59"/>
                  </a:lnTo>
                  <a:lnTo>
                    <a:pt x="30" y="59"/>
                  </a:lnTo>
                  <a:lnTo>
                    <a:pt x="24" y="57"/>
                  </a:lnTo>
                  <a:lnTo>
                    <a:pt x="19" y="57"/>
                  </a:lnTo>
                  <a:lnTo>
                    <a:pt x="9" y="50"/>
                  </a:lnTo>
                  <a:lnTo>
                    <a:pt x="2" y="41"/>
                  </a:lnTo>
                  <a:lnTo>
                    <a:pt x="0" y="35"/>
                  </a:lnTo>
                  <a:lnTo>
                    <a:pt x="0" y="30"/>
                  </a:lnTo>
                  <a:lnTo>
                    <a:pt x="0" y="30"/>
                  </a:lnTo>
                  <a:lnTo>
                    <a:pt x="0" y="24"/>
                  </a:lnTo>
                  <a:lnTo>
                    <a:pt x="2" y="19"/>
                  </a:lnTo>
                  <a:lnTo>
                    <a:pt x="9" y="10"/>
                  </a:lnTo>
                  <a:lnTo>
                    <a:pt x="19" y="2"/>
                  </a:lnTo>
                  <a:lnTo>
                    <a:pt x="24" y="0"/>
                  </a:lnTo>
                  <a:lnTo>
                    <a:pt x="30" y="0"/>
                  </a:lnTo>
                  <a:lnTo>
                    <a:pt x="30" y="0"/>
                  </a:lnTo>
                  <a:lnTo>
                    <a:pt x="35" y="0"/>
                  </a:lnTo>
                  <a:lnTo>
                    <a:pt x="41" y="2"/>
                  </a:lnTo>
                  <a:lnTo>
                    <a:pt x="50" y="10"/>
                  </a:lnTo>
                  <a:lnTo>
                    <a:pt x="55" y="19"/>
                  </a:lnTo>
                  <a:lnTo>
                    <a:pt x="57" y="24"/>
                  </a:lnTo>
                  <a:lnTo>
                    <a:pt x="59" y="30"/>
                  </a:lnTo>
                  <a:lnTo>
                    <a:pt x="59" y="30"/>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76" name="Freeform 82">
              <a:extLst>
                <a:ext uri="{FF2B5EF4-FFF2-40B4-BE49-F238E27FC236}">
                  <a16:creationId xmlns:a16="http://schemas.microsoft.com/office/drawing/2014/main" id="{C45B673F-8BA6-02C6-424D-D41BD5BC8961}"/>
                </a:ext>
              </a:extLst>
            </p:cNvPr>
            <p:cNvSpPr>
              <a:spLocks/>
            </p:cNvSpPr>
            <p:nvPr/>
          </p:nvSpPr>
          <p:spPr bwMode="auto">
            <a:xfrm>
              <a:off x="7538675" y="4064286"/>
              <a:ext cx="77361" cy="79472"/>
            </a:xfrm>
            <a:custGeom>
              <a:avLst/>
              <a:gdLst/>
              <a:ahLst/>
              <a:cxnLst>
                <a:cxn ang="0">
                  <a:pos x="57" y="29"/>
                </a:cxn>
                <a:cxn ang="0">
                  <a:pos x="57" y="29"/>
                </a:cxn>
                <a:cxn ang="0">
                  <a:pos x="57" y="35"/>
                </a:cxn>
                <a:cxn ang="0">
                  <a:pos x="55" y="40"/>
                </a:cxn>
                <a:cxn ang="0">
                  <a:pos x="50" y="50"/>
                </a:cxn>
                <a:cxn ang="0">
                  <a:pos x="40" y="55"/>
                </a:cxn>
                <a:cxn ang="0">
                  <a:pos x="35" y="57"/>
                </a:cxn>
                <a:cxn ang="0">
                  <a:pos x="29" y="59"/>
                </a:cxn>
                <a:cxn ang="0">
                  <a:pos x="29" y="59"/>
                </a:cxn>
                <a:cxn ang="0">
                  <a:pos x="22" y="57"/>
                </a:cxn>
                <a:cxn ang="0">
                  <a:pos x="17" y="55"/>
                </a:cxn>
                <a:cxn ang="0">
                  <a:pos x="7" y="50"/>
                </a:cxn>
                <a:cxn ang="0">
                  <a:pos x="2" y="40"/>
                </a:cxn>
                <a:cxn ang="0">
                  <a:pos x="0" y="35"/>
                </a:cxn>
                <a:cxn ang="0">
                  <a:pos x="0" y="29"/>
                </a:cxn>
                <a:cxn ang="0">
                  <a:pos x="0" y="29"/>
                </a:cxn>
                <a:cxn ang="0">
                  <a:pos x="0" y="24"/>
                </a:cxn>
                <a:cxn ang="0">
                  <a:pos x="2" y="18"/>
                </a:cxn>
                <a:cxn ang="0">
                  <a:pos x="7" y="7"/>
                </a:cxn>
                <a:cxn ang="0">
                  <a:pos x="17" y="2"/>
                </a:cxn>
                <a:cxn ang="0">
                  <a:pos x="22" y="0"/>
                </a:cxn>
                <a:cxn ang="0">
                  <a:pos x="29" y="0"/>
                </a:cxn>
                <a:cxn ang="0">
                  <a:pos x="29" y="0"/>
                </a:cxn>
                <a:cxn ang="0">
                  <a:pos x="35" y="0"/>
                </a:cxn>
                <a:cxn ang="0">
                  <a:pos x="40" y="2"/>
                </a:cxn>
                <a:cxn ang="0">
                  <a:pos x="50" y="7"/>
                </a:cxn>
                <a:cxn ang="0">
                  <a:pos x="55" y="18"/>
                </a:cxn>
                <a:cxn ang="0">
                  <a:pos x="57" y="24"/>
                </a:cxn>
                <a:cxn ang="0">
                  <a:pos x="57" y="29"/>
                </a:cxn>
                <a:cxn ang="0">
                  <a:pos x="57" y="29"/>
                </a:cxn>
              </a:cxnLst>
              <a:rect l="0" t="0" r="r" b="b"/>
              <a:pathLst>
                <a:path w="57" h="59">
                  <a:moveTo>
                    <a:pt x="57" y="29"/>
                  </a:moveTo>
                  <a:lnTo>
                    <a:pt x="57" y="29"/>
                  </a:lnTo>
                  <a:lnTo>
                    <a:pt x="57" y="35"/>
                  </a:lnTo>
                  <a:lnTo>
                    <a:pt x="55" y="40"/>
                  </a:lnTo>
                  <a:lnTo>
                    <a:pt x="50" y="50"/>
                  </a:lnTo>
                  <a:lnTo>
                    <a:pt x="40" y="55"/>
                  </a:lnTo>
                  <a:lnTo>
                    <a:pt x="35" y="57"/>
                  </a:lnTo>
                  <a:lnTo>
                    <a:pt x="29" y="59"/>
                  </a:lnTo>
                  <a:lnTo>
                    <a:pt x="29" y="59"/>
                  </a:lnTo>
                  <a:lnTo>
                    <a:pt x="22" y="57"/>
                  </a:lnTo>
                  <a:lnTo>
                    <a:pt x="17" y="55"/>
                  </a:lnTo>
                  <a:lnTo>
                    <a:pt x="7" y="50"/>
                  </a:lnTo>
                  <a:lnTo>
                    <a:pt x="2" y="40"/>
                  </a:lnTo>
                  <a:lnTo>
                    <a:pt x="0" y="35"/>
                  </a:lnTo>
                  <a:lnTo>
                    <a:pt x="0" y="29"/>
                  </a:lnTo>
                  <a:lnTo>
                    <a:pt x="0" y="29"/>
                  </a:lnTo>
                  <a:lnTo>
                    <a:pt x="0" y="24"/>
                  </a:lnTo>
                  <a:lnTo>
                    <a:pt x="2" y="18"/>
                  </a:lnTo>
                  <a:lnTo>
                    <a:pt x="7" y="7"/>
                  </a:lnTo>
                  <a:lnTo>
                    <a:pt x="17" y="2"/>
                  </a:lnTo>
                  <a:lnTo>
                    <a:pt x="22" y="0"/>
                  </a:lnTo>
                  <a:lnTo>
                    <a:pt x="29" y="0"/>
                  </a:lnTo>
                  <a:lnTo>
                    <a:pt x="29" y="0"/>
                  </a:lnTo>
                  <a:lnTo>
                    <a:pt x="35" y="0"/>
                  </a:lnTo>
                  <a:lnTo>
                    <a:pt x="40" y="2"/>
                  </a:lnTo>
                  <a:lnTo>
                    <a:pt x="50" y="7"/>
                  </a:lnTo>
                  <a:lnTo>
                    <a:pt x="55" y="18"/>
                  </a:lnTo>
                  <a:lnTo>
                    <a:pt x="57" y="24"/>
                  </a:lnTo>
                  <a:lnTo>
                    <a:pt x="57" y="29"/>
                  </a:lnTo>
                  <a:lnTo>
                    <a:pt x="57"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77" name="Freeform 83">
              <a:extLst>
                <a:ext uri="{FF2B5EF4-FFF2-40B4-BE49-F238E27FC236}">
                  <a16:creationId xmlns:a16="http://schemas.microsoft.com/office/drawing/2014/main" id="{96449E08-820B-7918-9934-382C5D558FFA}"/>
                </a:ext>
              </a:extLst>
            </p:cNvPr>
            <p:cNvSpPr>
              <a:spLocks/>
            </p:cNvSpPr>
            <p:nvPr/>
          </p:nvSpPr>
          <p:spPr bwMode="auto">
            <a:xfrm>
              <a:off x="7546817" y="4523607"/>
              <a:ext cx="78717" cy="76779"/>
            </a:xfrm>
            <a:custGeom>
              <a:avLst/>
              <a:gdLst/>
              <a:ahLst/>
              <a:cxnLst>
                <a:cxn ang="0">
                  <a:pos x="58" y="29"/>
                </a:cxn>
                <a:cxn ang="0">
                  <a:pos x="58" y="29"/>
                </a:cxn>
                <a:cxn ang="0">
                  <a:pos x="56" y="35"/>
                </a:cxn>
                <a:cxn ang="0">
                  <a:pos x="55" y="40"/>
                </a:cxn>
                <a:cxn ang="0">
                  <a:pos x="49" y="49"/>
                </a:cxn>
                <a:cxn ang="0">
                  <a:pos x="40" y="55"/>
                </a:cxn>
                <a:cxn ang="0">
                  <a:pos x="34" y="57"/>
                </a:cxn>
                <a:cxn ang="0">
                  <a:pos x="29" y="57"/>
                </a:cxn>
                <a:cxn ang="0">
                  <a:pos x="29" y="57"/>
                </a:cxn>
                <a:cxn ang="0">
                  <a:pos x="23" y="57"/>
                </a:cxn>
                <a:cxn ang="0">
                  <a:pos x="18" y="55"/>
                </a:cxn>
                <a:cxn ang="0">
                  <a:pos x="9" y="49"/>
                </a:cxn>
                <a:cxn ang="0">
                  <a:pos x="1" y="40"/>
                </a:cxn>
                <a:cxn ang="0">
                  <a:pos x="0" y="35"/>
                </a:cxn>
                <a:cxn ang="0">
                  <a:pos x="0" y="29"/>
                </a:cxn>
                <a:cxn ang="0">
                  <a:pos x="0" y="29"/>
                </a:cxn>
                <a:cxn ang="0">
                  <a:pos x="0" y="22"/>
                </a:cxn>
                <a:cxn ang="0">
                  <a:pos x="1" y="16"/>
                </a:cxn>
                <a:cxn ang="0">
                  <a:pos x="9" y="7"/>
                </a:cxn>
                <a:cxn ang="0">
                  <a:pos x="18" y="2"/>
                </a:cxn>
                <a:cxn ang="0">
                  <a:pos x="23" y="0"/>
                </a:cxn>
                <a:cxn ang="0">
                  <a:pos x="29" y="0"/>
                </a:cxn>
                <a:cxn ang="0">
                  <a:pos x="29" y="0"/>
                </a:cxn>
                <a:cxn ang="0">
                  <a:pos x="34" y="0"/>
                </a:cxn>
                <a:cxn ang="0">
                  <a:pos x="40" y="2"/>
                </a:cxn>
                <a:cxn ang="0">
                  <a:pos x="49" y="7"/>
                </a:cxn>
                <a:cxn ang="0">
                  <a:pos x="55" y="16"/>
                </a:cxn>
                <a:cxn ang="0">
                  <a:pos x="56" y="22"/>
                </a:cxn>
                <a:cxn ang="0">
                  <a:pos x="58" y="29"/>
                </a:cxn>
                <a:cxn ang="0">
                  <a:pos x="58" y="29"/>
                </a:cxn>
              </a:cxnLst>
              <a:rect l="0" t="0" r="r" b="b"/>
              <a:pathLst>
                <a:path w="58" h="57">
                  <a:moveTo>
                    <a:pt x="58" y="29"/>
                  </a:moveTo>
                  <a:lnTo>
                    <a:pt x="58" y="29"/>
                  </a:lnTo>
                  <a:lnTo>
                    <a:pt x="56" y="35"/>
                  </a:lnTo>
                  <a:lnTo>
                    <a:pt x="55" y="40"/>
                  </a:lnTo>
                  <a:lnTo>
                    <a:pt x="49" y="49"/>
                  </a:lnTo>
                  <a:lnTo>
                    <a:pt x="40" y="55"/>
                  </a:lnTo>
                  <a:lnTo>
                    <a:pt x="34" y="57"/>
                  </a:lnTo>
                  <a:lnTo>
                    <a:pt x="29" y="57"/>
                  </a:lnTo>
                  <a:lnTo>
                    <a:pt x="29" y="57"/>
                  </a:lnTo>
                  <a:lnTo>
                    <a:pt x="23" y="57"/>
                  </a:lnTo>
                  <a:lnTo>
                    <a:pt x="18" y="55"/>
                  </a:lnTo>
                  <a:lnTo>
                    <a:pt x="9" y="49"/>
                  </a:lnTo>
                  <a:lnTo>
                    <a:pt x="1" y="40"/>
                  </a:lnTo>
                  <a:lnTo>
                    <a:pt x="0" y="35"/>
                  </a:lnTo>
                  <a:lnTo>
                    <a:pt x="0" y="29"/>
                  </a:lnTo>
                  <a:lnTo>
                    <a:pt x="0" y="29"/>
                  </a:lnTo>
                  <a:lnTo>
                    <a:pt x="0" y="22"/>
                  </a:lnTo>
                  <a:lnTo>
                    <a:pt x="1" y="16"/>
                  </a:lnTo>
                  <a:lnTo>
                    <a:pt x="9" y="7"/>
                  </a:lnTo>
                  <a:lnTo>
                    <a:pt x="18" y="2"/>
                  </a:lnTo>
                  <a:lnTo>
                    <a:pt x="23" y="0"/>
                  </a:lnTo>
                  <a:lnTo>
                    <a:pt x="29" y="0"/>
                  </a:lnTo>
                  <a:lnTo>
                    <a:pt x="29" y="0"/>
                  </a:lnTo>
                  <a:lnTo>
                    <a:pt x="34" y="0"/>
                  </a:lnTo>
                  <a:lnTo>
                    <a:pt x="40" y="2"/>
                  </a:lnTo>
                  <a:lnTo>
                    <a:pt x="49" y="7"/>
                  </a:lnTo>
                  <a:lnTo>
                    <a:pt x="55" y="16"/>
                  </a:lnTo>
                  <a:lnTo>
                    <a:pt x="56" y="22"/>
                  </a:lnTo>
                  <a:lnTo>
                    <a:pt x="58" y="29"/>
                  </a:lnTo>
                  <a:lnTo>
                    <a:pt x="58"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78" name="Freeform 84">
              <a:extLst>
                <a:ext uri="{FF2B5EF4-FFF2-40B4-BE49-F238E27FC236}">
                  <a16:creationId xmlns:a16="http://schemas.microsoft.com/office/drawing/2014/main" id="{988DEEBC-E929-6EFD-79E6-C240E7CD0D7B}"/>
                </a:ext>
              </a:extLst>
            </p:cNvPr>
            <p:cNvSpPr>
              <a:spLocks/>
            </p:cNvSpPr>
            <p:nvPr/>
          </p:nvSpPr>
          <p:spPr bwMode="auto">
            <a:xfrm>
              <a:off x="7491173" y="4965419"/>
              <a:ext cx="77361" cy="79472"/>
            </a:xfrm>
            <a:custGeom>
              <a:avLst/>
              <a:gdLst/>
              <a:ahLst/>
              <a:cxnLst>
                <a:cxn ang="0">
                  <a:pos x="57" y="29"/>
                </a:cxn>
                <a:cxn ang="0">
                  <a:pos x="57" y="29"/>
                </a:cxn>
                <a:cxn ang="0">
                  <a:pos x="57" y="35"/>
                </a:cxn>
                <a:cxn ang="0">
                  <a:pos x="55" y="40"/>
                </a:cxn>
                <a:cxn ang="0">
                  <a:pos x="50" y="49"/>
                </a:cxn>
                <a:cxn ang="0">
                  <a:pos x="41" y="57"/>
                </a:cxn>
                <a:cxn ang="0">
                  <a:pos x="35" y="59"/>
                </a:cxn>
                <a:cxn ang="0">
                  <a:pos x="28" y="59"/>
                </a:cxn>
                <a:cxn ang="0">
                  <a:pos x="28" y="59"/>
                </a:cxn>
                <a:cxn ang="0">
                  <a:pos x="22" y="59"/>
                </a:cxn>
                <a:cxn ang="0">
                  <a:pos x="17" y="57"/>
                </a:cxn>
                <a:cxn ang="0">
                  <a:pos x="8" y="49"/>
                </a:cxn>
                <a:cxn ang="0">
                  <a:pos x="2" y="40"/>
                </a:cxn>
                <a:cxn ang="0">
                  <a:pos x="0" y="35"/>
                </a:cxn>
                <a:cxn ang="0">
                  <a:pos x="0" y="29"/>
                </a:cxn>
                <a:cxn ang="0">
                  <a:pos x="0" y="29"/>
                </a:cxn>
                <a:cxn ang="0">
                  <a:pos x="0" y="24"/>
                </a:cxn>
                <a:cxn ang="0">
                  <a:pos x="2" y="18"/>
                </a:cxn>
                <a:cxn ang="0">
                  <a:pos x="8" y="9"/>
                </a:cxn>
                <a:cxn ang="0">
                  <a:pos x="17" y="2"/>
                </a:cxn>
                <a:cxn ang="0">
                  <a:pos x="22" y="0"/>
                </a:cxn>
                <a:cxn ang="0">
                  <a:pos x="28" y="0"/>
                </a:cxn>
                <a:cxn ang="0">
                  <a:pos x="28" y="0"/>
                </a:cxn>
                <a:cxn ang="0">
                  <a:pos x="35" y="0"/>
                </a:cxn>
                <a:cxn ang="0">
                  <a:pos x="41" y="2"/>
                </a:cxn>
                <a:cxn ang="0">
                  <a:pos x="50" y="9"/>
                </a:cxn>
                <a:cxn ang="0">
                  <a:pos x="55" y="18"/>
                </a:cxn>
                <a:cxn ang="0">
                  <a:pos x="57" y="24"/>
                </a:cxn>
                <a:cxn ang="0">
                  <a:pos x="57" y="29"/>
                </a:cxn>
                <a:cxn ang="0">
                  <a:pos x="57" y="29"/>
                </a:cxn>
              </a:cxnLst>
              <a:rect l="0" t="0" r="r" b="b"/>
              <a:pathLst>
                <a:path w="57" h="59">
                  <a:moveTo>
                    <a:pt x="57" y="29"/>
                  </a:moveTo>
                  <a:lnTo>
                    <a:pt x="57" y="29"/>
                  </a:lnTo>
                  <a:lnTo>
                    <a:pt x="57" y="35"/>
                  </a:lnTo>
                  <a:lnTo>
                    <a:pt x="55" y="40"/>
                  </a:lnTo>
                  <a:lnTo>
                    <a:pt x="50" y="49"/>
                  </a:lnTo>
                  <a:lnTo>
                    <a:pt x="41" y="57"/>
                  </a:lnTo>
                  <a:lnTo>
                    <a:pt x="35" y="59"/>
                  </a:lnTo>
                  <a:lnTo>
                    <a:pt x="28" y="59"/>
                  </a:lnTo>
                  <a:lnTo>
                    <a:pt x="28" y="59"/>
                  </a:lnTo>
                  <a:lnTo>
                    <a:pt x="22" y="59"/>
                  </a:lnTo>
                  <a:lnTo>
                    <a:pt x="17" y="57"/>
                  </a:lnTo>
                  <a:lnTo>
                    <a:pt x="8" y="49"/>
                  </a:lnTo>
                  <a:lnTo>
                    <a:pt x="2" y="40"/>
                  </a:lnTo>
                  <a:lnTo>
                    <a:pt x="0" y="35"/>
                  </a:lnTo>
                  <a:lnTo>
                    <a:pt x="0" y="29"/>
                  </a:lnTo>
                  <a:lnTo>
                    <a:pt x="0" y="29"/>
                  </a:lnTo>
                  <a:lnTo>
                    <a:pt x="0" y="24"/>
                  </a:lnTo>
                  <a:lnTo>
                    <a:pt x="2" y="18"/>
                  </a:lnTo>
                  <a:lnTo>
                    <a:pt x="8" y="9"/>
                  </a:lnTo>
                  <a:lnTo>
                    <a:pt x="17" y="2"/>
                  </a:lnTo>
                  <a:lnTo>
                    <a:pt x="22" y="0"/>
                  </a:lnTo>
                  <a:lnTo>
                    <a:pt x="28" y="0"/>
                  </a:lnTo>
                  <a:lnTo>
                    <a:pt x="28" y="0"/>
                  </a:lnTo>
                  <a:lnTo>
                    <a:pt x="35" y="0"/>
                  </a:lnTo>
                  <a:lnTo>
                    <a:pt x="41" y="2"/>
                  </a:lnTo>
                  <a:lnTo>
                    <a:pt x="50" y="9"/>
                  </a:lnTo>
                  <a:lnTo>
                    <a:pt x="55" y="18"/>
                  </a:lnTo>
                  <a:lnTo>
                    <a:pt x="57" y="24"/>
                  </a:lnTo>
                  <a:lnTo>
                    <a:pt x="57" y="29"/>
                  </a:lnTo>
                  <a:lnTo>
                    <a:pt x="57"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79" name="Freeform 85">
              <a:extLst>
                <a:ext uri="{FF2B5EF4-FFF2-40B4-BE49-F238E27FC236}">
                  <a16:creationId xmlns:a16="http://schemas.microsoft.com/office/drawing/2014/main" id="{9A840233-1668-9EB4-9277-831A67D2996D}"/>
                </a:ext>
              </a:extLst>
            </p:cNvPr>
            <p:cNvSpPr>
              <a:spLocks/>
            </p:cNvSpPr>
            <p:nvPr/>
          </p:nvSpPr>
          <p:spPr bwMode="auto">
            <a:xfrm>
              <a:off x="7413813" y="5428781"/>
              <a:ext cx="80074" cy="76779"/>
            </a:xfrm>
            <a:custGeom>
              <a:avLst/>
              <a:gdLst/>
              <a:ahLst/>
              <a:cxnLst>
                <a:cxn ang="0">
                  <a:pos x="59" y="28"/>
                </a:cxn>
                <a:cxn ang="0">
                  <a:pos x="59" y="28"/>
                </a:cxn>
                <a:cxn ang="0">
                  <a:pos x="59" y="35"/>
                </a:cxn>
                <a:cxn ang="0">
                  <a:pos x="57" y="41"/>
                </a:cxn>
                <a:cxn ang="0">
                  <a:pos x="50" y="50"/>
                </a:cxn>
                <a:cxn ang="0">
                  <a:pos x="41" y="55"/>
                </a:cxn>
                <a:cxn ang="0">
                  <a:pos x="35" y="57"/>
                </a:cxn>
                <a:cxn ang="0">
                  <a:pos x="30" y="57"/>
                </a:cxn>
                <a:cxn ang="0">
                  <a:pos x="30" y="57"/>
                </a:cxn>
                <a:cxn ang="0">
                  <a:pos x="24" y="57"/>
                </a:cxn>
                <a:cxn ang="0">
                  <a:pos x="19" y="55"/>
                </a:cxn>
                <a:cxn ang="0">
                  <a:pos x="10" y="50"/>
                </a:cxn>
                <a:cxn ang="0">
                  <a:pos x="2" y="41"/>
                </a:cxn>
                <a:cxn ang="0">
                  <a:pos x="0" y="35"/>
                </a:cxn>
                <a:cxn ang="0">
                  <a:pos x="0" y="28"/>
                </a:cxn>
                <a:cxn ang="0">
                  <a:pos x="0" y="28"/>
                </a:cxn>
                <a:cxn ang="0">
                  <a:pos x="0" y="22"/>
                </a:cxn>
                <a:cxn ang="0">
                  <a:pos x="2" y="17"/>
                </a:cxn>
                <a:cxn ang="0">
                  <a:pos x="10" y="8"/>
                </a:cxn>
                <a:cxn ang="0">
                  <a:pos x="19" y="2"/>
                </a:cxn>
                <a:cxn ang="0">
                  <a:pos x="24" y="0"/>
                </a:cxn>
                <a:cxn ang="0">
                  <a:pos x="30" y="0"/>
                </a:cxn>
                <a:cxn ang="0">
                  <a:pos x="30" y="0"/>
                </a:cxn>
                <a:cxn ang="0">
                  <a:pos x="35" y="0"/>
                </a:cxn>
                <a:cxn ang="0">
                  <a:pos x="41" y="2"/>
                </a:cxn>
                <a:cxn ang="0">
                  <a:pos x="50" y="8"/>
                </a:cxn>
                <a:cxn ang="0">
                  <a:pos x="57" y="17"/>
                </a:cxn>
                <a:cxn ang="0">
                  <a:pos x="59" y="22"/>
                </a:cxn>
                <a:cxn ang="0">
                  <a:pos x="59" y="28"/>
                </a:cxn>
                <a:cxn ang="0">
                  <a:pos x="59" y="28"/>
                </a:cxn>
              </a:cxnLst>
              <a:rect l="0" t="0" r="r" b="b"/>
              <a:pathLst>
                <a:path w="59" h="57">
                  <a:moveTo>
                    <a:pt x="59" y="28"/>
                  </a:moveTo>
                  <a:lnTo>
                    <a:pt x="59" y="28"/>
                  </a:lnTo>
                  <a:lnTo>
                    <a:pt x="59" y="35"/>
                  </a:lnTo>
                  <a:lnTo>
                    <a:pt x="57" y="41"/>
                  </a:lnTo>
                  <a:lnTo>
                    <a:pt x="50" y="50"/>
                  </a:lnTo>
                  <a:lnTo>
                    <a:pt x="41" y="55"/>
                  </a:lnTo>
                  <a:lnTo>
                    <a:pt x="35" y="57"/>
                  </a:lnTo>
                  <a:lnTo>
                    <a:pt x="30" y="57"/>
                  </a:lnTo>
                  <a:lnTo>
                    <a:pt x="30" y="57"/>
                  </a:lnTo>
                  <a:lnTo>
                    <a:pt x="24" y="57"/>
                  </a:lnTo>
                  <a:lnTo>
                    <a:pt x="19" y="55"/>
                  </a:lnTo>
                  <a:lnTo>
                    <a:pt x="10" y="50"/>
                  </a:lnTo>
                  <a:lnTo>
                    <a:pt x="2" y="41"/>
                  </a:lnTo>
                  <a:lnTo>
                    <a:pt x="0" y="35"/>
                  </a:lnTo>
                  <a:lnTo>
                    <a:pt x="0" y="28"/>
                  </a:lnTo>
                  <a:lnTo>
                    <a:pt x="0" y="28"/>
                  </a:lnTo>
                  <a:lnTo>
                    <a:pt x="0" y="22"/>
                  </a:lnTo>
                  <a:lnTo>
                    <a:pt x="2" y="17"/>
                  </a:lnTo>
                  <a:lnTo>
                    <a:pt x="10" y="8"/>
                  </a:lnTo>
                  <a:lnTo>
                    <a:pt x="19" y="2"/>
                  </a:lnTo>
                  <a:lnTo>
                    <a:pt x="24" y="0"/>
                  </a:lnTo>
                  <a:lnTo>
                    <a:pt x="30" y="0"/>
                  </a:lnTo>
                  <a:lnTo>
                    <a:pt x="30" y="0"/>
                  </a:lnTo>
                  <a:lnTo>
                    <a:pt x="35" y="0"/>
                  </a:lnTo>
                  <a:lnTo>
                    <a:pt x="41" y="2"/>
                  </a:lnTo>
                  <a:lnTo>
                    <a:pt x="50" y="8"/>
                  </a:lnTo>
                  <a:lnTo>
                    <a:pt x="57" y="17"/>
                  </a:lnTo>
                  <a:lnTo>
                    <a:pt x="59" y="22"/>
                  </a:lnTo>
                  <a:lnTo>
                    <a:pt x="59" y="28"/>
                  </a:lnTo>
                  <a:lnTo>
                    <a:pt x="59" y="28"/>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80" name="Freeform 86">
              <a:extLst>
                <a:ext uri="{FF2B5EF4-FFF2-40B4-BE49-F238E27FC236}">
                  <a16:creationId xmlns:a16="http://schemas.microsoft.com/office/drawing/2014/main" id="{4664D837-A19A-D1C3-2112-D2F7AED121D7}"/>
                </a:ext>
              </a:extLst>
            </p:cNvPr>
            <p:cNvSpPr>
              <a:spLocks/>
            </p:cNvSpPr>
            <p:nvPr/>
          </p:nvSpPr>
          <p:spPr bwMode="auto">
            <a:xfrm>
              <a:off x="7287594" y="5878674"/>
              <a:ext cx="80074" cy="78125"/>
            </a:xfrm>
            <a:custGeom>
              <a:avLst/>
              <a:gdLst/>
              <a:ahLst/>
              <a:cxnLst>
                <a:cxn ang="0">
                  <a:pos x="59" y="29"/>
                </a:cxn>
                <a:cxn ang="0">
                  <a:pos x="59" y="29"/>
                </a:cxn>
                <a:cxn ang="0">
                  <a:pos x="57" y="35"/>
                </a:cxn>
                <a:cxn ang="0">
                  <a:pos x="55" y="40"/>
                </a:cxn>
                <a:cxn ang="0">
                  <a:pos x="49" y="49"/>
                </a:cxn>
                <a:cxn ang="0">
                  <a:pos x="40" y="57"/>
                </a:cxn>
                <a:cxn ang="0">
                  <a:pos x="35" y="58"/>
                </a:cxn>
                <a:cxn ang="0">
                  <a:pos x="29" y="58"/>
                </a:cxn>
                <a:cxn ang="0">
                  <a:pos x="29" y="58"/>
                </a:cxn>
                <a:cxn ang="0">
                  <a:pos x="22" y="58"/>
                </a:cxn>
                <a:cxn ang="0">
                  <a:pos x="18" y="57"/>
                </a:cxn>
                <a:cxn ang="0">
                  <a:pos x="7" y="49"/>
                </a:cxn>
                <a:cxn ang="0">
                  <a:pos x="2" y="40"/>
                </a:cxn>
                <a:cxn ang="0">
                  <a:pos x="0" y="35"/>
                </a:cxn>
                <a:cxn ang="0">
                  <a:pos x="0" y="29"/>
                </a:cxn>
                <a:cxn ang="0">
                  <a:pos x="0" y="29"/>
                </a:cxn>
                <a:cxn ang="0">
                  <a:pos x="0" y="24"/>
                </a:cxn>
                <a:cxn ang="0">
                  <a:pos x="2" y="18"/>
                </a:cxn>
                <a:cxn ang="0">
                  <a:pos x="7" y="9"/>
                </a:cxn>
                <a:cxn ang="0">
                  <a:pos x="18" y="2"/>
                </a:cxn>
                <a:cxn ang="0">
                  <a:pos x="22" y="0"/>
                </a:cxn>
                <a:cxn ang="0">
                  <a:pos x="29" y="0"/>
                </a:cxn>
                <a:cxn ang="0">
                  <a:pos x="29" y="0"/>
                </a:cxn>
                <a:cxn ang="0">
                  <a:pos x="35" y="0"/>
                </a:cxn>
                <a:cxn ang="0">
                  <a:pos x="40" y="2"/>
                </a:cxn>
                <a:cxn ang="0">
                  <a:pos x="49" y="9"/>
                </a:cxn>
                <a:cxn ang="0">
                  <a:pos x="55" y="18"/>
                </a:cxn>
                <a:cxn ang="0">
                  <a:pos x="57" y="24"/>
                </a:cxn>
                <a:cxn ang="0">
                  <a:pos x="59" y="29"/>
                </a:cxn>
                <a:cxn ang="0">
                  <a:pos x="59" y="29"/>
                </a:cxn>
              </a:cxnLst>
              <a:rect l="0" t="0" r="r" b="b"/>
              <a:pathLst>
                <a:path w="59" h="58">
                  <a:moveTo>
                    <a:pt x="59" y="29"/>
                  </a:moveTo>
                  <a:lnTo>
                    <a:pt x="59" y="29"/>
                  </a:lnTo>
                  <a:lnTo>
                    <a:pt x="57" y="35"/>
                  </a:lnTo>
                  <a:lnTo>
                    <a:pt x="55" y="40"/>
                  </a:lnTo>
                  <a:lnTo>
                    <a:pt x="49" y="49"/>
                  </a:lnTo>
                  <a:lnTo>
                    <a:pt x="40" y="57"/>
                  </a:lnTo>
                  <a:lnTo>
                    <a:pt x="35" y="58"/>
                  </a:lnTo>
                  <a:lnTo>
                    <a:pt x="29" y="58"/>
                  </a:lnTo>
                  <a:lnTo>
                    <a:pt x="29" y="58"/>
                  </a:lnTo>
                  <a:lnTo>
                    <a:pt x="22" y="58"/>
                  </a:lnTo>
                  <a:lnTo>
                    <a:pt x="18" y="57"/>
                  </a:lnTo>
                  <a:lnTo>
                    <a:pt x="7" y="49"/>
                  </a:lnTo>
                  <a:lnTo>
                    <a:pt x="2" y="40"/>
                  </a:lnTo>
                  <a:lnTo>
                    <a:pt x="0" y="35"/>
                  </a:lnTo>
                  <a:lnTo>
                    <a:pt x="0" y="29"/>
                  </a:lnTo>
                  <a:lnTo>
                    <a:pt x="0" y="29"/>
                  </a:lnTo>
                  <a:lnTo>
                    <a:pt x="0" y="24"/>
                  </a:lnTo>
                  <a:lnTo>
                    <a:pt x="2" y="18"/>
                  </a:lnTo>
                  <a:lnTo>
                    <a:pt x="7" y="9"/>
                  </a:lnTo>
                  <a:lnTo>
                    <a:pt x="18" y="2"/>
                  </a:lnTo>
                  <a:lnTo>
                    <a:pt x="22" y="0"/>
                  </a:lnTo>
                  <a:lnTo>
                    <a:pt x="29" y="0"/>
                  </a:lnTo>
                  <a:lnTo>
                    <a:pt x="29" y="0"/>
                  </a:lnTo>
                  <a:lnTo>
                    <a:pt x="35" y="0"/>
                  </a:lnTo>
                  <a:lnTo>
                    <a:pt x="40" y="2"/>
                  </a:lnTo>
                  <a:lnTo>
                    <a:pt x="49" y="9"/>
                  </a:lnTo>
                  <a:lnTo>
                    <a:pt x="55" y="18"/>
                  </a:lnTo>
                  <a:lnTo>
                    <a:pt x="57" y="24"/>
                  </a:lnTo>
                  <a:lnTo>
                    <a:pt x="59" y="29"/>
                  </a:lnTo>
                  <a:lnTo>
                    <a:pt x="59"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81" name="Freeform 164">
              <a:extLst>
                <a:ext uri="{FF2B5EF4-FFF2-40B4-BE49-F238E27FC236}">
                  <a16:creationId xmlns:a16="http://schemas.microsoft.com/office/drawing/2014/main" id="{B0A4909D-0F6B-D259-9D7D-E238434AC466}"/>
                </a:ext>
              </a:extLst>
            </p:cNvPr>
            <p:cNvSpPr>
              <a:spLocks/>
            </p:cNvSpPr>
            <p:nvPr/>
          </p:nvSpPr>
          <p:spPr bwMode="auto">
            <a:xfrm>
              <a:off x="6414922" y="2245857"/>
              <a:ext cx="78717" cy="78125"/>
            </a:xfrm>
            <a:custGeom>
              <a:avLst/>
              <a:gdLst/>
              <a:ahLst/>
              <a:cxnLst>
                <a:cxn ang="0">
                  <a:pos x="0" y="29"/>
                </a:cxn>
                <a:cxn ang="0">
                  <a:pos x="0" y="29"/>
                </a:cxn>
                <a:cxn ang="0">
                  <a:pos x="0" y="35"/>
                </a:cxn>
                <a:cxn ang="0">
                  <a:pos x="2" y="40"/>
                </a:cxn>
                <a:cxn ang="0">
                  <a:pos x="9" y="49"/>
                </a:cxn>
                <a:cxn ang="0">
                  <a:pos x="18" y="55"/>
                </a:cxn>
                <a:cxn ang="0">
                  <a:pos x="24" y="57"/>
                </a:cxn>
                <a:cxn ang="0">
                  <a:pos x="29" y="58"/>
                </a:cxn>
                <a:cxn ang="0">
                  <a:pos x="29" y="58"/>
                </a:cxn>
                <a:cxn ang="0">
                  <a:pos x="35" y="57"/>
                </a:cxn>
                <a:cxn ang="0">
                  <a:pos x="40" y="55"/>
                </a:cxn>
                <a:cxn ang="0">
                  <a:pos x="49" y="49"/>
                </a:cxn>
                <a:cxn ang="0">
                  <a:pos x="55" y="40"/>
                </a:cxn>
                <a:cxn ang="0">
                  <a:pos x="57" y="35"/>
                </a:cxn>
                <a:cxn ang="0">
                  <a:pos x="58" y="29"/>
                </a:cxn>
                <a:cxn ang="0">
                  <a:pos x="58" y="29"/>
                </a:cxn>
                <a:cxn ang="0">
                  <a:pos x="57" y="24"/>
                </a:cxn>
                <a:cxn ang="0">
                  <a:pos x="55" y="18"/>
                </a:cxn>
                <a:cxn ang="0">
                  <a:pos x="49" y="9"/>
                </a:cxn>
                <a:cxn ang="0">
                  <a:pos x="40" y="2"/>
                </a:cxn>
                <a:cxn ang="0">
                  <a:pos x="35" y="0"/>
                </a:cxn>
                <a:cxn ang="0">
                  <a:pos x="29" y="0"/>
                </a:cxn>
                <a:cxn ang="0">
                  <a:pos x="29" y="0"/>
                </a:cxn>
                <a:cxn ang="0">
                  <a:pos x="24" y="0"/>
                </a:cxn>
                <a:cxn ang="0">
                  <a:pos x="18" y="2"/>
                </a:cxn>
                <a:cxn ang="0">
                  <a:pos x="9" y="9"/>
                </a:cxn>
                <a:cxn ang="0">
                  <a:pos x="2" y="18"/>
                </a:cxn>
                <a:cxn ang="0">
                  <a:pos x="0" y="24"/>
                </a:cxn>
                <a:cxn ang="0">
                  <a:pos x="0" y="29"/>
                </a:cxn>
                <a:cxn ang="0">
                  <a:pos x="0" y="29"/>
                </a:cxn>
              </a:cxnLst>
              <a:rect l="0" t="0" r="r" b="b"/>
              <a:pathLst>
                <a:path w="58" h="58">
                  <a:moveTo>
                    <a:pt x="0" y="29"/>
                  </a:moveTo>
                  <a:lnTo>
                    <a:pt x="0" y="29"/>
                  </a:lnTo>
                  <a:lnTo>
                    <a:pt x="0" y="35"/>
                  </a:lnTo>
                  <a:lnTo>
                    <a:pt x="2" y="40"/>
                  </a:lnTo>
                  <a:lnTo>
                    <a:pt x="9" y="49"/>
                  </a:lnTo>
                  <a:lnTo>
                    <a:pt x="18" y="55"/>
                  </a:lnTo>
                  <a:lnTo>
                    <a:pt x="24" y="57"/>
                  </a:lnTo>
                  <a:lnTo>
                    <a:pt x="29" y="58"/>
                  </a:lnTo>
                  <a:lnTo>
                    <a:pt x="29" y="58"/>
                  </a:lnTo>
                  <a:lnTo>
                    <a:pt x="35" y="57"/>
                  </a:lnTo>
                  <a:lnTo>
                    <a:pt x="40" y="55"/>
                  </a:lnTo>
                  <a:lnTo>
                    <a:pt x="49" y="49"/>
                  </a:lnTo>
                  <a:lnTo>
                    <a:pt x="55" y="40"/>
                  </a:lnTo>
                  <a:lnTo>
                    <a:pt x="57" y="35"/>
                  </a:lnTo>
                  <a:lnTo>
                    <a:pt x="58" y="29"/>
                  </a:lnTo>
                  <a:lnTo>
                    <a:pt x="58" y="29"/>
                  </a:lnTo>
                  <a:lnTo>
                    <a:pt x="57" y="24"/>
                  </a:lnTo>
                  <a:lnTo>
                    <a:pt x="55" y="18"/>
                  </a:lnTo>
                  <a:lnTo>
                    <a:pt x="49" y="9"/>
                  </a:lnTo>
                  <a:lnTo>
                    <a:pt x="40" y="2"/>
                  </a:lnTo>
                  <a:lnTo>
                    <a:pt x="35" y="0"/>
                  </a:lnTo>
                  <a:lnTo>
                    <a:pt x="29" y="0"/>
                  </a:lnTo>
                  <a:lnTo>
                    <a:pt x="29" y="0"/>
                  </a:lnTo>
                  <a:lnTo>
                    <a:pt x="24" y="0"/>
                  </a:lnTo>
                  <a:lnTo>
                    <a:pt x="18" y="2"/>
                  </a:lnTo>
                  <a:lnTo>
                    <a:pt x="9" y="9"/>
                  </a:lnTo>
                  <a:lnTo>
                    <a:pt x="2" y="18"/>
                  </a:lnTo>
                  <a:lnTo>
                    <a:pt x="0" y="24"/>
                  </a:lnTo>
                  <a:lnTo>
                    <a:pt x="0" y="29"/>
                  </a:lnTo>
                  <a:lnTo>
                    <a:pt x="0"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82" name="Freeform 165">
              <a:extLst>
                <a:ext uri="{FF2B5EF4-FFF2-40B4-BE49-F238E27FC236}">
                  <a16:creationId xmlns:a16="http://schemas.microsoft.com/office/drawing/2014/main" id="{988B0B39-6ECF-C3D1-231E-3116995C22AC}"/>
                </a:ext>
              </a:extLst>
            </p:cNvPr>
            <p:cNvSpPr>
              <a:spLocks/>
            </p:cNvSpPr>
            <p:nvPr/>
          </p:nvSpPr>
          <p:spPr bwMode="auto">
            <a:xfrm>
              <a:off x="6197771" y="2750977"/>
              <a:ext cx="80074" cy="79472"/>
            </a:xfrm>
            <a:custGeom>
              <a:avLst/>
              <a:gdLst/>
              <a:ahLst/>
              <a:cxnLst>
                <a:cxn ang="0">
                  <a:pos x="0" y="30"/>
                </a:cxn>
                <a:cxn ang="0">
                  <a:pos x="0" y="30"/>
                </a:cxn>
                <a:cxn ang="0">
                  <a:pos x="2" y="35"/>
                </a:cxn>
                <a:cxn ang="0">
                  <a:pos x="4" y="41"/>
                </a:cxn>
                <a:cxn ang="0">
                  <a:pos x="10" y="50"/>
                </a:cxn>
                <a:cxn ang="0">
                  <a:pos x="19" y="57"/>
                </a:cxn>
                <a:cxn ang="0">
                  <a:pos x="24" y="57"/>
                </a:cxn>
                <a:cxn ang="0">
                  <a:pos x="30" y="59"/>
                </a:cxn>
                <a:cxn ang="0">
                  <a:pos x="30" y="59"/>
                </a:cxn>
                <a:cxn ang="0">
                  <a:pos x="37" y="57"/>
                </a:cxn>
                <a:cxn ang="0">
                  <a:pos x="43" y="57"/>
                </a:cxn>
                <a:cxn ang="0">
                  <a:pos x="52" y="50"/>
                </a:cxn>
                <a:cxn ang="0">
                  <a:pos x="57" y="41"/>
                </a:cxn>
                <a:cxn ang="0">
                  <a:pos x="59" y="35"/>
                </a:cxn>
                <a:cxn ang="0">
                  <a:pos x="59" y="30"/>
                </a:cxn>
                <a:cxn ang="0">
                  <a:pos x="59" y="30"/>
                </a:cxn>
                <a:cxn ang="0">
                  <a:pos x="59" y="24"/>
                </a:cxn>
                <a:cxn ang="0">
                  <a:pos x="57" y="19"/>
                </a:cxn>
                <a:cxn ang="0">
                  <a:pos x="52" y="10"/>
                </a:cxn>
                <a:cxn ang="0">
                  <a:pos x="43" y="2"/>
                </a:cxn>
                <a:cxn ang="0">
                  <a:pos x="37" y="0"/>
                </a:cxn>
                <a:cxn ang="0">
                  <a:pos x="30" y="0"/>
                </a:cxn>
                <a:cxn ang="0">
                  <a:pos x="30" y="0"/>
                </a:cxn>
                <a:cxn ang="0">
                  <a:pos x="24" y="0"/>
                </a:cxn>
                <a:cxn ang="0">
                  <a:pos x="19" y="2"/>
                </a:cxn>
                <a:cxn ang="0">
                  <a:pos x="10" y="10"/>
                </a:cxn>
                <a:cxn ang="0">
                  <a:pos x="4" y="19"/>
                </a:cxn>
                <a:cxn ang="0">
                  <a:pos x="2" y="24"/>
                </a:cxn>
                <a:cxn ang="0">
                  <a:pos x="0" y="30"/>
                </a:cxn>
                <a:cxn ang="0">
                  <a:pos x="0" y="30"/>
                </a:cxn>
              </a:cxnLst>
              <a:rect l="0" t="0" r="r" b="b"/>
              <a:pathLst>
                <a:path w="59" h="59">
                  <a:moveTo>
                    <a:pt x="0" y="30"/>
                  </a:moveTo>
                  <a:lnTo>
                    <a:pt x="0" y="30"/>
                  </a:lnTo>
                  <a:lnTo>
                    <a:pt x="2" y="35"/>
                  </a:lnTo>
                  <a:lnTo>
                    <a:pt x="4" y="41"/>
                  </a:lnTo>
                  <a:lnTo>
                    <a:pt x="10" y="50"/>
                  </a:lnTo>
                  <a:lnTo>
                    <a:pt x="19" y="57"/>
                  </a:lnTo>
                  <a:lnTo>
                    <a:pt x="24" y="57"/>
                  </a:lnTo>
                  <a:lnTo>
                    <a:pt x="30" y="59"/>
                  </a:lnTo>
                  <a:lnTo>
                    <a:pt x="30" y="59"/>
                  </a:lnTo>
                  <a:lnTo>
                    <a:pt x="37" y="57"/>
                  </a:lnTo>
                  <a:lnTo>
                    <a:pt x="43" y="57"/>
                  </a:lnTo>
                  <a:lnTo>
                    <a:pt x="52" y="50"/>
                  </a:lnTo>
                  <a:lnTo>
                    <a:pt x="57" y="41"/>
                  </a:lnTo>
                  <a:lnTo>
                    <a:pt x="59" y="35"/>
                  </a:lnTo>
                  <a:lnTo>
                    <a:pt x="59" y="30"/>
                  </a:lnTo>
                  <a:lnTo>
                    <a:pt x="59" y="30"/>
                  </a:lnTo>
                  <a:lnTo>
                    <a:pt x="59" y="24"/>
                  </a:lnTo>
                  <a:lnTo>
                    <a:pt x="57" y="19"/>
                  </a:lnTo>
                  <a:lnTo>
                    <a:pt x="52" y="10"/>
                  </a:lnTo>
                  <a:lnTo>
                    <a:pt x="43" y="2"/>
                  </a:lnTo>
                  <a:lnTo>
                    <a:pt x="37" y="0"/>
                  </a:lnTo>
                  <a:lnTo>
                    <a:pt x="30" y="0"/>
                  </a:lnTo>
                  <a:lnTo>
                    <a:pt x="30" y="0"/>
                  </a:lnTo>
                  <a:lnTo>
                    <a:pt x="24" y="0"/>
                  </a:lnTo>
                  <a:lnTo>
                    <a:pt x="19" y="2"/>
                  </a:lnTo>
                  <a:lnTo>
                    <a:pt x="10" y="10"/>
                  </a:lnTo>
                  <a:lnTo>
                    <a:pt x="4" y="19"/>
                  </a:lnTo>
                  <a:lnTo>
                    <a:pt x="2" y="24"/>
                  </a:lnTo>
                  <a:lnTo>
                    <a:pt x="0" y="30"/>
                  </a:lnTo>
                  <a:lnTo>
                    <a:pt x="0" y="30"/>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83" name="Freeform 166">
              <a:extLst>
                <a:ext uri="{FF2B5EF4-FFF2-40B4-BE49-F238E27FC236}">
                  <a16:creationId xmlns:a16="http://schemas.microsoft.com/office/drawing/2014/main" id="{B6967C3C-0220-1E09-B029-17D154F7861E}"/>
                </a:ext>
              </a:extLst>
            </p:cNvPr>
            <p:cNvSpPr>
              <a:spLocks/>
            </p:cNvSpPr>
            <p:nvPr/>
          </p:nvSpPr>
          <p:spPr bwMode="auto">
            <a:xfrm>
              <a:off x="6044409" y="3252055"/>
              <a:ext cx="77361" cy="79472"/>
            </a:xfrm>
            <a:custGeom>
              <a:avLst/>
              <a:gdLst/>
              <a:ahLst/>
              <a:cxnLst>
                <a:cxn ang="0">
                  <a:pos x="0" y="30"/>
                </a:cxn>
                <a:cxn ang="0">
                  <a:pos x="0" y="30"/>
                </a:cxn>
                <a:cxn ang="0">
                  <a:pos x="0" y="35"/>
                </a:cxn>
                <a:cxn ang="0">
                  <a:pos x="2" y="41"/>
                </a:cxn>
                <a:cxn ang="0">
                  <a:pos x="7" y="50"/>
                </a:cxn>
                <a:cxn ang="0">
                  <a:pos x="16" y="57"/>
                </a:cxn>
                <a:cxn ang="0">
                  <a:pos x="22" y="59"/>
                </a:cxn>
                <a:cxn ang="0">
                  <a:pos x="27" y="59"/>
                </a:cxn>
                <a:cxn ang="0">
                  <a:pos x="27" y="59"/>
                </a:cxn>
                <a:cxn ang="0">
                  <a:pos x="35" y="59"/>
                </a:cxn>
                <a:cxn ang="0">
                  <a:pos x="40" y="57"/>
                </a:cxn>
                <a:cxn ang="0">
                  <a:pos x="49" y="50"/>
                </a:cxn>
                <a:cxn ang="0">
                  <a:pos x="55" y="41"/>
                </a:cxn>
                <a:cxn ang="0">
                  <a:pos x="57" y="35"/>
                </a:cxn>
                <a:cxn ang="0">
                  <a:pos x="57" y="30"/>
                </a:cxn>
                <a:cxn ang="0">
                  <a:pos x="57" y="30"/>
                </a:cxn>
                <a:cxn ang="0">
                  <a:pos x="57" y="24"/>
                </a:cxn>
                <a:cxn ang="0">
                  <a:pos x="55" y="19"/>
                </a:cxn>
                <a:cxn ang="0">
                  <a:pos x="49" y="9"/>
                </a:cxn>
                <a:cxn ang="0">
                  <a:pos x="40" y="2"/>
                </a:cxn>
                <a:cxn ang="0">
                  <a:pos x="35" y="0"/>
                </a:cxn>
                <a:cxn ang="0">
                  <a:pos x="27" y="0"/>
                </a:cxn>
                <a:cxn ang="0">
                  <a:pos x="27" y="0"/>
                </a:cxn>
                <a:cxn ang="0">
                  <a:pos x="22" y="0"/>
                </a:cxn>
                <a:cxn ang="0">
                  <a:pos x="16" y="2"/>
                </a:cxn>
                <a:cxn ang="0">
                  <a:pos x="7" y="9"/>
                </a:cxn>
                <a:cxn ang="0">
                  <a:pos x="2" y="19"/>
                </a:cxn>
                <a:cxn ang="0">
                  <a:pos x="0" y="24"/>
                </a:cxn>
                <a:cxn ang="0">
                  <a:pos x="0" y="30"/>
                </a:cxn>
                <a:cxn ang="0">
                  <a:pos x="0" y="30"/>
                </a:cxn>
              </a:cxnLst>
              <a:rect l="0" t="0" r="r" b="b"/>
              <a:pathLst>
                <a:path w="57" h="59">
                  <a:moveTo>
                    <a:pt x="0" y="30"/>
                  </a:moveTo>
                  <a:lnTo>
                    <a:pt x="0" y="30"/>
                  </a:lnTo>
                  <a:lnTo>
                    <a:pt x="0" y="35"/>
                  </a:lnTo>
                  <a:lnTo>
                    <a:pt x="2" y="41"/>
                  </a:lnTo>
                  <a:lnTo>
                    <a:pt x="7" y="50"/>
                  </a:lnTo>
                  <a:lnTo>
                    <a:pt x="16" y="57"/>
                  </a:lnTo>
                  <a:lnTo>
                    <a:pt x="22" y="59"/>
                  </a:lnTo>
                  <a:lnTo>
                    <a:pt x="27" y="59"/>
                  </a:lnTo>
                  <a:lnTo>
                    <a:pt x="27" y="59"/>
                  </a:lnTo>
                  <a:lnTo>
                    <a:pt x="35" y="59"/>
                  </a:lnTo>
                  <a:lnTo>
                    <a:pt x="40" y="57"/>
                  </a:lnTo>
                  <a:lnTo>
                    <a:pt x="49" y="50"/>
                  </a:lnTo>
                  <a:lnTo>
                    <a:pt x="55" y="41"/>
                  </a:lnTo>
                  <a:lnTo>
                    <a:pt x="57" y="35"/>
                  </a:lnTo>
                  <a:lnTo>
                    <a:pt x="57" y="30"/>
                  </a:lnTo>
                  <a:lnTo>
                    <a:pt x="57" y="30"/>
                  </a:lnTo>
                  <a:lnTo>
                    <a:pt x="57" y="24"/>
                  </a:lnTo>
                  <a:lnTo>
                    <a:pt x="55" y="19"/>
                  </a:lnTo>
                  <a:lnTo>
                    <a:pt x="49" y="9"/>
                  </a:lnTo>
                  <a:lnTo>
                    <a:pt x="40" y="2"/>
                  </a:lnTo>
                  <a:lnTo>
                    <a:pt x="35" y="0"/>
                  </a:lnTo>
                  <a:lnTo>
                    <a:pt x="27" y="0"/>
                  </a:lnTo>
                  <a:lnTo>
                    <a:pt x="27" y="0"/>
                  </a:lnTo>
                  <a:lnTo>
                    <a:pt x="22" y="0"/>
                  </a:lnTo>
                  <a:lnTo>
                    <a:pt x="16" y="2"/>
                  </a:lnTo>
                  <a:lnTo>
                    <a:pt x="7" y="9"/>
                  </a:lnTo>
                  <a:lnTo>
                    <a:pt x="2" y="19"/>
                  </a:lnTo>
                  <a:lnTo>
                    <a:pt x="0" y="24"/>
                  </a:lnTo>
                  <a:lnTo>
                    <a:pt x="0" y="30"/>
                  </a:lnTo>
                  <a:lnTo>
                    <a:pt x="0" y="30"/>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84" name="Freeform 167">
              <a:extLst>
                <a:ext uri="{FF2B5EF4-FFF2-40B4-BE49-F238E27FC236}">
                  <a16:creationId xmlns:a16="http://schemas.microsoft.com/office/drawing/2014/main" id="{895FB291-C578-4581-8233-DBE9D9E1329E}"/>
                </a:ext>
              </a:extLst>
            </p:cNvPr>
            <p:cNvSpPr>
              <a:spLocks/>
            </p:cNvSpPr>
            <p:nvPr/>
          </p:nvSpPr>
          <p:spPr bwMode="auto">
            <a:xfrm>
              <a:off x="5964335" y="3758521"/>
              <a:ext cx="80074" cy="76779"/>
            </a:xfrm>
            <a:custGeom>
              <a:avLst/>
              <a:gdLst/>
              <a:ahLst/>
              <a:cxnLst>
                <a:cxn ang="0">
                  <a:pos x="0" y="29"/>
                </a:cxn>
                <a:cxn ang="0">
                  <a:pos x="0" y="29"/>
                </a:cxn>
                <a:cxn ang="0">
                  <a:pos x="2" y="35"/>
                </a:cxn>
                <a:cxn ang="0">
                  <a:pos x="4" y="40"/>
                </a:cxn>
                <a:cxn ang="0">
                  <a:pos x="9" y="49"/>
                </a:cxn>
                <a:cxn ang="0">
                  <a:pos x="18" y="55"/>
                </a:cxn>
                <a:cxn ang="0">
                  <a:pos x="24" y="57"/>
                </a:cxn>
                <a:cxn ang="0">
                  <a:pos x="29" y="57"/>
                </a:cxn>
                <a:cxn ang="0">
                  <a:pos x="29" y="57"/>
                </a:cxn>
                <a:cxn ang="0">
                  <a:pos x="35" y="57"/>
                </a:cxn>
                <a:cxn ang="0">
                  <a:pos x="40" y="55"/>
                </a:cxn>
                <a:cxn ang="0">
                  <a:pos x="50" y="49"/>
                </a:cxn>
                <a:cxn ang="0">
                  <a:pos x="57" y="40"/>
                </a:cxn>
                <a:cxn ang="0">
                  <a:pos x="59" y="35"/>
                </a:cxn>
                <a:cxn ang="0">
                  <a:pos x="59" y="29"/>
                </a:cxn>
                <a:cxn ang="0">
                  <a:pos x="59" y="29"/>
                </a:cxn>
                <a:cxn ang="0">
                  <a:pos x="59" y="22"/>
                </a:cxn>
                <a:cxn ang="0">
                  <a:pos x="57" y="16"/>
                </a:cxn>
                <a:cxn ang="0">
                  <a:pos x="50" y="7"/>
                </a:cxn>
                <a:cxn ang="0">
                  <a:pos x="40" y="2"/>
                </a:cxn>
                <a:cxn ang="0">
                  <a:pos x="35" y="0"/>
                </a:cxn>
                <a:cxn ang="0">
                  <a:pos x="29" y="0"/>
                </a:cxn>
                <a:cxn ang="0">
                  <a:pos x="29" y="0"/>
                </a:cxn>
                <a:cxn ang="0">
                  <a:pos x="24" y="0"/>
                </a:cxn>
                <a:cxn ang="0">
                  <a:pos x="18" y="2"/>
                </a:cxn>
                <a:cxn ang="0">
                  <a:pos x="9" y="7"/>
                </a:cxn>
                <a:cxn ang="0">
                  <a:pos x="4" y="16"/>
                </a:cxn>
                <a:cxn ang="0">
                  <a:pos x="2" y="22"/>
                </a:cxn>
                <a:cxn ang="0">
                  <a:pos x="0" y="29"/>
                </a:cxn>
                <a:cxn ang="0">
                  <a:pos x="0" y="29"/>
                </a:cxn>
              </a:cxnLst>
              <a:rect l="0" t="0" r="r" b="b"/>
              <a:pathLst>
                <a:path w="59" h="57">
                  <a:moveTo>
                    <a:pt x="0" y="29"/>
                  </a:moveTo>
                  <a:lnTo>
                    <a:pt x="0" y="29"/>
                  </a:lnTo>
                  <a:lnTo>
                    <a:pt x="2" y="35"/>
                  </a:lnTo>
                  <a:lnTo>
                    <a:pt x="4" y="40"/>
                  </a:lnTo>
                  <a:lnTo>
                    <a:pt x="9" y="49"/>
                  </a:lnTo>
                  <a:lnTo>
                    <a:pt x="18" y="55"/>
                  </a:lnTo>
                  <a:lnTo>
                    <a:pt x="24" y="57"/>
                  </a:lnTo>
                  <a:lnTo>
                    <a:pt x="29" y="57"/>
                  </a:lnTo>
                  <a:lnTo>
                    <a:pt x="29" y="57"/>
                  </a:lnTo>
                  <a:lnTo>
                    <a:pt x="35" y="57"/>
                  </a:lnTo>
                  <a:lnTo>
                    <a:pt x="40" y="55"/>
                  </a:lnTo>
                  <a:lnTo>
                    <a:pt x="50" y="49"/>
                  </a:lnTo>
                  <a:lnTo>
                    <a:pt x="57" y="40"/>
                  </a:lnTo>
                  <a:lnTo>
                    <a:pt x="59" y="35"/>
                  </a:lnTo>
                  <a:lnTo>
                    <a:pt x="59" y="29"/>
                  </a:lnTo>
                  <a:lnTo>
                    <a:pt x="59" y="29"/>
                  </a:lnTo>
                  <a:lnTo>
                    <a:pt x="59" y="22"/>
                  </a:lnTo>
                  <a:lnTo>
                    <a:pt x="57" y="16"/>
                  </a:lnTo>
                  <a:lnTo>
                    <a:pt x="50" y="7"/>
                  </a:lnTo>
                  <a:lnTo>
                    <a:pt x="40" y="2"/>
                  </a:lnTo>
                  <a:lnTo>
                    <a:pt x="35" y="0"/>
                  </a:lnTo>
                  <a:lnTo>
                    <a:pt x="29" y="0"/>
                  </a:lnTo>
                  <a:lnTo>
                    <a:pt x="29" y="0"/>
                  </a:lnTo>
                  <a:lnTo>
                    <a:pt x="24" y="0"/>
                  </a:lnTo>
                  <a:lnTo>
                    <a:pt x="18" y="2"/>
                  </a:lnTo>
                  <a:lnTo>
                    <a:pt x="9" y="7"/>
                  </a:lnTo>
                  <a:lnTo>
                    <a:pt x="4" y="16"/>
                  </a:lnTo>
                  <a:lnTo>
                    <a:pt x="2" y="22"/>
                  </a:lnTo>
                  <a:lnTo>
                    <a:pt x="0" y="29"/>
                  </a:lnTo>
                  <a:lnTo>
                    <a:pt x="0" y="29"/>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85" name="Freeform 168">
              <a:extLst>
                <a:ext uri="{FF2B5EF4-FFF2-40B4-BE49-F238E27FC236}">
                  <a16:creationId xmlns:a16="http://schemas.microsoft.com/office/drawing/2014/main" id="{E2F89151-B378-8760-0ED3-0FF3FD33269D}"/>
                </a:ext>
              </a:extLst>
            </p:cNvPr>
            <p:cNvSpPr>
              <a:spLocks/>
            </p:cNvSpPr>
            <p:nvPr/>
          </p:nvSpPr>
          <p:spPr bwMode="auto">
            <a:xfrm>
              <a:off x="5929048" y="4251517"/>
              <a:ext cx="77361" cy="79472"/>
            </a:xfrm>
            <a:custGeom>
              <a:avLst/>
              <a:gdLst/>
              <a:ahLst/>
              <a:cxnLst>
                <a:cxn ang="0">
                  <a:pos x="0" y="30"/>
                </a:cxn>
                <a:cxn ang="0">
                  <a:pos x="0" y="30"/>
                </a:cxn>
                <a:cxn ang="0">
                  <a:pos x="0" y="35"/>
                </a:cxn>
                <a:cxn ang="0">
                  <a:pos x="2" y="41"/>
                </a:cxn>
                <a:cxn ang="0">
                  <a:pos x="8" y="50"/>
                </a:cxn>
                <a:cxn ang="0">
                  <a:pos x="17" y="55"/>
                </a:cxn>
                <a:cxn ang="0">
                  <a:pos x="22" y="57"/>
                </a:cxn>
                <a:cxn ang="0">
                  <a:pos x="30" y="59"/>
                </a:cxn>
                <a:cxn ang="0">
                  <a:pos x="30" y="59"/>
                </a:cxn>
                <a:cxn ang="0">
                  <a:pos x="35" y="57"/>
                </a:cxn>
                <a:cxn ang="0">
                  <a:pos x="41" y="55"/>
                </a:cxn>
                <a:cxn ang="0">
                  <a:pos x="50" y="50"/>
                </a:cxn>
                <a:cxn ang="0">
                  <a:pos x="55" y="41"/>
                </a:cxn>
                <a:cxn ang="0">
                  <a:pos x="57" y="35"/>
                </a:cxn>
                <a:cxn ang="0">
                  <a:pos x="57" y="30"/>
                </a:cxn>
                <a:cxn ang="0">
                  <a:pos x="57" y="30"/>
                </a:cxn>
                <a:cxn ang="0">
                  <a:pos x="57" y="24"/>
                </a:cxn>
                <a:cxn ang="0">
                  <a:pos x="55" y="19"/>
                </a:cxn>
                <a:cxn ang="0">
                  <a:pos x="50" y="10"/>
                </a:cxn>
                <a:cxn ang="0">
                  <a:pos x="41" y="2"/>
                </a:cxn>
                <a:cxn ang="0">
                  <a:pos x="35" y="0"/>
                </a:cxn>
                <a:cxn ang="0">
                  <a:pos x="30" y="0"/>
                </a:cxn>
                <a:cxn ang="0">
                  <a:pos x="30" y="0"/>
                </a:cxn>
                <a:cxn ang="0">
                  <a:pos x="22" y="0"/>
                </a:cxn>
                <a:cxn ang="0">
                  <a:pos x="17" y="2"/>
                </a:cxn>
                <a:cxn ang="0">
                  <a:pos x="8" y="10"/>
                </a:cxn>
                <a:cxn ang="0">
                  <a:pos x="2" y="19"/>
                </a:cxn>
                <a:cxn ang="0">
                  <a:pos x="0" y="24"/>
                </a:cxn>
                <a:cxn ang="0">
                  <a:pos x="0" y="30"/>
                </a:cxn>
                <a:cxn ang="0">
                  <a:pos x="0" y="30"/>
                </a:cxn>
              </a:cxnLst>
              <a:rect l="0" t="0" r="r" b="b"/>
              <a:pathLst>
                <a:path w="57" h="59">
                  <a:moveTo>
                    <a:pt x="0" y="30"/>
                  </a:moveTo>
                  <a:lnTo>
                    <a:pt x="0" y="30"/>
                  </a:lnTo>
                  <a:lnTo>
                    <a:pt x="0" y="35"/>
                  </a:lnTo>
                  <a:lnTo>
                    <a:pt x="2" y="41"/>
                  </a:lnTo>
                  <a:lnTo>
                    <a:pt x="8" y="50"/>
                  </a:lnTo>
                  <a:lnTo>
                    <a:pt x="17" y="55"/>
                  </a:lnTo>
                  <a:lnTo>
                    <a:pt x="22" y="57"/>
                  </a:lnTo>
                  <a:lnTo>
                    <a:pt x="30" y="59"/>
                  </a:lnTo>
                  <a:lnTo>
                    <a:pt x="30" y="59"/>
                  </a:lnTo>
                  <a:lnTo>
                    <a:pt x="35" y="57"/>
                  </a:lnTo>
                  <a:lnTo>
                    <a:pt x="41" y="55"/>
                  </a:lnTo>
                  <a:lnTo>
                    <a:pt x="50" y="50"/>
                  </a:lnTo>
                  <a:lnTo>
                    <a:pt x="55" y="41"/>
                  </a:lnTo>
                  <a:lnTo>
                    <a:pt x="57" y="35"/>
                  </a:lnTo>
                  <a:lnTo>
                    <a:pt x="57" y="30"/>
                  </a:lnTo>
                  <a:lnTo>
                    <a:pt x="57" y="30"/>
                  </a:lnTo>
                  <a:lnTo>
                    <a:pt x="57" y="24"/>
                  </a:lnTo>
                  <a:lnTo>
                    <a:pt x="55" y="19"/>
                  </a:lnTo>
                  <a:lnTo>
                    <a:pt x="50" y="10"/>
                  </a:lnTo>
                  <a:lnTo>
                    <a:pt x="41" y="2"/>
                  </a:lnTo>
                  <a:lnTo>
                    <a:pt x="35" y="0"/>
                  </a:lnTo>
                  <a:lnTo>
                    <a:pt x="30" y="0"/>
                  </a:lnTo>
                  <a:lnTo>
                    <a:pt x="30" y="0"/>
                  </a:lnTo>
                  <a:lnTo>
                    <a:pt x="22" y="0"/>
                  </a:lnTo>
                  <a:lnTo>
                    <a:pt x="17" y="2"/>
                  </a:lnTo>
                  <a:lnTo>
                    <a:pt x="8" y="10"/>
                  </a:lnTo>
                  <a:lnTo>
                    <a:pt x="2" y="19"/>
                  </a:lnTo>
                  <a:lnTo>
                    <a:pt x="0" y="24"/>
                  </a:lnTo>
                  <a:lnTo>
                    <a:pt x="0" y="30"/>
                  </a:lnTo>
                  <a:lnTo>
                    <a:pt x="0" y="30"/>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86" name="Freeform 169">
              <a:extLst>
                <a:ext uri="{FF2B5EF4-FFF2-40B4-BE49-F238E27FC236}">
                  <a16:creationId xmlns:a16="http://schemas.microsoft.com/office/drawing/2014/main" id="{9518DA2C-0CBD-DC98-84F7-B2D69A33C9FE}"/>
                </a:ext>
              </a:extLst>
            </p:cNvPr>
            <p:cNvSpPr>
              <a:spLocks/>
            </p:cNvSpPr>
            <p:nvPr/>
          </p:nvSpPr>
          <p:spPr bwMode="auto">
            <a:xfrm>
              <a:off x="5937191" y="4767412"/>
              <a:ext cx="80074" cy="79472"/>
            </a:xfrm>
            <a:custGeom>
              <a:avLst/>
              <a:gdLst/>
              <a:ahLst/>
              <a:cxnLst>
                <a:cxn ang="0">
                  <a:pos x="0" y="30"/>
                </a:cxn>
                <a:cxn ang="0">
                  <a:pos x="0" y="30"/>
                </a:cxn>
                <a:cxn ang="0">
                  <a:pos x="0" y="35"/>
                </a:cxn>
                <a:cxn ang="0">
                  <a:pos x="2" y="41"/>
                </a:cxn>
                <a:cxn ang="0">
                  <a:pos x="7" y="50"/>
                </a:cxn>
                <a:cxn ang="0">
                  <a:pos x="18" y="57"/>
                </a:cxn>
                <a:cxn ang="0">
                  <a:pos x="22" y="57"/>
                </a:cxn>
                <a:cxn ang="0">
                  <a:pos x="29" y="59"/>
                </a:cxn>
                <a:cxn ang="0">
                  <a:pos x="29" y="59"/>
                </a:cxn>
                <a:cxn ang="0">
                  <a:pos x="35" y="57"/>
                </a:cxn>
                <a:cxn ang="0">
                  <a:pos x="40" y="57"/>
                </a:cxn>
                <a:cxn ang="0">
                  <a:pos x="49" y="50"/>
                </a:cxn>
                <a:cxn ang="0">
                  <a:pos x="55" y="41"/>
                </a:cxn>
                <a:cxn ang="0">
                  <a:pos x="57" y="35"/>
                </a:cxn>
                <a:cxn ang="0">
                  <a:pos x="59" y="30"/>
                </a:cxn>
                <a:cxn ang="0">
                  <a:pos x="59" y="30"/>
                </a:cxn>
                <a:cxn ang="0">
                  <a:pos x="57" y="24"/>
                </a:cxn>
                <a:cxn ang="0">
                  <a:pos x="55" y="19"/>
                </a:cxn>
                <a:cxn ang="0">
                  <a:pos x="49" y="9"/>
                </a:cxn>
                <a:cxn ang="0">
                  <a:pos x="40" y="2"/>
                </a:cxn>
                <a:cxn ang="0">
                  <a:pos x="35" y="0"/>
                </a:cxn>
                <a:cxn ang="0">
                  <a:pos x="29" y="0"/>
                </a:cxn>
                <a:cxn ang="0">
                  <a:pos x="29" y="0"/>
                </a:cxn>
                <a:cxn ang="0">
                  <a:pos x="22" y="0"/>
                </a:cxn>
                <a:cxn ang="0">
                  <a:pos x="18" y="2"/>
                </a:cxn>
                <a:cxn ang="0">
                  <a:pos x="7" y="9"/>
                </a:cxn>
                <a:cxn ang="0">
                  <a:pos x="2" y="19"/>
                </a:cxn>
                <a:cxn ang="0">
                  <a:pos x="0" y="24"/>
                </a:cxn>
                <a:cxn ang="0">
                  <a:pos x="0" y="30"/>
                </a:cxn>
                <a:cxn ang="0">
                  <a:pos x="0" y="30"/>
                </a:cxn>
              </a:cxnLst>
              <a:rect l="0" t="0" r="r" b="b"/>
              <a:pathLst>
                <a:path w="59" h="59">
                  <a:moveTo>
                    <a:pt x="0" y="30"/>
                  </a:moveTo>
                  <a:lnTo>
                    <a:pt x="0" y="30"/>
                  </a:lnTo>
                  <a:lnTo>
                    <a:pt x="0" y="35"/>
                  </a:lnTo>
                  <a:lnTo>
                    <a:pt x="2" y="41"/>
                  </a:lnTo>
                  <a:lnTo>
                    <a:pt x="7" y="50"/>
                  </a:lnTo>
                  <a:lnTo>
                    <a:pt x="18" y="57"/>
                  </a:lnTo>
                  <a:lnTo>
                    <a:pt x="22" y="57"/>
                  </a:lnTo>
                  <a:lnTo>
                    <a:pt x="29" y="59"/>
                  </a:lnTo>
                  <a:lnTo>
                    <a:pt x="29" y="59"/>
                  </a:lnTo>
                  <a:lnTo>
                    <a:pt x="35" y="57"/>
                  </a:lnTo>
                  <a:lnTo>
                    <a:pt x="40" y="57"/>
                  </a:lnTo>
                  <a:lnTo>
                    <a:pt x="49" y="50"/>
                  </a:lnTo>
                  <a:lnTo>
                    <a:pt x="55" y="41"/>
                  </a:lnTo>
                  <a:lnTo>
                    <a:pt x="57" y="35"/>
                  </a:lnTo>
                  <a:lnTo>
                    <a:pt x="59" y="30"/>
                  </a:lnTo>
                  <a:lnTo>
                    <a:pt x="59" y="30"/>
                  </a:lnTo>
                  <a:lnTo>
                    <a:pt x="57" y="24"/>
                  </a:lnTo>
                  <a:lnTo>
                    <a:pt x="55" y="19"/>
                  </a:lnTo>
                  <a:lnTo>
                    <a:pt x="49" y="9"/>
                  </a:lnTo>
                  <a:lnTo>
                    <a:pt x="40" y="2"/>
                  </a:lnTo>
                  <a:lnTo>
                    <a:pt x="35" y="0"/>
                  </a:lnTo>
                  <a:lnTo>
                    <a:pt x="29" y="0"/>
                  </a:lnTo>
                  <a:lnTo>
                    <a:pt x="29" y="0"/>
                  </a:lnTo>
                  <a:lnTo>
                    <a:pt x="22" y="0"/>
                  </a:lnTo>
                  <a:lnTo>
                    <a:pt x="18" y="2"/>
                  </a:lnTo>
                  <a:lnTo>
                    <a:pt x="7" y="9"/>
                  </a:lnTo>
                  <a:lnTo>
                    <a:pt x="2" y="19"/>
                  </a:lnTo>
                  <a:lnTo>
                    <a:pt x="0" y="24"/>
                  </a:lnTo>
                  <a:lnTo>
                    <a:pt x="0" y="30"/>
                  </a:lnTo>
                  <a:lnTo>
                    <a:pt x="0" y="30"/>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87" name="Freeform 170">
              <a:extLst>
                <a:ext uri="{FF2B5EF4-FFF2-40B4-BE49-F238E27FC236}">
                  <a16:creationId xmlns:a16="http://schemas.microsoft.com/office/drawing/2014/main" id="{9745C89B-11A3-3199-5848-A370ACF81673}"/>
                </a:ext>
              </a:extLst>
            </p:cNvPr>
            <p:cNvSpPr>
              <a:spLocks/>
            </p:cNvSpPr>
            <p:nvPr/>
          </p:nvSpPr>
          <p:spPr bwMode="auto">
            <a:xfrm>
              <a:off x="6011836" y="5265795"/>
              <a:ext cx="80074" cy="79472"/>
            </a:xfrm>
            <a:custGeom>
              <a:avLst/>
              <a:gdLst/>
              <a:ahLst/>
              <a:cxnLst>
                <a:cxn ang="0">
                  <a:pos x="0" y="30"/>
                </a:cxn>
                <a:cxn ang="0">
                  <a:pos x="0" y="30"/>
                </a:cxn>
                <a:cxn ang="0">
                  <a:pos x="2" y="35"/>
                </a:cxn>
                <a:cxn ang="0">
                  <a:pos x="4" y="41"/>
                </a:cxn>
                <a:cxn ang="0">
                  <a:pos x="9" y="50"/>
                </a:cxn>
                <a:cxn ang="0">
                  <a:pos x="18" y="55"/>
                </a:cxn>
                <a:cxn ang="0">
                  <a:pos x="24" y="57"/>
                </a:cxn>
                <a:cxn ang="0">
                  <a:pos x="29" y="59"/>
                </a:cxn>
                <a:cxn ang="0">
                  <a:pos x="29" y="59"/>
                </a:cxn>
                <a:cxn ang="0">
                  <a:pos x="35" y="57"/>
                </a:cxn>
                <a:cxn ang="0">
                  <a:pos x="40" y="55"/>
                </a:cxn>
                <a:cxn ang="0">
                  <a:pos x="49" y="50"/>
                </a:cxn>
                <a:cxn ang="0">
                  <a:pos x="57" y="41"/>
                </a:cxn>
                <a:cxn ang="0">
                  <a:pos x="59" y="35"/>
                </a:cxn>
                <a:cxn ang="0">
                  <a:pos x="59" y="30"/>
                </a:cxn>
                <a:cxn ang="0">
                  <a:pos x="59" y="30"/>
                </a:cxn>
                <a:cxn ang="0">
                  <a:pos x="59" y="22"/>
                </a:cxn>
                <a:cxn ang="0">
                  <a:pos x="57" y="17"/>
                </a:cxn>
                <a:cxn ang="0">
                  <a:pos x="49" y="8"/>
                </a:cxn>
                <a:cxn ang="0">
                  <a:pos x="40" y="2"/>
                </a:cxn>
                <a:cxn ang="0">
                  <a:pos x="35" y="0"/>
                </a:cxn>
                <a:cxn ang="0">
                  <a:pos x="29" y="0"/>
                </a:cxn>
                <a:cxn ang="0">
                  <a:pos x="29" y="0"/>
                </a:cxn>
                <a:cxn ang="0">
                  <a:pos x="24" y="0"/>
                </a:cxn>
                <a:cxn ang="0">
                  <a:pos x="18" y="2"/>
                </a:cxn>
                <a:cxn ang="0">
                  <a:pos x="9" y="8"/>
                </a:cxn>
                <a:cxn ang="0">
                  <a:pos x="4" y="17"/>
                </a:cxn>
                <a:cxn ang="0">
                  <a:pos x="2" y="22"/>
                </a:cxn>
                <a:cxn ang="0">
                  <a:pos x="0" y="30"/>
                </a:cxn>
                <a:cxn ang="0">
                  <a:pos x="0" y="30"/>
                </a:cxn>
              </a:cxnLst>
              <a:rect l="0" t="0" r="r" b="b"/>
              <a:pathLst>
                <a:path w="59" h="59">
                  <a:moveTo>
                    <a:pt x="0" y="30"/>
                  </a:moveTo>
                  <a:lnTo>
                    <a:pt x="0" y="30"/>
                  </a:lnTo>
                  <a:lnTo>
                    <a:pt x="2" y="35"/>
                  </a:lnTo>
                  <a:lnTo>
                    <a:pt x="4" y="41"/>
                  </a:lnTo>
                  <a:lnTo>
                    <a:pt x="9" y="50"/>
                  </a:lnTo>
                  <a:lnTo>
                    <a:pt x="18" y="55"/>
                  </a:lnTo>
                  <a:lnTo>
                    <a:pt x="24" y="57"/>
                  </a:lnTo>
                  <a:lnTo>
                    <a:pt x="29" y="59"/>
                  </a:lnTo>
                  <a:lnTo>
                    <a:pt x="29" y="59"/>
                  </a:lnTo>
                  <a:lnTo>
                    <a:pt x="35" y="57"/>
                  </a:lnTo>
                  <a:lnTo>
                    <a:pt x="40" y="55"/>
                  </a:lnTo>
                  <a:lnTo>
                    <a:pt x="49" y="50"/>
                  </a:lnTo>
                  <a:lnTo>
                    <a:pt x="57" y="41"/>
                  </a:lnTo>
                  <a:lnTo>
                    <a:pt x="59" y="35"/>
                  </a:lnTo>
                  <a:lnTo>
                    <a:pt x="59" y="30"/>
                  </a:lnTo>
                  <a:lnTo>
                    <a:pt x="59" y="30"/>
                  </a:lnTo>
                  <a:lnTo>
                    <a:pt x="59" y="22"/>
                  </a:lnTo>
                  <a:lnTo>
                    <a:pt x="57" y="17"/>
                  </a:lnTo>
                  <a:lnTo>
                    <a:pt x="49" y="8"/>
                  </a:lnTo>
                  <a:lnTo>
                    <a:pt x="40" y="2"/>
                  </a:lnTo>
                  <a:lnTo>
                    <a:pt x="35" y="0"/>
                  </a:lnTo>
                  <a:lnTo>
                    <a:pt x="29" y="0"/>
                  </a:lnTo>
                  <a:lnTo>
                    <a:pt x="29" y="0"/>
                  </a:lnTo>
                  <a:lnTo>
                    <a:pt x="24" y="0"/>
                  </a:lnTo>
                  <a:lnTo>
                    <a:pt x="18" y="2"/>
                  </a:lnTo>
                  <a:lnTo>
                    <a:pt x="9" y="8"/>
                  </a:lnTo>
                  <a:lnTo>
                    <a:pt x="4" y="17"/>
                  </a:lnTo>
                  <a:lnTo>
                    <a:pt x="2" y="22"/>
                  </a:lnTo>
                  <a:lnTo>
                    <a:pt x="0" y="30"/>
                  </a:lnTo>
                  <a:lnTo>
                    <a:pt x="0" y="30"/>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88" name="Freeform 171">
              <a:extLst>
                <a:ext uri="{FF2B5EF4-FFF2-40B4-BE49-F238E27FC236}">
                  <a16:creationId xmlns:a16="http://schemas.microsoft.com/office/drawing/2014/main" id="{0D590671-DAE3-90ED-D745-01D35DAAAAB9}"/>
                </a:ext>
              </a:extLst>
            </p:cNvPr>
            <p:cNvSpPr>
              <a:spLocks/>
            </p:cNvSpPr>
            <p:nvPr/>
          </p:nvSpPr>
          <p:spPr bwMode="auto">
            <a:xfrm>
              <a:off x="6136698" y="5760138"/>
              <a:ext cx="76003" cy="76779"/>
            </a:xfrm>
            <a:custGeom>
              <a:avLst/>
              <a:gdLst/>
              <a:ahLst/>
              <a:cxnLst>
                <a:cxn ang="0">
                  <a:pos x="0" y="27"/>
                </a:cxn>
                <a:cxn ang="0">
                  <a:pos x="0" y="27"/>
                </a:cxn>
                <a:cxn ang="0">
                  <a:pos x="0" y="35"/>
                </a:cxn>
                <a:cxn ang="0">
                  <a:pos x="1" y="40"/>
                </a:cxn>
                <a:cxn ang="0">
                  <a:pos x="7" y="49"/>
                </a:cxn>
                <a:cxn ang="0">
                  <a:pos x="16" y="55"/>
                </a:cxn>
                <a:cxn ang="0">
                  <a:pos x="22" y="57"/>
                </a:cxn>
                <a:cxn ang="0">
                  <a:pos x="29" y="57"/>
                </a:cxn>
                <a:cxn ang="0">
                  <a:pos x="29" y="57"/>
                </a:cxn>
                <a:cxn ang="0">
                  <a:pos x="34" y="57"/>
                </a:cxn>
                <a:cxn ang="0">
                  <a:pos x="40" y="55"/>
                </a:cxn>
                <a:cxn ang="0">
                  <a:pos x="49" y="49"/>
                </a:cxn>
                <a:cxn ang="0">
                  <a:pos x="55" y="40"/>
                </a:cxn>
                <a:cxn ang="0">
                  <a:pos x="56" y="35"/>
                </a:cxn>
                <a:cxn ang="0">
                  <a:pos x="56" y="27"/>
                </a:cxn>
                <a:cxn ang="0">
                  <a:pos x="56" y="27"/>
                </a:cxn>
                <a:cxn ang="0">
                  <a:pos x="56" y="22"/>
                </a:cxn>
                <a:cxn ang="0">
                  <a:pos x="55" y="16"/>
                </a:cxn>
                <a:cxn ang="0">
                  <a:pos x="49" y="7"/>
                </a:cxn>
                <a:cxn ang="0">
                  <a:pos x="40" y="2"/>
                </a:cxn>
                <a:cxn ang="0">
                  <a:pos x="34" y="0"/>
                </a:cxn>
                <a:cxn ang="0">
                  <a:pos x="29" y="0"/>
                </a:cxn>
                <a:cxn ang="0">
                  <a:pos x="29" y="0"/>
                </a:cxn>
                <a:cxn ang="0">
                  <a:pos x="22" y="0"/>
                </a:cxn>
                <a:cxn ang="0">
                  <a:pos x="16" y="2"/>
                </a:cxn>
                <a:cxn ang="0">
                  <a:pos x="7" y="7"/>
                </a:cxn>
                <a:cxn ang="0">
                  <a:pos x="1" y="16"/>
                </a:cxn>
                <a:cxn ang="0">
                  <a:pos x="0" y="22"/>
                </a:cxn>
                <a:cxn ang="0">
                  <a:pos x="0" y="27"/>
                </a:cxn>
                <a:cxn ang="0">
                  <a:pos x="0" y="27"/>
                </a:cxn>
              </a:cxnLst>
              <a:rect l="0" t="0" r="r" b="b"/>
              <a:pathLst>
                <a:path w="56" h="57">
                  <a:moveTo>
                    <a:pt x="0" y="27"/>
                  </a:moveTo>
                  <a:lnTo>
                    <a:pt x="0" y="27"/>
                  </a:lnTo>
                  <a:lnTo>
                    <a:pt x="0" y="35"/>
                  </a:lnTo>
                  <a:lnTo>
                    <a:pt x="1" y="40"/>
                  </a:lnTo>
                  <a:lnTo>
                    <a:pt x="7" y="49"/>
                  </a:lnTo>
                  <a:lnTo>
                    <a:pt x="16" y="55"/>
                  </a:lnTo>
                  <a:lnTo>
                    <a:pt x="22" y="57"/>
                  </a:lnTo>
                  <a:lnTo>
                    <a:pt x="29" y="57"/>
                  </a:lnTo>
                  <a:lnTo>
                    <a:pt x="29" y="57"/>
                  </a:lnTo>
                  <a:lnTo>
                    <a:pt x="34" y="57"/>
                  </a:lnTo>
                  <a:lnTo>
                    <a:pt x="40" y="55"/>
                  </a:lnTo>
                  <a:lnTo>
                    <a:pt x="49" y="49"/>
                  </a:lnTo>
                  <a:lnTo>
                    <a:pt x="55" y="40"/>
                  </a:lnTo>
                  <a:lnTo>
                    <a:pt x="56" y="35"/>
                  </a:lnTo>
                  <a:lnTo>
                    <a:pt x="56" y="27"/>
                  </a:lnTo>
                  <a:lnTo>
                    <a:pt x="56" y="27"/>
                  </a:lnTo>
                  <a:lnTo>
                    <a:pt x="56" y="22"/>
                  </a:lnTo>
                  <a:lnTo>
                    <a:pt x="55" y="16"/>
                  </a:lnTo>
                  <a:lnTo>
                    <a:pt x="49" y="7"/>
                  </a:lnTo>
                  <a:lnTo>
                    <a:pt x="40" y="2"/>
                  </a:lnTo>
                  <a:lnTo>
                    <a:pt x="34" y="0"/>
                  </a:lnTo>
                  <a:lnTo>
                    <a:pt x="29" y="0"/>
                  </a:lnTo>
                  <a:lnTo>
                    <a:pt x="29" y="0"/>
                  </a:lnTo>
                  <a:lnTo>
                    <a:pt x="22" y="0"/>
                  </a:lnTo>
                  <a:lnTo>
                    <a:pt x="16" y="2"/>
                  </a:lnTo>
                  <a:lnTo>
                    <a:pt x="7" y="7"/>
                  </a:lnTo>
                  <a:lnTo>
                    <a:pt x="1" y="16"/>
                  </a:lnTo>
                  <a:lnTo>
                    <a:pt x="0" y="22"/>
                  </a:lnTo>
                  <a:lnTo>
                    <a:pt x="0" y="27"/>
                  </a:lnTo>
                  <a:lnTo>
                    <a:pt x="0" y="27"/>
                  </a:lnTo>
                  <a:close/>
                </a:path>
              </a:pathLst>
            </a:custGeom>
            <a:grpFill/>
            <a:ln w="9525">
              <a:solidFill>
                <a:srgbClr val="00318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grpSp>
      <p:sp>
        <p:nvSpPr>
          <p:cNvPr id="389" name="Freeform 174">
            <a:extLst>
              <a:ext uri="{FF2B5EF4-FFF2-40B4-BE49-F238E27FC236}">
                <a16:creationId xmlns:a16="http://schemas.microsoft.com/office/drawing/2014/main" id="{1F2DB11B-7666-0B98-DC51-102B1AE5BD57}"/>
              </a:ext>
            </a:extLst>
          </p:cNvPr>
          <p:cNvSpPr>
            <a:spLocks/>
          </p:cNvSpPr>
          <p:nvPr/>
        </p:nvSpPr>
        <p:spPr bwMode="auto">
          <a:xfrm>
            <a:off x="3561687" y="1420939"/>
            <a:ext cx="1260078" cy="350473"/>
          </a:xfrm>
          <a:custGeom>
            <a:avLst/>
            <a:gdLst/>
            <a:ahLst/>
            <a:cxnLst>
              <a:cxn ang="0">
                <a:pos x="0" y="225"/>
              </a:cxn>
              <a:cxn ang="0">
                <a:pos x="2" y="236"/>
              </a:cxn>
              <a:cxn ang="0">
                <a:pos x="9" y="256"/>
              </a:cxn>
              <a:cxn ang="0">
                <a:pos x="26" y="271"/>
              </a:cxn>
              <a:cxn ang="0">
                <a:pos x="44" y="278"/>
              </a:cxn>
              <a:cxn ang="0">
                <a:pos x="784" y="280"/>
              </a:cxn>
              <a:cxn ang="0">
                <a:pos x="795" y="278"/>
              </a:cxn>
              <a:cxn ang="0">
                <a:pos x="815" y="271"/>
              </a:cxn>
              <a:cxn ang="0">
                <a:pos x="830" y="256"/>
              </a:cxn>
              <a:cxn ang="0">
                <a:pos x="839" y="236"/>
              </a:cxn>
              <a:cxn ang="0">
                <a:pos x="839" y="55"/>
              </a:cxn>
              <a:cxn ang="0">
                <a:pos x="839" y="44"/>
              </a:cxn>
              <a:cxn ang="0">
                <a:pos x="830" y="24"/>
              </a:cxn>
              <a:cxn ang="0">
                <a:pos x="815" y="9"/>
              </a:cxn>
              <a:cxn ang="0">
                <a:pos x="795" y="2"/>
              </a:cxn>
              <a:cxn ang="0">
                <a:pos x="55" y="0"/>
              </a:cxn>
              <a:cxn ang="0">
                <a:pos x="44" y="2"/>
              </a:cxn>
              <a:cxn ang="0">
                <a:pos x="26" y="9"/>
              </a:cxn>
              <a:cxn ang="0">
                <a:pos x="9" y="24"/>
              </a:cxn>
              <a:cxn ang="0">
                <a:pos x="2" y="44"/>
              </a:cxn>
              <a:cxn ang="0">
                <a:pos x="0" y="225"/>
              </a:cxn>
              <a:cxn ang="0">
                <a:pos x="7" y="225"/>
              </a:cxn>
              <a:cxn ang="0">
                <a:pos x="7" y="55"/>
              </a:cxn>
              <a:cxn ang="0">
                <a:pos x="11" y="36"/>
              </a:cxn>
              <a:cxn ang="0">
                <a:pos x="20" y="20"/>
              </a:cxn>
              <a:cxn ang="0">
                <a:pos x="27" y="14"/>
              </a:cxn>
              <a:cxn ang="0">
                <a:pos x="46" y="7"/>
              </a:cxn>
              <a:cxn ang="0">
                <a:pos x="784" y="5"/>
              </a:cxn>
              <a:cxn ang="0">
                <a:pos x="795" y="7"/>
              </a:cxn>
              <a:cxn ang="0">
                <a:pos x="812" y="14"/>
              </a:cxn>
              <a:cxn ang="0">
                <a:pos x="819" y="20"/>
              </a:cxn>
              <a:cxn ang="0">
                <a:pos x="830" y="36"/>
              </a:cxn>
              <a:cxn ang="0">
                <a:pos x="834" y="55"/>
              </a:cxn>
              <a:cxn ang="0">
                <a:pos x="834" y="225"/>
              </a:cxn>
              <a:cxn ang="0">
                <a:pos x="830" y="243"/>
              </a:cxn>
              <a:cxn ang="0">
                <a:pos x="819" y="260"/>
              </a:cxn>
              <a:cxn ang="0">
                <a:pos x="812" y="265"/>
              </a:cxn>
              <a:cxn ang="0">
                <a:pos x="795" y="273"/>
              </a:cxn>
              <a:cxn ang="0">
                <a:pos x="55" y="273"/>
              </a:cxn>
              <a:cxn ang="0">
                <a:pos x="46" y="273"/>
              </a:cxn>
              <a:cxn ang="0">
                <a:pos x="27" y="265"/>
              </a:cxn>
              <a:cxn ang="0">
                <a:pos x="20" y="260"/>
              </a:cxn>
              <a:cxn ang="0">
                <a:pos x="11" y="243"/>
              </a:cxn>
              <a:cxn ang="0">
                <a:pos x="7" y="225"/>
              </a:cxn>
            </a:cxnLst>
            <a:rect l="0" t="0" r="r" b="b"/>
            <a:pathLst>
              <a:path w="839" h="280">
                <a:moveTo>
                  <a:pt x="4" y="225"/>
                </a:moveTo>
                <a:lnTo>
                  <a:pt x="0" y="225"/>
                </a:lnTo>
                <a:lnTo>
                  <a:pt x="0" y="225"/>
                </a:lnTo>
                <a:lnTo>
                  <a:pt x="2" y="236"/>
                </a:lnTo>
                <a:lnTo>
                  <a:pt x="5" y="245"/>
                </a:lnTo>
                <a:lnTo>
                  <a:pt x="9" y="256"/>
                </a:lnTo>
                <a:lnTo>
                  <a:pt x="16" y="264"/>
                </a:lnTo>
                <a:lnTo>
                  <a:pt x="26" y="271"/>
                </a:lnTo>
                <a:lnTo>
                  <a:pt x="35" y="275"/>
                </a:lnTo>
                <a:lnTo>
                  <a:pt x="44" y="278"/>
                </a:lnTo>
                <a:lnTo>
                  <a:pt x="55" y="280"/>
                </a:lnTo>
                <a:lnTo>
                  <a:pt x="784" y="280"/>
                </a:lnTo>
                <a:lnTo>
                  <a:pt x="784" y="280"/>
                </a:lnTo>
                <a:lnTo>
                  <a:pt x="795" y="278"/>
                </a:lnTo>
                <a:lnTo>
                  <a:pt x="806" y="275"/>
                </a:lnTo>
                <a:lnTo>
                  <a:pt x="815" y="271"/>
                </a:lnTo>
                <a:lnTo>
                  <a:pt x="823" y="264"/>
                </a:lnTo>
                <a:lnTo>
                  <a:pt x="830" y="256"/>
                </a:lnTo>
                <a:lnTo>
                  <a:pt x="836" y="245"/>
                </a:lnTo>
                <a:lnTo>
                  <a:pt x="839" y="236"/>
                </a:lnTo>
                <a:lnTo>
                  <a:pt x="839" y="225"/>
                </a:lnTo>
                <a:lnTo>
                  <a:pt x="839" y="55"/>
                </a:lnTo>
                <a:lnTo>
                  <a:pt x="839" y="55"/>
                </a:lnTo>
                <a:lnTo>
                  <a:pt x="839" y="44"/>
                </a:lnTo>
                <a:lnTo>
                  <a:pt x="836" y="33"/>
                </a:lnTo>
                <a:lnTo>
                  <a:pt x="830" y="24"/>
                </a:lnTo>
                <a:lnTo>
                  <a:pt x="823" y="16"/>
                </a:lnTo>
                <a:lnTo>
                  <a:pt x="815" y="9"/>
                </a:lnTo>
                <a:lnTo>
                  <a:pt x="806" y="3"/>
                </a:lnTo>
                <a:lnTo>
                  <a:pt x="795" y="2"/>
                </a:lnTo>
                <a:lnTo>
                  <a:pt x="784" y="0"/>
                </a:lnTo>
                <a:lnTo>
                  <a:pt x="55" y="0"/>
                </a:lnTo>
                <a:lnTo>
                  <a:pt x="55" y="0"/>
                </a:lnTo>
                <a:lnTo>
                  <a:pt x="44" y="2"/>
                </a:lnTo>
                <a:lnTo>
                  <a:pt x="35" y="3"/>
                </a:lnTo>
                <a:lnTo>
                  <a:pt x="26" y="9"/>
                </a:lnTo>
                <a:lnTo>
                  <a:pt x="16" y="16"/>
                </a:lnTo>
                <a:lnTo>
                  <a:pt x="9" y="24"/>
                </a:lnTo>
                <a:lnTo>
                  <a:pt x="5" y="33"/>
                </a:lnTo>
                <a:lnTo>
                  <a:pt x="2" y="44"/>
                </a:lnTo>
                <a:lnTo>
                  <a:pt x="0" y="55"/>
                </a:lnTo>
                <a:lnTo>
                  <a:pt x="0" y="225"/>
                </a:lnTo>
                <a:lnTo>
                  <a:pt x="4" y="225"/>
                </a:lnTo>
                <a:lnTo>
                  <a:pt x="7" y="225"/>
                </a:lnTo>
                <a:lnTo>
                  <a:pt x="7" y="55"/>
                </a:lnTo>
                <a:lnTo>
                  <a:pt x="7" y="55"/>
                </a:lnTo>
                <a:lnTo>
                  <a:pt x="7" y="46"/>
                </a:lnTo>
                <a:lnTo>
                  <a:pt x="11" y="36"/>
                </a:lnTo>
                <a:lnTo>
                  <a:pt x="15" y="27"/>
                </a:lnTo>
                <a:lnTo>
                  <a:pt x="20" y="20"/>
                </a:lnTo>
                <a:lnTo>
                  <a:pt x="20" y="20"/>
                </a:lnTo>
                <a:lnTo>
                  <a:pt x="27" y="14"/>
                </a:lnTo>
                <a:lnTo>
                  <a:pt x="37" y="11"/>
                </a:lnTo>
                <a:lnTo>
                  <a:pt x="46" y="7"/>
                </a:lnTo>
                <a:lnTo>
                  <a:pt x="55" y="5"/>
                </a:lnTo>
                <a:lnTo>
                  <a:pt x="784" y="5"/>
                </a:lnTo>
                <a:lnTo>
                  <a:pt x="784" y="5"/>
                </a:lnTo>
                <a:lnTo>
                  <a:pt x="795" y="7"/>
                </a:lnTo>
                <a:lnTo>
                  <a:pt x="804" y="11"/>
                </a:lnTo>
                <a:lnTo>
                  <a:pt x="812" y="14"/>
                </a:lnTo>
                <a:lnTo>
                  <a:pt x="819" y="20"/>
                </a:lnTo>
                <a:lnTo>
                  <a:pt x="819" y="20"/>
                </a:lnTo>
                <a:lnTo>
                  <a:pt x="825" y="27"/>
                </a:lnTo>
                <a:lnTo>
                  <a:pt x="830" y="36"/>
                </a:lnTo>
                <a:lnTo>
                  <a:pt x="832" y="46"/>
                </a:lnTo>
                <a:lnTo>
                  <a:pt x="834" y="55"/>
                </a:lnTo>
                <a:lnTo>
                  <a:pt x="834" y="225"/>
                </a:lnTo>
                <a:lnTo>
                  <a:pt x="834" y="225"/>
                </a:lnTo>
                <a:lnTo>
                  <a:pt x="832" y="234"/>
                </a:lnTo>
                <a:lnTo>
                  <a:pt x="830" y="243"/>
                </a:lnTo>
                <a:lnTo>
                  <a:pt x="825" y="253"/>
                </a:lnTo>
                <a:lnTo>
                  <a:pt x="819" y="260"/>
                </a:lnTo>
                <a:lnTo>
                  <a:pt x="819" y="260"/>
                </a:lnTo>
                <a:lnTo>
                  <a:pt x="812" y="265"/>
                </a:lnTo>
                <a:lnTo>
                  <a:pt x="804" y="269"/>
                </a:lnTo>
                <a:lnTo>
                  <a:pt x="795" y="273"/>
                </a:lnTo>
                <a:lnTo>
                  <a:pt x="784" y="273"/>
                </a:lnTo>
                <a:lnTo>
                  <a:pt x="55" y="273"/>
                </a:lnTo>
                <a:lnTo>
                  <a:pt x="55" y="273"/>
                </a:lnTo>
                <a:lnTo>
                  <a:pt x="46" y="273"/>
                </a:lnTo>
                <a:lnTo>
                  <a:pt x="37" y="269"/>
                </a:lnTo>
                <a:lnTo>
                  <a:pt x="27" y="265"/>
                </a:lnTo>
                <a:lnTo>
                  <a:pt x="20" y="260"/>
                </a:lnTo>
                <a:lnTo>
                  <a:pt x="20" y="260"/>
                </a:lnTo>
                <a:lnTo>
                  <a:pt x="15" y="253"/>
                </a:lnTo>
                <a:lnTo>
                  <a:pt x="11" y="243"/>
                </a:lnTo>
                <a:lnTo>
                  <a:pt x="7" y="234"/>
                </a:lnTo>
                <a:lnTo>
                  <a:pt x="7" y="225"/>
                </a:lnTo>
                <a:lnTo>
                  <a:pt x="4" y="225"/>
                </a:lnTo>
                <a:close/>
              </a:path>
            </a:pathLst>
          </a:custGeom>
          <a:solidFill>
            <a:srgbClr val="939598"/>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90" name="Freeform 175">
            <a:extLst>
              <a:ext uri="{FF2B5EF4-FFF2-40B4-BE49-F238E27FC236}">
                <a16:creationId xmlns:a16="http://schemas.microsoft.com/office/drawing/2014/main" id="{D4102A8E-7F67-2EA6-C32C-9C00B76AB4AD}"/>
              </a:ext>
            </a:extLst>
          </p:cNvPr>
          <p:cNvSpPr>
            <a:spLocks/>
          </p:cNvSpPr>
          <p:nvPr/>
        </p:nvSpPr>
        <p:spPr bwMode="auto">
          <a:xfrm>
            <a:off x="3561687" y="1889071"/>
            <a:ext cx="1260078" cy="347970"/>
          </a:xfrm>
          <a:custGeom>
            <a:avLst/>
            <a:gdLst/>
            <a:ahLst/>
            <a:cxnLst>
              <a:cxn ang="0">
                <a:pos x="0" y="223"/>
              </a:cxn>
              <a:cxn ang="0">
                <a:pos x="2" y="236"/>
              </a:cxn>
              <a:cxn ang="0">
                <a:pos x="9" y="254"/>
              </a:cxn>
              <a:cxn ang="0">
                <a:pos x="26" y="269"/>
              </a:cxn>
              <a:cxn ang="0">
                <a:pos x="44" y="278"/>
              </a:cxn>
              <a:cxn ang="0">
                <a:pos x="784" y="278"/>
              </a:cxn>
              <a:cxn ang="0">
                <a:pos x="795" y="278"/>
              </a:cxn>
              <a:cxn ang="0">
                <a:pos x="815" y="269"/>
              </a:cxn>
              <a:cxn ang="0">
                <a:pos x="830" y="254"/>
              </a:cxn>
              <a:cxn ang="0">
                <a:pos x="839" y="236"/>
              </a:cxn>
              <a:cxn ang="0">
                <a:pos x="839" y="55"/>
              </a:cxn>
              <a:cxn ang="0">
                <a:pos x="839" y="44"/>
              </a:cxn>
              <a:cxn ang="0">
                <a:pos x="830" y="23"/>
              </a:cxn>
              <a:cxn ang="0">
                <a:pos x="815" y="9"/>
              </a:cxn>
              <a:cxn ang="0">
                <a:pos x="795" y="0"/>
              </a:cxn>
              <a:cxn ang="0">
                <a:pos x="55" y="0"/>
              </a:cxn>
              <a:cxn ang="0">
                <a:pos x="44" y="0"/>
              </a:cxn>
              <a:cxn ang="0">
                <a:pos x="26" y="9"/>
              </a:cxn>
              <a:cxn ang="0">
                <a:pos x="9" y="23"/>
              </a:cxn>
              <a:cxn ang="0">
                <a:pos x="2" y="44"/>
              </a:cxn>
              <a:cxn ang="0">
                <a:pos x="0" y="223"/>
              </a:cxn>
              <a:cxn ang="0">
                <a:pos x="7" y="223"/>
              </a:cxn>
              <a:cxn ang="0">
                <a:pos x="7" y="55"/>
              </a:cxn>
              <a:cxn ang="0">
                <a:pos x="11" y="34"/>
              </a:cxn>
              <a:cxn ang="0">
                <a:pos x="20" y="20"/>
              </a:cxn>
              <a:cxn ang="0">
                <a:pos x="27" y="14"/>
              </a:cxn>
              <a:cxn ang="0">
                <a:pos x="46" y="7"/>
              </a:cxn>
              <a:cxn ang="0">
                <a:pos x="784" y="5"/>
              </a:cxn>
              <a:cxn ang="0">
                <a:pos x="795" y="7"/>
              </a:cxn>
              <a:cxn ang="0">
                <a:pos x="812" y="14"/>
              </a:cxn>
              <a:cxn ang="0">
                <a:pos x="819" y="20"/>
              </a:cxn>
              <a:cxn ang="0">
                <a:pos x="830" y="34"/>
              </a:cxn>
              <a:cxn ang="0">
                <a:pos x="834" y="55"/>
              </a:cxn>
              <a:cxn ang="0">
                <a:pos x="834" y="223"/>
              </a:cxn>
              <a:cxn ang="0">
                <a:pos x="830" y="243"/>
              </a:cxn>
              <a:cxn ang="0">
                <a:pos x="819" y="258"/>
              </a:cxn>
              <a:cxn ang="0">
                <a:pos x="812" y="265"/>
              </a:cxn>
              <a:cxn ang="0">
                <a:pos x="795" y="273"/>
              </a:cxn>
              <a:cxn ang="0">
                <a:pos x="55" y="273"/>
              </a:cxn>
              <a:cxn ang="0">
                <a:pos x="46" y="273"/>
              </a:cxn>
              <a:cxn ang="0">
                <a:pos x="27" y="265"/>
              </a:cxn>
              <a:cxn ang="0">
                <a:pos x="20" y="258"/>
              </a:cxn>
              <a:cxn ang="0">
                <a:pos x="11" y="243"/>
              </a:cxn>
              <a:cxn ang="0">
                <a:pos x="7" y="223"/>
              </a:cxn>
            </a:cxnLst>
            <a:rect l="0" t="0" r="r" b="b"/>
            <a:pathLst>
              <a:path w="839" h="278">
                <a:moveTo>
                  <a:pt x="4" y="223"/>
                </a:moveTo>
                <a:lnTo>
                  <a:pt x="0" y="223"/>
                </a:lnTo>
                <a:lnTo>
                  <a:pt x="0" y="223"/>
                </a:lnTo>
                <a:lnTo>
                  <a:pt x="2" y="236"/>
                </a:lnTo>
                <a:lnTo>
                  <a:pt x="5" y="245"/>
                </a:lnTo>
                <a:lnTo>
                  <a:pt x="9" y="254"/>
                </a:lnTo>
                <a:lnTo>
                  <a:pt x="16" y="263"/>
                </a:lnTo>
                <a:lnTo>
                  <a:pt x="26" y="269"/>
                </a:lnTo>
                <a:lnTo>
                  <a:pt x="35" y="274"/>
                </a:lnTo>
                <a:lnTo>
                  <a:pt x="44" y="278"/>
                </a:lnTo>
                <a:lnTo>
                  <a:pt x="55" y="278"/>
                </a:lnTo>
                <a:lnTo>
                  <a:pt x="784" y="278"/>
                </a:lnTo>
                <a:lnTo>
                  <a:pt x="784" y="278"/>
                </a:lnTo>
                <a:lnTo>
                  <a:pt x="795" y="278"/>
                </a:lnTo>
                <a:lnTo>
                  <a:pt x="806" y="274"/>
                </a:lnTo>
                <a:lnTo>
                  <a:pt x="815" y="269"/>
                </a:lnTo>
                <a:lnTo>
                  <a:pt x="823" y="263"/>
                </a:lnTo>
                <a:lnTo>
                  <a:pt x="830" y="254"/>
                </a:lnTo>
                <a:lnTo>
                  <a:pt x="836" y="245"/>
                </a:lnTo>
                <a:lnTo>
                  <a:pt x="839" y="236"/>
                </a:lnTo>
                <a:lnTo>
                  <a:pt x="839" y="223"/>
                </a:lnTo>
                <a:lnTo>
                  <a:pt x="839" y="55"/>
                </a:lnTo>
                <a:lnTo>
                  <a:pt x="839" y="55"/>
                </a:lnTo>
                <a:lnTo>
                  <a:pt x="839" y="44"/>
                </a:lnTo>
                <a:lnTo>
                  <a:pt x="836" y="33"/>
                </a:lnTo>
                <a:lnTo>
                  <a:pt x="830" y="23"/>
                </a:lnTo>
                <a:lnTo>
                  <a:pt x="823" y="16"/>
                </a:lnTo>
                <a:lnTo>
                  <a:pt x="815" y="9"/>
                </a:lnTo>
                <a:lnTo>
                  <a:pt x="806" y="3"/>
                </a:lnTo>
                <a:lnTo>
                  <a:pt x="795" y="0"/>
                </a:lnTo>
                <a:lnTo>
                  <a:pt x="784" y="0"/>
                </a:lnTo>
                <a:lnTo>
                  <a:pt x="55" y="0"/>
                </a:lnTo>
                <a:lnTo>
                  <a:pt x="55" y="0"/>
                </a:lnTo>
                <a:lnTo>
                  <a:pt x="44" y="0"/>
                </a:lnTo>
                <a:lnTo>
                  <a:pt x="35" y="3"/>
                </a:lnTo>
                <a:lnTo>
                  <a:pt x="26" y="9"/>
                </a:lnTo>
                <a:lnTo>
                  <a:pt x="16" y="16"/>
                </a:lnTo>
                <a:lnTo>
                  <a:pt x="9" y="23"/>
                </a:lnTo>
                <a:lnTo>
                  <a:pt x="5" y="33"/>
                </a:lnTo>
                <a:lnTo>
                  <a:pt x="2" y="44"/>
                </a:lnTo>
                <a:lnTo>
                  <a:pt x="0" y="55"/>
                </a:lnTo>
                <a:lnTo>
                  <a:pt x="0" y="223"/>
                </a:lnTo>
                <a:lnTo>
                  <a:pt x="4" y="223"/>
                </a:lnTo>
                <a:lnTo>
                  <a:pt x="7" y="223"/>
                </a:lnTo>
                <a:lnTo>
                  <a:pt x="7" y="55"/>
                </a:lnTo>
                <a:lnTo>
                  <a:pt x="7" y="55"/>
                </a:lnTo>
                <a:lnTo>
                  <a:pt x="7" y="44"/>
                </a:lnTo>
                <a:lnTo>
                  <a:pt x="11" y="34"/>
                </a:lnTo>
                <a:lnTo>
                  <a:pt x="15" y="27"/>
                </a:lnTo>
                <a:lnTo>
                  <a:pt x="20" y="20"/>
                </a:lnTo>
                <a:lnTo>
                  <a:pt x="20" y="20"/>
                </a:lnTo>
                <a:lnTo>
                  <a:pt x="27" y="14"/>
                </a:lnTo>
                <a:lnTo>
                  <a:pt x="37" y="9"/>
                </a:lnTo>
                <a:lnTo>
                  <a:pt x="46" y="7"/>
                </a:lnTo>
                <a:lnTo>
                  <a:pt x="55" y="5"/>
                </a:lnTo>
                <a:lnTo>
                  <a:pt x="784" y="5"/>
                </a:lnTo>
                <a:lnTo>
                  <a:pt x="784" y="5"/>
                </a:lnTo>
                <a:lnTo>
                  <a:pt x="795" y="7"/>
                </a:lnTo>
                <a:lnTo>
                  <a:pt x="804" y="9"/>
                </a:lnTo>
                <a:lnTo>
                  <a:pt x="812" y="14"/>
                </a:lnTo>
                <a:lnTo>
                  <a:pt x="819" y="20"/>
                </a:lnTo>
                <a:lnTo>
                  <a:pt x="819" y="20"/>
                </a:lnTo>
                <a:lnTo>
                  <a:pt x="825" y="27"/>
                </a:lnTo>
                <a:lnTo>
                  <a:pt x="830" y="34"/>
                </a:lnTo>
                <a:lnTo>
                  <a:pt x="832" y="44"/>
                </a:lnTo>
                <a:lnTo>
                  <a:pt x="834" y="55"/>
                </a:lnTo>
                <a:lnTo>
                  <a:pt x="834" y="223"/>
                </a:lnTo>
                <a:lnTo>
                  <a:pt x="834" y="223"/>
                </a:lnTo>
                <a:lnTo>
                  <a:pt x="832" y="234"/>
                </a:lnTo>
                <a:lnTo>
                  <a:pt x="830" y="243"/>
                </a:lnTo>
                <a:lnTo>
                  <a:pt x="825" y="251"/>
                </a:lnTo>
                <a:lnTo>
                  <a:pt x="819" y="258"/>
                </a:lnTo>
                <a:lnTo>
                  <a:pt x="819" y="258"/>
                </a:lnTo>
                <a:lnTo>
                  <a:pt x="812" y="265"/>
                </a:lnTo>
                <a:lnTo>
                  <a:pt x="804" y="269"/>
                </a:lnTo>
                <a:lnTo>
                  <a:pt x="795" y="273"/>
                </a:lnTo>
                <a:lnTo>
                  <a:pt x="784" y="273"/>
                </a:lnTo>
                <a:lnTo>
                  <a:pt x="55" y="273"/>
                </a:lnTo>
                <a:lnTo>
                  <a:pt x="55" y="273"/>
                </a:lnTo>
                <a:lnTo>
                  <a:pt x="46" y="273"/>
                </a:lnTo>
                <a:lnTo>
                  <a:pt x="37" y="269"/>
                </a:lnTo>
                <a:lnTo>
                  <a:pt x="27" y="265"/>
                </a:lnTo>
                <a:lnTo>
                  <a:pt x="20" y="258"/>
                </a:lnTo>
                <a:lnTo>
                  <a:pt x="20" y="258"/>
                </a:lnTo>
                <a:lnTo>
                  <a:pt x="15" y="251"/>
                </a:lnTo>
                <a:lnTo>
                  <a:pt x="11" y="243"/>
                </a:lnTo>
                <a:lnTo>
                  <a:pt x="7" y="234"/>
                </a:lnTo>
                <a:lnTo>
                  <a:pt x="7" y="223"/>
                </a:lnTo>
                <a:lnTo>
                  <a:pt x="4" y="223"/>
                </a:lnTo>
                <a:close/>
              </a:path>
            </a:pathLst>
          </a:custGeom>
          <a:solidFill>
            <a:srgbClr val="939598"/>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91" name="Freeform 176">
            <a:extLst>
              <a:ext uri="{FF2B5EF4-FFF2-40B4-BE49-F238E27FC236}">
                <a16:creationId xmlns:a16="http://schemas.microsoft.com/office/drawing/2014/main" id="{AA2CAEA9-6102-3C13-09CF-1E19D8638DC7}"/>
              </a:ext>
            </a:extLst>
          </p:cNvPr>
          <p:cNvSpPr>
            <a:spLocks/>
          </p:cNvSpPr>
          <p:nvPr/>
        </p:nvSpPr>
        <p:spPr bwMode="auto">
          <a:xfrm>
            <a:off x="3561687" y="2354700"/>
            <a:ext cx="1260078" cy="350473"/>
          </a:xfrm>
          <a:custGeom>
            <a:avLst/>
            <a:gdLst/>
            <a:ahLst/>
            <a:cxnLst>
              <a:cxn ang="0">
                <a:pos x="0" y="225"/>
              </a:cxn>
              <a:cxn ang="0">
                <a:pos x="2" y="236"/>
              </a:cxn>
              <a:cxn ang="0">
                <a:pos x="9" y="256"/>
              </a:cxn>
              <a:cxn ang="0">
                <a:pos x="26" y="271"/>
              </a:cxn>
              <a:cxn ang="0">
                <a:pos x="44" y="278"/>
              </a:cxn>
              <a:cxn ang="0">
                <a:pos x="784" y="280"/>
              </a:cxn>
              <a:cxn ang="0">
                <a:pos x="795" y="278"/>
              </a:cxn>
              <a:cxn ang="0">
                <a:pos x="815" y="271"/>
              </a:cxn>
              <a:cxn ang="0">
                <a:pos x="830" y="256"/>
              </a:cxn>
              <a:cxn ang="0">
                <a:pos x="839" y="236"/>
              </a:cxn>
              <a:cxn ang="0">
                <a:pos x="839" y="54"/>
              </a:cxn>
              <a:cxn ang="0">
                <a:pos x="839" y="43"/>
              </a:cxn>
              <a:cxn ang="0">
                <a:pos x="830" y="25"/>
              </a:cxn>
              <a:cxn ang="0">
                <a:pos x="815" y="9"/>
              </a:cxn>
              <a:cxn ang="0">
                <a:pos x="795" y="1"/>
              </a:cxn>
              <a:cxn ang="0">
                <a:pos x="55" y="0"/>
              </a:cxn>
              <a:cxn ang="0">
                <a:pos x="44" y="1"/>
              </a:cxn>
              <a:cxn ang="0">
                <a:pos x="26" y="9"/>
              </a:cxn>
              <a:cxn ang="0">
                <a:pos x="9" y="25"/>
              </a:cxn>
              <a:cxn ang="0">
                <a:pos x="2" y="43"/>
              </a:cxn>
              <a:cxn ang="0">
                <a:pos x="0" y="225"/>
              </a:cxn>
              <a:cxn ang="0">
                <a:pos x="7" y="225"/>
              </a:cxn>
              <a:cxn ang="0">
                <a:pos x="7" y="54"/>
              </a:cxn>
              <a:cxn ang="0">
                <a:pos x="11" y="36"/>
              </a:cxn>
              <a:cxn ang="0">
                <a:pos x="20" y="20"/>
              </a:cxn>
              <a:cxn ang="0">
                <a:pos x="27" y="14"/>
              </a:cxn>
              <a:cxn ang="0">
                <a:pos x="46" y="7"/>
              </a:cxn>
              <a:cxn ang="0">
                <a:pos x="784" y="7"/>
              </a:cxn>
              <a:cxn ang="0">
                <a:pos x="795" y="7"/>
              </a:cxn>
              <a:cxn ang="0">
                <a:pos x="812" y="14"/>
              </a:cxn>
              <a:cxn ang="0">
                <a:pos x="819" y="20"/>
              </a:cxn>
              <a:cxn ang="0">
                <a:pos x="830" y="36"/>
              </a:cxn>
              <a:cxn ang="0">
                <a:pos x="834" y="54"/>
              </a:cxn>
              <a:cxn ang="0">
                <a:pos x="834" y="225"/>
              </a:cxn>
              <a:cxn ang="0">
                <a:pos x="830" y="243"/>
              </a:cxn>
              <a:cxn ang="0">
                <a:pos x="819" y="260"/>
              </a:cxn>
              <a:cxn ang="0">
                <a:pos x="812" y="265"/>
              </a:cxn>
              <a:cxn ang="0">
                <a:pos x="795" y="273"/>
              </a:cxn>
              <a:cxn ang="0">
                <a:pos x="55" y="274"/>
              </a:cxn>
              <a:cxn ang="0">
                <a:pos x="46" y="273"/>
              </a:cxn>
              <a:cxn ang="0">
                <a:pos x="27" y="265"/>
              </a:cxn>
              <a:cxn ang="0">
                <a:pos x="20" y="260"/>
              </a:cxn>
              <a:cxn ang="0">
                <a:pos x="11" y="243"/>
              </a:cxn>
              <a:cxn ang="0">
                <a:pos x="7" y="225"/>
              </a:cxn>
            </a:cxnLst>
            <a:rect l="0" t="0" r="r" b="b"/>
            <a:pathLst>
              <a:path w="839" h="280">
                <a:moveTo>
                  <a:pt x="4" y="225"/>
                </a:moveTo>
                <a:lnTo>
                  <a:pt x="0" y="225"/>
                </a:lnTo>
                <a:lnTo>
                  <a:pt x="0" y="225"/>
                </a:lnTo>
                <a:lnTo>
                  <a:pt x="2" y="236"/>
                </a:lnTo>
                <a:lnTo>
                  <a:pt x="5" y="247"/>
                </a:lnTo>
                <a:lnTo>
                  <a:pt x="9" y="256"/>
                </a:lnTo>
                <a:lnTo>
                  <a:pt x="16" y="263"/>
                </a:lnTo>
                <a:lnTo>
                  <a:pt x="26" y="271"/>
                </a:lnTo>
                <a:lnTo>
                  <a:pt x="35" y="276"/>
                </a:lnTo>
                <a:lnTo>
                  <a:pt x="44" y="278"/>
                </a:lnTo>
                <a:lnTo>
                  <a:pt x="55" y="280"/>
                </a:lnTo>
                <a:lnTo>
                  <a:pt x="784" y="280"/>
                </a:lnTo>
                <a:lnTo>
                  <a:pt x="784" y="280"/>
                </a:lnTo>
                <a:lnTo>
                  <a:pt x="795" y="278"/>
                </a:lnTo>
                <a:lnTo>
                  <a:pt x="806" y="276"/>
                </a:lnTo>
                <a:lnTo>
                  <a:pt x="815" y="271"/>
                </a:lnTo>
                <a:lnTo>
                  <a:pt x="823" y="263"/>
                </a:lnTo>
                <a:lnTo>
                  <a:pt x="830" y="256"/>
                </a:lnTo>
                <a:lnTo>
                  <a:pt x="836" y="247"/>
                </a:lnTo>
                <a:lnTo>
                  <a:pt x="839" y="236"/>
                </a:lnTo>
                <a:lnTo>
                  <a:pt x="839" y="225"/>
                </a:lnTo>
                <a:lnTo>
                  <a:pt x="839" y="54"/>
                </a:lnTo>
                <a:lnTo>
                  <a:pt x="839" y="54"/>
                </a:lnTo>
                <a:lnTo>
                  <a:pt x="839" y="43"/>
                </a:lnTo>
                <a:lnTo>
                  <a:pt x="836" y="34"/>
                </a:lnTo>
                <a:lnTo>
                  <a:pt x="830" y="25"/>
                </a:lnTo>
                <a:lnTo>
                  <a:pt x="823" y="16"/>
                </a:lnTo>
                <a:lnTo>
                  <a:pt x="815" y="9"/>
                </a:lnTo>
                <a:lnTo>
                  <a:pt x="806" y="5"/>
                </a:lnTo>
                <a:lnTo>
                  <a:pt x="795" y="1"/>
                </a:lnTo>
                <a:lnTo>
                  <a:pt x="784" y="0"/>
                </a:lnTo>
                <a:lnTo>
                  <a:pt x="55" y="0"/>
                </a:lnTo>
                <a:lnTo>
                  <a:pt x="55" y="0"/>
                </a:lnTo>
                <a:lnTo>
                  <a:pt x="44" y="1"/>
                </a:lnTo>
                <a:lnTo>
                  <a:pt x="35" y="5"/>
                </a:lnTo>
                <a:lnTo>
                  <a:pt x="26" y="9"/>
                </a:lnTo>
                <a:lnTo>
                  <a:pt x="16" y="16"/>
                </a:lnTo>
                <a:lnTo>
                  <a:pt x="9" y="25"/>
                </a:lnTo>
                <a:lnTo>
                  <a:pt x="5" y="34"/>
                </a:lnTo>
                <a:lnTo>
                  <a:pt x="2" y="43"/>
                </a:lnTo>
                <a:lnTo>
                  <a:pt x="0" y="54"/>
                </a:lnTo>
                <a:lnTo>
                  <a:pt x="0" y="225"/>
                </a:lnTo>
                <a:lnTo>
                  <a:pt x="4" y="225"/>
                </a:lnTo>
                <a:lnTo>
                  <a:pt x="7" y="225"/>
                </a:lnTo>
                <a:lnTo>
                  <a:pt x="7" y="54"/>
                </a:lnTo>
                <a:lnTo>
                  <a:pt x="7" y="54"/>
                </a:lnTo>
                <a:lnTo>
                  <a:pt x="7" y="45"/>
                </a:lnTo>
                <a:lnTo>
                  <a:pt x="11" y="36"/>
                </a:lnTo>
                <a:lnTo>
                  <a:pt x="15" y="27"/>
                </a:lnTo>
                <a:lnTo>
                  <a:pt x="20" y="20"/>
                </a:lnTo>
                <a:lnTo>
                  <a:pt x="20" y="20"/>
                </a:lnTo>
                <a:lnTo>
                  <a:pt x="27" y="14"/>
                </a:lnTo>
                <a:lnTo>
                  <a:pt x="37" y="11"/>
                </a:lnTo>
                <a:lnTo>
                  <a:pt x="46" y="7"/>
                </a:lnTo>
                <a:lnTo>
                  <a:pt x="55" y="7"/>
                </a:lnTo>
                <a:lnTo>
                  <a:pt x="784" y="7"/>
                </a:lnTo>
                <a:lnTo>
                  <a:pt x="784" y="7"/>
                </a:lnTo>
                <a:lnTo>
                  <a:pt x="795" y="7"/>
                </a:lnTo>
                <a:lnTo>
                  <a:pt x="804" y="11"/>
                </a:lnTo>
                <a:lnTo>
                  <a:pt x="812" y="14"/>
                </a:lnTo>
                <a:lnTo>
                  <a:pt x="819" y="20"/>
                </a:lnTo>
                <a:lnTo>
                  <a:pt x="819" y="20"/>
                </a:lnTo>
                <a:lnTo>
                  <a:pt x="825" y="27"/>
                </a:lnTo>
                <a:lnTo>
                  <a:pt x="830" y="36"/>
                </a:lnTo>
                <a:lnTo>
                  <a:pt x="832" y="45"/>
                </a:lnTo>
                <a:lnTo>
                  <a:pt x="834" y="54"/>
                </a:lnTo>
                <a:lnTo>
                  <a:pt x="834" y="225"/>
                </a:lnTo>
                <a:lnTo>
                  <a:pt x="834" y="225"/>
                </a:lnTo>
                <a:lnTo>
                  <a:pt x="832" y="234"/>
                </a:lnTo>
                <a:lnTo>
                  <a:pt x="830" y="243"/>
                </a:lnTo>
                <a:lnTo>
                  <a:pt x="825" y="252"/>
                </a:lnTo>
                <a:lnTo>
                  <a:pt x="819" y="260"/>
                </a:lnTo>
                <a:lnTo>
                  <a:pt x="819" y="260"/>
                </a:lnTo>
                <a:lnTo>
                  <a:pt x="812" y="265"/>
                </a:lnTo>
                <a:lnTo>
                  <a:pt x="804" y="271"/>
                </a:lnTo>
                <a:lnTo>
                  <a:pt x="795" y="273"/>
                </a:lnTo>
                <a:lnTo>
                  <a:pt x="784" y="274"/>
                </a:lnTo>
                <a:lnTo>
                  <a:pt x="55" y="274"/>
                </a:lnTo>
                <a:lnTo>
                  <a:pt x="55" y="274"/>
                </a:lnTo>
                <a:lnTo>
                  <a:pt x="46" y="273"/>
                </a:lnTo>
                <a:lnTo>
                  <a:pt x="37" y="271"/>
                </a:lnTo>
                <a:lnTo>
                  <a:pt x="27" y="265"/>
                </a:lnTo>
                <a:lnTo>
                  <a:pt x="20" y="260"/>
                </a:lnTo>
                <a:lnTo>
                  <a:pt x="20" y="260"/>
                </a:lnTo>
                <a:lnTo>
                  <a:pt x="15" y="252"/>
                </a:lnTo>
                <a:lnTo>
                  <a:pt x="11" y="243"/>
                </a:lnTo>
                <a:lnTo>
                  <a:pt x="7" y="234"/>
                </a:lnTo>
                <a:lnTo>
                  <a:pt x="7" y="225"/>
                </a:lnTo>
                <a:lnTo>
                  <a:pt x="4" y="225"/>
                </a:lnTo>
                <a:close/>
              </a:path>
            </a:pathLst>
          </a:custGeom>
          <a:solidFill>
            <a:srgbClr val="939598"/>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92" name="Freeform 177">
            <a:extLst>
              <a:ext uri="{FF2B5EF4-FFF2-40B4-BE49-F238E27FC236}">
                <a16:creationId xmlns:a16="http://schemas.microsoft.com/office/drawing/2014/main" id="{69DCCDD4-5D4E-B0FC-E9C9-EB0AD9EACEBC}"/>
              </a:ext>
            </a:extLst>
          </p:cNvPr>
          <p:cNvSpPr>
            <a:spLocks/>
          </p:cNvSpPr>
          <p:nvPr/>
        </p:nvSpPr>
        <p:spPr bwMode="auto">
          <a:xfrm>
            <a:off x="3561687" y="2821582"/>
            <a:ext cx="1260078" cy="351725"/>
          </a:xfrm>
          <a:custGeom>
            <a:avLst/>
            <a:gdLst/>
            <a:ahLst/>
            <a:cxnLst>
              <a:cxn ang="0">
                <a:pos x="0" y="226"/>
              </a:cxn>
              <a:cxn ang="0">
                <a:pos x="2" y="237"/>
              </a:cxn>
              <a:cxn ang="0">
                <a:pos x="9" y="255"/>
              </a:cxn>
              <a:cxn ang="0">
                <a:pos x="26" y="271"/>
              </a:cxn>
              <a:cxn ang="0">
                <a:pos x="44" y="279"/>
              </a:cxn>
              <a:cxn ang="0">
                <a:pos x="784" y="281"/>
              </a:cxn>
              <a:cxn ang="0">
                <a:pos x="795" y="279"/>
              </a:cxn>
              <a:cxn ang="0">
                <a:pos x="815" y="271"/>
              </a:cxn>
              <a:cxn ang="0">
                <a:pos x="830" y="255"/>
              </a:cxn>
              <a:cxn ang="0">
                <a:pos x="839" y="237"/>
              </a:cxn>
              <a:cxn ang="0">
                <a:pos x="839" y="55"/>
              </a:cxn>
              <a:cxn ang="0">
                <a:pos x="839" y="44"/>
              </a:cxn>
              <a:cxn ang="0">
                <a:pos x="830" y="24"/>
              </a:cxn>
              <a:cxn ang="0">
                <a:pos x="815" y="9"/>
              </a:cxn>
              <a:cxn ang="0">
                <a:pos x="795" y="2"/>
              </a:cxn>
              <a:cxn ang="0">
                <a:pos x="55" y="0"/>
              </a:cxn>
              <a:cxn ang="0">
                <a:pos x="44" y="2"/>
              </a:cxn>
              <a:cxn ang="0">
                <a:pos x="26" y="9"/>
              </a:cxn>
              <a:cxn ang="0">
                <a:pos x="9" y="24"/>
              </a:cxn>
              <a:cxn ang="0">
                <a:pos x="2" y="44"/>
              </a:cxn>
              <a:cxn ang="0">
                <a:pos x="0" y="226"/>
              </a:cxn>
              <a:cxn ang="0">
                <a:pos x="7" y="226"/>
              </a:cxn>
              <a:cxn ang="0">
                <a:pos x="7" y="55"/>
              </a:cxn>
              <a:cxn ang="0">
                <a:pos x="11" y="37"/>
              </a:cxn>
              <a:cxn ang="0">
                <a:pos x="20" y="20"/>
              </a:cxn>
              <a:cxn ang="0">
                <a:pos x="27" y="15"/>
              </a:cxn>
              <a:cxn ang="0">
                <a:pos x="46" y="8"/>
              </a:cxn>
              <a:cxn ang="0">
                <a:pos x="784" y="6"/>
              </a:cxn>
              <a:cxn ang="0">
                <a:pos x="795" y="8"/>
              </a:cxn>
              <a:cxn ang="0">
                <a:pos x="812" y="15"/>
              </a:cxn>
              <a:cxn ang="0">
                <a:pos x="819" y="20"/>
              </a:cxn>
              <a:cxn ang="0">
                <a:pos x="830" y="37"/>
              </a:cxn>
              <a:cxn ang="0">
                <a:pos x="834" y="55"/>
              </a:cxn>
              <a:cxn ang="0">
                <a:pos x="834" y="226"/>
              </a:cxn>
              <a:cxn ang="0">
                <a:pos x="830" y="244"/>
              </a:cxn>
              <a:cxn ang="0">
                <a:pos x="819" y="260"/>
              </a:cxn>
              <a:cxn ang="0">
                <a:pos x="812" y="266"/>
              </a:cxn>
              <a:cxn ang="0">
                <a:pos x="795" y="273"/>
              </a:cxn>
              <a:cxn ang="0">
                <a:pos x="55" y="273"/>
              </a:cxn>
              <a:cxn ang="0">
                <a:pos x="46" y="273"/>
              </a:cxn>
              <a:cxn ang="0">
                <a:pos x="27" y="266"/>
              </a:cxn>
              <a:cxn ang="0">
                <a:pos x="20" y="260"/>
              </a:cxn>
              <a:cxn ang="0">
                <a:pos x="11" y="244"/>
              </a:cxn>
              <a:cxn ang="0">
                <a:pos x="7" y="226"/>
              </a:cxn>
            </a:cxnLst>
            <a:rect l="0" t="0" r="r" b="b"/>
            <a:pathLst>
              <a:path w="839" h="281">
                <a:moveTo>
                  <a:pt x="4" y="226"/>
                </a:moveTo>
                <a:lnTo>
                  <a:pt x="0" y="226"/>
                </a:lnTo>
                <a:lnTo>
                  <a:pt x="0" y="226"/>
                </a:lnTo>
                <a:lnTo>
                  <a:pt x="2" y="237"/>
                </a:lnTo>
                <a:lnTo>
                  <a:pt x="5" y="246"/>
                </a:lnTo>
                <a:lnTo>
                  <a:pt x="9" y="255"/>
                </a:lnTo>
                <a:lnTo>
                  <a:pt x="16" y="264"/>
                </a:lnTo>
                <a:lnTo>
                  <a:pt x="26" y="271"/>
                </a:lnTo>
                <a:lnTo>
                  <a:pt x="35" y="275"/>
                </a:lnTo>
                <a:lnTo>
                  <a:pt x="44" y="279"/>
                </a:lnTo>
                <a:lnTo>
                  <a:pt x="55" y="281"/>
                </a:lnTo>
                <a:lnTo>
                  <a:pt x="784" y="281"/>
                </a:lnTo>
                <a:lnTo>
                  <a:pt x="784" y="281"/>
                </a:lnTo>
                <a:lnTo>
                  <a:pt x="795" y="279"/>
                </a:lnTo>
                <a:lnTo>
                  <a:pt x="806" y="275"/>
                </a:lnTo>
                <a:lnTo>
                  <a:pt x="815" y="271"/>
                </a:lnTo>
                <a:lnTo>
                  <a:pt x="823" y="264"/>
                </a:lnTo>
                <a:lnTo>
                  <a:pt x="830" y="255"/>
                </a:lnTo>
                <a:lnTo>
                  <a:pt x="836" y="246"/>
                </a:lnTo>
                <a:lnTo>
                  <a:pt x="839" y="237"/>
                </a:lnTo>
                <a:lnTo>
                  <a:pt x="839" y="226"/>
                </a:lnTo>
                <a:lnTo>
                  <a:pt x="839" y="55"/>
                </a:lnTo>
                <a:lnTo>
                  <a:pt x="839" y="55"/>
                </a:lnTo>
                <a:lnTo>
                  <a:pt x="839" y="44"/>
                </a:lnTo>
                <a:lnTo>
                  <a:pt x="836" y="33"/>
                </a:lnTo>
                <a:lnTo>
                  <a:pt x="830" y="24"/>
                </a:lnTo>
                <a:lnTo>
                  <a:pt x="823" y="17"/>
                </a:lnTo>
                <a:lnTo>
                  <a:pt x="815" y="9"/>
                </a:lnTo>
                <a:lnTo>
                  <a:pt x="806" y="4"/>
                </a:lnTo>
                <a:lnTo>
                  <a:pt x="795" y="2"/>
                </a:lnTo>
                <a:lnTo>
                  <a:pt x="784" y="0"/>
                </a:lnTo>
                <a:lnTo>
                  <a:pt x="55" y="0"/>
                </a:lnTo>
                <a:lnTo>
                  <a:pt x="55" y="0"/>
                </a:lnTo>
                <a:lnTo>
                  <a:pt x="44" y="2"/>
                </a:lnTo>
                <a:lnTo>
                  <a:pt x="35" y="4"/>
                </a:lnTo>
                <a:lnTo>
                  <a:pt x="26" y="9"/>
                </a:lnTo>
                <a:lnTo>
                  <a:pt x="16" y="17"/>
                </a:lnTo>
                <a:lnTo>
                  <a:pt x="9" y="24"/>
                </a:lnTo>
                <a:lnTo>
                  <a:pt x="5" y="33"/>
                </a:lnTo>
                <a:lnTo>
                  <a:pt x="2" y="44"/>
                </a:lnTo>
                <a:lnTo>
                  <a:pt x="0" y="55"/>
                </a:lnTo>
                <a:lnTo>
                  <a:pt x="0" y="226"/>
                </a:lnTo>
                <a:lnTo>
                  <a:pt x="4" y="226"/>
                </a:lnTo>
                <a:lnTo>
                  <a:pt x="7" y="226"/>
                </a:lnTo>
                <a:lnTo>
                  <a:pt x="7" y="55"/>
                </a:lnTo>
                <a:lnTo>
                  <a:pt x="7" y="55"/>
                </a:lnTo>
                <a:lnTo>
                  <a:pt x="7" y="46"/>
                </a:lnTo>
                <a:lnTo>
                  <a:pt x="11" y="37"/>
                </a:lnTo>
                <a:lnTo>
                  <a:pt x="15" y="28"/>
                </a:lnTo>
                <a:lnTo>
                  <a:pt x="20" y="20"/>
                </a:lnTo>
                <a:lnTo>
                  <a:pt x="20" y="20"/>
                </a:lnTo>
                <a:lnTo>
                  <a:pt x="27" y="15"/>
                </a:lnTo>
                <a:lnTo>
                  <a:pt x="37" y="9"/>
                </a:lnTo>
                <a:lnTo>
                  <a:pt x="46" y="8"/>
                </a:lnTo>
                <a:lnTo>
                  <a:pt x="55" y="6"/>
                </a:lnTo>
                <a:lnTo>
                  <a:pt x="784" y="6"/>
                </a:lnTo>
                <a:lnTo>
                  <a:pt x="784" y="6"/>
                </a:lnTo>
                <a:lnTo>
                  <a:pt x="795" y="8"/>
                </a:lnTo>
                <a:lnTo>
                  <a:pt x="804" y="9"/>
                </a:lnTo>
                <a:lnTo>
                  <a:pt x="812" y="15"/>
                </a:lnTo>
                <a:lnTo>
                  <a:pt x="819" y="20"/>
                </a:lnTo>
                <a:lnTo>
                  <a:pt x="819" y="20"/>
                </a:lnTo>
                <a:lnTo>
                  <a:pt x="825" y="28"/>
                </a:lnTo>
                <a:lnTo>
                  <a:pt x="830" y="37"/>
                </a:lnTo>
                <a:lnTo>
                  <a:pt x="832" y="46"/>
                </a:lnTo>
                <a:lnTo>
                  <a:pt x="834" y="55"/>
                </a:lnTo>
                <a:lnTo>
                  <a:pt x="834" y="226"/>
                </a:lnTo>
                <a:lnTo>
                  <a:pt x="834" y="226"/>
                </a:lnTo>
                <a:lnTo>
                  <a:pt x="832" y="235"/>
                </a:lnTo>
                <a:lnTo>
                  <a:pt x="830" y="244"/>
                </a:lnTo>
                <a:lnTo>
                  <a:pt x="825" y="253"/>
                </a:lnTo>
                <a:lnTo>
                  <a:pt x="819" y="260"/>
                </a:lnTo>
                <a:lnTo>
                  <a:pt x="819" y="260"/>
                </a:lnTo>
                <a:lnTo>
                  <a:pt x="812" y="266"/>
                </a:lnTo>
                <a:lnTo>
                  <a:pt x="804" y="270"/>
                </a:lnTo>
                <a:lnTo>
                  <a:pt x="795" y="273"/>
                </a:lnTo>
                <a:lnTo>
                  <a:pt x="784" y="273"/>
                </a:lnTo>
                <a:lnTo>
                  <a:pt x="55" y="273"/>
                </a:lnTo>
                <a:lnTo>
                  <a:pt x="55" y="273"/>
                </a:lnTo>
                <a:lnTo>
                  <a:pt x="46" y="273"/>
                </a:lnTo>
                <a:lnTo>
                  <a:pt x="37" y="270"/>
                </a:lnTo>
                <a:lnTo>
                  <a:pt x="27" y="266"/>
                </a:lnTo>
                <a:lnTo>
                  <a:pt x="20" y="260"/>
                </a:lnTo>
                <a:lnTo>
                  <a:pt x="20" y="260"/>
                </a:lnTo>
                <a:lnTo>
                  <a:pt x="15" y="253"/>
                </a:lnTo>
                <a:lnTo>
                  <a:pt x="11" y="244"/>
                </a:lnTo>
                <a:lnTo>
                  <a:pt x="7" y="235"/>
                </a:lnTo>
                <a:lnTo>
                  <a:pt x="7" y="226"/>
                </a:lnTo>
                <a:lnTo>
                  <a:pt x="4" y="226"/>
                </a:lnTo>
                <a:close/>
              </a:path>
            </a:pathLst>
          </a:custGeom>
          <a:solidFill>
            <a:srgbClr val="939598"/>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93" name="Freeform 178">
            <a:extLst>
              <a:ext uri="{FF2B5EF4-FFF2-40B4-BE49-F238E27FC236}">
                <a16:creationId xmlns:a16="http://schemas.microsoft.com/office/drawing/2014/main" id="{D8BDD7A4-4688-E688-B350-4879B29D4ACA}"/>
              </a:ext>
            </a:extLst>
          </p:cNvPr>
          <p:cNvSpPr>
            <a:spLocks/>
          </p:cNvSpPr>
          <p:nvPr/>
        </p:nvSpPr>
        <p:spPr bwMode="auto">
          <a:xfrm>
            <a:off x="3561687" y="3289713"/>
            <a:ext cx="1260078" cy="349222"/>
          </a:xfrm>
          <a:custGeom>
            <a:avLst/>
            <a:gdLst/>
            <a:ahLst/>
            <a:cxnLst>
              <a:cxn ang="0">
                <a:pos x="0" y="224"/>
              </a:cxn>
              <a:cxn ang="0">
                <a:pos x="2" y="235"/>
              </a:cxn>
              <a:cxn ang="0">
                <a:pos x="9" y="255"/>
              </a:cxn>
              <a:cxn ang="0">
                <a:pos x="26" y="269"/>
              </a:cxn>
              <a:cxn ang="0">
                <a:pos x="44" y="279"/>
              </a:cxn>
              <a:cxn ang="0">
                <a:pos x="784" y="279"/>
              </a:cxn>
              <a:cxn ang="0">
                <a:pos x="795" y="279"/>
              </a:cxn>
              <a:cxn ang="0">
                <a:pos x="815" y="269"/>
              </a:cxn>
              <a:cxn ang="0">
                <a:pos x="830" y="255"/>
              </a:cxn>
              <a:cxn ang="0">
                <a:pos x="839" y="235"/>
              </a:cxn>
              <a:cxn ang="0">
                <a:pos x="839" y="55"/>
              </a:cxn>
              <a:cxn ang="0">
                <a:pos x="839" y="44"/>
              </a:cxn>
              <a:cxn ang="0">
                <a:pos x="830" y="24"/>
              </a:cxn>
              <a:cxn ang="0">
                <a:pos x="815" y="9"/>
              </a:cxn>
              <a:cxn ang="0">
                <a:pos x="795" y="0"/>
              </a:cxn>
              <a:cxn ang="0">
                <a:pos x="55" y="0"/>
              </a:cxn>
              <a:cxn ang="0">
                <a:pos x="44" y="0"/>
              </a:cxn>
              <a:cxn ang="0">
                <a:pos x="26" y="9"/>
              </a:cxn>
              <a:cxn ang="0">
                <a:pos x="9" y="24"/>
              </a:cxn>
              <a:cxn ang="0">
                <a:pos x="2" y="44"/>
              </a:cxn>
              <a:cxn ang="0">
                <a:pos x="0" y="224"/>
              </a:cxn>
              <a:cxn ang="0">
                <a:pos x="7" y="224"/>
              </a:cxn>
              <a:cxn ang="0">
                <a:pos x="7" y="55"/>
              </a:cxn>
              <a:cxn ang="0">
                <a:pos x="11" y="35"/>
              </a:cxn>
              <a:cxn ang="0">
                <a:pos x="20" y="20"/>
              </a:cxn>
              <a:cxn ang="0">
                <a:pos x="27" y="15"/>
              </a:cxn>
              <a:cxn ang="0">
                <a:pos x="46" y="7"/>
              </a:cxn>
              <a:cxn ang="0">
                <a:pos x="784" y="6"/>
              </a:cxn>
              <a:cxn ang="0">
                <a:pos x="795" y="7"/>
              </a:cxn>
              <a:cxn ang="0">
                <a:pos x="812" y="15"/>
              </a:cxn>
              <a:cxn ang="0">
                <a:pos x="819" y="20"/>
              </a:cxn>
              <a:cxn ang="0">
                <a:pos x="830" y="35"/>
              </a:cxn>
              <a:cxn ang="0">
                <a:pos x="834" y="55"/>
              </a:cxn>
              <a:cxn ang="0">
                <a:pos x="834" y="224"/>
              </a:cxn>
              <a:cxn ang="0">
                <a:pos x="830" y="244"/>
              </a:cxn>
              <a:cxn ang="0">
                <a:pos x="819" y="258"/>
              </a:cxn>
              <a:cxn ang="0">
                <a:pos x="812" y="264"/>
              </a:cxn>
              <a:cxn ang="0">
                <a:pos x="795" y="271"/>
              </a:cxn>
              <a:cxn ang="0">
                <a:pos x="55" y="273"/>
              </a:cxn>
              <a:cxn ang="0">
                <a:pos x="46" y="271"/>
              </a:cxn>
              <a:cxn ang="0">
                <a:pos x="27" y="264"/>
              </a:cxn>
              <a:cxn ang="0">
                <a:pos x="20" y="258"/>
              </a:cxn>
              <a:cxn ang="0">
                <a:pos x="11" y="244"/>
              </a:cxn>
              <a:cxn ang="0">
                <a:pos x="7" y="224"/>
              </a:cxn>
            </a:cxnLst>
            <a:rect l="0" t="0" r="r" b="b"/>
            <a:pathLst>
              <a:path w="839" h="279">
                <a:moveTo>
                  <a:pt x="4" y="224"/>
                </a:moveTo>
                <a:lnTo>
                  <a:pt x="0" y="224"/>
                </a:lnTo>
                <a:lnTo>
                  <a:pt x="0" y="224"/>
                </a:lnTo>
                <a:lnTo>
                  <a:pt x="2" y="235"/>
                </a:lnTo>
                <a:lnTo>
                  <a:pt x="5" y="246"/>
                </a:lnTo>
                <a:lnTo>
                  <a:pt x="9" y="255"/>
                </a:lnTo>
                <a:lnTo>
                  <a:pt x="16" y="264"/>
                </a:lnTo>
                <a:lnTo>
                  <a:pt x="26" y="269"/>
                </a:lnTo>
                <a:lnTo>
                  <a:pt x="35" y="275"/>
                </a:lnTo>
                <a:lnTo>
                  <a:pt x="44" y="279"/>
                </a:lnTo>
                <a:lnTo>
                  <a:pt x="55" y="279"/>
                </a:lnTo>
                <a:lnTo>
                  <a:pt x="784" y="279"/>
                </a:lnTo>
                <a:lnTo>
                  <a:pt x="784" y="279"/>
                </a:lnTo>
                <a:lnTo>
                  <a:pt x="795" y="279"/>
                </a:lnTo>
                <a:lnTo>
                  <a:pt x="806" y="275"/>
                </a:lnTo>
                <a:lnTo>
                  <a:pt x="815" y="269"/>
                </a:lnTo>
                <a:lnTo>
                  <a:pt x="823" y="264"/>
                </a:lnTo>
                <a:lnTo>
                  <a:pt x="830" y="255"/>
                </a:lnTo>
                <a:lnTo>
                  <a:pt x="836" y="246"/>
                </a:lnTo>
                <a:lnTo>
                  <a:pt x="839" y="235"/>
                </a:lnTo>
                <a:lnTo>
                  <a:pt x="839" y="224"/>
                </a:lnTo>
                <a:lnTo>
                  <a:pt x="839" y="55"/>
                </a:lnTo>
                <a:lnTo>
                  <a:pt x="839" y="55"/>
                </a:lnTo>
                <a:lnTo>
                  <a:pt x="839" y="44"/>
                </a:lnTo>
                <a:lnTo>
                  <a:pt x="836" y="33"/>
                </a:lnTo>
                <a:lnTo>
                  <a:pt x="830" y="24"/>
                </a:lnTo>
                <a:lnTo>
                  <a:pt x="823" y="15"/>
                </a:lnTo>
                <a:lnTo>
                  <a:pt x="815" y="9"/>
                </a:lnTo>
                <a:lnTo>
                  <a:pt x="806" y="4"/>
                </a:lnTo>
                <a:lnTo>
                  <a:pt x="795" y="0"/>
                </a:lnTo>
                <a:lnTo>
                  <a:pt x="784" y="0"/>
                </a:lnTo>
                <a:lnTo>
                  <a:pt x="55" y="0"/>
                </a:lnTo>
                <a:lnTo>
                  <a:pt x="55" y="0"/>
                </a:lnTo>
                <a:lnTo>
                  <a:pt x="44" y="0"/>
                </a:lnTo>
                <a:lnTo>
                  <a:pt x="35" y="4"/>
                </a:lnTo>
                <a:lnTo>
                  <a:pt x="26" y="9"/>
                </a:lnTo>
                <a:lnTo>
                  <a:pt x="16" y="15"/>
                </a:lnTo>
                <a:lnTo>
                  <a:pt x="9" y="24"/>
                </a:lnTo>
                <a:lnTo>
                  <a:pt x="5" y="33"/>
                </a:lnTo>
                <a:lnTo>
                  <a:pt x="2" y="44"/>
                </a:lnTo>
                <a:lnTo>
                  <a:pt x="0" y="55"/>
                </a:lnTo>
                <a:lnTo>
                  <a:pt x="0" y="224"/>
                </a:lnTo>
                <a:lnTo>
                  <a:pt x="4" y="224"/>
                </a:lnTo>
                <a:lnTo>
                  <a:pt x="7" y="224"/>
                </a:lnTo>
                <a:lnTo>
                  <a:pt x="7" y="55"/>
                </a:lnTo>
                <a:lnTo>
                  <a:pt x="7" y="55"/>
                </a:lnTo>
                <a:lnTo>
                  <a:pt x="7" y="44"/>
                </a:lnTo>
                <a:lnTo>
                  <a:pt x="11" y="35"/>
                </a:lnTo>
                <a:lnTo>
                  <a:pt x="15" y="28"/>
                </a:lnTo>
                <a:lnTo>
                  <a:pt x="20" y="20"/>
                </a:lnTo>
                <a:lnTo>
                  <a:pt x="20" y="20"/>
                </a:lnTo>
                <a:lnTo>
                  <a:pt x="27" y="15"/>
                </a:lnTo>
                <a:lnTo>
                  <a:pt x="37" y="9"/>
                </a:lnTo>
                <a:lnTo>
                  <a:pt x="46" y="7"/>
                </a:lnTo>
                <a:lnTo>
                  <a:pt x="55" y="6"/>
                </a:lnTo>
                <a:lnTo>
                  <a:pt x="784" y="6"/>
                </a:lnTo>
                <a:lnTo>
                  <a:pt x="784" y="6"/>
                </a:lnTo>
                <a:lnTo>
                  <a:pt x="795" y="7"/>
                </a:lnTo>
                <a:lnTo>
                  <a:pt x="804" y="9"/>
                </a:lnTo>
                <a:lnTo>
                  <a:pt x="812" y="15"/>
                </a:lnTo>
                <a:lnTo>
                  <a:pt x="819" y="20"/>
                </a:lnTo>
                <a:lnTo>
                  <a:pt x="819" y="20"/>
                </a:lnTo>
                <a:lnTo>
                  <a:pt x="825" y="28"/>
                </a:lnTo>
                <a:lnTo>
                  <a:pt x="830" y="35"/>
                </a:lnTo>
                <a:lnTo>
                  <a:pt x="832" y="44"/>
                </a:lnTo>
                <a:lnTo>
                  <a:pt x="834" y="55"/>
                </a:lnTo>
                <a:lnTo>
                  <a:pt x="834" y="224"/>
                </a:lnTo>
                <a:lnTo>
                  <a:pt x="834" y="224"/>
                </a:lnTo>
                <a:lnTo>
                  <a:pt x="832" y="235"/>
                </a:lnTo>
                <a:lnTo>
                  <a:pt x="830" y="244"/>
                </a:lnTo>
                <a:lnTo>
                  <a:pt x="825" y="251"/>
                </a:lnTo>
                <a:lnTo>
                  <a:pt x="819" y="258"/>
                </a:lnTo>
                <a:lnTo>
                  <a:pt x="819" y="258"/>
                </a:lnTo>
                <a:lnTo>
                  <a:pt x="812" y="264"/>
                </a:lnTo>
                <a:lnTo>
                  <a:pt x="804" y="269"/>
                </a:lnTo>
                <a:lnTo>
                  <a:pt x="795" y="271"/>
                </a:lnTo>
                <a:lnTo>
                  <a:pt x="784" y="273"/>
                </a:lnTo>
                <a:lnTo>
                  <a:pt x="55" y="273"/>
                </a:lnTo>
                <a:lnTo>
                  <a:pt x="55" y="273"/>
                </a:lnTo>
                <a:lnTo>
                  <a:pt x="46" y="271"/>
                </a:lnTo>
                <a:lnTo>
                  <a:pt x="37" y="269"/>
                </a:lnTo>
                <a:lnTo>
                  <a:pt x="27" y="264"/>
                </a:lnTo>
                <a:lnTo>
                  <a:pt x="20" y="258"/>
                </a:lnTo>
                <a:lnTo>
                  <a:pt x="20" y="258"/>
                </a:lnTo>
                <a:lnTo>
                  <a:pt x="15" y="251"/>
                </a:lnTo>
                <a:lnTo>
                  <a:pt x="11" y="244"/>
                </a:lnTo>
                <a:lnTo>
                  <a:pt x="7" y="235"/>
                </a:lnTo>
                <a:lnTo>
                  <a:pt x="7" y="224"/>
                </a:lnTo>
                <a:lnTo>
                  <a:pt x="4" y="224"/>
                </a:lnTo>
                <a:close/>
              </a:path>
            </a:pathLst>
          </a:custGeom>
          <a:solidFill>
            <a:srgbClr val="939598"/>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94" name="Freeform 179">
            <a:extLst>
              <a:ext uri="{FF2B5EF4-FFF2-40B4-BE49-F238E27FC236}">
                <a16:creationId xmlns:a16="http://schemas.microsoft.com/office/drawing/2014/main" id="{47C3DC03-66AF-8C90-8C12-EE756D0D0BEE}"/>
              </a:ext>
            </a:extLst>
          </p:cNvPr>
          <p:cNvSpPr>
            <a:spLocks/>
          </p:cNvSpPr>
          <p:nvPr/>
        </p:nvSpPr>
        <p:spPr bwMode="auto">
          <a:xfrm>
            <a:off x="3561687" y="3755343"/>
            <a:ext cx="1260078" cy="350473"/>
          </a:xfrm>
          <a:custGeom>
            <a:avLst/>
            <a:gdLst/>
            <a:ahLst/>
            <a:cxnLst>
              <a:cxn ang="0">
                <a:pos x="0" y="225"/>
              </a:cxn>
              <a:cxn ang="0">
                <a:pos x="2" y="236"/>
              </a:cxn>
              <a:cxn ang="0">
                <a:pos x="9" y="257"/>
              </a:cxn>
              <a:cxn ang="0">
                <a:pos x="26" y="271"/>
              </a:cxn>
              <a:cxn ang="0">
                <a:pos x="44" y="279"/>
              </a:cxn>
              <a:cxn ang="0">
                <a:pos x="784" y="280"/>
              </a:cxn>
              <a:cxn ang="0">
                <a:pos x="795" y="279"/>
              </a:cxn>
              <a:cxn ang="0">
                <a:pos x="815" y="271"/>
              </a:cxn>
              <a:cxn ang="0">
                <a:pos x="830" y="257"/>
              </a:cxn>
              <a:cxn ang="0">
                <a:pos x="839" y="236"/>
              </a:cxn>
              <a:cxn ang="0">
                <a:pos x="839" y="55"/>
              </a:cxn>
              <a:cxn ang="0">
                <a:pos x="839" y="44"/>
              </a:cxn>
              <a:cxn ang="0">
                <a:pos x="830" y="24"/>
              </a:cxn>
              <a:cxn ang="0">
                <a:pos x="815" y="9"/>
              </a:cxn>
              <a:cxn ang="0">
                <a:pos x="795" y="2"/>
              </a:cxn>
              <a:cxn ang="0">
                <a:pos x="55" y="0"/>
              </a:cxn>
              <a:cxn ang="0">
                <a:pos x="44" y="2"/>
              </a:cxn>
              <a:cxn ang="0">
                <a:pos x="26" y="9"/>
              </a:cxn>
              <a:cxn ang="0">
                <a:pos x="9" y="24"/>
              </a:cxn>
              <a:cxn ang="0">
                <a:pos x="2" y="44"/>
              </a:cxn>
              <a:cxn ang="0">
                <a:pos x="0" y="225"/>
              </a:cxn>
              <a:cxn ang="0">
                <a:pos x="7" y="225"/>
              </a:cxn>
              <a:cxn ang="0">
                <a:pos x="7" y="55"/>
              </a:cxn>
              <a:cxn ang="0">
                <a:pos x="11" y="37"/>
              </a:cxn>
              <a:cxn ang="0">
                <a:pos x="20" y="20"/>
              </a:cxn>
              <a:cxn ang="0">
                <a:pos x="27" y="15"/>
              </a:cxn>
              <a:cxn ang="0">
                <a:pos x="46" y="7"/>
              </a:cxn>
              <a:cxn ang="0">
                <a:pos x="784" y="7"/>
              </a:cxn>
              <a:cxn ang="0">
                <a:pos x="795" y="7"/>
              </a:cxn>
              <a:cxn ang="0">
                <a:pos x="812" y="15"/>
              </a:cxn>
              <a:cxn ang="0">
                <a:pos x="819" y="20"/>
              </a:cxn>
              <a:cxn ang="0">
                <a:pos x="830" y="37"/>
              </a:cxn>
              <a:cxn ang="0">
                <a:pos x="834" y="55"/>
              </a:cxn>
              <a:cxn ang="0">
                <a:pos x="834" y="225"/>
              </a:cxn>
              <a:cxn ang="0">
                <a:pos x="830" y="244"/>
              </a:cxn>
              <a:cxn ang="0">
                <a:pos x="819" y="260"/>
              </a:cxn>
              <a:cxn ang="0">
                <a:pos x="812" y="266"/>
              </a:cxn>
              <a:cxn ang="0">
                <a:pos x="795" y="273"/>
              </a:cxn>
              <a:cxn ang="0">
                <a:pos x="55" y="275"/>
              </a:cxn>
              <a:cxn ang="0">
                <a:pos x="46" y="273"/>
              </a:cxn>
              <a:cxn ang="0">
                <a:pos x="27" y="266"/>
              </a:cxn>
              <a:cxn ang="0">
                <a:pos x="20" y="260"/>
              </a:cxn>
              <a:cxn ang="0">
                <a:pos x="11" y="244"/>
              </a:cxn>
              <a:cxn ang="0">
                <a:pos x="7" y="225"/>
              </a:cxn>
            </a:cxnLst>
            <a:rect l="0" t="0" r="r" b="b"/>
            <a:pathLst>
              <a:path w="839" h="280">
                <a:moveTo>
                  <a:pt x="4" y="225"/>
                </a:moveTo>
                <a:lnTo>
                  <a:pt x="0" y="225"/>
                </a:lnTo>
                <a:lnTo>
                  <a:pt x="0" y="225"/>
                </a:lnTo>
                <a:lnTo>
                  <a:pt x="2" y="236"/>
                </a:lnTo>
                <a:lnTo>
                  <a:pt x="5" y="247"/>
                </a:lnTo>
                <a:lnTo>
                  <a:pt x="9" y="257"/>
                </a:lnTo>
                <a:lnTo>
                  <a:pt x="16" y="264"/>
                </a:lnTo>
                <a:lnTo>
                  <a:pt x="26" y="271"/>
                </a:lnTo>
                <a:lnTo>
                  <a:pt x="35" y="277"/>
                </a:lnTo>
                <a:lnTo>
                  <a:pt x="44" y="279"/>
                </a:lnTo>
                <a:lnTo>
                  <a:pt x="55" y="280"/>
                </a:lnTo>
                <a:lnTo>
                  <a:pt x="784" y="280"/>
                </a:lnTo>
                <a:lnTo>
                  <a:pt x="784" y="280"/>
                </a:lnTo>
                <a:lnTo>
                  <a:pt x="795" y="279"/>
                </a:lnTo>
                <a:lnTo>
                  <a:pt x="806" y="277"/>
                </a:lnTo>
                <a:lnTo>
                  <a:pt x="815" y="271"/>
                </a:lnTo>
                <a:lnTo>
                  <a:pt x="823" y="264"/>
                </a:lnTo>
                <a:lnTo>
                  <a:pt x="830" y="257"/>
                </a:lnTo>
                <a:lnTo>
                  <a:pt x="836" y="247"/>
                </a:lnTo>
                <a:lnTo>
                  <a:pt x="839" y="236"/>
                </a:lnTo>
                <a:lnTo>
                  <a:pt x="839" y="225"/>
                </a:lnTo>
                <a:lnTo>
                  <a:pt x="839" y="55"/>
                </a:lnTo>
                <a:lnTo>
                  <a:pt x="839" y="55"/>
                </a:lnTo>
                <a:lnTo>
                  <a:pt x="839" y="44"/>
                </a:lnTo>
                <a:lnTo>
                  <a:pt x="836" y="35"/>
                </a:lnTo>
                <a:lnTo>
                  <a:pt x="830" y="24"/>
                </a:lnTo>
                <a:lnTo>
                  <a:pt x="823" y="17"/>
                </a:lnTo>
                <a:lnTo>
                  <a:pt x="815" y="9"/>
                </a:lnTo>
                <a:lnTo>
                  <a:pt x="806" y="6"/>
                </a:lnTo>
                <a:lnTo>
                  <a:pt x="795" y="2"/>
                </a:lnTo>
                <a:lnTo>
                  <a:pt x="784" y="0"/>
                </a:lnTo>
                <a:lnTo>
                  <a:pt x="55" y="0"/>
                </a:lnTo>
                <a:lnTo>
                  <a:pt x="55" y="0"/>
                </a:lnTo>
                <a:lnTo>
                  <a:pt x="44" y="2"/>
                </a:lnTo>
                <a:lnTo>
                  <a:pt x="35" y="6"/>
                </a:lnTo>
                <a:lnTo>
                  <a:pt x="26" y="9"/>
                </a:lnTo>
                <a:lnTo>
                  <a:pt x="16" y="17"/>
                </a:lnTo>
                <a:lnTo>
                  <a:pt x="9" y="24"/>
                </a:lnTo>
                <a:lnTo>
                  <a:pt x="5" y="35"/>
                </a:lnTo>
                <a:lnTo>
                  <a:pt x="2" y="44"/>
                </a:lnTo>
                <a:lnTo>
                  <a:pt x="0" y="55"/>
                </a:lnTo>
                <a:lnTo>
                  <a:pt x="0" y="225"/>
                </a:lnTo>
                <a:lnTo>
                  <a:pt x="4" y="225"/>
                </a:lnTo>
                <a:lnTo>
                  <a:pt x="7" y="225"/>
                </a:lnTo>
                <a:lnTo>
                  <a:pt x="7" y="55"/>
                </a:lnTo>
                <a:lnTo>
                  <a:pt x="7" y="55"/>
                </a:lnTo>
                <a:lnTo>
                  <a:pt x="7" y="46"/>
                </a:lnTo>
                <a:lnTo>
                  <a:pt x="11" y="37"/>
                </a:lnTo>
                <a:lnTo>
                  <a:pt x="15" y="28"/>
                </a:lnTo>
                <a:lnTo>
                  <a:pt x="20" y="20"/>
                </a:lnTo>
                <a:lnTo>
                  <a:pt x="20" y="20"/>
                </a:lnTo>
                <a:lnTo>
                  <a:pt x="27" y="15"/>
                </a:lnTo>
                <a:lnTo>
                  <a:pt x="37" y="11"/>
                </a:lnTo>
                <a:lnTo>
                  <a:pt x="46" y="7"/>
                </a:lnTo>
                <a:lnTo>
                  <a:pt x="55" y="7"/>
                </a:lnTo>
                <a:lnTo>
                  <a:pt x="784" y="7"/>
                </a:lnTo>
                <a:lnTo>
                  <a:pt x="784" y="7"/>
                </a:lnTo>
                <a:lnTo>
                  <a:pt x="795" y="7"/>
                </a:lnTo>
                <a:lnTo>
                  <a:pt x="804" y="11"/>
                </a:lnTo>
                <a:lnTo>
                  <a:pt x="812" y="15"/>
                </a:lnTo>
                <a:lnTo>
                  <a:pt x="819" y="20"/>
                </a:lnTo>
                <a:lnTo>
                  <a:pt x="819" y="20"/>
                </a:lnTo>
                <a:lnTo>
                  <a:pt x="825" y="28"/>
                </a:lnTo>
                <a:lnTo>
                  <a:pt x="830" y="37"/>
                </a:lnTo>
                <a:lnTo>
                  <a:pt x="832" y="46"/>
                </a:lnTo>
                <a:lnTo>
                  <a:pt x="834" y="55"/>
                </a:lnTo>
                <a:lnTo>
                  <a:pt x="834" y="225"/>
                </a:lnTo>
                <a:lnTo>
                  <a:pt x="834" y="225"/>
                </a:lnTo>
                <a:lnTo>
                  <a:pt x="832" y="235"/>
                </a:lnTo>
                <a:lnTo>
                  <a:pt x="830" y="244"/>
                </a:lnTo>
                <a:lnTo>
                  <a:pt x="825" y="253"/>
                </a:lnTo>
                <a:lnTo>
                  <a:pt x="819" y="260"/>
                </a:lnTo>
                <a:lnTo>
                  <a:pt x="819" y="260"/>
                </a:lnTo>
                <a:lnTo>
                  <a:pt x="812" y="266"/>
                </a:lnTo>
                <a:lnTo>
                  <a:pt x="804" y="269"/>
                </a:lnTo>
                <a:lnTo>
                  <a:pt x="795" y="273"/>
                </a:lnTo>
                <a:lnTo>
                  <a:pt x="784" y="275"/>
                </a:lnTo>
                <a:lnTo>
                  <a:pt x="55" y="275"/>
                </a:lnTo>
                <a:lnTo>
                  <a:pt x="55" y="275"/>
                </a:lnTo>
                <a:lnTo>
                  <a:pt x="46" y="273"/>
                </a:lnTo>
                <a:lnTo>
                  <a:pt x="37" y="269"/>
                </a:lnTo>
                <a:lnTo>
                  <a:pt x="27" y="266"/>
                </a:lnTo>
                <a:lnTo>
                  <a:pt x="20" y="260"/>
                </a:lnTo>
                <a:lnTo>
                  <a:pt x="20" y="260"/>
                </a:lnTo>
                <a:lnTo>
                  <a:pt x="15" y="253"/>
                </a:lnTo>
                <a:lnTo>
                  <a:pt x="11" y="244"/>
                </a:lnTo>
                <a:lnTo>
                  <a:pt x="7" y="235"/>
                </a:lnTo>
                <a:lnTo>
                  <a:pt x="7" y="225"/>
                </a:lnTo>
                <a:lnTo>
                  <a:pt x="4" y="225"/>
                </a:lnTo>
                <a:close/>
              </a:path>
            </a:pathLst>
          </a:custGeom>
          <a:solidFill>
            <a:srgbClr val="939598"/>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95" name="Freeform 180">
            <a:extLst>
              <a:ext uri="{FF2B5EF4-FFF2-40B4-BE49-F238E27FC236}">
                <a16:creationId xmlns:a16="http://schemas.microsoft.com/office/drawing/2014/main" id="{823F9108-981A-4EDA-7F83-E6512863E341}"/>
              </a:ext>
            </a:extLst>
          </p:cNvPr>
          <p:cNvSpPr>
            <a:spLocks/>
          </p:cNvSpPr>
          <p:nvPr/>
        </p:nvSpPr>
        <p:spPr bwMode="auto">
          <a:xfrm>
            <a:off x="3561687" y="4223475"/>
            <a:ext cx="1260078" cy="350473"/>
          </a:xfrm>
          <a:custGeom>
            <a:avLst/>
            <a:gdLst/>
            <a:ahLst/>
            <a:cxnLst>
              <a:cxn ang="0">
                <a:pos x="0" y="225"/>
              </a:cxn>
              <a:cxn ang="0">
                <a:pos x="2" y="236"/>
              </a:cxn>
              <a:cxn ang="0">
                <a:pos x="9" y="254"/>
              </a:cxn>
              <a:cxn ang="0">
                <a:pos x="26" y="269"/>
              </a:cxn>
              <a:cxn ang="0">
                <a:pos x="44" y="278"/>
              </a:cxn>
              <a:cxn ang="0">
                <a:pos x="784" y="280"/>
              </a:cxn>
              <a:cxn ang="0">
                <a:pos x="795" y="278"/>
              </a:cxn>
              <a:cxn ang="0">
                <a:pos x="815" y="269"/>
              </a:cxn>
              <a:cxn ang="0">
                <a:pos x="830" y="254"/>
              </a:cxn>
              <a:cxn ang="0">
                <a:pos x="839" y="236"/>
              </a:cxn>
              <a:cxn ang="0">
                <a:pos x="839" y="55"/>
              </a:cxn>
              <a:cxn ang="0">
                <a:pos x="839" y="44"/>
              </a:cxn>
              <a:cxn ang="0">
                <a:pos x="830" y="24"/>
              </a:cxn>
              <a:cxn ang="0">
                <a:pos x="815" y="9"/>
              </a:cxn>
              <a:cxn ang="0">
                <a:pos x="795" y="2"/>
              </a:cxn>
              <a:cxn ang="0">
                <a:pos x="55" y="0"/>
              </a:cxn>
              <a:cxn ang="0">
                <a:pos x="44" y="2"/>
              </a:cxn>
              <a:cxn ang="0">
                <a:pos x="26" y="9"/>
              </a:cxn>
              <a:cxn ang="0">
                <a:pos x="9" y="24"/>
              </a:cxn>
              <a:cxn ang="0">
                <a:pos x="2" y="44"/>
              </a:cxn>
              <a:cxn ang="0">
                <a:pos x="0" y="225"/>
              </a:cxn>
              <a:cxn ang="0">
                <a:pos x="7" y="225"/>
              </a:cxn>
              <a:cxn ang="0">
                <a:pos x="7" y="55"/>
              </a:cxn>
              <a:cxn ang="0">
                <a:pos x="11" y="35"/>
              </a:cxn>
              <a:cxn ang="0">
                <a:pos x="20" y="20"/>
              </a:cxn>
              <a:cxn ang="0">
                <a:pos x="27" y="14"/>
              </a:cxn>
              <a:cxn ang="0">
                <a:pos x="46" y="7"/>
              </a:cxn>
              <a:cxn ang="0">
                <a:pos x="784" y="5"/>
              </a:cxn>
              <a:cxn ang="0">
                <a:pos x="795" y="7"/>
              </a:cxn>
              <a:cxn ang="0">
                <a:pos x="812" y="14"/>
              </a:cxn>
              <a:cxn ang="0">
                <a:pos x="819" y="20"/>
              </a:cxn>
              <a:cxn ang="0">
                <a:pos x="830" y="35"/>
              </a:cxn>
              <a:cxn ang="0">
                <a:pos x="834" y="55"/>
              </a:cxn>
              <a:cxn ang="0">
                <a:pos x="834" y="225"/>
              </a:cxn>
              <a:cxn ang="0">
                <a:pos x="830" y="243"/>
              </a:cxn>
              <a:cxn ang="0">
                <a:pos x="819" y="258"/>
              </a:cxn>
              <a:cxn ang="0">
                <a:pos x="812" y="265"/>
              </a:cxn>
              <a:cxn ang="0">
                <a:pos x="795" y="273"/>
              </a:cxn>
              <a:cxn ang="0">
                <a:pos x="55" y="273"/>
              </a:cxn>
              <a:cxn ang="0">
                <a:pos x="46" y="273"/>
              </a:cxn>
              <a:cxn ang="0">
                <a:pos x="27" y="265"/>
              </a:cxn>
              <a:cxn ang="0">
                <a:pos x="20" y="258"/>
              </a:cxn>
              <a:cxn ang="0">
                <a:pos x="11" y="243"/>
              </a:cxn>
              <a:cxn ang="0">
                <a:pos x="7" y="225"/>
              </a:cxn>
            </a:cxnLst>
            <a:rect l="0" t="0" r="r" b="b"/>
            <a:pathLst>
              <a:path w="839" h="280">
                <a:moveTo>
                  <a:pt x="4" y="225"/>
                </a:moveTo>
                <a:lnTo>
                  <a:pt x="0" y="225"/>
                </a:lnTo>
                <a:lnTo>
                  <a:pt x="0" y="225"/>
                </a:lnTo>
                <a:lnTo>
                  <a:pt x="2" y="236"/>
                </a:lnTo>
                <a:lnTo>
                  <a:pt x="5" y="245"/>
                </a:lnTo>
                <a:lnTo>
                  <a:pt x="9" y="254"/>
                </a:lnTo>
                <a:lnTo>
                  <a:pt x="16" y="264"/>
                </a:lnTo>
                <a:lnTo>
                  <a:pt x="26" y="269"/>
                </a:lnTo>
                <a:lnTo>
                  <a:pt x="35" y="275"/>
                </a:lnTo>
                <a:lnTo>
                  <a:pt x="44" y="278"/>
                </a:lnTo>
                <a:lnTo>
                  <a:pt x="55" y="280"/>
                </a:lnTo>
                <a:lnTo>
                  <a:pt x="784" y="280"/>
                </a:lnTo>
                <a:lnTo>
                  <a:pt x="784" y="280"/>
                </a:lnTo>
                <a:lnTo>
                  <a:pt x="795" y="278"/>
                </a:lnTo>
                <a:lnTo>
                  <a:pt x="806" y="275"/>
                </a:lnTo>
                <a:lnTo>
                  <a:pt x="815" y="269"/>
                </a:lnTo>
                <a:lnTo>
                  <a:pt x="823" y="264"/>
                </a:lnTo>
                <a:lnTo>
                  <a:pt x="830" y="254"/>
                </a:lnTo>
                <a:lnTo>
                  <a:pt x="836" y="245"/>
                </a:lnTo>
                <a:lnTo>
                  <a:pt x="839" y="236"/>
                </a:lnTo>
                <a:lnTo>
                  <a:pt x="839" y="225"/>
                </a:lnTo>
                <a:lnTo>
                  <a:pt x="839" y="55"/>
                </a:lnTo>
                <a:lnTo>
                  <a:pt x="839" y="55"/>
                </a:lnTo>
                <a:lnTo>
                  <a:pt x="839" y="44"/>
                </a:lnTo>
                <a:lnTo>
                  <a:pt x="836" y="33"/>
                </a:lnTo>
                <a:lnTo>
                  <a:pt x="830" y="24"/>
                </a:lnTo>
                <a:lnTo>
                  <a:pt x="823" y="16"/>
                </a:lnTo>
                <a:lnTo>
                  <a:pt x="815" y="9"/>
                </a:lnTo>
                <a:lnTo>
                  <a:pt x="806" y="3"/>
                </a:lnTo>
                <a:lnTo>
                  <a:pt x="795" y="2"/>
                </a:lnTo>
                <a:lnTo>
                  <a:pt x="784" y="0"/>
                </a:lnTo>
                <a:lnTo>
                  <a:pt x="55" y="0"/>
                </a:lnTo>
                <a:lnTo>
                  <a:pt x="55" y="0"/>
                </a:lnTo>
                <a:lnTo>
                  <a:pt x="44" y="2"/>
                </a:lnTo>
                <a:lnTo>
                  <a:pt x="35" y="3"/>
                </a:lnTo>
                <a:lnTo>
                  <a:pt x="26" y="9"/>
                </a:lnTo>
                <a:lnTo>
                  <a:pt x="16" y="16"/>
                </a:lnTo>
                <a:lnTo>
                  <a:pt x="9" y="24"/>
                </a:lnTo>
                <a:lnTo>
                  <a:pt x="5" y="33"/>
                </a:lnTo>
                <a:lnTo>
                  <a:pt x="2" y="44"/>
                </a:lnTo>
                <a:lnTo>
                  <a:pt x="0" y="55"/>
                </a:lnTo>
                <a:lnTo>
                  <a:pt x="0" y="225"/>
                </a:lnTo>
                <a:lnTo>
                  <a:pt x="4" y="225"/>
                </a:lnTo>
                <a:lnTo>
                  <a:pt x="7" y="225"/>
                </a:lnTo>
                <a:lnTo>
                  <a:pt x="7" y="55"/>
                </a:lnTo>
                <a:lnTo>
                  <a:pt x="7" y="55"/>
                </a:lnTo>
                <a:lnTo>
                  <a:pt x="7" y="44"/>
                </a:lnTo>
                <a:lnTo>
                  <a:pt x="11" y="35"/>
                </a:lnTo>
                <a:lnTo>
                  <a:pt x="15" y="27"/>
                </a:lnTo>
                <a:lnTo>
                  <a:pt x="20" y="20"/>
                </a:lnTo>
                <a:lnTo>
                  <a:pt x="20" y="20"/>
                </a:lnTo>
                <a:lnTo>
                  <a:pt x="27" y="14"/>
                </a:lnTo>
                <a:lnTo>
                  <a:pt x="37" y="9"/>
                </a:lnTo>
                <a:lnTo>
                  <a:pt x="46" y="7"/>
                </a:lnTo>
                <a:lnTo>
                  <a:pt x="55" y="5"/>
                </a:lnTo>
                <a:lnTo>
                  <a:pt x="784" y="5"/>
                </a:lnTo>
                <a:lnTo>
                  <a:pt x="784" y="5"/>
                </a:lnTo>
                <a:lnTo>
                  <a:pt x="795" y="7"/>
                </a:lnTo>
                <a:lnTo>
                  <a:pt x="804" y="9"/>
                </a:lnTo>
                <a:lnTo>
                  <a:pt x="812" y="14"/>
                </a:lnTo>
                <a:lnTo>
                  <a:pt x="819" y="20"/>
                </a:lnTo>
                <a:lnTo>
                  <a:pt x="819" y="20"/>
                </a:lnTo>
                <a:lnTo>
                  <a:pt x="825" y="27"/>
                </a:lnTo>
                <a:lnTo>
                  <a:pt x="830" y="35"/>
                </a:lnTo>
                <a:lnTo>
                  <a:pt x="832" y="44"/>
                </a:lnTo>
                <a:lnTo>
                  <a:pt x="834" y="55"/>
                </a:lnTo>
                <a:lnTo>
                  <a:pt x="834" y="225"/>
                </a:lnTo>
                <a:lnTo>
                  <a:pt x="834" y="225"/>
                </a:lnTo>
                <a:lnTo>
                  <a:pt x="832" y="234"/>
                </a:lnTo>
                <a:lnTo>
                  <a:pt x="830" y="243"/>
                </a:lnTo>
                <a:lnTo>
                  <a:pt x="825" y="253"/>
                </a:lnTo>
                <a:lnTo>
                  <a:pt x="819" y="258"/>
                </a:lnTo>
                <a:lnTo>
                  <a:pt x="819" y="258"/>
                </a:lnTo>
                <a:lnTo>
                  <a:pt x="812" y="265"/>
                </a:lnTo>
                <a:lnTo>
                  <a:pt x="804" y="269"/>
                </a:lnTo>
                <a:lnTo>
                  <a:pt x="795" y="273"/>
                </a:lnTo>
                <a:lnTo>
                  <a:pt x="784" y="273"/>
                </a:lnTo>
                <a:lnTo>
                  <a:pt x="55" y="273"/>
                </a:lnTo>
                <a:lnTo>
                  <a:pt x="55" y="273"/>
                </a:lnTo>
                <a:lnTo>
                  <a:pt x="46" y="273"/>
                </a:lnTo>
                <a:lnTo>
                  <a:pt x="37" y="269"/>
                </a:lnTo>
                <a:lnTo>
                  <a:pt x="27" y="265"/>
                </a:lnTo>
                <a:lnTo>
                  <a:pt x="20" y="258"/>
                </a:lnTo>
                <a:lnTo>
                  <a:pt x="20" y="258"/>
                </a:lnTo>
                <a:lnTo>
                  <a:pt x="15" y="253"/>
                </a:lnTo>
                <a:lnTo>
                  <a:pt x="11" y="243"/>
                </a:lnTo>
                <a:lnTo>
                  <a:pt x="7" y="234"/>
                </a:lnTo>
                <a:lnTo>
                  <a:pt x="7" y="225"/>
                </a:lnTo>
                <a:lnTo>
                  <a:pt x="4" y="225"/>
                </a:lnTo>
                <a:close/>
              </a:path>
            </a:pathLst>
          </a:custGeom>
          <a:solidFill>
            <a:srgbClr val="939598"/>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96" name="Freeform 181">
            <a:extLst>
              <a:ext uri="{FF2B5EF4-FFF2-40B4-BE49-F238E27FC236}">
                <a16:creationId xmlns:a16="http://schemas.microsoft.com/office/drawing/2014/main" id="{8EC619BB-0A83-D335-29E4-8EB75F20D98E}"/>
              </a:ext>
            </a:extLst>
          </p:cNvPr>
          <p:cNvSpPr>
            <a:spLocks/>
          </p:cNvSpPr>
          <p:nvPr/>
        </p:nvSpPr>
        <p:spPr bwMode="auto">
          <a:xfrm>
            <a:off x="3561687" y="4734939"/>
            <a:ext cx="1260078" cy="347970"/>
          </a:xfrm>
          <a:custGeom>
            <a:avLst/>
            <a:gdLst/>
            <a:ahLst/>
            <a:cxnLst>
              <a:cxn ang="0">
                <a:pos x="0" y="223"/>
              </a:cxn>
              <a:cxn ang="0">
                <a:pos x="2" y="234"/>
              </a:cxn>
              <a:cxn ang="0">
                <a:pos x="9" y="254"/>
              </a:cxn>
              <a:cxn ang="0">
                <a:pos x="26" y="269"/>
              </a:cxn>
              <a:cxn ang="0">
                <a:pos x="44" y="278"/>
              </a:cxn>
              <a:cxn ang="0">
                <a:pos x="784" y="278"/>
              </a:cxn>
              <a:cxn ang="0">
                <a:pos x="795" y="278"/>
              </a:cxn>
              <a:cxn ang="0">
                <a:pos x="815" y="269"/>
              </a:cxn>
              <a:cxn ang="0">
                <a:pos x="830" y="254"/>
              </a:cxn>
              <a:cxn ang="0">
                <a:pos x="839" y="234"/>
              </a:cxn>
              <a:cxn ang="0">
                <a:pos x="839" y="53"/>
              </a:cxn>
              <a:cxn ang="0">
                <a:pos x="839" y="42"/>
              </a:cxn>
              <a:cxn ang="0">
                <a:pos x="830" y="23"/>
              </a:cxn>
              <a:cxn ang="0">
                <a:pos x="815" y="9"/>
              </a:cxn>
              <a:cxn ang="0">
                <a:pos x="795" y="0"/>
              </a:cxn>
              <a:cxn ang="0">
                <a:pos x="55" y="0"/>
              </a:cxn>
              <a:cxn ang="0">
                <a:pos x="44" y="0"/>
              </a:cxn>
              <a:cxn ang="0">
                <a:pos x="26" y="9"/>
              </a:cxn>
              <a:cxn ang="0">
                <a:pos x="9" y="23"/>
              </a:cxn>
              <a:cxn ang="0">
                <a:pos x="2" y="42"/>
              </a:cxn>
              <a:cxn ang="0">
                <a:pos x="0" y="223"/>
              </a:cxn>
              <a:cxn ang="0">
                <a:pos x="7" y="223"/>
              </a:cxn>
              <a:cxn ang="0">
                <a:pos x="7" y="53"/>
              </a:cxn>
              <a:cxn ang="0">
                <a:pos x="11" y="34"/>
              </a:cxn>
              <a:cxn ang="0">
                <a:pos x="20" y="20"/>
              </a:cxn>
              <a:cxn ang="0">
                <a:pos x="27" y="12"/>
              </a:cxn>
              <a:cxn ang="0">
                <a:pos x="46" y="5"/>
              </a:cxn>
              <a:cxn ang="0">
                <a:pos x="784" y="5"/>
              </a:cxn>
              <a:cxn ang="0">
                <a:pos x="795" y="5"/>
              </a:cxn>
              <a:cxn ang="0">
                <a:pos x="812" y="12"/>
              </a:cxn>
              <a:cxn ang="0">
                <a:pos x="819" y="20"/>
              </a:cxn>
              <a:cxn ang="0">
                <a:pos x="830" y="34"/>
              </a:cxn>
              <a:cxn ang="0">
                <a:pos x="834" y="53"/>
              </a:cxn>
              <a:cxn ang="0">
                <a:pos x="834" y="223"/>
              </a:cxn>
              <a:cxn ang="0">
                <a:pos x="830" y="243"/>
              </a:cxn>
              <a:cxn ang="0">
                <a:pos x="819" y="258"/>
              </a:cxn>
              <a:cxn ang="0">
                <a:pos x="812" y="263"/>
              </a:cxn>
              <a:cxn ang="0">
                <a:pos x="795" y="271"/>
              </a:cxn>
              <a:cxn ang="0">
                <a:pos x="55" y="273"/>
              </a:cxn>
              <a:cxn ang="0">
                <a:pos x="46" y="271"/>
              </a:cxn>
              <a:cxn ang="0">
                <a:pos x="27" y="263"/>
              </a:cxn>
              <a:cxn ang="0">
                <a:pos x="20" y="258"/>
              </a:cxn>
              <a:cxn ang="0">
                <a:pos x="11" y="243"/>
              </a:cxn>
              <a:cxn ang="0">
                <a:pos x="7" y="223"/>
              </a:cxn>
            </a:cxnLst>
            <a:rect l="0" t="0" r="r" b="b"/>
            <a:pathLst>
              <a:path w="839" h="278">
                <a:moveTo>
                  <a:pt x="4" y="223"/>
                </a:moveTo>
                <a:lnTo>
                  <a:pt x="0" y="223"/>
                </a:lnTo>
                <a:lnTo>
                  <a:pt x="0" y="223"/>
                </a:lnTo>
                <a:lnTo>
                  <a:pt x="2" y="234"/>
                </a:lnTo>
                <a:lnTo>
                  <a:pt x="5" y="245"/>
                </a:lnTo>
                <a:lnTo>
                  <a:pt x="9" y="254"/>
                </a:lnTo>
                <a:lnTo>
                  <a:pt x="16" y="262"/>
                </a:lnTo>
                <a:lnTo>
                  <a:pt x="26" y="269"/>
                </a:lnTo>
                <a:lnTo>
                  <a:pt x="35" y="274"/>
                </a:lnTo>
                <a:lnTo>
                  <a:pt x="44" y="278"/>
                </a:lnTo>
                <a:lnTo>
                  <a:pt x="55" y="278"/>
                </a:lnTo>
                <a:lnTo>
                  <a:pt x="784" y="278"/>
                </a:lnTo>
                <a:lnTo>
                  <a:pt x="784" y="278"/>
                </a:lnTo>
                <a:lnTo>
                  <a:pt x="795" y="278"/>
                </a:lnTo>
                <a:lnTo>
                  <a:pt x="806" y="274"/>
                </a:lnTo>
                <a:lnTo>
                  <a:pt x="815" y="269"/>
                </a:lnTo>
                <a:lnTo>
                  <a:pt x="823" y="262"/>
                </a:lnTo>
                <a:lnTo>
                  <a:pt x="830" y="254"/>
                </a:lnTo>
                <a:lnTo>
                  <a:pt x="836" y="245"/>
                </a:lnTo>
                <a:lnTo>
                  <a:pt x="839" y="234"/>
                </a:lnTo>
                <a:lnTo>
                  <a:pt x="839" y="223"/>
                </a:lnTo>
                <a:lnTo>
                  <a:pt x="839" y="53"/>
                </a:lnTo>
                <a:lnTo>
                  <a:pt x="839" y="53"/>
                </a:lnTo>
                <a:lnTo>
                  <a:pt x="839" y="42"/>
                </a:lnTo>
                <a:lnTo>
                  <a:pt x="836" y="33"/>
                </a:lnTo>
                <a:lnTo>
                  <a:pt x="830" y="23"/>
                </a:lnTo>
                <a:lnTo>
                  <a:pt x="823" y="14"/>
                </a:lnTo>
                <a:lnTo>
                  <a:pt x="815" y="9"/>
                </a:lnTo>
                <a:lnTo>
                  <a:pt x="806" y="3"/>
                </a:lnTo>
                <a:lnTo>
                  <a:pt x="795" y="0"/>
                </a:lnTo>
                <a:lnTo>
                  <a:pt x="784" y="0"/>
                </a:lnTo>
                <a:lnTo>
                  <a:pt x="55" y="0"/>
                </a:lnTo>
                <a:lnTo>
                  <a:pt x="55" y="0"/>
                </a:lnTo>
                <a:lnTo>
                  <a:pt x="44" y="0"/>
                </a:lnTo>
                <a:lnTo>
                  <a:pt x="35" y="3"/>
                </a:lnTo>
                <a:lnTo>
                  <a:pt x="26" y="9"/>
                </a:lnTo>
                <a:lnTo>
                  <a:pt x="16" y="14"/>
                </a:lnTo>
                <a:lnTo>
                  <a:pt x="9" y="23"/>
                </a:lnTo>
                <a:lnTo>
                  <a:pt x="5" y="33"/>
                </a:lnTo>
                <a:lnTo>
                  <a:pt x="2" y="42"/>
                </a:lnTo>
                <a:lnTo>
                  <a:pt x="0" y="53"/>
                </a:lnTo>
                <a:lnTo>
                  <a:pt x="0" y="223"/>
                </a:lnTo>
                <a:lnTo>
                  <a:pt x="4" y="223"/>
                </a:lnTo>
                <a:lnTo>
                  <a:pt x="7" y="223"/>
                </a:lnTo>
                <a:lnTo>
                  <a:pt x="7" y="53"/>
                </a:lnTo>
                <a:lnTo>
                  <a:pt x="7" y="53"/>
                </a:lnTo>
                <a:lnTo>
                  <a:pt x="7" y="44"/>
                </a:lnTo>
                <a:lnTo>
                  <a:pt x="11" y="34"/>
                </a:lnTo>
                <a:lnTo>
                  <a:pt x="15" y="27"/>
                </a:lnTo>
                <a:lnTo>
                  <a:pt x="20" y="20"/>
                </a:lnTo>
                <a:lnTo>
                  <a:pt x="20" y="20"/>
                </a:lnTo>
                <a:lnTo>
                  <a:pt x="27" y="12"/>
                </a:lnTo>
                <a:lnTo>
                  <a:pt x="37" y="9"/>
                </a:lnTo>
                <a:lnTo>
                  <a:pt x="46" y="5"/>
                </a:lnTo>
                <a:lnTo>
                  <a:pt x="55" y="5"/>
                </a:lnTo>
                <a:lnTo>
                  <a:pt x="784" y="5"/>
                </a:lnTo>
                <a:lnTo>
                  <a:pt x="784" y="5"/>
                </a:lnTo>
                <a:lnTo>
                  <a:pt x="795" y="5"/>
                </a:lnTo>
                <a:lnTo>
                  <a:pt x="804" y="9"/>
                </a:lnTo>
                <a:lnTo>
                  <a:pt x="812" y="12"/>
                </a:lnTo>
                <a:lnTo>
                  <a:pt x="819" y="20"/>
                </a:lnTo>
                <a:lnTo>
                  <a:pt x="819" y="20"/>
                </a:lnTo>
                <a:lnTo>
                  <a:pt x="825" y="27"/>
                </a:lnTo>
                <a:lnTo>
                  <a:pt x="830" y="34"/>
                </a:lnTo>
                <a:lnTo>
                  <a:pt x="832" y="44"/>
                </a:lnTo>
                <a:lnTo>
                  <a:pt x="834" y="53"/>
                </a:lnTo>
                <a:lnTo>
                  <a:pt x="834" y="223"/>
                </a:lnTo>
                <a:lnTo>
                  <a:pt x="834" y="223"/>
                </a:lnTo>
                <a:lnTo>
                  <a:pt x="832" y="234"/>
                </a:lnTo>
                <a:lnTo>
                  <a:pt x="830" y="243"/>
                </a:lnTo>
                <a:lnTo>
                  <a:pt x="825" y="251"/>
                </a:lnTo>
                <a:lnTo>
                  <a:pt x="819" y="258"/>
                </a:lnTo>
                <a:lnTo>
                  <a:pt x="819" y="258"/>
                </a:lnTo>
                <a:lnTo>
                  <a:pt x="812" y="263"/>
                </a:lnTo>
                <a:lnTo>
                  <a:pt x="804" y="269"/>
                </a:lnTo>
                <a:lnTo>
                  <a:pt x="795" y="271"/>
                </a:lnTo>
                <a:lnTo>
                  <a:pt x="784" y="273"/>
                </a:lnTo>
                <a:lnTo>
                  <a:pt x="55" y="273"/>
                </a:lnTo>
                <a:lnTo>
                  <a:pt x="55" y="273"/>
                </a:lnTo>
                <a:lnTo>
                  <a:pt x="46" y="271"/>
                </a:lnTo>
                <a:lnTo>
                  <a:pt x="37" y="269"/>
                </a:lnTo>
                <a:lnTo>
                  <a:pt x="27" y="263"/>
                </a:lnTo>
                <a:lnTo>
                  <a:pt x="20" y="258"/>
                </a:lnTo>
                <a:lnTo>
                  <a:pt x="20" y="258"/>
                </a:lnTo>
                <a:lnTo>
                  <a:pt x="15" y="251"/>
                </a:lnTo>
                <a:lnTo>
                  <a:pt x="11" y="243"/>
                </a:lnTo>
                <a:lnTo>
                  <a:pt x="7" y="234"/>
                </a:lnTo>
                <a:lnTo>
                  <a:pt x="7" y="223"/>
                </a:lnTo>
                <a:lnTo>
                  <a:pt x="4" y="223"/>
                </a:lnTo>
                <a:close/>
              </a:path>
            </a:pathLst>
          </a:custGeom>
          <a:solidFill>
            <a:srgbClr val="939598"/>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pic>
        <p:nvPicPr>
          <p:cNvPr id="397" name="Picture 188">
            <a:extLst>
              <a:ext uri="{FF2B5EF4-FFF2-40B4-BE49-F238E27FC236}">
                <a16:creationId xmlns:a16="http://schemas.microsoft.com/office/drawing/2014/main" id="{B442E0AA-5200-B90A-5C94-DB49EE66A57A}"/>
              </a:ext>
            </a:extLst>
          </p:cNvPr>
          <p:cNvPicPr>
            <a:picLocks noChangeAspect="1" noChangeArrowheads="1"/>
          </p:cNvPicPr>
          <p:nvPr/>
        </p:nvPicPr>
        <p:blipFill>
          <a:blip r:embed="rId2" cstate="print"/>
          <a:srcRect/>
          <a:stretch>
            <a:fillRect/>
          </a:stretch>
        </p:blipFill>
        <p:spPr bwMode="auto">
          <a:xfrm>
            <a:off x="3829022" y="3780376"/>
            <a:ext cx="654543" cy="285741"/>
          </a:xfrm>
          <a:prstGeom prst="rect">
            <a:avLst/>
          </a:prstGeom>
          <a:noFill/>
          <a:ln w="9525">
            <a:noFill/>
            <a:miter lim="800000"/>
            <a:headEnd/>
            <a:tailEnd/>
          </a:ln>
        </p:spPr>
      </p:pic>
      <p:sp>
        <p:nvSpPr>
          <p:cNvPr id="398" name="Freeform 88">
            <a:extLst>
              <a:ext uri="{FF2B5EF4-FFF2-40B4-BE49-F238E27FC236}">
                <a16:creationId xmlns:a16="http://schemas.microsoft.com/office/drawing/2014/main" id="{F69E713E-0DA7-17AF-1347-689C6F9BDD94}"/>
              </a:ext>
            </a:extLst>
          </p:cNvPr>
          <p:cNvSpPr>
            <a:spLocks/>
          </p:cNvSpPr>
          <p:nvPr/>
        </p:nvSpPr>
        <p:spPr bwMode="auto">
          <a:xfrm>
            <a:off x="7761993" y="952807"/>
            <a:ext cx="1260078" cy="350473"/>
          </a:xfrm>
          <a:custGeom>
            <a:avLst/>
            <a:gdLst/>
            <a:ahLst/>
            <a:cxnLst>
              <a:cxn ang="0">
                <a:pos x="832" y="225"/>
              </a:cxn>
              <a:cxn ang="0">
                <a:pos x="832" y="236"/>
              </a:cxn>
              <a:cxn ang="0">
                <a:pos x="824" y="253"/>
              </a:cxn>
              <a:cxn ang="0">
                <a:pos x="819" y="260"/>
              </a:cxn>
              <a:cxn ang="0">
                <a:pos x="802" y="271"/>
              </a:cxn>
              <a:cxn ang="0">
                <a:pos x="784" y="275"/>
              </a:cxn>
              <a:cxn ang="0">
                <a:pos x="55" y="275"/>
              </a:cxn>
              <a:cxn ang="0">
                <a:pos x="35" y="271"/>
              </a:cxn>
              <a:cxn ang="0">
                <a:pos x="20" y="260"/>
              </a:cxn>
              <a:cxn ang="0">
                <a:pos x="14" y="253"/>
              </a:cxn>
              <a:cxn ang="0">
                <a:pos x="7" y="236"/>
              </a:cxn>
              <a:cxn ang="0">
                <a:pos x="5" y="55"/>
              </a:cxn>
              <a:cxn ang="0">
                <a:pos x="7" y="46"/>
              </a:cxn>
              <a:cxn ang="0">
                <a:pos x="14" y="29"/>
              </a:cxn>
              <a:cxn ang="0">
                <a:pos x="20" y="22"/>
              </a:cxn>
              <a:cxn ang="0">
                <a:pos x="35" y="11"/>
              </a:cxn>
              <a:cxn ang="0">
                <a:pos x="55" y="7"/>
              </a:cxn>
              <a:cxn ang="0">
                <a:pos x="784" y="7"/>
              </a:cxn>
              <a:cxn ang="0">
                <a:pos x="802" y="11"/>
              </a:cxn>
              <a:cxn ang="0">
                <a:pos x="819" y="22"/>
              </a:cxn>
              <a:cxn ang="0">
                <a:pos x="824" y="29"/>
              </a:cxn>
              <a:cxn ang="0">
                <a:pos x="832" y="46"/>
              </a:cxn>
              <a:cxn ang="0">
                <a:pos x="832" y="225"/>
              </a:cxn>
              <a:cxn ang="0">
                <a:pos x="839" y="225"/>
              </a:cxn>
              <a:cxn ang="0">
                <a:pos x="839" y="55"/>
              </a:cxn>
              <a:cxn ang="0">
                <a:pos x="834" y="35"/>
              </a:cxn>
              <a:cxn ang="0">
                <a:pos x="823" y="16"/>
              </a:cxn>
              <a:cxn ang="0">
                <a:pos x="804" y="5"/>
              </a:cxn>
              <a:cxn ang="0">
                <a:pos x="784" y="0"/>
              </a:cxn>
              <a:cxn ang="0">
                <a:pos x="55" y="0"/>
              </a:cxn>
              <a:cxn ang="0">
                <a:pos x="33" y="5"/>
              </a:cxn>
              <a:cxn ang="0">
                <a:pos x="16" y="16"/>
              </a:cxn>
              <a:cxn ang="0">
                <a:pos x="3" y="35"/>
              </a:cxn>
              <a:cxn ang="0">
                <a:pos x="0" y="55"/>
              </a:cxn>
              <a:cxn ang="0">
                <a:pos x="0" y="225"/>
              </a:cxn>
              <a:cxn ang="0">
                <a:pos x="3" y="247"/>
              </a:cxn>
              <a:cxn ang="0">
                <a:pos x="16" y="264"/>
              </a:cxn>
              <a:cxn ang="0">
                <a:pos x="33" y="277"/>
              </a:cxn>
              <a:cxn ang="0">
                <a:pos x="55" y="280"/>
              </a:cxn>
              <a:cxn ang="0">
                <a:pos x="784" y="280"/>
              </a:cxn>
              <a:cxn ang="0">
                <a:pos x="804" y="277"/>
              </a:cxn>
              <a:cxn ang="0">
                <a:pos x="823" y="264"/>
              </a:cxn>
              <a:cxn ang="0">
                <a:pos x="834" y="247"/>
              </a:cxn>
              <a:cxn ang="0">
                <a:pos x="839" y="225"/>
              </a:cxn>
            </a:cxnLst>
            <a:rect l="0" t="0" r="r" b="b"/>
            <a:pathLst>
              <a:path w="839" h="280">
                <a:moveTo>
                  <a:pt x="835" y="225"/>
                </a:moveTo>
                <a:lnTo>
                  <a:pt x="832" y="225"/>
                </a:lnTo>
                <a:lnTo>
                  <a:pt x="832" y="225"/>
                </a:lnTo>
                <a:lnTo>
                  <a:pt x="832" y="236"/>
                </a:lnTo>
                <a:lnTo>
                  <a:pt x="828" y="246"/>
                </a:lnTo>
                <a:lnTo>
                  <a:pt x="824" y="253"/>
                </a:lnTo>
                <a:lnTo>
                  <a:pt x="819" y="260"/>
                </a:lnTo>
                <a:lnTo>
                  <a:pt x="819" y="260"/>
                </a:lnTo>
                <a:lnTo>
                  <a:pt x="812" y="266"/>
                </a:lnTo>
                <a:lnTo>
                  <a:pt x="802" y="271"/>
                </a:lnTo>
                <a:lnTo>
                  <a:pt x="793" y="273"/>
                </a:lnTo>
                <a:lnTo>
                  <a:pt x="784" y="275"/>
                </a:lnTo>
                <a:lnTo>
                  <a:pt x="55" y="275"/>
                </a:lnTo>
                <a:lnTo>
                  <a:pt x="55" y="275"/>
                </a:lnTo>
                <a:lnTo>
                  <a:pt x="44" y="273"/>
                </a:lnTo>
                <a:lnTo>
                  <a:pt x="35" y="271"/>
                </a:lnTo>
                <a:lnTo>
                  <a:pt x="27" y="266"/>
                </a:lnTo>
                <a:lnTo>
                  <a:pt x="20" y="260"/>
                </a:lnTo>
                <a:lnTo>
                  <a:pt x="20" y="260"/>
                </a:lnTo>
                <a:lnTo>
                  <a:pt x="14" y="253"/>
                </a:lnTo>
                <a:lnTo>
                  <a:pt x="9" y="246"/>
                </a:lnTo>
                <a:lnTo>
                  <a:pt x="7" y="236"/>
                </a:lnTo>
                <a:lnTo>
                  <a:pt x="5" y="225"/>
                </a:lnTo>
                <a:lnTo>
                  <a:pt x="5" y="55"/>
                </a:lnTo>
                <a:lnTo>
                  <a:pt x="5" y="55"/>
                </a:lnTo>
                <a:lnTo>
                  <a:pt x="7" y="46"/>
                </a:lnTo>
                <a:lnTo>
                  <a:pt x="9" y="37"/>
                </a:lnTo>
                <a:lnTo>
                  <a:pt x="14" y="29"/>
                </a:lnTo>
                <a:lnTo>
                  <a:pt x="20" y="22"/>
                </a:lnTo>
                <a:lnTo>
                  <a:pt x="20" y="22"/>
                </a:lnTo>
                <a:lnTo>
                  <a:pt x="27" y="15"/>
                </a:lnTo>
                <a:lnTo>
                  <a:pt x="35" y="11"/>
                </a:lnTo>
                <a:lnTo>
                  <a:pt x="44" y="7"/>
                </a:lnTo>
                <a:lnTo>
                  <a:pt x="55" y="7"/>
                </a:lnTo>
                <a:lnTo>
                  <a:pt x="784" y="7"/>
                </a:lnTo>
                <a:lnTo>
                  <a:pt x="784" y="7"/>
                </a:lnTo>
                <a:lnTo>
                  <a:pt x="793" y="7"/>
                </a:lnTo>
                <a:lnTo>
                  <a:pt x="802" y="11"/>
                </a:lnTo>
                <a:lnTo>
                  <a:pt x="812" y="15"/>
                </a:lnTo>
                <a:lnTo>
                  <a:pt x="819" y="22"/>
                </a:lnTo>
                <a:lnTo>
                  <a:pt x="819" y="22"/>
                </a:lnTo>
                <a:lnTo>
                  <a:pt x="824" y="29"/>
                </a:lnTo>
                <a:lnTo>
                  <a:pt x="828" y="37"/>
                </a:lnTo>
                <a:lnTo>
                  <a:pt x="832" y="46"/>
                </a:lnTo>
                <a:lnTo>
                  <a:pt x="832" y="55"/>
                </a:lnTo>
                <a:lnTo>
                  <a:pt x="832" y="225"/>
                </a:lnTo>
                <a:lnTo>
                  <a:pt x="835" y="225"/>
                </a:lnTo>
                <a:lnTo>
                  <a:pt x="839" y="225"/>
                </a:lnTo>
                <a:lnTo>
                  <a:pt x="839" y="55"/>
                </a:lnTo>
                <a:lnTo>
                  <a:pt x="839" y="55"/>
                </a:lnTo>
                <a:lnTo>
                  <a:pt x="837" y="44"/>
                </a:lnTo>
                <a:lnTo>
                  <a:pt x="834" y="35"/>
                </a:lnTo>
                <a:lnTo>
                  <a:pt x="830" y="26"/>
                </a:lnTo>
                <a:lnTo>
                  <a:pt x="823" y="16"/>
                </a:lnTo>
                <a:lnTo>
                  <a:pt x="813" y="11"/>
                </a:lnTo>
                <a:lnTo>
                  <a:pt x="804" y="5"/>
                </a:lnTo>
                <a:lnTo>
                  <a:pt x="795" y="2"/>
                </a:lnTo>
                <a:lnTo>
                  <a:pt x="784" y="0"/>
                </a:lnTo>
                <a:lnTo>
                  <a:pt x="55" y="0"/>
                </a:lnTo>
                <a:lnTo>
                  <a:pt x="55" y="0"/>
                </a:lnTo>
                <a:lnTo>
                  <a:pt x="44" y="2"/>
                </a:lnTo>
                <a:lnTo>
                  <a:pt x="33" y="5"/>
                </a:lnTo>
                <a:lnTo>
                  <a:pt x="24" y="11"/>
                </a:lnTo>
                <a:lnTo>
                  <a:pt x="16" y="16"/>
                </a:lnTo>
                <a:lnTo>
                  <a:pt x="9" y="26"/>
                </a:lnTo>
                <a:lnTo>
                  <a:pt x="3" y="35"/>
                </a:lnTo>
                <a:lnTo>
                  <a:pt x="0" y="44"/>
                </a:lnTo>
                <a:lnTo>
                  <a:pt x="0" y="55"/>
                </a:lnTo>
                <a:lnTo>
                  <a:pt x="0" y="225"/>
                </a:lnTo>
                <a:lnTo>
                  <a:pt x="0" y="225"/>
                </a:lnTo>
                <a:lnTo>
                  <a:pt x="0" y="236"/>
                </a:lnTo>
                <a:lnTo>
                  <a:pt x="3" y="247"/>
                </a:lnTo>
                <a:lnTo>
                  <a:pt x="9" y="257"/>
                </a:lnTo>
                <a:lnTo>
                  <a:pt x="16" y="264"/>
                </a:lnTo>
                <a:lnTo>
                  <a:pt x="24" y="271"/>
                </a:lnTo>
                <a:lnTo>
                  <a:pt x="33" y="277"/>
                </a:lnTo>
                <a:lnTo>
                  <a:pt x="44" y="279"/>
                </a:lnTo>
                <a:lnTo>
                  <a:pt x="55" y="280"/>
                </a:lnTo>
                <a:lnTo>
                  <a:pt x="784" y="280"/>
                </a:lnTo>
                <a:lnTo>
                  <a:pt x="784" y="280"/>
                </a:lnTo>
                <a:lnTo>
                  <a:pt x="795" y="279"/>
                </a:lnTo>
                <a:lnTo>
                  <a:pt x="804" y="277"/>
                </a:lnTo>
                <a:lnTo>
                  <a:pt x="813" y="271"/>
                </a:lnTo>
                <a:lnTo>
                  <a:pt x="823" y="264"/>
                </a:lnTo>
                <a:lnTo>
                  <a:pt x="830" y="257"/>
                </a:lnTo>
                <a:lnTo>
                  <a:pt x="834" y="247"/>
                </a:lnTo>
                <a:lnTo>
                  <a:pt x="837" y="236"/>
                </a:lnTo>
                <a:lnTo>
                  <a:pt x="839" y="225"/>
                </a:lnTo>
                <a:lnTo>
                  <a:pt x="835" y="225"/>
                </a:lnTo>
                <a:close/>
              </a:path>
            </a:pathLst>
          </a:custGeom>
          <a:solidFill>
            <a:srgbClr val="93959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399" name="Freeform 89">
            <a:extLst>
              <a:ext uri="{FF2B5EF4-FFF2-40B4-BE49-F238E27FC236}">
                <a16:creationId xmlns:a16="http://schemas.microsoft.com/office/drawing/2014/main" id="{F8F2334F-C92A-DC91-F8F6-A4CB142DFB12}"/>
              </a:ext>
            </a:extLst>
          </p:cNvPr>
          <p:cNvSpPr>
            <a:spLocks/>
          </p:cNvSpPr>
          <p:nvPr/>
        </p:nvSpPr>
        <p:spPr bwMode="auto">
          <a:xfrm>
            <a:off x="7761993" y="1377131"/>
            <a:ext cx="1260078" cy="347970"/>
          </a:xfrm>
          <a:custGeom>
            <a:avLst/>
            <a:gdLst/>
            <a:ahLst/>
            <a:cxnLst>
              <a:cxn ang="0">
                <a:pos x="832" y="224"/>
              </a:cxn>
              <a:cxn ang="0">
                <a:pos x="832" y="234"/>
              </a:cxn>
              <a:cxn ang="0">
                <a:pos x="824" y="251"/>
              </a:cxn>
              <a:cxn ang="0">
                <a:pos x="819" y="258"/>
              </a:cxn>
              <a:cxn ang="0">
                <a:pos x="802" y="269"/>
              </a:cxn>
              <a:cxn ang="0">
                <a:pos x="784" y="273"/>
              </a:cxn>
              <a:cxn ang="0">
                <a:pos x="55" y="273"/>
              </a:cxn>
              <a:cxn ang="0">
                <a:pos x="35" y="269"/>
              </a:cxn>
              <a:cxn ang="0">
                <a:pos x="20" y="258"/>
              </a:cxn>
              <a:cxn ang="0">
                <a:pos x="14" y="251"/>
              </a:cxn>
              <a:cxn ang="0">
                <a:pos x="7" y="234"/>
              </a:cxn>
              <a:cxn ang="0">
                <a:pos x="5" y="53"/>
              </a:cxn>
              <a:cxn ang="0">
                <a:pos x="7" y="44"/>
              </a:cxn>
              <a:cxn ang="0">
                <a:pos x="14" y="27"/>
              </a:cxn>
              <a:cxn ang="0">
                <a:pos x="20" y="20"/>
              </a:cxn>
              <a:cxn ang="0">
                <a:pos x="35" y="9"/>
              </a:cxn>
              <a:cxn ang="0">
                <a:pos x="55" y="5"/>
              </a:cxn>
              <a:cxn ang="0">
                <a:pos x="784" y="5"/>
              </a:cxn>
              <a:cxn ang="0">
                <a:pos x="802" y="9"/>
              </a:cxn>
              <a:cxn ang="0">
                <a:pos x="819" y="20"/>
              </a:cxn>
              <a:cxn ang="0">
                <a:pos x="824" y="27"/>
              </a:cxn>
              <a:cxn ang="0">
                <a:pos x="832" y="44"/>
              </a:cxn>
              <a:cxn ang="0">
                <a:pos x="832" y="224"/>
              </a:cxn>
              <a:cxn ang="0">
                <a:pos x="839" y="224"/>
              </a:cxn>
              <a:cxn ang="0">
                <a:pos x="839" y="53"/>
              </a:cxn>
              <a:cxn ang="0">
                <a:pos x="834" y="33"/>
              </a:cxn>
              <a:cxn ang="0">
                <a:pos x="823" y="15"/>
              </a:cxn>
              <a:cxn ang="0">
                <a:pos x="804" y="4"/>
              </a:cxn>
              <a:cxn ang="0">
                <a:pos x="784" y="0"/>
              </a:cxn>
              <a:cxn ang="0">
                <a:pos x="55" y="0"/>
              </a:cxn>
              <a:cxn ang="0">
                <a:pos x="33" y="4"/>
              </a:cxn>
              <a:cxn ang="0">
                <a:pos x="16" y="15"/>
              </a:cxn>
              <a:cxn ang="0">
                <a:pos x="3" y="33"/>
              </a:cxn>
              <a:cxn ang="0">
                <a:pos x="0" y="53"/>
              </a:cxn>
              <a:cxn ang="0">
                <a:pos x="0" y="224"/>
              </a:cxn>
              <a:cxn ang="0">
                <a:pos x="3" y="245"/>
              </a:cxn>
              <a:cxn ang="0">
                <a:pos x="16" y="262"/>
              </a:cxn>
              <a:cxn ang="0">
                <a:pos x="33" y="275"/>
              </a:cxn>
              <a:cxn ang="0">
                <a:pos x="55" y="278"/>
              </a:cxn>
              <a:cxn ang="0">
                <a:pos x="784" y="278"/>
              </a:cxn>
              <a:cxn ang="0">
                <a:pos x="804" y="275"/>
              </a:cxn>
              <a:cxn ang="0">
                <a:pos x="823" y="262"/>
              </a:cxn>
              <a:cxn ang="0">
                <a:pos x="834" y="245"/>
              </a:cxn>
              <a:cxn ang="0">
                <a:pos x="839" y="224"/>
              </a:cxn>
            </a:cxnLst>
            <a:rect l="0" t="0" r="r" b="b"/>
            <a:pathLst>
              <a:path w="839" h="278">
                <a:moveTo>
                  <a:pt x="835" y="224"/>
                </a:moveTo>
                <a:lnTo>
                  <a:pt x="832" y="224"/>
                </a:lnTo>
                <a:lnTo>
                  <a:pt x="832" y="224"/>
                </a:lnTo>
                <a:lnTo>
                  <a:pt x="832" y="234"/>
                </a:lnTo>
                <a:lnTo>
                  <a:pt x="828" y="244"/>
                </a:lnTo>
                <a:lnTo>
                  <a:pt x="824" y="251"/>
                </a:lnTo>
                <a:lnTo>
                  <a:pt x="819" y="258"/>
                </a:lnTo>
                <a:lnTo>
                  <a:pt x="819" y="258"/>
                </a:lnTo>
                <a:lnTo>
                  <a:pt x="812" y="264"/>
                </a:lnTo>
                <a:lnTo>
                  <a:pt x="802" y="269"/>
                </a:lnTo>
                <a:lnTo>
                  <a:pt x="793" y="271"/>
                </a:lnTo>
                <a:lnTo>
                  <a:pt x="784" y="273"/>
                </a:lnTo>
                <a:lnTo>
                  <a:pt x="55" y="273"/>
                </a:lnTo>
                <a:lnTo>
                  <a:pt x="55" y="273"/>
                </a:lnTo>
                <a:lnTo>
                  <a:pt x="44" y="271"/>
                </a:lnTo>
                <a:lnTo>
                  <a:pt x="35" y="269"/>
                </a:lnTo>
                <a:lnTo>
                  <a:pt x="27" y="264"/>
                </a:lnTo>
                <a:lnTo>
                  <a:pt x="20" y="258"/>
                </a:lnTo>
                <a:lnTo>
                  <a:pt x="20" y="258"/>
                </a:lnTo>
                <a:lnTo>
                  <a:pt x="14" y="251"/>
                </a:lnTo>
                <a:lnTo>
                  <a:pt x="9" y="244"/>
                </a:lnTo>
                <a:lnTo>
                  <a:pt x="7" y="234"/>
                </a:lnTo>
                <a:lnTo>
                  <a:pt x="5" y="224"/>
                </a:lnTo>
                <a:lnTo>
                  <a:pt x="5" y="53"/>
                </a:lnTo>
                <a:lnTo>
                  <a:pt x="5" y="53"/>
                </a:lnTo>
                <a:lnTo>
                  <a:pt x="7" y="44"/>
                </a:lnTo>
                <a:lnTo>
                  <a:pt x="9" y="35"/>
                </a:lnTo>
                <a:lnTo>
                  <a:pt x="14" y="27"/>
                </a:lnTo>
                <a:lnTo>
                  <a:pt x="20" y="20"/>
                </a:lnTo>
                <a:lnTo>
                  <a:pt x="20" y="20"/>
                </a:lnTo>
                <a:lnTo>
                  <a:pt x="27" y="13"/>
                </a:lnTo>
                <a:lnTo>
                  <a:pt x="35" y="9"/>
                </a:lnTo>
                <a:lnTo>
                  <a:pt x="44" y="5"/>
                </a:lnTo>
                <a:lnTo>
                  <a:pt x="55" y="5"/>
                </a:lnTo>
                <a:lnTo>
                  <a:pt x="784" y="5"/>
                </a:lnTo>
                <a:lnTo>
                  <a:pt x="784" y="5"/>
                </a:lnTo>
                <a:lnTo>
                  <a:pt x="793" y="5"/>
                </a:lnTo>
                <a:lnTo>
                  <a:pt x="802" y="9"/>
                </a:lnTo>
                <a:lnTo>
                  <a:pt x="812" y="13"/>
                </a:lnTo>
                <a:lnTo>
                  <a:pt x="819" y="20"/>
                </a:lnTo>
                <a:lnTo>
                  <a:pt x="819" y="20"/>
                </a:lnTo>
                <a:lnTo>
                  <a:pt x="824" y="27"/>
                </a:lnTo>
                <a:lnTo>
                  <a:pt x="828" y="35"/>
                </a:lnTo>
                <a:lnTo>
                  <a:pt x="832" y="44"/>
                </a:lnTo>
                <a:lnTo>
                  <a:pt x="832" y="53"/>
                </a:lnTo>
                <a:lnTo>
                  <a:pt x="832" y="224"/>
                </a:lnTo>
                <a:lnTo>
                  <a:pt x="835" y="224"/>
                </a:lnTo>
                <a:lnTo>
                  <a:pt x="839" y="224"/>
                </a:lnTo>
                <a:lnTo>
                  <a:pt x="839" y="53"/>
                </a:lnTo>
                <a:lnTo>
                  <a:pt x="839" y="53"/>
                </a:lnTo>
                <a:lnTo>
                  <a:pt x="837" y="42"/>
                </a:lnTo>
                <a:lnTo>
                  <a:pt x="834" y="33"/>
                </a:lnTo>
                <a:lnTo>
                  <a:pt x="830" y="24"/>
                </a:lnTo>
                <a:lnTo>
                  <a:pt x="823" y="15"/>
                </a:lnTo>
                <a:lnTo>
                  <a:pt x="813" y="9"/>
                </a:lnTo>
                <a:lnTo>
                  <a:pt x="804" y="4"/>
                </a:lnTo>
                <a:lnTo>
                  <a:pt x="795" y="0"/>
                </a:lnTo>
                <a:lnTo>
                  <a:pt x="784" y="0"/>
                </a:lnTo>
                <a:lnTo>
                  <a:pt x="55" y="0"/>
                </a:lnTo>
                <a:lnTo>
                  <a:pt x="55" y="0"/>
                </a:lnTo>
                <a:lnTo>
                  <a:pt x="44" y="0"/>
                </a:lnTo>
                <a:lnTo>
                  <a:pt x="33" y="4"/>
                </a:lnTo>
                <a:lnTo>
                  <a:pt x="24" y="9"/>
                </a:lnTo>
                <a:lnTo>
                  <a:pt x="16" y="15"/>
                </a:lnTo>
                <a:lnTo>
                  <a:pt x="9" y="24"/>
                </a:lnTo>
                <a:lnTo>
                  <a:pt x="3" y="33"/>
                </a:lnTo>
                <a:lnTo>
                  <a:pt x="0" y="42"/>
                </a:lnTo>
                <a:lnTo>
                  <a:pt x="0" y="53"/>
                </a:lnTo>
                <a:lnTo>
                  <a:pt x="0" y="224"/>
                </a:lnTo>
                <a:lnTo>
                  <a:pt x="0" y="224"/>
                </a:lnTo>
                <a:lnTo>
                  <a:pt x="0" y="234"/>
                </a:lnTo>
                <a:lnTo>
                  <a:pt x="3" y="245"/>
                </a:lnTo>
                <a:lnTo>
                  <a:pt x="9" y="255"/>
                </a:lnTo>
                <a:lnTo>
                  <a:pt x="16" y="262"/>
                </a:lnTo>
                <a:lnTo>
                  <a:pt x="24" y="269"/>
                </a:lnTo>
                <a:lnTo>
                  <a:pt x="33" y="275"/>
                </a:lnTo>
                <a:lnTo>
                  <a:pt x="44" y="278"/>
                </a:lnTo>
                <a:lnTo>
                  <a:pt x="55" y="278"/>
                </a:lnTo>
                <a:lnTo>
                  <a:pt x="784" y="278"/>
                </a:lnTo>
                <a:lnTo>
                  <a:pt x="784" y="278"/>
                </a:lnTo>
                <a:lnTo>
                  <a:pt x="795" y="278"/>
                </a:lnTo>
                <a:lnTo>
                  <a:pt x="804" y="275"/>
                </a:lnTo>
                <a:lnTo>
                  <a:pt x="813" y="269"/>
                </a:lnTo>
                <a:lnTo>
                  <a:pt x="823" y="262"/>
                </a:lnTo>
                <a:lnTo>
                  <a:pt x="830" y="255"/>
                </a:lnTo>
                <a:lnTo>
                  <a:pt x="834" y="245"/>
                </a:lnTo>
                <a:lnTo>
                  <a:pt x="837" y="234"/>
                </a:lnTo>
                <a:lnTo>
                  <a:pt x="839" y="224"/>
                </a:lnTo>
                <a:lnTo>
                  <a:pt x="835" y="224"/>
                </a:lnTo>
                <a:close/>
              </a:path>
            </a:pathLst>
          </a:custGeom>
          <a:solidFill>
            <a:srgbClr val="93959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00" name="Freeform 90">
            <a:extLst>
              <a:ext uri="{FF2B5EF4-FFF2-40B4-BE49-F238E27FC236}">
                <a16:creationId xmlns:a16="http://schemas.microsoft.com/office/drawing/2014/main" id="{1C13802F-B8EC-F3A4-6F45-11D1B41862B2}"/>
              </a:ext>
            </a:extLst>
          </p:cNvPr>
          <p:cNvSpPr>
            <a:spLocks/>
          </p:cNvSpPr>
          <p:nvPr/>
        </p:nvSpPr>
        <p:spPr bwMode="auto">
          <a:xfrm>
            <a:off x="7761993" y="1798950"/>
            <a:ext cx="1260078" cy="349222"/>
          </a:xfrm>
          <a:custGeom>
            <a:avLst/>
            <a:gdLst/>
            <a:ahLst/>
            <a:cxnLst>
              <a:cxn ang="0">
                <a:pos x="832" y="224"/>
              </a:cxn>
              <a:cxn ang="0">
                <a:pos x="832" y="235"/>
              </a:cxn>
              <a:cxn ang="0">
                <a:pos x="824" y="251"/>
              </a:cxn>
              <a:cxn ang="0">
                <a:pos x="819" y="258"/>
              </a:cxn>
              <a:cxn ang="0">
                <a:pos x="802" y="269"/>
              </a:cxn>
              <a:cxn ang="0">
                <a:pos x="784" y="273"/>
              </a:cxn>
              <a:cxn ang="0">
                <a:pos x="55" y="273"/>
              </a:cxn>
              <a:cxn ang="0">
                <a:pos x="35" y="269"/>
              </a:cxn>
              <a:cxn ang="0">
                <a:pos x="20" y="258"/>
              </a:cxn>
              <a:cxn ang="0">
                <a:pos x="14" y="251"/>
              </a:cxn>
              <a:cxn ang="0">
                <a:pos x="7" y="235"/>
              </a:cxn>
              <a:cxn ang="0">
                <a:pos x="5" y="55"/>
              </a:cxn>
              <a:cxn ang="0">
                <a:pos x="7" y="44"/>
              </a:cxn>
              <a:cxn ang="0">
                <a:pos x="14" y="28"/>
              </a:cxn>
              <a:cxn ang="0">
                <a:pos x="20" y="20"/>
              </a:cxn>
              <a:cxn ang="0">
                <a:pos x="35" y="9"/>
              </a:cxn>
              <a:cxn ang="0">
                <a:pos x="55" y="6"/>
              </a:cxn>
              <a:cxn ang="0">
                <a:pos x="784" y="6"/>
              </a:cxn>
              <a:cxn ang="0">
                <a:pos x="802" y="9"/>
              </a:cxn>
              <a:cxn ang="0">
                <a:pos x="819" y="20"/>
              </a:cxn>
              <a:cxn ang="0">
                <a:pos x="824" y="28"/>
              </a:cxn>
              <a:cxn ang="0">
                <a:pos x="832" y="44"/>
              </a:cxn>
              <a:cxn ang="0">
                <a:pos x="832" y="224"/>
              </a:cxn>
              <a:cxn ang="0">
                <a:pos x="839" y="224"/>
              </a:cxn>
              <a:cxn ang="0">
                <a:pos x="839" y="55"/>
              </a:cxn>
              <a:cxn ang="0">
                <a:pos x="834" y="33"/>
              </a:cxn>
              <a:cxn ang="0">
                <a:pos x="823" y="15"/>
              </a:cxn>
              <a:cxn ang="0">
                <a:pos x="804" y="4"/>
              </a:cxn>
              <a:cxn ang="0">
                <a:pos x="784" y="0"/>
              </a:cxn>
              <a:cxn ang="0">
                <a:pos x="55" y="0"/>
              </a:cxn>
              <a:cxn ang="0">
                <a:pos x="33" y="4"/>
              </a:cxn>
              <a:cxn ang="0">
                <a:pos x="16" y="15"/>
              </a:cxn>
              <a:cxn ang="0">
                <a:pos x="3" y="33"/>
              </a:cxn>
              <a:cxn ang="0">
                <a:pos x="0" y="55"/>
              </a:cxn>
              <a:cxn ang="0">
                <a:pos x="0" y="224"/>
              </a:cxn>
              <a:cxn ang="0">
                <a:pos x="3" y="246"/>
              </a:cxn>
              <a:cxn ang="0">
                <a:pos x="16" y="264"/>
              </a:cxn>
              <a:cxn ang="0">
                <a:pos x="33" y="275"/>
              </a:cxn>
              <a:cxn ang="0">
                <a:pos x="55" y="279"/>
              </a:cxn>
              <a:cxn ang="0">
                <a:pos x="784" y="279"/>
              </a:cxn>
              <a:cxn ang="0">
                <a:pos x="804" y="275"/>
              </a:cxn>
              <a:cxn ang="0">
                <a:pos x="823" y="264"/>
              </a:cxn>
              <a:cxn ang="0">
                <a:pos x="834" y="246"/>
              </a:cxn>
              <a:cxn ang="0">
                <a:pos x="839" y="224"/>
              </a:cxn>
            </a:cxnLst>
            <a:rect l="0" t="0" r="r" b="b"/>
            <a:pathLst>
              <a:path w="839" h="279">
                <a:moveTo>
                  <a:pt x="835" y="224"/>
                </a:moveTo>
                <a:lnTo>
                  <a:pt x="832" y="224"/>
                </a:lnTo>
                <a:lnTo>
                  <a:pt x="832" y="224"/>
                </a:lnTo>
                <a:lnTo>
                  <a:pt x="832" y="235"/>
                </a:lnTo>
                <a:lnTo>
                  <a:pt x="828" y="244"/>
                </a:lnTo>
                <a:lnTo>
                  <a:pt x="824" y="251"/>
                </a:lnTo>
                <a:lnTo>
                  <a:pt x="819" y="258"/>
                </a:lnTo>
                <a:lnTo>
                  <a:pt x="819" y="258"/>
                </a:lnTo>
                <a:lnTo>
                  <a:pt x="812" y="264"/>
                </a:lnTo>
                <a:lnTo>
                  <a:pt x="802" y="269"/>
                </a:lnTo>
                <a:lnTo>
                  <a:pt x="793" y="271"/>
                </a:lnTo>
                <a:lnTo>
                  <a:pt x="784" y="273"/>
                </a:lnTo>
                <a:lnTo>
                  <a:pt x="55" y="273"/>
                </a:lnTo>
                <a:lnTo>
                  <a:pt x="55" y="273"/>
                </a:lnTo>
                <a:lnTo>
                  <a:pt x="44" y="271"/>
                </a:lnTo>
                <a:lnTo>
                  <a:pt x="35" y="269"/>
                </a:lnTo>
                <a:lnTo>
                  <a:pt x="27" y="264"/>
                </a:lnTo>
                <a:lnTo>
                  <a:pt x="20" y="258"/>
                </a:lnTo>
                <a:lnTo>
                  <a:pt x="20" y="258"/>
                </a:lnTo>
                <a:lnTo>
                  <a:pt x="14" y="251"/>
                </a:lnTo>
                <a:lnTo>
                  <a:pt x="9" y="244"/>
                </a:lnTo>
                <a:lnTo>
                  <a:pt x="7" y="235"/>
                </a:lnTo>
                <a:lnTo>
                  <a:pt x="5" y="224"/>
                </a:lnTo>
                <a:lnTo>
                  <a:pt x="5" y="55"/>
                </a:lnTo>
                <a:lnTo>
                  <a:pt x="5" y="55"/>
                </a:lnTo>
                <a:lnTo>
                  <a:pt x="7" y="44"/>
                </a:lnTo>
                <a:lnTo>
                  <a:pt x="9" y="35"/>
                </a:lnTo>
                <a:lnTo>
                  <a:pt x="14" y="28"/>
                </a:lnTo>
                <a:lnTo>
                  <a:pt x="20" y="20"/>
                </a:lnTo>
                <a:lnTo>
                  <a:pt x="20" y="20"/>
                </a:lnTo>
                <a:lnTo>
                  <a:pt x="27" y="15"/>
                </a:lnTo>
                <a:lnTo>
                  <a:pt x="35" y="9"/>
                </a:lnTo>
                <a:lnTo>
                  <a:pt x="44" y="7"/>
                </a:lnTo>
                <a:lnTo>
                  <a:pt x="55" y="6"/>
                </a:lnTo>
                <a:lnTo>
                  <a:pt x="784" y="6"/>
                </a:lnTo>
                <a:lnTo>
                  <a:pt x="784" y="6"/>
                </a:lnTo>
                <a:lnTo>
                  <a:pt x="793" y="7"/>
                </a:lnTo>
                <a:lnTo>
                  <a:pt x="802" y="9"/>
                </a:lnTo>
                <a:lnTo>
                  <a:pt x="812" y="15"/>
                </a:lnTo>
                <a:lnTo>
                  <a:pt x="819" y="20"/>
                </a:lnTo>
                <a:lnTo>
                  <a:pt x="819" y="20"/>
                </a:lnTo>
                <a:lnTo>
                  <a:pt x="824" y="28"/>
                </a:lnTo>
                <a:lnTo>
                  <a:pt x="828" y="35"/>
                </a:lnTo>
                <a:lnTo>
                  <a:pt x="832" y="44"/>
                </a:lnTo>
                <a:lnTo>
                  <a:pt x="832" y="55"/>
                </a:lnTo>
                <a:lnTo>
                  <a:pt x="832" y="224"/>
                </a:lnTo>
                <a:lnTo>
                  <a:pt x="835" y="224"/>
                </a:lnTo>
                <a:lnTo>
                  <a:pt x="839" y="224"/>
                </a:lnTo>
                <a:lnTo>
                  <a:pt x="839" y="55"/>
                </a:lnTo>
                <a:lnTo>
                  <a:pt x="839" y="55"/>
                </a:lnTo>
                <a:lnTo>
                  <a:pt x="837" y="44"/>
                </a:lnTo>
                <a:lnTo>
                  <a:pt x="834" y="33"/>
                </a:lnTo>
                <a:lnTo>
                  <a:pt x="830" y="24"/>
                </a:lnTo>
                <a:lnTo>
                  <a:pt x="823" y="15"/>
                </a:lnTo>
                <a:lnTo>
                  <a:pt x="813" y="9"/>
                </a:lnTo>
                <a:lnTo>
                  <a:pt x="804" y="4"/>
                </a:lnTo>
                <a:lnTo>
                  <a:pt x="795" y="0"/>
                </a:lnTo>
                <a:lnTo>
                  <a:pt x="784" y="0"/>
                </a:lnTo>
                <a:lnTo>
                  <a:pt x="55" y="0"/>
                </a:lnTo>
                <a:lnTo>
                  <a:pt x="55" y="0"/>
                </a:lnTo>
                <a:lnTo>
                  <a:pt x="44" y="0"/>
                </a:lnTo>
                <a:lnTo>
                  <a:pt x="33" y="4"/>
                </a:lnTo>
                <a:lnTo>
                  <a:pt x="24" y="9"/>
                </a:lnTo>
                <a:lnTo>
                  <a:pt x="16" y="15"/>
                </a:lnTo>
                <a:lnTo>
                  <a:pt x="9" y="24"/>
                </a:lnTo>
                <a:lnTo>
                  <a:pt x="3" y="33"/>
                </a:lnTo>
                <a:lnTo>
                  <a:pt x="0" y="44"/>
                </a:lnTo>
                <a:lnTo>
                  <a:pt x="0" y="55"/>
                </a:lnTo>
                <a:lnTo>
                  <a:pt x="0" y="224"/>
                </a:lnTo>
                <a:lnTo>
                  <a:pt x="0" y="224"/>
                </a:lnTo>
                <a:lnTo>
                  <a:pt x="0" y="235"/>
                </a:lnTo>
                <a:lnTo>
                  <a:pt x="3" y="246"/>
                </a:lnTo>
                <a:lnTo>
                  <a:pt x="9" y="255"/>
                </a:lnTo>
                <a:lnTo>
                  <a:pt x="16" y="264"/>
                </a:lnTo>
                <a:lnTo>
                  <a:pt x="24" y="269"/>
                </a:lnTo>
                <a:lnTo>
                  <a:pt x="33" y="275"/>
                </a:lnTo>
                <a:lnTo>
                  <a:pt x="44" y="279"/>
                </a:lnTo>
                <a:lnTo>
                  <a:pt x="55" y="279"/>
                </a:lnTo>
                <a:lnTo>
                  <a:pt x="784" y="279"/>
                </a:lnTo>
                <a:lnTo>
                  <a:pt x="784" y="279"/>
                </a:lnTo>
                <a:lnTo>
                  <a:pt x="795" y="279"/>
                </a:lnTo>
                <a:lnTo>
                  <a:pt x="804" y="275"/>
                </a:lnTo>
                <a:lnTo>
                  <a:pt x="813" y="269"/>
                </a:lnTo>
                <a:lnTo>
                  <a:pt x="823" y="264"/>
                </a:lnTo>
                <a:lnTo>
                  <a:pt x="830" y="255"/>
                </a:lnTo>
                <a:lnTo>
                  <a:pt x="834" y="246"/>
                </a:lnTo>
                <a:lnTo>
                  <a:pt x="837" y="235"/>
                </a:lnTo>
                <a:lnTo>
                  <a:pt x="839" y="224"/>
                </a:lnTo>
                <a:lnTo>
                  <a:pt x="835" y="224"/>
                </a:lnTo>
                <a:close/>
              </a:path>
            </a:pathLst>
          </a:custGeom>
          <a:solidFill>
            <a:srgbClr val="93959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01" name="Freeform 91">
            <a:extLst>
              <a:ext uri="{FF2B5EF4-FFF2-40B4-BE49-F238E27FC236}">
                <a16:creationId xmlns:a16="http://schemas.microsoft.com/office/drawing/2014/main" id="{D9CEA9E7-718E-342D-57FE-32D2F61B71C9}"/>
              </a:ext>
            </a:extLst>
          </p:cNvPr>
          <p:cNvSpPr>
            <a:spLocks/>
          </p:cNvSpPr>
          <p:nvPr/>
        </p:nvSpPr>
        <p:spPr bwMode="auto">
          <a:xfrm>
            <a:off x="7761993" y="2220770"/>
            <a:ext cx="1260078" cy="349222"/>
          </a:xfrm>
          <a:custGeom>
            <a:avLst/>
            <a:gdLst/>
            <a:ahLst/>
            <a:cxnLst>
              <a:cxn ang="0">
                <a:pos x="832" y="226"/>
              </a:cxn>
              <a:cxn ang="0">
                <a:pos x="832" y="235"/>
              </a:cxn>
              <a:cxn ang="0">
                <a:pos x="824" y="251"/>
              </a:cxn>
              <a:cxn ang="0">
                <a:pos x="819" y="259"/>
              </a:cxn>
              <a:cxn ang="0">
                <a:pos x="802" y="270"/>
              </a:cxn>
              <a:cxn ang="0">
                <a:pos x="784" y="273"/>
              </a:cxn>
              <a:cxn ang="0">
                <a:pos x="55" y="273"/>
              </a:cxn>
              <a:cxn ang="0">
                <a:pos x="35" y="270"/>
              </a:cxn>
              <a:cxn ang="0">
                <a:pos x="20" y="259"/>
              </a:cxn>
              <a:cxn ang="0">
                <a:pos x="14" y="251"/>
              </a:cxn>
              <a:cxn ang="0">
                <a:pos x="7" y="235"/>
              </a:cxn>
              <a:cxn ang="0">
                <a:pos x="5" y="55"/>
              </a:cxn>
              <a:cxn ang="0">
                <a:pos x="7" y="44"/>
              </a:cxn>
              <a:cxn ang="0">
                <a:pos x="14" y="28"/>
              </a:cxn>
              <a:cxn ang="0">
                <a:pos x="20" y="20"/>
              </a:cxn>
              <a:cxn ang="0">
                <a:pos x="35" y="9"/>
              </a:cxn>
              <a:cxn ang="0">
                <a:pos x="55" y="6"/>
              </a:cxn>
              <a:cxn ang="0">
                <a:pos x="784" y="6"/>
              </a:cxn>
              <a:cxn ang="0">
                <a:pos x="802" y="9"/>
              </a:cxn>
              <a:cxn ang="0">
                <a:pos x="819" y="20"/>
              </a:cxn>
              <a:cxn ang="0">
                <a:pos x="824" y="28"/>
              </a:cxn>
              <a:cxn ang="0">
                <a:pos x="832" y="44"/>
              </a:cxn>
              <a:cxn ang="0">
                <a:pos x="832" y="226"/>
              </a:cxn>
              <a:cxn ang="0">
                <a:pos x="839" y="226"/>
              </a:cxn>
              <a:cxn ang="0">
                <a:pos x="839" y="55"/>
              </a:cxn>
              <a:cxn ang="0">
                <a:pos x="834" y="33"/>
              </a:cxn>
              <a:cxn ang="0">
                <a:pos x="823" y="17"/>
              </a:cxn>
              <a:cxn ang="0">
                <a:pos x="804" y="4"/>
              </a:cxn>
              <a:cxn ang="0">
                <a:pos x="784" y="0"/>
              </a:cxn>
              <a:cxn ang="0">
                <a:pos x="55" y="0"/>
              </a:cxn>
              <a:cxn ang="0">
                <a:pos x="33" y="4"/>
              </a:cxn>
              <a:cxn ang="0">
                <a:pos x="16" y="17"/>
              </a:cxn>
              <a:cxn ang="0">
                <a:pos x="3" y="33"/>
              </a:cxn>
              <a:cxn ang="0">
                <a:pos x="0" y="55"/>
              </a:cxn>
              <a:cxn ang="0">
                <a:pos x="0" y="226"/>
              </a:cxn>
              <a:cxn ang="0">
                <a:pos x="3" y="246"/>
              </a:cxn>
              <a:cxn ang="0">
                <a:pos x="16" y="264"/>
              </a:cxn>
              <a:cxn ang="0">
                <a:pos x="33" y="275"/>
              </a:cxn>
              <a:cxn ang="0">
                <a:pos x="55" y="279"/>
              </a:cxn>
              <a:cxn ang="0">
                <a:pos x="784" y="279"/>
              </a:cxn>
              <a:cxn ang="0">
                <a:pos x="804" y="275"/>
              </a:cxn>
              <a:cxn ang="0">
                <a:pos x="823" y="264"/>
              </a:cxn>
              <a:cxn ang="0">
                <a:pos x="834" y="246"/>
              </a:cxn>
              <a:cxn ang="0">
                <a:pos x="839" y="226"/>
              </a:cxn>
            </a:cxnLst>
            <a:rect l="0" t="0" r="r" b="b"/>
            <a:pathLst>
              <a:path w="839" h="279">
                <a:moveTo>
                  <a:pt x="835" y="226"/>
                </a:moveTo>
                <a:lnTo>
                  <a:pt x="832" y="226"/>
                </a:lnTo>
                <a:lnTo>
                  <a:pt x="832" y="226"/>
                </a:lnTo>
                <a:lnTo>
                  <a:pt x="832" y="235"/>
                </a:lnTo>
                <a:lnTo>
                  <a:pt x="828" y="244"/>
                </a:lnTo>
                <a:lnTo>
                  <a:pt x="824" y="251"/>
                </a:lnTo>
                <a:lnTo>
                  <a:pt x="819" y="259"/>
                </a:lnTo>
                <a:lnTo>
                  <a:pt x="819" y="259"/>
                </a:lnTo>
                <a:lnTo>
                  <a:pt x="812" y="266"/>
                </a:lnTo>
                <a:lnTo>
                  <a:pt x="802" y="270"/>
                </a:lnTo>
                <a:lnTo>
                  <a:pt x="793" y="273"/>
                </a:lnTo>
                <a:lnTo>
                  <a:pt x="784" y="273"/>
                </a:lnTo>
                <a:lnTo>
                  <a:pt x="55" y="273"/>
                </a:lnTo>
                <a:lnTo>
                  <a:pt x="55" y="273"/>
                </a:lnTo>
                <a:lnTo>
                  <a:pt x="44" y="273"/>
                </a:lnTo>
                <a:lnTo>
                  <a:pt x="35" y="270"/>
                </a:lnTo>
                <a:lnTo>
                  <a:pt x="27" y="266"/>
                </a:lnTo>
                <a:lnTo>
                  <a:pt x="20" y="259"/>
                </a:lnTo>
                <a:lnTo>
                  <a:pt x="20" y="259"/>
                </a:lnTo>
                <a:lnTo>
                  <a:pt x="14" y="251"/>
                </a:lnTo>
                <a:lnTo>
                  <a:pt x="9" y="244"/>
                </a:lnTo>
                <a:lnTo>
                  <a:pt x="7" y="235"/>
                </a:lnTo>
                <a:lnTo>
                  <a:pt x="5" y="226"/>
                </a:lnTo>
                <a:lnTo>
                  <a:pt x="5" y="55"/>
                </a:lnTo>
                <a:lnTo>
                  <a:pt x="5" y="55"/>
                </a:lnTo>
                <a:lnTo>
                  <a:pt x="7" y="44"/>
                </a:lnTo>
                <a:lnTo>
                  <a:pt x="9" y="35"/>
                </a:lnTo>
                <a:lnTo>
                  <a:pt x="14" y="28"/>
                </a:lnTo>
                <a:lnTo>
                  <a:pt x="20" y="20"/>
                </a:lnTo>
                <a:lnTo>
                  <a:pt x="20" y="20"/>
                </a:lnTo>
                <a:lnTo>
                  <a:pt x="27" y="15"/>
                </a:lnTo>
                <a:lnTo>
                  <a:pt x="35" y="9"/>
                </a:lnTo>
                <a:lnTo>
                  <a:pt x="44" y="8"/>
                </a:lnTo>
                <a:lnTo>
                  <a:pt x="55" y="6"/>
                </a:lnTo>
                <a:lnTo>
                  <a:pt x="784" y="6"/>
                </a:lnTo>
                <a:lnTo>
                  <a:pt x="784" y="6"/>
                </a:lnTo>
                <a:lnTo>
                  <a:pt x="793" y="8"/>
                </a:lnTo>
                <a:lnTo>
                  <a:pt x="802" y="9"/>
                </a:lnTo>
                <a:lnTo>
                  <a:pt x="812" y="15"/>
                </a:lnTo>
                <a:lnTo>
                  <a:pt x="819" y="20"/>
                </a:lnTo>
                <a:lnTo>
                  <a:pt x="819" y="20"/>
                </a:lnTo>
                <a:lnTo>
                  <a:pt x="824" y="28"/>
                </a:lnTo>
                <a:lnTo>
                  <a:pt x="828" y="35"/>
                </a:lnTo>
                <a:lnTo>
                  <a:pt x="832" y="44"/>
                </a:lnTo>
                <a:lnTo>
                  <a:pt x="832" y="55"/>
                </a:lnTo>
                <a:lnTo>
                  <a:pt x="832" y="226"/>
                </a:lnTo>
                <a:lnTo>
                  <a:pt x="835" y="226"/>
                </a:lnTo>
                <a:lnTo>
                  <a:pt x="839" y="226"/>
                </a:lnTo>
                <a:lnTo>
                  <a:pt x="839" y="55"/>
                </a:lnTo>
                <a:lnTo>
                  <a:pt x="839" y="55"/>
                </a:lnTo>
                <a:lnTo>
                  <a:pt x="837" y="44"/>
                </a:lnTo>
                <a:lnTo>
                  <a:pt x="834" y="33"/>
                </a:lnTo>
                <a:lnTo>
                  <a:pt x="830" y="24"/>
                </a:lnTo>
                <a:lnTo>
                  <a:pt x="823" y="17"/>
                </a:lnTo>
                <a:lnTo>
                  <a:pt x="813" y="9"/>
                </a:lnTo>
                <a:lnTo>
                  <a:pt x="804" y="4"/>
                </a:lnTo>
                <a:lnTo>
                  <a:pt x="795" y="0"/>
                </a:lnTo>
                <a:lnTo>
                  <a:pt x="784" y="0"/>
                </a:lnTo>
                <a:lnTo>
                  <a:pt x="55" y="0"/>
                </a:lnTo>
                <a:lnTo>
                  <a:pt x="55" y="0"/>
                </a:lnTo>
                <a:lnTo>
                  <a:pt x="44" y="0"/>
                </a:lnTo>
                <a:lnTo>
                  <a:pt x="33" y="4"/>
                </a:lnTo>
                <a:lnTo>
                  <a:pt x="24" y="9"/>
                </a:lnTo>
                <a:lnTo>
                  <a:pt x="16" y="17"/>
                </a:lnTo>
                <a:lnTo>
                  <a:pt x="9" y="24"/>
                </a:lnTo>
                <a:lnTo>
                  <a:pt x="3" y="33"/>
                </a:lnTo>
                <a:lnTo>
                  <a:pt x="0" y="44"/>
                </a:lnTo>
                <a:lnTo>
                  <a:pt x="0" y="55"/>
                </a:lnTo>
                <a:lnTo>
                  <a:pt x="0" y="226"/>
                </a:lnTo>
                <a:lnTo>
                  <a:pt x="0" y="226"/>
                </a:lnTo>
                <a:lnTo>
                  <a:pt x="0" y="237"/>
                </a:lnTo>
                <a:lnTo>
                  <a:pt x="3" y="246"/>
                </a:lnTo>
                <a:lnTo>
                  <a:pt x="9" y="255"/>
                </a:lnTo>
                <a:lnTo>
                  <a:pt x="16" y="264"/>
                </a:lnTo>
                <a:lnTo>
                  <a:pt x="24" y="270"/>
                </a:lnTo>
                <a:lnTo>
                  <a:pt x="33" y="275"/>
                </a:lnTo>
                <a:lnTo>
                  <a:pt x="44" y="279"/>
                </a:lnTo>
                <a:lnTo>
                  <a:pt x="55" y="279"/>
                </a:lnTo>
                <a:lnTo>
                  <a:pt x="784" y="279"/>
                </a:lnTo>
                <a:lnTo>
                  <a:pt x="784" y="279"/>
                </a:lnTo>
                <a:lnTo>
                  <a:pt x="795" y="279"/>
                </a:lnTo>
                <a:lnTo>
                  <a:pt x="804" y="275"/>
                </a:lnTo>
                <a:lnTo>
                  <a:pt x="813" y="270"/>
                </a:lnTo>
                <a:lnTo>
                  <a:pt x="823" y="264"/>
                </a:lnTo>
                <a:lnTo>
                  <a:pt x="830" y="255"/>
                </a:lnTo>
                <a:lnTo>
                  <a:pt x="834" y="246"/>
                </a:lnTo>
                <a:lnTo>
                  <a:pt x="837" y="237"/>
                </a:lnTo>
                <a:lnTo>
                  <a:pt x="839" y="226"/>
                </a:lnTo>
                <a:lnTo>
                  <a:pt x="835" y="226"/>
                </a:lnTo>
                <a:close/>
              </a:path>
            </a:pathLst>
          </a:custGeom>
          <a:solidFill>
            <a:srgbClr val="93959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02" name="Freeform 92">
            <a:extLst>
              <a:ext uri="{FF2B5EF4-FFF2-40B4-BE49-F238E27FC236}">
                <a16:creationId xmlns:a16="http://schemas.microsoft.com/office/drawing/2014/main" id="{D82B489F-62BA-3D51-CD2A-E5E5D52E3AF0}"/>
              </a:ext>
            </a:extLst>
          </p:cNvPr>
          <p:cNvSpPr>
            <a:spLocks/>
          </p:cNvSpPr>
          <p:nvPr/>
        </p:nvSpPr>
        <p:spPr bwMode="auto">
          <a:xfrm>
            <a:off x="7761993" y="2642590"/>
            <a:ext cx="1260078" cy="351725"/>
          </a:xfrm>
          <a:custGeom>
            <a:avLst/>
            <a:gdLst/>
            <a:ahLst/>
            <a:cxnLst>
              <a:cxn ang="0">
                <a:pos x="832" y="226"/>
              </a:cxn>
              <a:cxn ang="0">
                <a:pos x="832" y="235"/>
              </a:cxn>
              <a:cxn ang="0">
                <a:pos x="824" y="253"/>
              </a:cxn>
              <a:cxn ang="0">
                <a:pos x="819" y="259"/>
              </a:cxn>
              <a:cxn ang="0">
                <a:pos x="802" y="270"/>
              </a:cxn>
              <a:cxn ang="0">
                <a:pos x="784" y="273"/>
              </a:cxn>
              <a:cxn ang="0">
                <a:pos x="55" y="273"/>
              </a:cxn>
              <a:cxn ang="0">
                <a:pos x="35" y="270"/>
              </a:cxn>
              <a:cxn ang="0">
                <a:pos x="20" y="259"/>
              </a:cxn>
              <a:cxn ang="0">
                <a:pos x="14" y="253"/>
              </a:cxn>
              <a:cxn ang="0">
                <a:pos x="7" y="235"/>
              </a:cxn>
              <a:cxn ang="0">
                <a:pos x="5" y="55"/>
              </a:cxn>
              <a:cxn ang="0">
                <a:pos x="7" y="44"/>
              </a:cxn>
              <a:cxn ang="0">
                <a:pos x="14" y="28"/>
              </a:cxn>
              <a:cxn ang="0">
                <a:pos x="20" y="21"/>
              </a:cxn>
              <a:cxn ang="0">
                <a:pos x="35" y="10"/>
              </a:cxn>
              <a:cxn ang="0">
                <a:pos x="55" y="6"/>
              </a:cxn>
              <a:cxn ang="0">
                <a:pos x="784" y="6"/>
              </a:cxn>
              <a:cxn ang="0">
                <a:pos x="802" y="10"/>
              </a:cxn>
              <a:cxn ang="0">
                <a:pos x="819" y="21"/>
              </a:cxn>
              <a:cxn ang="0">
                <a:pos x="824" y="28"/>
              </a:cxn>
              <a:cxn ang="0">
                <a:pos x="832" y="44"/>
              </a:cxn>
              <a:cxn ang="0">
                <a:pos x="832" y="226"/>
              </a:cxn>
              <a:cxn ang="0">
                <a:pos x="839" y="226"/>
              </a:cxn>
              <a:cxn ang="0">
                <a:pos x="839" y="55"/>
              </a:cxn>
              <a:cxn ang="0">
                <a:pos x="834" y="33"/>
              </a:cxn>
              <a:cxn ang="0">
                <a:pos x="823" y="17"/>
              </a:cxn>
              <a:cxn ang="0">
                <a:pos x="804" y="4"/>
              </a:cxn>
              <a:cxn ang="0">
                <a:pos x="784" y="0"/>
              </a:cxn>
              <a:cxn ang="0">
                <a:pos x="55" y="0"/>
              </a:cxn>
              <a:cxn ang="0">
                <a:pos x="33" y="4"/>
              </a:cxn>
              <a:cxn ang="0">
                <a:pos x="16" y="17"/>
              </a:cxn>
              <a:cxn ang="0">
                <a:pos x="3" y="33"/>
              </a:cxn>
              <a:cxn ang="0">
                <a:pos x="0" y="55"/>
              </a:cxn>
              <a:cxn ang="0">
                <a:pos x="0" y="226"/>
              </a:cxn>
              <a:cxn ang="0">
                <a:pos x="3" y="246"/>
              </a:cxn>
              <a:cxn ang="0">
                <a:pos x="16" y="264"/>
              </a:cxn>
              <a:cxn ang="0">
                <a:pos x="33" y="275"/>
              </a:cxn>
              <a:cxn ang="0">
                <a:pos x="55" y="281"/>
              </a:cxn>
              <a:cxn ang="0">
                <a:pos x="784" y="281"/>
              </a:cxn>
              <a:cxn ang="0">
                <a:pos x="804" y="275"/>
              </a:cxn>
              <a:cxn ang="0">
                <a:pos x="823" y="264"/>
              </a:cxn>
              <a:cxn ang="0">
                <a:pos x="834" y="246"/>
              </a:cxn>
              <a:cxn ang="0">
                <a:pos x="839" y="226"/>
              </a:cxn>
            </a:cxnLst>
            <a:rect l="0" t="0" r="r" b="b"/>
            <a:pathLst>
              <a:path w="839" h="281">
                <a:moveTo>
                  <a:pt x="835" y="226"/>
                </a:moveTo>
                <a:lnTo>
                  <a:pt x="832" y="226"/>
                </a:lnTo>
                <a:lnTo>
                  <a:pt x="832" y="226"/>
                </a:lnTo>
                <a:lnTo>
                  <a:pt x="832" y="235"/>
                </a:lnTo>
                <a:lnTo>
                  <a:pt x="828" y="244"/>
                </a:lnTo>
                <a:lnTo>
                  <a:pt x="824" y="253"/>
                </a:lnTo>
                <a:lnTo>
                  <a:pt x="819" y="259"/>
                </a:lnTo>
                <a:lnTo>
                  <a:pt x="819" y="259"/>
                </a:lnTo>
                <a:lnTo>
                  <a:pt x="812" y="266"/>
                </a:lnTo>
                <a:lnTo>
                  <a:pt x="802" y="270"/>
                </a:lnTo>
                <a:lnTo>
                  <a:pt x="793" y="273"/>
                </a:lnTo>
                <a:lnTo>
                  <a:pt x="784" y="273"/>
                </a:lnTo>
                <a:lnTo>
                  <a:pt x="55" y="273"/>
                </a:lnTo>
                <a:lnTo>
                  <a:pt x="55" y="273"/>
                </a:lnTo>
                <a:lnTo>
                  <a:pt x="44" y="273"/>
                </a:lnTo>
                <a:lnTo>
                  <a:pt x="35" y="270"/>
                </a:lnTo>
                <a:lnTo>
                  <a:pt x="27" y="266"/>
                </a:lnTo>
                <a:lnTo>
                  <a:pt x="20" y="259"/>
                </a:lnTo>
                <a:lnTo>
                  <a:pt x="20" y="259"/>
                </a:lnTo>
                <a:lnTo>
                  <a:pt x="14" y="253"/>
                </a:lnTo>
                <a:lnTo>
                  <a:pt x="9" y="244"/>
                </a:lnTo>
                <a:lnTo>
                  <a:pt x="7" y="235"/>
                </a:lnTo>
                <a:lnTo>
                  <a:pt x="5" y="226"/>
                </a:lnTo>
                <a:lnTo>
                  <a:pt x="5" y="55"/>
                </a:lnTo>
                <a:lnTo>
                  <a:pt x="5" y="55"/>
                </a:lnTo>
                <a:lnTo>
                  <a:pt x="7" y="44"/>
                </a:lnTo>
                <a:lnTo>
                  <a:pt x="9" y="35"/>
                </a:lnTo>
                <a:lnTo>
                  <a:pt x="14" y="28"/>
                </a:lnTo>
                <a:lnTo>
                  <a:pt x="20" y="21"/>
                </a:lnTo>
                <a:lnTo>
                  <a:pt x="20" y="21"/>
                </a:lnTo>
                <a:lnTo>
                  <a:pt x="27" y="15"/>
                </a:lnTo>
                <a:lnTo>
                  <a:pt x="35" y="10"/>
                </a:lnTo>
                <a:lnTo>
                  <a:pt x="44" y="8"/>
                </a:lnTo>
                <a:lnTo>
                  <a:pt x="55" y="6"/>
                </a:lnTo>
                <a:lnTo>
                  <a:pt x="784" y="6"/>
                </a:lnTo>
                <a:lnTo>
                  <a:pt x="784" y="6"/>
                </a:lnTo>
                <a:lnTo>
                  <a:pt x="793" y="8"/>
                </a:lnTo>
                <a:lnTo>
                  <a:pt x="802" y="10"/>
                </a:lnTo>
                <a:lnTo>
                  <a:pt x="812" y="15"/>
                </a:lnTo>
                <a:lnTo>
                  <a:pt x="819" y="21"/>
                </a:lnTo>
                <a:lnTo>
                  <a:pt x="819" y="21"/>
                </a:lnTo>
                <a:lnTo>
                  <a:pt x="824" y="28"/>
                </a:lnTo>
                <a:lnTo>
                  <a:pt x="828" y="35"/>
                </a:lnTo>
                <a:lnTo>
                  <a:pt x="832" y="44"/>
                </a:lnTo>
                <a:lnTo>
                  <a:pt x="832" y="55"/>
                </a:lnTo>
                <a:lnTo>
                  <a:pt x="832" y="226"/>
                </a:lnTo>
                <a:lnTo>
                  <a:pt x="835" y="226"/>
                </a:lnTo>
                <a:lnTo>
                  <a:pt x="839" y="226"/>
                </a:lnTo>
                <a:lnTo>
                  <a:pt x="839" y="55"/>
                </a:lnTo>
                <a:lnTo>
                  <a:pt x="839" y="55"/>
                </a:lnTo>
                <a:lnTo>
                  <a:pt x="837" y="44"/>
                </a:lnTo>
                <a:lnTo>
                  <a:pt x="834" y="33"/>
                </a:lnTo>
                <a:lnTo>
                  <a:pt x="830" y="24"/>
                </a:lnTo>
                <a:lnTo>
                  <a:pt x="823" y="17"/>
                </a:lnTo>
                <a:lnTo>
                  <a:pt x="813" y="10"/>
                </a:lnTo>
                <a:lnTo>
                  <a:pt x="804" y="4"/>
                </a:lnTo>
                <a:lnTo>
                  <a:pt x="795" y="2"/>
                </a:lnTo>
                <a:lnTo>
                  <a:pt x="784" y="0"/>
                </a:lnTo>
                <a:lnTo>
                  <a:pt x="55" y="0"/>
                </a:lnTo>
                <a:lnTo>
                  <a:pt x="55" y="0"/>
                </a:lnTo>
                <a:lnTo>
                  <a:pt x="44" y="2"/>
                </a:lnTo>
                <a:lnTo>
                  <a:pt x="33" y="4"/>
                </a:lnTo>
                <a:lnTo>
                  <a:pt x="24" y="10"/>
                </a:lnTo>
                <a:lnTo>
                  <a:pt x="16" y="17"/>
                </a:lnTo>
                <a:lnTo>
                  <a:pt x="9" y="24"/>
                </a:lnTo>
                <a:lnTo>
                  <a:pt x="3" y="33"/>
                </a:lnTo>
                <a:lnTo>
                  <a:pt x="0" y="44"/>
                </a:lnTo>
                <a:lnTo>
                  <a:pt x="0" y="55"/>
                </a:lnTo>
                <a:lnTo>
                  <a:pt x="0" y="226"/>
                </a:lnTo>
                <a:lnTo>
                  <a:pt x="0" y="226"/>
                </a:lnTo>
                <a:lnTo>
                  <a:pt x="0" y="237"/>
                </a:lnTo>
                <a:lnTo>
                  <a:pt x="3" y="246"/>
                </a:lnTo>
                <a:lnTo>
                  <a:pt x="9" y="255"/>
                </a:lnTo>
                <a:lnTo>
                  <a:pt x="16" y="264"/>
                </a:lnTo>
                <a:lnTo>
                  <a:pt x="24" y="270"/>
                </a:lnTo>
                <a:lnTo>
                  <a:pt x="33" y="275"/>
                </a:lnTo>
                <a:lnTo>
                  <a:pt x="44" y="279"/>
                </a:lnTo>
                <a:lnTo>
                  <a:pt x="55" y="281"/>
                </a:lnTo>
                <a:lnTo>
                  <a:pt x="784" y="281"/>
                </a:lnTo>
                <a:lnTo>
                  <a:pt x="784" y="281"/>
                </a:lnTo>
                <a:lnTo>
                  <a:pt x="795" y="279"/>
                </a:lnTo>
                <a:lnTo>
                  <a:pt x="804" y="275"/>
                </a:lnTo>
                <a:lnTo>
                  <a:pt x="813" y="270"/>
                </a:lnTo>
                <a:lnTo>
                  <a:pt x="823" y="264"/>
                </a:lnTo>
                <a:lnTo>
                  <a:pt x="830" y="255"/>
                </a:lnTo>
                <a:lnTo>
                  <a:pt x="834" y="246"/>
                </a:lnTo>
                <a:lnTo>
                  <a:pt x="837" y="237"/>
                </a:lnTo>
                <a:lnTo>
                  <a:pt x="839" y="226"/>
                </a:lnTo>
                <a:lnTo>
                  <a:pt x="835" y="226"/>
                </a:lnTo>
                <a:close/>
              </a:path>
            </a:pathLst>
          </a:custGeom>
          <a:solidFill>
            <a:srgbClr val="93959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03" name="Freeform 93">
            <a:extLst>
              <a:ext uri="{FF2B5EF4-FFF2-40B4-BE49-F238E27FC236}">
                <a16:creationId xmlns:a16="http://schemas.microsoft.com/office/drawing/2014/main" id="{FD82E7B6-01A8-7C05-AD14-DA016DFC8EE5}"/>
              </a:ext>
            </a:extLst>
          </p:cNvPr>
          <p:cNvSpPr>
            <a:spLocks/>
          </p:cNvSpPr>
          <p:nvPr/>
        </p:nvSpPr>
        <p:spPr bwMode="auto">
          <a:xfrm>
            <a:off x="7761993" y="3065661"/>
            <a:ext cx="1260078" cy="350473"/>
          </a:xfrm>
          <a:custGeom>
            <a:avLst/>
            <a:gdLst/>
            <a:ahLst/>
            <a:cxnLst>
              <a:cxn ang="0">
                <a:pos x="832" y="225"/>
              </a:cxn>
              <a:cxn ang="0">
                <a:pos x="832" y="234"/>
              </a:cxn>
              <a:cxn ang="0">
                <a:pos x="824" y="252"/>
              </a:cxn>
              <a:cxn ang="0">
                <a:pos x="819" y="260"/>
              </a:cxn>
              <a:cxn ang="0">
                <a:pos x="802" y="269"/>
              </a:cxn>
              <a:cxn ang="0">
                <a:pos x="784" y="273"/>
              </a:cxn>
              <a:cxn ang="0">
                <a:pos x="55" y="273"/>
              </a:cxn>
              <a:cxn ang="0">
                <a:pos x="35" y="269"/>
              </a:cxn>
              <a:cxn ang="0">
                <a:pos x="20" y="260"/>
              </a:cxn>
              <a:cxn ang="0">
                <a:pos x="14" y="252"/>
              </a:cxn>
              <a:cxn ang="0">
                <a:pos x="7" y="234"/>
              </a:cxn>
              <a:cxn ang="0">
                <a:pos x="5" y="54"/>
              </a:cxn>
              <a:cxn ang="0">
                <a:pos x="7" y="45"/>
              </a:cxn>
              <a:cxn ang="0">
                <a:pos x="14" y="27"/>
              </a:cxn>
              <a:cxn ang="0">
                <a:pos x="20" y="20"/>
              </a:cxn>
              <a:cxn ang="0">
                <a:pos x="35" y="9"/>
              </a:cxn>
              <a:cxn ang="0">
                <a:pos x="55" y="5"/>
              </a:cxn>
              <a:cxn ang="0">
                <a:pos x="784" y="5"/>
              </a:cxn>
              <a:cxn ang="0">
                <a:pos x="802" y="9"/>
              </a:cxn>
              <a:cxn ang="0">
                <a:pos x="819" y="20"/>
              </a:cxn>
              <a:cxn ang="0">
                <a:pos x="824" y="27"/>
              </a:cxn>
              <a:cxn ang="0">
                <a:pos x="832" y="45"/>
              </a:cxn>
              <a:cxn ang="0">
                <a:pos x="832" y="225"/>
              </a:cxn>
              <a:cxn ang="0">
                <a:pos x="839" y="225"/>
              </a:cxn>
              <a:cxn ang="0">
                <a:pos x="839" y="54"/>
              </a:cxn>
              <a:cxn ang="0">
                <a:pos x="834" y="32"/>
              </a:cxn>
              <a:cxn ang="0">
                <a:pos x="823" y="16"/>
              </a:cxn>
              <a:cxn ang="0">
                <a:pos x="804" y="3"/>
              </a:cxn>
              <a:cxn ang="0">
                <a:pos x="784" y="0"/>
              </a:cxn>
              <a:cxn ang="0">
                <a:pos x="55" y="0"/>
              </a:cxn>
              <a:cxn ang="0">
                <a:pos x="33" y="3"/>
              </a:cxn>
              <a:cxn ang="0">
                <a:pos x="16" y="16"/>
              </a:cxn>
              <a:cxn ang="0">
                <a:pos x="3" y="32"/>
              </a:cxn>
              <a:cxn ang="0">
                <a:pos x="0" y="54"/>
              </a:cxn>
              <a:cxn ang="0">
                <a:pos x="0" y="225"/>
              </a:cxn>
              <a:cxn ang="0">
                <a:pos x="3" y="245"/>
              </a:cxn>
              <a:cxn ang="0">
                <a:pos x="16" y="263"/>
              </a:cxn>
              <a:cxn ang="0">
                <a:pos x="33" y="274"/>
              </a:cxn>
              <a:cxn ang="0">
                <a:pos x="55" y="280"/>
              </a:cxn>
              <a:cxn ang="0">
                <a:pos x="784" y="280"/>
              </a:cxn>
              <a:cxn ang="0">
                <a:pos x="804" y="274"/>
              </a:cxn>
              <a:cxn ang="0">
                <a:pos x="823" y="263"/>
              </a:cxn>
              <a:cxn ang="0">
                <a:pos x="834" y="245"/>
              </a:cxn>
              <a:cxn ang="0">
                <a:pos x="839" y="225"/>
              </a:cxn>
            </a:cxnLst>
            <a:rect l="0" t="0" r="r" b="b"/>
            <a:pathLst>
              <a:path w="839" h="280">
                <a:moveTo>
                  <a:pt x="835" y="225"/>
                </a:moveTo>
                <a:lnTo>
                  <a:pt x="832" y="225"/>
                </a:lnTo>
                <a:lnTo>
                  <a:pt x="832" y="225"/>
                </a:lnTo>
                <a:lnTo>
                  <a:pt x="832" y="234"/>
                </a:lnTo>
                <a:lnTo>
                  <a:pt x="828" y="243"/>
                </a:lnTo>
                <a:lnTo>
                  <a:pt x="824" y="252"/>
                </a:lnTo>
                <a:lnTo>
                  <a:pt x="819" y="260"/>
                </a:lnTo>
                <a:lnTo>
                  <a:pt x="819" y="260"/>
                </a:lnTo>
                <a:lnTo>
                  <a:pt x="812" y="265"/>
                </a:lnTo>
                <a:lnTo>
                  <a:pt x="802" y="269"/>
                </a:lnTo>
                <a:lnTo>
                  <a:pt x="793" y="273"/>
                </a:lnTo>
                <a:lnTo>
                  <a:pt x="784" y="273"/>
                </a:lnTo>
                <a:lnTo>
                  <a:pt x="55" y="273"/>
                </a:lnTo>
                <a:lnTo>
                  <a:pt x="55" y="273"/>
                </a:lnTo>
                <a:lnTo>
                  <a:pt x="44" y="273"/>
                </a:lnTo>
                <a:lnTo>
                  <a:pt x="35" y="269"/>
                </a:lnTo>
                <a:lnTo>
                  <a:pt x="27" y="265"/>
                </a:lnTo>
                <a:lnTo>
                  <a:pt x="20" y="260"/>
                </a:lnTo>
                <a:lnTo>
                  <a:pt x="20" y="260"/>
                </a:lnTo>
                <a:lnTo>
                  <a:pt x="14" y="252"/>
                </a:lnTo>
                <a:lnTo>
                  <a:pt x="9" y="243"/>
                </a:lnTo>
                <a:lnTo>
                  <a:pt x="7" y="234"/>
                </a:lnTo>
                <a:lnTo>
                  <a:pt x="5" y="225"/>
                </a:lnTo>
                <a:lnTo>
                  <a:pt x="5" y="54"/>
                </a:lnTo>
                <a:lnTo>
                  <a:pt x="5" y="54"/>
                </a:lnTo>
                <a:lnTo>
                  <a:pt x="7" y="45"/>
                </a:lnTo>
                <a:lnTo>
                  <a:pt x="9" y="36"/>
                </a:lnTo>
                <a:lnTo>
                  <a:pt x="14" y="27"/>
                </a:lnTo>
                <a:lnTo>
                  <a:pt x="20" y="20"/>
                </a:lnTo>
                <a:lnTo>
                  <a:pt x="20" y="20"/>
                </a:lnTo>
                <a:lnTo>
                  <a:pt x="27" y="14"/>
                </a:lnTo>
                <a:lnTo>
                  <a:pt x="35" y="9"/>
                </a:lnTo>
                <a:lnTo>
                  <a:pt x="44" y="7"/>
                </a:lnTo>
                <a:lnTo>
                  <a:pt x="55" y="5"/>
                </a:lnTo>
                <a:lnTo>
                  <a:pt x="784" y="5"/>
                </a:lnTo>
                <a:lnTo>
                  <a:pt x="784" y="5"/>
                </a:lnTo>
                <a:lnTo>
                  <a:pt x="793" y="7"/>
                </a:lnTo>
                <a:lnTo>
                  <a:pt x="802" y="9"/>
                </a:lnTo>
                <a:lnTo>
                  <a:pt x="812" y="14"/>
                </a:lnTo>
                <a:lnTo>
                  <a:pt x="819" y="20"/>
                </a:lnTo>
                <a:lnTo>
                  <a:pt x="819" y="20"/>
                </a:lnTo>
                <a:lnTo>
                  <a:pt x="824" y="27"/>
                </a:lnTo>
                <a:lnTo>
                  <a:pt x="828" y="36"/>
                </a:lnTo>
                <a:lnTo>
                  <a:pt x="832" y="45"/>
                </a:lnTo>
                <a:lnTo>
                  <a:pt x="832" y="54"/>
                </a:lnTo>
                <a:lnTo>
                  <a:pt x="832" y="225"/>
                </a:lnTo>
                <a:lnTo>
                  <a:pt x="835" y="225"/>
                </a:lnTo>
                <a:lnTo>
                  <a:pt x="839" y="225"/>
                </a:lnTo>
                <a:lnTo>
                  <a:pt x="839" y="54"/>
                </a:lnTo>
                <a:lnTo>
                  <a:pt x="839" y="54"/>
                </a:lnTo>
                <a:lnTo>
                  <a:pt x="837" y="43"/>
                </a:lnTo>
                <a:lnTo>
                  <a:pt x="834" y="32"/>
                </a:lnTo>
                <a:lnTo>
                  <a:pt x="830" y="23"/>
                </a:lnTo>
                <a:lnTo>
                  <a:pt x="823" y="16"/>
                </a:lnTo>
                <a:lnTo>
                  <a:pt x="813" y="9"/>
                </a:lnTo>
                <a:lnTo>
                  <a:pt x="804" y="3"/>
                </a:lnTo>
                <a:lnTo>
                  <a:pt x="795" y="1"/>
                </a:lnTo>
                <a:lnTo>
                  <a:pt x="784" y="0"/>
                </a:lnTo>
                <a:lnTo>
                  <a:pt x="55" y="0"/>
                </a:lnTo>
                <a:lnTo>
                  <a:pt x="55" y="0"/>
                </a:lnTo>
                <a:lnTo>
                  <a:pt x="44" y="1"/>
                </a:lnTo>
                <a:lnTo>
                  <a:pt x="33" y="3"/>
                </a:lnTo>
                <a:lnTo>
                  <a:pt x="24" y="9"/>
                </a:lnTo>
                <a:lnTo>
                  <a:pt x="16" y="16"/>
                </a:lnTo>
                <a:lnTo>
                  <a:pt x="9" y="23"/>
                </a:lnTo>
                <a:lnTo>
                  <a:pt x="3" y="32"/>
                </a:lnTo>
                <a:lnTo>
                  <a:pt x="0" y="43"/>
                </a:lnTo>
                <a:lnTo>
                  <a:pt x="0" y="54"/>
                </a:lnTo>
                <a:lnTo>
                  <a:pt x="0" y="225"/>
                </a:lnTo>
                <a:lnTo>
                  <a:pt x="0" y="225"/>
                </a:lnTo>
                <a:lnTo>
                  <a:pt x="0" y="236"/>
                </a:lnTo>
                <a:lnTo>
                  <a:pt x="3" y="245"/>
                </a:lnTo>
                <a:lnTo>
                  <a:pt x="9" y="254"/>
                </a:lnTo>
                <a:lnTo>
                  <a:pt x="16" y="263"/>
                </a:lnTo>
                <a:lnTo>
                  <a:pt x="24" y="271"/>
                </a:lnTo>
                <a:lnTo>
                  <a:pt x="33" y="274"/>
                </a:lnTo>
                <a:lnTo>
                  <a:pt x="44" y="278"/>
                </a:lnTo>
                <a:lnTo>
                  <a:pt x="55" y="280"/>
                </a:lnTo>
                <a:lnTo>
                  <a:pt x="784" y="280"/>
                </a:lnTo>
                <a:lnTo>
                  <a:pt x="784" y="280"/>
                </a:lnTo>
                <a:lnTo>
                  <a:pt x="795" y="278"/>
                </a:lnTo>
                <a:lnTo>
                  <a:pt x="804" y="274"/>
                </a:lnTo>
                <a:lnTo>
                  <a:pt x="813" y="271"/>
                </a:lnTo>
                <a:lnTo>
                  <a:pt x="823" y="263"/>
                </a:lnTo>
                <a:lnTo>
                  <a:pt x="830" y="254"/>
                </a:lnTo>
                <a:lnTo>
                  <a:pt x="834" y="245"/>
                </a:lnTo>
                <a:lnTo>
                  <a:pt x="837" y="236"/>
                </a:lnTo>
                <a:lnTo>
                  <a:pt x="839" y="225"/>
                </a:lnTo>
                <a:lnTo>
                  <a:pt x="835" y="225"/>
                </a:lnTo>
                <a:close/>
              </a:path>
            </a:pathLst>
          </a:custGeom>
          <a:solidFill>
            <a:srgbClr val="93959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04" name="Freeform 94">
            <a:extLst>
              <a:ext uri="{FF2B5EF4-FFF2-40B4-BE49-F238E27FC236}">
                <a16:creationId xmlns:a16="http://schemas.microsoft.com/office/drawing/2014/main" id="{1EB73B8F-5F06-9D16-3272-E742F621FA21}"/>
              </a:ext>
            </a:extLst>
          </p:cNvPr>
          <p:cNvSpPr>
            <a:spLocks/>
          </p:cNvSpPr>
          <p:nvPr/>
        </p:nvSpPr>
        <p:spPr bwMode="auto">
          <a:xfrm>
            <a:off x="7761993" y="3487481"/>
            <a:ext cx="1260078" cy="350473"/>
          </a:xfrm>
          <a:custGeom>
            <a:avLst/>
            <a:gdLst/>
            <a:ahLst/>
            <a:cxnLst>
              <a:cxn ang="0">
                <a:pos x="832" y="225"/>
              </a:cxn>
              <a:cxn ang="0">
                <a:pos x="832" y="234"/>
              </a:cxn>
              <a:cxn ang="0">
                <a:pos x="824" y="252"/>
              </a:cxn>
              <a:cxn ang="0">
                <a:pos x="819" y="260"/>
              </a:cxn>
              <a:cxn ang="0">
                <a:pos x="802" y="269"/>
              </a:cxn>
              <a:cxn ang="0">
                <a:pos x="784" y="273"/>
              </a:cxn>
              <a:cxn ang="0">
                <a:pos x="55" y="273"/>
              </a:cxn>
              <a:cxn ang="0">
                <a:pos x="35" y="269"/>
              </a:cxn>
              <a:cxn ang="0">
                <a:pos x="20" y="260"/>
              </a:cxn>
              <a:cxn ang="0">
                <a:pos x="14" y="252"/>
              </a:cxn>
              <a:cxn ang="0">
                <a:pos x="7" y="234"/>
              </a:cxn>
              <a:cxn ang="0">
                <a:pos x="5" y="55"/>
              </a:cxn>
              <a:cxn ang="0">
                <a:pos x="7" y="45"/>
              </a:cxn>
              <a:cxn ang="0">
                <a:pos x="14" y="27"/>
              </a:cxn>
              <a:cxn ang="0">
                <a:pos x="20" y="20"/>
              </a:cxn>
              <a:cxn ang="0">
                <a:pos x="35" y="11"/>
              </a:cxn>
              <a:cxn ang="0">
                <a:pos x="55" y="5"/>
              </a:cxn>
              <a:cxn ang="0">
                <a:pos x="784" y="5"/>
              </a:cxn>
              <a:cxn ang="0">
                <a:pos x="802" y="11"/>
              </a:cxn>
              <a:cxn ang="0">
                <a:pos x="819" y="20"/>
              </a:cxn>
              <a:cxn ang="0">
                <a:pos x="824" y="27"/>
              </a:cxn>
              <a:cxn ang="0">
                <a:pos x="832" y="45"/>
              </a:cxn>
              <a:cxn ang="0">
                <a:pos x="832" y="225"/>
              </a:cxn>
              <a:cxn ang="0">
                <a:pos x="839" y="225"/>
              </a:cxn>
              <a:cxn ang="0">
                <a:pos x="839" y="55"/>
              </a:cxn>
              <a:cxn ang="0">
                <a:pos x="834" y="33"/>
              </a:cxn>
              <a:cxn ang="0">
                <a:pos x="823" y="16"/>
              </a:cxn>
              <a:cxn ang="0">
                <a:pos x="804" y="5"/>
              </a:cxn>
              <a:cxn ang="0">
                <a:pos x="784" y="0"/>
              </a:cxn>
              <a:cxn ang="0">
                <a:pos x="55" y="0"/>
              </a:cxn>
              <a:cxn ang="0">
                <a:pos x="33" y="5"/>
              </a:cxn>
              <a:cxn ang="0">
                <a:pos x="16" y="16"/>
              </a:cxn>
              <a:cxn ang="0">
                <a:pos x="3" y="33"/>
              </a:cxn>
              <a:cxn ang="0">
                <a:pos x="0" y="55"/>
              </a:cxn>
              <a:cxn ang="0">
                <a:pos x="0" y="225"/>
              </a:cxn>
              <a:cxn ang="0">
                <a:pos x="3" y="247"/>
              </a:cxn>
              <a:cxn ang="0">
                <a:pos x="16" y="263"/>
              </a:cxn>
              <a:cxn ang="0">
                <a:pos x="33" y="274"/>
              </a:cxn>
              <a:cxn ang="0">
                <a:pos x="55" y="280"/>
              </a:cxn>
              <a:cxn ang="0">
                <a:pos x="784" y="280"/>
              </a:cxn>
              <a:cxn ang="0">
                <a:pos x="804" y="274"/>
              </a:cxn>
              <a:cxn ang="0">
                <a:pos x="823" y="263"/>
              </a:cxn>
              <a:cxn ang="0">
                <a:pos x="834" y="247"/>
              </a:cxn>
              <a:cxn ang="0">
                <a:pos x="839" y="225"/>
              </a:cxn>
            </a:cxnLst>
            <a:rect l="0" t="0" r="r" b="b"/>
            <a:pathLst>
              <a:path w="839" h="280">
                <a:moveTo>
                  <a:pt x="835" y="225"/>
                </a:moveTo>
                <a:lnTo>
                  <a:pt x="832" y="225"/>
                </a:lnTo>
                <a:lnTo>
                  <a:pt x="832" y="225"/>
                </a:lnTo>
                <a:lnTo>
                  <a:pt x="832" y="234"/>
                </a:lnTo>
                <a:lnTo>
                  <a:pt x="828" y="243"/>
                </a:lnTo>
                <a:lnTo>
                  <a:pt x="824" y="252"/>
                </a:lnTo>
                <a:lnTo>
                  <a:pt x="819" y="260"/>
                </a:lnTo>
                <a:lnTo>
                  <a:pt x="819" y="260"/>
                </a:lnTo>
                <a:lnTo>
                  <a:pt x="812" y="265"/>
                </a:lnTo>
                <a:lnTo>
                  <a:pt x="802" y="269"/>
                </a:lnTo>
                <a:lnTo>
                  <a:pt x="793" y="273"/>
                </a:lnTo>
                <a:lnTo>
                  <a:pt x="784" y="273"/>
                </a:lnTo>
                <a:lnTo>
                  <a:pt x="55" y="273"/>
                </a:lnTo>
                <a:lnTo>
                  <a:pt x="55" y="273"/>
                </a:lnTo>
                <a:lnTo>
                  <a:pt x="44" y="273"/>
                </a:lnTo>
                <a:lnTo>
                  <a:pt x="35" y="269"/>
                </a:lnTo>
                <a:lnTo>
                  <a:pt x="27" y="265"/>
                </a:lnTo>
                <a:lnTo>
                  <a:pt x="20" y="260"/>
                </a:lnTo>
                <a:lnTo>
                  <a:pt x="20" y="260"/>
                </a:lnTo>
                <a:lnTo>
                  <a:pt x="14" y="252"/>
                </a:lnTo>
                <a:lnTo>
                  <a:pt x="9" y="243"/>
                </a:lnTo>
                <a:lnTo>
                  <a:pt x="7" y="234"/>
                </a:lnTo>
                <a:lnTo>
                  <a:pt x="5" y="225"/>
                </a:lnTo>
                <a:lnTo>
                  <a:pt x="5" y="55"/>
                </a:lnTo>
                <a:lnTo>
                  <a:pt x="5" y="55"/>
                </a:lnTo>
                <a:lnTo>
                  <a:pt x="7" y="45"/>
                </a:lnTo>
                <a:lnTo>
                  <a:pt x="9" y="36"/>
                </a:lnTo>
                <a:lnTo>
                  <a:pt x="14" y="27"/>
                </a:lnTo>
                <a:lnTo>
                  <a:pt x="20" y="20"/>
                </a:lnTo>
                <a:lnTo>
                  <a:pt x="20" y="20"/>
                </a:lnTo>
                <a:lnTo>
                  <a:pt x="27" y="14"/>
                </a:lnTo>
                <a:lnTo>
                  <a:pt x="35" y="11"/>
                </a:lnTo>
                <a:lnTo>
                  <a:pt x="44" y="7"/>
                </a:lnTo>
                <a:lnTo>
                  <a:pt x="55" y="5"/>
                </a:lnTo>
                <a:lnTo>
                  <a:pt x="784" y="5"/>
                </a:lnTo>
                <a:lnTo>
                  <a:pt x="784" y="5"/>
                </a:lnTo>
                <a:lnTo>
                  <a:pt x="793" y="7"/>
                </a:lnTo>
                <a:lnTo>
                  <a:pt x="802" y="11"/>
                </a:lnTo>
                <a:lnTo>
                  <a:pt x="812" y="14"/>
                </a:lnTo>
                <a:lnTo>
                  <a:pt x="819" y="20"/>
                </a:lnTo>
                <a:lnTo>
                  <a:pt x="819" y="20"/>
                </a:lnTo>
                <a:lnTo>
                  <a:pt x="824" y="27"/>
                </a:lnTo>
                <a:lnTo>
                  <a:pt x="828" y="36"/>
                </a:lnTo>
                <a:lnTo>
                  <a:pt x="832" y="45"/>
                </a:lnTo>
                <a:lnTo>
                  <a:pt x="832" y="55"/>
                </a:lnTo>
                <a:lnTo>
                  <a:pt x="832" y="225"/>
                </a:lnTo>
                <a:lnTo>
                  <a:pt x="835" y="225"/>
                </a:lnTo>
                <a:lnTo>
                  <a:pt x="839" y="225"/>
                </a:lnTo>
                <a:lnTo>
                  <a:pt x="839" y="55"/>
                </a:lnTo>
                <a:lnTo>
                  <a:pt x="839" y="55"/>
                </a:lnTo>
                <a:lnTo>
                  <a:pt x="837" y="44"/>
                </a:lnTo>
                <a:lnTo>
                  <a:pt x="834" y="33"/>
                </a:lnTo>
                <a:lnTo>
                  <a:pt x="830" y="23"/>
                </a:lnTo>
                <a:lnTo>
                  <a:pt x="823" y="16"/>
                </a:lnTo>
                <a:lnTo>
                  <a:pt x="813" y="9"/>
                </a:lnTo>
                <a:lnTo>
                  <a:pt x="804" y="5"/>
                </a:lnTo>
                <a:lnTo>
                  <a:pt x="795" y="1"/>
                </a:lnTo>
                <a:lnTo>
                  <a:pt x="784" y="0"/>
                </a:lnTo>
                <a:lnTo>
                  <a:pt x="55" y="0"/>
                </a:lnTo>
                <a:lnTo>
                  <a:pt x="55" y="0"/>
                </a:lnTo>
                <a:lnTo>
                  <a:pt x="44" y="1"/>
                </a:lnTo>
                <a:lnTo>
                  <a:pt x="33" y="5"/>
                </a:lnTo>
                <a:lnTo>
                  <a:pt x="24" y="9"/>
                </a:lnTo>
                <a:lnTo>
                  <a:pt x="16" y="16"/>
                </a:lnTo>
                <a:lnTo>
                  <a:pt x="9" y="23"/>
                </a:lnTo>
                <a:lnTo>
                  <a:pt x="3" y="33"/>
                </a:lnTo>
                <a:lnTo>
                  <a:pt x="0" y="44"/>
                </a:lnTo>
                <a:lnTo>
                  <a:pt x="0" y="55"/>
                </a:lnTo>
                <a:lnTo>
                  <a:pt x="0" y="225"/>
                </a:lnTo>
                <a:lnTo>
                  <a:pt x="0" y="225"/>
                </a:lnTo>
                <a:lnTo>
                  <a:pt x="0" y="236"/>
                </a:lnTo>
                <a:lnTo>
                  <a:pt x="3" y="247"/>
                </a:lnTo>
                <a:lnTo>
                  <a:pt x="9" y="256"/>
                </a:lnTo>
                <a:lnTo>
                  <a:pt x="16" y="263"/>
                </a:lnTo>
                <a:lnTo>
                  <a:pt x="24" y="271"/>
                </a:lnTo>
                <a:lnTo>
                  <a:pt x="33" y="274"/>
                </a:lnTo>
                <a:lnTo>
                  <a:pt x="44" y="278"/>
                </a:lnTo>
                <a:lnTo>
                  <a:pt x="55" y="280"/>
                </a:lnTo>
                <a:lnTo>
                  <a:pt x="784" y="280"/>
                </a:lnTo>
                <a:lnTo>
                  <a:pt x="784" y="280"/>
                </a:lnTo>
                <a:lnTo>
                  <a:pt x="795" y="278"/>
                </a:lnTo>
                <a:lnTo>
                  <a:pt x="804" y="274"/>
                </a:lnTo>
                <a:lnTo>
                  <a:pt x="813" y="271"/>
                </a:lnTo>
                <a:lnTo>
                  <a:pt x="823" y="263"/>
                </a:lnTo>
                <a:lnTo>
                  <a:pt x="830" y="256"/>
                </a:lnTo>
                <a:lnTo>
                  <a:pt x="834" y="247"/>
                </a:lnTo>
                <a:lnTo>
                  <a:pt x="837" y="236"/>
                </a:lnTo>
                <a:lnTo>
                  <a:pt x="839" y="225"/>
                </a:lnTo>
                <a:lnTo>
                  <a:pt x="835" y="225"/>
                </a:lnTo>
                <a:close/>
              </a:path>
            </a:pathLst>
          </a:custGeom>
          <a:solidFill>
            <a:srgbClr val="93959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05" name="Freeform 95">
            <a:extLst>
              <a:ext uri="{FF2B5EF4-FFF2-40B4-BE49-F238E27FC236}">
                <a16:creationId xmlns:a16="http://schemas.microsoft.com/office/drawing/2014/main" id="{444CDB72-78CF-D24B-9869-4AAA92750551}"/>
              </a:ext>
            </a:extLst>
          </p:cNvPr>
          <p:cNvSpPr>
            <a:spLocks/>
          </p:cNvSpPr>
          <p:nvPr/>
        </p:nvSpPr>
        <p:spPr bwMode="auto">
          <a:xfrm>
            <a:off x="7761993" y="3909300"/>
            <a:ext cx="1260078" cy="350473"/>
          </a:xfrm>
          <a:custGeom>
            <a:avLst/>
            <a:gdLst/>
            <a:ahLst/>
            <a:cxnLst>
              <a:cxn ang="0">
                <a:pos x="832" y="225"/>
              </a:cxn>
              <a:cxn ang="0">
                <a:pos x="832" y="234"/>
              </a:cxn>
              <a:cxn ang="0">
                <a:pos x="824" y="253"/>
              </a:cxn>
              <a:cxn ang="0">
                <a:pos x="819" y="260"/>
              </a:cxn>
              <a:cxn ang="0">
                <a:pos x="802" y="269"/>
              </a:cxn>
              <a:cxn ang="0">
                <a:pos x="784" y="275"/>
              </a:cxn>
              <a:cxn ang="0">
                <a:pos x="55" y="275"/>
              </a:cxn>
              <a:cxn ang="0">
                <a:pos x="35" y="269"/>
              </a:cxn>
              <a:cxn ang="0">
                <a:pos x="20" y="260"/>
              </a:cxn>
              <a:cxn ang="0">
                <a:pos x="14" y="253"/>
              </a:cxn>
              <a:cxn ang="0">
                <a:pos x="7" y="234"/>
              </a:cxn>
              <a:cxn ang="0">
                <a:pos x="5" y="55"/>
              </a:cxn>
              <a:cxn ang="0">
                <a:pos x="7" y="46"/>
              </a:cxn>
              <a:cxn ang="0">
                <a:pos x="14" y="27"/>
              </a:cxn>
              <a:cxn ang="0">
                <a:pos x="20" y="20"/>
              </a:cxn>
              <a:cxn ang="0">
                <a:pos x="35" y="11"/>
              </a:cxn>
              <a:cxn ang="0">
                <a:pos x="55" y="7"/>
              </a:cxn>
              <a:cxn ang="0">
                <a:pos x="784" y="7"/>
              </a:cxn>
              <a:cxn ang="0">
                <a:pos x="802" y="11"/>
              </a:cxn>
              <a:cxn ang="0">
                <a:pos x="819" y="20"/>
              </a:cxn>
              <a:cxn ang="0">
                <a:pos x="824" y="27"/>
              </a:cxn>
              <a:cxn ang="0">
                <a:pos x="832" y="46"/>
              </a:cxn>
              <a:cxn ang="0">
                <a:pos x="832" y="225"/>
              </a:cxn>
              <a:cxn ang="0">
                <a:pos x="839" y="225"/>
              </a:cxn>
              <a:cxn ang="0">
                <a:pos x="839" y="55"/>
              </a:cxn>
              <a:cxn ang="0">
                <a:pos x="834" y="35"/>
              </a:cxn>
              <a:cxn ang="0">
                <a:pos x="823" y="16"/>
              </a:cxn>
              <a:cxn ang="0">
                <a:pos x="804" y="5"/>
              </a:cxn>
              <a:cxn ang="0">
                <a:pos x="784" y="0"/>
              </a:cxn>
              <a:cxn ang="0">
                <a:pos x="55" y="0"/>
              </a:cxn>
              <a:cxn ang="0">
                <a:pos x="33" y="5"/>
              </a:cxn>
              <a:cxn ang="0">
                <a:pos x="16" y="16"/>
              </a:cxn>
              <a:cxn ang="0">
                <a:pos x="3" y="35"/>
              </a:cxn>
              <a:cxn ang="0">
                <a:pos x="0" y="55"/>
              </a:cxn>
              <a:cxn ang="0">
                <a:pos x="0" y="225"/>
              </a:cxn>
              <a:cxn ang="0">
                <a:pos x="3" y="247"/>
              </a:cxn>
              <a:cxn ang="0">
                <a:pos x="16" y="264"/>
              </a:cxn>
              <a:cxn ang="0">
                <a:pos x="33" y="276"/>
              </a:cxn>
              <a:cxn ang="0">
                <a:pos x="55" y="280"/>
              </a:cxn>
              <a:cxn ang="0">
                <a:pos x="784" y="280"/>
              </a:cxn>
              <a:cxn ang="0">
                <a:pos x="804" y="276"/>
              </a:cxn>
              <a:cxn ang="0">
                <a:pos x="823" y="264"/>
              </a:cxn>
              <a:cxn ang="0">
                <a:pos x="834" y="247"/>
              </a:cxn>
              <a:cxn ang="0">
                <a:pos x="839" y="225"/>
              </a:cxn>
            </a:cxnLst>
            <a:rect l="0" t="0" r="r" b="b"/>
            <a:pathLst>
              <a:path w="839" h="280">
                <a:moveTo>
                  <a:pt x="835" y="225"/>
                </a:moveTo>
                <a:lnTo>
                  <a:pt x="832" y="225"/>
                </a:lnTo>
                <a:lnTo>
                  <a:pt x="832" y="225"/>
                </a:lnTo>
                <a:lnTo>
                  <a:pt x="832" y="234"/>
                </a:lnTo>
                <a:lnTo>
                  <a:pt x="828" y="243"/>
                </a:lnTo>
                <a:lnTo>
                  <a:pt x="824" y="253"/>
                </a:lnTo>
                <a:lnTo>
                  <a:pt x="819" y="260"/>
                </a:lnTo>
                <a:lnTo>
                  <a:pt x="819" y="260"/>
                </a:lnTo>
                <a:lnTo>
                  <a:pt x="812" y="265"/>
                </a:lnTo>
                <a:lnTo>
                  <a:pt x="802" y="269"/>
                </a:lnTo>
                <a:lnTo>
                  <a:pt x="793" y="273"/>
                </a:lnTo>
                <a:lnTo>
                  <a:pt x="784" y="275"/>
                </a:lnTo>
                <a:lnTo>
                  <a:pt x="55" y="275"/>
                </a:lnTo>
                <a:lnTo>
                  <a:pt x="55" y="275"/>
                </a:lnTo>
                <a:lnTo>
                  <a:pt x="44" y="273"/>
                </a:lnTo>
                <a:lnTo>
                  <a:pt x="35" y="269"/>
                </a:lnTo>
                <a:lnTo>
                  <a:pt x="27" y="265"/>
                </a:lnTo>
                <a:lnTo>
                  <a:pt x="20" y="260"/>
                </a:lnTo>
                <a:lnTo>
                  <a:pt x="20" y="260"/>
                </a:lnTo>
                <a:lnTo>
                  <a:pt x="14" y="253"/>
                </a:lnTo>
                <a:lnTo>
                  <a:pt x="9" y="243"/>
                </a:lnTo>
                <a:lnTo>
                  <a:pt x="7" y="234"/>
                </a:lnTo>
                <a:lnTo>
                  <a:pt x="5" y="225"/>
                </a:lnTo>
                <a:lnTo>
                  <a:pt x="5" y="55"/>
                </a:lnTo>
                <a:lnTo>
                  <a:pt x="5" y="55"/>
                </a:lnTo>
                <a:lnTo>
                  <a:pt x="7" y="46"/>
                </a:lnTo>
                <a:lnTo>
                  <a:pt x="9" y="36"/>
                </a:lnTo>
                <a:lnTo>
                  <a:pt x="14" y="27"/>
                </a:lnTo>
                <a:lnTo>
                  <a:pt x="20" y="20"/>
                </a:lnTo>
                <a:lnTo>
                  <a:pt x="20" y="20"/>
                </a:lnTo>
                <a:lnTo>
                  <a:pt x="27" y="14"/>
                </a:lnTo>
                <a:lnTo>
                  <a:pt x="35" y="11"/>
                </a:lnTo>
                <a:lnTo>
                  <a:pt x="44" y="7"/>
                </a:lnTo>
                <a:lnTo>
                  <a:pt x="55" y="7"/>
                </a:lnTo>
                <a:lnTo>
                  <a:pt x="784" y="7"/>
                </a:lnTo>
                <a:lnTo>
                  <a:pt x="784" y="7"/>
                </a:lnTo>
                <a:lnTo>
                  <a:pt x="793" y="7"/>
                </a:lnTo>
                <a:lnTo>
                  <a:pt x="802" y="11"/>
                </a:lnTo>
                <a:lnTo>
                  <a:pt x="812" y="14"/>
                </a:lnTo>
                <a:lnTo>
                  <a:pt x="819" y="20"/>
                </a:lnTo>
                <a:lnTo>
                  <a:pt x="819" y="20"/>
                </a:lnTo>
                <a:lnTo>
                  <a:pt x="824" y="27"/>
                </a:lnTo>
                <a:lnTo>
                  <a:pt x="828" y="36"/>
                </a:lnTo>
                <a:lnTo>
                  <a:pt x="832" y="46"/>
                </a:lnTo>
                <a:lnTo>
                  <a:pt x="832" y="55"/>
                </a:lnTo>
                <a:lnTo>
                  <a:pt x="832" y="225"/>
                </a:lnTo>
                <a:lnTo>
                  <a:pt x="835" y="225"/>
                </a:lnTo>
                <a:lnTo>
                  <a:pt x="839" y="225"/>
                </a:lnTo>
                <a:lnTo>
                  <a:pt x="839" y="55"/>
                </a:lnTo>
                <a:lnTo>
                  <a:pt x="839" y="55"/>
                </a:lnTo>
                <a:lnTo>
                  <a:pt x="837" y="44"/>
                </a:lnTo>
                <a:lnTo>
                  <a:pt x="834" y="35"/>
                </a:lnTo>
                <a:lnTo>
                  <a:pt x="830" y="24"/>
                </a:lnTo>
                <a:lnTo>
                  <a:pt x="823" y="16"/>
                </a:lnTo>
                <a:lnTo>
                  <a:pt x="813" y="9"/>
                </a:lnTo>
                <a:lnTo>
                  <a:pt x="804" y="5"/>
                </a:lnTo>
                <a:lnTo>
                  <a:pt x="795" y="2"/>
                </a:lnTo>
                <a:lnTo>
                  <a:pt x="784" y="0"/>
                </a:lnTo>
                <a:lnTo>
                  <a:pt x="55" y="0"/>
                </a:lnTo>
                <a:lnTo>
                  <a:pt x="55" y="0"/>
                </a:lnTo>
                <a:lnTo>
                  <a:pt x="44" y="2"/>
                </a:lnTo>
                <a:lnTo>
                  <a:pt x="33" y="5"/>
                </a:lnTo>
                <a:lnTo>
                  <a:pt x="24" y="9"/>
                </a:lnTo>
                <a:lnTo>
                  <a:pt x="16" y="16"/>
                </a:lnTo>
                <a:lnTo>
                  <a:pt x="9" y="24"/>
                </a:lnTo>
                <a:lnTo>
                  <a:pt x="3" y="35"/>
                </a:lnTo>
                <a:lnTo>
                  <a:pt x="0" y="44"/>
                </a:lnTo>
                <a:lnTo>
                  <a:pt x="0" y="55"/>
                </a:lnTo>
                <a:lnTo>
                  <a:pt x="0" y="225"/>
                </a:lnTo>
                <a:lnTo>
                  <a:pt x="0" y="225"/>
                </a:lnTo>
                <a:lnTo>
                  <a:pt x="0" y="236"/>
                </a:lnTo>
                <a:lnTo>
                  <a:pt x="3" y="247"/>
                </a:lnTo>
                <a:lnTo>
                  <a:pt x="9" y="256"/>
                </a:lnTo>
                <a:lnTo>
                  <a:pt x="16" y="264"/>
                </a:lnTo>
                <a:lnTo>
                  <a:pt x="24" y="271"/>
                </a:lnTo>
                <a:lnTo>
                  <a:pt x="33" y="276"/>
                </a:lnTo>
                <a:lnTo>
                  <a:pt x="44" y="278"/>
                </a:lnTo>
                <a:lnTo>
                  <a:pt x="55" y="280"/>
                </a:lnTo>
                <a:lnTo>
                  <a:pt x="784" y="280"/>
                </a:lnTo>
                <a:lnTo>
                  <a:pt x="784" y="280"/>
                </a:lnTo>
                <a:lnTo>
                  <a:pt x="795" y="278"/>
                </a:lnTo>
                <a:lnTo>
                  <a:pt x="804" y="276"/>
                </a:lnTo>
                <a:lnTo>
                  <a:pt x="813" y="271"/>
                </a:lnTo>
                <a:lnTo>
                  <a:pt x="823" y="264"/>
                </a:lnTo>
                <a:lnTo>
                  <a:pt x="830" y="256"/>
                </a:lnTo>
                <a:lnTo>
                  <a:pt x="834" y="247"/>
                </a:lnTo>
                <a:lnTo>
                  <a:pt x="837" y="236"/>
                </a:lnTo>
                <a:lnTo>
                  <a:pt x="839" y="225"/>
                </a:lnTo>
                <a:lnTo>
                  <a:pt x="835" y="225"/>
                </a:lnTo>
                <a:close/>
              </a:path>
            </a:pathLst>
          </a:custGeom>
          <a:solidFill>
            <a:srgbClr val="93959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06" name="Freeform 96">
            <a:extLst>
              <a:ext uri="{FF2B5EF4-FFF2-40B4-BE49-F238E27FC236}">
                <a16:creationId xmlns:a16="http://schemas.microsoft.com/office/drawing/2014/main" id="{D7D35315-414D-5363-1E16-0C54319E69A7}"/>
              </a:ext>
            </a:extLst>
          </p:cNvPr>
          <p:cNvSpPr>
            <a:spLocks/>
          </p:cNvSpPr>
          <p:nvPr/>
        </p:nvSpPr>
        <p:spPr bwMode="auto">
          <a:xfrm>
            <a:off x="7761993" y="4316372"/>
            <a:ext cx="1260078" cy="350473"/>
          </a:xfrm>
          <a:custGeom>
            <a:avLst/>
            <a:gdLst/>
            <a:ahLst/>
            <a:cxnLst>
              <a:cxn ang="0">
                <a:pos x="832" y="225"/>
              </a:cxn>
              <a:cxn ang="0">
                <a:pos x="832" y="234"/>
              </a:cxn>
              <a:cxn ang="0">
                <a:pos x="824" y="253"/>
              </a:cxn>
              <a:cxn ang="0">
                <a:pos x="819" y="260"/>
              </a:cxn>
              <a:cxn ang="0">
                <a:pos x="802" y="271"/>
              </a:cxn>
              <a:cxn ang="0">
                <a:pos x="784" y="275"/>
              </a:cxn>
              <a:cxn ang="0">
                <a:pos x="55" y="275"/>
              </a:cxn>
              <a:cxn ang="0">
                <a:pos x="35" y="271"/>
              </a:cxn>
              <a:cxn ang="0">
                <a:pos x="20" y="260"/>
              </a:cxn>
              <a:cxn ang="0">
                <a:pos x="14" y="253"/>
              </a:cxn>
              <a:cxn ang="0">
                <a:pos x="7" y="234"/>
              </a:cxn>
              <a:cxn ang="0">
                <a:pos x="5" y="55"/>
              </a:cxn>
              <a:cxn ang="0">
                <a:pos x="7" y="46"/>
              </a:cxn>
              <a:cxn ang="0">
                <a:pos x="14" y="27"/>
              </a:cxn>
              <a:cxn ang="0">
                <a:pos x="20" y="20"/>
              </a:cxn>
              <a:cxn ang="0">
                <a:pos x="35" y="11"/>
              </a:cxn>
              <a:cxn ang="0">
                <a:pos x="55" y="7"/>
              </a:cxn>
              <a:cxn ang="0">
                <a:pos x="784" y="7"/>
              </a:cxn>
              <a:cxn ang="0">
                <a:pos x="802" y="11"/>
              </a:cxn>
              <a:cxn ang="0">
                <a:pos x="819" y="20"/>
              </a:cxn>
              <a:cxn ang="0">
                <a:pos x="824" y="27"/>
              </a:cxn>
              <a:cxn ang="0">
                <a:pos x="832" y="46"/>
              </a:cxn>
              <a:cxn ang="0">
                <a:pos x="832" y="225"/>
              </a:cxn>
              <a:cxn ang="0">
                <a:pos x="839" y="225"/>
              </a:cxn>
              <a:cxn ang="0">
                <a:pos x="839" y="55"/>
              </a:cxn>
              <a:cxn ang="0">
                <a:pos x="834" y="35"/>
              </a:cxn>
              <a:cxn ang="0">
                <a:pos x="823" y="16"/>
              </a:cxn>
              <a:cxn ang="0">
                <a:pos x="804" y="5"/>
              </a:cxn>
              <a:cxn ang="0">
                <a:pos x="784" y="0"/>
              </a:cxn>
              <a:cxn ang="0">
                <a:pos x="55" y="0"/>
              </a:cxn>
              <a:cxn ang="0">
                <a:pos x="33" y="5"/>
              </a:cxn>
              <a:cxn ang="0">
                <a:pos x="16" y="16"/>
              </a:cxn>
              <a:cxn ang="0">
                <a:pos x="3" y="35"/>
              </a:cxn>
              <a:cxn ang="0">
                <a:pos x="0" y="55"/>
              </a:cxn>
              <a:cxn ang="0">
                <a:pos x="0" y="225"/>
              </a:cxn>
              <a:cxn ang="0">
                <a:pos x="3" y="247"/>
              </a:cxn>
              <a:cxn ang="0">
                <a:pos x="16" y="264"/>
              </a:cxn>
              <a:cxn ang="0">
                <a:pos x="33" y="277"/>
              </a:cxn>
              <a:cxn ang="0">
                <a:pos x="55" y="280"/>
              </a:cxn>
              <a:cxn ang="0">
                <a:pos x="784" y="280"/>
              </a:cxn>
              <a:cxn ang="0">
                <a:pos x="804" y="277"/>
              </a:cxn>
              <a:cxn ang="0">
                <a:pos x="823" y="264"/>
              </a:cxn>
              <a:cxn ang="0">
                <a:pos x="834" y="247"/>
              </a:cxn>
              <a:cxn ang="0">
                <a:pos x="839" y="225"/>
              </a:cxn>
            </a:cxnLst>
            <a:rect l="0" t="0" r="r" b="b"/>
            <a:pathLst>
              <a:path w="839" h="280">
                <a:moveTo>
                  <a:pt x="835" y="225"/>
                </a:moveTo>
                <a:lnTo>
                  <a:pt x="832" y="225"/>
                </a:lnTo>
                <a:lnTo>
                  <a:pt x="832" y="225"/>
                </a:lnTo>
                <a:lnTo>
                  <a:pt x="832" y="234"/>
                </a:lnTo>
                <a:lnTo>
                  <a:pt x="828" y="244"/>
                </a:lnTo>
                <a:lnTo>
                  <a:pt x="824" y="253"/>
                </a:lnTo>
                <a:lnTo>
                  <a:pt x="819" y="260"/>
                </a:lnTo>
                <a:lnTo>
                  <a:pt x="819" y="260"/>
                </a:lnTo>
                <a:lnTo>
                  <a:pt x="812" y="266"/>
                </a:lnTo>
                <a:lnTo>
                  <a:pt x="802" y="271"/>
                </a:lnTo>
                <a:lnTo>
                  <a:pt x="793" y="273"/>
                </a:lnTo>
                <a:lnTo>
                  <a:pt x="784" y="275"/>
                </a:lnTo>
                <a:lnTo>
                  <a:pt x="55" y="275"/>
                </a:lnTo>
                <a:lnTo>
                  <a:pt x="55" y="275"/>
                </a:lnTo>
                <a:lnTo>
                  <a:pt x="44" y="273"/>
                </a:lnTo>
                <a:lnTo>
                  <a:pt x="35" y="271"/>
                </a:lnTo>
                <a:lnTo>
                  <a:pt x="27" y="266"/>
                </a:lnTo>
                <a:lnTo>
                  <a:pt x="20" y="260"/>
                </a:lnTo>
                <a:lnTo>
                  <a:pt x="20" y="260"/>
                </a:lnTo>
                <a:lnTo>
                  <a:pt x="14" y="253"/>
                </a:lnTo>
                <a:lnTo>
                  <a:pt x="9" y="244"/>
                </a:lnTo>
                <a:lnTo>
                  <a:pt x="7" y="234"/>
                </a:lnTo>
                <a:lnTo>
                  <a:pt x="5" y="225"/>
                </a:lnTo>
                <a:lnTo>
                  <a:pt x="5" y="55"/>
                </a:lnTo>
                <a:lnTo>
                  <a:pt x="5" y="55"/>
                </a:lnTo>
                <a:lnTo>
                  <a:pt x="7" y="46"/>
                </a:lnTo>
                <a:lnTo>
                  <a:pt x="9" y="37"/>
                </a:lnTo>
                <a:lnTo>
                  <a:pt x="14" y="27"/>
                </a:lnTo>
                <a:lnTo>
                  <a:pt x="20" y="20"/>
                </a:lnTo>
                <a:lnTo>
                  <a:pt x="20" y="20"/>
                </a:lnTo>
                <a:lnTo>
                  <a:pt x="27" y="15"/>
                </a:lnTo>
                <a:lnTo>
                  <a:pt x="35" y="11"/>
                </a:lnTo>
                <a:lnTo>
                  <a:pt x="44" y="7"/>
                </a:lnTo>
                <a:lnTo>
                  <a:pt x="55" y="7"/>
                </a:lnTo>
                <a:lnTo>
                  <a:pt x="784" y="7"/>
                </a:lnTo>
                <a:lnTo>
                  <a:pt x="784" y="7"/>
                </a:lnTo>
                <a:lnTo>
                  <a:pt x="793" y="7"/>
                </a:lnTo>
                <a:lnTo>
                  <a:pt x="802" y="11"/>
                </a:lnTo>
                <a:lnTo>
                  <a:pt x="812" y="15"/>
                </a:lnTo>
                <a:lnTo>
                  <a:pt x="819" y="20"/>
                </a:lnTo>
                <a:lnTo>
                  <a:pt x="819" y="20"/>
                </a:lnTo>
                <a:lnTo>
                  <a:pt x="824" y="27"/>
                </a:lnTo>
                <a:lnTo>
                  <a:pt x="828" y="37"/>
                </a:lnTo>
                <a:lnTo>
                  <a:pt x="832" y="46"/>
                </a:lnTo>
                <a:lnTo>
                  <a:pt x="832" y="55"/>
                </a:lnTo>
                <a:lnTo>
                  <a:pt x="832" y="225"/>
                </a:lnTo>
                <a:lnTo>
                  <a:pt x="835" y="225"/>
                </a:lnTo>
                <a:lnTo>
                  <a:pt x="839" y="225"/>
                </a:lnTo>
                <a:lnTo>
                  <a:pt x="839" y="55"/>
                </a:lnTo>
                <a:lnTo>
                  <a:pt x="839" y="55"/>
                </a:lnTo>
                <a:lnTo>
                  <a:pt x="837" y="44"/>
                </a:lnTo>
                <a:lnTo>
                  <a:pt x="834" y="35"/>
                </a:lnTo>
                <a:lnTo>
                  <a:pt x="830" y="26"/>
                </a:lnTo>
                <a:lnTo>
                  <a:pt x="823" y="16"/>
                </a:lnTo>
                <a:lnTo>
                  <a:pt x="813" y="9"/>
                </a:lnTo>
                <a:lnTo>
                  <a:pt x="804" y="5"/>
                </a:lnTo>
                <a:lnTo>
                  <a:pt x="795" y="2"/>
                </a:lnTo>
                <a:lnTo>
                  <a:pt x="784" y="0"/>
                </a:lnTo>
                <a:lnTo>
                  <a:pt x="55" y="0"/>
                </a:lnTo>
                <a:lnTo>
                  <a:pt x="55" y="0"/>
                </a:lnTo>
                <a:lnTo>
                  <a:pt x="44" y="2"/>
                </a:lnTo>
                <a:lnTo>
                  <a:pt x="33" y="5"/>
                </a:lnTo>
                <a:lnTo>
                  <a:pt x="24" y="9"/>
                </a:lnTo>
                <a:lnTo>
                  <a:pt x="16" y="16"/>
                </a:lnTo>
                <a:lnTo>
                  <a:pt x="9" y="26"/>
                </a:lnTo>
                <a:lnTo>
                  <a:pt x="3" y="35"/>
                </a:lnTo>
                <a:lnTo>
                  <a:pt x="0" y="44"/>
                </a:lnTo>
                <a:lnTo>
                  <a:pt x="0" y="55"/>
                </a:lnTo>
                <a:lnTo>
                  <a:pt x="0" y="225"/>
                </a:lnTo>
                <a:lnTo>
                  <a:pt x="0" y="225"/>
                </a:lnTo>
                <a:lnTo>
                  <a:pt x="0" y="236"/>
                </a:lnTo>
                <a:lnTo>
                  <a:pt x="3" y="247"/>
                </a:lnTo>
                <a:lnTo>
                  <a:pt x="9" y="256"/>
                </a:lnTo>
                <a:lnTo>
                  <a:pt x="16" y="264"/>
                </a:lnTo>
                <a:lnTo>
                  <a:pt x="24" y="271"/>
                </a:lnTo>
                <a:lnTo>
                  <a:pt x="33" y="277"/>
                </a:lnTo>
                <a:lnTo>
                  <a:pt x="44" y="278"/>
                </a:lnTo>
                <a:lnTo>
                  <a:pt x="55" y="280"/>
                </a:lnTo>
                <a:lnTo>
                  <a:pt x="784" y="280"/>
                </a:lnTo>
                <a:lnTo>
                  <a:pt x="784" y="280"/>
                </a:lnTo>
                <a:lnTo>
                  <a:pt x="795" y="278"/>
                </a:lnTo>
                <a:lnTo>
                  <a:pt x="804" y="277"/>
                </a:lnTo>
                <a:lnTo>
                  <a:pt x="813" y="271"/>
                </a:lnTo>
                <a:lnTo>
                  <a:pt x="823" y="264"/>
                </a:lnTo>
                <a:lnTo>
                  <a:pt x="830" y="256"/>
                </a:lnTo>
                <a:lnTo>
                  <a:pt x="834" y="247"/>
                </a:lnTo>
                <a:lnTo>
                  <a:pt x="837" y="236"/>
                </a:lnTo>
                <a:lnTo>
                  <a:pt x="839" y="225"/>
                </a:lnTo>
                <a:lnTo>
                  <a:pt x="835" y="225"/>
                </a:lnTo>
                <a:close/>
              </a:path>
            </a:pathLst>
          </a:custGeom>
          <a:solidFill>
            <a:srgbClr val="93959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07" name="Freeform 97">
            <a:extLst>
              <a:ext uri="{FF2B5EF4-FFF2-40B4-BE49-F238E27FC236}">
                <a16:creationId xmlns:a16="http://schemas.microsoft.com/office/drawing/2014/main" id="{BCC48EFF-645D-E3D0-C561-2BD6E8FADF2F}"/>
              </a:ext>
            </a:extLst>
          </p:cNvPr>
          <p:cNvSpPr>
            <a:spLocks/>
          </p:cNvSpPr>
          <p:nvPr/>
        </p:nvSpPr>
        <p:spPr bwMode="auto">
          <a:xfrm>
            <a:off x="7761993" y="4740142"/>
            <a:ext cx="1260078" cy="350473"/>
          </a:xfrm>
          <a:custGeom>
            <a:avLst/>
            <a:gdLst/>
            <a:ahLst/>
            <a:cxnLst>
              <a:cxn ang="0">
                <a:pos x="832" y="225"/>
              </a:cxn>
              <a:cxn ang="0">
                <a:pos x="832" y="236"/>
              </a:cxn>
              <a:cxn ang="0">
                <a:pos x="824" y="253"/>
              </a:cxn>
              <a:cxn ang="0">
                <a:pos x="819" y="260"/>
              </a:cxn>
              <a:cxn ang="0">
                <a:pos x="802" y="271"/>
              </a:cxn>
              <a:cxn ang="0">
                <a:pos x="784" y="275"/>
              </a:cxn>
              <a:cxn ang="0">
                <a:pos x="55" y="275"/>
              </a:cxn>
              <a:cxn ang="0">
                <a:pos x="35" y="271"/>
              </a:cxn>
              <a:cxn ang="0">
                <a:pos x="20" y="260"/>
              </a:cxn>
              <a:cxn ang="0">
                <a:pos x="14" y="253"/>
              </a:cxn>
              <a:cxn ang="0">
                <a:pos x="7" y="236"/>
              </a:cxn>
              <a:cxn ang="0">
                <a:pos x="5" y="55"/>
              </a:cxn>
              <a:cxn ang="0">
                <a:pos x="7" y="46"/>
              </a:cxn>
              <a:cxn ang="0">
                <a:pos x="14" y="29"/>
              </a:cxn>
              <a:cxn ang="0">
                <a:pos x="20" y="22"/>
              </a:cxn>
              <a:cxn ang="0">
                <a:pos x="35" y="11"/>
              </a:cxn>
              <a:cxn ang="0">
                <a:pos x="55" y="7"/>
              </a:cxn>
              <a:cxn ang="0">
                <a:pos x="784" y="7"/>
              </a:cxn>
              <a:cxn ang="0">
                <a:pos x="802" y="11"/>
              </a:cxn>
              <a:cxn ang="0">
                <a:pos x="819" y="22"/>
              </a:cxn>
              <a:cxn ang="0">
                <a:pos x="824" y="29"/>
              </a:cxn>
              <a:cxn ang="0">
                <a:pos x="832" y="46"/>
              </a:cxn>
              <a:cxn ang="0">
                <a:pos x="832" y="225"/>
              </a:cxn>
              <a:cxn ang="0">
                <a:pos x="839" y="225"/>
              </a:cxn>
              <a:cxn ang="0">
                <a:pos x="839" y="55"/>
              </a:cxn>
              <a:cxn ang="0">
                <a:pos x="834" y="35"/>
              </a:cxn>
              <a:cxn ang="0">
                <a:pos x="823" y="17"/>
              </a:cxn>
              <a:cxn ang="0">
                <a:pos x="804" y="6"/>
              </a:cxn>
              <a:cxn ang="0">
                <a:pos x="784" y="0"/>
              </a:cxn>
              <a:cxn ang="0">
                <a:pos x="55" y="0"/>
              </a:cxn>
              <a:cxn ang="0">
                <a:pos x="33" y="6"/>
              </a:cxn>
              <a:cxn ang="0">
                <a:pos x="16" y="17"/>
              </a:cxn>
              <a:cxn ang="0">
                <a:pos x="3" y="35"/>
              </a:cxn>
              <a:cxn ang="0">
                <a:pos x="0" y="55"/>
              </a:cxn>
              <a:cxn ang="0">
                <a:pos x="0" y="225"/>
              </a:cxn>
              <a:cxn ang="0">
                <a:pos x="3" y="247"/>
              </a:cxn>
              <a:cxn ang="0">
                <a:pos x="16" y="264"/>
              </a:cxn>
              <a:cxn ang="0">
                <a:pos x="33" y="277"/>
              </a:cxn>
              <a:cxn ang="0">
                <a:pos x="55" y="280"/>
              </a:cxn>
              <a:cxn ang="0">
                <a:pos x="784" y="280"/>
              </a:cxn>
              <a:cxn ang="0">
                <a:pos x="804" y="277"/>
              </a:cxn>
              <a:cxn ang="0">
                <a:pos x="823" y="264"/>
              </a:cxn>
              <a:cxn ang="0">
                <a:pos x="834" y="247"/>
              </a:cxn>
              <a:cxn ang="0">
                <a:pos x="839" y="225"/>
              </a:cxn>
            </a:cxnLst>
            <a:rect l="0" t="0" r="r" b="b"/>
            <a:pathLst>
              <a:path w="839" h="280">
                <a:moveTo>
                  <a:pt x="835" y="225"/>
                </a:moveTo>
                <a:lnTo>
                  <a:pt x="832" y="225"/>
                </a:lnTo>
                <a:lnTo>
                  <a:pt x="832" y="225"/>
                </a:lnTo>
                <a:lnTo>
                  <a:pt x="832" y="236"/>
                </a:lnTo>
                <a:lnTo>
                  <a:pt x="828" y="246"/>
                </a:lnTo>
                <a:lnTo>
                  <a:pt x="824" y="253"/>
                </a:lnTo>
                <a:lnTo>
                  <a:pt x="819" y="260"/>
                </a:lnTo>
                <a:lnTo>
                  <a:pt x="819" y="260"/>
                </a:lnTo>
                <a:lnTo>
                  <a:pt x="812" y="266"/>
                </a:lnTo>
                <a:lnTo>
                  <a:pt x="802" y="271"/>
                </a:lnTo>
                <a:lnTo>
                  <a:pt x="793" y="273"/>
                </a:lnTo>
                <a:lnTo>
                  <a:pt x="784" y="275"/>
                </a:lnTo>
                <a:lnTo>
                  <a:pt x="55" y="275"/>
                </a:lnTo>
                <a:lnTo>
                  <a:pt x="55" y="275"/>
                </a:lnTo>
                <a:lnTo>
                  <a:pt x="44" y="273"/>
                </a:lnTo>
                <a:lnTo>
                  <a:pt x="35" y="271"/>
                </a:lnTo>
                <a:lnTo>
                  <a:pt x="27" y="266"/>
                </a:lnTo>
                <a:lnTo>
                  <a:pt x="20" y="260"/>
                </a:lnTo>
                <a:lnTo>
                  <a:pt x="20" y="260"/>
                </a:lnTo>
                <a:lnTo>
                  <a:pt x="14" y="253"/>
                </a:lnTo>
                <a:lnTo>
                  <a:pt x="9" y="246"/>
                </a:lnTo>
                <a:lnTo>
                  <a:pt x="7" y="236"/>
                </a:lnTo>
                <a:lnTo>
                  <a:pt x="5" y="225"/>
                </a:lnTo>
                <a:lnTo>
                  <a:pt x="5" y="55"/>
                </a:lnTo>
                <a:lnTo>
                  <a:pt x="5" y="55"/>
                </a:lnTo>
                <a:lnTo>
                  <a:pt x="7" y="46"/>
                </a:lnTo>
                <a:lnTo>
                  <a:pt x="9" y="37"/>
                </a:lnTo>
                <a:lnTo>
                  <a:pt x="14" y="29"/>
                </a:lnTo>
                <a:lnTo>
                  <a:pt x="20" y="22"/>
                </a:lnTo>
                <a:lnTo>
                  <a:pt x="20" y="22"/>
                </a:lnTo>
                <a:lnTo>
                  <a:pt x="27" y="15"/>
                </a:lnTo>
                <a:lnTo>
                  <a:pt x="35" y="11"/>
                </a:lnTo>
                <a:lnTo>
                  <a:pt x="44" y="7"/>
                </a:lnTo>
                <a:lnTo>
                  <a:pt x="55" y="7"/>
                </a:lnTo>
                <a:lnTo>
                  <a:pt x="784" y="7"/>
                </a:lnTo>
                <a:lnTo>
                  <a:pt x="784" y="7"/>
                </a:lnTo>
                <a:lnTo>
                  <a:pt x="793" y="7"/>
                </a:lnTo>
                <a:lnTo>
                  <a:pt x="802" y="11"/>
                </a:lnTo>
                <a:lnTo>
                  <a:pt x="812" y="15"/>
                </a:lnTo>
                <a:lnTo>
                  <a:pt x="819" y="22"/>
                </a:lnTo>
                <a:lnTo>
                  <a:pt x="819" y="22"/>
                </a:lnTo>
                <a:lnTo>
                  <a:pt x="824" y="29"/>
                </a:lnTo>
                <a:lnTo>
                  <a:pt x="828" y="37"/>
                </a:lnTo>
                <a:lnTo>
                  <a:pt x="832" y="46"/>
                </a:lnTo>
                <a:lnTo>
                  <a:pt x="832" y="55"/>
                </a:lnTo>
                <a:lnTo>
                  <a:pt x="832" y="225"/>
                </a:lnTo>
                <a:lnTo>
                  <a:pt x="835" y="225"/>
                </a:lnTo>
                <a:lnTo>
                  <a:pt x="839" y="225"/>
                </a:lnTo>
                <a:lnTo>
                  <a:pt x="839" y="55"/>
                </a:lnTo>
                <a:lnTo>
                  <a:pt x="839" y="55"/>
                </a:lnTo>
                <a:lnTo>
                  <a:pt x="837" y="44"/>
                </a:lnTo>
                <a:lnTo>
                  <a:pt x="834" y="35"/>
                </a:lnTo>
                <a:lnTo>
                  <a:pt x="830" y="26"/>
                </a:lnTo>
                <a:lnTo>
                  <a:pt x="823" y="17"/>
                </a:lnTo>
                <a:lnTo>
                  <a:pt x="813" y="11"/>
                </a:lnTo>
                <a:lnTo>
                  <a:pt x="804" y="6"/>
                </a:lnTo>
                <a:lnTo>
                  <a:pt x="795" y="2"/>
                </a:lnTo>
                <a:lnTo>
                  <a:pt x="784" y="0"/>
                </a:lnTo>
                <a:lnTo>
                  <a:pt x="55" y="0"/>
                </a:lnTo>
                <a:lnTo>
                  <a:pt x="55" y="0"/>
                </a:lnTo>
                <a:lnTo>
                  <a:pt x="44" y="2"/>
                </a:lnTo>
                <a:lnTo>
                  <a:pt x="33" y="6"/>
                </a:lnTo>
                <a:lnTo>
                  <a:pt x="24" y="11"/>
                </a:lnTo>
                <a:lnTo>
                  <a:pt x="16" y="17"/>
                </a:lnTo>
                <a:lnTo>
                  <a:pt x="9" y="26"/>
                </a:lnTo>
                <a:lnTo>
                  <a:pt x="3" y="35"/>
                </a:lnTo>
                <a:lnTo>
                  <a:pt x="0" y="44"/>
                </a:lnTo>
                <a:lnTo>
                  <a:pt x="0" y="55"/>
                </a:lnTo>
                <a:lnTo>
                  <a:pt x="0" y="225"/>
                </a:lnTo>
                <a:lnTo>
                  <a:pt x="0" y="225"/>
                </a:lnTo>
                <a:lnTo>
                  <a:pt x="0" y="236"/>
                </a:lnTo>
                <a:lnTo>
                  <a:pt x="3" y="247"/>
                </a:lnTo>
                <a:lnTo>
                  <a:pt x="9" y="257"/>
                </a:lnTo>
                <a:lnTo>
                  <a:pt x="16" y="264"/>
                </a:lnTo>
                <a:lnTo>
                  <a:pt x="24" y="271"/>
                </a:lnTo>
                <a:lnTo>
                  <a:pt x="33" y="277"/>
                </a:lnTo>
                <a:lnTo>
                  <a:pt x="44" y="279"/>
                </a:lnTo>
                <a:lnTo>
                  <a:pt x="55" y="280"/>
                </a:lnTo>
                <a:lnTo>
                  <a:pt x="784" y="280"/>
                </a:lnTo>
                <a:lnTo>
                  <a:pt x="784" y="280"/>
                </a:lnTo>
                <a:lnTo>
                  <a:pt x="795" y="279"/>
                </a:lnTo>
                <a:lnTo>
                  <a:pt x="804" y="277"/>
                </a:lnTo>
                <a:lnTo>
                  <a:pt x="813" y="271"/>
                </a:lnTo>
                <a:lnTo>
                  <a:pt x="823" y="264"/>
                </a:lnTo>
                <a:lnTo>
                  <a:pt x="830" y="257"/>
                </a:lnTo>
                <a:lnTo>
                  <a:pt x="834" y="247"/>
                </a:lnTo>
                <a:lnTo>
                  <a:pt x="837" y="236"/>
                </a:lnTo>
                <a:lnTo>
                  <a:pt x="839" y="225"/>
                </a:lnTo>
                <a:lnTo>
                  <a:pt x="835" y="225"/>
                </a:lnTo>
                <a:close/>
              </a:path>
            </a:pathLst>
          </a:custGeom>
          <a:solidFill>
            <a:schemeClr val="tx1">
              <a:lumMod val="50000"/>
              <a:lumOff val="50000"/>
            </a:schemeClr>
          </a:solidFill>
          <a:ln w="12700">
            <a:solidFill>
              <a:schemeClr val="bg2">
                <a:lumMod val="9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grpSp>
        <p:nvGrpSpPr>
          <p:cNvPr id="408" name="Group 407">
            <a:extLst>
              <a:ext uri="{FF2B5EF4-FFF2-40B4-BE49-F238E27FC236}">
                <a16:creationId xmlns:a16="http://schemas.microsoft.com/office/drawing/2014/main" id="{FFCCBC77-5441-61E9-B0FE-2C2315AA6252}"/>
              </a:ext>
            </a:extLst>
          </p:cNvPr>
          <p:cNvGrpSpPr/>
          <p:nvPr/>
        </p:nvGrpSpPr>
        <p:grpSpPr>
          <a:xfrm>
            <a:off x="5616666" y="2391024"/>
            <a:ext cx="1266035" cy="1275481"/>
            <a:chOff x="6215415" y="3642680"/>
            <a:chExt cx="1144110" cy="1372576"/>
          </a:xfrm>
          <a:solidFill>
            <a:srgbClr val="00318A"/>
          </a:solidFill>
        </p:grpSpPr>
        <p:sp>
          <p:nvSpPr>
            <p:cNvPr id="409" name="Rectangle 26">
              <a:extLst>
                <a:ext uri="{FF2B5EF4-FFF2-40B4-BE49-F238E27FC236}">
                  <a16:creationId xmlns:a16="http://schemas.microsoft.com/office/drawing/2014/main" id="{B9D0E521-3AD9-1F79-B6E4-C6D0E3B0A981}"/>
                </a:ext>
              </a:extLst>
            </p:cNvPr>
            <p:cNvSpPr>
              <a:spLocks noChangeArrowheads="1"/>
            </p:cNvSpPr>
            <p:nvPr/>
          </p:nvSpPr>
          <p:spPr bwMode="auto">
            <a:xfrm>
              <a:off x="7234664" y="3642680"/>
              <a:ext cx="10857" cy="942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0" name="Freeform 27">
              <a:extLst>
                <a:ext uri="{FF2B5EF4-FFF2-40B4-BE49-F238E27FC236}">
                  <a16:creationId xmlns:a16="http://schemas.microsoft.com/office/drawing/2014/main" id="{8E6776A5-10FB-54CD-7E46-FCAE0153774D}"/>
                </a:ext>
              </a:extLst>
            </p:cNvPr>
            <p:cNvSpPr>
              <a:spLocks/>
            </p:cNvSpPr>
            <p:nvPr/>
          </p:nvSpPr>
          <p:spPr bwMode="auto">
            <a:xfrm>
              <a:off x="7234664" y="3642680"/>
              <a:ext cx="10857" cy="9429"/>
            </a:xfrm>
            <a:custGeom>
              <a:avLst/>
              <a:gdLst/>
              <a:ahLst/>
              <a:cxnLst>
                <a:cxn ang="0">
                  <a:pos x="0" y="7"/>
                </a:cxn>
                <a:cxn ang="0">
                  <a:pos x="8" y="7"/>
                </a:cxn>
                <a:cxn ang="0">
                  <a:pos x="8" y="0"/>
                </a:cxn>
                <a:cxn ang="0">
                  <a:pos x="0" y="0"/>
                </a:cxn>
              </a:cxnLst>
              <a:rect l="0" t="0" r="r" b="b"/>
              <a:pathLst>
                <a:path w="8" h="7">
                  <a:moveTo>
                    <a:pt x="0" y="7"/>
                  </a:moveTo>
                  <a:lnTo>
                    <a:pt x="8" y="7"/>
                  </a:lnTo>
                  <a:lnTo>
                    <a:pt x="8"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1" name="Rectangle 33">
              <a:extLst>
                <a:ext uri="{FF2B5EF4-FFF2-40B4-BE49-F238E27FC236}">
                  <a16:creationId xmlns:a16="http://schemas.microsoft.com/office/drawing/2014/main" id="{B09A55E4-D797-86D8-2C6D-E76D091A4BC7}"/>
                </a:ext>
              </a:extLst>
            </p:cNvPr>
            <p:cNvSpPr>
              <a:spLocks noChangeArrowheads="1"/>
            </p:cNvSpPr>
            <p:nvPr/>
          </p:nvSpPr>
          <p:spPr bwMode="auto">
            <a:xfrm>
              <a:off x="7234664" y="4096613"/>
              <a:ext cx="10857" cy="942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2" name="Freeform 34">
              <a:extLst>
                <a:ext uri="{FF2B5EF4-FFF2-40B4-BE49-F238E27FC236}">
                  <a16:creationId xmlns:a16="http://schemas.microsoft.com/office/drawing/2014/main" id="{CD118433-A501-E9FE-4CE7-0F1EC9462EFE}"/>
                </a:ext>
              </a:extLst>
            </p:cNvPr>
            <p:cNvSpPr>
              <a:spLocks/>
            </p:cNvSpPr>
            <p:nvPr/>
          </p:nvSpPr>
          <p:spPr bwMode="auto">
            <a:xfrm>
              <a:off x="7234664" y="4096613"/>
              <a:ext cx="10857" cy="9429"/>
            </a:xfrm>
            <a:custGeom>
              <a:avLst/>
              <a:gdLst/>
              <a:ahLst/>
              <a:cxnLst>
                <a:cxn ang="0">
                  <a:pos x="0" y="7"/>
                </a:cxn>
                <a:cxn ang="0">
                  <a:pos x="8" y="7"/>
                </a:cxn>
                <a:cxn ang="0">
                  <a:pos x="8" y="0"/>
                </a:cxn>
                <a:cxn ang="0">
                  <a:pos x="0" y="0"/>
                </a:cxn>
              </a:cxnLst>
              <a:rect l="0" t="0" r="r" b="b"/>
              <a:pathLst>
                <a:path w="8" h="7">
                  <a:moveTo>
                    <a:pt x="0" y="7"/>
                  </a:moveTo>
                  <a:lnTo>
                    <a:pt x="8" y="7"/>
                  </a:lnTo>
                  <a:lnTo>
                    <a:pt x="8"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3" name="Rectangle 40">
              <a:extLst>
                <a:ext uri="{FF2B5EF4-FFF2-40B4-BE49-F238E27FC236}">
                  <a16:creationId xmlns:a16="http://schemas.microsoft.com/office/drawing/2014/main" id="{043B9548-2BA1-0EDD-D8C7-3446431CDABC}"/>
                </a:ext>
              </a:extLst>
            </p:cNvPr>
            <p:cNvSpPr>
              <a:spLocks noChangeArrowheads="1"/>
            </p:cNvSpPr>
            <p:nvPr/>
          </p:nvSpPr>
          <p:spPr bwMode="auto">
            <a:xfrm>
              <a:off x="7234664" y="4550547"/>
              <a:ext cx="10857" cy="942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4" name="Freeform 41">
              <a:extLst>
                <a:ext uri="{FF2B5EF4-FFF2-40B4-BE49-F238E27FC236}">
                  <a16:creationId xmlns:a16="http://schemas.microsoft.com/office/drawing/2014/main" id="{613FE5CC-C3D5-221C-576D-109E694AF5BF}"/>
                </a:ext>
              </a:extLst>
            </p:cNvPr>
            <p:cNvSpPr>
              <a:spLocks/>
            </p:cNvSpPr>
            <p:nvPr/>
          </p:nvSpPr>
          <p:spPr bwMode="auto">
            <a:xfrm>
              <a:off x="7234664" y="4550547"/>
              <a:ext cx="10857" cy="9429"/>
            </a:xfrm>
            <a:custGeom>
              <a:avLst/>
              <a:gdLst/>
              <a:ahLst/>
              <a:cxnLst>
                <a:cxn ang="0">
                  <a:pos x="0" y="7"/>
                </a:cxn>
                <a:cxn ang="0">
                  <a:pos x="8" y="7"/>
                </a:cxn>
                <a:cxn ang="0">
                  <a:pos x="8" y="0"/>
                </a:cxn>
                <a:cxn ang="0">
                  <a:pos x="0" y="0"/>
                </a:cxn>
              </a:cxnLst>
              <a:rect l="0" t="0" r="r" b="b"/>
              <a:pathLst>
                <a:path w="8" h="7">
                  <a:moveTo>
                    <a:pt x="0" y="7"/>
                  </a:moveTo>
                  <a:lnTo>
                    <a:pt x="8" y="7"/>
                  </a:lnTo>
                  <a:lnTo>
                    <a:pt x="8"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5" name="Rectangle 47">
              <a:extLst>
                <a:ext uri="{FF2B5EF4-FFF2-40B4-BE49-F238E27FC236}">
                  <a16:creationId xmlns:a16="http://schemas.microsoft.com/office/drawing/2014/main" id="{6FCBFB9E-8CBB-1AC9-BE81-80E8A8175036}"/>
                </a:ext>
              </a:extLst>
            </p:cNvPr>
            <p:cNvSpPr>
              <a:spLocks noChangeArrowheads="1"/>
            </p:cNvSpPr>
            <p:nvPr/>
          </p:nvSpPr>
          <p:spPr bwMode="auto">
            <a:xfrm>
              <a:off x="7234664" y="5007174"/>
              <a:ext cx="10857" cy="808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6" name="Freeform 48">
              <a:extLst>
                <a:ext uri="{FF2B5EF4-FFF2-40B4-BE49-F238E27FC236}">
                  <a16:creationId xmlns:a16="http://schemas.microsoft.com/office/drawing/2014/main" id="{EBF364F2-E974-B099-E40A-F1D7DD568C30}"/>
                </a:ext>
              </a:extLst>
            </p:cNvPr>
            <p:cNvSpPr>
              <a:spLocks/>
            </p:cNvSpPr>
            <p:nvPr/>
          </p:nvSpPr>
          <p:spPr bwMode="auto">
            <a:xfrm>
              <a:off x="7234664" y="5007174"/>
              <a:ext cx="10857" cy="8082"/>
            </a:xfrm>
            <a:custGeom>
              <a:avLst/>
              <a:gdLst/>
              <a:ahLst/>
              <a:cxnLst>
                <a:cxn ang="0">
                  <a:pos x="0" y="6"/>
                </a:cxn>
                <a:cxn ang="0">
                  <a:pos x="8" y="6"/>
                </a:cxn>
                <a:cxn ang="0">
                  <a:pos x="8" y="0"/>
                </a:cxn>
                <a:cxn ang="0">
                  <a:pos x="0" y="0"/>
                </a:cxn>
              </a:cxnLst>
              <a:rect l="0" t="0" r="r" b="b"/>
              <a:pathLst>
                <a:path w="8" h="6">
                  <a:moveTo>
                    <a:pt x="0" y="6"/>
                  </a:moveTo>
                  <a:lnTo>
                    <a:pt x="8" y="6"/>
                  </a:lnTo>
                  <a:lnTo>
                    <a:pt x="8"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7" name="Rectangle 119">
              <a:extLst>
                <a:ext uri="{FF2B5EF4-FFF2-40B4-BE49-F238E27FC236}">
                  <a16:creationId xmlns:a16="http://schemas.microsoft.com/office/drawing/2014/main" id="{C6F636A4-2714-2C6E-7F6F-744248A28889}"/>
                </a:ext>
              </a:extLst>
            </p:cNvPr>
            <p:cNvSpPr>
              <a:spLocks noChangeArrowheads="1"/>
            </p:cNvSpPr>
            <p:nvPr/>
          </p:nvSpPr>
          <p:spPr bwMode="auto">
            <a:xfrm>
              <a:off x="6304989" y="3788155"/>
              <a:ext cx="10857" cy="942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8" name="Freeform 120">
              <a:extLst>
                <a:ext uri="{FF2B5EF4-FFF2-40B4-BE49-F238E27FC236}">
                  <a16:creationId xmlns:a16="http://schemas.microsoft.com/office/drawing/2014/main" id="{F9F43F24-B6B6-D018-F2B0-24391C619B1F}"/>
                </a:ext>
              </a:extLst>
            </p:cNvPr>
            <p:cNvSpPr>
              <a:spLocks/>
            </p:cNvSpPr>
            <p:nvPr/>
          </p:nvSpPr>
          <p:spPr bwMode="auto">
            <a:xfrm>
              <a:off x="6304989" y="3788155"/>
              <a:ext cx="10857" cy="9429"/>
            </a:xfrm>
            <a:custGeom>
              <a:avLst/>
              <a:gdLst/>
              <a:ahLst/>
              <a:cxnLst>
                <a:cxn ang="0">
                  <a:pos x="8" y="0"/>
                </a:cxn>
                <a:cxn ang="0">
                  <a:pos x="0" y="0"/>
                </a:cxn>
                <a:cxn ang="0">
                  <a:pos x="0" y="7"/>
                </a:cxn>
                <a:cxn ang="0">
                  <a:pos x="8" y="7"/>
                </a:cxn>
              </a:cxnLst>
              <a:rect l="0" t="0" r="r" b="b"/>
              <a:pathLst>
                <a:path w="8" h="7">
                  <a:moveTo>
                    <a:pt x="8" y="0"/>
                  </a:moveTo>
                  <a:lnTo>
                    <a:pt x="0" y="0"/>
                  </a:lnTo>
                  <a:lnTo>
                    <a:pt x="0" y="7"/>
                  </a:lnTo>
                  <a:lnTo>
                    <a:pt x="8" y="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19" name="Rectangle 126">
              <a:extLst>
                <a:ext uri="{FF2B5EF4-FFF2-40B4-BE49-F238E27FC236}">
                  <a16:creationId xmlns:a16="http://schemas.microsoft.com/office/drawing/2014/main" id="{2D2B2C53-5726-E546-FF39-2B0593CAAF89}"/>
                </a:ext>
              </a:extLst>
            </p:cNvPr>
            <p:cNvSpPr>
              <a:spLocks noChangeArrowheads="1"/>
            </p:cNvSpPr>
            <p:nvPr/>
          </p:nvSpPr>
          <p:spPr bwMode="auto">
            <a:xfrm>
              <a:off x="6304989" y="4289232"/>
              <a:ext cx="10857" cy="942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0" name="Freeform 127">
              <a:extLst>
                <a:ext uri="{FF2B5EF4-FFF2-40B4-BE49-F238E27FC236}">
                  <a16:creationId xmlns:a16="http://schemas.microsoft.com/office/drawing/2014/main" id="{A2B24D93-0206-5167-E2D6-AE652E8B6F6A}"/>
                </a:ext>
              </a:extLst>
            </p:cNvPr>
            <p:cNvSpPr>
              <a:spLocks/>
            </p:cNvSpPr>
            <p:nvPr/>
          </p:nvSpPr>
          <p:spPr bwMode="auto">
            <a:xfrm>
              <a:off x="6304989" y="4289232"/>
              <a:ext cx="10857" cy="9429"/>
            </a:xfrm>
            <a:custGeom>
              <a:avLst/>
              <a:gdLst/>
              <a:ahLst/>
              <a:cxnLst>
                <a:cxn ang="0">
                  <a:pos x="8" y="0"/>
                </a:cxn>
                <a:cxn ang="0">
                  <a:pos x="0" y="0"/>
                </a:cxn>
                <a:cxn ang="0">
                  <a:pos x="0" y="7"/>
                </a:cxn>
                <a:cxn ang="0">
                  <a:pos x="8" y="7"/>
                </a:cxn>
              </a:cxnLst>
              <a:rect l="0" t="0" r="r" b="b"/>
              <a:pathLst>
                <a:path w="8" h="7">
                  <a:moveTo>
                    <a:pt x="8" y="0"/>
                  </a:moveTo>
                  <a:lnTo>
                    <a:pt x="0" y="0"/>
                  </a:lnTo>
                  <a:lnTo>
                    <a:pt x="0" y="7"/>
                  </a:lnTo>
                  <a:lnTo>
                    <a:pt x="8" y="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1" name="Rectangle 133">
              <a:extLst>
                <a:ext uri="{FF2B5EF4-FFF2-40B4-BE49-F238E27FC236}">
                  <a16:creationId xmlns:a16="http://schemas.microsoft.com/office/drawing/2014/main" id="{B4CF797C-2450-5C8D-FBF2-33C7D6DA5E61}"/>
                </a:ext>
              </a:extLst>
            </p:cNvPr>
            <p:cNvSpPr>
              <a:spLocks noChangeArrowheads="1"/>
            </p:cNvSpPr>
            <p:nvPr/>
          </p:nvSpPr>
          <p:spPr bwMode="auto">
            <a:xfrm>
              <a:off x="6304989" y="4793004"/>
              <a:ext cx="10857" cy="942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2" name="Freeform 134">
              <a:extLst>
                <a:ext uri="{FF2B5EF4-FFF2-40B4-BE49-F238E27FC236}">
                  <a16:creationId xmlns:a16="http://schemas.microsoft.com/office/drawing/2014/main" id="{B49EF875-0403-6B35-444D-1005C9CC20AB}"/>
                </a:ext>
              </a:extLst>
            </p:cNvPr>
            <p:cNvSpPr>
              <a:spLocks/>
            </p:cNvSpPr>
            <p:nvPr/>
          </p:nvSpPr>
          <p:spPr bwMode="auto">
            <a:xfrm>
              <a:off x="6304989" y="4793004"/>
              <a:ext cx="10857" cy="9429"/>
            </a:xfrm>
            <a:custGeom>
              <a:avLst/>
              <a:gdLst/>
              <a:ahLst/>
              <a:cxnLst>
                <a:cxn ang="0">
                  <a:pos x="8" y="0"/>
                </a:cxn>
                <a:cxn ang="0">
                  <a:pos x="0" y="0"/>
                </a:cxn>
                <a:cxn ang="0">
                  <a:pos x="0" y="7"/>
                </a:cxn>
                <a:cxn ang="0">
                  <a:pos x="8" y="7"/>
                </a:cxn>
              </a:cxnLst>
              <a:rect l="0" t="0" r="r" b="b"/>
              <a:pathLst>
                <a:path w="8" h="7">
                  <a:moveTo>
                    <a:pt x="8" y="0"/>
                  </a:moveTo>
                  <a:lnTo>
                    <a:pt x="0" y="0"/>
                  </a:lnTo>
                  <a:lnTo>
                    <a:pt x="0" y="7"/>
                  </a:lnTo>
                  <a:lnTo>
                    <a:pt x="8" y="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3" name="Freeform 201">
              <a:extLst>
                <a:ext uri="{FF2B5EF4-FFF2-40B4-BE49-F238E27FC236}">
                  <a16:creationId xmlns:a16="http://schemas.microsoft.com/office/drawing/2014/main" id="{412B153D-2185-41CB-1D33-C79DAC52FE01}"/>
                </a:ext>
              </a:extLst>
            </p:cNvPr>
            <p:cNvSpPr>
              <a:spLocks/>
            </p:cNvSpPr>
            <p:nvPr/>
          </p:nvSpPr>
          <p:spPr bwMode="auto">
            <a:xfrm>
              <a:off x="6370134" y="4111431"/>
              <a:ext cx="773598" cy="554958"/>
            </a:xfrm>
            <a:custGeom>
              <a:avLst/>
              <a:gdLst/>
              <a:ahLst/>
              <a:cxnLst>
                <a:cxn ang="0">
                  <a:pos x="132" y="46"/>
                </a:cxn>
                <a:cxn ang="0">
                  <a:pos x="121" y="75"/>
                </a:cxn>
                <a:cxn ang="0">
                  <a:pos x="141" y="101"/>
                </a:cxn>
                <a:cxn ang="0">
                  <a:pos x="174" y="106"/>
                </a:cxn>
                <a:cxn ang="0">
                  <a:pos x="205" y="93"/>
                </a:cxn>
                <a:cxn ang="0">
                  <a:pos x="242" y="64"/>
                </a:cxn>
                <a:cxn ang="0">
                  <a:pos x="269" y="57"/>
                </a:cxn>
                <a:cxn ang="0">
                  <a:pos x="344" y="77"/>
                </a:cxn>
                <a:cxn ang="0">
                  <a:pos x="517" y="196"/>
                </a:cxn>
                <a:cxn ang="0">
                  <a:pos x="568" y="240"/>
                </a:cxn>
                <a:cxn ang="0">
                  <a:pos x="568" y="264"/>
                </a:cxn>
                <a:cxn ang="0">
                  <a:pos x="550" y="282"/>
                </a:cxn>
                <a:cxn ang="0">
                  <a:pos x="526" y="278"/>
                </a:cxn>
                <a:cxn ang="0">
                  <a:pos x="520" y="277"/>
                </a:cxn>
                <a:cxn ang="0">
                  <a:pos x="515" y="322"/>
                </a:cxn>
                <a:cxn ang="0">
                  <a:pos x="496" y="333"/>
                </a:cxn>
                <a:cxn ang="0">
                  <a:pos x="463" y="341"/>
                </a:cxn>
                <a:cxn ang="0">
                  <a:pos x="449" y="368"/>
                </a:cxn>
                <a:cxn ang="0">
                  <a:pos x="407" y="372"/>
                </a:cxn>
                <a:cxn ang="0">
                  <a:pos x="408" y="379"/>
                </a:cxn>
                <a:cxn ang="0">
                  <a:pos x="399" y="403"/>
                </a:cxn>
                <a:cxn ang="0">
                  <a:pos x="381" y="412"/>
                </a:cxn>
                <a:cxn ang="0">
                  <a:pos x="355" y="409"/>
                </a:cxn>
                <a:cxn ang="0">
                  <a:pos x="308" y="381"/>
                </a:cxn>
                <a:cxn ang="0">
                  <a:pos x="320" y="348"/>
                </a:cxn>
                <a:cxn ang="0">
                  <a:pos x="311" y="328"/>
                </a:cxn>
                <a:cxn ang="0">
                  <a:pos x="288" y="330"/>
                </a:cxn>
                <a:cxn ang="0">
                  <a:pos x="271" y="341"/>
                </a:cxn>
                <a:cxn ang="0">
                  <a:pos x="284" y="306"/>
                </a:cxn>
                <a:cxn ang="0">
                  <a:pos x="286" y="284"/>
                </a:cxn>
                <a:cxn ang="0">
                  <a:pos x="273" y="267"/>
                </a:cxn>
                <a:cxn ang="0">
                  <a:pos x="251" y="269"/>
                </a:cxn>
                <a:cxn ang="0">
                  <a:pos x="231" y="288"/>
                </a:cxn>
                <a:cxn ang="0">
                  <a:pos x="225" y="291"/>
                </a:cxn>
                <a:cxn ang="0">
                  <a:pos x="229" y="269"/>
                </a:cxn>
                <a:cxn ang="0">
                  <a:pos x="218" y="249"/>
                </a:cxn>
                <a:cxn ang="0">
                  <a:pos x="194" y="245"/>
                </a:cxn>
                <a:cxn ang="0">
                  <a:pos x="172" y="262"/>
                </a:cxn>
                <a:cxn ang="0">
                  <a:pos x="172" y="255"/>
                </a:cxn>
                <a:cxn ang="0">
                  <a:pos x="168" y="233"/>
                </a:cxn>
                <a:cxn ang="0">
                  <a:pos x="146" y="222"/>
                </a:cxn>
                <a:cxn ang="0">
                  <a:pos x="123" y="231"/>
                </a:cxn>
                <a:cxn ang="0">
                  <a:pos x="102" y="253"/>
                </a:cxn>
                <a:cxn ang="0">
                  <a:pos x="46" y="207"/>
                </a:cxn>
                <a:cxn ang="0">
                  <a:pos x="5" y="189"/>
                </a:cxn>
                <a:cxn ang="0">
                  <a:pos x="0" y="181"/>
                </a:cxn>
                <a:cxn ang="0">
                  <a:pos x="20" y="95"/>
                </a:cxn>
                <a:cxn ang="0">
                  <a:pos x="68" y="18"/>
                </a:cxn>
                <a:cxn ang="0">
                  <a:pos x="86" y="0"/>
                </a:cxn>
                <a:cxn ang="0">
                  <a:pos x="130" y="9"/>
                </a:cxn>
                <a:cxn ang="0">
                  <a:pos x="150" y="16"/>
                </a:cxn>
              </a:cxnLst>
              <a:rect l="0" t="0" r="r" b="b"/>
              <a:pathLst>
                <a:path w="570" h="412">
                  <a:moveTo>
                    <a:pt x="157" y="22"/>
                  </a:moveTo>
                  <a:lnTo>
                    <a:pt x="157" y="22"/>
                  </a:lnTo>
                  <a:lnTo>
                    <a:pt x="132" y="46"/>
                  </a:lnTo>
                  <a:lnTo>
                    <a:pt x="132" y="46"/>
                  </a:lnTo>
                  <a:lnTo>
                    <a:pt x="126" y="53"/>
                  </a:lnTo>
                  <a:lnTo>
                    <a:pt x="123" y="60"/>
                  </a:lnTo>
                  <a:lnTo>
                    <a:pt x="121" y="68"/>
                  </a:lnTo>
                  <a:lnTo>
                    <a:pt x="121" y="75"/>
                  </a:lnTo>
                  <a:lnTo>
                    <a:pt x="123" y="84"/>
                  </a:lnTo>
                  <a:lnTo>
                    <a:pt x="126" y="90"/>
                  </a:lnTo>
                  <a:lnTo>
                    <a:pt x="134" y="97"/>
                  </a:lnTo>
                  <a:lnTo>
                    <a:pt x="141" y="101"/>
                  </a:lnTo>
                  <a:lnTo>
                    <a:pt x="141" y="101"/>
                  </a:lnTo>
                  <a:lnTo>
                    <a:pt x="157" y="106"/>
                  </a:lnTo>
                  <a:lnTo>
                    <a:pt x="165" y="106"/>
                  </a:lnTo>
                  <a:lnTo>
                    <a:pt x="174" y="106"/>
                  </a:lnTo>
                  <a:lnTo>
                    <a:pt x="181" y="104"/>
                  </a:lnTo>
                  <a:lnTo>
                    <a:pt x="189" y="103"/>
                  </a:lnTo>
                  <a:lnTo>
                    <a:pt x="196" y="99"/>
                  </a:lnTo>
                  <a:lnTo>
                    <a:pt x="205" y="93"/>
                  </a:lnTo>
                  <a:lnTo>
                    <a:pt x="205" y="93"/>
                  </a:lnTo>
                  <a:lnTo>
                    <a:pt x="234" y="70"/>
                  </a:lnTo>
                  <a:lnTo>
                    <a:pt x="234" y="70"/>
                  </a:lnTo>
                  <a:lnTo>
                    <a:pt x="242" y="64"/>
                  </a:lnTo>
                  <a:lnTo>
                    <a:pt x="251" y="60"/>
                  </a:lnTo>
                  <a:lnTo>
                    <a:pt x="260" y="57"/>
                  </a:lnTo>
                  <a:lnTo>
                    <a:pt x="269" y="57"/>
                  </a:lnTo>
                  <a:lnTo>
                    <a:pt x="269" y="57"/>
                  </a:lnTo>
                  <a:lnTo>
                    <a:pt x="289" y="57"/>
                  </a:lnTo>
                  <a:lnTo>
                    <a:pt x="308" y="60"/>
                  </a:lnTo>
                  <a:lnTo>
                    <a:pt x="326" y="68"/>
                  </a:lnTo>
                  <a:lnTo>
                    <a:pt x="344" y="77"/>
                  </a:lnTo>
                  <a:lnTo>
                    <a:pt x="344" y="77"/>
                  </a:lnTo>
                  <a:lnTo>
                    <a:pt x="476" y="167"/>
                  </a:lnTo>
                  <a:lnTo>
                    <a:pt x="476" y="167"/>
                  </a:lnTo>
                  <a:lnTo>
                    <a:pt x="517" y="196"/>
                  </a:lnTo>
                  <a:lnTo>
                    <a:pt x="557" y="225"/>
                  </a:lnTo>
                  <a:lnTo>
                    <a:pt x="557" y="225"/>
                  </a:lnTo>
                  <a:lnTo>
                    <a:pt x="566" y="234"/>
                  </a:lnTo>
                  <a:lnTo>
                    <a:pt x="568" y="240"/>
                  </a:lnTo>
                  <a:lnTo>
                    <a:pt x="570" y="247"/>
                  </a:lnTo>
                  <a:lnTo>
                    <a:pt x="570" y="247"/>
                  </a:lnTo>
                  <a:lnTo>
                    <a:pt x="570" y="256"/>
                  </a:lnTo>
                  <a:lnTo>
                    <a:pt x="568" y="264"/>
                  </a:lnTo>
                  <a:lnTo>
                    <a:pt x="564" y="271"/>
                  </a:lnTo>
                  <a:lnTo>
                    <a:pt x="557" y="278"/>
                  </a:lnTo>
                  <a:lnTo>
                    <a:pt x="557" y="278"/>
                  </a:lnTo>
                  <a:lnTo>
                    <a:pt x="550" y="282"/>
                  </a:lnTo>
                  <a:lnTo>
                    <a:pt x="542" y="284"/>
                  </a:lnTo>
                  <a:lnTo>
                    <a:pt x="535" y="282"/>
                  </a:lnTo>
                  <a:lnTo>
                    <a:pt x="526" y="278"/>
                  </a:lnTo>
                  <a:lnTo>
                    <a:pt x="526" y="278"/>
                  </a:lnTo>
                  <a:lnTo>
                    <a:pt x="524" y="277"/>
                  </a:lnTo>
                  <a:lnTo>
                    <a:pt x="524" y="277"/>
                  </a:lnTo>
                  <a:lnTo>
                    <a:pt x="520" y="277"/>
                  </a:lnTo>
                  <a:lnTo>
                    <a:pt x="520" y="277"/>
                  </a:lnTo>
                  <a:lnTo>
                    <a:pt x="526" y="288"/>
                  </a:lnTo>
                  <a:lnTo>
                    <a:pt x="526" y="300"/>
                  </a:lnTo>
                  <a:lnTo>
                    <a:pt x="522" y="311"/>
                  </a:lnTo>
                  <a:lnTo>
                    <a:pt x="515" y="322"/>
                  </a:lnTo>
                  <a:lnTo>
                    <a:pt x="515" y="322"/>
                  </a:lnTo>
                  <a:lnTo>
                    <a:pt x="506" y="330"/>
                  </a:lnTo>
                  <a:lnTo>
                    <a:pt x="502" y="333"/>
                  </a:lnTo>
                  <a:lnTo>
                    <a:pt x="496" y="333"/>
                  </a:lnTo>
                  <a:lnTo>
                    <a:pt x="482" y="333"/>
                  </a:lnTo>
                  <a:lnTo>
                    <a:pt x="463" y="330"/>
                  </a:lnTo>
                  <a:lnTo>
                    <a:pt x="463" y="330"/>
                  </a:lnTo>
                  <a:lnTo>
                    <a:pt x="463" y="341"/>
                  </a:lnTo>
                  <a:lnTo>
                    <a:pt x="462" y="352"/>
                  </a:lnTo>
                  <a:lnTo>
                    <a:pt x="458" y="361"/>
                  </a:lnTo>
                  <a:lnTo>
                    <a:pt x="449" y="368"/>
                  </a:lnTo>
                  <a:lnTo>
                    <a:pt x="449" y="368"/>
                  </a:lnTo>
                  <a:lnTo>
                    <a:pt x="440" y="374"/>
                  </a:lnTo>
                  <a:lnTo>
                    <a:pt x="429" y="376"/>
                  </a:lnTo>
                  <a:lnTo>
                    <a:pt x="418" y="374"/>
                  </a:lnTo>
                  <a:lnTo>
                    <a:pt x="407" y="372"/>
                  </a:lnTo>
                  <a:lnTo>
                    <a:pt x="407" y="372"/>
                  </a:lnTo>
                  <a:lnTo>
                    <a:pt x="407" y="374"/>
                  </a:lnTo>
                  <a:lnTo>
                    <a:pt x="407" y="374"/>
                  </a:lnTo>
                  <a:lnTo>
                    <a:pt x="408" y="379"/>
                  </a:lnTo>
                  <a:lnTo>
                    <a:pt x="408" y="387"/>
                  </a:lnTo>
                  <a:lnTo>
                    <a:pt x="407" y="392"/>
                  </a:lnTo>
                  <a:lnTo>
                    <a:pt x="403" y="398"/>
                  </a:lnTo>
                  <a:lnTo>
                    <a:pt x="399" y="403"/>
                  </a:lnTo>
                  <a:lnTo>
                    <a:pt x="394" y="407"/>
                  </a:lnTo>
                  <a:lnTo>
                    <a:pt x="388" y="410"/>
                  </a:lnTo>
                  <a:lnTo>
                    <a:pt x="381" y="412"/>
                  </a:lnTo>
                  <a:lnTo>
                    <a:pt x="381" y="412"/>
                  </a:lnTo>
                  <a:lnTo>
                    <a:pt x="374" y="412"/>
                  </a:lnTo>
                  <a:lnTo>
                    <a:pt x="368" y="412"/>
                  </a:lnTo>
                  <a:lnTo>
                    <a:pt x="355" y="409"/>
                  </a:lnTo>
                  <a:lnTo>
                    <a:pt x="355" y="409"/>
                  </a:lnTo>
                  <a:lnTo>
                    <a:pt x="342" y="403"/>
                  </a:lnTo>
                  <a:lnTo>
                    <a:pt x="330" y="398"/>
                  </a:lnTo>
                  <a:lnTo>
                    <a:pt x="308" y="381"/>
                  </a:lnTo>
                  <a:lnTo>
                    <a:pt x="308" y="381"/>
                  </a:lnTo>
                  <a:lnTo>
                    <a:pt x="315" y="366"/>
                  </a:lnTo>
                  <a:lnTo>
                    <a:pt x="315" y="366"/>
                  </a:lnTo>
                  <a:lnTo>
                    <a:pt x="319" y="354"/>
                  </a:lnTo>
                  <a:lnTo>
                    <a:pt x="320" y="348"/>
                  </a:lnTo>
                  <a:lnTo>
                    <a:pt x="320" y="341"/>
                  </a:lnTo>
                  <a:lnTo>
                    <a:pt x="320" y="341"/>
                  </a:lnTo>
                  <a:lnTo>
                    <a:pt x="317" y="333"/>
                  </a:lnTo>
                  <a:lnTo>
                    <a:pt x="311" y="328"/>
                  </a:lnTo>
                  <a:lnTo>
                    <a:pt x="304" y="324"/>
                  </a:lnTo>
                  <a:lnTo>
                    <a:pt x="297" y="326"/>
                  </a:lnTo>
                  <a:lnTo>
                    <a:pt x="297" y="326"/>
                  </a:lnTo>
                  <a:lnTo>
                    <a:pt x="288" y="330"/>
                  </a:lnTo>
                  <a:lnTo>
                    <a:pt x="278" y="335"/>
                  </a:lnTo>
                  <a:lnTo>
                    <a:pt x="278" y="335"/>
                  </a:lnTo>
                  <a:lnTo>
                    <a:pt x="271" y="341"/>
                  </a:lnTo>
                  <a:lnTo>
                    <a:pt x="271" y="341"/>
                  </a:lnTo>
                  <a:lnTo>
                    <a:pt x="273" y="337"/>
                  </a:lnTo>
                  <a:lnTo>
                    <a:pt x="273" y="337"/>
                  </a:lnTo>
                  <a:lnTo>
                    <a:pt x="282" y="317"/>
                  </a:lnTo>
                  <a:lnTo>
                    <a:pt x="284" y="306"/>
                  </a:lnTo>
                  <a:lnTo>
                    <a:pt x="286" y="295"/>
                  </a:lnTo>
                  <a:lnTo>
                    <a:pt x="286" y="295"/>
                  </a:lnTo>
                  <a:lnTo>
                    <a:pt x="286" y="284"/>
                  </a:lnTo>
                  <a:lnTo>
                    <a:pt x="286" y="284"/>
                  </a:lnTo>
                  <a:lnTo>
                    <a:pt x="284" y="278"/>
                  </a:lnTo>
                  <a:lnTo>
                    <a:pt x="280" y="275"/>
                  </a:lnTo>
                  <a:lnTo>
                    <a:pt x="277" y="271"/>
                  </a:lnTo>
                  <a:lnTo>
                    <a:pt x="273" y="267"/>
                  </a:lnTo>
                  <a:lnTo>
                    <a:pt x="269" y="266"/>
                  </a:lnTo>
                  <a:lnTo>
                    <a:pt x="264" y="266"/>
                  </a:lnTo>
                  <a:lnTo>
                    <a:pt x="258" y="267"/>
                  </a:lnTo>
                  <a:lnTo>
                    <a:pt x="251" y="269"/>
                  </a:lnTo>
                  <a:lnTo>
                    <a:pt x="251" y="269"/>
                  </a:lnTo>
                  <a:lnTo>
                    <a:pt x="245" y="273"/>
                  </a:lnTo>
                  <a:lnTo>
                    <a:pt x="240" y="277"/>
                  </a:lnTo>
                  <a:lnTo>
                    <a:pt x="231" y="288"/>
                  </a:lnTo>
                  <a:lnTo>
                    <a:pt x="231" y="288"/>
                  </a:lnTo>
                  <a:lnTo>
                    <a:pt x="223" y="295"/>
                  </a:lnTo>
                  <a:lnTo>
                    <a:pt x="223" y="295"/>
                  </a:lnTo>
                  <a:lnTo>
                    <a:pt x="225" y="291"/>
                  </a:lnTo>
                  <a:lnTo>
                    <a:pt x="225" y="291"/>
                  </a:lnTo>
                  <a:lnTo>
                    <a:pt x="227" y="280"/>
                  </a:lnTo>
                  <a:lnTo>
                    <a:pt x="229" y="269"/>
                  </a:lnTo>
                  <a:lnTo>
                    <a:pt x="229" y="269"/>
                  </a:lnTo>
                  <a:lnTo>
                    <a:pt x="227" y="264"/>
                  </a:lnTo>
                  <a:lnTo>
                    <a:pt x="225" y="258"/>
                  </a:lnTo>
                  <a:lnTo>
                    <a:pt x="222" y="253"/>
                  </a:lnTo>
                  <a:lnTo>
                    <a:pt x="218" y="249"/>
                  </a:lnTo>
                  <a:lnTo>
                    <a:pt x="212" y="245"/>
                  </a:lnTo>
                  <a:lnTo>
                    <a:pt x="207" y="245"/>
                  </a:lnTo>
                  <a:lnTo>
                    <a:pt x="201" y="245"/>
                  </a:lnTo>
                  <a:lnTo>
                    <a:pt x="194" y="245"/>
                  </a:lnTo>
                  <a:lnTo>
                    <a:pt x="194" y="245"/>
                  </a:lnTo>
                  <a:lnTo>
                    <a:pt x="189" y="249"/>
                  </a:lnTo>
                  <a:lnTo>
                    <a:pt x="181" y="253"/>
                  </a:lnTo>
                  <a:lnTo>
                    <a:pt x="172" y="262"/>
                  </a:lnTo>
                  <a:lnTo>
                    <a:pt x="172" y="262"/>
                  </a:lnTo>
                  <a:lnTo>
                    <a:pt x="168" y="267"/>
                  </a:lnTo>
                  <a:lnTo>
                    <a:pt x="168" y="267"/>
                  </a:lnTo>
                  <a:lnTo>
                    <a:pt x="172" y="255"/>
                  </a:lnTo>
                  <a:lnTo>
                    <a:pt x="172" y="255"/>
                  </a:lnTo>
                  <a:lnTo>
                    <a:pt x="172" y="247"/>
                  </a:lnTo>
                  <a:lnTo>
                    <a:pt x="170" y="240"/>
                  </a:lnTo>
                  <a:lnTo>
                    <a:pt x="168" y="233"/>
                  </a:lnTo>
                  <a:lnTo>
                    <a:pt x="163" y="227"/>
                  </a:lnTo>
                  <a:lnTo>
                    <a:pt x="163" y="227"/>
                  </a:lnTo>
                  <a:lnTo>
                    <a:pt x="156" y="223"/>
                  </a:lnTo>
                  <a:lnTo>
                    <a:pt x="146" y="222"/>
                  </a:lnTo>
                  <a:lnTo>
                    <a:pt x="139" y="222"/>
                  </a:lnTo>
                  <a:lnTo>
                    <a:pt x="130" y="225"/>
                  </a:lnTo>
                  <a:lnTo>
                    <a:pt x="130" y="225"/>
                  </a:lnTo>
                  <a:lnTo>
                    <a:pt x="123" y="231"/>
                  </a:lnTo>
                  <a:lnTo>
                    <a:pt x="115" y="236"/>
                  </a:lnTo>
                  <a:lnTo>
                    <a:pt x="104" y="249"/>
                  </a:lnTo>
                  <a:lnTo>
                    <a:pt x="104" y="249"/>
                  </a:lnTo>
                  <a:lnTo>
                    <a:pt x="102" y="253"/>
                  </a:lnTo>
                  <a:lnTo>
                    <a:pt x="102" y="253"/>
                  </a:lnTo>
                  <a:lnTo>
                    <a:pt x="73" y="229"/>
                  </a:lnTo>
                  <a:lnTo>
                    <a:pt x="46" y="207"/>
                  </a:lnTo>
                  <a:lnTo>
                    <a:pt x="46" y="207"/>
                  </a:lnTo>
                  <a:lnTo>
                    <a:pt x="36" y="200"/>
                  </a:lnTo>
                  <a:lnTo>
                    <a:pt x="25" y="196"/>
                  </a:lnTo>
                  <a:lnTo>
                    <a:pt x="16" y="192"/>
                  </a:lnTo>
                  <a:lnTo>
                    <a:pt x="5" y="189"/>
                  </a:lnTo>
                  <a:lnTo>
                    <a:pt x="5" y="189"/>
                  </a:lnTo>
                  <a:lnTo>
                    <a:pt x="0" y="187"/>
                  </a:lnTo>
                  <a:lnTo>
                    <a:pt x="0" y="181"/>
                  </a:lnTo>
                  <a:lnTo>
                    <a:pt x="0" y="181"/>
                  </a:lnTo>
                  <a:lnTo>
                    <a:pt x="2" y="159"/>
                  </a:lnTo>
                  <a:lnTo>
                    <a:pt x="7" y="137"/>
                  </a:lnTo>
                  <a:lnTo>
                    <a:pt x="13" y="115"/>
                  </a:lnTo>
                  <a:lnTo>
                    <a:pt x="20" y="95"/>
                  </a:lnTo>
                  <a:lnTo>
                    <a:pt x="29" y="75"/>
                  </a:lnTo>
                  <a:lnTo>
                    <a:pt x="40" y="55"/>
                  </a:lnTo>
                  <a:lnTo>
                    <a:pt x="53" y="37"/>
                  </a:lnTo>
                  <a:lnTo>
                    <a:pt x="68" y="18"/>
                  </a:lnTo>
                  <a:lnTo>
                    <a:pt x="68" y="18"/>
                  </a:lnTo>
                  <a:lnTo>
                    <a:pt x="84" y="2"/>
                  </a:lnTo>
                  <a:lnTo>
                    <a:pt x="84" y="2"/>
                  </a:lnTo>
                  <a:lnTo>
                    <a:pt x="86" y="0"/>
                  </a:lnTo>
                  <a:lnTo>
                    <a:pt x="90" y="0"/>
                  </a:lnTo>
                  <a:lnTo>
                    <a:pt x="90" y="0"/>
                  </a:lnTo>
                  <a:lnTo>
                    <a:pt x="110" y="5"/>
                  </a:lnTo>
                  <a:lnTo>
                    <a:pt x="130" y="9"/>
                  </a:lnTo>
                  <a:lnTo>
                    <a:pt x="130" y="9"/>
                  </a:lnTo>
                  <a:lnTo>
                    <a:pt x="137" y="11"/>
                  </a:lnTo>
                  <a:lnTo>
                    <a:pt x="145" y="13"/>
                  </a:lnTo>
                  <a:lnTo>
                    <a:pt x="150" y="16"/>
                  </a:lnTo>
                  <a:lnTo>
                    <a:pt x="157" y="22"/>
                  </a:lnTo>
                  <a:lnTo>
                    <a:pt x="157"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4" name="Freeform 202">
              <a:extLst>
                <a:ext uri="{FF2B5EF4-FFF2-40B4-BE49-F238E27FC236}">
                  <a16:creationId xmlns:a16="http://schemas.microsoft.com/office/drawing/2014/main" id="{77D1C515-AE5D-C975-580A-8D7D72A8F819}"/>
                </a:ext>
              </a:extLst>
            </p:cNvPr>
            <p:cNvSpPr>
              <a:spLocks/>
            </p:cNvSpPr>
            <p:nvPr/>
          </p:nvSpPr>
          <p:spPr bwMode="auto">
            <a:xfrm>
              <a:off x="6551998" y="4076409"/>
              <a:ext cx="654166" cy="308460"/>
            </a:xfrm>
            <a:custGeom>
              <a:avLst/>
              <a:gdLst/>
              <a:ahLst/>
              <a:cxnLst>
                <a:cxn ang="0">
                  <a:pos x="417" y="229"/>
                </a:cxn>
                <a:cxn ang="0">
                  <a:pos x="379" y="204"/>
                </a:cxn>
                <a:cxn ang="0">
                  <a:pos x="207" y="88"/>
                </a:cxn>
                <a:cxn ang="0">
                  <a:pos x="186" y="77"/>
                </a:cxn>
                <a:cxn ang="0">
                  <a:pos x="165" y="72"/>
                </a:cxn>
                <a:cxn ang="0">
                  <a:pos x="141" y="70"/>
                </a:cxn>
                <a:cxn ang="0">
                  <a:pos x="117" y="74"/>
                </a:cxn>
                <a:cxn ang="0">
                  <a:pos x="104" y="81"/>
                </a:cxn>
                <a:cxn ang="0">
                  <a:pos x="91" y="88"/>
                </a:cxn>
                <a:cxn ang="0">
                  <a:pos x="62" y="110"/>
                </a:cxn>
                <a:cxn ang="0">
                  <a:pos x="51" y="116"/>
                </a:cxn>
                <a:cxn ang="0">
                  <a:pos x="27" y="121"/>
                </a:cxn>
                <a:cxn ang="0">
                  <a:pos x="14" y="118"/>
                </a:cxn>
                <a:cxn ang="0">
                  <a:pos x="1" y="108"/>
                </a:cxn>
                <a:cxn ang="0">
                  <a:pos x="0" y="92"/>
                </a:cxn>
                <a:cxn ang="0">
                  <a:pos x="1" y="85"/>
                </a:cxn>
                <a:cxn ang="0">
                  <a:pos x="5" y="81"/>
                </a:cxn>
                <a:cxn ang="0">
                  <a:pos x="75" y="17"/>
                </a:cxn>
                <a:cxn ang="0">
                  <a:pos x="84" y="11"/>
                </a:cxn>
                <a:cxn ang="0">
                  <a:pos x="100" y="6"/>
                </a:cxn>
                <a:cxn ang="0">
                  <a:pos x="111" y="4"/>
                </a:cxn>
                <a:cxn ang="0">
                  <a:pos x="183" y="2"/>
                </a:cxn>
                <a:cxn ang="0">
                  <a:pos x="196" y="0"/>
                </a:cxn>
                <a:cxn ang="0">
                  <a:pos x="221" y="4"/>
                </a:cxn>
                <a:cxn ang="0">
                  <a:pos x="234" y="9"/>
                </a:cxn>
                <a:cxn ang="0">
                  <a:pos x="335" y="52"/>
                </a:cxn>
                <a:cxn ang="0">
                  <a:pos x="353" y="55"/>
                </a:cxn>
                <a:cxn ang="0">
                  <a:pos x="372" y="55"/>
                </a:cxn>
                <a:cxn ang="0">
                  <a:pos x="384" y="52"/>
                </a:cxn>
                <a:cxn ang="0">
                  <a:pos x="397" y="42"/>
                </a:cxn>
                <a:cxn ang="0">
                  <a:pos x="401" y="39"/>
                </a:cxn>
                <a:cxn ang="0">
                  <a:pos x="408" y="33"/>
                </a:cxn>
                <a:cxn ang="0">
                  <a:pos x="416" y="39"/>
                </a:cxn>
                <a:cxn ang="0">
                  <a:pos x="432" y="55"/>
                </a:cxn>
                <a:cxn ang="0">
                  <a:pos x="458" y="94"/>
                </a:cxn>
                <a:cxn ang="0">
                  <a:pos x="467" y="116"/>
                </a:cxn>
                <a:cxn ang="0">
                  <a:pos x="478" y="156"/>
                </a:cxn>
                <a:cxn ang="0">
                  <a:pos x="482" y="198"/>
                </a:cxn>
                <a:cxn ang="0">
                  <a:pos x="482" y="200"/>
                </a:cxn>
                <a:cxn ang="0">
                  <a:pos x="463" y="202"/>
                </a:cxn>
                <a:cxn ang="0">
                  <a:pos x="432" y="218"/>
                </a:cxn>
                <a:cxn ang="0">
                  <a:pos x="417" y="229"/>
                </a:cxn>
              </a:cxnLst>
              <a:rect l="0" t="0" r="r" b="b"/>
              <a:pathLst>
                <a:path w="482" h="229">
                  <a:moveTo>
                    <a:pt x="417" y="229"/>
                  </a:moveTo>
                  <a:lnTo>
                    <a:pt x="417" y="229"/>
                  </a:lnTo>
                  <a:lnTo>
                    <a:pt x="379" y="204"/>
                  </a:lnTo>
                  <a:lnTo>
                    <a:pt x="379" y="204"/>
                  </a:lnTo>
                  <a:lnTo>
                    <a:pt x="207" y="88"/>
                  </a:lnTo>
                  <a:lnTo>
                    <a:pt x="207" y="88"/>
                  </a:lnTo>
                  <a:lnTo>
                    <a:pt x="197" y="83"/>
                  </a:lnTo>
                  <a:lnTo>
                    <a:pt x="186" y="77"/>
                  </a:lnTo>
                  <a:lnTo>
                    <a:pt x="175" y="74"/>
                  </a:lnTo>
                  <a:lnTo>
                    <a:pt x="165" y="72"/>
                  </a:lnTo>
                  <a:lnTo>
                    <a:pt x="152" y="70"/>
                  </a:lnTo>
                  <a:lnTo>
                    <a:pt x="141" y="70"/>
                  </a:lnTo>
                  <a:lnTo>
                    <a:pt x="130" y="72"/>
                  </a:lnTo>
                  <a:lnTo>
                    <a:pt x="117" y="74"/>
                  </a:lnTo>
                  <a:lnTo>
                    <a:pt x="117" y="74"/>
                  </a:lnTo>
                  <a:lnTo>
                    <a:pt x="104" y="81"/>
                  </a:lnTo>
                  <a:lnTo>
                    <a:pt x="91" y="88"/>
                  </a:lnTo>
                  <a:lnTo>
                    <a:pt x="91" y="88"/>
                  </a:lnTo>
                  <a:lnTo>
                    <a:pt x="77" y="99"/>
                  </a:lnTo>
                  <a:lnTo>
                    <a:pt x="62" y="110"/>
                  </a:lnTo>
                  <a:lnTo>
                    <a:pt x="62" y="110"/>
                  </a:lnTo>
                  <a:lnTo>
                    <a:pt x="51" y="116"/>
                  </a:lnTo>
                  <a:lnTo>
                    <a:pt x="38" y="119"/>
                  </a:lnTo>
                  <a:lnTo>
                    <a:pt x="27" y="121"/>
                  </a:lnTo>
                  <a:lnTo>
                    <a:pt x="14" y="118"/>
                  </a:lnTo>
                  <a:lnTo>
                    <a:pt x="14" y="118"/>
                  </a:lnTo>
                  <a:lnTo>
                    <a:pt x="7" y="114"/>
                  </a:lnTo>
                  <a:lnTo>
                    <a:pt x="1" y="108"/>
                  </a:lnTo>
                  <a:lnTo>
                    <a:pt x="0" y="99"/>
                  </a:lnTo>
                  <a:lnTo>
                    <a:pt x="0" y="92"/>
                  </a:lnTo>
                  <a:lnTo>
                    <a:pt x="0" y="92"/>
                  </a:lnTo>
                  <a:lnTo>
                    <a:pt x="1" y="85"/>
                  </a:lnTo>
                  <a:lnTo>
                    <a:pt x="5" y="81"/>
                  </a:lnTo>
                  <a:lnTo>
                    <a:pt x="5" y="81"/>
                  </a:lnTo>
                  <a:lnTo>
                    <a:pt x="73" y="19"/>
                  </a:lnTo>
                  <a:lnTo>
                    <a:pt x="75" y="17"/>
                  </a:lnTo>
                  <a:lnTo>
                    <a:pt x="75" y="17"/>
                  </a:lnTo>
                  <a:lnTo>
                    <a:pt x="84" y="11"/>
                  </a:lnTo>
                  <a:lnTo>
                    <a:pt x="91" y="8"/>
                  </a:lnTo>
                  <a:lnTo>
                    <a:pt x="100" y="6"/>
                  </a:lnTo>
                  <a:lnTo>
                    <a:pt x="111" y="4"/>
                  </a:lnTo>
                  <a:lnTo>
                    <a:pt x="111" y="4"/>
                  </a:lnTo>
                  <a:lnTo>
                    <a:pt x="146" y="4"/>
                  </a:lnTo>
                  <a:lnTo>
                    <a:pt x="183" y="2"/>
                  </a:lnTo>
                  <a:lnTo>
                    <a:pt x="183" y="2"/>
                  </a:lnTo>
                  <a:lnTo>
                    <a:pt x="196" y="0"/>
                  </a:lnTo>
                  <a:lnTo>
                    <a:pt x="208" y="2"/>
                  </a:lnTo>
                  <a:lnTo>
                    <a:pt x="221" y="4"/>
                  </a:lnTo>
                  <a:lnTo>
                    <a:pt x="234" y="9"/>
                  </a:lnTo>
                  <a:lnTo>
                    <a:pt x="234" y="9"/>
                  </a:lnTo>
                  <a:lnTo>
                    <a:pt x="335" y="52"/>
                  </a:lnTo>
                  <a:lnTo>
                    <a:pt x="335" y="52"/>
                  </a:lnTo>
                  <a:lnTo>
                    <a:pt x="344" y="53"/>
                  </a:lnTo>
                  <a:lnTo>
                    <a:pt x="353" y="55"/>
                  </a:lnTo>
                  <a:lnTo>
                    <a:pt x="372" y="55"/>
                  </a:lnTo>
                  <a:lnTo>
                    <a:pt x="372" y="55"/>
                  </a:lnTo>
                  <a:lnTo>
                    <a:pt x="379" y="53"/>
                  </a:lnTo>
                  <a:lnTo>
                    <a:pt x="384" y="52"/>
                  </a:lnTo>
                  <a:lnTo>
                    <a:pt x="397" y="42"/>
                  </a:lnTo>
                  <a:lnTo>
                    <a:pt x="397" y="42"/>
                  </a:lnTo>
                  <a:lnTo>
                    <a:pt x="401" y="39"/>
                  </a:lnTo>
                  <a:lnTo>
                    <a:pt x="401" y="39"/>
                  </a:lnTo>
                  <a:lnTo>
                    <a:pt x="406" y="35"/>
                  </a:lnTo>
                  <a:lnTo>
                    <a:pt x="408" y="33"/>
                  </a:lnTo>
                  <a:lnTo>
                    <a:pt x="412" y="35"/>
                  </a:lnTo>
                  <a:lnTo>
                    <a:pt x="416" y="39"/>
                  </a:lnTo>
                  <a:lnTo>
                    <a:pt x="416" y="39"/>
                  </a:lnTo>
                  <a:lnTo>
                    <a:pt x="432" y="55"/>
                  </a:lnTo>
                  <a:lnTo>
                    <a:pt x="447" y="74"/>
                  </a:lnTo>
                  <a:lnTo>
                    <a:pt x="458" y="94"/>
                  </a:lnTo>
                  <a:lnTo>
                    <a:pt x="467" y="116"/>
                  </a:lnTo>
                  <a:lnTo>
                    <a:pt x="467" y="116"/>
                  </a:lnTo>
                  <a:lnTo>
                    <a:pt x="474" y="136"/>
                  </a:lnTo>
                  <a:lnTo>
                    <a:pt x="478" y="156"/>
                  </a:lnTo>
                  <a:lnTo>
                    <a:pt x="482" y="176"/>
                  </a:lnTo>
                  <a:lnTo>
                    <a:pt x="482" y="198"/>
                  </a:lnTo>
                  <a:lnTo>
                    <a:pt x="482" y="198"/>
                  </a:lnTo>
                  <a:lnTo>
                    <a:pt x="482" y="200"/>
                  </a:lnTo>
                  <a:lnTo>
                    <a:pt x="482" y="200"/>
                  </a:lnTo>
                  <a:lnTo>
                    <a:pt x="463" y="202"/>
                  </a:lnTo>
                  <a:lnTo>
                    <a:pt x="447" y="207"/>
                  </a:lnTo>
                  <a:lnTo>
                    <a:pt x="432" y="218"/>
                  </a:lnTo>
                  <a:lnTo>
                    <a:pt x="417" y="229"/>
                  </a:lnTo>
                  <a:lnTo>
                    <a:pt x="417" y="2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5" name="Freeform 203">
              <a:extLst>
                <a:ext uri="{FF2B5EF4-FFF2-40B4-BE49-F238E27FC236}">
                  <a16:creationId xmlns:a16="http://schemas.microsoft.com/office/drawing/2014/main" id="{17EE322A-B447-C483-A48E-1742591684C2}"/>
                </a:ext>
              </a:extLst>
            </p:cNvPr>
            <p:cNvSpPr>
              <a:spLocks/>
            </p:cNvSpPr>
            <p:nvPr/>
          </p:nvSpPr>
          <p:spPr bwMode="auto">
            <a:xfrm>
              <a:off x="6215415" y="4014448"/>
              <a:ext cx="244294" cy="378503"/>
            </a:xfrm>
            <a:custGeom>
              <a:avLst/>
              <a:gdLst/>
              <a:ahLst/>
              <a:cxnLst>
                <a:cxn ang="0">
                  <a:pos x="86" y="281"/>
                </a:cxn>
                <a:cxn ang="0">
                  <a:pos x="86" y="281"/>
                </a:cxn>
                <a:cxn ang="0">
                  <a:pos x="70" y="272"/>
                </a:cxn>
                <a:cxn ang="0">
                  <a:pos x="70" y="272"/>
                </a:cxn>
                <a:cxn ang="0">
                  <a:pos x="4" y="237"/>
                </a:cxn>
                <a:cxn ang="0">
                  <a:pos x="4" y="237"/>
                </a:cxn>
                <a:cxn ang="0">
                  <a:pos x="0" y="235"/>
                </a:cxn>
                <a:cxn ang="0">
                  <a:pos x="0" y="231"/>
                </a:cxn>
                <a:cxn ang="0">
                  <a:pos x="0" y="231"/>
                </a:cxn>
                <a:cxn ang="0">
                  <a:pos x="6" y="187"/>
                </a:cxn>
                <a:cxn ang="0">
                  <a:pos x="9" y="165"/>
                </a:cxn>
                <a:cxn ang="0">
                  <a:pos x="15" y="143"/>
                </a:cxn>
                <a:cxn ang="0">
                  <a:pos x="20" y="121"/>
                </a:cxn>
                <a:cxn ang="0">
                  <a:pos x="28" y="101"/>
                </a:cxn>
                <a:cxn ang="0">
                  <a:pos x="37" y="81"/>
                </a:cxn>
                <a:cxn ang="0">
                  <a:pos x="48" y="61"/>
                </a:cxn>
                <a:cxn ang="0">
                  <a:pos x="48" y="61"/>
                </a:cxn>
                <a:cxn ang="0">
                  <a:pos x="59" y="44"/>
                </a:cxn>
                <a:cxn ang="0">
                  <a:pos x="72" y="28"/>
                </a:cxn>
                <a:cxn ang="0">
                  <a:pos x="85" y="13"/>
                </a:cxn>
                <a:cxn ang="0">
                  <a:pos x="101" y="0"/>
                </a:cxn>
                <a:cxn ang="0">
                  <a:pos x="101" y="0"/>
                </a:cxn>
                <a:cxn ang="0">
                  <a:pos x="105" y="0"/>
                </a:cxn>
                <a:cxn ang="0">
                  <a:pos x="108" y="0"/>
                </a:cxn>
                <a:cxn ang="0">
                  <a:pos x="108" y="0"/>
                </a:cxn>
                <a:cxn ang="0">
                  <a:pos x="176" y="46"/>
                </a:cxn>
                <a:cxn ang="0">
                  <a:pos x="176" y="46"/>
                </a:cxn>
                <a:cxn ang="0">
                  <a:pos x="180" y="48"/>
                </a:cxn>
                <a:cxn ang="0">
                  <a:pos x="180" y="48"/>
                </a:cxn>
                <a:cxn ang="0">
                  <a:pos x="158" y="74"/>
                </a:cxn>
                <a:cxn ang="0">
                  <a:pos x="139" y="99"/>
                </a:cxn>
                <a:cxn ang="0">
                  <a:pos x="123" y="127"/>
                </a:cxn>
                <a:cxn ang="0">
                  <a:pos x="110" y="156"/>
                </a:cxn>
                <a:cxn ang="0">
                  <a:pos x="99" y="186"/>
                </a:cxn>
                <a:cxn ang="0">
                  <a:pos x="92" y="215"/>
                </a:cxn>
                <a:cxn ang="0">
                  <a:pos x="88" y="248"/>
                </a:cxn>
                <a:cxn ang="0">
                  <a:pos x="86" y="281"/>
                </a:cxn>
                <a:cxn ang="0">
                  <a:pos x="86" y="281"/>
                </a:cxn>
              </a:cxnLst>
              <a:rect l="0" t="0" r="r" b="b"/>
              <a:pathLst>
                <a:path w="180" h="281">
                  <a:moveTo>
                    <a:pt x="86" y="281"/>
                  </a:moveTo>
                  <a:lnTo>
                    <a:pt x="86" y="281"/>
                  </a:lnTo>
                  <a:lnTo>
                    <a:pt x="70" y="272"/>
                  </a:lnTo>
                  <a:lnTo>
                    <a:pt x="70" y="272"/>
                  </a:lnTo>
                  <a:lnTo>
                    <a:pt x="4" y="237"/>
                  </a:lnTo>
                  <a:lnTo>
                    <a:pt x="4" y="237"/>
                  </a:lnTo>
                  <a:lnTo>
                    <a:pt x="0" y="235"/>
                  </a:lnTo>
                  <a:lnTo>
                    <a:pt x="0" y="231"/>
                  </a:lnTo>
                  <a:lnTo>
                    <a:pt x="0" y="231"/>
                  </a:lnTo>
                  <a:lnTo>
                    <a:pt x="6" y="187"/>
                  </a:lnTo>
                  <a:lnTo>
                    <a:pt x="9" y="165"/>
                  </a:lnTo>
                  <a:lnTo>
                    <a:pt x="15" y="143"/>
                  </a:lnTo>
                  <a:lnTo>
                    <a:pt x="20" y="121"/>
                  </a:lnTo>
                  <a:lnTo>
                    <a:pt x="28" y="101"/>
                  </a:lnTo>
                  <a:lnTo>
                    <a:pt x="37" y="81"/>
                  </a:lnTo>
                  <a:lnTo>
                    <a:pt x="48" y="61"/>
                  </a:lnTo>
                  <a:lnTo>
                    <a:pt x="48" y="61"/>
                  </a:lnTo>
                  <a:lnTo>
                    <a:pt x="59" y="44"/>
                  </a:lnTo>
                  <a:lnTo>
                    <a:pt x="72" y="28"/>
                  </a:lnTo>
                  <a:lnTo>
                    <a:pt x="85" y="13"/>
                  </a:lnTo>
                  <a:lnTo>
                    <a:pt x="101" y="0"/>
                  </a:lnTo>
                  <a:lnTo>
                    <a:pt x="101" y="0"/>
                  </a:lnTo>
                  <a:lnTo>
                    <a:pt x="105" y="0"/>
                  </a:lnTo>
                  <a:lnTo>
                    <a:pt x="108" y="0"/>
                  </a:lnTo>
                  <a:lnTo>
                    <a:pt x="108" y="0"/>
                  </a:lnTo>
                  <a:lnTo>
                    <a:pt x="176" y="46"/>
                  </a:lnTo>
                  <a:lnTo>
                    <a:pt x="176" y="46"/>
                  </a:lnTo>
                  <a:lnTo>
                    <a:pt x="180" y="48"/>
                  </a:lnTo>
                  <a:lnTo>
                    <a:pt x="180" y="48"/>
                  </a:lnTo>
                  <a:lnTo>
                    <a:pt x="158" y="74"/>
                  </a:lnTo>
                  <a:lnTo>
                    <a:pt x="139" y="99"/>
                  </a:lnTo>
                  <a:lnTo>
                    <a:pt x="123" y="127"/>
                  </a:lnTo>
                  <a:lnTo>
                    <a:pt x="110" y="156"/>
                  </a:lnTo>
                  <a:lnTo>
                    <a:pt x="99" y="186"/>
                  </a:lnTo>
                  <a:lnTo>
                    <a:pt x="92" y="215"/>
                  </a:lnTo>
                  <a:lnTo>
                    <a:pt x="88" y="248"/>
                  </a:lnTo>
                  <a:lnTo>
                    <a:pt x="86" y="281"/>
                  </a:lnTo>
                  <a:lnTo>
                    <a:pt x="86" y="2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6" name="Freeform 204">
              <a:extLst>
                <a:ext uri="{FF2B5EF4-FFF2-40B4-BE49-F238E27FC236}">
                  <a16:creationId xmlns:a16="http://schemas.microsoft.com/office/drawing/2014/main" id="{0CF9F8B3-E9E8-A9AC-D87F-053694970F0F}"/>
                </a:ext>
              </a:extLst>
            </p:cNvPr>
            <p:cNvSpPr>
              <a:spLocks/>
            </p:cNvSpPr>
            <p:nvPr/>
          </p:nvSpPr>
          <p:spPr bwMode="auto">
            <a:xfrm>
              <a:off x="7116588" y="4014448"/>
              <a:ext cx="242937" cy="373115"/>
            </a:xfrm>
            <a:custGeom>
              <a:avLst/>
              <a:gdLst/>
              <a:ahLst/>
              <a:cxnLst>
                <a:cxn ang="0">
                  <a:pos x="0" y="50"/>
                </a:cxn>
                <a:cxn ang="0">
                  <a:pos x="0" y="50"/>
                </a:cxn>
                <a:cxn ang="0">
                  <a:pos x="38" y="24"/>
                </a:cxn>
                <a:cxn ang="0">
                  <a:pos x="38" y="24"/>
                </a:cxn>
                <a:cxn ang="0">
                  <a:pos x="71" y="2"/>
                </a:cxn>
                <a:cxn ang="0">
                  <a:pos x="71" y="2"/>
                </a:cxn>
                <a:cxn ang="0">
                  <a:pos x="75" y="0"/>
                </a:cxn>
                <a:cxn ang="0">
                  <a:pos x="76" y="2"/>
                </a:cxn>
                <a:cxn ang="0">
                  <a:pos x="76" y="2"/>
                </a:cxn>
                <a:cxn ang="0">
                  <a:pos x="97" y="19"/>
                </a:cxn>
                <a:cxn ang="0">
                  <a:pos x="113" y="37"/>
                </a:cxn>
                <a:cxn ang="0">
                  <a:pos x="128" y="57"/>
                </a:cxn>
                <a:cxn ang="0">
                  <a:pos x="142" y="77"/>
                </a:cxn>
                <a:cxn ang="0">
                  <a:pos x="142" y="77"/>
                </a:cxn>
                <a:cxn ang="0">
                  <a:pos x="155" y="105"/>
                </a:cxn>
                <a:cxn ang="0">
                  <a:pos x="166" y="134"/>
                </a:cxn>
                <a:cxn ang="0">
                  <a:pos x="174" y="164"/>
                </a:cxn>
                <a:cxn ang="0">
                  <a:pos x="177" y="195"/>
                </a:cxn>
                <a:cxn ang="0">
                  <a:pos x="177" y="195"/>
                </a:cxn>
                <a:cxn ang="0">
                  <a:pos x="179" y="231"/>
                </a:cxn>
                <a:cxn ang="0">
                  <a:pos x="179" y="231"/>
                </a:cxn>
                <a:cxn ang="0">
                  <a:pos x="177" y="235"/>
                </a:cxn>
                <a:cxn ang="0">
                  <a:pos x="175" y="237"/>
                </a:cxn>
                <a:cxn ang="0">
                  <a:pos x="175" y="237"/>
                </a:cxn>
                <a:cxn ang="0">
                  <a:pos x="93" y="277"/>
                </a:cxn>
                <a:cxn ang="0">
                  <a:pos x="93" y="277"/>
                </a:cxn>
                <a:cxn ang="0">
                  <a:pos x="91" y="277"/>
                </a:cxn>
                <a:cxn ang="0">
                  <a:pos x="91" y="277"/>
                </a:cxn>
                <a:cxn ang="0">
                  <a:pos x="91" y="255"/>
                </a:cxn>
                <a:cxn ang="0">
                  <a:pos x="91" y="255"/>
                </a:cxn>
                <a:cxn ang="0">
                  <a:pos x="89" y="224"/>
                </a:cxn>
                <a:cxn ang="0">
                  <a:pos x="84" y="193"/>
                </a:cxn>
                <a:cxn ang="0">
                  <a:pos x="76" y="162"/>
                </a:cxn>
                <a:cxn ang="0">
                  <a:pos x="67" y="132"/>
                </a:cxn>
                <a:cxn ang="0">
                  <a:pos x="67" y="132"/>
                </a:cxn>
                <a:cxn ang="0">
                  <a:pos x="55" y="109"/>
                </a:cxn>
                <a:cxn ang="0">
                  <a:pos x="40" y="87"/>
                </a:cxn>
                <a:cxn ang="0">
                  <a:pos x="33" y="76"/>
                </a:cxn>
                <a:cxn ang="0">
                  <a:pos x="23" y="66"/>
                </a:cxn>
                <a:cxn ang="0">
                  <a:pos x="12" y="59"/>
                </a:cxn>
                <a:cxn ang="0">
                  <a:pos x="0" y="50"/>
                </a:cxn>
                <a:cxn ang="0">
                  <a:pos x="0" y="50"/>
                </a:cxn>
              </a:cxnLst>
              <a:rect l="0" t="0" r="r" b="b"/>
              <a:pathLst>
                <a:path w="179" h="277">
                  <a:moveTo>
                    <a:pt x="0" y="50"/>
                  </a:moveTo>
                  <a:lnTo>
                    <a:pt x="0" y="50"/>
                  </a:lnTo>
                  <a:lnTo>
                    <a:pt x="38" y="24"/>
                  </a:lnTo>
                  <a:lnTo>
                    <a:pt x="38" y="24"/>
                  </a:lnTo>
                  <a:lnTo>
                    <a:pt x="71" y="2"/>
                  </a:lnTo>
                  <a:lnTo>
                    <a:pt x="71" y="2"/>
                  </a:lnTo>
                  <a:lnTo>
                    <a:pt x="75" y="0"/>
                  </a:lnTo>
                  <a:lnTo>
                    <a:pt x="76" y="2"/>
                  </a:lnTo>
                  <a:lnTo>
                    <a:pt x="76" y="2"/>
                  </a:lnTo>
                  <a:lnTo>
                    <a:pt x="97" y="19"/>
                  </a:lnTo>
                  <a:lnTo>
                    <a:pt x="113" y="37"/>
                  </a:lnTo>
                  <a:lnTo>
                    <a:pt x="128" y="57"/>
                  </a:lnTo>
                  <a:lnTo>
                    <a:pt x="142" y="77"/>
                  </a:lnTo>
                  <a:lnTo>
                    <a:pt x="142" y="77"/>
                  </a:lnTo>
                  <a:lnTo>
                    <a:pt x="155" y="105"/>
                  </a:lnTo>
                  <a:lnTo>
                    <a:pt x="166" y="134"/>
                  </a:lnTo>
                  <a:lnTo>
                    <a:pt x="174" y="164"/>
                  </a:lnTo>
                  <a:lnTo>
                    <a:pt x="177" y="195"/>
                  </a:lnTo>
                  <a:lnTo>
                    <a:pt x="177" y="195"/>
                  </a:lnTo>
                  <a:lnTo>
                    <a:pt x="179" y="231"/>
                  </a:lnTo>
                  <a:lnTo>
                    <a:pt x="179" y="231"/>
                  </a:lnTo>
                  <a:lnTo>
                    <a:pt x="177" y="235"/>
                  </a:lnTo>
                  <a:lnTo>
                    <a:pt x="175" y="237"/>
                  </a:lnTo>
                  <a:lnTo>
                    <a:pt x="175" y="237"/>
                  </a:lnTo>
                  <a:lnTo>
                    <a:pt x="93" y="277"/>
                  </a:lnTo>
                  <a:lnTo>
                    <a:pt x="93" y="277"/>
                  </a:lnTo>
                  <a:lnTo>
                    <a:pt x="91" y="277"/>
                  </a:lnTo>
                  <a:lnTo>
                    <a:pt x="91" y="277"/>
                  </a:lnTo>
                  <a:lnTo>
                    <a:pt x="91" y="255"/>
                  </a:lnTo>
                  <a:lnTo>
                    <a:pt x="91" y="255"/>
                  </a:lnTo>
                  <a:lnTo>
                    <a:pt x="89" y="224"/>
                  </a:lnTo>
                  <a:lnTo>
                    <a:pt x="84" y="193"/>
                  </a:lnTo>
                  <a:lnTo>
                    <a:pt x="76" y="162"/>
                  </a:lnTo>
                  <a:lnTo>
                    <a:pt x="67" y="132"/>
                  </a:lnTo>
                  <a:lnTo>
                    <a:pt x="67" y="132"/>
                  </a:lnTo>
                  <a:lnTo>
                    <a:pt x="55" y="109"/>
                  </a:lnTo>
                  <a:lnTo>
                    <a:pt x="40" y="87"/>
                  </a:lnTo>
                  <a:lnTo>
                    <a:pt x="33" y="76"/>
                  </a:lnTo>
                  <a:lnTo>
                    <a:pt x="23" y="66"/>
                  </a:lnTo>
                  <a:lnTo>
                    <a:pt x="12" y="59"/>
                  </a:lnTo>
                  <a:lnTo>
                    <a:pt x="0" y="50"/>
                  </a:lnTo>
                  <a:lnTo>
                    <a:pt x="0"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7" name="Freeform 206">
              <a:extLst>
                <a:ext uri="{FF2B5EF4-FFF2-40B4-BE49-F238E27FC236}">
                  <a16:creationId xmlns:a16="http://schemas.microsoft.com/office/drawing/2014/main" id="{C7545EC6-B742-920D-5C1B-9A4D0BFF2F87}"/>
                </a:ext>
              </a:extLst>
            </p:cNvPr>
            <p:cNvSpPr>
              <a:spLocks/>
            </p:cNvSpPr>
            <p:nvPr/>
          </p:nvSpPr>
          <p:spPr bwMode="auto">
            <a:xfrm>
              <a:off x="6651073" y="4485892"/>
              <a:ext cx="92289" cy="136046"/>
            </a:xfrm>
            <a:custGeom>
              <a:avLst/>
              <a:gdLst/>
              <a:ahLst/>
              <a:cxnLst>
                <a:cxn ang="0">
                  <a:pos x="0" y="79"/>
                </a:cxn>
                <a:cxn ang="0">
                  <a:pos x="0" y="79"/>
                </a:cxn>
                <a:cxn ang="0">
                  <a:pos x="4" y="61"/>
                </a:cxn>
                <a:cxn ang="0">
                  <a:pos x="11" y="43"/>
                </a:cxn>
                <a:cxn ang="0">
                  <a:pos x="11" y="43"/>
                </a:cxn>
                <a:cxn ang="0">
                  <a:pos x="22" y="24"/>
                </a:cxn>
                <a:cxn ang="0">
                  <a:pos x="29" y="15"/>
                </a:cxn>
                <a:cxn ang="0">
                  <a:pos x="38" y="8"/>
                </a:cxn>
                <a:cxn ang="0">
                  <a:pos x="38" y="8"/>
                </a:cxn>
                <a:cxn ang="0">
                  <a:pos x="44" y="4"/>
                </a:cxn>
                <a:cxn ang="0">
                  <a:pos x="51" y="0"/>
                </a:cxn>
                <a:cxn ang="0">
                  <a:pos x="51" y="0"/>
                </a:cxn>
                <a:cxn ang="0">
                  <a:pos x="57" y="0"/>
                </a:cxn>
                <a:cxn ang="0">
                  <a:pos x="60" y="0"/>
                </a:cxn>
                <a:cxn ang="0">
                  <a:pos x="64" y="4"/>
                </a:cxn>
                <a:cxn ang="0">
                  <a:pos x="68" y="10"/>
                </a:cxn>
                <a:cxn ang="0">
                  <a:pos x="68" y="10"/>
                </a:cxn>
                <a:cxn ang="0">
                  <a:pos x="68" y="17"/>
                </a:cxn>
                <a:cxn ang="0">
                  <a:pos x="68" y="26"/>
                </a:cxn>
                <a:cxn ang="0">
                  <a:pos x="68" y="26"/>
                </a:cxn>
                <a:cxn ang="0">
                  <a:pos x="62" y="44"/>
                </a:cxn>
                <a:cxn ang="0">
                  <a:pos x="57" y="61"/>
                </a:cxn>
                <a:cxn ang="0">
                  <a:pos x="48" y="76"/>
                </a:cxn>
                <a:cxn ang="0">
                  <a:pos x="35" y="90"/>
                </a:cxn>
                <a:cxn ang="0">
                  <a:pos x="35" y="90"/>
                </a:cxn>
                <a:cxn ang="0">
                  <a:pos x="29" y="96"/>
                </a:cxn>
                <a:cxn ang="0">
                  <a:pos x="24" y="99"/>
                </a:cxn>
                <a:cxn ang="0">
                  <a:pos x="24" y="99"/>
                </a:cxn>
                <a:cxn ang="0">
                  <a:pos x="16" y="101"/>
                </a:cxn>
                <a:cxn ang="0">
                  <a:pos x="11" y="99"/>
                </a:cxn>
                <a:cxn ang="0">
                  <a:pos x="7" y="98"/>
                </a:cxn>
                <a:cxn ang="0">
                  <a:pos x="4" y="92"/>
                </a:cxn>
                <a:cxn ang="0">
                  <a:pos x="4" y="92"/>
                </a:cxn>
                <a:cxn ang="0">
                  <a:pos x="0" y="79"/>
                </a:cxn>
                <a:cxn ang="0">
                  <a:pos x="0" y="79"/>
                </a:cxn>
              </a:cxnLst>
              <a:rect l="0" t="0" r="r" b="b"/>
              <a:pathLst>
                <a:path w="68" h="101">
                  <a:moveTo>
                    <a:pt x="0" y="79"/>
                  </a:moveTo>
                  <a:lnTo>
                    <a:pt x="0" y="79"/>
                  </a:lnTo>
                  <a:lnTo>
                    <a:pt x="4" y="61"/>
                  </a:lnTo>
                  <a:lnTo>
                    <a:pt x="11" y="43"/>
                  </a:lnTo>
                  <a:lnTo>
                    <a:pt x="11" y="43"/>
                  </a:lnTo>
                  <a:lnTo>
                    <a:pt x="22" y="24"/>
                  </a:lnTo>
                  <a:lnTo>
                    <a:pt x="29" y="15"/>
                  </a:lnTo>
                  <a:lnTo>
                    <a:pt x="38" y="8"/>
                  </a:lnTo>
                  <a:lnTo>
                    <a:pt x="38" y="8"/>
                  </a:lnTo>
                  <a:lnTo>
                    <a:pt x="44" y="4"/>
                  </a:lnTo>
                  <a:lnTo>
                    <a:pt x="51" y="0"/>
                  </a:lnTo>
                  <a:lnTo>
                    <a:pt x="51" y="0"/>
                  </a:lnTo>
                  <a:lnTo>
                    <a:pt x="57" y="0"/>
                  </a:lnTo>
                  <a:lnTo>
                    <a:pt x="60" y="0"/>
                  </a:lnTo>
                  <a:lnTo>
                    <a:pt x="64" y="4"/>
                  </a:lnTo>
                  <a:lnTo>
                    <a:pt x="68" y="10"/>
                  </a:lnTo>
                  <a:lnTo>
                    <a:pt x="68" y="10"/>
                  </a:lnTo>
                  <a:lnTo>
                    <a:pt x="68" y="17"/>
                  </a:lnTo>
                  <a:lnTo>
                    <a:pt x="68" y="26"/>
                  </a:lnTo>
                  <a:lnTo>
                    <a:pt x="68" y="26"/>
                  </a:lnTo>
                  <a:lnTo>
                    <a:pt x="62" y="44"/>
                  </a:lnTo>
                  <a:lnTo>
                    <a:pt x="57" y="61"/>
                  </a:lnTo>
                  <a:lnTo>
                    <a:pt x="48" y="76"/>
                  </a:lnTo>
                  <a:lnTo>
                    <a:pt x="35" y="90"/>
                  </a:lnTo>
                  <a:lnTo>
                    <a:pt x="35" y="90"/>
                  </a:lnTo>
                  <a:lnTo>
                    <a:pt x="29" y="96"/>
                  </a:lnTo>
                  <a:lnTo>
                    <a:pt x="24" y="99"/>
                  </a:lnTo>
                  <a:lnTo>
                    <a:pt x="24" y="99"/>
                  </a:lnTo>
                  <a:lnTo>
                    <a:pt x="16" y="101"/>
                  </a:lnTo>
                  <a:lnTo>
                    <a:pt x="11" y="99"/>
                  </a:lnTo>
                  <a:lnTo>
                    <a:pt x="7" y="98"/>
                  </a:lnTo>
                  <a:lnTo>
                    <a:pt x="4" y="92"/>
                  </a:lnTo>
                  <a:lnTo>
                    <a:pt x="4" y="92"/>
                  </a:lnTo>
                  <a:lnTo>
                    <a:pt x="0" y="79"/>
                  </a:lnTo>
                  <a:lnTo>
                    <a:pt x="0" y="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8" name="Freeform 207">
              <a:extLst>
                <a:ext uri="{FF2B5EF4-FFF2-40B4-BE49-F238E27FC236}">
                  <a16:creationId xmlns:a16="http://schemas.microsoft.com/office/drawing/2014/main" id="{3A243716-81C6-1315-76F5-9C703AE16391}"/>
                </a:ext>
              </a:extLst>
            </p:cNvPr>
            <p:cNvSpPr>
              <a:spLocks/>
            </p:cNvSpPr>
            <p:nvPr/>
          </p:nvSpPr>
          <p:spPr bwMode="auto">
            <a:xfrm>
              <a:off x="6576426" y="4454911"/>
              <a:ext cx="86860" cy="122576"/>
            </a:xfrm>
            <a:custGeom>
              <a:avLst/>
              <a:gdLst/>
              <a:ahLst/>
              <a:cxnLst>
                <a:cxn ang="0">
                  <a:pos x="0" y="67"/>
                </a:cxn>
                <a:cxn ang="0">
                  <a:pos x="0" y="67"/>
                </a:cxn>
                <a:cxn ang="0">
                  <a:pos x="7" y="47"/>
                </a:cxn>
                <a:cxn ang="0">
                  <a:pos x="7" y="47"/>
                </a:cxn>
                <a:cxn ang="0">
                  <a:pos x="15" y="29"/>
                </a:cxn>
                <a:cxn ang="0">
                  <a:pos x="20" y="22"/>
                </a:cxn>
                <a:cxn ang="0">
                  <a:pos x="26" y="12"/>
                </a:cxn>
                <a:cxn ang="0">
                  <a:pos x="26" y="12"/>
                </a:cxn>
                <a:cxn ang="0">
                  <a:pos x="33" y="5"/>
                </a:cxn>
                <a:cxn ang="0">
                  <a:pos x="38" y="3"/>
                </a:cxn>
                <a:cxn ang="0">
                  <a:pos x="44" y="1"/>
                </a:cxn>
                <a:cxn ang="0">
                  <a:pos x="44" y="1"/>
                </a:cxn>
                <a:cxn ang="0">
                  <a:pos x="51" y="0"/>
                </a:cxn>
                <a:cxn ang="0">
                  <a:pos x="57" y="3"/>
                </a:cxn>
                <a:cxn ang="0">
                  <a:pos x="62" y="9"/>
                </a:cxn>
                <a:cxn ang="0">
                  <a:pos x="64" y="16"/>
                </a:cxn>
                <a:cxn ang="0">
                  <a:pos x="64" y="16"/>
                </a:cxn>
                <a:cxn ang="0">
                  <a:pos x="64" y="27"/>
                </a:cxn>
                <a:cxn ang="0">
                  <a:pos x="62" y="36"/>
                </a:cxn>
                <a:cxn ang="0">
                  <a:pos x="62" y="36"/>
                </a:cxn>
                <a:cxn ang="0">
                  <a:pos x="59" y="49"/>
                </a:cxn>
                <a:cxn ang="0">
                  <a:pos x="55" y="62"/>
                </a:cxn>
                <a:cxn ang="0">
                  <a:pos x="48" y="71"/>
                </a:cxn>
                <a:cxn ang="0">
                  <a:pos x="40" y="82"/>
                </a:cxn>
                <a:cxn ang="0">
                  <a:pos x="40" y="82"/>
                </a:cxn>
                <a:cxn ang="0">
                  <a:pos x="31" y="89"/>
                </a:cxn>
                <a:cxn ang="0">
                  <a:pos x="26" y="91"/>
                </a:cxn>
                <a:cxn ang="0">
                  <a:pos x="20" y="91"/>
                </a:cxn>
                <a:cxn ang="0">
                  <a:pos x="20" y="91"/>
                </a:cxn>
                <a:cxn ang="0">
                  <a:pos x="11" y="89"/>
                </a:cxn>
                <a:cxn ang="0">
                  <a:pos x="5" y="84"/>
                </a:cxn>
                <a:cxn ang="0">
                  <a:pos x="2" y="78"/>
                </a:cxn>
                <a:cxn ang="0">
                  <a:pos x="0" y="67"/>
                </a:cxn>
                <a:cxn ang="0">
                  <a:pos x="0" y="67"/>
                </a:cxn>
              </a:cxnLst>
              <a:rect l="0" t="0" r="r" b="b"/>
              <a:pathLst>
                <a:path w="64" h="91">
                  <a:moveTo>
                    <a:pt x="0" y="67"/>
                  </a:moveTo>
                  <a:lnTo>
                    <a:pt x="0" y="67"/>
                  </a:lnTo>
                  <a:lnTo>
                    <a:pt x="7" y="47"/>
                  </a:lnTo>
                  <a:lnTo>
                    <a:pt x="7" y="47"/>
                  </a:lnTo>
                  <a:lnTo>
                    <a:pt x="15" y="29"/>
                  </a:lnTo>
                  <a:lnTo>
                    <a:pt x="20" y="22"/>
                  </a:lnTo>
                  <a:lnTo>
                    <a:pt x="26" y="12"/>
                  </a:lnTo>
                  <a:lnTo>
                    <a:pt x="26" y="12"/>
                  </a:lnTo>
                  <a:lnTo>
                    <a:pt x="33" y="5"/>
                  </a:lnTo>
                  <a:lnTo>
                    <a:pt x="38" y="3"/>
                  </a:lnTo>
                  <a:lnTo>
                    <a:pt x="44" y="1"/>
                  </a:lnTo>
                  <a:lnTo>
                    <a:pt x="44" y="1"/>
                  </a:lnTo>
                  <a:lnTo>
                    <a:pt x="51" y="0"/>
                  </a:lnTo>
                  <a:lnTo>
                    <a:pt x="57" y="3"/>
                  </a:lnTo>
                  <a:lnTo>
                    <a:pt x="62" y="9"/>
                  </a:lnTo>
                  <a:lnTo>
                    <a:pt x="64" y="16"/>
                  </a:lnTo>
                  <a:lnTo>
                    <a:pt x="64" y="16"/>
                  </a:lnTo>
                  <a:lnTo>
                    <a:pt x="64" y="27"/>
                  </a:lnTo>
                  <a:lnTo>
                    <a:pt x="62" y="36"/>
                  </a:lnTo>
                  <a:lnTo>
                    <a:pt x="62" y="36"/>
                  </a:lnTo>
                  <a:lnTo>
                    <a:pt x="59" y="49"/>
                  </a:lnTo>
                  <a:lnTo>
                    <a:pt x="55" y="62"/>
                  </a:lnTo>
                  <a:lnTo>
                    <a:pt x="48" y="71"/>
                  </a:lnTo>
                  <a:lnTo>
                    <a:pt x="40" y="82"/>
                  </a:lnTo>
                  <a:lnTo>
                    <a:pt x="40" y="82"/>
                  </a:lnTo>
                  <a:lnTo>
                    <a:pt x="31" y="89"/>
                  </a:lnTo>
                  <a:lnTo>
                    <a:pt x="26" y="91"/>
                  </a:lnTo>
                  <a:lnTo>
                    <a:pt x="20" y="91"/>
                  </a:lnTo>
                  <a:lnTo>
                    <a:pt x="20" y="91"/>
                  </a:lnTo>
                  <a:lnTo>
                    <a:pt x="11" y="89"/>
                  </a:lnTo>
                  <a:lnTo>
                    <a:pt x="5" y="84"/>
                  </a:lnTo>
                  <a:lnTo>
                    <a:pt x="2" y="78"/>
                  </a:lnTo>
                  <a:lnTo>
                    <a:pt x="0" y="67"/>
                  </a:lnTo>
                  <a:lnTo>
                    <a:pt x="0"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29" name="Freeform 208">
              <a:extLst>
                <a:ext uri="{FF2B5EF4-FFF2-40B4-BE49-F238E27FC236}">
                  <a16:creationId xmlns:a16="http://schemas.microsoft.com/office/drawing/2014/main" id="{BFB30404-0101-3ED6-17B4-B284509219AD}"/>
                </a:ext>
              </a:extLst>
            </p:cNvPr>
            <p:cNvSpPr>
              <a:spLocks/>
            </p:cNvSpPr>
            <p:nvPr/>
          </p:nvSpPr>
          <p:spPr bwMode="auto">
            <a:xfrm>
              <a:off x="6511282" y="4426624"/>
              <a:ext cx="77361" cy="91595"/>
            </a:xfrm>
            <a:custGeom>
              <a:avLst/>
              <a:gdLst/>
              <a:ahLst/>
              <a:cxnLst>
                <a:cxn ang="0">
                  <a:pos x="57" y="24"/>
                </a:cxn>
                <a:cxn ang="0">
                  <a:pos x="57" y="24"/>
                </a:cxn>
                <a:cxn ang="0">
                  <a:pos x="55" y="35"/>
                </a:cxn>
                <a:cxn ang="0">
                  <a:pos x="50" y="46"/>
                </a:cxn>
                <a:cxn ang="0">
                  <a:pos x="42" y="57"/>
                </a:cxn>
                <a:cxn ang="0">
                  <a:pos x="31" y="65"/>
                </a:cxn>
                <a:cxn ang="0">
                  <a:pos x="31" y="65"/>
                </a:cxn>
                <a:cxn ang="0">
                  <a:pos x="24" y="68"/>
                </a:cxn>
                <a:cxn ang="0">
                  <a:pos x="17" y="68"/>
                </a:cxn>
                <a:cxn ang="0">
                  <a:pos x="17" y="68"/>
                </a:cxn>
                <a:cxn ang="0">
                  <a:pos x="9" y="66"/>
                </a:cxn>
                <a:cxn ang="0">
                  <a:pos x="4" y="61"/>
                </a:cxn>
                <a:cxn ang="0">
                  <a:pos x="0" y="55"/>
                </a:cxn>
                <a:cxn ang="0">
                  <a:pos x="0" y="46"/>
                </a:cxn>
                <a:cxn ang="0">
                  <a:pos x="0" y="46"/>
                </a:cxn>
                <a:cxn ang="0">
                  <a:pos x="2" y="33"/>
                </a:cxn>
                <a:cxn ang="0">
                  <a:pos x="8" y="22"/>
                </a:cxn>
                <a:cxn ang="0">
                  <a:pos x="15" y="11"/>
                </a:cxn>
                <a:cxn ang="0">
                  <a:pos x="24" y="4"/>
                </a:cxn>
                <a:cxn ang="0">
                  <a:pos x="24" y="4"/>
                </a:cxn>
                <a:cxn ang="0">
                  <a:pos x="30" y="0"/>
                </a:cxn>
                <a:cxn ang="0">
                  <a:pos x="35" y="0"/>
                </a:cxn>
                <a:cxn ang="0">
                  <a:pos x="41" y="0"/>
                </a:cxn>
                <a:cxn ang="0">
                  <a:pos x="46" y="2"/>
                </a:cxn>
                <a:cxn ang="0">
                  <a:pos x="46" y="2"/>
                </a:cxn>
                <a:cxn ang="0">
                  <a:pos x="52" y="6"/>
                </a:cxn>
                <a:cxn ang="0">
                  <a:pos x="55" y="10"/>
                </a:cxn>
                <a:cxn ang="0">
                  <a:pos x="57" y="17"/>
                </a:cxn>
                <a:cxn ang="0">
                  <a:pos x="57" y="24"/>
                </a:cxn>
                <a:cxn ang="0">
                  <a:pos x="57" y="24"/>
                </a:cxn>
              </a:cxnLst>
              <a:rect l="0" t="0" r="r" b="b"/>
              <a:pathLst>
                <a:path w="57" h="68">
                  <a:moveTo>
                    <a:pt x="57" y="24"/>
                  </a:moveTo>
                  <a:lnTo>
                    <a:pt x="57" y="24"/>
                  </a:lnTo>
                  <a:lnTo>
                    <a:pt x="55" y="35"/>
                  </a:lnTo>
                  <a:lnTo>
                    <a:pt x="50" y="46"/>
                  </a:lnTo>
                  <a:lnTo>
                    <a:pt x="42" y="57"/>
                  </a:lnTo>
                  <a:lnTo>
                    <a:pt x="31" y="65"/>
                  </a:lnTo>
                  <a:lnTo>
                    <a:pt x="31" y="65"/>
                  </a:lnTo>
                  <a:lnTo>
                    <a:pt x="24" y="68"/>
                  </a:lnTo>
                  <a:lnTo>
                    <a:pt x="17" y="68"/>
                  </a:lnTo>
                  <a:lnTo>
                    <a:pt x="17" y="68"/>
                  </a:lnTo>
                  <a:lnTo>
                    <a:pt x="9" y="66"/>
                  </a:lnTo>
                  <a:lnTo>
                    <a:pt x="4" y="61"/>
                  </a:lnTo>
                  <a:lnTo>
                    <a:pt x="0" y="55"/>
                  </a:lnTo>
                  <a:lnTo>
                    <a:pt x="0" y="46"/>
                  </a:lnTo>
                  <a:lnTo>
                    <a:pt x="0" y="46"/>
                  </a:lnTo>
                  <a:lnTo>
                    <a:pt x="2" y="33"/>
                  </a:lnTo>
                  <a:lnTo>
                    <a:pt x="8" y="22"/>
                  </a:lnTo>
                  <a:lnTo>
                    <a:pt x="15" y="11"/>
                  </a:lnTo>
                  <a:lnTo>
                    <a:pt x="24" y="4"/>
                  </a:lnTo>
                  <a:lnTo>
                    <a:pt x="24" y="4"/>
                  </a:lnTo>
                  <a:lnTo>
                    <a:pt x="30" y="0"/>
                  </a:lnTo>
                  <a:lnTo>
                    <a:pt x="35" y="0"/>
                  </a:lnTo>
                  <a:lnTo>
                    <a:pt x="41" y="0"/>
                  </a:lnTo>
                  <a:lnTo>
                    <a:pt x="46" y="2"/>
                  </a:lnTo>
                  <a:lnTo>
                    <a:pt x="46" y="2"/>
                  </a:lnTo>
                  <a:lnTo>
                    <a:pt x="52" y="6"/>
                  </a:lnTo>
                  <a:lnTo>
                    <a:pt x="55" y="10"/>
                  </a:lnTo>
                  <a:lnTo>
                    <a:pt x="57" y="17"/>
                  </a:lnTo>
                  <a:lnTo>
                    <a:pt x="57" y="24"/>
                  </a:lnTo>
                  <a:lnTo>
                    <a:pt x="57"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sp>
          <p:nvSpPr>
            <p:cNvPr id="430" name="Freeform 209">
              <a:extLst>
                <a:ext uri="{FF2B5EF4-FFF2-40B4-BE49-F238E27FC236}">
                  <a16:creationId xmlns:a16="http://schemas.microsoft.com/office/drawing/2014/main" id="{8F82D6B3-30DF-B7F7-402A-E2EDBDA036AF}"/>
                </a:ext>
              </a:extLst>
            </p:cNvPr>
            <p:cNvSpPr>
              <a:spLocks/>
            </p:cNvSpPr>
            <p:nvPr/>
          </p:nvSpPr>
          <p:spPr bwMode="auto">
            <a:xfrm>
              <a:off x="6725718" y="4559975"/>
              <a:ext cx="66503" cy="94289"/>
            </a:xfrm>
            <a:custGeom>
              <a:avLst/>
              <a:gdLst/>
              <a:ahLst/>
              <a:cxnLst>
                <a:cxn ang="0">
                  <a:pos x="0" y="50"/>
                </a:cxn>
                <a:cxn ang="0">
                  <a:pos x="0" y="50"/>
                </a:cxn>
                <a:cxn ang="0">
                  <a:pos x="2" y="37"/>
                </a:cxn>
                <a:cxn ang="0">
                  <a:pos x="7" y="26"/>
                </a:cxn>
                <a:cxn ang="0">
                  <a:pos x="16" y="15"/>
                </a:cxn>
                <a:cxn ang="0">
                  <a:pos x="26" y="4"/>
                </a:cxn>
                <a:cxn ang="0">
                  <a:pos x="26" y="4"/>
                </a:cxn>
                <a:cxn ang="0">
                  <a:pos x="31" y="2"/>
                </a:cxn>
                <a:cxn ang="0">
                  <a:pos x="37" y="0"/>
                </a:cxn>
                <a:cxn ang="0">
                  <a:pos x="42" y="0"/>
                </a:cxn>
                <a:cxn ang="0">
                  <a:pos x="46" y="2"/>
                </a:cxn>
                <a:cxn ang="0">
                  <a:pos x="46" y="2"/>
                </a:cxn>
                <a:cxn ang="0">
                  <a:pos x="49" y="6"/>
                </a:cxn>
                <a:cxn ang="0">
                  <a:pos x="49" y="11"/>
                </a:cxn>
                <a:cxn ang="0">
                  <a:pos x="49" y="21"/>
                </a:cxn>
                <a:cxn ang="0">
                  <a:pos x="49" y="21"/>
                </a:cxn>
                <a:cxn ang="0">
                  <a:pos x="46" y="32"/>
                </a:cxn>
                <a:cxn ang="0">
                  <a:pos x="40" y="43"/>
                </a:cxn>
                <a:cxn ang="0">
                  <a:pos x="35" y="52"/>
                </a:cxn>
                <a:cxn ang="0">
                  <a:pos x="27" y="63"/>
                </a:cxn>
                <a:cxn ang="0">
                  <a:pos x="27" y="63"/>
                </a:cxn>
                <a:cxn ang="0">
                  <a:pos x="22" y="66"/>
                </a:cxn>
                <a:cxn ang="0">
                  <a:pos x="16" y="70"/>
                </a:cxn>
                <a:cxn ang="0">
                  <a:pos x="16" y="70"/>
                </a:cxn>
                <a:cxn ang="0">
                  <a:pos x="9" y="70"/>
                </a:cxn>
                <a:cxn ang="0">
                  <a:pos x="4" y="66"/>
                </a:cxn>
                <a:cxn ang="0">
                  <a:pos x="0" y="61"/>
                </a:cxn>
                <a:cxn ang="0">
                  <a:pos x="0" y="50"/>
                </a:cxn>
                <a:cxn ang="0">
                  <a:pos x="0" y="50"/>
                </a:cxn>
              </a:cxnLst>
              <a:rect l="0" t="0" r="r" b="b"/>
              <a:pathLst>
                <a:path w="49" h="70">
                  <a:moveTo>
                    <a:pt x="0" y="50"/>
                  </a:moveTo>
                  <a:lnTo>
                    <a:pt x="0" y="50"/>
                  </a:lnTo>
                  <a:lnTo>
                    <a:pt x="2" y="37"/>
                  </a:lnTo>
                  <a:lnTo>
                    <a:pt x="7" y="26"/>
                  </a:lnTo>
                  <a:lnTo>
                    <a:pt x="16" y="15"/>
                  </a:lnTo>
                  <a:lnTo>
                    <a:pt x="26" y="4"/>
                  </a:lnTo>
                  <a:lnTo>
                    <a:pt x="26" y="4"/>
                  </a:lnTo>
                  <a:lnTo>
                    <a:pt x="31" y="2"/>
                  </a:lnTo>
                  <a:lnTo>
                    <a:pt x="37" y="0"/>
                  </a:lnTo>
                  <a:lnTo>
                    <a:pt x="42" y="0"/>
                  </a:lnTo>
                  <a:lnTo>
                    <a:pt x="46" y="2"/>
                  </a:lnTo>
                  <a:lnTo>
                    <a:pt x="46" y="2"/>
                  </a:lnTo>
                  <a:lnTo>
                    <a:pt x="49" y="6"/>
                  </a:lnTo>
                  <a:lnTo>
                    <a:pt x="49" y="11"/>
                  </a:lnTo>
                  <a:lnTo>
                    <a:pt x="49" y="21"/>
                  </a:lnTo>
                  <a:lnTo>
                    <a:pt x="49" y="21"/>
                  </a:lnTo>
                  <a:lnTo>
                    <a:pt x="46" y="32"/>
                  </a:lnTo>
                  <a:lnTo>
                    <a:pt x="40" y="43"/>
                  </a:lnTo>
                  <a:lnTo>
                    <a:pt x="35" y="52"/>
                  </a:lnTo>
                  <a:lnTo>
                    <a:pt x="27" y="63"/>
                  </a:lnTo>
                  <a:lnTo>
                    <a:pt x="27" y="63"/>
                  </a:lnTo>
                  <a:lnTo>
                    <a:pt x="22" y="66"/>
                  </a:lnTo>
                  <a:lnTo>
                    <a:pt x="16" y="70"/>
                  </a:lnTo>
                  <a:lnTo>
                    <a:pt x="16" y="70"/>
                  </a:lnTo>
                  <a:lnTo>
                    <a:pt x="9" y="70"/>
                  </a:lnTo>
                  <a:lnTo>
                    <a:pt x="4" y="66"/>
                  </a:lnTo>
                  <a:lnTo>
                    <a:pt x="0" y="61"/>
                  </a:lnTo>
                  <a:lnTo>
                    <a:pt x="0" y="50"/>
                  </a:lnTo>
                  <a:lnTo>
                    <a:pt x="0"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Work Sans"/>
                <a:ea typeface="+mn-ea"/>
                <a:cs typeface="+mn-cs"/>
              </a:endParaRPr>
            </a:p>
          </p:txBody>
        </p:sp>
      </p:grpSp>
      <p:pic>
        <p:nvPicPr>
          <p:cNvPr id="431" name="Picture 430">
            <a:extLst>
              <a:ext uri="{FF2B5EF4-FFF2-40B4-BE49-F238E27FC236}">
                <a16:creationId xmlns:a16="http://schemas.microsoft.com/office/drawing/2014/main" id="{5FF62B35-760A-0C47-A0FC-79BFD301610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600894" y="3019817"/>
            <a:ext cx="1157757" cy="495343"/>
          </a:xfrm>
          <a:prstGeom prst="rect">
            <a:avLst/>
          </a:prstGeom>
        </p:spPr>
      </p:pic>
      <p:pic>
        <p:nvPicPr>
          <p:cNvPr id="433" name="Picture 432" descr="Text&#10;&#10;Description automatically generated with medium confidence">
            <a:extLst>
              <a:ext uri="{FF2B5EF4-FFF2-40B4-BE49-F238E27FC236}">
                <a16:creationId xmlns:a16="http://schemas.microsoft.com/office/drawing/2014/main" id="{554B3605-0AF6-CB25-F3B8-1F37070EF7E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778963" y="1451935"/>
            <a:ext cx="2065932" cy="743496"/>
          </a:xfrm>
          <a:prstGeom prst="rect">
            <a:avLst/>
          </a:prstGeom>
        </p:spPr>
      </p:pic>
      <p:pic>
        <p:nvPicPr>
          <p:cNvPr id="434" name="Picture 433" descr="Logo, company name&#10;&#10;Description automatically generated">
            <a:extLst>
              <a:ext uri="{FF2B5EF4-FFF2-40B4-BE49-F238E27FC236}">
                <a16:creationId xmlns:a16="http://schemas.microsoft.com/office/drawing/2014/main" id="{9E18EAE6-ECC7-A878-2635-6FFBA997BF2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79697" y="3471659"/>
            <a:ext cx="836597" cy="401440"/>
          </a:xfrm>
          <a:prstGeom prst="rect">
            <a:avLst/>
          </a:prstGeom>
        </p:spPr>
      </p:pic>
      <p:pic>
        <p:nvPicPr>
          <p:cNvPr id="435" name="Picture 434" descr="Logo&#10;&#10;Description automatically generated">
            <a:extLst>
              <a:ext uri="{FF2B5EF4-FFF2-40B4-BE49-F238E27FC236}">
                <a16:creationId xmlns:a16="http://schemas.microsoft.com/office/drawing/2014/main" id="{66D11216-90A1-5269-AB0C-561509183B4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91749" y="975623"/>
            <a:ext cx="597570" cy="334532"/>
          </a:xfrm>
          <a:prstGeom prst="rect">
            <a:avLst/>
          </a:prstGeom>
        </p:spPr>
      </p:pic>
      <p:pic>
        <p:nvPicPr>
          <p:cNvPr id="436" name="Picture 435" descr="Text&#10;&#10;Description automatically generated">
            <a:extLst>
              <a:ext uri="{FF2B5EF4-FFF2-40B4-BE49-F238E27FC236}">
                <a16:creationId xmlns:a16="http://schemas.microsoft.com/office/drawing/2014/main" id="{2E0B4746-C75E-C39C-4F37-C1948B779A13}"/>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583662" y="1072149"/>
            <a:ext cx="1282781" cy="461653"/>
          </a:xfrm>
          <a:prstGeom prst="rect">
            <a:avLst/>
          </a:prstGeom>
        </p:spPr>
      </p:pic>
      <p:pic>
        <p:nvPicPr>
          <p:cNvPr id="437" name="Picture 436" descr="Icon&#10;&#10;Description automatically generated with medium confidence">
            <a:extLst>
              <a:ext uri="{FF2B5EF4-FFF2-40B4-BE49-F238E27FC236}">
                <a16:creationId xmlns:a16="http://schemas.microsoft.com/office/drawing/2014/main" id="{84E41FD4-D6F8-79D0-ECD3-DA25E2064805}"/>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22133" y="1746873"/>
            <a:ext cx="1552165" cy="558601"/>
          </a:xfrm>
          <a:prstGeom prst="rect">
            <a:avLst/>
          </a:prstGeom>
        </p:spPr>
      </p:pic>
      <p:pic>
        <p:nvPicPr>
          <p:cNvPr id="439" name="Picture 438" descr="Logo&#10;&#10;Description automatically generated">
            <a:extLst>
              <a:ext uri="{FF2B5EF4-FFF2-40B4-BE49-F238E27FC236}">
                <a16:creationId xmlns:a16="http://schemas.microsoft.com/office/drawing/2014/main" id="{85C6C344-7F92-6C38-B4F8-D88C70EBBDB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636020" y="3348058"/>
            <a:ext cx="1115464" cy="248235"/>
          </a:xfrm>
          <a:prstGeom prst="rect">
            <a:avLst/>
          </a:prstGeom>
        </p:spPr>
      </p:pic>
      <p:pic>
        <p:nvPicPr>
          <p:cNvPr id="440" name="Picture 439" descr="A close-up of a logo&#10;&#10;Description automatically generated with low confidence">
            <a:extLst>
              <a:ext uri="{FF2B5EF4-FFF2-40B4-BE49-F238E27FC236}">
                <a16:creationId xmlns:a16="http://schemas.microsoft.com/office/drawing/2014/main" id="{9B5182EC-02BE-9175-9EC8-AF47C559996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840263" y="1020163"/>
            <a:ext cx="1115464" cy="217168"/>
          </a:xfrm>
          <a:prstGeom prst="rect">
            <a:avLst/>
          </a:prstGeom>
        </p:spPr>
      </p:pic>
      <p:pic>
        <p:nvPicPr>
          <p:cNvPr id="441" name="Picture 440" descr="Logo&#10;&#10;Description automatically generated with medium confidence">
            <a:extLst>
              <a:ext uri="{FF2B5EF4-FFF2-40B4-BE49-F238E27FC236}">
                <a16:creationId xmlns:a16="http://schemas.microsoft.com/office/drawing/2014/main" id="{65FA2B83-E3A6-1F74-CD3E-B8FA2136F73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840263" y="3128161"/>
            <a:ext cx="1115464" cy="200387"/>
          </a:xfrm>
          <a:prstGeom prst="rect">
            <a:avLst/>
          </a:prstGeom>
        </p:spPr>
      </p:pic>
      <p:pic>
        <p:nvPicPr>
          <p:cNvPr id="443" name="Picture 442" descr="Shape&#10;&#10;Description automatically generated with medium confidence">
            <a:extLst>
              <a:ext uri="{FF2B5EF4-FFF2-40B4-BE49-F238E27FC236}">
                <a16:creationId xmlns:a16="http://schemas.microsoft.com/office/drawing/2014/main" id="{84F64F6A-78EC-F5D9-627A-2779082AD9E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820345" y="2669769"/>
            <a:ext cx="1155302" cy="324611"/>
          </a:xfrm>
          <a:prstGeom prst="rect">
            <a:avLst/>
          </a:prstGeom>
        </p:spPr>
      </p:pic>
      <p:pic>
        <p:nvPicPr>
          <p:cNvPr id="444" name="Picture 443" descr="Text&#10;&#10;Description automatically generated">
            <a:extLst>
              <a:ext uri="{FF2B5EF4-FFF2-40B4-BE49-F238E27FC236}">
                <a16:creationId xmlns:a16="http://schemas.microsoft.com/office/drawing/2014/main" id="{83668E84-DCE1-2495-18A9-EA22B2ABFA38}"/>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8943830" y="2731757"/>
            <a:ext cx="1766271" cy="743496"/>
          </a:xfrm>
          <a:prstGeom prst="rect">
            <a:avLst/>
          </a:prstGeom>
        </p:spPr>
      </p:pic>
      <p:pic>
        <p:nvPicPr>
          <p:cNvPr id="445" name="Picture 444" descr="Graphical user interface, website&#10;&#10;Description automatically generated">
            <a:extLst>
              <a:ext uri="{FF2B5EF4-FFF2-40B4-BE49-F238E27FC236}">
                <a16:creationId xmlns:a16="http://schemas.microsoft.com/office/drawing/2014/main" id="{D9758EA4-A9FA-9C8D-C840-F25084EC79BA}"/>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352692" y="3194612"/>
            <a:ext cx="2065932" cy="743496"/>
          </a:xfrm>
          <a:prstGeom prst="rect">
            <a:avLst/>
          </a:prstGeom>
        </p:spPr>
      </p:pic>
      <p:pic>
        <p:nvPicPr>
          <p:cNvPr id="446" name="Picture 445" descr="Logo&#10;&#10;Description automatically generated with medium confidence">
            <a:extLst>
              <a:ext uri="{FF2B5EF4-FFF2-40B4-BE49-F238E27FC236}">
                <a16:creationId xmlns:a16="http://schemas.microsoft.com/office/drawing/2014/main" id="{DEBD9D9D-6755-5EDE-2AD6-044B87BAE337}"/>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612390" y="4796524"/>
            <a:ext cx="1155302" cy="242535"/>
          </a:xfrm>
          <a:prstGeom prst="rect">
            <a:avLst/>
          </a:prstGeom>
        </p:spPr>
      </p:pic>
      <p:pic>
        <p:nvPicPr>
          <p:cNvPr id="447" name="Picture 446" descr="Logo&#10;&#10;Description automatically generated">
            <a:extLst>
              <a:ext uri="{FF2B5EF4-FFF2-40B4-BE49-F238E27FC236}">
                <a16:creationId xmlns:a16="http://schemas.microsoft.com/office/drawing/2014/main" id="{F5DCADBF-2662-30C7-4299-040F8CFB10DD}"/>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678814" y="2835350"/>
            <a:ext cx="995950" cy="297585"/>
          </a:xfrm>
          <a:prstGeom prst="rect">
            <a:avLst/>
          </a:prstGeom>
        </p:spPr>
      </p:pic>
      <p:pic>
        <p:nvPicPr>
          <p:cNvPr id="448" name="Picture 447" descr="Text&#10;&#10;Description automatically generated">
            <a:extLst>
              <a:ext uri="{FF2B5EF4-FFF2-40B4-BE49-F238E27FC236}">
                <a16:creationId xmlns:a16="http://schemas.microsoft.com/office/drawing/2014/main" id="{5E4D3873-A679-D8A0-FA46-29FE79CAFF5A}"/>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1566901" y="3768234"/>
            <a:ext cx="1552165" cy="558599"/>
          </a:xfrm>
          <a:prstGeom prst="rect">
            <a:avLst/>
          </a:prstGeom>
        </p:spPr>
      </p:pic>
      <p:pic>
        <p:nvPicPr>
          <p:cNvPr id="449" name="Picture 448" descr="Graphical user interface&#10;&#10;Description automatically generated with medium confidence">
            <a:extLst>
              <a:ext uri="{FF2B5EF4-FFF2-40B4-BE49-F238E27FC236}">
                <a16:creationId xmlns:a16="http://schemas.microsoft.com/office/drawing/2014/main" id="{0E85FA34-6367-3059-76B8-6BF04ECA702D}"/>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1371362" y="2720842"/>
            <a:ext cx="1707382" cy="614459"/>
          </a:xfrm>
          <a:prstGeom prst="rect">
            <a:avLst/>
          </a:prstGeom>
        </p:spPr>
      </p:pic>
      <p:pic>
        <p:nvPicPr>
          <p:cNvPr id="451" name="Picture 450" descr="A picture containing text, clipart&#10;&#10;Description automatically generated">
            <a:extLst>
              <a:ext uri="{FF2B5EF4-FFF2-40B4-BE49-F238E27FC236}">
                <a16:creationId xmlns:a16="http://schemas.microsoft.com/office/drawing/2014/main" id="{EA1AA16F-1BDE-766E-23BF-7C781ABBBF40}"/>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720441" y="1490839"/>
            <a:ext cx="836597" cy="200719"/>
          </a:xfrm>
          <a:prstGeom prst="rect">
            <a:avLst/>
          </a:prstGeom>
        </p:spPr>
      </p:pic>
      <p:pic>
        <p:nvPicPr>
          <p:cNvPr id="452" name="Picture 451">
            <a:extLst>
              <a:ext uri="{FF2B5EF4-FFF2-40B4-BE49-F238E27FC236}">
                <a16:creationId xmlns:a16="http://schemas.microsoft.com/office/drawing/2014/main" id="{2771C214-3C08-33CA-FCE9-552A0FAFDBCA}"/>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897323" y="4795926"/>
            <a:ext cx="1001344" cy="221279"/>
          </a:xfrm>
          <a:prstGeom prst="rect">
            <a:avLst/>
          </a:prstGeom>
        </p:spPr>
      </p:pic>
      <p:pic>
        <p:nvPicPr>
          <p:cNvPr id="453" name="Picture 452" descr="Graphical user interface, text, application&#10;&#10;Description automatically generated">
            <a:extLst>
              <a:ext uri="{FF2B5EF4-FFF2-40B4-BE49-F238E27FC236}">
                <a16:creationId xmlns:a16="http://schemas.microsoft.com/office/drawing/2014/main" id="{86EE5B8A-F97D-C9AB-242E-EB344582F4DF}"/>
              </a:ext>
            </a:extLst>
          </p:cNvPr>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8736691" y="824737"/>
            <a:ext cx="2065932" cy="743496"/>
          </a:xfrm>
          <a:prstGeom prst="rect">
            <a:avLst/>
          </a:prstGeom>
        </p:spPr>
      </p:pic>
      <p:pic>
        <p:nvPicPr>
          <p:cNvPr id="454" name="Picture 195">
            <a:extLst>
              <a:ext uri="{FF2B5EF4-FFF2-40B4-BE49-F238E27FC236}">
                <a16:creationId xmlns:a16="http://schemas.microsoft.com/office/drawing/2014/main" id="{E047626D-35FB-A805-BEFB-E7DC8F3FD8F7}"/>
              </a:ext>
            </a:extLst>
          </p:cNvPr>
          <p:cNvPicPr>
            <a:picLocks noChangeAspect="1" noChangeArrowheads="1"/>
          </p:cNvPicPr>
          <p:nvPr/>
        </p:nvPicPr>
        <p:blipFill>
          <a:blip r:embed="rId22" cstate="print"/>
          <a:srcRect/>
          <a:stretch>
            <a:fillRect/>
          </a:stretch>
        </p:blipFill>
        <p:spPr bwMode="auto">
          <a:xfrm>
            <a:off x="8199747" y="3929327"/>
            <a:ext cx="396496" cy="310419"/>
          </a:xfrm>
          <a:prstGeom prst="rect">
            <a:avLst/>
          </a:prstGeom>
          <a:noFill/>
          <a:ln w="9525">
            <a:noFill/>
            <a:miter lim="800000"/>
            <a:headEnd/>
            <a:tailEnd/>
          </a:ln>
        </p:spPr>
      </p:pic>
      <p:pic>
        <p:nvPicPr>
          <p:cNvPr id="455" name="Picture 454" descr="Text&#10;&#10;Description automatically generated">
            <a:extLst>
              <a:ext uri="{FF2B5EF4-FFF2-40B4-BE49-F238E27FC236}">
                <a16:creationId xmlns:a16="http://schemas.microsoft.com/office/drawing/2014/main" id="{5313302A-4233-247D-918B-65B5A193B22F}"/>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0510441" y="3763313"/>
            <a:ext cx="1222531" cy="345592"/>
          </a:xfrm>
          <a:prstGeom prst="rect">
            <a:avLst/>
          </a:prstGeom>
        </p:spPr>
      </p:pic>
      <p:pic>
        <p:nvPicPr>
          <p:cNvPr id="456" name="Picture 2" descr="PTC_New_Logo - AutomaTech">
            <a:extLst>
              <a:ext uri="{FF2B5EF4-FFF2-40B4-BE49-F238E27FC236}">
                <a16:creationId xmlns:a16="http://schemas.microsoft.com/office/drawing/2014/main" id="{FBBFED24-4A4B-EEAC-B071-C33A80705E9B}"/>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7982326" y="1405118"/>
            <a:ext cx="796637" cy="259819"/>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4">
            <a:extLst>
              <a:ext uri="{FF2B5EF4-FFF2-40B4-BE49-F238E27FC236}">
                <a16:creationId xmlns:a16="http://schemas.microsoft.com/office/drawing/2014/main" id="{A998905D-570F-3270-A4CC-D55D5016CB2A}"/>
              </a:ext>
            </a:extLst>
          </p:cNvPr>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3631505" y="4269529"/>
            <a:ext cx="1059962" cy="271892"/>
          </a:xfrm>
          <a:prstGeom prst="rect">
            <a:avLst/>
          </a:prstGeom>
          <a:noFill/>
          <a:extLst>
            <a:ext uri="{909E8E84-426E-40DD-AFC4-6F175D3DCCD1}">
              <a14:hiddenFill xmlns:a14="http://schemas.microsoft.com/office/drawing/2010/main">
                <a:solidFill>
                  <a:srgbClr val="FFFFFF"/>
                </a:solidFill>
              </a14:hiddenFill>
            </a:ext>
          </a:extLst>
        </p:spPr>
      </p:pic>
      <p:pic>
        <p:nvPicPr>
          <p:cNvPr id="458" name="Picture 6" descr="Siemens building technologies Logos">
            <a:extLst>
              <a:ext uri="{FF2B5EF4-FFF2-40B4-BE49-F238E27FC236}">
                <a16:creationId xmlns:a16="http://schemas.microsoft.com/office/drawing/2014/main" id="{2E9D3F75-EB72-FD0E-6EDA-44255BD44C5A}"/>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3595071" y="2413257"/>
            <a:ext cx="1165958" cy="259561"/>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458">
            <a:extLst>
              <a:ext uri="{FF2B5EF4-FFF2-40B4-BE49-F238E27FC236}">
                <a16:creationId xmlns:a16="http://schemas.microsoft.com/office/drawing/2014/main" id="{6E93610F-D4CB-3A03-6A4B-CF723F6DFC80}"/>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557443" y="1595072"/>
            <a:ext cx="1268358" cy="460887"/>
          </a:xfrm>
          <a:prstGeom prst="rect">
            <a:avLst/>
          </a:prstGeom>
        </p:spPr>
      </p:pic>
      <p:sp>
        <p:nvSpPr>
          <p:cNvPr id="461" name="Rounded Rectangle 7061">
            <a:extLst>
              <a:ext uri="{FF2B5EF4-FFF2-40B4-BE49-F238E27FC236}">
                <a16:creationId xmlns:a16="http://schemas.microsoft.com/office/drawing/2014/main" id="{A9A644C1-B841-701B-37F0-A0C710B443F8}"/>
              </a:ext>
            </a:extLst>
          </p:cNvPr>
          <p:cNvSpPr/>
          <p:nvPr/>
        </p:nvSpPr>
        <p:spPr>
          <a:xfrm>
            <a:off x="319534" y="5444464"/>
            <a:ext cx="11578550" cy="1122656"/>
          </a:xfrm>
          <a:prstGeom prst="roundRect">
            <a:avLst>
              <a:gd name="adj" fmla="val 16745"/>
            </a:avLst>
          </a:prstGeom>
          <a:solidFill>
            <a:schemeClr val="bg1"/>
          </a:solidFill>
          <a:ln w="28575">
            <a:solidFill>
              <a:srgbClr val="005C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7" name="Picture 466" descr="A close up of a sign&#10;&#10;Description automatically generated">
            <a:extLst>
              <a:ext uri="{FF2B5EF4-FFF2-40B4-BE49-F238E27FC236}">
                <a16:creationId xmlns:a16="http://schemas.microsoft.com/office/drawing/2014/main" id="{D7CD9402-A6C3-B87A-32A2-4D53BF80D679}"/>
              </a:ext>
            </a:extLst>
          </p:cNvPr>
          <p:cNvPicPr>
            <a:picLocks noChangeAspect="1"/>
          </p:cNvPicPr>
          <p:nvPr/>
        </p:nvPicPr>
        <p:blipFill rotWithShape="1">
          <a:blip r:embed="rId28" cstate="screen">
            <a:extLst>
              <a:ext uri="{28A0092B-C50C-407E-A947-70E740481C1C}">
                <a14:useLocalDpi xmlns:a14="http://schemas.microsoft.com/office/drawing/2010/main"/>
              </a:ext>
            </a:extLst>
          </a:blip>
          <a:srcRect/>
          <a:stretch/>
        </p:blipFill>
        <p:spPr>
          <a:xfrm>
            <a:off x="10497307" y="5629112"/>
            <a:ext cx="991625" cy="775367"/>
          </a:xfrm>
          <a:prstGeom prst="rect">
            <a:avLst/>
          </a:prstGeom>
        </p:spPr>
      </p:pic>
      <p:grpSp>
        <p:nvGrpSpPr>
          <p:cNvPr id="469" name="Group 468">
            <a:extLst>
              <a:ext uri="{FF2B5EF4-FFF2-40B4-BE49-F238E27FC236}">
                <a16:creationId xmlns:a16="http://schemas.microsoft.com/office/drawing/2014/main" id="{604FAB6D-1BFC-CDA1-336C-4224BB039335}"/>
              </a:ext>
            </a:extLst>
          </p:cNvPr>
          <p:cNvGrpSpPr/>
          <p:nvPr/>
        </p:nvGrpSpPr>
        <p:grpSpPr>
          <a:xfrm>
            <a:off x="2643892" y="5687640"/>
            <a:ext cx="1403419" cy="671683"/>
            <a:chOff x="2979623" y="5654809"/>
            <a:chExt cx="1290701" cy="671683"/>
          </a:xfrm>
        </p:grpSpPr>
        <p:pic>
          <p:nvPicPr>
            <p:cNvPr id="477" name="Picture 2" descr="Red Hat and Snam Collaborate to Deliver Energy Solutions at the Edge |  Business Wire">
              <a:extLst>
                <a:ext uri="{FF2B5EF4-FFF2-40B4-BE49-F238E27FC236}">
                  <a16:creationId xmlns:a16="http://schemas.microsoft.com/office/drawing/2014/main" id="{C5B065D3-122B-F876-A982-CB954DF4C6B6}"/>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a:stretch/>
          </p:blipFill>
          <p:spPr bwMode="auto">
            <a:xfrm>
              <a:off x="2981186" y="5654809"/>
              <a:ext cx="1289138" cy="323943"/>
            </a:xfrm>
            <a:prstGeom prst="rect">
              <a:avLst/>
            </a:prstGeom>
            <a:noFill/>
            <a:extLst>
              <a:ext uri="{909E8E84-426E-40DD-AFC4-6F175D3DCCD1}">
                <a14:hiddenFill xmlns:a14="http://schemas.microsoft.com/office/drawing/2010/main">
                  <a:solidFill>
                    <a:srgbClr val="FFFFFF"/>
                  </a:solidFill>
                </a14:hiddenFill>
              </a:ext>
            </a:extLst>
          </p:spPr>
        </p:pic>
        <p:sp>
          <p:nvSpPr>
            <p:cNvPr id="478" name="Rectangle 477">
              <a:extLst>
                <a:ext uri="{FF2B5EF4-FFF2-40B4-BE49-F238E27FC236}">
                  <a16:creationId xmlns:a16="http://schemas.microsoft.com/office/drawing/2014/main" id="{D5608E5A-6AE7-72B3-2B1E-0F3E38717DCC}"/>
                </a:ext>
              </a:extLst>
            </p:cNvPr>
            <p:cNvSpPr/>
            <p:nvPr/>
          </p:nvSpPr>
          <p:spPr>
            <a:xfrm>
              <a:off x="2979623" y="6060780"/>
              <a:ext cx="1276500" cy="265712"/>
            </a:xfrm>
            <a:prstGeom prst="rect">
              <a:avLst/>
            </a:prstGeom>
            <a:solidFill>
              <a:srgbClr val="004B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TECHNOLOGY PARTNER</a:t>
              </a:r>
            </a:p>
          </p:txBody>
        </p:sp>
      </p:grpSp>
      <p:pic>
        <p:nvPicPr>
          <p:cNvPr id="470" name="Picture 4">
            <a:extLst>
              <a:ext uri="{FF2B5EF4-FFF2-40B4-BE49-F238E27FC236}">
                <a16:creationId xmlns:a16="http://schemas.microsoft.com/office/drawing/2014/main" id="{49CD14A3-5C54-3A35-4F10-244A16553F1E}"/>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4255678" y="5684913"/>
            <a:ext cx="1110280" cy="672589"/>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6" descr="MYCOM OSI logo | RealWire RealResource">
            <a:extLst>
              <a:ext uri="{FF2B5EF4-FFF2-40B4-BE49-F238E27FC236}">
                <a16:creationId xmlns:a16="http://schemas.microsoft.com/office/drawing/2014/main" id="{3935770F-E3D1-0BC2-9423-18B1CACD65BA}"/>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a:stretch/>
        </p:blipFill>
        <p:spPr bwMode="auto">
          <a:xfrm>
            <a:off x="715137" y="5871763"/>
            <a:ext cx="1468376" cy="375396"/>
          </a:xfrm>
          <a:prstGeom prst="rect">
            <a:avLst/>
          </a:prstGeom>
          <a:noFill/>
          <a:extLst>
            <a:ext uri="{909E8E84-426E-40DD-AFC4-6F175D3DCCD1}">
              <a14:hiddenFill xmlns:a14="http://schemas.microsoft.com/office/drawing/2010/main">
                <a:solidFill>
                  <a:srgbClr val="FFFFFF"/>
                </a:solidFill>
              </a14:hiddenFill>
            </a:ext>
          </a:extLst>
        </p:spPr>
      </p:pic>
      <p:cxnSp>
        <p:nvCxnSpPr>
          <p:cNvPr id="472" name="Straight Connector 471">
            <a:extLst>
              <a:ext uri="{FF2B5EF4-FFF2-40B4-BE49-F238E27FC236}">
                <a16:creationId xmlns:a16="http://schemas.microsoft.com/office/drawing/2014/main" id="{9F611257-1781-BE78-8687-A7AB8185028C}"/>
              </a:ext>
            </a:extLst>
          </p:cNvPr>
          <p:cNvCxnSpPr>
            <a:cxnSpLocks/>
          </p:cNvCxnSpPr>
          <p:nvPr/>
        </p:nvCxnSpPr>
        <p:spPr>
          <a:xfrm>
            <a:off x="2389703" y="5541084"/>
            <a:ext cx="0" cy="95632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a:extLst>
              <a:ext uri="{FF2B5EF4-FFF2-40B4-BE49-F238E27FC236}">
                <a16:creationId xmlns:a16="http://schemas.microsoft.com/office/drawing/2014/main" id="{7AFECD94-FED4-4ABE-D38D-CEA28C4E0319}"/>
              </a:ext>
            </a:extLst>
          </p:cNvPr>
          <p:cNvCxnSpPr>
            <a:cxnSpLocks/>
          </p:cNvCxnSpPr>
          <p:nvPr/>
        </p:nvCxnSpPr>
        <p:spPr>
          <a:xfrm>
            <a:off x="4138739" y="5559503"/>
            <a:ext cx="0" cy="95632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6D3EC6C0-D57E-56E0-F965-3B5419704C4D}"/>
              </a:ext>
            </a:extLst>
          </p:cNvPr>
          <p:cNvCxnSpPr>
            <a:cxnSpLocks/>
          </p:cNvCxnSpPr>
          <p:nvPr/>
        </p:nvCxnSpPr>
        <p:spPr>
          <a:xfrm>
            <a:off x="5448037" y="5559502"/>
            <a:ext cx="0" cy="95632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5" name="Straight Connector 474">
            <a:extLst>
              <a:ext uri="{FF2B5EF4-FFF2-40B4-BE49-F238E27FC236}">
                <a16:creationId xmlns:a16="http://schemas.microsoft.com/office/drawing/2014/main" id="{2E9BBDB8-95C2-382C-5A72-2CF903DFB525}"/>
              </a:ext>
            </a:extLst>
          </p:cNvPr>
          <p:cNvCxnSpPr>
            <a:cxnSpLocks/>
          </p:cNvCxnSpPr>
          <p:nvPr/>
        </p:nvCxnSpPr>
        <p:spPr>
          <a:xfrm>
            <a:off x="8370155" y="5527627"/>
            <a:ext cx="0" cy="969784"/>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CA9F73BD-5DAD-83F5-E034-88C636C43BA4}"/>
              </a:ext>
            </a:extLst>
          </p:cNvPr>
          <p:cNvCxnSpPr>
            <a:cxnSpLocks/>
          </p:cNvCxnSpPr>
          <p:nvPr/>
        </p:nvCxnSpPr>
        <p:spPr>
          <a:xfrm>
            <a:off x="10302501" y="5527627"/>
            <a:ext cx="0" cy="95632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3B35678D-A23E-B8F7-75EC-822AF0BB4F36}"/>
              </a:ext>
            </a:extLst>
          </p:cNvPr>
          <p:cNvCxnSpPr>
            <a:cxnSpLocks/>
          </p:cNvCxnSpPr>
          <p:nvPr/>
        </p:nvCxnSpPr>
        <p:spPr>
          <a:xfrm>
            <a:off x="6732949" y="5559502"/>
            <a:ext cx="15339" cy="94461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A1598CF9-5095-4184-ACB3-41A58EE9E41A}"/>
              </a:ext>
            </a:extLst>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3677081" y="1944507"/>
            <a:ext cx="1066681" cy="227086"/>
          </a:xfrm>
          <a:prstGeom prst="rect">
            <a:avLst/>
          </a:prstGeom>
          <a:noFill/>
          <a:extLst>
            <a:ext uri="{909E8E84-426E-40DD-AFC4-6F175D3DCCD1}">
              <a14:hiddenFill xmlns:a14="http://schemas.microsoft.com/office/drawing/2010/main">
                <a:solidFill>
                  <a:srgbClr val="FFFFFF"/>
                </a:solidFill>
              </a14:hiddenFill>
            </a:ext>
          </a:extLst>
        </p:spPr>
      </p:pic>
      <p:pic>
        <p:nvPicPr>
          <p:cNvPr id="481" name="Picture 2">
            <a:extLst>
              <a:ext uri="{FF2B5EF4-FFF2-40B4-BE49-F238E27FC236}">
                <a16:creationId xmlns:a16="http://schemas.microsoft.com/office/drawing/2014/main" id="{AC609007-5E5D-7F36-014A-F6007CC965FA}"/>
              </a:ext>
            </a:extLst>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5583981" y="5874655"/>
            <a:ext cx="1066681" cy="22708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rviceNow Logo and symbol, meaning, history, sign.">
            <a:extLst>
              <a:ext uri="{FF2B5EF4-FFF2-40B4-BE49-F238E27FC236}">
                <a16:creationId xmlns:a16="http://schemas.microsoft.com/office/drawing/2014/main" id="{D30AD814-ADC4-87DF-F211-4EA55B317219}"/>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a:stretch/>
        </p:blipFill>
        <p:spPr bwMode="auto">
          <a:xfrm>
            <a:off x="7808313" y="1876349"/>
            <a:ext cx="1152000" cy="1844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llscripts Software - Medical Management Services">
            <a:extLst>
              <a:ext uri="{FF2B5EF4-FFF2-40B4-BE49-F238E27FC236}">
                <a16:creationId xmlns:a16="http://schemas.microsoft.com/office/drawing/2014/main" id="{D70BCA04-D33E-A38C-5F5E-F95DC9D10766}"/>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7874278" y="2277811"/>
            <a:ext cx="1018729" cy="22138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Download Pegasystems Logo in SVG Vector or PNG File Format - Logo.wine">
            <a:extLst>
              <a:ext uri="{FF2B5EF4-FFF2-40B4-BE49-F238E27FC236}">
                <a16:creationId xmlns:a16="http://schemas.microsoft.com/office/drawing/2014/main" id="{4A5DF1AA-5DD1-43F7-A8F5-FA374F02D57B}"/>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a:stretch/>
        </p:blipFill>
        <p:spPr bwMode="auto">
          <a:xfrm>
            <a:off x="7832634" y="4360814"/>
            <a:ext cx="1116000" cy="273522"/>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B67DB801-3DEA-C467-CCD7-FE919A0E0669}"/>
              </a:ext>
            </a:extLst>
          </p:cNvPr>
          <p:cNvPicPr>
            <a:picLocks noChangeAspect="1"/>
          </p:cNvPicPr>
          <p:nvPr/>
        </p:nvPicPr>
        <p:blipFill>
          <a:blip r:embed="rId36" cstate="screen">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6928487" y="5850528"/>
            <a:ext cx="1253530" cy="274496"/>
          </a:xfrm>
          <a:prstGeom prst="rect">
            <a:avLst/>
          </a:prstGeom>
        </p:spPr>
      </p:pic>
      <p:pic>
        <p:nvPicPr>
          <p:cNvPr id="7" name="Picture 69">
            <a:extLst>
              <a:ext uri="{FF2B5EF4-FFF2-40B4-BE49-F238E27FC236}">
                <a16:creationId xmlns:a16="http://schemas.microsoft.com/office/drawing/2014/main" id="{8103FF58-428C-3FA7-9F29-95B824BE34F1}"/>
              </a:ext>
            </a:extLst>
          </p:cNvPr>
          <p:cNvPicPr>
            <a:picLocks noChangeAspect="1" noChangeArrowheads="1"/>
          </p:cNvPicPr>
          <p:nvPr/>
        </p:nvPicPr>
        <p:blipFill>
          <a:blip r:embed="rId38" cstate="print">
            <a:extLst>
              <a:ext uri="{28A0092B-C50C-407E-A947-70E740481C1C}">
                <a14:useLocalDpi xmlns:a14="http://schemas.microsoft.com/office/drawing/2010/main"/>
              </a:ext>
            </a:extLst>
          </a:blip>
          <a:srcRect/>
          <a:stretch>
            <a:fillRect/>
          </a:stretch>
        </p:blipFill>
        <p:spPr bwMode="auto">
          <a:xfrm>
            <a:off x="8528193" y="5806967"/>
            <a:ext cx="1440000" cy="372786"/>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13">
            <a:extLst>
              <a:ext uri="{FF2B5EF4-FFF2-40B4-BE49-F238E27FC236}">
                <a16:creationId xmlns:a16="http://schemas.microsoft.com/office/drawing/2014/main" id="{1D9AC72E-BE24-CF0B-FA03-F9F92848F562}"/>
              </a:ext>
            </a:extLst>
          </p:cNvPr>
          <p:cNvSpPr txBox="1">
            <a:spLocks/>
          </p:cNvSpPr>
          <p:nvPr/>
        </p:nvSpPr>
        <p:spPr>
          <a:xfrm>
            <a:off x="9264498" y="644596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681644A-C1D5-BE44-AC41-D3998030B91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9" name="object 7">
            <a:extLst>
              <a:ext uri="{FF2B5EF4-FFF2-40B4-BE49-F238E27FC236}">
                <a16:creationId xmlns:a16="http://schemas.microsoft.com/office/drawing/2014/main" id="{BFE711AB-2E2C-6E6A-D535-A16F6538D2AA}"/>
              </a:ext>
            </a:extLst>
          </p:cNvPr>
          <p:cNvPicPr/>
          <p:nvPr/>
        </p:nvPicPr>
        <p:blipFill>
          <a:blip r:embed="rId39" cstate="email">
            <a:extLst>
              <a:ext uri="{28A0092B-C50C-407E-A947-70E740481C1C}">
                <a14:useLocalDpi xmlns:a14="http://schemas.microsoft.com/office/drawing/2010/main"/>
              </a:ext>
            </a:extLst>
          </a:blip>
          <a:stretch>
            <a:fillRect/>
          </a:stretch>
        </p:blipFill>
        <p:spPr>
          <a:xfrm>
            <a:off x="89105" y="6447529"/>
            <a:ext cx="373055" cy="350518"/>
          </a:xfrm>
          <a:prstGeom prst="rect">
            <a:avLst/>
          </a:prstGeom>
        </p:spPr>
      </p:pic>
      <p:pic>
        <p:nvPicPr>
          <p:cNvPr id="5" name="Picture 2" descr="HeadSpin | LinkedIn">
            <a:extLst>
              <a:ext uri="{FF2B5EF4-FFF2-40B4-BE49-F238E27FC236}">
                <a16:creationId xmlns:a16="http://schemas.microsoft.com/office/drawing/2014/main" id="{96693DC9-9302-85E5-ACEB-F318C4EB8A0A}"/>
              </a:ext>
            </a:extLst>
          </p:cNvPr>
          <p:cNvPicPr>
            <a:picLocks noChangeAspect="1" noChangeArrowheads="1"/>
          </p:cNvPicPr>
          <p:nvPr/>
        </p:nvPicPr>
        <p:blipFill rotWithShape="1">
          <a:blip r:embed="rId40" cstate="print">
            <a:extLst>
              <a:ext uri="{28A0092B-C50C-407E-A947-70E740481C1C}">
                <a14:useLocalDpi xmlns:a14="http://schemas.microsoft.com/office/drawing/2010/main"/>
              </a:ext>
            </a:extLst>
          </a:blip>
          <a:srcRect/>
          <a:stretch/>
        </p:blipFill>
        <p:spPr bwMode="auto">
          <a:xfrm>
            <a:off x="9134356" y="2195351"/>
            <a:ext cx="1312578" cy="53640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825FA50A-258E-D5C1-927F-ABB4C1A018D5}"/>
              </a:ext>
            </a:extLst>
          </p:cNvPr>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9194543" y="3573081"/>
            <a:ext cx="1181888" cy="474254"/>
          </a:xfrm>
          <a:prstGeom prst="rect">
            <a:avLst/>
          </a:prstGeom>
          <a:solidFill>
            <a:sysClr val="window" lastClr="FFFFFF"/>
          </a:solidFill>
        </p:spPr>
      </p:pic>
      <p:pic>
        <p:nvPicPr>
          <p:cNvPr id="11" name="Picture 10">
            <a:extLst>
              <a:ext uri="{FF2B5EF4-FFF2-40B4-BE49-F238E27FC236}">
                <a16:creationId xmlns:a16="http://schemas.microsoft.com/office/drawing/2014/main" id="{43F0D79B-A208-FE88-A0B2-1B439BEAEF8C}"/>
              </a:ext>
            </a:extLst>
          </p:cNvPr>
          <p:cNvPicPr>
            <a:picLocks noChangeAspect="1"/>
          </p:cNvPicPr>
          <p:nvPr/>
        </p:nvPicPr>
        <p:blipFill rotWithShape="1">
          <a:blip r:embed="rId42" cstate="email">
            <a:extLst>
              <a:ext uri="{28A0092B-C50C-407E-A947-70E740481C1C}">
                <a14:useLocalDpi xmlns:a14="http://schemas.microsoft.com/office/drawing/2010/main"/>
              </a:ext>
            </a:extLst>
          </a:blip>
          <a:srcRect/>
          <a:stretch/>
        </p:blipFill>
        <p:spPr>
          <a:xfrm>
            <a:off x="9231600" y="4441050"/>
            <a:ext cx="1260078" cy="526057"/>
          </a:xfrm>
          <a:prstGeom prst="rect">
            <a:avLst/>
          </a:prstGeom>
        </p:spPr>
      </p:pic>
      <p:pic>
        <p:nvPicPr>
          <p:cNvPr id="12" name="Picture 11">
            <a:extLst>
              <a:ext uri="{FF2B5EF4-FFF2-40B4-BE49-F238E27FC236}">
                <a16:creationId xmlns:a16="http://schemas.microsoft.com/office/drawing/2014/main" id="{39EC988C-2962-F5EB-92CA-013CF149C792}"/>
              </a:ext>
            </a:extLst>
          </p:cNvPr>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10641889" y="4523881"/>
            <a:ext cx="943819" cy="387359"/>
          </a:xfrm>
          <a:prstGeom prst="rect">
            <a:avLst/>
          </a:prstGeom>
        </p:spPr>
      </p:pic>
      <p:pic>
        <p:nvPicPr>
          <p:cNvPr id="13" name="Picture 2" descr="YUJ Designs - Pune User Experience ...">
            <a:extLst>
              <a:ext uri="{FF2B5EF4-FFF2-40B4-BE49-F238E27FC236}">
                <a16:creationId xmlns:a16="http://schemas.microsoft.com/office/drawing/2014/main" id="{13881E75-5AF5-D659-25F7-209516F98026}"/>
              </a:ext>
            </a:extLst>
          </p:cNvPr>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1682589" y="4373584"/>
            <a:ext cx="1356295" cy="4698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2" descr="i4.0 Innovation Program">
            <a:extLst>
              <a:ext uri="{FF2B5EF4-FFF2-40B4-BE49-F238E27FC236}">
                <a16:creationId xmlns:a16="http://schemas.microsoft.com/office/drawing/2014/main" id="{A0DF5AB6-230A-3822-9B63-F83F1EBB457E}"/>
              </a:ext>
            </a:extLst>
          </p:cNvPr>
          <p:cNvPicPr>
            <a:picLocks noChangeAspect="1" noChangeArrowheads="1"/>
          </p:cNvPicPr>
          <p:nvPr/>
        </p:nvPicPr>
        <p:blipFill>
          <a:blip r:embed="rId45" cstate="email">
            <a:extLst>
              <a:ext uri="{28A0092B-C50C-407E-A947-70E740481C1C}">
                <a14:useLocalDpi xmlns:a14="http://schemas.microsoft.com/office/drawing/2010/main"/>
              </a:ext>
            </a:extLst>
          </a:blip>
          <a:srcRect/>
          <a:stretch>
            <a:fillRect/>
          </a:stretch>
        </p:blipFill>
        <p:spPr bwMode="auto">
          <a:xfrm>
            <a:off x="352192" y="1108709"/>
            <a:ext cx="1261878" cy="51986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iWave Systems | LinkedIn">
            <a:extLst>
              <a:ext uri="{FF2B5EF4-FFF2-40B4-BE49-F238E27FC236}">
                <a16:creationId xmlns:a16="http://schemas.microsoft.com/office/drawing/2014/main" id="{B22FBBE2-7B87-DCC7-5090-ADA23A4248C6}"/>
              </a:ext>
            </a:extLst>
          </p:cNvPr>
          <p:cNvPicPr>
            <a:picLocks noChangeAspect="1" noChangeArrowheads="1"/>
          </p:cNvPicPr>
          <p:nvPr/>
        </p:nvPicPr>
        <p:blipFill rotWithShape="1">
          <a:blip r:embed="rId46" cstate="print">
            <a:extLst>
              <a:ext uri="{28A0092B-C50C-407E-A947-70E740481C1C}">
                <a14:useLocalDpi xmlns:a14="http://schemas.microsoft.com/office/drawing/2010/main"/>
              </a:ext>
            </a:extLst>
          </a:blip>
          <a:srcRect/>
          <a:stretch/>
        </p:blipFill>
        <p:spPr bwMode="auto">
          <a:xfrm>
            <a:off x="1591064" y="2208392"/>
            <a:ext cx="1382504" cy="3247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utout.pro">
            <a:extLst>
              <a:ext uri="{FF2B5EF4-FFF2-40B4-BE49-F238E27FC236}">
                <a16:creationId xmlns:a16="http://schemas.microsoft.com/office/drawing/2014/main" id="{81BD5C37-BAB5-0504-7633-3A5CD4EF55A6}"/>
              </a:ext>
            </a:extLst>
          </p:cNvPr>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392901" y="2409916"/>
            <a:ext cx="1148882" cy="52885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Amantya Technologies">
            <a:extLst>
              <a:ext uri="{FF2B5EF4-FFF2-40B4-BE49-F238E27FC236}">
                <a16:creationId xmlns:a16="http://schemas.microsoft.com/office/drawing/2014/main" id="{50A052AD-FAC5-359B-AD6B-3E127EF38208}"/>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t="37720" b="36791"/>
          <a:stretch/>
        </p:blipFill>
        <p:spPr bwMode="auto">
          <a:xfrm>
            <a:off x="376092" y="3014292"/>
            <a:ext cx="1264517" cy="41626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Microsoft Dynamics 365 Partner in India ...">
            <a:extLst>
              <a:ext uri="{FF2B5EF4-FFF2-40B4-BE49-F238E27FC236}">
                <a16:creationId xmlns:a16="http://schemas.microsoft.com/office/drawing/2014/main" id="{997151ED-F7D2-4D4B-AD6B-FA02938D0772}"/>
              </a:ext>
            </a:extLst>
          </p:cNvPr>
          <p:cNvPicPr>
            <a:picLocks noChangeAspect="1" noChangeArrowheads="1"/>
          </p:cNvPicPr>
          <p:nvPr/>
        </p:nvPicPr>
        <p:blipFill rotWithShape="1">
          <a:blip r:embed="rId49" cstate="print">
            <a:extLst>
              <a:ext uri="{28A0092B-C50C-407E-A947-70E740481C1C}">
                <a14:useLocalDpi xmlns:a14="http://schemas.microsoft.com/office/drawing/2010/main"/>
              </a:ext>
            </a:extLst>
          </a:blip>
          <a:srcRect/>
          <a:stretch/>
        </p:blipFill>
        <p:spPr bwMode="auto">
          <a:xfrm>
            <a:off x="472569" y="3499078"/>
            <a:ext cx="1015561" cy="57351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QED42 (@qed42) / X">
            <a:extLst>
              <a:ext uri="{FF2B5EF4-FFF2-40B4-BE49-F238E27FC236}">
                <a16:creationId xmlns:a16="http://schemas.microsoft.com/office/drawing/2014/main" id="{C9398CAE-7223-95A3-A831-6EFA7B72493C}"/>
              </a:ext>
            </a:extLst>
          </p:cNvPr>
          <p:cNvPicPr>
            <a:picLocks noChangeAspect="1" noChangeArrowheads="1"/>
          </p:cNvPicPr>
          <p:nvPr/>
        </p:nvPicPr>
        <p:blipFill rotWithShape="1">
          <a:blip r:embed="rId50" cstate="print">
            <a:extLst>
              <a:ext uri="{28A0092B-C50C-407E-A947-70E740481C1C}">
                <a14:useLocalDpi xmlns:a14="http://schemas.microsoft.com/office/drawing/2010/main"/>
              </a:ext>
            </a:extLst>
          </a:blip>
          <a:srcRect/>
          <a:stretch/>
        </p:blipFill>
        <p:spPr bwMode="auto">
          <a:xfrm>
            <a:off x="392513" y="4143335"/>
            <a:ext cx="1149270" cy="73594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GWC DATA.AI">
            <a:extLst>
              <a:ext uri="{FF2B5EF4-FFF2-40B4-BE49-F238E27FC236}">
                <a16:creationId xmlns:a16="http://schemas.microsoft.com/office/drawing/2014/main" id="{AA4CA835-9ADF-296F-044E-0FAFE5A68C7A}"/>
              </a:ext>
            </a:extLst>
          </p:cNvPr>
          <p:cNvPicPr>
            <a:picLocks noChangeAspect="1" noChangeArrowheads="1"/>
          </p:cNvPicPr>
          <p:nvPr/>
        </p:nvPicPr>
        <p:blipFill>
          <a:blip r:embed="rId51" cstate="screen">
            <a:extLst>
              <a:ext uri="{28A0092B-C50C-407E-A947-70E740481C1C}">
                <a14:useLocalDpi xmlns:a14="http://schemas.microsoft.com/office/drawing/2010/main"/>
              </a:ext>
            </a:extLst>
          </a:blip>
          <a:srcRect/>
          <a:stretch>
            <a:fillRect/>
          </a:stretch>
        </p:blipFill>
        <p:spPr bwMode="auto">
          <a:xfrm>
            <a:off x="10469703" y="954015"/>
            <a:ext cx="1304009" cy="55846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MSAN Technische Labs – in step with ...">
            <a:extLst>
              <a:ext uri="{FF2B5EF4-FFF2-40B4-BE49-F238E27FC236}">
                <a16:creationId xmlns:a16="http://schemas.microsoft.com/office/drawing/2014/main" id="{001AFAE6-C711-D23E-30F6-20AF5528F935}"/>
              </a:ext>
            </a:extLst>
          </p:cNvPr>
          <p:cNvPicPr>
            <a:picLocks noChangeAspect="1" noChangeArrowheads="1"/>
          </p:cNvPicPr>
          <p:nvPr/>
        </p:nvPicPr>
        <p:blipFill>
          <a:blip r:embed="rId52" cstate="screen">
            <a:extLst>
              <a:ext uri="{28A0092B-C50C-407E-A947-70E740481C1C}">
                <a14:useLocalDpi xmlns:a14="http://schemas.microsoft.com/office/drawing/2010/main"/>
              </a:ext>
            </a:extLst>
          </a:blip>
          <a:srcRect/>
          <a:stretch>
            <a:fillRect/>
          </a:stretch>
        </p:blipFill>
        <p:spPr bwMode="auto">
          <a:xfrm>
            <a:off x="10629169" y="1697525"/>
            <a:ext cx="1153193" cy="401937"/>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Empoise | LinkedIn">
            <a:extLst>
              <a:ext uri="{FF2B5EF4-FFF2-40B4-BE49-F238E27FC236}">
                <a16:creationId xmlns:a16="http://schemas.microsoft.com/office/drawing/2014/main" id="{630104FF-2BC1-C4F9-97E7-E04739E9A8F0}"/>
              </a:ext>
            </a:extLst>
          </p:cNvPr>
          <p:cNvPicPr>
            <a:picLocks noChangeAspect="1" noChangeArrowheads="1"/>
          </p:cNvPicPr>
          <p:nvPr/>
        </p:nvPicPr>
        <p:blipFill>
          <a:blip r:embed="rId53" cstate="screen">
            <a:extLst>
              <a:ext uri="{28A0092B-C50C-407E-A947-70E740481C1C}">
                <a14:useLocalDpi xmlns:a14="http://schemas.microsoft.com/office/drawing/2010/main"/>
              </a:ext>
            </a:extLst>
          </a:blip>
          <a:srcRect/>
          <a:stretch>
            <a:fillRect/>
          </a:stretch>
        </p:blipFill>
        <p:spPr bwMode="auto">
          <a:xfrm>
            <a:off x="10685227" y="2214708"/>
            <a:ext cx="1019126" cy="668008"/>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5BE5886A-B5CE-32F4-3B18-1F10D91EC0F3}"/>
              </a:ext>
            </a:extLst>
          </p:cNvPr>
          <p:cNvGrpSpPr/>
          <p:nvPr/>
        </p:nvGrpSpPr>
        <p:grpSpPr>
          <a:xfrm>
            <a:off x="9984176" y="66640"/>
            <a:ext cx="2013698" cy="711574"/>
            <a:chOff x="9449153" y="66640"/>
            <a:chExt cx="2013698" cy="711574"/>
          </a:xfrm>
        </p:grpSpPr>
        <p:cxnSp>
          <p:nvCxnSpPr>
            <p:cNvPr id="23" name="Straight Connector 22">
              <a:extLst>
                <a:ext uri="{FF2B5EF4-FFF2-40B4-BE49-F238E27FC236}">
                  <a16:creationId xmlns:a16="http://schemas.microsoft.com/office/drawing/2014/main" id="{DAFEDF60-0183-F539-39E4-B8502D7DF1C9}"/>
                </a:ext>
              </a:extLst>
            </p:cNvPr>
            <p:cNvCxnSpPr>
              <a:cxnSpLocks/>
            </p:cNvCxnSpPr>
            <p:nvPr/>
          </p:nvCxnSpPr>
          <p:spPr>
            <a:xfrm>
              <a:off x="10313094" y="171819"/>
              <a:ext cx="0" cy="501217"/>
            </a:xfrm>
            <a:prstGeom prst="line">
              <a:avLst/>
            </a:prstGeom>
            <a:ln w="9525">
              <a:solidFill>
                <a:schemeClr val="bg1">
                  <a:lumMod val="65000"/>
                  <a:alpha val="62000"/>
                </a:schemeClr>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24AB0625-28D7-A284-9915-187A6014E4D3}"/>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10465460" y="230098"/>
              <a:ext cx="997391" cy="384659"/>
            </a:xfrm>
            <a:prstGeom prst="rect">
              <a:avLst/>
            </a:prstGeom>
          </p:spPr>
        </p:pic>
        <p:pic>
          <p:nvPicPr>
            <p:cNvPr id="25" name="Graphic 24">
              <a:extLst>
                <a:ext uri="{FF2B5EF4-FFF2-40B4-BE49-F238E27FC236}">
                  <a16:creationId xmlns:a16="http://schemas.microsoft.com/office/drawing/2014/main" id="{03422C80-4AA4-156B-5B9E-43C1743F1936}"/>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9449153" y="66640"/>
              <a:ext cx="711574" cy="711574"/>
            </a:xfrm>
            <a:prstGeom prst="rect">
              <a:avLst/>
            </a:prstGeom>
          </p:spPr>
        </p:pic>
      </p:grpSp>
      <p:sp>
        <p:nvSpPr>
          <p:cNvPr id="26" name="TextBox 25">
            <a:extLst>
              <a:ext uri="{FF2B5EF4-FFF2-40B4-BE49-F238E27FC236}">
                <a16:creationId xmlns:a16="http://schemas.microsoft.com/office/drawing/2014/main" id="{C8EACF60-141A-CE88-AA20-6A3ED7A84BEF}"/>
              </a:ext>
            </a:extLst>
          </p:cNvPr>
          <p:cNvSpPr txBox="1"/>
          <p:nvPr/>
        </p:nvSpPr>
        <p:spPr>
          <a:xfrm>
            <a:off x="265836" y="213937"/>
            <a:ext cx="9989787" cy="461665"/>
          </a:xfrm>
          <a:prstGeom prst="rect">
            <a:avLst/>
          </a:prstGeom>
          <a:noFill/>
        </p:spPr>
        <p:txBody>
          <a:bodyPr wrap="square" lIns="91440" tIns="45720" rIns="91440" bIns="45720" anchor="t">
            <a:spAutoFit/>
          </a:bodyPr>
          <a:lstStyle/>
          <a:p>
            <a:pPr>
              <a:defRPr/>
            </a:pPr>
            <a:r>
              <a:rPr kumimoji="0" lang="en-US" sz="2400" b="1" i="0" u="none" strike="noStrike" kern="1200" cap="none" spc="0" normalizeH="0" baseline="0" noProof="0" dirty="0">
                <a:ln>
                  <a:noFill/>
                </a:ln>
                <a:solidFill>
                  <a:srgbClr val="1E1E2D"/>
                </a:solidFill>
                <a:effectLst/>
                <a:uLnTx/>
                <a:uFillTx/>
                <a:latin typeface="Segoe UI" panose="020B0502040204020203" pitchFamily="34" charset="0"/>
                <a:ea typeface="Segoe UI" panose="020B0502040204020203" pitchFamily="34" charset="0"/>
                <a:cs typeface="Segoe UI" panose="020B0502040204020203" pitchFamily="34" charset="0"/>
              </a:rPr>
              <a:t>50+ Partner Ecosystem</a:t>
            </a:r>
          </a:p>
        </p:txBody>
      </p:sp>
    </p:spTree>
    <p:extLst>
      <p:ext uri="{BB962C8B-B14F-4D97-AF65-F5344CB8AC3E}">
        <p14:creationId xmlns:p14="http://schemas.microsoft.com/office/powerpoint/2010/main" val="2883456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finite">
  <a:themeElements>
    <a:clrScheme name="Infinite">
      <a:dk1>
        <a:srgbClr val="000000"/>
      </a:dk1>
      <a:lt1>
        <a:srgbClr val="FFFFFF"/>
      </a:lt1>
      <a:dk2>
        <a:srgbClr val="014BBC"/>
      </a:dk2>
      <a:lt2>
        <a:srgbClr val="E7E6E6"/>
      </a:lt2>
      <a:accent1>
        <a:srgbClr val="014BBC"/>
      </a:accent1>
      <a:accent2>
        <a:srgbClr val="386FDC"/>
      </a:accent2>
      <a:accent3>
        <a:srgbClr val="169AD2"/>
      </a:accent3>
      <a:accent4>
        <a:srgbClr val="32D1E3"/>
      </a:accent4>
      <a:accent5>
        <a:srgbClr val="00E0C7"/>
      </a:accent5>
      <a:accent6>
        <a:srgbClr val="44546A"/>
      </a:accent6>
      <a:hlink>
        <a:srgbClr val="014BBC"/>
      </a:hlink>
      <a:folHlink>
        <a:srgbClr val="169AD2"/>
      </a:folHlink>
    </a:clrScheme>
    <a:fontScheme name="Custom 3">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Dark Cornflower Blue">
      <a:srgbClr val="013482"/>
    </a:custClr>
    <a:custClr name="Bright Navy Blue">
      <a:srgbClr val="0079DA"/>
    </a:custClr>
  </a:custClrLst>
  <a:extLst>
    <a:ext uri="{05A4C25C-085E-4340-85A3-A5531E510DB2}">
      <thm15:themeFamily xmlns:thm15="http://schemas.microsoft.com/office/thememl/2012/main" name="Infinite" id="{B9100843-8B7C-4EC7-8E6F-B80D99CF1901}" vid="{24DB9272-B6D0-4099-9CFE-CD4EF29CCB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46EA5E46392094B85AD369D55E04C3C" ma:contentTypeVersion="5" ma:contentTypeDescription="Create a new document." ma:contentTypeScope="" ma:versionID="9b857cc4a45b332b68723922ec38351c">
  <xsd:schema xmlns:xsd="http://www.w3.org/2001/XMLSchema" xmlns:xs="http://www.w3.org/2001/XMLSchema" xmlns:p="http://schemas.microsoft.com/office/2006/metadata/properties" xmlns:ns2="b6dc6c85-33e6-4e9e-95d1-c127389abadd" xmlns:ns3="f8df2404-c82e-46a2-8fbd-0e0e4b113180" targetNamespace="http://schemas.microsoft.com/office/2006/metadata/properties" ma:root="true" ma:fieldsID="536f7ef334ddbede11b60a4750ada1cd" ns2:_="" ns3:_="">
    <xsd:import namespace="b6dc6c85-33e6-4e9e-95d1-c127389abadd"/>
    <xsd:import namespace="f8df2404-c82e-46a2-8fbd-0e0e4b11318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dc6c85-33e6-4e9e-95d1-c127389aba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df2404-c82e-46a2-8fbd-0e0e4b11318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DC3563-35DB-4314-974C-5210C7D9857B}">
  <ds:schemaRefs>
    <ds:schemaRef ds:uri="http://purl.org/dc/dcmitype/"/>
    <ds:schemaRef ds:uri="f8df2404-c82e-46a2-8fbd-0e0e4b113180"/>
    <ds:schemaRef ds:uri="http://schemas.microsoft.com/office/2006/metadata/propertie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b6dc6c85-33e6-4e9e-95d1-c127389abadd"/>
    <ds:schemaRef ds:uri="http://purl.org/dc/terms/"/>
  </ds:schemaRefs>
</ds:datastoreItem>
</file>

<file path=customXml/itemProps2.xml><?xml version="1.0" encoding="utf-8"?>
<ds:datastoreItem xmlns:ds="http://schemas.openxmlformats.org/officeDocument/2006/customXml" ds:itemID="{C9E74644-83CA-43A8-8D1D-3FC8B11604EC}">
  <ds:schemaRefs>
    <ds:schemaRef ds:uri="b6dc6c85-33e6-4e9e-95d1-c127389abadd"/>
    <ds:schemaRef ds:uri="f8df2404-c82e-46a2-8fbd-0e0e4b11318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F5597D2-E4BE-45FC-A20C-68229F756A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501</TotalTime>
  <Words>3086</Words>
  <Application>Microsoft Office PowerPoint</Application>
  <PresentationFormat>Widescreen</PresentationFormat>
  <Paragraphs>481</Paragraphs>
  <Slides>56</Slides>
  <Notes>5</Notes>
  <HiddenSlides>0</HiddenSlides>
  <MMClips>0</MMClips>
  <ScaleCrop>false</ScaleCrop>
  <HeadingPairs>
    <vt:vector size="8" baseType="variant">
      <vt:variant>
        <vt:lpstr>Fonts Used</vt:lpstr>
      </vt:variant>
      <vt:variant>
        <vt:i4>19</vt:i4>
      </vt:variant>
      <vt:variant>
        <vt:lpstr>Theme</vt:lpstr>
      </vt:variant>
      <vt:variant>
        <vt:i4>1</vt:i4>
      </vt:variant>
      <vt:variant>
        <vt:lpstr>Embedded OLE Servers</vt:lpstr>
      </vt:variant>
      <vt:variant>
        <vt:i4>2</vt:i4>
      </vt:variant>
      <vt:variant>
        <vt:lpstr>Slide Titles</vt:lpstr>
      </vt:variant>
      <vt:variant>
        <vt:i4>56</vt:i4>
      </vt:variant>
    </vt:vector>
  </HeadingPairs>
  <TitlesOfParts>
    <vt:vector size="78" baseType="lpstr">
      <vt:lpstr>Aptos</vt:lpstr>
      <vt:lpstr>Arial</vt:lpstr>
      <vt:lpstr>Arial Narrow</vt:lpstr>
      <vt:lpstr>Bebas Neue Bold</vt:lpstr>
      <vt:lpstr>Calibri</vt:lpstr>
      <vt:lpstr>Century</vt:lpstr>
      <vt:lpstr>Gill Sans</vt:lpstr>
      <vt:lpstr>Gotham-Light</vt:lpstr>
      <vt:lpstr>Open Sans</vt:lpstr>
      <vt:lpstr>Roboto</vt:lpstr>
      <vt:lpstr>Roboto Black</vt:lpstr>
      <vt:lpstr>Segoe UI</vt:lpstr>
      <vt:lpstr>Segoe UI Semilight</vt:lpstr>
      <vt:lpstr>Tahoma</vt:lpstr>
      <vt:lpstr>TaubSans-Regular</vt:lpstr>
      <vt:lpstr>Wingdings</vt:lpstr>
      <vt:lpstr>Wingdings-Regular</vt:lpstr>
      <vt:lpstr>Work Sans</vt:lpstr>
      <vt:lpstr>Work Sans Light</vt:lpstr>
      <vt:lpstr>Infinite</vt:lpstr>
      <vt:lpstr>think-cell Slide</vt:lpstr>
      <vt:lpstr>Acrobat Document</vt:lpstr>
      <vt:lpstr>Human resources slide 1</vt:lpstr>
      <vt:lpstr>Who we are?</vt:lpstr>
      <vt:lpstr>PowerPoint Presentation</vt:lpstr>
      <vt:lpstr>PowerPoint Presentation</vt:lpstr>
      <vt:lpstr>Our Values - I-N-F-I-C-S</vt:lpstr>
      <vt:lpstr>PowerPoint Presentation</vt:lpstr>
      <vt:lpstr>KEY BUSINESS AREAS</vt:lpstr>
      <vt:lpstr>PowerPoint Presentation</vt:lpstr>
      <vt:lpstr>PowerPoint Presentation</vt:lpstr>
      <vt:lpstr>We are a global organization providing services from 25+ Delivery Centers –  5 Strategic Locations for Health System Support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ttps://workforcenow.adp.com </vt:lpstr>
      <vt:lpstr>Once you have logged into ADP you will receive a pop-up to begin your enrollments. You can click “Manage enrollment” to start or “Remind me later” to wait. </vt:lpstr>
      <vt:lpstr>Click Manage enrollment to start</vt:lpstr>
      <vt:lpstr>Please review the welcome message and download the Benefits guide</vt:lpstr>
      <vt:lpstr>You will be required to add any dependents/beneficiaries.</vt:lpstr>
      <vt:lpstr>PowerPoint Presentation</vt:lpstr>
      <vt:lpstr>You will be required to select tobacco user and select the agree box</vt:lpstr>
      <vt:lpstr>You will view the plans to select the coverage level. If you decide to waive a plan you will be required to give a waive reason from the dropdown.</vt:lpstr>
      <vt:lpstr>Once you have selected the benefits for your needs, you will select “submit enrollment”. If “submit enrollment” is not clicked, you will not be enrolled.  You can always go back to update your enrollments within the 30-day New Hire window.</vt:lpstr>
      <vt:lpstr>To view your completed enrollment, please select  Myself/View Benefits/Enrollments  You can also download your Enrollment Summary here as wel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aamini Bhupathy</dc:creator>
  <cp:lastModifiedBy>Harish Venkatesh</cp:lastModifiedBy>
  <cp:revision>95</cp:revision>
  <dcterms:created xsi:type="dcterms:W3CDTF">2022-12-26T11:02:20Z</dcterms:created>
  <dcterms:modified xsi:type="dcterms:W3CDTF">2025-07-09T15:3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6EA5E46392094B85AD369D55E04C3C</vt:lpwstr>
  </property>
</Properties>
</file>